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ags/tag2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3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heme/theme4.xml" ContentType="application/vnd.openxmlformats-officedocument.theme+xml"/>
  <Override PartName="/ppt/tags/tag36.xml" ContentType="application/vnd.openxmlformats-officedocument.presentationml.tags+xml"/>
  <Override PartName="/ppt/notesSlides/notesSlide1.xml" ContentType="application/vnd.openxmlformats-officedocument.presentationml.notesSlide+xml"/>
  <Override PartName="/ppt/comments/modernComment_7FFFEC2C_3D9E16C0.xml" ContentType="application/vnd.ms-powerpoint.comment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37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omments/modernComment_7FFFEC22_D6150133.xml" ContentType="application/vnd.ms-powerpoint.comment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02" r:id="rId5"/>
    <p:sldMasterId id="2147483743" r:id="rId6"/>
  </p:sldMasterIdLst>
  <p:notesMasterIdLst>
    <p:notesMasterId r:id="rId36"/>
  </p:notesMasterIdLst>
  <p:sldIdLst>
    <p:sldId id="256" r:id="rId7"/>
    <p:sldId id="2147478572" r:id="rId8"/>
    <p:sldId id="2147478575" r:id="rId9"/>
    <p:sldId id="2147473972" r:id="rId10"/>
    <p:sldId id="2147478579" r:id="rId11"/>
    <p:sldId id="2147478568" r:id="rId12"/>
    <p:sldId id="2147478577" r:id="rId13"/>
    <p:sldId id="2147478578" r:id="rId14"/>
    <p:sldId id="2147478573" r:id="rId15"/>
    <p:sldId id="2147478571" r:id="rId16"/>
    <p:sldId id="2147478569" r:id="rId17"/>
    <p:sldId id="686" r:id="rId18"/>
    <p:sldId id="691" r:id="rId19"/>
    <p:sldId id="687" r:id="rId20"/>
    <p:sldId id="2147478570" r:id="rId21"/>
    <p:sldId id="2147478574" r:id="rId22"/>
    <p:sldId id="2147478576" r:id="rId23"/>
    <p:sldId id="2147478580" r:id="rId24"/>
    <p:sldId id="2147473973" r:id="rId25"/>
    <p:sldId id="2147478567" r:id="rId26"/>
    <p:sldId id="2147474000" r:id="rId27"/>
    <p:sldId id="2147478565" r:id="rId28"/>
    <p:sldId id="2147473977" r:id="rId29"/>
    <p:sldId id="2147478564" r:id="rId30"/>
    <p:sldId id="2147473979" r:id="rId31"/>
    <p:sldId id="2147478561" r:id="rId32"/>
    <p:sldId id="2147478566" r:id="rId33"/>
    <p:sldId id="2147478562" r:id="rId34"/>
    <p:sldId id="2147478563" r:id="rId35"/>
  </p:sldIdLst>
  <p:sldSz cx="12192000" cy="6858000"/>
  <p:notesSz cx="6858000" cy="9144000"/>
  <p:custDataLst>
    <p:tags r:id="rId3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7EB38E78-9D18-4942-AB46-D4D52532940D}">
          <p14:sldIdLst>
            <p14:sldId id="256"/>
          </p14:sldIdLst>
        </p14:section>
        <p14:section name="Main" id="{2E403A87-DF89-423D-A0D4-004E5205163E}">
          <p14:sldIdLst>
            <p14:sldId id="2147478572"/>
            <p14:sldId id="2147478575"/>
            <p14:sldId id="2147473972"/>
            <p14:sldId id="2147478579"/>
            <p14:sldId id="2147478568"/>
            <p14:sldId id="2147478577"/>
            <p14:sldId id="2147478578"/>
            <p14:sldId id="2147478573"/>
            <p14:sldId id="2147478571"/>
            <p14:sldId id="2147478569"/>
            <p14:sldId id="686"/>
            <p14:sldId id="691"/>
            <p14:sldId id="687"/>
          </p14:sldIdLst>
        </p14:section>
        <p14:section name="Additional information" id="{A6A88CFA-85C2-4112-BDB5-2CC15439B17F}">
          <p14:sldIdLst>
            <p14:sldId id="2147478570"/>
            <p14:sldId id="2147478574"/>
            <p14:sldId id="2147478576"/>
            <p14:sldId id="2147478580"/>
            <p14:sldId id="2147473973"/>
          </p14:sldIdLst>
        </p14:section>
        <p14:section name="Backup" id="{DBECCFF1-2370-4B79-A6FB-236D9E5E31F5}">
          <p14:sldIdLst>
            <p14:sldId id="2147478567"/>
            <p14:sldId id="2147474000"/>
            <p14:sldId id="2147478565"/>
            <p14:sldId id="2147473977"/>
            <p14:sldId id="2147478564"/>
            <p14:sldId id="2147473979"/>
            <p14:sldId id="2147478561"/>
            <p14:sldId id="2147478566"/>
            <p14:sldId id="2147478562"/>
            <p14:sldId id="2147478563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BB2E046-A7C2-C473-021E-E38BDC56437E}" name="Makovicka Walter 6488 ED" initials="MW6E" userId="S::S1COA@s-mxs.net::2fb6f4a2-34ec-4526-841f-b46f858ae265" providerId="AD"/>
  <p188:author id="{6DBF08C4-3248-DD68-997D-402D364C0928}" name="Pfandl Max Anton 6488 ED" initials="MP" userId="S::S6480@s-mxs.net::164c387e-ef37-43ea-af62-3a67c6285912" providerId="AD"/>
  <p188:author id="{8E89F4CB-94DF-E6D5-D337-4633CEA35257}" name="Camishi Enkelejda 6491 ED" initials="CE6E" userId="S::SJZ5A@s-mxs.net::83e654b4-596c-4918-a0b0-6044308c9b4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0F0F0"/>
    <a:srgbClr val="296FED"/>
    <a:srgbClr val="008660"/>
    <a:srgbClr val="235375"/>
    <a:srgbClr val="A0C458"/>
    <a:srgbClr val="76B1D2"/>
    <a:srgbClr val="721C7A"/>
    <a:srgbClr val="26A7C3"/>
    <a:srgbClr val="BFBFBF"/>
    <a:srgbClr val="A1B3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6F413C4-041F-4201-A805-13395FF0E67A}" vWet="2" dt="2024-01-26T15:00:11.106"/>
    <p1510:client id="{D029D998-2B56-4946-ACCB-A4571E982D9F}" v="4" dt="2024-01-26T15:00:26.29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viewProps" Target="viewProps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microsoft.com/office/2016/11/relationships/changesInfo" Target="changesInfos/changesInfo1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tags" Target="tags/tag1.xml"/><Relationship Id="rId40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microsoft.com/office/2015/10/relationships/revisionInfo" Target="revisionInfo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einer Andreas 6206 ED" userId="e6377c33-a923-4f14-8587-531c474c7b48" providerId="ADAL" clId="{6ECD27E6-B224-41CD-B4E0-E297462320DD}"/>
    <pc:docChg chg="custSel modSld modMainMaster replTag">
      <pc:chgData name="Steiner Andreas 6206 ED" userId="e6377c33-a923-4f14-8587-531c474c7b48" providerId="ADAL" clId="{6ECD27E6-B224-41CD-B4E0-E297462320DD}" dt="2023-11-24T11:44:33.214" v="157671" actId="1076"/>
      <pc:docMkLst>
        <pc:docMk/>
      </pc:docMkLst>
      <pc:sldChg chg="addSp delSp modSp mod">
        <pc:chgData name="Steiner Andreas 6206 ED" userId="e6377c33-a923-4f14-8587-531c474c7b48" providerId="ADAL" clId="{6ECD27E6-B224-41CD-B4E0-E297462320DD}" dt="2023-11-24T11:44:33.214" v="157671" actId="1076"/>
        <pc:sldMkLst>
          <pc:docMk/>
          <pc:sldMk cId="299398864" sldId="256"/>
        </pc:sldMkLst>
        <pc:spChg chg="add del mod modVis">
          <ac:chgData name="Steiner Andreas 6206 ED" userId="e6377c33-a923-4f14-8587-531c474c7b48" providerId="ADAL" clId="{6ECD27E6-B224-41CD-B4E0-E297462320DD}" dt="2023-11-23T19:50:15.428" v="348"/>
          <ac:spMkLst>
            <pc:docMk/>
            <pc:sldMk cId="299398864" sldId="256"/>
            <ac:spMk id="2" creationId="{A9EB53BD-2DDA-CB4F-8113-87DEA5AED03F}"/>
          </ac:spMkLst>
        </pc:spChg>
        <pc:spChg chg="add del mod modVis">
          <ac:chgData name="Steiner Andreas 6206 ED" userId="e6377c33-a923-4f14-8587-531c474c7b48" providerId="ADAL" clId="{6ECD27E6-B224-41CD-B4E0-E297462320DD}" dt="2023-11-23T19:50:26.085" v="503"/>
          <ac:spMkLst>
            <pc:docMk/>
            <pc:sldMk cId="299398864" sldId="256"/>
            <ac:spMk id="4" creationId="{B8C6F90A-C076-4626-66C5-BA1D5317CFC0}"/>
          </ac:spMkLst>
        </pc:spChg>
        <pc:spChg chg="add del mod modVis">
          <ac:chgData name="Steiner Andreas 6206 ED" userId="e6377c33-a923-4f14-8587-531c474c7b48" providerId="ADAL" clId="{6ECD27E6-B224-41CD-B4E0-E297462320DD}" dt="2023-11-23T19:50:35.827" v="658"/>
          <ac:spMkLst>
            <pc:docMk/>
            <pc:sldMk cId="299398864" sldId="256"/>
            <ac:spMk id="6" creationId="{EB2AA3F8-58D4-D94C-C708-CCA3DC77B180}"/>
          </ac:spMkLst>
        </pc:spChg>
        <pc:spChg chg="add del mod modVis">
          <ac:chgData name="Steiner Andreas 6206 ED" userId="e6377c33-a923-4f14-8587-531c474c7b48" providerId="ADAL" clId="{6ECD27E6-B224-41CD-B4E0-E297462320DD}" dt="2023-11-23T19:50:47.529" v="813"/>
          <ac:spMkLst>
            <pc:docMk/>
            <pc:sldMk cId="299398864" sldId="256"/>
            <ac:spMk id="7" creationId="{AD26D341-5CD3-3A60-35B6-F2E4755D7A3D}"/>
          </ac:spMkLst>
        </pc:spChg>
        <pc:spChg chg="add del mod modVis">
          <ac:chgData name="Steiner Andreas 6206 ED" userId="e6377c33-a923-4f14-8587-531c474c7b48" providerId="ADAL" clId="{6ECD27E6-B224-41CD-B4E0-E297462320DD}" dt="2023-11-23T19:50:59.200" v="968"/>
          <ac:spMkLst>
            <pc:docMk/>
            <pc:sldMk cId="299398864" sldId="256"/>
            <ac:spMk id="8" creationId="{C1DB99F2-E725-21A0-3E41-099E0FCF657E}"/>
          </ac:spMkLst>
        </pc:spChg>
        <pc:spChg chg="add del mod modVis">
          <ac:chgData name="Steiner Andreas 6206 ED" userId="e6377c33-a923-4f14-8587-531c474c7b48" providerId="ADAL" clId="{6ECD27E6-B224-41CD-B4E0-E297462320DD}" dt="2023-11-23T19:51:09.897" v="1123"/>
          <ac:spMkLst>
            <pc:docMk/>
            <pc:sldMk cId="299398864" sldId="256"/>
            <ac:spMk id="9" creationId="{B6FCCDF3-442E-37A2-8985-D42CFA3FD48E}"/>
          </ac:spMkLst>
        </pc:spChg>
        <pc:spChg chg="mod">
          <ac:chgData name="Steiner Andreas 6206 ED" userId="e6377c33-a923-4f14-8587-531c474c7b48" providerId="ADAL" clId="{6ECD27E6-B224-41CD-B4E0-E297462320DD}" dt="2023-11-24T11:44:33.182" v="157650" actId="948"/>
          <ac:spMkLst>
            <pc:docMk/>
            <pc:sldMk cId="299398864" sldId="256"/>
            <ac:spMk id="11" creationId="{317AC371-2070-9765-8BF8-C5F651546668}"/>
          </ac:spMkLst>
        </pc:spChg>
        <pc:spChg chg="add del mod modVis">
          <ac:chgData name="Steiner Andreas 6206 ED" userId="e6377c33-a923-4f14-8587-531c474c7b48" providerId="ADAL" clId="{6ECD27E6-B224-41CD-B4E0-E297462320DD}" dt="2023-11-23T19:51:20.923" v="1278"/>
          <ac:spMkLst>
            <pc:docMk/>
            <pc:sldMk cId="299398864" sldId="256"/>
            <ac:spMk id="13" creationId="{803CA9B7-52C6-864C-02BE-17B75538300A}"/>
          </ac:spMkLst>
        </pc:spChg>
        <pc:spChg chg="add del mod modVis">
          <ac:chgData name="Steiner Andreas 6206 ED" userId="e6377c33-a923-4f14-8587-531c474c7b48" providerId="ADAL" clId="{6ECD27E6-B224-41CD-B4E0-E297462320DD}" dt="2023-11-23T19:51:32.285" v="1433"/>
          <ac:spMkLst>
            <pc:docMk/>
            <pc:sldMk cId="299398864" sldId="256"/>
            <ac:spMk id="14" creationId="{F82B7EF7-3010-D720-E588-901BB3008A78}"/>
          </ac:spMkLst>
        </pc:spChg>
        <pc:spChg chg="add del mod modVis">
          <ac:chgData name="Steiner Andreas 6206 ED" userId="e6377c33-a923-4f14-8587-531c474c7b48" providerId="ADAL" clId="{6ECD27E6-B224-41CD-B4E0-E297462320DD}" dt="2023-11-23T19:51:43.029" v="1588"/>
          <ac:spMkLst>
            <pc:docMk/>
            <pc:sldMk cId="299398864" sldId="256"/>
            <ac:spMk id="15" creationId="{BEC29241-F46A-C1CD-F620-340BC5A0452C}"/>
          </ac:spMkLst>
        </pc:spChg>
        <pc:spChg chg="add del mod modVis">
          <ac:chgData name="Steiner Andreas 6206 ED" userId="e6377c33-a923-4f14-8587-531c474c7b48" providerId="ADAL" clId="{6ECD27E6-B224-41CD-B4E0-E297462320DD}" dt="2023-11-23T19:51:54.254" v="1743"/>
          <ac:spMkLst>
            <pc:docMk/>
            <pc:sldMk cId="299398864" sldId="256"/>
            <ac:spMk id="16" creationId="{E40176C6-AD4F-6ED8-BD92-8A1241D11839}"/>
          </ac:spMkLst>
        </pc:spChg>
        <pc:spChg chg="add del mod modVis">
          <ac:chgData name="Steiner Andreas 6206 ED" userId="e6377c33-a923-4f14-8587-531c474c7b48" providerId="ADAL" clId="{6ECD27E6-B224-41CD-B4E0-E297462320DD}" dt="2023-11-23T19:52:05.972" v="1898"/>
          <ac:spMkLst>
            <pc:docMk/>
            <pc:sldMk cId="299398864" sldId="256"/>
            <ac:spMk id="17" creationId="{FFDC9738-3F03-6841-E957-D802364EC475}"/>
          </ac:spMkLst>
        </pc:spChg>
        <pc:spChg chg="add del mod modVis">
          <ac:chgData name="Steiner Andreas 6206 ED" userId="e6377c33-a923-4f14-8587-531c474c7b48" providerId="ADAL" clId="{6ECD27E6-B224-41CD-B4E0-E297462320DD}" dt="2023-11-23T19:52:17.709" v="2053"/>
          <ac:spMkLst>
            <pc:docMk/>
            <pc:sldMk cId="299398864" sldId="256"/>
            <ac:spMk id="18" creationId="{D334F5FC-F7CB-1657-7407-3E8C0451D832}"/>
          </ac:spMkLst>
        </pc:spChg>
        <pc:spChg chg="add del mod modVis">
          <ac:chgData name="Steiner Andreas 6206 ED" userId="e6377c33-a923-4f14-8587-531c474c7b48" providerId="ADAL" clId="{6ECD27E6-B224-41CD-B4E0-E297462320DD}" dt="2023-11-23T19:52:29.410" v="2208"/>
          <ac:spMkLst>
            <pc:docMk/>
            <pc:sldMk cId="299398864" sldId="256"/>
            <ac:spMk id="19" creationId="{E6F178BA-01A9-4BFA-3F19-88720C4BB80D}"/>
          </ac:spMkLst>
        </pc:spChg>
        <pc:spChg chg="add del mod modVis">
          <ac:chgData name="Steiner Andreas 6206 ED" userId="e6377c33-a923-4f14-8587-531c474c7b48" providerId="ADAL" clId="{6ECD27E6-B224-41CD-B4E0-E297462320DD}" dt="2023-11-23T19:52:41.090" v="2363"/>
          <ac:spMkLst>
            <pc:docMk/>
            <pc:sldMk cId="299398864" sldId="256"/>
            <ac:spMk id="20" creationId="{0D99E066-C6B3-F57E-E7B2-5E55922BB5DA}"/>
          </ac:spMkLst>
        </pc:spChg>
        <pc:spChg chg="add del mod modVis">
          <ac:chgData name="Steiner Andreas 6206 ED" userId="e6377c33-a923-4f14-8587-531c474c7b48" providerId="ADAL" clId="{6ECD27E6-B224-41CD-B4E0-E297462320DD}" dt="2023-11-23T19:52:52.383" v="2518"/>
          <ac:spMkLst>
            <pc:docMk/>
            <pc:sldMk cId="299398864" sldId="256"/>
            <ac:spMk id="21" creationId="{784B17CD-1BA9-AF44-EA9D-9F8B35445692}"/>
          </ac:spMkLst>
        </pc:spChg>
        <pc:spChg chg="add del mod modVis">
          <ac:chgData name="Steiner Andreas 6206 ED" userId="e6377c33-a923-4f14-8587-531c474c7b48" providerId="ADAL" clId="{6ECD27E6-B224-41CD-B4E0-E297462320DD}" dt="2023-11-23T19:53:04.168" v="2673"/>
          <ac:spMkLst>
            <pc:docMk/>
            <pc:sldMk cId="299398864" sldId="256"/>
            <ac:spMk id="22" creationId="{CC93B5DB-875C-5698-8B67-CDDE76C03BCC}"/>
          </ac:spMkLst>
        </pc:spChg>
        <pc:spChg chg="add del mod modVis">
          <ac:chgData name="Steiner Andreas 6206 ED" userId="e6377c33-a923-4f14-8587-531c474c7b48" providerId="ADAL" clId="{6ECD27E6-B224-41CD-B4E0-E297462320DD}" dt="2023-11-23T19:53:15.879" v="2828"/>
          <ac:spMkLst>
            <pc:docMk/>
            <pc:sldMk cId="299398864" sldId="256"/>
            <ac:spMk id="23" creationId="{4F335F61-97B2-EA9A-6AFF-EF15CA409BAD}"/>
          </ac:spMkLst>
        </pc:spChg>
        <pc:spChg chg="add del mod modVis">
          <ac:chgData name="Steiner Andreas 6206 ED" userId="e6377c33-a923-4f14-8587-531c474c7b48" providerId="ADAL" clId="{6ECD27E6-B224-41CD-B4E0-E297462320DD}" dt="2023-11-23T19:53:27.565" v="2983"/>
          <ac:spMkLst>
            <pc:docMk/>
            <pc:sldMk cId="299398864" sldId="256"/>
            <ac:spMk id="24" creationId="{2F17D5F4-0F13-9F31-8E2E-7C1D04F0D591}"/>
          </ac:spMkLst>
        </pc:spChg>
        <pc:spChg chg="add del mod modVis">
          <ac:chgData name="Steiner Andreas 6206 ED" userId="e6377c33-a923-4f14-8587-531c474c7b48" providerId="ADAL" clId="{6ECD27E6-B224-41CD-B4E0-E297462320DD}" dt="2023-11-23T19:53:39.218" v="3138"/>
          <ac:spMkLst>
            <pc:docMk/>
            <pc:sldMk cId="299398864" sldId="256"/>
            <ac:spMk id="25" creationId="{4A3337F3-9246-12BC-478B-F06F524D30CE}"/>
          </ac:spMkLst>
        </pc:spChg>
        <pc:spChg chg="add del mod modVis">
          <ac:chgData name="Steiner Andreas 6206 ED" userId="e6377c33-a923-4f14-8587-531c474c7b48" providerId="ADAL" clId="{6ECD27E6-B224-41CD-B4E0-E297462320DD}" dt="2023-11-23T19:53:50.896" v="3293"/>
          <ac:spMkLst>
            <pc:docMk/>
            <pc:sldMk cId="299398864" sldId="256"/>
            <ac:spMk id="26" creationId="{74D23914-F32C-712F-A3BE-2BE84AC4AEC1}"/>
          </ac:spMkLst>
        </pc:spChg>
        <pc:spChg chg="add del mod modVis">
          <ac:chgData name="Steiner Andreas 6206 ED" userId="e6377c33-a923-4f14-8587-531c474c7b48" providerId="ADAL" clId="{6ECD27E6-B224-41CD-B4E0-E297462320DD}" dt="2023-11-23T19:54:02.569" v="3448"/>
          <ac:spMkLst>
            <pc:docMk/>
            <pc:sldMk cId="299398864" sldId="256"/>
            <ac:spMk id="27" creationId="{E733B79D-3AF1-39D6-EF0C-0616481FCF48}"/>
          </ac:spMkLst>
        </pc:spChg>
        <pc:spChg chg="add del mod modVis">
          <ac:chgData name="Steiner Andreas 6206 ED" userId="e6377c33-a923-4f14-8587-531c474c7b48" providerId="ADAL" clId="{6ECD27E6-B224-41CD-B4E0-E297462320DD}" dt="2023-11-23T19:54:14.259" v="3603"/>
          <ac:spMkLst>
            <pc:docMk/>
            <pc:sldMk cId="299398864" sldId="256"/>
            <ac:spMk id="28" creationId="{9D792CA9-0403-C8E4-106A-293E6F1F994C}"/>
          </ac:spMkLst>
        </pc:spChg>
        <pc:spChg chg="add del mod modVis">
          <ac:chgData name="Steiner Andreas 6206 ED" userId="e6377c33-a923-4f14-8587-531c474c7b48" providerId="ADAL" clId="{6ECD27E6-B224-41CD-B4E0-E297462320DD}" dt="2023-11-23T19:54:25.916" v="3758"/>
          <ac:spMkLst>
            <pc:docMk/>
            <pc:sldMk cId="299398864" sldId="256"/>
            <ac:spMk id="29" creationId="{C6A9075E-7D1C-948A-EF93-BDBFF1DB9806}"/>
          </ac:spMkLst>
        </pc:spChg>
        <pc:spChg chg="add del mod modVis">
          <ac:chgData name="Steiner Andreas 6206 ED" userId="e6377c33-a923-4f14-8587-531c474c7b48" providerId="ADAL" clId="{6ECD27E6-B224-41CD-B4E0-E297462320DD}" dt="2023-11-23T19:54:37.624" v="3913"/>
          <ac:spMkLst>
            <pc:docMk/>
            <pc:sldMk cId="299398864" sldId="256"/>
            <ac:spMk id="30" creationId="{3D3288C0-1460-927E-683C-D7580C49FB4B}"/>
          </ac:spMkLst>
        </pc:spChg>
        <pc:spChg chg="add del mod modVis">
          <ac:chgData name="Steiner Andreas 6206 ED" userId="e6377c33-a923-4f14-8587-531c474c7b48" providerId="ADAL" clId="{6ECD27E6-B224-41CD-B4E0-E297462320DD}" dt="2023-11-23T19:54:48.861" v="4068"/>
          <ac:spMkLst>
            <pc:docMk/>
            <pc:sldMk cId="299398864" sldId="256"/>
            <ac:spMk id="31" creationId="{91703FFD-F59E-D384-7EE1-0D5DEF64155E}"/>
          </ac:spMkLst>
        </pc:spChg>
        <pc:spChg chg="add del mod modVis">
          <ac:chgData name="Steiner Andreas 6206 ED" userId="e6377c33-a923-4f14-8587-531c474c7b48" providerId="ADAL" clId="{6ECD27E6-B224-41CD-B4E0-E297462320DD}" dt="2023-11-23T19:55:00.607" v="4223"/>
          <ac:spMkLst>
            <pc:docMk/>
            <pc:sldMk cId="299398864" sldId="256"/>
            <ac:spMk id="32" creationId="{39768ED0-834A-A3C2-AA9F-9C2869451E1E}"/>
          </ac:spMkLst>
        </pc:spChg>
        <pc:spChg chg="add del mod modVis">
          <ac:chgData name="Steiner Andreas 6206 ED" userId="e6377c33-a923-4f14-8587-531c474c7b48" providerId="ADAL" clId="{6ECD27E6-B224-41CD-B4E0-E297462320DD}" dt="2023-11-23T19:55:12.337" v="4378"/>
          <ac:spMkLst>
            <pc:docMk/>
            <pc:sldMk cId="299398864" sldId="256"/>
            <ac:spMk id="33" creationId="{9F948DCC-D24B-BB50-092B-855B53832CE8}"/>
          </ac:spMkLst>
        </pc:spChg>
        <pc:spChg chg="add del mod modVis">
          <ac:chgData name="Steiner Andreas 6206 ED" userId="e6377c33-a923-4f14-8587-531c474c7b48" providerId="ADAL" clId="{6ECD27E6-B224-41CD-B4E0-E297462320DD}" dt="2023-11-23T19:55:24.017" v="4533"/>
          <ac:spMkLst>
            <pc:docMk/>
            <pc:sldMk cId="299398864" sldId="256"/>
            <ac:spMk id="34" creationId="{1706E439-6361-4E3C-DF19-5A8E5293DD25}"/>
          </ac:spMkLst>
        </pc:spChg>
        <pc:spChg chg="add del mod modVis">
          <ac:chgData name="Steiner Andreas 6206 ED" userId="e6377c33-a923-4f14-8587-531c474c7b48" providerId="ADAL" clId="{6ECD27E6-B224-41CD-B4E0-E297462320DD}" dt="2023-11-23T19:55:35.683" v="4688"/>
          <ac:spMkLst>
            <pc:docMk/>
            <pc:sldMk cId="299398864" sldId="256"/>
            <ac:spMk id="35" creationId="{4F1CD9FC-125B-C694-B17B-58556A1A1889}"/>
          </ac:spMkLst>
        </pc:spChg>
        <pc:spChg chg="add del mod modVis">
          <ac:chgData name="Steiner Andreas 6206 ED" userId="e6377c33-a923-4f14-8587-531c474c7b48" providerId="ADAL" clId="{6ECD27E6-B224-41CD-B4E0-E297462320DD}" dt="2023-11-23T19:55:46.890" v="4843"/>
          <ac:spMkLst>
            <pc:docMk/>
            <pc:sldMk cId="299398864" sldId="256"/>
            <ac:spMk id="36" creationId="{24AE1FCA-77B9-0276-74B6-A2D001B95953}"/>
          </ac:spMkLst>
        </pc:spChg>
        <pc:spChg chg="add del mod modVis">
          <ac:chgData name="Steiner Andreas 6206 ED" userId="e6377c33-a923-4f14-8587-531c474c7b48" providerId="ADAL" clId="{6ECD27E6-B224-41CD-B4E0-E297462320DD}" dt="2023-11-23T19:55:58.662" v="4998"/>
          <ac:spMkLst>
            <pc:docMk/>
            <pc:sldMk cId="299398864" sldId="256"/>
            <ac:spMk id="37" creationId="{107273B1-E07D-A6CB-180A-20A9DEFE17CD}"/>
          </ac:spMkLst>
        </pc:spChg>
        <pc:spChg chg="add del mod modVis">
          <ac:chgData name="Steiner Andreas 6206 ED" userId="e6377c33-a923-4f14-8587-531c474c7b48" providerId="ADAL" clId="{6ECD27E6-B224-41CD-B4E0-E297462320DD}" dt="2023-11-23T19:56:10.314" v="5153"/>
          <ac:spMkLst>
            <pc:docMk/>
            <pc:sldMk cId="299398864" sldId="256"/>
            <ac:spMk id="38" creationId="{A4D69AC0-7079-C34E-E715-74F2A345FA58}"/>
          </ac:spMkLst>
        </pc:spChg>
        <pc:spChg chg="add del mod modVis">
          <ac:chgData name="Steiner Andreas 6206 ED" userId="e6377c33-a923-4f14-8587-531c474c7b48" providerId="ADAL" clId="{6ECD27E6-B224-41CD-B4E0-E297462320DD}" dt="2023-11-23T19:56:22.019" v="5308"/>
          <ac:spMkLst>
            <pc:docMk/>
            <pc:sldMk cId="299398864" sldId="256"/>
            <ac:spMk id="39" creationId="{0F191750-F39C-CA39-9DF2-70A2DC211DDE}"/>
          </ac:spMkLst>
        </pc:spChg>
        <pc:spChg chg="add del mod modVis">
          <ac:chgData name="Steiner Andreas 6206 ED" userId="e6377c33-a923-4f14-8587-531c474c7b48" providerId="ADAL" clId="{6ECD27E6-B224-41CD-B4E0-E297462320DD}" dt="2023-11-23T19:56:33.726" v="5463"/>
          <ac:spMkLst>
            <pc:docMk/>
            <pc:sldMk cId="299398864" sldId="256"/>
            <ac:spMk id="40" creationId="{3AD31B0C-7960-BC72-859F-33586595959C}"/>
          </ac:spMkLst>
        </pc:spChg>
        <pc:spChg chg="add del mod modVis">
          <ac:chgData name="Steiner Andreas 6206 ED" userId="e6377c33-a923-4f14-8587-531c474c7b48" providerId="ADAL" clId="{6ECD27E6-B224-41CD-B4E0-E297462320DD}" dt="2023-11-23T19:56:44.946" v="5618"/>
          <ac:spMkLst>
            <pc:docMk/>
            <pc:sldMk cId="299398864" sldId="256"/>
            <ac:spMk id="41" creationId="{D3D5293F-AFD1-DCC0-3D9C-C372317A3DF5}"/>
          </ac:spMkLst>
        </pc:spChg>
        <pc:spChg chg="add del mod modVis">
          <ac:chgData name="Steiner Andreas 6206 ED" userId="e6377c33-a923-4f14-8587-531c474c7b48" providerId="ADAL" clId="{6ECD27E6-B224-41CD-B4E0-E297462320DD}" dt="2023-11-23T19:56:55.438" v="5773"/>
          <ac:spMkLst>
            <pc:docMk/>
            <pc:sldMk cId="299398864" sldId="256"/>
            <ac:spMk id="42" creationId="{1B01D1CF-C665-3777-8CF2-8C11305B4582}"/>
          </ac:spMkLst>
        </pc:spChg>
        <pc:spChg chg="add del mod modVis">
          <ac:chgData name="Steiner Andreas 6206 ED" userId="e6377c33-a923-4f14-8587-531c474c7b48" providerId="ADAL" clId="{6ECD27E6-B224-41CD-B4E0-E297462320DD}" dt="2023-11-23T19:57:06.903" v="5928"/>
          <ac:spMkLst>
            <pc:docMk/>
            <pc:sldMk cId="299398864" sldId="256"/>
            <ac:spMk id="43" creationId="{BC5C7E39-884D-41E8-74BE-4EE2A48CD4A7}"/>
          </ac:spMkLst>
        </pc:spChg>
        <pc:spChg chg="add del mod modVis">
          <ac:chgData name="Steiner Andreas 6206 ED" userId="e6377c33-a923-4f14-8587-531c474c7b48" providerId="ADAL" clId="{6ECD27E6-B224-41CD-B4E0-E297462320DD}" dt="2023-11-23T19:57:18.600" v="6083"/>
          <ac:spMkLst>
            <pc:docMk/>
            <pc:sldMk cId="299398864" sldId="256"/>
            <ac:spMk id="44" creationId="{48ED6993-818F-58E1-1506-A51D4F61DCB1}"/>
          </ac:spMkLst>
        </pc:spChg>
        <pc:spChg chg="add del mod modVis">
          <ac:chgData name="Steiner Andreas 6206 ED" userId="e6377c33-a923-4f14-8587-531c474c7b48" providerId="ADAL" clId="{6ECD27E6-B224-41CD-B4E0-E297462320DD}" dt="2023-11-23T19:57:29.964" v="6238"/>
          <ac:spMkLst>
            <pc:docMk/>
            <pc:sldMk cId="299398864" sldId="256"/>
            <ac:spMk id="45" creationId="{EBAE91C9-A56D-EE6C-8B6B-CE56F875C894}"/>
          </ac:spMkLst>
        </pc:spChg>
        <pc:spChg chg="add del mod modVis">
          <ac:chgData name="Steiner Andreas 6206 ED" userId="e6377c33-a923-4f14-8587-531c474c7b48" providerId="ADAL" clId="{6ECD27E6-B224-41CD-B4E0-E297462320DD}" dt="2023-11-23T19:57:41.679" v="6393"/>
          <ac:spMkLst>
            <pc:docMk/>
            <pc:sldMk cId="299398864" sldId="256"/>
            <ac:spMk id="46" creationId="{55F4AC6A-1B5D-37FA-B367-2BACF3B2BBC3}"/>
          </ac:spMkLst>
        </pc:spChg>
        <pc:spChg chg="add del mod modVis">
          <ac:chgData name="Steiner Andreas 6206 ED" userId="e6377c33-a923-4f14-8587-531c474c7b48" providerId="ADAL" clId="{6ECD27E6-B224-41CD-B4E0-E297462320DD}" dt="2023-11-23T19:57:53.355" v="6548"/>
          <ac:spMkLst>
            <pc:docMk/>
            <pc:sldMk cId="299398864" sldId="256"/>
            <ac:spMk id="47" creationId="{7ACC266F-2D59-0495-1ABC-C4F1F06B3E8A}"/>
          </ac:spMkLst>
        </pc:spChg>
        <pc:spChg chg="add del mod modVis">
          <ac:chgData name="Steiner Andreas 6206 ED" userId="e6377c33-a923-4f14-8587-531c474c7b48" providerId="ADAL" clId="{6ECD27E6-B224-41CD-B4E0-E297462320DD}" dt="2023-11-23T19:58:05.062" v="6703"/>
          <ac:spMkLst>
            <pc:docMk/>
            <pc:sldMk cId="299398864" sldId="256"/>
            <ac:spMk id="48" creationId="{1F096E41-AA7E-9FEE-1F82-1ACFDDEB31A8}"/>
          </ac:spMkLst>
        </pc:spChg>
        <pc:spChg chg="add del mod modVis">
          <ac:chgData name="Steiner Andreas 6206 ED" userId="e6377c33-a923-4f14-8587-531c474c7b48" providerId="ADAL" clId="{6ECD27E6-B224-41CD-B4E0-E297462320DD}" dt="2023-11-23T19:58:16.384" v="6858"/>
          <ac:spMkLst>
            <pc:docMk/>
            <pc:sldMk cId="299398864" sldId="256"/>
            <ac:spMk id="49" creationId="{C1F72C01-EADF-05CE-7CF5-CC22B05EFAA0}"/>
          </ac:spMkLst>
        </pc:spChg>
        <pc:spChg chg="add del mod modVis">
          <ac:chgData name="Steiner Andreas 6206 ED" userId="e6377c33-a923-4f14-8587-531c474c7b48" providerId="ADAL" clId="{6ECD27E6-B224-41CD-B4E0-E297462320DD}" dt="2023-11-23T19:58:28.579" v="7013"/>
          <ac:spMkLst>
            <pc:docMk/>
            <pc:sldMk cId="299398864" sldId="256"/>
            <ac:spMk id="50" creationId="{237B1AA3-7909-BF7C-07E3-EB05DE2D6423}"/>
          </ac:spMkLst>
        </pc:spChg>
        <pc:spChg chg="add del mod modVis">
          <ac:chgData name="Steiner Andreas 6206 ED" userId="e6377c33-a923-4f14-8587-531c474c7b48" providerId="ADAL" clId="{6ECD27E6-B224-41CD-B4E0-E297462320DD}" dt="2023-11-23T19:58:40.331" v="7168"/>
          <ac:spMkLst>
            <pc:docMk/>
            <pc:sldMk cId="299398864" sldId="256"/>
            <ac:spMk id="51" creationId="{9C6C29D2-DD73-1152-5C75-3A73D4CFB860}"/>
          </ac:spMkLst>
        </pc:spChg>
        <pc:spChg chg="add del mod modVis">
          <ac:chgData name="Steiner Andreas 6206 ED" userId="e6377c33-a923-4f14-8587-531c474c7b48" providerId="ADAL" clId="{6ECD27E6-B224-41CD-B4E0-E297462320DD}" dt="2023-11-23T19:58:51.980" v="7323"/>
          <ac:spMkLst>
            <pc:docMk/>
            <pc:sldMk cId="299398864" sldId="256"/>
            <ac:spMk id="52" creationId="{C07A3B8B-2089-8EB1-6E7B-EE958C38664D}"/>
          </ac:spMkLst>
        </pc:spChg>
        <pc:spChg chg="add del mod modVis">
          <ac:chgData name="Steiner Andreas 6206 ED" userId="e6377c33-a923-4f14-8587-531c474c7b48" providerId="ADAL" clId="{6ECD27E6-B224-41CD-B4E0-E297462320DD}" dt="2023-11-23T19:59:03.274" v="7478"/>
          <ac:spMkLst>
            <pc:docMk/>
            <pc:sldMk cId="299398864" sldId="256"/>
            <ac:spMk id="53" creationId="{DA766216-CCDC-E0D8-18A8-CF5F2807991A}"/>
          </ac:spMkLst>
        </pc:spChg>
        <pc:spChg chg="add del mod modVis">
          <ac:chgData name="Steiner Andreas 6206 ED" userId="e6377c33-a923-4f14-8587-531c474c7b48" providerId="ADAL" clId="{6ECD27E6-B224-41CD-B4E0-E297462320DD}" dt="2023-11-24T08:31:42.236" v="7633"/>
          <ac:spMkLst>
            <pc:docMk/>
            <pc:sldMk cId="299398864" sldId="256"/>
            <ac:spMk id="54" creationId="{ABC3E38C-587D-AB72-55BB-FC49BD1AD28D}"/>
          </ac:spMkLst>
        </pc:spChg>
        <pc:spChg chg="add del mod modVis">
          <ac:chgData name="Steiner Andreas 6206 ED" userId="e6377c33-a923-4f14-8587-531c474c7b48" providerId="ADAL" clId="{6ECD27E6-B224-41CD-B4E0-E297462320DD}" dt="2023-11-24T08:31:45.925" v="7788"/>
          <ac:spMkLst>
            <pc:docMk/>
            <pc:sldMk cId="299398864" sldId="256"/>
            <ac:spMk id="55" creationId="{F0B05571-CDF2-3267-2A66-6D333FB6121A}"/>
          </ac:spMkLst>
        </pc:spChg>
        <pc:spChg chg="add del mod modVis">
          <ac:chgData name="Steiner Andreas 6206 ED" userId="e6377c33-a923-4f14-8587-531c474c7b48" providerId="ADAL" clId="{6ECD27E6-B224-41CD-B4E0-E297462320DD}" dt="2023-11-24T08:31:47.766" v="7943"/>
          <ac:spMkLst>
            <pc:docMk/>
            <pc:sldMk cId="299398864" sldId="256"/>
            <ac:spMk id="56" creationId="{A17D60C8-F2BB-EA03-4894-F5FA689B2740}"/>
          </ac:spMkLst>
        </pc:spChg>
        <pc:spChg chg="add del mod modVis">
          <ac:chgData name="Steiner Andreas 6206 ED" userId="e6377c33-a923-4f14-8587-531c474c7b48" providerId="ADAL" clId="{6ECD27E6-B224-41CD-B4E0-E297462320DD}" dt="2023-11-24T08:31:49.675" v="8098"/>
          <ac:spMkLst>
            <pc:docMk/>
            <pc:sldMk cId="299398864" sldId="256"/>
            <ac:spMk id="57" creationId="{430E3CC0-96F7-3FB8-9CB6-80B64A1E6563}"/>
          </ac:spMkLst>
        </pc:spChg>
        <pc:spChg chg="add del mod modVis">
          <ac:chgData name="Steiner Andreas 6206 ED" userId="e6377c33-a923-4f14-8587-531c474c7b48" providerId="ADAL" clId="{6ECD27E6-B224-41CD-B4E0-E297462320DD}" dt="2023-11-24T08:31:51.471" v="8253"/>
          <ac:spMkLst>
            <pc:docMk/>
            <pc:sldMk cId="299398864" sldId="256"/>
            <ac:spMk id="58" creationId="{4190988A-5307-0DB0-0D79-E19D6636B055}"/>
          </ac:spMkLst>
        </pc:spChg>
        <pc:spChg chg="add del mod modVis">
          <ac:chgData name="Steiner Andreas 6206 ED" userId="e6377c33-a923-4f14-8587-531c474c7b48" providerId="ADAL" clId="{6ECD27E6-B224-41CD-B4E0-E297462320DD}" dt="2023-11-24T08:31:53.282" v="8408"/>
          <ac:spMkLst>
            <pc:docMk/>
            <pc:sldMk cId="299398864" sldId="256"/>
            <ac:spMk id="59" creationId="{4FD570D6-8882-42D7-12AE-ABD105627E60}"/>
          </ac:spMkLst>
        </pc:spChg>
        <pc:spChg chg="add del mod modVis">
          <ac:chgData name="Steiner Andreas 6206 ED" userId="e6377c33-a923-4f14-8587-531c474c7b48" providerId="ADAL" clId="{6ECD27E6-B224-41CD-B4E0-E297462320DD}" dt="2023-11-24T08:31:55.091" v="8563"/>
          <ac:spMkLst>
            <pc:docMk/>
            <pc:sldMk cId="299398864" sldId="256"/>
            <ac:spMk id="60" creationId="{C940D08F-96BD-5158-4E19-D48ED413748F}"/>
          </ac:spMkLst>
        </pc:spChg>
        <pc:spChg chg="add del mod modVis">
          <ac:chgData name="Steiner Andreas 6206 ED" userId="e6377c33-a923-4f14-8587-531c474c7b48" providerId="ADAL" clId="{6ECD27E6-B224-41CD-B4E0-E297462320DD}" dt="2023-11-24T08:31:56.944" v="8718"/>
          <ac:spMkLst>
            <pc:docMk/>
            <pc:sldMk cId="299398864" sldId="256"/>
            <ac:spMk id="61" creationId="{6B2CC6D9-FF87-AAC0-9052-18F1CE617442}"/>
          </ac:spMkLst>
        </pc:spChg>
        <pc:spChg chg="add del mod modVis">
          <ac:chgData name="Steiner Andreas 6206 ED" userId="e6377c33-a923-4f14-8587-531c474c7b48" providerId="ADAL" clId="{6ECD27E6-B224-41CD-B4E0-E297462320DD}" dt="2023-11-24T08:31:58.898" v="8873"/>
          <ac:spMkLst>
            <pc:docMk/>
            <pc:sldMk cId="299398864" sldId="256"/>
            <ac:spMk id="62" creationId="{3DF5DA67-E450-77F7-3403-6319B302EA73}"/>
          </ac:spMkLst>
        </pc:spChg>
        <pc:spChg chg="add del mod modVis">
          <ac:chgData name="Steiner Andreas 6206 ED" userId="e6377c33-a923-4f14-8587-531c474c7b48" providerId="ADAL" clId="{6ECD27E6-B224-41CD-B4E0-E297462320DD}" dt="2023-11-24T08:32:01.559" v="9028"/>
          <ac:spMkLst>
            <pc:docMk/>
            <pc:sldMk cId="299398864" sldId="256"/>
            <ac:spMk id="63" creationId="{AEB33AB6-013E-C777-9EAD-44873F320B0E}"/>
          </ac:spMkLst>
        </pc:spChg>
        <pc:spChg chg="add del mod modVis">
          <ac:chgData name="Steiner Andreas 6206 ED" userId="e6377c33-a923-4f14-8587-531c474c7b48" providerId="ADAL" clId="{6ECD27E6-B224-41CD-B4E0-E297462320DD}" dt="2023-11-24T08:32:03.868" v="9183"/>
          <ac:spMkLst>
            <pc:docMk/>
            <pc:sldMk cId="299398864" sldId="256"/>
            <ac:spMk id="64" creationId="{656398C5-B8A6-1ACB-0CE0-6513869CDFFB}"/>
          </ac:spMkLst>
        </pc:spChg>
        <pc:spChg chg="add del mod modVis">
          <ac:chgData name="Steiner Andreas 6206 ED" userId="e6377c33-a923-4f14-8587-531c474c7b48" providerId="ADAL" clId="{6ECD27E6-B224-41CD-B4E0-E297462320DD}" dt="2023-11-24T08:32:05.876" v="9338"/>
          <ac:spMkLst>
            <pc:docMk/>
            <pc:sldMk cId="299398864" sldId="256"/>
            <ac:spMk id="65" creationId="{F983BED2-C34E-3AA7-3621-878009EA3677}"/>
          </ac:spMkLst>
        </pc:spChg>
        <pc:spChg chg="add del mod modVis">
          <ac:chgData name="Steiner Andreas 6206 ED" userId="e6377c33-a923-4f14-8587-531c474c7b48" providerId="ADAL" clId="{6ECD27E6-B224-41CD-B4E0-E297462320DD}" dt="2023-11-24T08:32:07.976" v="9493"/>
          <ac:spMkLst>
            <pc:docMk/>
            <pc:sldMk cId="299398864" sldId="256"/>
            <ac:spMk id="66" creationId="{662DB35F-B2BF-187B-3546-BECC426AFB65}"/>
          </ac:spMkLst>
        </pc:spChg>
        <pc:spChg chg="add del mod modVis">
          <ac:chgData name="Steiner Andreas 6206 ED" userId="e6377c33-a923-4f14-8587-531c474c7b48" providerId="ADAL" clId="{6ECD27E6-B224-41CD-B4E0-E297462320DD}" dt="2023-11-24T08:32:10.266" v="9648"/>
          <ac:spMkLst>
            <pc:docMk/>
            <pc:sldMk cId="299398864" sldId="256"/>
            <ac:spMk id="67" creationId="{9F42CAA8-A729-CD2B-0C04-1A093323034C}"/>
          </ac:spMkLst>
        </pc:spChg>
        <pc:spChg chg="add del mod modVis">
          <ac:chgData name="Steiner Andreas 6206 ED" userId="e6377c33-a923-4f14-8587-531c474c7b48" providerId="ADAL" clId="{6ECD27E6-B224-41CD-B4E0-E297462320DD}" dt="2023-11-24T08:32:12.617" v="9803"/>
          <ac:spMkLst>
            <pc:docMk/>
            <pc:sldMk cId="299398864" sldId="256"/>
            <ac:spMk id="68" creationId="{8BF553AE-E1B7-5ED3-0259-040EC1ACBA61}"/>
          </ac:spMkLst>
        </pc:spChg>
        <pc:spChg chg="add del mod modVis">
          <ac:chgData name="Steiner Andreas 6206 ED" userId="e6377c33-a923-4f14-8587-531c474c7b48" providerId="ADAL" clId="{6ECD27E6-B224-41CD-B4E0-E297462320DD}" dt="2023-11-24T08:32:14.613" v="9958"/>
          <ac:spMkLst>
            <pc:docMk/>
            <pc:sldMk cId="299398864" sldId="256"/>
            <ac:spMk id="69" creationId="{F9B851D1-469A-5474-A838-493D405DF24F}"/>
          </ac:spMkLst>
        </pc:spChg>
        <pc:spChg chg="add del mod modVis">
          <ac:chgData name="Steiner Andreas 6206 ED" userId="e6377c33-a923-4f14-8587-531c474c7b48" providerId="ADAL" clId="{6ECD27E6-B224-41CD-B4E0-E297462320DD}" dt="2023-11-24T08:32:16.656" v="10113"/>
          <ac:spMkLst>
            <pc:docMk/>
            <pc:sldMk cId="299398864" sldId="256"/>
            <ac:spMk id="70" creationId="{8A851003-2EC8-5EC6-BD11-86C61562F27B}"/>
          </ac:spMkLst>
        </pc:spChg>
        <pc:spChg chg="add del mod modVis">
          <ac:chgData name="Steiner Andreas 6206 ED" userId="e6377c33-a923-4f14-8587-531c474c7b48" providerId="ADAL" clId="{6ECD27E6-B224-41CD-B4E0-E297462320DD}" dt="2023-11-24T08:32:18.680" v="10268"/>
          <ac:spMkLst>
            <pc:docMk/>
            <pc:sldMk cId="299398864" sldId="256"/>
            <ac:spMk id="71" creationId="{36F34F8E-0315-059B-5C75-FB0974D60DD1}"/>
          </ac:spMkLst>
        </pc:spChg>
        <pc:spChg chg="add del mod modVis">
          <ac:chgData name="Steiner Andreas 6206 ED" userId="e6377c33-a923-4f14-8587-531c474c7b48" providerId="ADAL" clId="{6ECD27E6-B224-41CD-B4E0-E297462320DD}" dt="2023-11-24T08:32:20.636" v="10423"/>
          <ac:spMkLst>
            <pc:docMk/>
            <pc:sldMk cId="299398864" sldId="256"/>
            <ac:spMk id="72" creationId="{FF7DC53B-1524-BE67-311C-B100EBC0506D}"/>
          </ac:spMkLst>
        </pc:spChg>
        <pc:spChg chg="add del mod modVis">
          <ac:chgData name="Steiner Andreas 6206 ED" userId="e6377c33-a923-4f14-8587-531c474c7b48" providerId="ADAL" clId="{6ECD27E6-B224-41CD-B4E0-E297462320DD}" dt="2023-11-24T08:32:22.549" v="10578"/>
          <ac:spMkLst>
            <pc:docMk/>
            <pc:sldMk cId="299398864" sldId="256"/>
            <ac:spMk id="73" creationId="{42B9DBFF-4BF2-1C27-900E-165BEDAB8996}"/>
          </ac:spMkLst>
        </pc:spChg>
        <pc:spChg chg="add del mod modVis">
          <ac:chgData name="Steiner Andreas 6206 ED" userId="e6377c33-a923-4f14-8587-531c474c7b48" providerId="ADAL" clId="{6ECD27E6-B224-41CD-B4E0-E297462320DD}" dt="2023-11-24T08:32:24.755" v="10733"/>
          <ac:spMkLst>
            <pc:docMk/>
            <pc:sldMk cId="299398864" sldId="256"/>
            <ac:spMk id="74" creationId="{DD9A35D7-7108-24B8-E358-7E3D27B048C2}"/>
          </ac:spMkLst>
        </pc:spChg>
        <pc:spChg chg="add del mod modVis">
          <ac:chgData name="Steiner Andreas 6206 ED" userId="e6377c33-a923-4f14-8587-531c474c7b48" providerId="ADAL" clId="{6ECD27E6-B224-41CD-B4E0-E297462320DD}" dt="2023-11-24T08:32:26.677" v="10888"/>
          <ac:spMkLst>
            <pc:docMk/>
            <pc:sldMk cId="299398864" sldId="256"/>
            <ac:spMk id="75" creationId="{7E713658-D95F-D457-2943-EDCECA75C627}"/>
          </ac:spMkLst>
        </pc:spChg>
        <pc:spChg chg="add del mod modVis">
          <ac:chgData name="Steiner Andreas 6206 ED" userId="e6377c33-a923-4f14-8587-531c474c7b48" providerId="ADAL" clId="{6ECD27E6-B224-41CD-B4E0-E297462320DD}" dt="2023-11-24T08:32:28.682" v="11043"/>
          <ac:spMkLst>
            <pc:docMk/>
            <pc:sldMk cId="299398864" sldId="256"/>
            <ac:spMk id="76" creationId="{1EE5F053-00DC-BF0C-30F3-0E6BDC5DEE86}"/>
          </ac:spMkLst>
        </pc:spChg>
        <pc:spChg chg="add del mod modVis">
          <ac:chgData name="Steiner Andreas 6206 ED" userId="e6377c33-a923-4f14-8587-531c474c7b48" providerId="ADAL" clId="{6ECD27E6-B224-41CD-B4E0-E297462320DD}" dt="2023-11-24T08:32:30.560" v="11198"/>
          <ac:spMkLst>
            <pc:docMk/>
            <pc:sldMk cId="299398864" sldId="256"/>
            <ac:spMk id="77" creationId="{A10E0C07-2BEC-8FFE-A87D-5F8E150A91D8}"/>
          </ac:spMkLst>
        </pc:spChg>
        <pc:spChg chg="add del mod modVis">
          <ac:chgData name="Steiner Andreas 6206 ED" userId="e6377c33-a923-4f14-8587-531c474c7b48" providerId="ADAL" clId="{6ECD27E6-B224-41CD-B4E0-E297462320DD}" dt="2023-11-24T08:32:32.757" v="11353"/>
          <ac:spMkLst>
            <pc:docMk/>
            <pc:sldMk cId="299398864" sldId="256"/>
            <ac:spMk id="78" creationId="{9E0C966F-8B4E-BCA0-B1FF-E5753FAFC833}"/>
          </ac:spMkLst>
        </pc:spChg>
        <pc:spChg chg="add del mod modVis">
          <ac:chgData name="Steiner Andreas 6206 ED" userId="e6377c33-a923-4f14-8587-531c474c7b48" providerId="ADAL" clId="{6ECD27E6-B224-41CD-B4E0-E297462320DD}" dt="2023-11-24T08:32:35.257" v="11508"/>
          <ac:spMkLst>
            <pc:docMk/>
            <pc:sldMk cId="299398864" sldId="256"/>
            <ac:spMk id="79" creationId="{0709E2CC-6DDE-C331-6559-971A10E5D864}"/>
          </ac:spMkLst>
        </pc:spChg>
        <pc:spChg chg="add del mod modVis">
          <ac:chgData name="Steiner Andreas 6206 ED" userId="e6377c33-a923-4f14-8587-531c474c7b48" providerId="ADAL" clId="{6ECD27E6-B224-41CD-B4E0-E297462320DD}" dt="2023-11-24T08:32:37.367" v="11663"/>
          <ac:spMkLst>
            <pc:docMk/>
            <pc:sldMk cId="299398864" sldId="256"/>
            <ac:spMk id="80" creationId="{49B52FDC-92B9-1C62-C7D7-CF3DB787EB26}"/>
          </ac:spMkLst>
        </pc:spChg>
        <pc:spChg chg="add del mod modVis">
          <ac:chgData name="Steiner Andreas 6206 ED" userId="e6377c33-a923-4f14-8587-531c474c7b48" providerId="ADAL" clId="{6ECD27E6-B224-41CD-B4E0-E297462320DD}" dt="2023-11-24T08:32:39.351" v="11818"/>
          <ac:spMkLst>
            <pc:docMk/>
            <pc:sldMk cId="299398864" sldId="256"/>
            <ac:spMk id="81" creationId="{B59DE088-045C-693B-7883-1FDADBB755EB}"/>
          </ac:spMkLst>
        </pc:spChg>
        <pc:spChg chg="add del mod modVis">
          <ac:chgData name="Steiner Andreas 6206 ED" userId="e6377c33-a923-4f14-8587-531c474c7b48" providerId="ADAL" clId="{6ECD27E6-B224-41CD-B4E0-E297462320DD}" dt="2023-11-24T08:32:41.493" v="11973"/>
          <ac:spMkLst>
            <pc:docMk/>
            <pc:sldMk cId="299398864" sldId="256"/>
            <ac:spMk id="82" creationId="{82F4B744-FE0B-A42A-FC9E-53BEADE6CD99}"/>
          </ac:spMkLst>
        </pc:spChg>
        <pc:spChg chg="add del mod modVis">
          <ac:chgData name="Steiner Andreas 6206 ED" userId="e6377c33-a923-4f14-8587-531c474c7b48" providerId="ADAL" clId="{6ECD27E6-B224-41CD-B4E0-E297462320DD}" dt="2023-11-24T08:32:43.665" v="12128"/>
          <ac:spMkLst>
            <pc:docMk/>
            <pc:sldMk cId="299398864" sldId="256"/>
            <ac:spMk id="83" creationId="{A8037D4E-8468-0361-2FE9-F2C36779E934}"/>
          </ac:spMkLst>
        </pc:spChg>
        <pc:spChg chg="add del mod modVis">
          <ac:chgData name="Steiner Andreas 6206 ED" userId="e6377c33-a923-4f14-8587-531c474c7b48" providerId="ADAL" clId="{6ECD27E6-B224-41CD-B4E0-E297462320DD}" dt="2023-11-24T08:32:45.742" v="12283"/>
          <ac:spMkLst>
            <pc:docMk/>
            <pc:sldMk cId="299398864" sldId="256"/>
            <ac:spMk id="84" creationId="{601B9394-6904-C68A-EA5D-06696C9329ED}"/>
          </ac:spMkLst>
        </pc:spChg>
        <pc:spChg chg="add del mod modVis">
          <ac:chgData name="Steiner Andreas 6206 ED" userId="e6377c33-a923-4f14-8587-531c474c7b48" providerId="ADAL" clId="{6ECD27E6-B224-41CD-B4E0-E297462320DD}" dt="2023-11-24T08:32:47.991" v="12438"/>
          <ac:spMkLst>
            <pc:docMk/>
            <pc:sldMk cId="299398864" sldId="256"/>
            <ac:spMk id="85" creationId="{31448830-D063-38D0-D7DE-46125EDD37FC}"/>
          </ac:spMkLst>
        </pc:spChg>
        <pc:spChg chg="add del mod modVis">
          <ac:chgData name="Steiner Andreas 6206 ED" userId="e6377c33-a923-4f14-8587-531c474c7b48" providerId="ADAL" clId="{6ECD27E6-B224-41CD-B4E0-E297462320DD}" dt="2023-11-24T08:32:50.016" v="12593"/>
          <ac:spMkLst>
            <pc:docMk/>
            <pc:sldMk cId="299398864" sldId="256"/>
            <ac:spMk id="86" creationId="{82F6C5FD-EF1F-CE5F-9048-7ABCA72038AC}"/>
          </ac:spMkLst>
        </pc:spChg>
        <pc:spChg chg="add del mod modVis">
          <ac:chgData name="Steiner Andreas 6206 ED" userId="e6377c33-a923-4f14-8587-531c474c7b48" providerId="ADAL" clId="{6ECD27E6-B224-41CD-B4E0-E297462320DD}" dt="2023-11-24T08:32:51.990" v="12748"/>
          <ac:spMkLst>
            <pc:docMk/>
            <pc:sldMk cId="299398864" sldId="256"/>
            <ac:spMk id="87" creationId="{A8B84179-BBA6-F85F-F315-2C59D9C77142}"/>
          </ac:spMkLst>
        </pc:spChg>
        <pc:spChg chg="add del mod modVis">
          <ac:chgData name="Steiner Andreas 6206 ED" userId="e6377c33-a923-4f14-8587-531c474c7b48" providerId="ADAL" clId="{6ECD27E6-B224-41CD-B4E0-E297462320DD}" dt="2023-11-24T08:32:53.943" v="12903"/>
          <ac:spMkLst>
            <pc:docMk/>
            <pc:sldMk cId="299398864" sldId="256"/>
            <ac:spMk id="88" creationId="{FFC08106-E492-C549-F9EB-A542101C965B}"/>
          </ac:spMkLst>
        </pc:spChg>
        <pc:spChg chg="add del mod modVis">
          <ac:chgData name="Steiner Andreas 6206 ED" userId="e6377c33-a923-4f14-8587-531c474c7b48" providerId="ADAL" clId="{6ECD27E6-B224-41CD-B4E0-E297462320DD}" dt="2023-11-24T08:32:55.939" v="13058"/>
          <ac:spMkLst>
            <pc:docMk/>
            <pc:sldMk cId="299398864" sldId="256"/>
            <ac:spMk id="89" creationId="{983C422F-BF20-F12C-D7F8-3DE695CA8051}"/>
          </ac:spMkLst>
        </pc:spChg>
        <pc:spChg chg="add del mod modVis">
          <ac:chgData name="Steiner Andreas 6206 ED" userId="e6377c33-a923-4f14-8587-531c474c7b48" providerId="ADAL" clId="{6ECD27E6-B224-41CD-B4E0-E297462320DD}" dt="2023-11-24T08:32:57.913" v="13213"/>
          <ac:spMkLst>
            <pc:docMk/>
            <pc:sldMk cId="299398864" sldId="256"/>
            <ac:spMk id="90" creationId="{4018A78F-60C5-DBFD-59CE-E12310424894}"/>
          </ac:spMkLst>
        </pc:spChg>
        <pc:spChg chg="add del mod modVis">
          <ac:chgData name="Steiner Andreas 6206 ED" userId="e6377c33-a923-4f14-8587-531c474c7b48" providerId="ADAL" clId="{6ECD27E6-B224-41CD-B4E0-E297462320DD}" dt="2023-11-24T08:33:00.011" v="13368"/>
          <ac:spMkLst>
            <pc:docMk/>
            <pc:sldMk cId="299398864" sldId="256"/>
            <ac:spMk id="91" creationId="{615988A1-0D81-8A51-AD74-098FE24D17F5}"/>
          </ac:spMkLst>
        </pc:spChg>
        <pc:spChg chg="add del mod modVis">
          <ac:chgData name="Steiner Andreas 6206 ED" userId="e6377c33-a923-4f14-8587-531c474c7b48" providerId="ADAL" clId="{6ECD27E6-B224-41CD-B4E0-E297462320DD}" dt="2023-11-24T08:33:02.217" v="13523"/>
          <ac:spMkLst>
            <pc:docMk/>
            <pc:sldMk cId="299398864" sldId="256"/>
            <ac:spMk id="92" creationId="{B9A2133D-7365-E120-076C-4564B5A5CCA6}"/>
          </ac:spMkLst>
        </pc:spChg>
        <pc:spChg chg="add del mod modVis">
          <ac:chgData name="Steiner Andreas 6206 ED" userId="e6377c33-a923-4f14-8587-531c474c7b48" providerId="ADAL" clId="{6ECD27E6-B224-41CD-B4E0-E297462320DD}" dt="2023-11-24T08:33:04.387" v="13678"/>
          <ac:spMkLst>
            <pc:docMk/>
            <pc:sldMk cId="299398864" sldId="256"/>
            <ac:spMk id="93" creationId="{DD4F1DEC-4720-7627-BA40-ED3C19052A38}"/>
          </ac:spMkLst>
        </pc:spChg>
        <pc:spChg chg="add del mod modVis">
          <ac:chgData name="Steiner Andreas 6206 ED" userId="e6377c33-a923-4f14-8587-531c474c7b48" providerId="ADAL" clId="{6ECD27E6-B224-41CD-B4E0-E297462320DD}" dt="2023-11-24T08:33:06.952" v="13833"/>
          <ac:spMkLst>
            <pc:docMk/>
            <pc:sldMk cId="299398864" sldId="256"/>
            <ac:spMk id="94" creationId="{6B043831-27AF-ADCC-8D1A-10EC530E04D3}"/>
          </ac:spMkLst>
        </pc:spChg>
        <pc:spChg chg="add del mod modVis">
          <ac:chgData name="Steiner Andreas 6206 ED" userId="e6377c33-a923-4f14-8587-531c474c7b48" providerId="ADAL" clId="{6ECD27E6-B224-41CD-B4E0-E297462320DD}" dt="2023-11-24T08:33:09.141" v="13988"/>
          <ac:spMkLst>
            <pc:docMk/>
            <pc:sldMk cId="299398864" sldId="256"/>
            <ac:spMk id="95" creationId="{A0CAC807-6520-F53A-D1F0-4B337BD97B07}"/>
          </ac:spMkLst>
        </pc:spChg>
        <pc:spChg chg="add del mod modVis">
          <ac:chgData name="Steiner Andreas 6206 ED" userId="e6377c33-a923-4f14-8587-531c474c7b48" providerId="ADAL" clId="{6ECD27E6-B224-41CD-B4E0-E297462320DD}" dt="2023-11-24T08:33:11.429" v="14143"/>
          <ac:spMkLst>
            <pc:docMk/>
            <pc:sldMk cId="299398864" sldId="256"/>
            <ac:spMk id="96" creationId="{A3432710-F639-3445-3F93-38E617A73474}"/>
          </ac:spMkLst>
        </pc:spChg>
        <pc:spChg chg="add del mod modVis">
          <ac:chgData name="Steiner Andreas 6206 ED" userId="e6377c33-a923-4f14-8587-531c474c7b48" providerId="ADAL" clId="{6ECD27E6-B224-41CD-B4E0-E297462320DD}" dt="2023-11-24T08:33:13.434" v="14298"/>
          <ac:spMkLst>
            <pc:docMk/>
            <pc:sldMk cId="299398864" sldId="256"/>
            <ac:spMk id="97" creationId="{A6C5B088-DD3A-E3E5-0A02-09E53F75D69F}"/>
          </ac:spMkLst>
        </pc:spChg>
        <pc:spChg chg="add del mod modVis">
          <ac:chgData name="Steiner Andreas 6206 ED" userId="e6377c33-a923-4f14-8587-531c474c7b48" providerId="ADAL" clId="{6ECD27E6-B224-41CD-B4E0-E297462320DD}" dt="2023-11-24T08:33:15.325" v="14453"/>
          <ac:spMkLst>
            <pc:docMk/>
            <pc:sldMk cId="299398864" sldId="256"/>
            <ac:spMk id="98" creationId="{3459A957-6D56-31F2-C39E-F20924D30297}"/>
          </ac:spMkLst>
        </pc:spChg>
        <pc:spChg chg="add del mod modVis">
          <ac:chgData name="Steiner Andreas 6206 ED" userId="e6377c33-a923-4f14-8587-531c474c7b48" providerId="ADAL" clId="{6ECD27E6-B224-41CD-B4E0-E297462320DD}" dt="2023-11-24T08:33:17.378" v="14608"/>
          <ac:spMkLst>
            <pc:docMk/>
            <pc:sldMk cId="299398864" sldId="256"/>
            <ac:spMk id="99" creationId="{D3313D9C-6152-F443-EE31-5B71CDB4EC10}"/>
          </ac:spMkLst>
        </pc:spChg>
        <pc:spChg chg="add del mod modVis">
          <ac:chgData name="Steiner Andreas 6206 ED" userId="e6377c33-a923-4f14-8587-531c474c7b48" providerId="ADAL" clId="{6ECD27E6-B224-41CD-B4E0-E297462320DD}" dt="2023-11-24T08:33:19.710" v="14763"/>
          <ac:spMkLst>
            <pc:docMk/>
            <pc:sldMk cId="299398864" sldId="256"/>
            <ac:spMk id="100" creationId="{9EBC7527-1ED0-A4FE-9476-E73100C18520}"/>
          </ac:spMkLst>
        </pc:spChg>
        <pc:spChg chg="add del mod modVis">
          <ac:chgData name="Steiner Andreas 6206 ED" userId="e6377c33-a923-4f14-8587-531c474c7b48" providerId="ADAL" clId="{6ECD27E6-B224-41CD-B4E0-E297462320DD}" dt="2023-11-24T08:33:22.237" v="14918"/>
          <ac:spMkLst>
            <pc:docMk/>
            <pc:sldMk cId="299398864" sldId="256"/>
            <ac:spMk id="101" creationId="{E8FFAF8C-19D5-953E-2367-F4F9F4BB9A79}"/>
          </ac:spMkLst>
        </pc:spChg>
        <pc:spChg chg="add del mod modVis">
          <ac:chgData name="Steiner Andreas 6206 ED" userId="e6377c33-a923-4f14-8587-531c474c7b48" providerId="ADAL" clId="{6ECD27E6-B224-41CD-B4E0-E297462320DD}" dt="2023-11-24T08:33:24.431" v="15073"/>
          <ac:spMkLst>
            <pc:docMk/>
            <pc:sldMk cId="299398864" sldId="256"/>
            <ac:spMk id="102" creationId="{3F6163F0-DE1D-ECEA-D228-13BE2296536A}"/>
          </ac:spMkLst>
        </pc:spChg>
        <pc:spChg chg="add del mod modVis">
          <ac:chgData name="Steiner Andreas 6206 ED" userId="e6377c33-a923-4f14-8587-531c474c7b48" providerId="ADAL" clId="{6ECD27E6-B224-41CD-B4E0-E297462320DD}" dt="2023-11-24T08:33:26.749" v="15228"/>
          <ac:spMkLst>
            <pc:docMk/>
            <pc:sldMk cId="299398864" sldId="256"/>
            <ac:spMk id="103" creationId="{C687C88E-7C8D-D473-83BD-CFA79C75D0F8}"/>
          </ac:spMkLst>
        </pc:spChg>
        <pc:spChg chg="add del mod modVis">
          <ac:chgData name="Steiner Andreas 6206 ED" userId="e6377c33-a923-4f14-8587-531c474c7b48" providerId="ADAL" clId="{6ECD27E6-B224-41CD-B4E0-E297462320DD}" dt="2023-11-24T08:33:29.226" v="15383"/>
          <ac:spMkLst>
            <pc:docMk/>
            <pc:sldMk cId="299398864" sldId="256"/>
            <ac:spMk id="104" creationId="{C566EEAD-BB13-DCDB-B690-5308099566ED}"/>
          </ac:spMkLst>
        </pc:spChg>
        <pc:spChg chg="add del mod modVis">
          <ac:chgData name="Steiner Andreas 6206 ED" userId="e6377c33-a923-4f14-8587-531c474c7b48" providerId="ADAL" clId="{6ECD27E6-B224-41CD-B4E0-E297462320DD}" dt="2023-11-24T08:33:31.689" v="15538"/>
          <ac:spMkLst>
            <pc:docMk/>
            <pc:sldMk cId="299398864" sldId="256"/>
            <ac:spMk id="105" creationId="{13D4C749-7EBA-5866-34DE-77E4C578FA0B}"/>
          </ac:spMkLst>
        </pc:spChg>
        <pc:spChg chg="add del mod modVis">
          <ac:chgData name="Steiner Andreas 6206 ED" userId="e6377c33-a923-4f14-8587-531c474c7b48" providerId="ADAL" clId="{6ECD27E6-B224-41CD-B4E0-E297462320DD}" dt="2023-11-24T08:33:34.439" v="15693"/>
          <ac:spMkLst>
            <pc:docMk/>
            <pc:sldMk cId="299398864" sldId="256"/>
            <ac:spMk id="106" creationId="{C6DBD56B-F222-3A11-FF36-3E02DF746205}"/>
          </ac:spMkLst>
        </pc:spChg>
        <pc:spChg chg="add del mod modVis">
          <ac:chgData name="Steiner Andreas 6206 ED" userId="e6377c33-a923-4f14-8587-531c474c7b48" providerId="ADAL" clId="{6ECD27E6-B224-41CD-B4E0-E297462320DD}" dt="2023-11-24T08:33:36.669" v="15848"/>
          <ac:spMkLst>
            <pc:docMk/>
            <pc:sldMk cId="299398864" sldId="256"/>
            <ac:spMk id="107" creationId="{C28B9809-D598-A5DB-349C-E1BF8DEDD374}"/>
          </ac:spMkLst>
        </pc:spChg>
        <pc:spChg chg="add del mod modVis">
          <ac:chgData name="Steiner Andreas 6206 ED" userId="e6377c33-a923-4f14-8587-531c474c7b48" providerId="ADAL" clId="{6ECD27E6-B224-41CD-B4E0-E297462320DD}" dt="2023-11-24T08:33:38.785" v="16003"/>
          <ac:spMkLst>
            <pc:docMk/>
            <pc:sldMk cId="299398864" sldId="256"/>
            <ac:spMk id="108" creationId="{474565C6-AF3E-200D-8A48-3A4DED32F71F}"/>
          </ac:spMkLst>
        </pc:spChg>
        <pc:spChg chg="add del mod modVis">
          <ac:chgData name="Steiner Andreas 6206 ED" userId="e6377c33-a923-4f14-8587-531c474c7b48" providerId="ADAL" clId="{6ECD27E6-B224-41CD-B4E0-E297462320DD}" dt="2023-11-24T08:33:41.298" v="16158"/>
          <ac:spMkLst>
            <pc:docMk/>
            <pc:sldMk cId="299398864" sldId="256"/>
            <ac:spMk id="109" creationId="{5F214BE2-FD92-4ED3-9CA0-F750F4D312C6}"/>
          </ac:spMkLst>
        </pc:spChg>
        <pc:spChg chg="add del mod modVis">
          <ac:chgData name="Steiner Andreas 6206 ED" userId="e6377c33-a923-4f14-8587-531c474c7b48" providerId="ADAL" clId="{6ECD27E6-B224-41CD-B4E0-E297462320DD}" dt="2023-11-24T08:33:43.973" v="16313"/>
          <ac:spMkLst>
            <pc:docMk/>
            <pc:sldMk cId="299398864" sldId="256"/>
            <ac:spMk id="110" creationId="{56A6187E-0E07-2838-AAA9-D86A8538D240}"/>
          </ac:spMkLst>
        </pc:spChg>
        <pc:spChg chg="add del mod modVis">
          <ac:chgData name="Steiner Andreas 6206 ED" userId="e6377c33-a923-4f14-8587-531c474c7b48" providerId="ADAL" clId="{6ECD27E6-B224-41CD-B4E0-E297462320DD}" dt="2023-11-24T08:33:46.217" v="16468"/>
          <ac:spMkLst>
            <pc:docMk/>
            <pc:sldMk cId="299398864" sldId="256"/>
            <ac:spMk id="111" creationId="{4A51A009-BF73-8E19-EF7C-DD3B394C56A2}"/>
          </ac:spMkLst>
        </pc:spChg>
        <pc:spChg chg="add del mod modVis">
          <ac:chgData name="Steiner Andreas 6206 ED" userId="e6377c33-a923-4f14-8587-531c474c7b48" providerId="ADAL" clId="{6ECD27E6-B224-41CD-B4E0-E297462320DD}" dt="2023-11-24T08:33:48.520" v="16623"/>
          <ac:spMkLst>
            <pc:docMk/>
            <pc:sldMk cId="299398864" sldId="256"/>
            <ac:spMk id="112" creationId="{9A619E41-0085-C50E-AF58-B4675E734190}"/>
          </ac:spMkLst>
        </pc:spChg>
        <pc:spChg chg="add del mod modVis">
          <ac:chgData name="Steiner Andreas 6206 ED" userId="e6377c33-a923-4f14-8587-531c474c7b48" providerId="ADAL" clId="{6ECD27E6-B224-41CD-B4E0-E297462320DD}" dt="2023-11-24T08:33:51.336" v="16778"/>
          <ac:spMkLst>
            <pc:docMk/>
            <pc:sldMk cId="299398864" sldId="256"/>
            <ac:spMk id="113" creationId="{EAA21A8A-8945-0E86-69E7-3FDA786C5434}"/>
          </ac:spMkLst>
        </pc:spChg>
        <pc:spChg chg="add del mod modVis">
          <ac:chgData name="Steiner Andreas 6206 ED" userId="e6377c33-a923-4f14-8587-531c474c7b48" providerId="ADAL" clId="{6ECD27E6-B224-41CD-B4E0-E297462320DD}" dt="2023-11-24T08:33:53.558" v="16933"/>
          <ac:spMkLst>
            <pc:docMk/>
            <pc:sldMk cId="299398864" sldId="256"/>
            <ac:spMk id="114" creationId="{A8081E9E-98AC-A966-FDC4-1422A89D65AC}"/>
          </ac:spMkLst>
        </pc:spChg>
        <pc:spChg chg="add del mod modVis">
          <ac:chgData name="Steiner Andreas 6206 ED" userId="e6377c33-a923-4f14-8587-531c474c7b48" providerId="ADAL" clId="{6ECD27E6-B224-41CD-B4E0-E297462320DD}" dt="2023-11-24T08:33:55.864" v="17088"/>
          <ac:spMkLst>
            <pc:docMk/>
            <pc:sldMk cId="299398864" sldId="256"/>
            <ac:spMk id="115" creationId="{BFDCF63E-DE29-20E1-D48A-2F4284460608}"/>
          </ac:spMkLst>
        </pc:spChg>
        <pc:spChg chg="add del mod modVis">
          <ac:chgData name="Steiner Andreas 6206 ED" userId="e6377c33-a923-4f14-8587-531c474c7b48" providerId="ADAL" clId="{6ECD27E6-B224-41CD-B4E0-E297462320DD}" dt="2023-11-24T08:33:58.362" v="17243"/>
          <ac:spMkLst>
            <pc:docMk/>
            <pc:sldMk cId="299398864" sldId="256"/>
            <ac:spMk id="116" creationId="{F00CD527-47CD-E67A-4543-3FF72ABCB6FC}"/>
          </ac:spMkLst>
        </pc:spChg>
        <pc:spChg chg="add del mod modVis">
          <ac:chgData name="Steiner Andreas 6206 ED" userId="e6377c33-a923-4f14-8587-531c474c7b48" providerId="ADAL" clId="{6ECD27E6-B224-41CD-B4E0-E297462320DD}" dt="2023-11-24T08:34:00.518" v="17398"/>
          <ac:spMkLst>
            <pc:docMk/>
            <pc:sldMk cId="299398864" sldId="256"/>
            <ac:spMk id="117" creationId="{859E4AB0-0C38-BAFE-45C2-0C834AE3184C}"/>
          </ac:spMkLst>
        </pc:spChg>
        <pc:spChg chg="add del mod modVis">
          <ac:chgData name="Steiner Andreas 6206 ED" userId="e6377c33-a923-4f14-8587-531c474c7b48" providerId="ADAL" clId="{6ECD27E6-B224-41CD-B4E0-E297462320DD}" dt="2023-11-24T08:34:02.771" v="17553"/>
          <ac:spMkLst>
            <pc:docMk/>
            <pc:sldMk cId="299398864" sldId="256"/>
            <ac:spMk id="118" creationId="{EADFF062-48FB-24C6-136D-F8F4FD9BCD63}"/>
          </ac:spMkLst>
        </pc:spChg>
        <pc:spChg chg="add del mod modVis">
          <ac:chgData name="Steiner Andreas 6206 ED" userId="e6377c33-a923-4f14-8587-531c474c7b48" providerId="ADAL" clId="{6ECD27E6-B224-41CD-B4E0-E297462320DD}" dt="2023-11-24T08:34:04.867" v="17708"/>
          <ac:spMkLst>
            <pc:docMk/>
            <pc:sldMk cId="299398864" sldId="256"/>
            <ac:spMk id="119" creationId="{A8FB1D1A-B814-4818-1196-20490C41A094}"/>
          </ac:spMkLst>
        </pc:spChg>
        <pc:spChg chg="add del mod modVis">
          <ac:chgData name="Steiner Andreas 6206 ED" userId="e6377c33-a923-4f14-8587-531c474c7b48" providerId="ADAL" clId="{6ECD27E6-B224-41CD-B4E0-E297462320DD}" dt="2023-11-24T08:34:06.877" v="17863"/>
          <ac:spMkLst>
            <pc:docMk/>
            <pc:sldMk cId="299398864" sldId="256"/>
            <ac:spMk id="120" creationId="{C7D472D1-F936-43B5-B5BA-2AEEAB5BF4B3}"/>
          </ac:spMkLst>
        </pc:spChg>
        <pc:spChg chg="add del mod modVis">
          <ac:chgData name="Steiner Andreas 6206 ED" userId="e6377c33-a923-4f14-8587-531c474c7b48" providerId="ADAL" clId="{6ECD27E6-B224-41CD-B4E0-E297462320DD}" dt="2023-11-24T08:34:08.897" v="18018"/>
          <ac:spMkLst>
            <pc:docMk/>
            <pc:sldMk cId="299398864" sldId="256"/>
            <ac:spMk id="121" creationId="{6914E2A4-0220-D990-5406-24154E92B15F}"/>
          </ac:spMkLst>
        </pc:spChg>
        <pc:spChg chg="add del mod modVis">
          <ac:chgData name="Steiner Andreas 6206 ED" userId="e6377c33-a923-4f14-8587-531c474c7b48" providerId="ADAL" clId="{6ECD27E6-B224-41CD-B4E0-E297462320DD}" dt="2023-11-24T08:34:10.895" v="18173"/>
          <ac:spMkLst>
            <pc:docMk/>
            <pc:sldMk cId="299398864" sldId="256"/>
            <ac:spMk id="122" creationId="{16AF1E52-DB4C-6983-3E52-518825F3BF28}"/>
          </ac:spMkLst>
        </pc:spChg>
        <pc:spChg chg="add del mod modVis">
          <ac:chgData name="Steiner Andreas 6206 ED" userId="e6377c33-a923-4f14-8587-531c474c7b48" providerId="ADAL" clId="{6ECD27E6-B224-41CD-B4E0-E297462320DD}" dt="2023-11-24T08:34:12.932" v="18328"/>
          <ac:spMkLst>
            <pc:docMk/>
            <pc:sldMk cId="299398864" sldId="256"/>
            <ac:spMk id="123" creationId="{6CC497E6-AD43-10E1-5466-367866058FD2}"/>
          </ac:spMkLst>
        </pc:spChg>
        <pc:spChg chg="add del mod modVis">
          <ac:chgData name="Steiner Andreas 6206 ED" userId="e6377c33-a923-4f14-8587-531c474c7b48" providerId="ADAL" clId="{6ECD27E6-B224-41CD-B4E0-E297462320DD}" dt="2023-11-24T08:34:15.219" v="18483"/>
          <ac:spMkLst>
            <pc:docMk/>
            <pc:sldMk cId="299398864" sldId="256"/>
            <ac:spMk id="124" creationId="{B6A7B833-9A5F-B660-CB8D-AD33D5E84510}"/>
          </ac:spMkLst>
        </pc:spChg>
        <pc:spChg chg="add del mod modVis">
          <ac:chgData name="Steiner Andreas 6206 ED" userId="e6377c33-a923-4f14-8587-531c474c7b48" providerId="ADAL" clId="{6ECD27E6-B224-41CD-B4E0-E297462320DD}" dt="2023-11-24T08:34:17.227" v="18638"/>
          <ac:spMkLst>
            <pc:docMk/>
            <pc:sldMk cId="299398864" sldId="256"/>
            <ac:spMk id="125" creationId="{3DDBDD5C-2FAF-C23C-F45F-489374D0564A}"/>
          </ac:spMkLst>
        </pc:spChg>
        <pc:spChg chg="add del mod modVis">
          <ac:chgData name="Steiner Andreas 6206 ED" userId="e6377c33-a923-4f14-8587-531c474c7b48" providerId="ADAL" clId="{6ECD27E6-B224-41CD-B4E0-E297462320DD}" dt="2023-11-24T08:34:19.622" v="18793"/>
          <ac:spMkLst>
            <pc:docMk/>
            <pc:sldMk cId="299398864" sldId="256"/>
            <ac:spMk id="126" creationId="{4C098953-1F0D-23C3-297C-04338694E24C}"/>
          </ac:spMkLst>
        </pc:spChg>
        <pc:spChg chg="add del mod modVis">
          <ac:chgData name="Steiner Andreas 6206 ED" userId="e6377c33-a923-4f14-8587-531c474c7b48" providerId="ADAL" clId="{6ECD27E6-B224-41CD-B4E0-E297462320DD}" dt="2023-11-24T08:34:21.532" v="18948"/>
          <ac:spMkLst>
            <pc:docMk/>
            <pc:sldMk cId="299398864" sldId="256"/>
            <ac:spMk id="127" creationId="{DA335EE6-5B4E-C52B-47A2-FF59AD1F5731}"/>
          </ac:spMkLst>
        </pc:spChg>
        <pc:spChg chg="add del mod modVis">
          <ac:chgData name="Steiner Andreas 6206 ED" userId="e6377c33-a923-4f14-8587-531c474c7b48" providerId="ADAL" clId="{6ECD27E6-B224-41CD-B4E0-E297462320DD}" dt="2023-11-24T08:34:23.918" v="19103"/>
          <ac:spMkLst>
            <pc:docMk/>
            <pc:sldMk cId="299398864" sldId="256"/>
            <ac:spMk id="128" creationId="{5654FB18-A8CC-D0FB-2307-11936016E99D}"/>
          </ac:spMkLst>
        </pc:spChg>
        <pc:spChg chg="add del mod modVis">
          <ac:chgData name="Steiner Andreas 6206 ED" userId="e6377c33-a923-4f14-8587-531c474c7b48" providerId="ADAL" clId="{6ECD27E6-B224-41CD-B4E0-E297462320DD}" dt="2023-11-24T08:34:27.043" v="19258"/>
          <ac:spMkLst>
            <pc:docMk/>
            <pc:sldMk cId="299398864" sldId="256"/>
            <ac:spMk id="129" creationId="{684EF1C1-1682-06F6-2504-9F04FC2060FF}"/>
          </ac:spMkLst>
        </pc:spChg>
        <pc:spChg chg="add del mod modVis">
          <ac:chgData name="Steiner Andreas 6206 ED" userId="e6377c33-a923-4f14-8587-531c474c7b48" providerId="ADAL" clId="{6ECD27E6-B224-41CD-B4E0-E297462320DD}" dt="2023-11-24T08:34:29.849" v="19413"/>
          <ac:spMkLst>
            <pc:docMk/>
            <pc:sldMk cId="299398864" sldId="256"/>
            <ac:spMk id="130" creationId="{3F25661C-D0D0-C999-1239-D293C8006923}"/>
          </ac:spMkLst>
        </pc:spChg>
        <pc:spChg chg="add del mod modVis">
          <ac:chgData name="Steiner Andreas 6206 ED" userId="e6377c33-a923-4f14-8587-531c474c7b48" providerId="ADAL" clId="{6ECD27E6-B224-41CD-B4E0-E297462320DD}" dt="2023-11-24T08:34:32.280" v="19568"/>
          <ac:spMkLst>
            <pc:docMk/>
            <pc:sldMk cId="299398864" sldId="256"/>
            <ac:spMk id="131" creationId="{91DC3099-17DA-7593-7781-C2DCB0C43EC1}"/>
          </ac:spMkLst>
        </pc:spChg>
        <pc:spChg chg="add del mod modVis">
          <ac:chgData name="Steiner Andreas 6206 ED" userId="e6377c33-a923-4f14-8587-531c474c7b48" providerId="ADAL" clId="{6ECD27E6-B224-41CD-B4E0-E297462320DD}" dt="2023-11-24T08:34:34.486" v="19723"/>
          <ac:spMkLst>
            <pc:docMk/>
            <pc:sldMk cId="299398864" sldId="256"/>
            <ac:spMk id="132" creationId="{2DD9A750-93DA-A6FB-3ACF-4EF959709D54}"/>
          </ac:spMkLst>
        </pc:spChg>
        <pc:spChg chg="add del mod modVis">
          <ac:chgData name="Steiner Andreas 6206 ED" userId="e6377c33-a923-4f14-8587-531c474c7b48" providerId="ADAL" clId="{6ECD27E6-B224-41CD-B4E0-E297462320DD}" dt="2023-11-24T08:34:36.732" v="19878"/>
          <ac:spMkLst>
            <pc:docMk/>
            <pc:sldMk cId="299398864" sldId="256"/>
            <ac:spMk id="133" creationId="{8675F5CD-58B1-C863-85D1-6E2F158C9606}"/>
          </ac:spMkLst>
        </pc:spChg>
        <pc:spChg chg="add del mod modVis">
          <ac:chgData name="Steiner Andreas 6206 ED" userId="e6377c33-a923-4f14-8587-531c474c7b48" providerId="ADAL" clId="{6ECD27E6-B224-41CD-B4E0-E297462320DD}" dt="2023-11-24T08:34:39.026" v="20033"/>
          <ac:spMkLst>
            <pc:docMk/>
            <pc:sldMk cId="299398864" sldId="256"/>
            <ac:spMk id="134" creationId="{F16CCA9E-5EFF-DDAA-E1B2-BCDEAE523412}"/>
          </ac:spMkLst>
        </pc:spChg>
        <pc:spChg chg="add del mod modVis">
          <ac:chgData name="Steiner Andreas 6206 ED" userId="e6377c33-a923-4f14-8587-531c474c7b48" providerId="ADAL" clId="{6ECD27E6-B224-41CD-B4E0-E297462320DD}" dt="2023-11-24T08:34:41.360" v="20188"/>
          <ac:spMkLst>
            <pc:docMk/>
            <pc:sldMk cId="299398864" sldId="256"/>
            <ac:spMk id="135" creationId="{49B4B6B7-C9E1-D871-E003-F621708D39AE}"/>
          </ac:spMkLst>
        </pc:spChg>
        <pc:spChg chg="add del mod modVis">
          <ac:chgData name="Steiner Andreas 6206 ED" userId="e6377c33-a923-4f14-8587-531c474c7b48" providerId="ADAL" clId="{6ECD27E6-B224-41CD-B4E0-E297462320DD}" dt="2023-11-24T08:34:44.117" v="20343"/>
          <ac:spMkLst>
            <pc:docMk/>
            <pc:sldMk cId="299398864" sldId="256"/>
            <ac:spMk id="136" creationId="{ADCC864B-481D-6A82-C156-8906DBE3BC74}"/>
          </ac:spMkLst>
        </pc:spChg>
        <pc:spChg chg="add del mod modVis">
          <ac:chgData name="Steiner Andreas 6206 ED" userId="e6377c33-a923-4f14-8587-531c474c7b48" providerId="ADAL" clId="{6ECD27E6-B224-41CD-B4E0-E297462320DD}" dt="2023-11-24T08:34:46.394" v="20498"/>
          <ac:spMkLst>
            <pc:docMk/>
            <pc:sldMk cId="299398864" sldId="256"/>
            <ac:spMk id="137" creationId="{BCA8C093-228E-F0E5-4FE4-01B2C8CA942D}"/>
          </ac:spMkLst>
        </pc:spChg>
        <pc:spChg chg="add del mod modVis">
          <ac:chgData name="Steiner Andreas 6206 ED" userId="e6377c33-a923-4f14-8587-531c474c7b48" providerId="ADAL" clId="{6ECD27E6-B224-41CD-B4E0-E297462320DD}" dt="2023-11-24T08:34:48.610" v="20653"/>
          <ac:spMkLst>
            <pc:docMk/>
            <pc:sldMk cId="299398864" sldId="256"/>
            <ac:spMk id="138" creationId="{21A443D9-EF5C-FE33-1921-679A97E4EA61}"/>
          </ac:spMkLst>
        </pc:spChg>
        <pc:spChg chg="add del mod modVis">
          <ac:chgData name="Steiner Andreas 6206 ED" userId="e6377c33-a923-4f14-8587-531c474c7b48" providerId="ADAL" clId="{6ECD27E6-B224-41CD-B4E0-E297462320DD}" dt="2023-11-24T08:34:51.190" v="20808"/>
          <ac:spMkLst>
            <pc:docMk/>
            <pc:sldMk cId="299398864" sldId="256"/>
            <ac:spMk id="139" creationId="{5821D88F-0EC6-72A5-B63C-0478154DACCB}"/>
          </ac:spMkLst>
        </pc:spChg>
        <pc:spChg chg="add del mod modVis">
          <ac:chgData name="Steiner Andreas 6206 ED" userId="e6377c33-a923-4f14-8587-531c474c7b48" providerId="ADAL" clId="{6ECD27E6-B224-41CD-B4E0-E297462320DD}" dt="2023-11-24T08:34:53.734" v="20963"/>
          <ac:spMkLst>
            <pc:docMk/>
            <pc:sldMk cId="299398864" sldId="256"/>
            <ac:spMk id="140" creationId="{0D0B0F1F-9489-5146-5FFB-911561327388}"/>
          </ac:spMkLst>
        </pc:spChg>
        <pc:spChg chg="add del mod modVis">
          <ac:chgData name="Steiner Andreas 6206 ED" userId="e6377c33-a923-4f14-8587-531c474c7b48" providerId="ADAL" clId="{6ECD27E6-B224-41CD-B4E0-E297462320DD}" dt="2023-11-24T08:34:56.176" v="21118"/>
          <ac:spMkLst>
            <pc:docMk/>
            <pc:sldMk cId="299398864" sldId="256"/>
            <ac:spMk id="141" creationId="{D51FA0DB-2BCA-6879-4A75-F320A067F5A1}"/>
          </ac:spMkLst>
        </pc:spChg>
        <pc:spChg chg="add del mod modVis">
          <ac:chgData name="Steiner Andreas 6206 ED" userId="e6377c33-a923-4f14-8587-531c474c7b48" providerId="ADAL" clId="{6ECD27E6-B224-41CD-B4E0-E297462320DD}" dt="2023-11-24T08:34:58.477" v="21273"/>
          <ac:spMkLst>
            <pc:docMk/>
            <pc:sldMk cId="299398864" sldId="256"/>
            <ac:spMk id="142" creationId="{D49C3041-E7C4-C3C3-CC0F-19F8F807086F}"/>
          </ac:spMkLst>
        </pc:spChg>
        <pc:spChg chg="add del mod modVis">
          <ac:chgData name="Steiner Andreas 6206 ED" userId="e6377c33-a923-4f14-8587-531c474c7b48" providerId="ADAL" clId="{6ECD27E6-B224-41CD-B4E0-E297462320DD}" dt="2023-11-24T08:35:01.061" v="21428"/>
          <ac:spMkLst>
            <pc:docMk/>
            <pc:sldMk cId="299398864" sldId="256"/>
            <ac:spMk id="143" creationId="{91A47BCE-2A86-2FEC-D10D-77A9951457F1}"/>
          </ac:spMkLst>
        </pc:spChg>
        <pc:spChg chg="add del mod modVis">
          <ac:chgData name="Steiner Andreas 6206 ED" userId="e6377c33-a923-4f14-8587-531c474c7b48" providerId="ADAL" clId="{6ECD27E6-B224-41CD-B4E0-E297462320DD}" dt="2023-11-24T08:35:03.533" v="21583"/>
          <ac:spMkLst>
            <pc:docMk/>
            <pc:sldMk cId="299398864" sldId="256"/>
            <ac:spMk id="144" creationId="{7518BEC4-8110-559F-BBAF-B1C14E932E4C}"/>
          </ac:spMkLst>
        </pc:spChg>
        <pc:spChg chg="add del mod modVis">
          <ac:chgData name="Steiner Andreas 6206 ED" userId="e6377c33-a923-4f14-8587-531c474c7b48" providerId="ADAL" clId="{6ECD27E6-B224-41CD-B4E0-E297462320DD}" dt="2023-11-24T08:35:06.151" v="21738"/>
          <ac:spMkLst>
            <pc:docMk/>
            <pc:sldMk cId="299398864" sldId="256"/>
            <ac:spMk id="145" creationId="{B5D6208E-3841-5DEE-ABB9-8561F64AD834}"/>
          </ac:spMkLst>
        </pc:spChg>
        <pc:spChg chg="add del mod modVis">
          <ac:chgData name="Steiner Andreas 6206 ED" userId="e6377c33-a923-4f14-8587-531c474c7b48" providerId="ADAL" clId="{6ECD27E6-B224-41CD-B4E0-E297462320DD}" dt="2023-11-24T08:35:08.660" v="21893"/>
          <ac:spMkLst>
            <pc:docMk/>
            <pc:sldMk cId="299398864" sldId="256"/>
            <ac:spMk id="146" creationId="{32126F2E-9D33-5772-8AFD-3FD6F542EC6A}"/>
          </ac:spMkLst>
        </pc:spChg>
        <pc:spChg chg="add del mod modVis">
          <ac:chgData name="Steiner Andreas 6206 ED" userId="e6377c33-a923-4f14-8587-531c474c7b48" providerId="ADAL" clId="{6ECD27E6-B224-41CD-B4E0-E297462320DD}" dt="2023-11-24T08:35:11.138" v="22048"/>
          <ac:spMkLst>
            <pc:docMk/>
            <pc:sldMk cId="299398864" sldId="256"/>
            <ac:spMk id="147" creationId="{35074FBD-EFB6-909A-4A7C-ED85A6A4B3E7}"/>
          </ac:spMkLst>
        </pc:spChg>
        <pc:spChg chg="add del mod modVis">
          <ac:chgData name="Steiner Andreas 6206 ED" userId="e6377c33-a923-4f14-8587-531c474c7b48" providerId="ADAL" clId="{6ECD27E6-B224-41CD-B4E0-E297462320DD}" dt="2023-11-24T08:35:13.492" v="22203"/>
          <ac:spMkLst>
            <pc:docMk/>
            <pc:sldMk cId="299398864" sldId="256"/>
            <ac:spMk id="148" creationId="{01B8A2DD-9AA9-E28A-5D96-EE47BDEBD8F5}"/>
          </ac:spMkLst>
        </pc:spChg>
        <pc:spChg chg="add del mod modVis">
          <ac:chgData name="Steiner Andreas 6206 ED" userId="e6377c33-a923-4f14-8587-531c474c7b48" providerId="ADAL" clId="{6ECD27E6-B224-41CD-B4E0-E297462320DD}" dt="2023-11-24T08:35:15.713" v="22358"/>
          <ac:spMkLst>
            <pc:docMk/>
            <pc:sldMk cId="299398864" sldId="256"/>
            <ac:spMk id="149" creationId="{875B7DC0-85AE-E23C-88D9-8237CF05129A}"/>
          </ac:spMkLst>
        </pc:spChg>
        <pc:spChg chg="add del mod modVis">
          <ac:chgData name="Steiner Andreas 6206 ED" userId="e6377c33-a923-4f14-8587-531c474c7b48" providerId="ADAL" clId="{6ECD27E6-B224-41CD-B4E0-E297462320DD}" dt="2023-11-24T08:35:18.233" v="22513"/>
          <ac:spMkLst>
            <pc:docMk/>
            <pc:sldMk cId="299398864" sldId="256"/>
            <ac:spMk id="150" creationId="{B15450DD-63BD-CC2A-8FFD-D95FDF82FA78}"/>
          </ac:spMkLst>
        </pc:spChg>
        <pc:spChg chg="add del mod modVis">
          <ac:chgData name="Steiner Andreas 6206 ED" userId="e6377c33-a923-4f14-8587-531c474c7b48" providerId="ADAL" clId="{6ECD27E6-B224-41CD-B4E0-E297462320DD}" dt="2023-11-24T08:35:20.477" v="22668"/>
          <ac:spMkLst>
            <pc:docMk/>
            <pc:sldMk cId="299398864" sldId="256"/>
            <ac:spMk id="151" creationId="{9D11B43A-C76E-9C6B-68FB-6CBA9CFE4FF4}"/>
          </ac:spMkLst>
        </pc:spChg>
        <pc:spChg chg="add del mod modVis">
          <ac:chgData name="Steiner Andreas 6206 ED" userId="e6377c33-a923-4f14-8587-531c474c7b48" providerId="ADAL" clId="{6ECD27E6-B224-41CD-B4E0-E297462320DD}" dt="2023-11-24T08:35:22.848" v="22823"/>
          <ac:spMkLst>
            <pc:docMk/>
            <pc:sldMk cId="299398864" sldId="256"/>
            <ac:spMk id="152" creationId="{5B182694-5212-BA3A-F341-344BF0A4BA15}"/>
          </ac:spMkLst>
        </pc:spChg>
        <pc:spChg chg="add del mod modVis">
          <ac:chgData name="Steiner Andreas 6206 ED" userId="e6377c33-a923-4f14-8587-531c474c7b48" providerId="ADAL" clId="{6ECD27E6-B224-41CD-B4E0-E297462320DD}" dt="2023-11-24T08:35:25.319" v="22978"/>
          <ac:spMkLst>
            <pc:docMk/>
            <pc:sldMk cId="299398864" sldId="256"/>
            <ac:spMk id="153" creationId="{27A29BC2-E9C0-742E-CEAB-97793F920C2F}"/>
          </ac:spMkLst>
        </pc:spChg>
        <pc:spChg chg="add del mod modVis">
          <ac:chgData name="Steiner Andreas 6206 ED" userId="e6377c33-a923-4f14-8587-531c474c7b48" providerId="ADAL" clId="{6ECD27E6-B224-41CD-B4E0-E297462320DD}" dt="2023-11-24T08:35:27.798" v="23133"/>
          <ac:spMkLst>
            <pc:docMk/>
            <pc:sldMk cId="299398864" sldId="256"/>
            <ac:spMk id="154" creationId="{3B5480CE-AB5C-85DA-1FB9-97098CC970AD}"/>
          </ac:spMkLst>
        </pc:spChg>
        <pc:spChg chg="add del mod modVis">
          <ac:chgData name="Steiner Andreas 6206 ED" userId="e6377c33-a923-4f14-8587-531c474c7b48" providerId="ADAL" clId="{6ECD27E6-B224-41CD-B4E0-E297462320DD}" dt="2023-11-24T08:35:30.559" v="23288"/>
          <ac:spMkLst>
            <pc:docMk/>
            <pc:sldMk cId="299398864" sldId="256"/>
            <ac:spMk id="155" creationId="{C163E884-AEBE-9754-57DF-32C6F55144DB}"/>
          </ac:spMkLst>
        </pc:spChg>
        <pc:spChg chg="add del mod modVis">
          <ac:chgData name="Steiner Andreas 6206 ED" userId="e6377c33-a923-4f14-8587-531c474c7b48" providerId="ADAL" clId="{6ECD27E6-B224-41CD-B4E0-E297462320DD}" dt="2023-11-24T08:35:33.011" v="23443"/>
          <ac:spMkLst>
            <pc:docMk/>
            <pc:sldMk cId="299398864" sldId="256"/>
            <ac:spMk id="156" creationId="{C491B478-EFD6-61F8-064C-2F7C6F486F0C}"/>
          </ac:spMkLst>
        </pc:spChg>
        <pc:spChg chg="add del mod modVis">
          <ac:chgData name="Steiner Andreas 6206 ED" userId="e6377c33-a923-4f14-8587-531c474c7b48" providerId="ADAL" clId="{6ECD27E6-B224-41CD-B4E0-E297462320DD}" dt="2023-11-24T08:35:35.410" v="23598"/>
          <ac:spMkLst>
            <pc:docMk/>
            <pc:sldMk cId="299398864" sldId="256"/>
            <ac:spMk id="157" creationId="{0234FCAE-A3E7-9E82-FEAE-E955622E482E}"/>
          </ac:spMkLst>
        </pc:spChg>
        <pc:spChg chg="add del mod modVis">
          <ac:chgData name="Steiner Andreas 6206 ED" userId="e6377c33-a923-4f14-8587-531c474c7b48" providerId="ADAL" clId="{6ECD27E6-B224-41CD-B4E0-E297462320DD}" dt="2023-11-24T08:35:37.604" v="23753"/>
          <ac:spMkLst>
            <pc:docMk/>
            <pc:sldMk cId="299398864" sldId="256"/>
            <ac:spMk id="158" creationId="{D6A4E369-06A3-E865-C83A-EC9ACC2CB8DC}"/>
          </ac:spMkLst>
        </pc:spChg>
        <pc:spChg chg="add del mod modVis">
          <ac:chgData name="Steiner Andreas 6206 ED" userId="e6377c33-a923-4f14-8587-531c474c7b48" providerId="ADAL" clId="{6ECD27E6-B224-41CD-B4E0-E297462320DD}" dt="2023-11-24T08:35:40.056" v="23908"/>
          <ac:spMkLst>
            <pc:docMk/>
            <pc:sldMk cId="299398864" sldId="256"/>
            <ac:spMk id="159" creationId="{B9ECACC4-D678-652F-3A7E-CFB074E9283B}"/>
          </ac:spMkLst>
        </pc:spChg>
        <pc:spChg chg="add del mod modVis">
          <ac:chgData name="Steiner Andreas 6206 ED" userId="e6377c33-a923-4f14-8587-531c474c7b48" providerId="ADAL" clId="{6ECD27E6-B224-41CD-B4E0-E297462320DD}" dt="2023-11-24T08:35:42.704" v="24063"/>
          <ac:spMkLst>
            <pc:docMk/>
            <pc:sldMk cId="299398864" sldId="256"/>
            <ac:spMk id="160" creationId="{6971D0E3-12F7-35AA-EAA9-F4D37D8B93D6}"/>
          </ac:spMkLst>
        </pc:spChg>
        <pc:spChg chg="add del mod modVis">
          <ac:chgData name="Steiner Andreas 6206 ED" userId="e6377c33-a923-4f14-8587-531c474c7b48" providerId="ADAL" clId="{6ECD27E6-B224-41CD-B4E0-E297462320DD}" dt="2023-11-24T08:35:45.174" v="24218"/>
          <ac:spMkLst>
            <pc:docMk/>
            <pc:sldMk cId="299398864" sldId="256"/>
            <ac:spMk id="161" creationId="{5E5DE852-F9D6-55AD-2A04-D167D55C2565}"/>
          </ac:spMkLst>
        </pc:spChg>
        <pc:spChg chg="add del mod modVis">
          <ac:chgData name="Steiner Andreas 6206 ED" userId="e6377c33-a923-4f14-8587-531c474c7b48" providerId="ADAL" clId="{6ECD27E6-B224-41CD-B4E0-E297462320DD}" dt="2023-11-24T08:35:47.431" v="24373"/>
          <ac:spMkLst>
            <pc:docMk/>
            <pc:sldMk cId="299398864" sldId="256"/>
            <ac:spMk id="162" creationId="{A93B7CBE-85A5-B54E-8507-13B0FB2B7FE7}"/>
          </ac:spMkLst>
        </pc:spChg>
        <pc:spChg chg="add del mod modVis">
          <ac:chgData name="Steiner Andreas 6206 ED" userId="e6377c33-a923-4f14-8587-531c474c7b48" providerId="ADAL" clId="{6ECD27E6-B224-41CD-B4E0-E297462320DD}" dt="2023-11-24T08:35:49.666" v="24528"/>
          <ac:spMkLst>
            <pc:docMk/>
            <pc:sldMk cId="299398864" sldId="256"/>
            <ac:spMk id="163" creationId="{27C3CE01-FBDD-7A92-E18A-8ADC4CB2046D}"/>
          </ac:spMkLst>
        </pc:spChg>
        <pc:spChg chg="add del mod modVis">
          <ac:chgData name="Steiner Andreas 6206 ED" userId="e6377c33-a923-4f14-8587-531c474c7b48" providerId="ADAL" clId="{6ECD27E6-B224-41CD-B4E0-E297462320DD}" dt="2023-11-24T08:35:52.039" v="24683"/>
          <ac:spMkLst>
            <pc:docMk/>
            <pc:sldMk cId="299398864" sldId="256"/>
            <ac:spMk id="164" creationId="{E4533F59-3B42-F8DC-0E26-38F320C48F18}"/>
          </ac:spMkLst>
        </pc:spChg>
        <pc:spChg chg="add del mod modVis">
          <ac:chgData name="Steiner Andreas 6206 ED" userId="e6377c33-a923-4f14-8587-531c474c7b48" providerId="ADAL" clId="{6ECD27E6-B224-41CD-B4E0-E297462320DD}" dt="2023-11-24T08:35:54.924" v="24838"/>
          <ac:spMkLst>
            <pc:docMk/>
            <pc:sldMk cId="299398864" sldId="256"/>
            <ac:spMk id="165" creationId="{1D81EA8E-A6F2-412A-3A5A-57980CC181EC}"/>
          </ac:spMkLst>
        </pc:spChg>
        <pc:spChg chg="add del mod modVis">
          <ac:chgData name="Steiner Andreas 6206 ED" userId="e6377c33-a923-4f14-8587-531c474c7b48" providerId="ADAL" clId="{6ECD27E6-B224-41CD-B4E0-E297462320DD}" dt="2023-11-24T08:35:57.518" v="24993"/>
          <ac:spMkLst>
            <pc:docMk/>
            <pc:sldMk cId="299398864" sldId="256"/>
            <ac:spMk id="166" creationId="{34AC2941-049C-8D9D-9147-9421BD3DBBA4}"/>
          </ac:spMkLst>
        </pc:spChg>
        <pc:spChg chg="add del mod modVis">
          <ac:chgData name="Steiner Andreas 6206 ED" userId="e6377c33-a923-4f14-8587-531c474c7b48" providerId="ADAL" clId="{6ECD27E6-B224-41CD-B4E0-E297462320DD}" dt="2023-11-24T08:35:59.927" v="25148"/>
          <ac:spMkLst>
            <pc:docMk/>
            <pc:sldMk cId="299398864" sldId="256"/>
            <ac:spMk id="167" creationId="{0361D754-9A04-6D37-EBF5-799A8F01B690}"/>
          </ac:spMkLst>
        </pc:spChg>
        <pc:spChg chg="add del mod modVis">
          <ac:chgData name="Steiner Andreas 6206 ED" userId="e6377c33-a923-4f14-8587-531c474c7b48" providerId="ADAL" clId="{6ECD27E6-B224-41CD-B4E0-E297462320DD}" dt="2023-11-24T08:36:02.453" v="25303"/>
          <ac:spMkLst>
            <pc:docMk/>
            <pc:sldMk cId="299398864" sldId="256"/>
            <ac:spMk id="168" creationId="{6F0C2B7F-C361-EDE6-DDED-B7AE5CFCCD3A}"/>
          </ac:spMkLst>
        </pc:spChg>
        <pc:spChg chg="add del mod modVis">
          <ac:chgData name="Steiner Andreas 6206 ED" userId="e6377c33-a923-4f14-8587-531c474c7b48" providerId="ADAL" clId="{6ECD27E6-B224-41CD-B4E0-E297462320DD}" dt="2023-11-24T08:36:05.066" v="25458"/>
          <ac:spMkLst>
            <pc:docMk/>
            <pc:sldMk cId="299398864" sldId="256"/>
            <ac:spMk id="169" creationId="{1E2D0A3B-F1ED-D7B5-CD57-57F67D20F90C}"/>
          </ac:spMkLst>
        </pc:spChg>
        <pc:spChg chg="add del mod modVis">
          <ac:chgData name="Steiner Andreas 6206 ED" userId="e6377c33-a923-4f14-8587-531c474c7b48" providerId="ADAL" clId="{6ECD27E6-B224-41CD-B4E0-E297462320DD}" dt="2023-11-24T08:36:07.687" v="25613"/>
          <ac:spMkLst>
            <pc:docMk/>
            <pc:sldMk cId="299398864" sldId="256"/>
            <ac:spMk id="170" creationId="{03CBE77F-1291-3EE1-2D62-FCBE753384C6}"/>
          </ac:spMkLst>
        </pc:spChg>
        <pc:spChg chg="add del mod modVis">
          <ac:chgData name="Steiner Andreas 6206 ED" userId="e6377c33-a923-4f14-8587-531c474c7b48" providerId="ADAL" clId="{6ECD27E6-B224-41CD-B4E0-E297462320DD}" dt="2023-11-24T08:36:10.039" v="25768"/>
          <ac:spMkLst>
            <pc:docMk/>
            <pc:sldMk cId="299398864" sldId="256"/>
            <ac:spMk id="171" creationId="{C0E6A8B0-5053-F4AA-90EA-91BDBD673985}"/>
          </ac:spMkLst>
        </pc:spChg>
        <pc:spChg chg="add del mod modVis">
          <ac:chgData name="Steiner Andreas 6206 ED" userId="e6377c33-a923-4f14-8587-531c474c7b48" providerId="ADAL" clId="{6ECD27E6-B224-41CD-B4E0-E297462320DD}" dt="2023-11-24T08:36:12.527" v="25923"/>
          <ac:spMkLst>
            <pc:docMk/>
            <pc:sldMk cId="299398864" sldId="256"/>
            <ac:spMk id="172" creationId="{6A58A192-E5DA-BEF7-3932-E728799D6F79}"/>
          </ac:spMkLst>
        </pc:spChg>
        <pc:spChg chg="add del mod modVis">
          <ac:chgData name="Steiner Andreas 6206 ED" userId="e6377c33-a923-4f14-8587-531c474c7b48" providerId="ADAL" clId="{6ECD27E6-B224-41CD-B4E0-E297462320DD}" dt="2023-11-24T08:36:14.922" v="26078"/>
          <ac:spMkLst>
            <pc:docMk/>
            <pc:sldMk cId="299398864" sldId="256"/>
            <ac:spMk id="173" creationId="{FB5ED3A8-4D3B-B904-95B0-ADB68A959359}"/>
          </ac:spMkLst>
        </pc:spChg>
        <pc:spChg chg="add del mod modVis">
          <ac:chgData name="Steiner Andreas 6206 ED" userId="e6377c33-a923-4f14-8587-531c474c7b48" providerId="ADAL" clId="{6ECD27E6-B224-41CD-B4E0-E297462320DD}" dt="2023-11-24T08:36:17.785" v="26233"/>
          <ac:spMkLst>
            <pc:docMk/>
            <pc:sldMk cId="299398864" sldId="256"/>
            <ac:spMk id="174" creationId="{D447EEC0-1D5E-AFA5-669E-C3784644C756}"/>
          </ac:spMkLst>
        </pc:spChg>
        <pc:spChg chg="add del mod modVis">
          <ac:chgData name="Steiner Andreas 6206 ED" userId="e6377c33-a923-4f14-8587-531c474c7b48" providerId="ADAL" clId="{6ECD27E6-B224-41CD-B4E0-E297462320DD}" dt="2023-11-24T08:36:20.142" v="26388"/>
          <ac:spMkLst>
            <pc:docMk/>
            <pc:sldMk cId="299398864" sldId="256"/>
            <ac:spMk id="175" creationId="{B21115EA-F834-16F9-3F94-272025F83B27}"/>
          </ac:spMkLst>
        </pc:spChg>
        <pc:spChg chg="add del mod modVis">
          <ac:chgData name="Steiner Andreas 6206 ED" userId="e6377c33-a923-4f14-8587-531c474c7b48" providerId="ADAL" clId="{6ECD27E6-B224-41CD-B4E0-E297462320DD}" dt="2023-11-24T08:36:22.457" v="26543"/>
          <ac:spMkLst>
            <pc:docMk/>
            <pc:sldMk cId="299398864" sldId="256"/>
            <ac:spMk id="176" creationId="{AA22540C-4C2F-7EBE-083E-772881C1F6AC}"/>
          </ac:spMkLst>
        </pc:spChg>
        <pc:spChg chg="add del mod modVis">
          <ac:chgData name="Steiner Andreas 6206 ED" userId="e6377c33-a923-4f14-8587-531c474c7b48" providerId="ADAL" clId="{6ECD27E6-B224-41CD-B4E0-E297462320DD}" dt="2023-11-24T08:36:24.940" v="26698"/>
          <ac:spMkLst>
            <pc:docMk/>
            <pc:sldMk cId="299398864" sldId="256"/>
            <ac:spMk id="177" creationId="{CED0B0DD-E3D9-BA75-D334-350B00E2947A}"/>
          </ac:spMkLst>
        </pc:spChg>
        <pc:spChg chg="add del mod modVis">
          <ac:chgData name="Steiner Andreas 6206 ED" userId="e6377c33-a923-4f14-8587-531c474c7b48" providerId="ADAL" clId="{6ECD27E6-B224-41CD-B4E0-E297462320DD}" dt="2023-11-24T08:36:27.510" v="26853"/>
          <ac:spMkLst>
            <pc:docMk/>
            <pc:sldMk cId="299398864" sldId="256"/>
            <ac:spMk id="178" creationId="{84D9634E-3417-A230-DFA1-FCF69D1EB88B}"/>
          </ac:spMkLst>
        </pc:spChg>
        <pc:spChg chg="add del mod modVis">
          <ac:chgData name="Steiner Andreas 6206 ED" userId="e6377c33-a923-4f14-8587-531c474c7b48" providerId="ADAL" clId="{6ECD27E6-B224-41CD-B4E0-E297462320DD}" dt="2023-11-24T08:36:30.382" v="27008"/>
          <ac:spMkLst>
            <pc:docMk/>
            <pc:sldMk cId="299398864" sldId="256"/>
            <ac:spMk id="179" creationId="{72EF19EE-8E64-FE98-3FC8-D3C062698472}"/>
          </ac:spMkLst>
        </pc:spChg>
        <pc:spChg chg="add del mod modVis">
          <ac:chgData name="Steiner Andreas 6206 ED" userId="e6377c33-a923-4f14-8587-531c474c7b48" providerId="ADAL" clId="{6ECD27E6-B224-41CD-B4E0-E297462320DD}" dt="2023-11-24T08:36:33.122" v="27163"/>
          <ac:spMkLst>
            <pc:docMk/>
            <pc:sldMk cId="299398864" sldId="256"/>
            <ac:spMk id="180" creationId="{1039F9DE-D4D3-6E46-CF22-42D1583A4E0D}"/>
          </ac:spMkLst>
        </pc:spChg>
        <pc:spChg chg="add del mod modVis">
          <ac:chgData name="Steiner Andreas 6206 ED" userId="e6377c33-a923-4f14-8587-531c474c7b48" providerId="ADAL" clId="{6ECD27E6-B224-41CD-B4E0-E297462320DD}" dt="2023-11-24T08:36:35.651" v="27318"/>
          <ac:spMkLst>
            <pc:docMk/>
            <pc:sldMk cId="299398864" sldId="256"/>
            <ac:spMk id="181" creationId="{5E208E47-329E-4F98-2BC5-2A49DB646011}"/>
          </ac:spMkLst>
        </pc:spChg>
        <pc:spChg chg="add del mod modVis">
          <ac:chgData name="Steiner Andreas 6206 ED" userId="e6377c33-a923-4f14-8587-531c474c7b48" providerId="ADAL" clId="{6ECD27E6-B224-41CD-B4E0-E297462320DD}" dt="2023-11-24T08:36:38.209" v="27473"/>
          <ac:spMkLst>
            <pc:docMk/>
            <pc:sldMk cId="299398864" sldId="256"/>
            <ac:spMk id="182" creationId="{0D929F7F-31D6-43BD-495A-A2DEADB6787D}"/>
          </ac:spMkLst>
        </pc:spChg>
        <pc:spChg chg="add del mod modVis">
          <ac:chgData name="Steiner Andreas 6206 ED" userId="e6377c33-a923-4f14-8587-531c474c7b48" providerId="ADAL" clId="{6ECD27E6-B224-41CD-B4E0-E297462320DD}" dt="2023-11-24T08:36:40.846" v="27628"/>
          <ac:spMkLst>
            <pc:docMk/>
            <pc:sldMk cId="299398864" sldId="256"/>
            <ac:spMk id="183" creationId="{CD096F7C-BA82-8FC1-F63B-5C0BA20C9270}"/>
          </ac:spMkLst>
        </pc:spChg>
        <pc:spChg chg="add del mod modVis">
          <ac:chgData name="Steiner Andreas 6206 ED" userId="e6377c33-a923-4f14-8587-531c474c7b48" providerId="ADAL" clId="{6ECD27E6-B224-41CD-B4E0-E297462320DD}" dt="2023-11-24T08:36:43.617" v="27783"/>
          <ac:spMkLst>
            <pc:docMk/>
            <pc:sldMk cId="299398864" sldId="256"/>
            <ac:spMk id="184" creationId="{641C336C-A112-1E07-12CE-463BD006462C}"/>
          </ac:spMkLst>
        </pc:spChg>
        <pc:spChg chg="add del mod modVis">
          <ac:chgData name="Steiner Andreas 6206 ED" userId="e6377c33-a923-4f14-8587-531c474c7b48" providerId="ADAL" clId="{6ECD27E6-B224-41CD-B4E0-E297462320DD}" dt="2023-11-24T08:36:46.005" v="27938"/>
          <ac:spMkLst>
            <pc:docMk/>
            <pc:sldMk cId="299398864" sldId="256"/>
            <ac:spMk id="185" creationId="{B6EFE68B-FE26-97E0-AC20-7D64F1935C4D}"/>
          </ac:spMkLst>
        </pc:spChg>
        <pc:spChg chg="add del mod modVis">
          <ac:chgData name="Steiner Andreas 6206 ED" userId="e6377c33-a923-4f14-8587-531c474c7b48" providerId="ADAL" clId="{6ECD27E6-B224-41CD-B4E0-E297462320DD}" dt="2023-11-24T08:36:48.419" v="28093"/>
          <ac:spMkLst>
            <pc:docMk/>
            <pc:sldMk cId="299398864" sldId="256"/>
            <ac:spMk id="186" creationId="{562BC159-5FD7-C9A4-605C-1932BC37B0CD}"/>
          </ac:spMkLst>
        </pc:spChg>
        <pc:spChg chg="add del mod modVis">
          <ac:chgData name="Steiner Andreas 6206 ED" userId="e6377c33-a923-4f14-8587-531c474c7b48" providerId="ADAL" clId="{6ECD27E6-B224-41CD-B4E0-E297462320DD}" dt="2023-11-24T08:36:51.001" v="28248"/>
          <ac:spMkLst>
            <pc:docMk/>
            <pc:sldMk cId="299398864" sldId="256"/>
            <ac:spMk id="187" creationId="{3A63BA61-4E13-8D0B-AFEC-EB3B22F70C8B}"/>
          </ac:spMkLst>
        </pc:spChg>
        <pc:spChg chg="add del mod modVis">
          <ac:chgData name="Steiner Andreas 6206 ED" userId="e6377c33-a923-4f14-8587-531c474c7b48" providerId="ADAL" clId="{6ECD27E6-B224-41CD-B4E0-E297462320DD}" dt="2023-11-24T08:36:54.022" v="28403"/>
          <ac:spMkLst>
            <pc:docMk/>
            <pc:sldMk cId="299398864" sldId="256"/>
            <ac:spMk id="188" creationId="{C6782725-30FA-E061-F086-708A06F74F8E}"/>
          </ac:spMkLst>
        </pc:spChg>
        <pc:spChg chg="add del mod modVis">
          <ac:chgData name="Steiner Andreas 6206 ED" userId="e6377c33-a923-4f14-8587-531c474c7b48" providerId="ADAL" clId="{6ECD27E6-B224-41CD-B4E0-E297462320DD}" dt="2023-11-24T08:36:57.204" v="28558"/>
          <ac:spMkLst>
            <pc:docMk/>
            <pc:sldMk cId="299398864" sldId="256"/>
            <ac:spMk id="189" creationId="{109E145E-E79F-083A-B954-2DEC4804C204}"/>
          </ac:spMkLst>
        </pc:spChg>
        <pc:spChg chg="add del mod modVis">
          <ac:chgData name="Steiner Andreas 6206 ED" userId="e6377c33-a923-4f14-8587-531c474c7b48" providerId="ADAL" clId="{6ECD27E6-B224-41CD-B4E0-E297462320DD}" dt="2023-11-24T08:36:59.977" v="28713"/>
          <ac:spMkLst>
            <pc:docMk/>
            <pc:sldMk cId="299398864" sldId="256"/>
            <ac:spMk id="190" creationId="{FCDF43E6-5CC9-5B63-5560-5DDC263AD695}"/>
          </ac:spMkLst>
        </pc:spChg>
        <pc:spChg chg="add del mod modVis">
          <ac:chgData name="Steiner Andreas 6206 ED" userId="e6377c33-a923-4f14-8587-531c474c7b48" providerId="ADAL" clId="{6ECD27E6-B224-41CD-B4E0-E297462320DD}" dt="2023-11-24T08:37:02.625" v="28868"/>
          <ac:spMkLst>
            <pc:docMk/>
            <pc:sldMk cId="299398864" sldId="256"/>
            <ac:spMk id="191" creationId="{5CEDFAC4-69C3-AB31-390A-AF11A7E63AF8}"/>
          </ac:spMkLst>
        </pc:spChg>
        <pc:spChg chg="add del mod modVis">
          <ac:chgData name="Steiner Andreas 6206 ED" userId="e6377c33-a923-4f14-8587-531c474c7b48" providerId="ADAL" clId="{6ECD27E6-B224-41CD-B4E0-E297462320DD}" dt="2023-11-24T08:37:05.369" v="29023"/>
          <ac:spMkLst>
            <pc:docMk/>
            <pc:sldMk cId="299398864" sldId="256"/>
            <ac:spMk id="192" creationId="{DAD6EEE2-2B01-1CE7-33F3-85099D72AA64}"/>
          </ac:spMkLst>
        </pc:spChg>
        <pc:spChg chg="add del mod modVis">
          <ac:chgData name="Steiner Andreas 6206 ED" userId="e6377c33-a923-4f14-8587-531c474c7b48" providerId="ADAL" clId="{6ECD27E6-B224-41CD-B4E0-E297462320DD}" dt="2023-11-24T08:37:08.158" v="29178"/>
          <ac:spMkLst>
            <pc:docMk/>
            <pc:sldMk cId="299398864" sldId="256"/>
            <ac:spMk id="193" creationId="{91CA4404-4D51-88D5-36D5-42DA209FE5CB}"/>
          </ac:spMkLst>
        </pc:spChg>
        <pc:spChg chg="add del mod modVis">
          <ac:chgData name="Steiner Andreas 6206 ED" userId="e6377c33-a923-4f14-8587-531c474c7b48" providerId="ADAL" clId="{6ECD27E6-B224-41CD-B4E0-E297462320DD}" dt="2023-11-24T08:37:10.868" v="29333"/>
          <ac:spMkLst>
            <pc:docMk/>
            <pc:sldMk cId="299398864" sldId="256"/>
            <ac:spMk id="194" creationId="{0DDCDA99-1758-6825-4E03-582D55279D73}"/>
          </ac:spMkLst>
        </pc:spChg>
        <pc:spChg chg="add del mod modVis">
          <ac:chgData name="Steiner Andreas 6206 ED" userId="e6377c33-a923-4f14-8587-531c474c7b48" providerId="ADAL" clId="{6ECD27E6-B224-41CD-B4E0-E297462320DD}" dt="2023-11-24T08:37:13.578" v="29488"/>
          <ac:spMkLst>
            <pc:docMk/>
            <pc:sldMk cId="299398864" sldId="256"/>
            <ac:spMk id="195" creationId="{C6F2694B-7E86-3A63-D361-4B31DE6E124E}"/>
          </ac:spMkLst>
        </pc:spChg>
        <pc:spChg chg="add del mod modVis">
          <ac:chgData name="Steiner Andreas 6206 ED" userId="e6377c33-a923-4f14-8587-531c474c7b48" providerId="ADAL" clId="{6ECD27E6-B224-41CD-B4E0-E297462320DD}" dt="2023-11-24T08:37:16.847" v="29643"/>
          <ac:spMkLst>
            <pc:docMk/>
            <pc:sldMk cId="299398864" sldId="256"/>
            <ac:spMk id="196" creationId="{E1404FDC-E6DD-D779-E2E5-92BD76ADFC07}"/>
          </ac:spMkLst>
        </pc:spChg>
        <pc:spChg chg="add del mod modVis">
          <ac:chgData name="Steiner Andreas 6206 ED" userId="e6377c33-a923-4f14-8587-531c474c7b48" providerId="ADAL" clId="{6ECD27E6-B224-41CD-B4E0-E297462320DD}" dt="2023-11-24T08:37:19.623" v="29798"/>
          <ac:spMkLst>
            <pc:docMk/>
            <pc:sldMk cId="299398864" sldId="256"/>
            <ac:spMk id="197" creationId="{7F809798-58EC-8183-69D8-14CE3C62F94A}"/>
          </ac:spMkLst>
        </pc:spChg>
        <pc:spChg chg="add del mod modVis">
          <ac:chgData name="Steiner Andreas 6206 ED" userId="e6377c33-a923-4f14-8587-531c474c7b48" providerId="ADAL" clId="{6ECD27E6-B224-41CD-B4E0-E297462320DD}" dt="2023-11-24T08:37:22.193" v="29953"/>
          <ac:spMkLst>
            <pc:docMk/>
            <pc:sldMk cId="299398864" sldId="256"/>
            <ac:spMk id="198" creationId="{27E52929-2955-7CDF-9A62-44E30054F8D3}"/>
          </ac:spMkLst>
        </pc:spChg>
        <pc:spChg chg="add del mod modVis">
          <ac:chgData name="Steiner Andreas 6206 ED" userId="e6377c33-a923-4f14-8587-531c474c7b48" providerId="ADAL" clId="{6ECD27E6-B224-41CD-B4E0-E297462320DD}" dt="2023-11-24T08:37:24.926" v="30108"/>
          <ac:spMkLst>
            <pc:docMk/>
            <pc:sldMk cId="299398864" sldId="256"/>
            <ac:spMk id="199" creationId="{7B067ED7-19AC-4236-E971-46B020CCCAA8}"/>
          </ac:spMkLst>
        </pc:spChg>
        <pc:spChg chg="add del mod modVis">
          <ac:chgData name="Steiner Andreas 6206 ED" userId="e6377c33-a923-4f14-8587-531c474c7b48" providerId="ADAL" clId="{6ECD27E6-B224-41CD-B4E0-E297462320DD}" dt="2023-11-24T08:37:27.610" v="30263"/>
          <ac:spMkLst>
            <pc:docMk/>
            <pc:sldMk cId="299398864" sldId="256"/>
            <ac:spMk id="200" creationId="{D1652ACF-F8AF-CD0F-9E97-E5E282C53103}"/>
          </ac:spMkLst>
        </pc:spChg>
        <pc:spChg chg="add del mod modVis">
          <ac:chgData name="Steiner Andreas 6206 ED" userId="e6377c33-a923-4f14-8587-531c474c7b48" providerId="ADAL" clId="{6ECD27E6-B224-41CD-B4E0-E297462320DD}" dt="2023-11-24T08:37:30.983" v="30418"/>
          <ac:spMkLst>
            <pc:docMk/>
            <pc:sldMk cId="299398864" sldId="256"/>
            <ac:spMk id="201" creationId="{F2DDF203-E736-4EA9-63B6-16E2216CC2F6}"/>
          </ac:spMkLst>
        </pc:spChg>
        <pc:spChg chg="add del mod modVis">
          <ac:chgData name="Steiner Andreas 6206 ED" userId="e6377c33-a923-4f14-8587-531c474c7b48" providerId="ADAL" clId="{6ECD27E6-B224-41CD-B4E0-E297462320DD}" dt="2023-11-24T08:37:33.643" v="30573"/>
          <ac:spMkLst>
            <pc:docMk/>
            <pc:sldMk cId="299398864" sldId="256"/>
            <ac:spMk id="202" creationId="{B4D69EC8-C17F-4317-425B-309128E1896B}"/>
          </ac:spMkLst>
        </pc:spChg>
        <pc:spChg chg="add del mod modVis">
          <ac:chgData name="Steiner Andreas 6206 ED" userId="e6377c33-a923-4f14-8587-531c474c7b48" providerId="ADAL" clId="{6ECD27E6-B224-41CD-B4E0-E297462320DD}" dt="2023-11-24T08:37:36.281" v="30728"/>
          <ac:spMkLst>
            <pc:docMk/>
            <pc:sldMk cId="299398864" sldId="256"/>
            <ac:spMk id="203" creationId="{B25D16D6-7549-5061-EA81-C4B8CC0DC029}"/>
          </ac:spMkLst>
        </pc:spChg>
        <pc:spChg chg="add del mod modVis">
          <ac:chgData name="Steiner Andreas 6206 ED" userId="e6377c33-a923-4f14-8587-531c474c7b48" providerId="ADAL" clId="{6ECD27E6-B224-41CD-B4E0-E297462320DD}" dt="2023-11-24T08:37:38.946" v="30883"/>
          <ac:spMkLst>
            <pc:docMk/>
            <pc:sldMk cId="299398864" sldId="256"/>
            <ac:spMk id="204" creationId="{D009E715-5447-6CD6-AFB0-12D2EFB16878}"/>
          </ac:spMkLst>
        </pc:spChg>
        <pc:spChg chg="add del mod modVis">
          <ac:chgData name="Steiner Andreas 6206 ED" userId="e6377c33-a923-4f14-8587-531c474c7b48" providerId="ADAL" clId="{6ECD27E6-B224-41CD-B4E0-E297462320DD}" dt="2023-11-24T08:37:43.036" v="31038"/>
          <ac:spMkLst>
            <pc:docMk/>
            <pc:sldMk cId="299398864" sldId="256"/>
            <ac:spMk id="205" creationId="{42A1134D-8FCF-E97D-0EB1-42D2E55A53AA}"/>
          </ac:spMkLst>
        </pc:spChg>
        <pc:spChg chg="add del mod modVis">
          <ac:chgData name="Steiner Andreas 6206 ED" userId="e6377c33-a923-4f14-8587-531c474c7b48" providerId="ADAL" clId="{6ECD27E6-B224-41CD-B4E0-E297462320DD}" dt="2023-11-24T08:37:45.823" v="31193"/>
          <ac:spMkLst>
            <pc:docMk/>
            <pc:sldMk cId="299398864" sldId="256"/>
            <ac:spMk id="206" creationId="{46A0AE2A-48C7-A83E-0037-A3AF73DD6D67}"/>
          </ac:spMkLst>
        </pc:spChg>
        <pc:spChg chg="add del mod modVis">
          <ac:chgData name="Steiner Andreas 6206 ED" userId="e6377c33-a923-4f14-8587-531c474c7b48" providerId="ADAL" clId="{6ECD27E6-B224-41CD-B4E0-E297462320DD}" dt="2023-11-24T08:37:48.699" v="31348"/>
          <ac:spMkLst>
            <pc:docMk/>
            <pc:sldMk cId="299398864" sldId="256"/>
            <ac:spMk id="207" creationId="{77921A99-121E-1723-B069-43715C7E5678}"/>
          </ac:spMkLst>
        </pc:spChg>
        <pc:spChg chg="add del mod modVis">
          <ac:chgData name="Steiner Andreas 6206 ED" userId="e6377c33-a923-4f14-8587-531c474c7b48" providerId="ADAL" clId="{6ECD27E6-B224-41CD-B4E0-E297462320DD}" dt="2023-11-24T08:37:51.392" v="31503"/>
          <ac:spMkLst>
            <pc:docMk/>
            <pc:sldMk cId="299398864" sldId="256"/>
            <ac:spMk id="208" creationId="{ADFCF4D1-B050-78DD-71A8-E21C447A66D2}"/>
          </ac:spMkLst>
        </pc:spChg>
        <pc:spChg chg="add del mod modVis">
          <ac:chgData name="Steiner Andreas 6206 ED" userId="e6377c33-a923-4f14-8587-531c474c7b48" providerId="ADAL" clId="{6ECD27E6-B224-41CD-B4E0-E297462320DD}" dt="2023-11-24T08:37:54.287" v="31658"/>
          <ac:spMkLst>
            <pc:docMk/>
            <pc:sldMk cId="299398864" sldId="256"/>
            <ac:spMk id="209" creationId="{B02E9E1C-CAE6-E1DA-870E-4BB150ACB32D}"/>
          </ac:spMkLst>
        </pc:spChg>
        <pc:spChg chg="add del mod modVis">
          <ac:chgData name="Steiner Andreas 6206 ED" userId="e6377c33-a923-4f14-8587-531c474c7b48" providerId="ADAL" clId="{6ECD27E6-B224-41CD-B4E0-E297462320DD}" dt="2023-11-24T08:37:58.133" v="31813"/>
          <ac:spMkLst>
            <pc:docMk/>
            <pc:sldMk cId="299398864" sldId="256"/>
            <ac:spMk id="210" creationId="{F0EBF686-9300-DD54-925E-C524BA7BB153}"/>
          </ac:spMkLst>
        </pc:spChg>
        <pc:spChg chg="add del mod modVis">
          <ac:chgData name="Steiner Andreas 6206 ED" userId="e6377c33-a923-4f14-8587-531c474c7b48" providerId="ADAL" clId="{6ECD27E6-B224-41CD-B4E0-E297462320DD}" dt="2023-11-24T08:38:01.043" v="31968"/>
          <ac:spMkLst>
            <pc:docMk/>
            <pc:sldMk cId="299398864" sldId="256"/>
            <ac:spMk id="211" creationId="{F06A1A1E-E75D-F07D-6E43-6CFBD1B4D3D2}"/>
          </ac:spMkLst>
        </pc:spChg>
        <pc:spChg chg="add del mod modVis">
          <ac:chgData name="Steiner Andreas 6206 ED" userId="e6377c33-a923-4f14-8587-531c474c7b48" providerId="ADAL" clId="{6ECD27E6-B224-41CD-B4E0-E297462320DD}" dt="2023-11-24T08:38:03.816" v="32123"/>
          <ac:spMkLst>
            <pc:docMk/>
            <pc:sldMk cId="299398864" sldId="256"/>
            <ac:spMk id="212" creationId="{A2CEC19A-D475-4FE9-8152-58A5B0347F5A}"/>
          </ac:spMkLst>
        </pc:spChg>
        <pc:spChg chg="add del mod modVis">
          <ac:chgData name="Steiner Andreas 6206 ED" userId="e6377c33-a923-4f14-8587-531c474c7b48" providerId="ADAL" clId="{6ECD27E6-B224-41CD-B4E0-E297462320DD}" dt="2023-11-24T08:38:06.780" v="32278"/>
          <ac:spMkLst>
            <pc:docMk/>
            <pc:sldMk cId="299398864" sldId="256"/>
            <ac:spMk id="213" creationId="{3E35E6AA-B7EB-2D01-300E-E6D118566D6F}"/>
          </ac:spMkLst>
        </pc:spChg>
        <pc:spChg chg="add del mod modVis">
          <ac:chgData name="Steiner Andreas 6206 ED" userId="e6377c33-a923-4f14-8587-531c474c7b48" providerId="ADAL" clId="{6ECD27E6-B224-41CD-B4E0-E297462320DD}" dt="2023-11-24T08:38:09.928" v="32433"/>
          <ac:spMkLst>
            <pc:docMk/>
            <pc:sldMk cId="299398864" sldId="256"/>
            <ac:spMk id="214" creationId="{678C5784-05F4-DBE0-2FC1-1512F20A52C3}"/>
          </ac:spMkLst>
        </pc:spChg>
        <pc:spChg chg="add del mod modVis">
          <ac:chgData name="Steiner Andreas 6206 ED" userId="e6377c33-a923-4f14-8587-531c474c7b48" providerId="ADAL" clId="{6ECD27E6-B224-41CD-B4E0-E297462320DD}" dt="2023-11-24T08:38:12.654" v="32588"/>
          <ac:spMkLst>
            <pc:docMk/>
            <pc:sldMk cId="299398864" sldId="256"/>
            <ac:spMk id="215" creationId="{F1FE8ACC-AF0E-6B70-4544-6C2AB18A5F44}"/>
          </ac:spMkLst>
        </pc:spChg>
        <pc:spChg chg="add del mod modVis">
          <ac:chgData name="Steiner Andreas 6206 ED" userId="e6377c33-a923-4f14-8587-531c474c7b48" providerId="ADAL" clId="{6ECD27E6-B224-41CD-B4E0-E297462320DD}" dt="2023-11-24T08:38:15.359" v="32743"/>
          <ac:spMkLst>
            <pc:docMk/>
            <pc:sldMk cId="299398864" sldId="256"/>
            <ac:spMk id="216" creationId="{BB22C1CB-7CB3-BF4D-6492-7F5F742AA540}"/>
          </ac:spMkLst>
        </pc:spChg>
        <pc:spChg chg="add del mod modVis">
          <ac:chgData name="Steiner Andreas 6206 ED" userId="e6377c33-a923-4f14-8587-531c474c7b48" providerId="ADAL" clId="{6ECD27E6-B224-41CD-B4E0-E297462320DD}" dt="2023-11-24T08:38:17.972" v="32898"/>
          <ac:spMkLst>
            <pc:docMk/>
            <pc:sldMk cId="299398864" sldId="256"/>
            <ac:spMk id="217" creationId="{FFD18D7E-FBD0-2E72-99F9-559EEC43A9C5}"/>
          </ac:spMkLst>
        </pc:spChg>
        <pc:spChg chg="add del mod modVis">
          <ac:chgData name="Steiner Andreas 6206 ED" userId="e6377c33-a923-4f14-8587-531c474c7b48" providerId="ADAL" clId="{6ECD27E6-B224-41CD-B4E0-E297462320DD}" dt="2023-11-24T08:38:21.009" v="33053"/>
          <ac:spMkLst>
            <pc:docMk/>
            <pc:sldMk cId="299398864" sldId="256"/>
            <ac:spMk id="218" creationId="{ECF3EA32-3B32-C5BF-CC41-30A42264281E}"/>
          </ac:spMkLst>
        </pc:spChg>
        <pc:spChg chg="add del mod modVis">
          <ac:chgData name="Steiner Andreas 6206 ED" userId="e6377c33-a923-4f14-8587-531c474c7b48" providerId="ADAL" clId="{6ECD27E6-B224-41CD-B4E0-E297462320DD}" dt="2023-11-24T08:38:23.994" v="33208"/>
          <ac:spMkLst>
            <pc:docMk/>
            <pc:sldMk cId="299398864" sldId="256"/>
            <ac:spMk id="219" creationId="{53973C27-20CB-670F-9D76-B2E621D6D91F}"/>
          </ac:spMkLst>
        </pc:spChg>
        <pc:spChg chg="add del mod modVis">
          <ac:chgData name="Steiner Andreas 6206 ED" userId="e6377c33-a923-4f14-8587-531c474c7b48" providerId="ADAL" clId="{6ECD27E6-B224-41CD-B4E0-E297462320DD}" dt="2023-11-24T08:38:26.739" v="33363"/>
          <ac:spMkLst>
            <pc:docMk/>
            <pc:sldMk cId="299398864" sldId="256"/>
            <ac:spMk id="220" creationId="{522136BA-AB51-04B6-8B7A-69D3A6C3BBCA}"/>
          </ac:spMkLst>
        </pc:spChg>
        <pc:spChg chg="add del mod modVis">
          <ac:chgData name="Steiner Andreas 6206 ED" userId="e6377c33-a923-4f14-8587-531c474c7b48" providerId="ADAL" clId="{6ECD27E6-B224-41CD-B4E0-E297462320DD}" dt="2023-11-24T08:38:30.359" v="33518"/>
          <ac:spMkLst>
            <pc:docMk/>
            <pc:sldMk cId="299398864" sldId="256"/>
            <ac:spMk id="221" creationId="{E022061A-8ACB-12B8-1166-8975B355C46A}"/>
          </ac:spMkLst>
        </pc:spChg>
        <pc:spChg chg="add del mod modVis">
          <ac:chgData name="Steiner Andreas 6206 ED" userId="e6377c33-a923-4f14-8587-531c474c7b48" providerId="ADAL" clId="{6ECD27E6-B224-41CD-B4E0-E297462320DD}" dt="2023-11-24T08:38:33.371" v="33673"/>
          <ac:spMkLst>
            <pc:docMk/>
            <pc:sldMk cId="299398864" sldId="256"/>
            <ac:spMk id="222" creationId="{5584B462-9D8E-637D-E6BA-85A283DA1877}"/>
          </ac:spMkLst>
        </pc:spChg>
        <pc:spChg chg="add del mod modVis">
          <ac:chgData name="Steiner Andreas 6206 ED" userId="e6377c33-a923-4f14-8587-531c474c7b48" providerId="ADAL" clId="{6ECD27E6-B224-41CD-B4E0-E297462320DD}" dt="2023-11-24T08:38:36.146" v="33828"/>
          <ac:spMkLst>
            <pc:docMk/>
            <pc:sldMk cId="299398864" sldId="256"/>
            <ac:spMk id="223" creationId="{3B5782BA-CDC0-6C1E-08A5-2BC233C16F3D}"/>
          </ac:spMkLst>
        </pc:spChg>
        <pc:spChg chg="add del mod modVis">
          <ac:chgData name="Steiner Andreas 6206 ED" userId="e6377c33-a923-4f14-8587-531c474c7b48" providerId="ADAL" clId="{6ECD27E6-B224-41CD-B4E0-E297462320DD}" dt="2023-11-24T08:38:38.658" v="33983"/>
          <ac:spMkLst>
            <pc:docMk/>
            <pc:sldMk cId="299398864" sldId="256"/>
            <ac:spMk id="224" creationId="{4E7E7B31-7BA9-0134-79A4-EA8530BA2411}"/>
          </ac:spMkLst>
        </pc:spChg>
        <pc:spChg chg="add del mod modVis">
          <ac:chgData name="Steiner Andreas 6206 ED" userId="e6377c33-a923-4f14-8587-531c474c7b48" providerId="ADAL" clId="{6ECD27E6-B224-41CD-B4E0-E297462320DD}" dt="2023-11-24T08:38:41.184" v="34138"/>
          <ac:spMkLst>
            <pc:docMk/>
            <pc:sldMk cId="299398864" sldId="256"/>
            <ac:spMk id="225" creationId="{709B2EC5-AAEB-8760-895B-2C85F0B09E9B}"/>
          </ac:spMkLst>
        </pc:spChg>
        <pc:spChg chg="add del mod modVis">
          <ac:chgData name="Steiner Andreas 6206 ED" userId="e6377c33-a923-4f14-8587-531c474c7b48" providerId="ADAL" clId="{6ECD27E6-B224-41CD-B4E0-E297462320DD}" dt="2023-11-24T08:38:44.130" v="34293"/>
          <ac:spMkLst>
            <pc:docMk/>
            <pc:sldMk cId="299398864" sldId="256"/>
            <ac:spMk id="226" creationId="{B087D19D-EECF-4637-D85B-7ABD73037DD1}"/>
          </ac:spMkLst>
        </pc:spChg>
        <pc:spChg chg="add del mod modVis">
          <ac:chgData name="Steiner Andreas 6206 ED" userId="e6377c33-a923-4f14-8587-531c474c7b48" providerId="ADAL" clId="{6ECD27E6-B224-41CD-B4E0-E297462320DD}" dt="2023-11-24T08:38:47.712" v="34448"/>
          <ac:spMkLst>
            <pc:docMk/>
            <pc:sldMk cId="299398864" sldId="256"/>
            <ac:spMk id="227" creationId="{CE7886CB-E251-F253-F8A8-8751220A30A5}"/>
          </ac:spMkLst>
        </pc:spChg>
        <pc:spChg chg="add del mod modVis">
          <ac:chgData name="Steiner Andreas 6206 ED" userId="e6377c33-a923-4f14-8587-531c474c7b48" providerId="ADAL" clId="{6ECD27E6-B224-41CD-B4E0-E297462320DD}" dt="2023-11-24T08:38:50.428" v="34603"/>
          <ac:spMkLst>
            <pc:docMk/>
            <pc:sldMk cId="299398864" sldId="256"/>
            <ac:spMk id="228" creationId="{EA02E0EC-8DE3-7C8F-0C82-607ED04D9A12}"/>
          </ac:spMkLst>
        </pc:spChg>
        <pc:spChg chg="add del mod modVis">
          <ac:chgData name="Steiner Andreas 6206 ED" userId="e6377c33-a923-4f14-8587-531c474c7b48" providerId="ADAL" clId="{6ECD27E6-B224-41CD-B4E0-E297462320DD}" dt="2023-11-24T08:38:53.275" v="34758"/>
          <ac:spMkLst>
            <pc:docMk/>
            <pc:sldMk cId="299398864" sldId="256"/>
            <ac:spMk id="229" creationId="{D9C7DB58-9867-188D-1D83-0E88C20520E2}"/>
          </ac:spMkLst>
        </pc:spChg>
        <pc:spChg chg="add del mod modVis">
          <ac:chgData name="Steiner Andreas 6206 ED" userId="e6377c33-a923-4f14-8587-531c474c7b48" providerId="ADAL" clId="{6ECD27E6-B224-41CD-B4E0-E297462320DD}" dt="2023-11-24T08:38:56.205" v="34913"/>
          <ac:spMkLst>
            <pc:docMk/>
            <pc:sldMk cId="299398864" sldId="256"/>
            <ac:spMk id="230" creationId="{396AAD5E-5676-0885-02B3-51D1537D4FD1}"/>
          </ac:spMkLst>
        </pc:spChg>
        <pc:spChg chg="add del mod modVis">
          <ac:chgData name="Steiner Andreas 6206 ED" userId="e6377c33-a923-4f14-8587-531c474c7b48" providerId="ADAL" clId="{6ECD27E6-B224-41CD-B4E0-E297462320DD}" dt="2023-11-24T08:38:59.485" v="35068"/>
          <ac:spMkLst>
            <pc:docMk/>
            <pc:sldMk cId="299398864" sldId="256"/>
            <ac:spMk id="231" creationId="{E80ED68B-0D33-73D3-E0B2-E486D47B1A0C}"/>
          </ac:spMkLst>
        </pc:spChg>
        <pc:spChg chg="add del mod modVis">
          <ac:chgData name="Steiner Andreas 6206 ED" userId="e6377c33-a923-4f14-8587-531c474c7b48" providerId="ADAL" clId="{6ECD27E6-B224-41CD-B4E0-E297462320DD}" dt="2023-11-24T08:39:03.099" v="35223"/>
          <ac:spMkLst>
            <pc:docMk/>
            <pc:sldMk cId="299398864" sldId="256"/>
            <ac:spMk id="232" creationId="{E30BCA37-6F2F-A285-CAB1-46CDB3AD51CA}"/>
          </ac:spMkLst>
        </pc:spChg>
        <pc:spChg chg="add del mod modVis">
          <ac:chgData name="Steiner Andreas 6206 ED" userId="e6377c33-a923-4f14-8587-531c474c7b48" providerId="ADAL" clId="{6ECD27E6-B224-41CD-B4E0-E297462320DD}" dt="2023-11-24T08:39:06.087" v="35378"/>
          <ac:spMkLst>
            <pc:docMk/>
            <pc:sldMk cId="299398864" sldId="256"/>
            <ac:spMk id="233" creationId="{00BFF3DD-AA83-1087-3AB6-FAF7500BA812}"/>
          </ac:spMkLst>
        </pc:spChg>
        <pc:spChg chg="add del mod modVis">
          <ac:chgData name="Steiner Andreas 6206 ED" userId="e6377c33-a923-4f14-8587-531c474c7b48" providerId="ADAL" clId="{6ECD27E6-B224-41CD-B4E0-E297462320DD}" dt="2023-11-24T08:39:09.301" v="35533"/>
          <ac:spMkLst>
            <pc:docMk/>
            <pc:sldMk cId="299398864" sldId="256"/>
            <ac:spMk id="234" creationId="{818189A7-DD6F-452D-8D31-2E694F9D3E02}"/>
          </ac:spMkLst>
        </pc:spChg>
        <pc:spChg chg="add del mod modVis">
          <ac:chgData name="Steiner Andreas 6206 ED" userId="e6377c33-a923-4f14-8587-531c474c7b48" providerId="ADAL" clId="{6ECD27E6-B224-41CD-B4E0-E297462320DD}" dt="2023-11-24T08:39:13.638" v="35688"/>
          <ac:spMkLst>
            <pc:docMk/>
            <pc:sldMk cId="299398864" sldId="256"/>
            <ac:spMk id="235" creationId="{132DDB49-99B2-B16D-FEB7-893DB8B2CD60}"/>
          </ac:spMkLst>
        </pc:spChg>
        <pc:spChg chg="add del mod modVis">
          <ac:chgData name="Steiner Andreas 6206 ED" userId="e6377c33-a923-4f14-8587-531c474c7b48" providerId="ADAL" clId="{6ECD27E6-B224-41CD-B4E0-E297462320DD}" dt="2023-11-24T08:39:16.397" v="35843"/>
          <ac:spMkLst>
            <pc:docMk/>
            <pc:sldMk cId="299398864" sldId="256"/>
            <ac:spMk id="236" creationId="{B964F3F2-1B1E-7AB6-FAA8-2F85BA85F63F}"/>
          </ac:spMkLst>
        </pc:spChg>
        <pc:spChg chg="add del mod modVis">
          <ac:chgData name="Steiner Andreas 6206 ED" userId="e6377c33-a923-4f14-8587-531c474c7b48" providerId="ADAL" clId="{6ECD27E6-B224-41CD-B4E0-E297462320DD}" dt="2023-11-24T08:39:18.913" v="35998"/>
          <ac:spMkLst>
            <pc:docMk/>
            <pc:sldMk cId="299398864" sldId="256"/>
            <ac:spMk id="237" creationId="{87988352-2A1E-DE64-0F91-E5A990BCE1FA}"/>
          </ac:spMkLst>
        </pc:spChg>
        <pc:spChg chg="add del mod modVis">
          <ac:chgData name="Steiner Andreas 6206 ED" userId="e6377c33-a923-4f14-8587-531c474c7b48" providerId="ADAL" clId="{6ECD27E6-B224-41CD-B4E0-E297462320DD}" dt="2023-11-24T08:39:21.574" v="36153"/>
          <ac:spMkLst>
            <pc:docMk/>
            <pc:sldMk cId="299398864" sldId="256"/>
            <ac:spMk id="238" creationId="{1AB2A195-8697-791F-5530-FF38D7D6DB08}"/>
          </ac:spMkLst>
        </pc:spChg>
        <pc:spChg chg="add del mod modVis">
          <ac:chgData name="Steiner Andreas 6206 ED" userId="e6377c33-a923-4f14-8587-531c474c7b48" providerId="ADAL" clId="{6ECD27E6-B224-41CD-B4E0-E297462320DD}" dt="2023-11-24T08:39:24.714" v="36308"/>
          <ac:spMkLst>
            <pc:docMk/>
            <pc:sldMk cId="299398864" sldId="256"/>
            <ac:spMk id="239" creationId="{AA44501E-36FF-33EF-E0C5-AE989A279105}"/>
          </ac:spMkLst>
        </pc:spChg>
        <pc:spChg chg="add del mod modVis">
          <ac:chgData name="Steiner Andreas 6206 ED" userId="e6377c33-a923-4f14-8587-531c474c7b48" providerId="ADAL" clId="{6ECD27E6-B224-41CD-B4E0-E297462320DD}" dt="2023-11-24T08:39:27.466" v="36463"/>
          <ac:spMkLst>
            <pc:docMk/>
            <pc:sldMk cId="299398864" sldId="256"/>
            <ac:spMk id="240" creationId="{5B1B5843-2BA7-DA79-47B2-89DC25BCCDC2}"/>
          </ac:spMkLst>
        </pc:spChg>
        <pc:spChg chg="add del mod modVis">
          <ac:chgData name="Steiner Andreas 6206 ED" userId="e6377c33-a923-4f14-8587-531c474c7b48" providerId="ADAL" clId="{6ECD27E6-B224-41CD-B4E0-E297462320DD}" dt="2023-11-24T08:39:30.171" v="36618"/>
          <ac:spMkLst>
            <pc:docMk/>
            <pc:sldMk cId="299398864" sldId="256"/>
            <ac:spMk id="241" creationId="{06D273E5-C103-C631-ED4E-2C7468B11F65}"/>
          </ac:spMkLst>
        </pc:spChg>
        <pc:spChg chg="add del mod modVis">
          <ac:chgData name="Steiner Andreas 6206 ED" userId="e6377c33-a923-4f14-8587-531c474c7b48" providerId="ADAL" clId="{6ECD27E6-B224-41CD-B4E0-E297462320DD}" dt="2023-11-24T08:39:32.738" v="36773"/>
          <ac:spMkLst>
            <pc:docMk/>
            <pc:sldMk cId="299398864" sldId="256"/>
            <ac:spMk id="242" creationId="{ABEEAD1A-67BD-AE1E-3480-084FD30D71B5}"/>
          </ac:spMkLst>
        </pc:spChg>
        <pc:spChg chg="add del mod modVis">
          <ac:chgData name="Steiner Andreas 6206 ED" userId="e6377c33-a923-4f14-8587-531c474c7b48" providerId="ADAL" clId="{6ECD27E6-B224-41CD-B4E0-E297462320DD}" dt="2023-11-24T08:39:35.298" v="36928"/>
          <ac:spMkLst>
            <pc:docMk/>
            <pc:sldMk cId="299398864" sldId="256"/>
            <ac:spMk id="243" creationId="{E0F4A8F9-4C65-56C8-8FDD-AC661C05D806}"/>
          </ac:spMkLst>
        </pc:spChg>
        <pc:spChg chg="add del mod modVis">
          <ac:chgData name="Steiner Andreas 6206 ED" userId="e6377c33-a923-4f14-8587-531c474c7b48" providerId="ADAL" clId="{6ECD27E6-B224-41CD-B4E0-E297462320DD}" dt="2023-11-24T08:39:38.167" v="37083"/>
          <ac:spMkLst>
            <pc:docMk/>
            <pc:sldMk cId="299398864" sldId="256"/>
            <ac:spMk id="244" creationId="{8B8A5C19-0372-3D93-DF81-AA4361E966B2}"/>
          </ac:spMkLst>
        </pc:spChg>
        <pc:spChg chg="add del mod modVis">
          <ac:chgData name="Steiner Andreas 6206 ED" userId="e6377c33-a923-4f14-8587-531c474c7b48" providerId="ADAL" clId="{6ECD27E6-B224-41CD-B4E0-E297462320DD}" dt="2023-11-24T08:39:40.847" v="37238"/>
          <ac:spMkLst>
            <pc:docMk/>
            <pc:sldMk cId="299398864" sldId="256"/>
            <ac:spMk id="245" creationId="{F493F04E-9CB8-F1D0-CA42-ACC637C2F75A}"/>
          </ac:spMkLst>
        </pc:spChg>
        <pc:spChg chg="add del mod modVis">
          <ac:chgData name="Steiner Andreas 6206 ED" userId="e6377c33-a923-4f14-8587-531c474c7b48" providerId="ADAL" clId="{6ECD27E6-B224-41CD-B4E0-E297462320DD}" dt="2023-11-24T08:39:43.272" v="37393"/>
          <ac:spMkLst>
            <pc:docMk/>
            <pc:sldMk cId="299398864" sldId="256"/>
            <ac:spMk id="246" creationId="{D3D56C58-080A-5081-6FDF-2904326FCCFD}"/>
          </ac:spMkLst>
        </pc:spChg>
        <pc:spChg chg="add del mod modVis">
          <ac:chgData name="Steiner Andreas 6206 ED" userId="e6377c33-a923-4f14-8587-531c474c7b48" providerId="ADAL" clId="{6ECD27E6-B224-41CD-B4E0-E297462320DD}" dt="2023-11-24T08:39:45.851" v="37548"/>
          <ac:spMkLst>
            <pc:docMk/>
            <pc:sldMk cId="299398864" sldId="256"/>
            <ac:spMk id="247" creationId="{11341C03-49EB-C2FB-7543-8C40FDF39366}"/>
          </ac:spMkLst>
        </pc:spChg>
        <pc:spChg chg="add del mod modVis">
          <ac:chgData name="Steiner Andreas 6206 ED" userId="e6377c33-a923-4f14-8587-531c474c7b48" providerId="ADAL" clId="{6ECD27E6-B224-41CD-B4E0-E297462320DD}" dt="2023-11-24T08:39:48.931" v="37703"/>
          <ac:spMkLst>
            <pc:docMk/>
            <pc:sldMk cId="299398864" sldId="256"/>
            <ac:spMk id="248" creationId="{EE931CFC-E00A-AA4C-BBD7-038FB38E1736}"/>
          </ac:spMkLst>
        </pc:spChg>
        <pc:spChg chg="add del mod modVis">
          <ac:chgData name="Steiner Andreas 6206 ED" userId="e6377c33-a923-4f14-8587-531c474c7b48" providerId="ADAL" clId="{6ECD27E6-B224-41CD-B4E0-E297462320DD}" dt="2023-11-24T08:39:51.544" v="37858"/>
          <ac:spMkLst>
            <pc:docMk/>
            <pc:sldMk cId="299398864" sldId="256"/>
            <ac:spMk id="249" creationId="{72F6C672-2BB9-5BEB-4E01-AA0413217C87}"/>
          </ac:spMkLst>
        </pc:spChg>
        <pc:spChg chg="add del mod modVis">
          <ac:chgData name="Steiner Andreas 6206 ED" userId="e6377c33-a923-4f14-8587-531c474c7b48" providerId="ADAL" clId="{6ECD27E6-B224-41CD-B4E0-E297462320DD}" dt="2023-11-24T08:39:54.233" v="38013"/>
          <ac:spMkLst>
            <pc:docMk/>
            <pc:sldMk cId="299398864" sldId="256"/>
            <ac:spMk id="250" creationId="{660824FC-56AA-89E2-70B5-BBB4CCAAB772}"/>
          </ac:spMkLst>
        </pc:spChg>
        <pc:spChg chg="add del mod modVis">
          <ac:chgData name="Steiner Andreas 6206 ED" userId="e6377c33-a923-4f14-8587-531c474c7b48" providerId="ADAL" clId="{6ECD27E6-B224-41CD-B4E0-E297462320DD}" dt="2023-11-24T08:39:57.255" v="38168"/>
          <ac:spMkLst>
            <pc:docMk/>
            <pc:sldMk cId="299398864" sldId="256"/>
            <ac:spMk id="251" creationId="{E8310AAA-6DFD-7017-BFDC-D5C9DA8D32F2}"/>
          </ac:spMkLst>
        </pc:spChg>
        <pc:spChg chg="add del mod modVis">
          <ac:chgData name="Steiner Andreas 6206 ED" userId="e6377c33-a923-4f14-8587-531c474c7b48" providerId="ADAL" clId="{6ECD27E6-B224-41CD-B4E0-E297462320DD}" dt="2023-11-24T08:40:00.915" v="38323"/>
          <ac:spMkLst>
            <pc:docMk/>
            <pc:sldMk cId="299398864" sldId="256"/>
            <ac:spMk id="252" creationId="{D8DE8EA4-16ED-CB6B-4CB9-CC970368E513}"/>
          </ac:spMkLst>
        </pc:spChg>
        <pc:spChg chg="add del mod modVis">
          <ac:chgData name="Steiner Andreas 6206 ED" userId="e6377c33-a923-4f14-8587-531c474c7b48" providerId="ADAL" clId="{6ECD27E6-B224-41CD-B4E0-E297462320DD}" dt="2023-11-24T08:40:03.695" v="38478"/>
          <ac:spMkLst>
            <pc:docMk/>
            <pc:sldMk cId="299398864" sldId="256"/>
            <ac:spMk id="253" creationId="{9120F748-0C96-3918-BF43-12C260FD4D72}"/>
          </ac:spMkLst>
        </pc:spChg>
        <pc:spChg chg="add del mod modVis">
          <ac:chgData name="Steiner Andreas 6206 ED" userId="e6377c33-a923-4f14-8587-531c474c7b48" providerId="ADAL" clId="{6ECD27E6-B224-41CD-B4E0-E297462320DD}" dt="2023-11-24T08:40:06.304" v="38633"/>
          <ac:spMkLst>
            <pc:docMk/>
            <pc:sldMk cId="299398864" sldId="256"/>
            <ac:spMk id="254" creationId="{CEB39F83-A387-62E5-BDF7-9F2505E2F7C8}"/>
          </ac:spMkLst>
        </pc:spChg>
        <pc:spChg chg="add del mod modVis">
          <ac:chgData name="Steiner Andreas 6206 ED" userId="e6377c33-a923-4f14-8587-531c474c7b48" providerId="ADAL" clId="{6ECD27E6-B224-41CD-B4E0-E297462320DD}" dt="2023-11-24T08:40:09.046" v="38788"/>
          <ac:spMkLst>
            <pc:docMk/>
            <pc:sldMk cId="299398864" sldId="256"/>
            <ac:spMk id="255" creationId="{42716BA3-6A01-632C-68BE-3B09BAF7D56E}"/>
          </ac:spMkLst>
        </pc:spChg>
        <pc:spChg chg="add del mod modVis">
          <ac:chgData name="Steiner Andreas 6206 ED" userId="e6377c33-a923-4f14-8587-531c474c7b48" providerId="ADAL" clId="{6ECD27E6-B224-41CD-B4E0-E297462320DD}" dt="2023-11-24T08:40:11.620" v="38943"/>
          <ac:spMkLst>
            <pc:docMk/>
            <pc:sldMk cId="299398864" sldId="256"/>
            <ac:spMk id="256" creationId="{8CAED2C3-DF4C-3FEF-8221-9F530F6D0480}"/>
          </ac:spMkLst>
        </pc:spChg>
        <pc:spChg chg="add del mod modVis">
          <ac:chgData name="Steiner Andreas 6206 ED" userId="e6377c33-a923-4f14-8587-531c474c7b48" providerId="ADAL" clId="{6ECD27E6-B224-41CD-B4E0-E297462320DD}" dt="2023-11-24T08:40:14.821" v="39098"/>
          <ac:spMkLst>
            <pc:docMk/>
            <pc:sldMk cId="299398864" sldId="256"/>
            <ac:spMk id="257" creationId="{29A0908C-8954-4945-8352-02D2615810B1}"/>
          </ac:spMkLst>
        </pc:spChg>
        <pc:spChg chg="add del mod modVis">
          <ac:chgData name="Steiner Andreas 6206 ED" userId="e6377c33-a923-4f14-8587-531c474c7b48" providerId="ADAL" clId="{6ECD27E6-B224-41CD-B4E0-E297462320DD}" dt="2023-11-24T08:40:17.580" v="39253"/>
          <ac:spMkLst>
            <pc:docMk/>
            <pc:sldMk cId="299398864" sldId="256"/>
            <ac:spMk id="258" creationId="{1D5CD2AC-9DF2-2336-16BB-FBD5422C248A}"/>
          </ac:spMkLst>
        </pc:spChg>
        <pc:spChg chg="add del mod modVis">
          <ac:chgData name="Steiner Andreas 6206 ED" userId="e6377c33-a923-4f14-8587-531c474c7b48" providerId="ADAL" clId="{6ECD27E6-B224-41CD-B4E0-E297462320DD}" dt="2023-11-24T08:40:19.972" v="39408"/>
          <ac:spMkLst>
            <pc:docMk/>
            <pc:sldMk cId="299398864" sldId="256"/>
            <ac:spMk id="259" creationId="{B9ADDDC9-D8FB-7774-C078-1BD5895C4C88}"/>
          </ac:spMkLst>
        </pc:spChg>
        <pc:spChg chg="add del mod modVis">
          <ac:chgData name="Steiner Andreas 6206 ED" userId="e6377c33-a923-4f14-8587-531c474c7b48" providerId="ADAL" clId="{6ECD27E6-B224-41CD-B4E0-E297462320DD}" dt="2023-11-24T08:40:22.395" v="39563"/>
          <ac:spMkLst>
            <pc:docMk/>
            <pc:sldMk cId="299398864" sldId="256"/>
            <ac:spMk id="260" creationId="{C260750A-1DC7-4013-996C-71DF295E4863}"/>
          </ac:spMkLst>
        </pc:spChg>
        <pc:spChg chg="add del mod modVis">
          <ac:chgData name="Steiner Andreas 6206 ED" userId="e6377c33-a923-4f14-8587-531c474c7b48" providerId="ADAL" clId="{6ECD27E6-B224-41CD-B4E0-E297462320DD}" dt="2023-11-24T08:40:25.206" v="39718"/>
          <ac:spMkLst>
            <pc:docMk/>
            <pc:sldMk cId="299398864" sldId="256"/>
            <ac:spMk id="261" creationId="{DB91E0AD-B125-164D-FC12-5781FA2F617B}"/>
          </ac:spMkLst>
        </pc:spChg>
        <pc:spChg chg="add del mod modVis">
          <ac:chgData name="Steiner Andreas 6206 ED" userId="e6377c33-a923-4f14-8587-531c474c7b48" providerId="ADAL" clId="{6ECD27E6-B224-41CD-B4E0-E297462320DD}" dt="2023-11-24T08:40:28.085" v="39873"/>
          <ac:spMkLst>
            <pc:docMk/>
            <pc:sldMk cId="299398864" sldId="256"/>
            <ac:spMk id="262" creationId="{B0879372-7E48-61D3-1A0C-68B9C891CADC}"/>
          </ac:spMkLst>
        </pc:spChg>
        <pc:spChg chg="add del mod modVis">
          <ac:chgData name="Steiner Andreas 6206 ED" userId="e6377c33-a923-4f14-8587-531c474c7b48" providerId="ADAL" clId="{6ECD27E6-B224-41CD-B4E0-E297462320DD}" dt="2023-11-24T08:40:30.657" v="40028"/>
          <ac:spMkLst>
            <pc:docMk/>
            <pc:sldMk cId="299398864" sldId="256"/>
            <ac:spMk id="263" creationId="{204E307D-923C-CB36-E4F2-56B1B02DC4DB}"/>
          </ac:spMkLst>
        </pc:spChg>
        <pc:spChg chg="add del mod modVis">
          <ac:chgData name="Steiner Andreas 6206 ED" userId="e6377c33-a923-4f14-8587-531c474c7b48" providerId="ADAL" clId="{6ECD27E6-B224-41CD-B4E0-E297462320DD}" dt="2023-11-24T08:40:33.292" v="40183"/>
          <ac:spMkLst>
            <pc:docMk/>
            <pc:sldMk cId="299398864" sldId="256"/>
            <ac:spMk id="264" creationId="{DA354035-5FD2-4465-236C-664B46291FF1}"/>
          </ac:spMkLst>
        </pc:spChg>
        <pc:spChg chg="add del mod modVis">
          <ac:chgData name="Steiner Andreas 6206 ED" userId="e6377c33-a923-4f14-8587-531c474c7b48" providerId="ADAL" clId="{6ECD27E6-B224-41CD-B4E0-E297462320DD}" dt="2023-11-24T08:40:35.758" v="40338"/>
          <ac:spMkLst>
            <pc:docMk/>
            <pc:sldMk cId="299398864" sldId="256"/>
            <ac:spMk id="265" creationId="{C9AA8052-8239-AC10-025E-287A1547C5C1}"/>
          </ac:spMkLst>
        </pc:spChg>
        <pc:spChg chg="add del mod modVis">
          <ac:chgData name="Steiner Andreas 6206 ED" userId="e6377c33-a923-4f14-8587-531c474c7b48" providerId="ADAL" clId="{6ECD27E6-B224-41CD-B4E0-E297462320DD}" dt="2023-11-24T08:40:39.226" v="40493"/>
          <ac:spMkLst>
            <pc:docMk/>
            <pc:sldMk cId="299398864" sldId="256"/>
            <ac:spMk id="266" creationId="{D041971D-B673-1AE5-ECCC-77E36BECEE7E}"/>
          </ac:spMkLst>
        </pc:spChg>
        <pc:spChg chg="add del mod modVis">
          <ac:chgData name="Steiner Andreas 6206 ED" userId="e6377c33-a923-4f14-8587-531c474c7b48" providerId="ADAL" clId="{6ECD27E6-B224-41CD-B4E0-E297462320DD}" dt="2023-11-24T08:40:42.055" v="40648"/>
          <ac:spMkLst>
            <pc:docMk/>
            <pc:sldMk cId="299398864" sldId="256"/>
            <ac:spMk id="267" creationId="{D418CCB6-9B20-B2B0-9535-0B5BF8870C99}"/>
          </ac:spMkLst>
        </pc:spChg>
        <pc:spChg chg="add del mod modVis">
          <ac:chgData name="Steiner Andreas 6206 ED" userId="e6377c33-a923-4f14-8587-531c474c7b48" providerId="ADAL" clId="{6ECD27E6-B224-41CD-B4E0-E297462320DD}" dt="2023-11-24T08:40:44.681" v="40803"/>
          <ac:spMkLst>
            <pc:docMk/>
            <pc:sldMk cId="299398864" sldId="256"/>
            <ac:spMk id="268" creationId="{8B865921-21F8-5313-6B59-E1B6C4F9E015}"/>
          </ac:spMkLst>
        </pc:spChg>
        <pc:spChg chg="add del mod modVis">
          <ac:chgData name="Steiner Andreas 6206 ED" userId="e6377c33-a923-4f14-8587-531c474c7b48" providerId="ADAL" clId="{6ECD27E6-B224-41CD-B4E0-E297462320DD}" dt="2023-11-24T08:40:47.160" v="40958"/>
          <ac:spMkLst>
            <pc:docMk/>
            <pc:sldMk cId="299398864" sldId="256"/>
            <ac:spMk id="269" creationId="{94CA436A-BC73-446A-3785-8C041BF305E2}"/>
          </ac:spMkLst>
        </pc:spChg>
        <pc:spChg chg="add del mod modVis">
          <ac:chgData name="Steiner Andreas 6206 ED" userId="e6377c33-a923-4f14-8587-531c474c7b48" providerId="ADAL" clId="{6ECD27E6-B224-41CD-B4E0-E297462320DD}" dt="2023-11-24T08:40:50.184" v="41113"/>
          <ac:spMkLst>
            <pc:docMk/>
            <pc:sldMk cId="299398864" sldId="256"/>
            <ac:spMk id="270" creationId="{2A9EB186-6A9D-3DB9-7B99-61D5D1EBD42A}"/>
          </ac:spMkLst>
        </pc:spChg>
        <pc:spChg chg="add del mod modVis">
          <ac:chgData name="Steiner Andreas 6206 ED" userId="e6377c33-a923-4f14-8587-531c474c7b48" providerId="ADAL" clId="{6ECD27E6-B224-41CD-B4E0-E297462320DD}" dt="2023-11-24T08:40:52.788" v="41268"/>
          <ac:spMkLst>
            <pc:docMk/>
            <pc:sldMk cId="299398864" sldId="256"/>
            <ac:spMk id="271" creationId="{9E7AA0A8-8B13-2F72-1BCE-D6EF7299CEA1}"/>
          </ac:spMkLst>
        </pc:spChg>
        <pc:spChg chg="add del mod modVis">
          <ac:chgData name="Steiner Andreas 6206 ED" userId="e6377c33-a923-4f14-8587-531c474c7b48" providerId="ADAL" clId="{6ECD27E6-B224-41CD-B4E0-E297462320DD}" dt="2023-11-24T08:40:55.299" v="41423"/>
          <ac:spMkLst>
            <pc:docMk/>
            <pc:sldMk cId="299398864" sldId="256"/>
            <ac:spMk id="272" creationId="{BB9D72E2-4229-1846-C793-FE7A3644CEEA}"/>
          </ac:spMkLst>
        </pc:spChg>
        <pc:spChg chg="add del mod modVis">
          <ac:chgData name="Steiner Andreas 6206 ED" userId="e6377c33-a923-4f14-8587-531c474c7b48" providerId="ADAL" clId="{6ECD27E6-B224-41CD-B4E0-E297462320DD}" dt="2023-11-24T08:40:57.957" v="41578"/>
          <ac:spMkLst>
            <pc:docMk/>
            <pc:sldMk cId="299398864" sldId="256"/>
            <ac:spMk id="273" creationId="{BD3BB4BB-F846-7915-A0B2-24296EAB63AE}"/>
          </ac:spMkLst>
        </pc:spChg>
        <pc:spChg chg="add del mod modVis">
          <ac:chgData name="Steiner Andreas 6206 ED" userId="e6377c33-a923-4f14-8587-531c474c7b48" providerId="ADAL" clId="{6ECD27E6-B224-41CD-B4E0-E297462320DD}" dt="2023-11-24T08:41:00.483" v="41733"/>
          <ac:spMkLst>
            <pc:docMk/>
            <pc:sldMk cId="299398864" sldId="256"/>
            <ac:spMk id="274" creationId="{C6A77558-16F4-779A-E3FB-03B806EBB59E}"/>
          </ac:spMkLst>
        </pc:spChg>
        <pc:spChg chg="add del mod modVis">
          <ac:chgData name="Steiner Andreas 6206 ED" userId="e6377c33-a923-4f14-8587-531c474c7b48" providerId="ADAL" clId="{6ECD27E6-B224-41CD-B4E0-E297462320DD}" dt="2023-11-24T08:41:03.582" v="41888"/>
          <ac:spMkLst>
            <pc:docMk/>
            <pc:sldMk cId="299398864" sldId="256"/>
            <ac:spMk id="275" creationId="{A0FFDD94-EA72-44F8-B685-BDD5D3FCED65}"/>
          </ac:spMkLst>
        </pc:spChg>
        <pc:spChg chg="add del mod modVis">
          <ac:chgData name="Steiner Andreas 6206 ED" userId="e6377c33-a923-4f14-8587-531c474c7b48" providerId="ADAL" clId="{6ECD27E6-B224-41CD-B4E0-E297462320DD}" dt="2023-11-24T08:41:06.225" v="42043"/>
          <ac:spMkLst>
            <pc:docMk/>
            <pc:sldMk cId="299398864" sldId="256"/>
            <ac:spMk id="276" creationId="{8EBD49A5-37D0-EF64-A5F9-5277B9890B88}"/>
          </ac:spMkLst>
        </pc:spChg>
        <pc:spChg chg="add del mod modVis">
          <ac:chgData name="Steiner Andreas 6206 ED" userId="e6377c33-a923-4f14-8587-531c474c7b48" providerId="ADAL" clId="{6ECD27E6-B224-41CD-B4E0-E297462320DD}" dt="2023-11-24T08:41:09.973" v="42198"/>
          <ac:spMkLst>
            <pc:docMk/>
            <pc:sldMk cId="299398864" sldId="256"/>
            <ac:spMk id="277" creationId="{0C128E81-27D7-439F-785C-D89C952890C3}"/>
          </ac:spMkLst>
        </pc:spChg>
        <pc:spChg chg="add del mod modVis">
          <ac:chgData name="Steiner Andreas 6206 ED" userId="e6377c33-a923-4f14-8587-531c474c7b48" providerId="ADAL" clId="{6ECD27E6-B224-41CD-B4E0-E297462320DD}" dt="2023-11-24T08:41:13.434" v="42353"/>
          <ac:spMkLst>
            <pc:docMk/>
            <pc:sldMk cId="299398864" sldId="256"/>
            <ac:spMk id="278" creationId="{7D7A12AA-293F-ED45-7BBF-284A34BCA27B}"/>
          </ac:spMkLst>
        </pc:spChg>
        <pc:spChg chg="add del mod modVis">
          <ac:chgData name="Steiner Andreas 6206 ED" userId="e6377c33-a923-4f14-8587-531c474c7b48" providerId="ADAL" clId="{6ECD27E6-B224-41CD-B4E0-E297462320DD}" dt="2023-11-24T08:41:16.133" v="42508"/>
          <ac:spMkLst>
            <pc:docMk/>
            <pc:sldMk cId="299398864" sldId="256"/>
            <ac:spMk id="279" creationId="{880DCCF7-0BB4-FC6E-AC19-D15F78FE7ED6}"/>
          </ac:spMkLst>
        </pc:spChg>
        <pc:spChg chg="add del mod modVis">
          <ac:chgData name="Steiner Andreas 6206 ED" userId="e6377c33-a923-4f14-8587-531c474c7b48" providerId="ADAL" clId="{6ECD27E6-B224-41CD-B4E0-E297462320DD}" dt="2023-11-24T08:41:18.327" v="42663"/>
          <ac:spMkLst>
            <pc:docMk/>
            <pc:sldMk cId="299398864" sldId="256"/>
            <ac:spMk id="280" creationId="{5272ACD1-2392-C7F1-86AB-681C7A5AF328}"/>
          </ac:spMkLst>
        </pc:spChg>
        <pc:spChg chg="add del mod modVis">
          <ac:chgData name="Steiner Andreas 6206 ED" userId="e6377c33-a923-4f14-8587-531c474c7b48" providerId="ADAL" clId="{6ECD27E6-B224-41CD-B4E0-E297462320DD}" dt="2023-11-24T08:41:20.684" v="42818"/>
          <ac:spMkLst>
            <pc:docMk/>
            <pc:sldMk cId="299398864" sldId="256"/>
            <ac:spMk id="281" creationId="{DF3ACA2E-70AD-1132-B9E2-84B3B9A2ADE0}"/>
          </ac:spMkLst>
        </pc:spChg>
        <pc:spChg chg="add del mod modVis">
          <ac:chgData name="Steiner Andreas 6206 ED" userId="e6377c33-a923-4f14-8587-531c474c7b48" providerId="ADAL" clId="{6ECD27E6-B224-41CD-B4E0-E297462320DD}" dt="2023-11-24T08:41:22.997" v="42973"/>
          <ac:spMkLst>
            <pc:docMk/>
            <pc:sldMk cId="299398864" sldId="256"/>
            <ac:spMk id="282" creationId="{7FE68D31-375F-59B6-63DA-E1D2FCC6A0E0}"/>
          </ac:spMkLst>
        </pc:spChg>
        <pc:spChg chg="add del mod modVis">
          <ac:chgData name="Steiner Andreas 6206 ED" userId="e6377c33-a923-4f14-8587-531c474c7b48" providerId="ADAL" clId="{6ECD27E6-B224-41CD-B4E0-E297462320DD}" dt="2023-11-24T08:41:25.171" v="43128"/>
          <ac:spMkLst>
            <pc:docMk/>
            <pc:sldMk cId="299398864" sldId="256"/>
            <ac:spMk id="283" creationId="{2ED2E3D8-3F8D-9295-3743-FFCAAA415059}"/>
          </ac:spMkLst>
        </pc:spChg>
        <pc:spChg chg="add del mod modVis">
          <ac:chgData name="Steiner Andreas 6206 ED" userId="e6377c33-a923-4f14-8587-531c474c7b48" providerId="ADAL" clId="{6ECD27E6-B224-41CD-B4E0-E297462320DD}" dt="2023-11-24T08:41:27.715" v="43283"/>
          <ac:spMkLst>
            <pc:docMk/>
            <pc:sldMk cId="299398864" sldId="256"/>
            <ac:spMk id="284" creationId="{E2904B6E-ED89-496D-6D25-34AD6D0DE890}"/>
          </ac:spMkLst>
        </pc:spChg>
        <pc:spChg chg="add del mod modVis">
          <ac:chgData name="Steiner Andreas 6206 ED" userId="e6377c33-a923-4f14-8587-531c474c7b48" providerId="ADAL" clId="{6ECD27E6-B224-41CD-B4E0-E297462320DD}" dt="2023-11-24T08:41:29.743" v="43438"/>
          <ac:spMkLst>
            <pc:docMk/>
            <pc:sldMk cId="299398864" sldId="256"/>
            <ac:spMk id="285" creationId="{681FB01E-D081-B88B-C2FE-9E9130F7A5CF}"/>
          </ac:spMkLst>
        </pc:spChg>
        <pc:spChg chg="add del mod modVis">
          <ac:chgData name="Steiner Andreas 6206 ED" userId="e6377c33-a923-4f14-8587-531c474c7b48" providerId="ADAL" clId="{6ECD27E6-B224-41CD-B4E0-E297462320DD}" dt="2023-11-24T08:41:32.454" v="43593"/>
          <ac:spMkLst>
            <pc:docMk/>
            <pc:sldMk cId="299398864" sldId="256"/>
            <ac:spMk id="286" creationId="{D3BFDFD9-790F-E658-F1D9-FFD569B51128}"/>
          </ac:spMkLst>
        </pc:spChg>
        <pc:spChg chg="add del mod modVis">
          <ac:chgData name="Steiner Andreas 6206 ED" userId="e6377c33-a923-4f14-8587-531c474c7b48" providerId="ADAL" clId="{6ECD27E6-B224-41CD-B4E0-E297462320DD}" dt="2023-11-24T08:41:36.422" v="43748"/>
          <ac:spMkLst>
            <pc:docMk/>
            <pc:sldMk cId="299398864" sldId="256"/>
            <ac:spMk id="287" creationId="{D9FCF183-A2DC-CFFB-021C-9EF88F75C126}"/>
          </ac:spMkLst>
        </pc:spChg>
        <pc:spChg chg="add del mod modVis">
          <ac:chgData name="Steiner Andreas 6206 ED" userId="e6377c33-a923-4f14-8587-531c474c7b48" providerId="ADAL" clId="{6ECD27E6-B224-41CD-B4E0-E297462320DD}" dt="2023-11-24T08:41:39.445" v="43903"/>
          <ac:spMkLst>
            <pc:docMk/>
            <pc:sldMk cId="299398864" sldId="256"/>
            <ac:spMk id="288" creationId="{EFCA4A1A-8758-0CC5-3E35-CB5F3B039D71}"/>
          </ac:spMkLst>
        </pc:spChg>
        <pc:spChg chg="add del mod modVis">
          <ac:chgData name="Steiner Andreas 6206 ED" userId="e6377c33-a923-4f14-8587-531c474c7b48" providerId="ADAL" clId="{6ECD27E6-B224-41CD-B4E0-E297462320DD}" dt="2023-11-24T08:41:41.653" v="44058"/>
          <ac:spMkLst>
            <pc:docMk/>
            <pc:sldMk cId="299398864" sldId="256"/>
            <ac:spMk id="289" creationId="{ACBBF4B9-1BA0-4CF6-3808-3EAB7FA2DE91}"/>
          </ac:spMkLst>
        </pc:spChg>
        <pc:spChg chg="add del mod modVis">
          <ac:chgData name="Steiner Andreas 6206 ED" userId="e6377c33-a923-4f14-8587-531c474c7b48" providerId="ADAL" clId="{6ECD27E6-B224-41CD-B4E0-E297462320DD}" dt="2023-11-24T08:41:43.955" v="44213"/>
          <ac:spMkLst>
            <pc:docMk/>
            <pc:sldMk cId="299398864" sldId="256"/>
            <ac:spMk id="290" creationId="{54667945-06B3-759F-3EDD-E7C45E96B88E}"/>
          </ac:spMkLst>
        </pc:spChg>
        <pc:spChg chg="add del mod modVis">
          <ac:chgData name="Steiner Andreas 6206 ED" userId="e6377c33-a923-4f14-8587-531c474c7b48" providerId="ADAL" clId="{6ECD27E6-B224-41CD-B4E0-E297462320DD}" dt="2023-11-24T08:41:45.896" v="44368"/>
          <ac:spMkLst>
            <pc:docMk/>
            <pc:sldMk cId="299398864" sldId="256"/>
            <ac:spMk id="291" creationId="{4F40CA86-8497-B5FC-8912-DB8430182DFB}"/>
          </ac:spMkLst>
        </pc:spChg>
        <pc:spChg chg="add del mod modVis">
          <ac:chgData name="Steiner Andreas 6206 ED" userId="e6377c33-a923-4f14-8587-531c474c7b48" providerId="ADAL" clId="{6ECD27E6-B224-41CD-B4E0-E297462320DD}" dt="2023-11-24T08:41:47.769" v="44523"/>
          <ac:spMkLst>
            <pc:docMk/>
            <pc:sldMk cId="299398864" sldId="256"/>
            <ac:spMk id="292" creationId="{C04F1F8A-7831-379F-F54B-EFA8CE3D3AE3}"/>
          </ac:spMkLst>
        </pc:spChg>
        <pc:spChg chg="add del mod modVis">
          <ac:chgData name="Steiner Andreas 6206 ED" userId="e6377c33-a923-4f14-8587-531c474c7b48" providerId="ADAL" clId="{6ECD27E6-B224-41CD-B4E0-E297462320DD}" dt="2023-11-24T08:41:49.845" v="44678"/>
          <ac:spMkLst>
            <pc:docMk/>
            <pc:sldMk cId="299398864" sldId="256"/>
            <ac:spMk id="293" creationId="{95A454F7-5358-C575-45F4-AE7694492DE0}"/>
          </ac:spMkLst>
        </pc:spChg>
        <pc:spChg chg="add del mod modVis">
          <ac:chgData name="Steiner Andreas 6206 ED" userId="e6377c33-a923-4f14-8587-531c474c7b48" providerId="ADAL" clId="{6ECD27E6-B224-41CD-B4E0-E297462320DD}" dt="2023-11-24T08:41:51.862" v="44833"/>
          <ac:spMkLst>
            <pc:docMk/>
            <pc:sldMk cId="299398864" sldId="256"/>
            <ac:spMk id="294" creationId="{A3BD982E-DEFB-8280-EF75-A61556C12E4D}"/>
          </ac:spMkLst>
        </pc:spChg>
        <pc:spChg chg="add del mod modVis">
          <ac:chgData name="Steiner Andreas 6206 ED" userId="e6377c33-a923-4f14-8587-531c474c7b48" providerId="ADAL" clId="{6ECD27E6-B224-41CD-B4E0-E297462320DD}" dt="2023-11-24T08:41:54.042" v="44988"/>
          <ac:spMkLst>
            <pc:docMk/>
            <pc:sldMk cId="299398864" sldId="256"/>
            <ac:spMk id="295" creationId="{B1E7B3DB-0F9A-BAA6-6E18-90911A982BDE}"/>
          </ac:spMkLst>
        </pc:spChg>
        <pc:spChg chg="add del mod modVis">
          <ac:chgData name="Steiner Andreas 6206 ED" userId="e6377c33-a923-4f14-8587-531c474c7b48" providerId="ADAL" clId="{6ECD27E6-B224-41CD-B4E0-E297462320DD}" dt="2023-11-24T08:41:56.074" v="45143"/>
          <ac:spMkLst>
            <pc:docMk/>
            <pc:sldMk cId="299398864" sldId="256"/>
            <ac:spMk id="296" creationId="{5A49CD89-3693-7729-55EF-97150CEADC4C}"/>
          </ac:spMkLst>
        </pc:spChg>
        <pc:spChg chg="add del mod modVis">
          <ac:chgData name="Steiner Andreas 6206 ED" userId="e6377c33-a923-4f14-8587-531c474c7b48" providerId="ADAL" clId="{6ECD27E6-B224-41CD-B4E0-E297462320DD}" dt="2023-11-24T08:41:58.242" v="45298"/>
          <ac:spMkLst>
            <pc:docMk/>
            <pc:sldMk cId="299398864" sldId="256"/>
            <ac:spMk id="297" creationId="{88A91D36-02B7-A90E-1828-659EF53E91D5}"/>
          </ac:spMkLst>
        </pc:spChg>
        <pc:spChg chg="add del mod modVis">
          <ac:chgData name="Steiner Andreas 6206 ED" userId="e6377c33-a923-4f14-8587-531c474c7b48" providerId="ADAL" clId="{6ECD27E6-B224-41CD-B4E0-E297462320DD}" dt="2023-11-24T08:42:00.705" v="45453"/>
          <ac:spMkLst>
            <pc:docMk/>
            <pc:sldMk cId="299398864" sldId="256"/>
            <ac:spMk id="298" creationId="{1252DB44-B75F-5444-226F-74091E457593}"/>
          </ac:spMkLst>
        </pc:spChg>
        <pc:spChg chg="add del mod modVis">
          <ac:chgData name="Steiner Andreas 6206 ED" userId="e6377c33-a923-4f14-8587-531c474c7b48" providerId="ADAL" clId="{6ECD27E6-B224-41CD-B4E0-E297462320DD}" dt="2023-11-24T08:42:02.655" v="45608"/>
          <ac:spMkLst>
            <pc:docMk/>
            <pc:sldMk cId="299398864" sldId="256"/>
            <ac:spMk id="299" creationId="{517C5EA2-59E8-5C6C-86DD-7C4B75C84D2B}"/>
          </ac:spMkLst>
        </pc:spChg>
        <pc:spChg chg="add del mod modVis">
          <ac:chgData name="Steiner Andreas 6206 ED" userId="e6377c33-a923-4f14-8587-531c474c7b48" providerId="ADAL" clId="{6ECD27E6-B224-41CD-B4E0-E297462320DD}" dt="2023-11-24T08:42:04.697" v="45763"/>
          <ac:spMkLst>
            <pc:docMk/>
            <pc:sldMk cId="299398864" sldId="256"/>
            <ac:spMk id="300" creationId="{DBC96697-6E58-ECA5-6BF1-2FF9B7A01324}"/>
          </ac:spMkLst>
        </pc:spChg>
        <pc:spChg chg="add del mod modVis">
          <ac:chgData name="Steiner Andreas 6206 ED" userId="e6377c33-a923-4f14-8587-531c474c7b48" providerId="ADAL" clId="{6ECD27E6-B224-41CD-B4E0-E297462320DD}" dt="2023-11-24T08:42:06.726" v="45918"/>
          <ac:spMkLst>
            <pc:docMk/>
            <pc:sldMk cId="299398864" sldId="256"/>
            <ac:spMk id="301" creationId="{DE9176C2-3A1B-8B8A-13A6-9302C88A97D7}"/>
          </ac:spMkLst>
        </pc:spChg>
        <pc:spChg chg="add del mod modVis">
          <ac:chgData name="Steiner Andreas 6206 ED" userId="e6377c33-a923-4f14-8587-531c474c7b48" providerId="ADAL" clId="{6ECD27E6-B224-41CD-B4E0-E297462320DD}" dt="2023-11-24T08:42:08.559" v="46073"/>
          <ac:spMkLst>
            <pc:docMk/>
            <pc:sldMk cId="299398864" sldId="256"/>
            <ac:spMk id="302" creationId="{93018785-77D5-17C8-0461-47C22615FBCA}"/>
          </ac:spMkLst>
        </pc:spChg>
        <pc:spChg chg="add del mod modVis">
          <ac:chgData name="Steiner Andreas 6206 ED" userId="e6377c33-a923-4f14-8587-531c474c7b48" providerId="ADAL" clId="{6ECD27E6-B224-41CD-B4E0-E297462320DD}" dt="2023-11-24T08:42:10.513" v="46228"/>
          <ac:spMkLst>
            <pc:docMk/>
            <pc:sldMk cId="299398864" sldId="256"/>
            <ac:spMk id="303" creationId="{1937CD65-A69B-D322-3410-8F51E61AB409}"/>
          </ac:spMkLst>
        </pc:spChg>
        <pc:spChg chg="add del mod modVis">
          <ac:chgData name="Steiner Andreas 6206 ED" userId="e6377c33-a923-4f14-8587-531c474c7b48" providerId="ADAL" clId="{6ECD27E6-B224-41CD-B4E0-E297462320DD}" dt="2023-11-24T08:42:12.902" v="46383"/>
          <ac:spMkLst>
            <pc:docMk/>
            <pc:sldMk cId="299398864" sldId="256"/>
            <ac:spMk id="304" creationId="{6EBF21E9-5077-59B4-86BC-2630B70467B5}"/>
          </ac:spMkLst>
        </pc:spChg>
        <pc:spChg chg="add del mod modVis">
          <ac:chgData name="Steiner Andreas 6206 ED" userId="e6377c33-a923-4f14-8587-531c474c7b48" providerId="ADAL" clId="{6ECD27E6-B224-41CD-B4E0-E297462320DD}" dt="2023-11-24T08:42:15.564" v="46538"/>
          <ac:spMkLst>
            <pc:docMk/>
            <pc:sldMk cId="299398864" sldId="256"/>
            <ac:spMk id="305" creationId="{09A21556-9D56-3056-696F-7E0182AF8D5F}"/>
          </ac:spMkLst>
        </pc:spChg>
        <pc:spChg chg="add del mod modVis">
          <ac:chgData name="Steiner Andreas 6206 ED" userId="e6377c33-a923-4f14-8587-531c474c7b48" providerId="ADAL" clId="{6ECD27E6-B224-41CD-B4E0-E297462320DD}" dt="2023-11-24T08:42:17.679" v="46693"/>
          <ac:spMkLst>
            <pc:docMk/>
            <pc:sldMk cId="299398864" sldId="256"/>
            <ac:spMk id="306" creationId="{F1724823-A656-1D8B-B121-1B384105E74B}"/>
          </ac:spMkLst>
        </pc:spChg>
        <pc:spChg chg="add del mod modVis">
          <ac:chgData name="Steiner Andreas 6206 ED" userId="e6377c33-a923-4f14-8587-531c474c7b48" providerId="ADAL" clId="{6ECD27E6-B224-41CD-B4E0-E297462320DD}" dt="2023-11-24T08:42:19.900" v="46848"/>
          <ac:spMkLst>
            <pc:docMk/>
            <pc:sldMk cId="299398864" sldId="256"/>
            <ac:spMk id="307" creationId="{1D47D413-5DF2-CDE4-5141-1CF6DE13C752}"/>
          </ac:spMkLst>
        </pc:spChg>
        <pc:spChg chg="add del mod modVis">
          <ac:chgData name="Steiner Andreas 6206 ED" userId="e6377c33-a923-4f14-8587-531c474c7b48" providerId="ADAL" clId="{6ECD27E6-B224-41CD-B4E0-E297462320DD}" dt="2023-11-24T08:42:22.240" v="47003"/>
          <ac:spMkLst>
            <pc:docMk/>
            <pc:sldMk cId="299398864" sldId="256"/>
            <ac:spMk id="308" creationId="{15981FC9-B371-0ACA-6996-93E6FE86F086}"/>
          </ac:spMkLst>
        </pc:spChg>
        <pc:spChg chg="add del mod modVis">
          <ac:chgData name="Steiner Andreas 6206 ED" userId="e6377c33-a923-4f14-8587-531c474c7b48" providerId="ADAL" clId="{6ECD27E6-B224-41CD-B4E0-E297462320DD}" dt="2023-11-24T08:42:24.877" v="47158"/>
          <ac:spMkLst>
            <pc:docMk/>
            <pc:sldMk cId="299398864" sldId="256"/>
            <ac:spMk id="309" creationId="{9F790E11-7AE8-A853-176B-45A61BBCB2AC}"/>
          </ac:spMkLst>
        </pc:spChg>
        <pc:spChg chg="add del mod modVis">
          <ac:chgData name="Steiner Andreas 6206 ED" userId="e6377c33-a923-4f14-8587-531c474c7b48" providerId="ADAL" clId="{6ECD27E6-B224-41CD-B4E0-E297462320DD}" dt="2023-11-24T08:42:26.780" v="47313"/>
          <ac:spMkLst>
            <pc:docMk/>
            <pc:sldMk cId="299398864" sldId="256"/>
            <ac:spMk id="310" creationId="{040A0376-AEA9-266D-8023-9D0CBC707E18}"/>
          </ac:spMkLst>
        </pc:spChg>
        <pc:spChg chg="add del mod modVis">
          <ac:chgData name="Steiner Andreas 6206 ED" userId="e6377c33-a923-4f14-8587-531c474c7b48" providerId="ADAL" clId="{6ECD27E6-B224-41CD-B4E0-E297462320DD}" dt="2023-11-24T08:42:28.546" v="47468"/>
          <ac:spMkLst>
            <pc:docMk/>
            <pc:sldMk cId="299398864" sldId="256"/>
            <ac:spMk id="311" creationId="{F51787E8-9716-72DE-4897-CF2144E1C81F}"/>
          </ac:spMkLst>
        </pc:spChg>
        <pc:spChg chg="add del mod modVis">
          <ac:chgData name="Steiner Andreas 6206 ED" userId="e6377c33-a923-4f14-8587-531c474c7b48" providerId="ADAL" clId="{6ECD27E6-B224-41CD-B4E0-E297462320DD}" dt="2023-11-24T08:42:30.401" v="47623"/>
          <ac:spMkLst>
            <pc:docMk/>
            <pc:sldMk cId="299398864" sldId="256"/>
            <ac:spMk id="312" creationId="{B459FE74-F254-8717-C9BE-BA65A8CC72F3}"/>
          </ac:spMkLst>
        </pc:spChg>
        <pc:spChg chg="add del mod modVis">
          <ac:chgData name="Steiner Andreas 6206 ED" userId="e6377c33-a923-4f14-8587-531c474c7b48" providerId="ADAL" clId="{6ECD27E6-B224-41CD-B4E0-E297462320DD}" dt="2023-11-24T08:42:32.311" v="47778"/>
          <ac:spMkLst>
            <pc:docMk/>
            <pc:sldMk cId="299398864" sldId="256"/>
            <ac:spMk id="313" creationId="{09E24B10-EC6E-8F5E-9225-BB9ACDD8996A}"/>
          </ac:spMkLst>
        </pc:spChg>
        <pc:spChg chg="add del mod modVis">
          <ac:chgData name="Steiner Andreas 6206 ED" userId="e6377c33-a923-4f14-8587-531c474c7b48" providerId="ADAL" clId="{6ECD27E6-B224-41CD-B4E0-E297462320DD}" dt="2023-11-24T08:42:34.470" v="47933"/>
          <ac:spMkLst>
            <pc:docMk/>
            <pc:sldMk cId="299398864" sldId="256"/>
            <ac:spMk id="314" creationId="{66043D20-3B67-5C9E-2F6A-86008B38BBE8}"/>
          </ac:spMkLst>
        </pc:spChg>
        <pc:spChg chg="add del mod modVis">
          <ac:chgData name="Steiner Andreas 6206 ED" userId="e6377c33-a923-4f14-8587-531c474c7b48" providerId="ADAL" clId="{6ECD27E6-B224-41CD-B4E0-E297462320DD}" dt="2023-11-24T08:42:36.372" v="48088"/>
          <ac:spMkLst>
            <pc:docMk/>
            <pc:sldMk cId="299398864" sldId="256"/>
            <ac:spMk id="315" creationId="{338C4738-7E36-FA41-EA50-972EA3935523}"/>
          </ac:spMkLst>
        </pc:spChg>
        <pc:spChg chg="add del mod modVis">
          <ac:chgData name="Steiner Andreas 6206 ED" userId="e6377c33-a923-4f14-8587-531c474c7b48" providerId="ADAL" clId="{6ECD27E6-B224-41CD-B4E0-E297462320DD}" dt="2023-11-24T08:42:38.279" v="48243"/>
          <ac:spMkLst>
            <pc:docMk/>
            <pc:sldMk cId="299398864" sldId="256"/>
            <ac:spMk id="316" creationId="{B793B417-0A76-BC6F-EC4B-C10D8BFE0013}"/>
          </ac:spMkLst>
        </pc:spChg>
        <pc:spChg chg="add del mod modVis">
          <ac:chgData name="Steiner Andreas 6206 ED" userId="e6377c33-a923-4f14-8587-531c474c7b48" providerId="ADAL" clId="{6ECD27E6-B224-41CD-B4E0-E297462320DD}" dt="2023-11-24T08:42:40.140" v="48398"/>
          <ac:spMkLst>
            <pc:docMk/>
            <pc:sldMk cId="299398864" sldId="256"/>
            <ac:spMk id="317" creationId="{54562461-F9D2-88C7-3FC1-CDCBCD6440EE}"/>
          </ac:spMkLst>
        </pc:spChg>
        <pc:spChg chg="add del mod modVis">
          <ac:chgData name="Steiner Andreas 6206 ED" userId="e6377c33-a923-4f14-8587-531c474c7b48" providerId="ADAL" clId="{6ECD27E6-B224-41CD-B4E0-E297462320DD}" dt="2023-11-24T08:42:42.201" v="48553"/>
          <ac:spMkLst>
            <pc:docMk/>
            <pc:sldMk cId="299398864" sldId="256"/>
            <ac:spMk id="318" creationId="{E3C7187A-C0BD-137E-C95E-30CCB9F33A07}"/>
          </ac:spMkLst>
        </pc:spChg>
        <pc:spChg chg="add del mod modVis">
          <ac:chgData name="Steiner Andreas 6206 ED" userId="e6377c33-a923-4f14-8587-531c474c7b48" providerId="ADAL" clId="{6ECD27E6-B224-41CD-B4E0-E297462320DD}" dt="2023-11-24T08:42:44.286" v="48708"/>
          <ac:spMkLst>
            <pc:docMk/>
            <pc:sldMk cId="299398864" sldId="256"/>
            <ac:spMk id="319" creationId="{DDAB373B-D990-A1F2-2ED1-A2322CF3FCCF}"/>
          </ac:spMkLst>
        </pc:spChg>
        <pc:spChg chg="add del mod modVis">
          <ac:chgData name="Steiner Andreas 6206 ED" userId="e6377c33-a923-4f14-8587-531c474c7b48" providerId="ADAL" clId="{6ECD27E6-B224-41CD-B4E0-E297462320DD}" dt="2023-11-24T08:42:46.383" v="48863"/>
          <ac:spMkLst>
            <pc:docMk/>
            <pc:sldMk cId="299398864" sldId="256"/>
            <ac:spMk id="320" creationId="{B1B8F3DC-71E8-E6A8-9709-BAFC512375B8}"/>
          </ac:spMkLst>
        </pc:spChg>
        <pc:spChg chg="add del mod modVis">
          <ac:chgData name="Steiner Andreas 6206 ED" userId="e6377c33-a923-4f14-8587-531c474c7b48" providerId="ADAL" clId="{6ECD27E6-B224-41CD-B4E0-E297462320DD}" dt="2023-11-24T08:42:48.289" v="49018"/>
          <ac:spMkLst>
            <pc:docMk/>
            <pc:sldMk cId="299398864" sldId="256"/>
            <ac:spMk id="321" creationId="{D8653998-B6F7-DFFD-86B1-EC94C1523C62}"/>
          </ac:spMkLst>
        </pc:spChg>
        <pc:spChg chg="add del mod modVis">
          <ac:chgData name="Steiner Andreas 6206 ED" userId="e6377c33-a923-4f14-8587-531c474c7b48" providerId="ADAL" clId="{6ECD27E6-B224-41CD-B4E0-E297462320DD}" dt="2023-11-24T08:42:50.031" v="49173"/>
          <ac:spMkLst>
            <pc:docMk/>
            <pc:sldMk cId="299398864" sldId="256"/>
            <ac:spMk id="322" creationId="{25FB9341-AC14-60BC-4A73-12FED5DA3E94}"/>
          </ac:spMkLst>
        </pc:spChg>
        <pc:spChg chg="add del mod modVis">
          <ac:chgData name="Steiner Andreas 6206 ED" userId="e6377c33-a923-4f14-8587-531c474c7b48" providerId="ADAL" clId="{6ECD27E6-B224-41CD-B4E0-E297462320DD}" dt="2023-11-24T08:42:51.916" v="49328"/>
          <ac:spMkLst>
            <pc:docMk/>
            <pc:sldMk cId="299398864" sldId="256"/>
            <ac:spMk id="323" creationId="{1F7FD411-44A2-8F79-A9A5-0974ED5E54D2}"/>
          </ac:spMkLst>
        </pc:spChg>
        <pc:spChg chg="add del mod modVis">
          <ac:chgData name="Steiner Andreas 6206 ED" userId="e6377c33-a923-4f14-8587-531c474c7b48" providerId="ADAL" clId="{6ECD27E6-B224-41CD-B4E0-E297462320DD}" dt="2023-11-24T08:42:54.083" v="49483"/>
          <ac:spMkLst>
            <pc:docMk/>
            <pc:sldMk cId="299398864" sldId="256"/>
            <ac:spMk id="324" creationId="{1CF83292-1913-994F-5F44-EABAA8EC4C08}"/>
          </ac:spMkLst>
        </pc:spChg>
        <pc:spChg chg="add del mod modVis">
          <ac:chgData name="Steiner Andreas 6206 ED" userId="e6377c33-a923-4f14-8587-531c474c7b48" providerId="ADAL" clId="{6ECD27E6-B224-41CD-B4E0-E297462320DD}" dt="2023-11-24T08:42:56.676" v="49638"/>
          <ac:spMkLst>
            <pc:docMk/>
            <pc:sldMk cId="299398864" sldId="256"/>
            <ac:spMk id="325" creationId="{D86DC602-21F0-C64B-6BB2-C6A2A1BD461B}"/>
          </ac:spMkLst>
        </pc:spChg>
        <pc:spChg chg="add del mod modVis">
          <ac:chgData name="Steiner Andreas 6206 ED" userId="e6377c33-a923-4f14-8587-531c474c7b48" providerId="ADAL" clId="{6ECD27E6-B224-41CD-B4E0-E297462320DD}" dt="2023-11-24T08:42:58.709" v="49793"/>
          <ac:spMkLst>
            <pc:docMk/>
            <pc:sldMk cId="299398864" sldId="256"/>
            <ac:spMk id="326" creationId="{36D56191-B9A4-DD09-BB41-4F577216C84A}"/>
          </ac:spMkLst>
        </pc:spChg>
        <pc:spChg chg="add del mod modVis">
          <ac:chgData name="Steiner Andreas 6206 ED" userId="e6377c33-a923-4f14-8587-531c474c7b48" providerId="ADAL" clId="{6ECD27E6-B224-41CD-B4E0-E297462320DD}" dt="2023-11-24T08:43:00.678" v="49948"/>
          <ac:spMkLst>
            <pc:docMk/>
            <pc:sldMk cId="299398864" sldId="256"/>
            <ac:spMk id="327" creationId="{D2CBB32E-A4C1-B44A-07C8-61CEEF395167}"/>
          </ac:spMkLst>
        </pc:spChg>
        <pc:spChg chg="add del mod modVis">
          <ac:chgData name="Steiner Andreas 6206 ED" userId="e6377c33-a923-4f14-8587-531c474c7b48" providerId="ADAL" clId="{6ECD27E6-B224-41CD-B4E0-E297462320DD}" dt="2023-11-24T08:43:02.691" v="50103"/>
          <ac:spMkLst>
            <pc:docMk/>
            <pc:sldMk cId="299398864" sldId="256"/>
            <ac:spMk id="328" creationId="{8DE6DE2B-07BD-9D94-760B-7F7B79AE1CD3}"/>
          </ac:spMkLst>
        </pc:spChg>
        <pc:spChg chg="add del mod modVis">
          <ac:chgData name="Steiner Andreas 6206 ED" userId="e6377c33-a923-4f14-8587-531c474c7b48" providerId="ADAL" clId="{6ECD27E6-B224-41CD-B4E0-E297462320DD}" dt="2023-11-24T08:43:04.634" v="50258"/>
          <ac:spMkLst>
            <pc:docMk/>
            <pc:sldMk cId="299398864" sldId="256"/>
            <ac:spMk id="329" creationId="{74F78481-683B-4862-CBE5-A6BC2FD9A232}"/>
          </ac:spMkLst>
        </pc:spChg>
        <pc:spChg chg="add del mod modVis">
          <ac:chgData name="Steiner Andreas 6206 ED" userId="e6377c33-a923-4f14-8587-531c474c7b48" providerId="ADAL" clId="{6ECD27E6-B224-41CD-B4E0-E297462320DD}" dt="2023-11-24T08:43:06.490" v="50413"/>
          <ac:spMkLst>
            <pc:docMk/>
            <pc:sldMk cId="299398864" sldId="256"/>
            <ac:spMk id="330" creationId="{E3CEBFB5-C078-3E64-C30F-CBEF677C9F0B}"/>
          </ac:spMkLst>
        </pc:spChg>
        <pc:spChg chg="add del mod modVis">
          <ac:chgData name="Steiner Andreas 6206 ED" userId="e6377c33-a923-4f14-8587-531c474c7b48" providerId="ADAL" clId="{6ECD27E6-B224-41CD-B4E0-E297462320DD}" dt="2023-11-24T08:43:08.929" v="50568"/>
          <ac:spMkLst>
            <pc:docMk/>
            <pc:sldMk cId="299398864" sldId="256"/>
            <ac:spMk id="331" creationId="{B7C4FB31-AB7A-B005-959A-48E51FE0CC83}"/>
          </ac:spMkLst>
        </pc:spChg>
        <pc:spChg chg="add del mod modVis">
          <ac:chgData name="Steiner Andreas 6206 ED" userId="e6377c33-a923-4f14-8587-531c474c7b48" providerId="ADAL" clId="{6ECD27E6-B224-41CD-B4E0-E297462320DD}" dt="2023-11-24T08:43:10.739" v="50723"/>
          <ac:spMkLst>
            <pc:docMk/>
            <pc:sldMk cId="299398864" sldId="256"/>
            <ac:spMk id="332" creationId="{5C263CE3-6C19-81C6-06AD-5CE6B5760EEE}"/>
          </ac:spMkLst>
        </pc:spChg>
        <pc:spChg chg="add del mod modVis">
          <ac:chgData name="Steiner Andreas 6206 ED" userId="e6377c33-a923-4f14-8587-531c474c7b48" providerId="ADAL" clId="{6ECD27E6-B224-41CD-B4E0-E297462320DD}" dt="2023-11-24T08:43:12.586" v="50878"/>
          <ac:spMkLst>
            <pc:docMk/>
            <pc:sldMk cId="299398864" sldId="256"/>
            <ac:spMk id="333" creationId="{306FEF7A-F265-B7B6-41BF-617B43C7A953}"/>
          </ac:spMkLst>
        </pc:spChg>
        <pc:spChg chg="add del mod modVis">
          <ac:chgData name="Steiner Andreas 6206 ED" userId="e6377c33-a923-4f14-8587-531c474c7b48" providerId="ADAL" clId="{6ECD27E6-B224-41CD-B4E0-E297462320DD}" dt="2023-11-24T08:43:14.644" v="51033"/>
          <ac:spMkLst>
            <pc:docMk/>
            <pc:sldMk cId="299398864" sldId="256"/>
            <ac:spMk id="334" creationId="{B7457F94-E7CD-12AF-6C02-968959BB9E52}"/>
          </ac:spMkLst>
        </pc:spChg>
        <pc:spChg chg="add del mod modVis">
          <ac:chgData name="Steiner Andreas 6206 ED" userId="e6377c33-a923-4f14-8587-531c474c7b48" providerId="ADAL" clId="{6ECD27E6-B224-41CD-B4E0-E297462320DD}" dt="2023-11-24T08:43:16.704" v="51188"/>
          <ac:spMkLst>
            <pc:docMk/>
            <pc:sldMk cId="299398864" sldId="256"/>
            <ac:spMk id="335" creationId="{2493539D-8563-F167-08F6-F3A874223E1D}"/>
          </ac:spMkLst>
        </pc:spChg>
        <pc:spChg chg="add del mod modVis">
          <ac:chgData name="Steiner Andreas 6206 ED" userId="e6377c33-a923-4f14-8587-531c474c7b48" providerId="ADAL" clId="{6ECD27E6-B224-41CD-B4E0-E297462320DD}" dt="2023-11-24T08:43:18.672" v="51343"/>
          <ac:spMkLst>
            <pc:docMk/>
            <pc:sldMk cId="299398864" sldId="256"/>
            <ac:spMk id="336" creationId="{8617C0D0-D136-EC01-514B-1860D416E12E}"/>
          </ac:spMkLst>
        </pc:spChg>
        <pc:spChg chg="add del mod modVis">
          <ac:chgData name="Steiner Andreas 6206 ED" userId="e6377c33-a923-4f14-8587-531c474c7b48" providerId="ADAL" clId="{6ECD27E6-B224-41CD-B4E0-E297462320DD}" dt="2023-11-24T08:43:20.709" v="51498"/>
          <ac:spMkLst>
            <pc:docMk/>
            <pc:sldMk cId="299398864" sldId="256"/>
            <ac:spMk id="337" creationId="{07404497-3957-0D3A-F710-6202438E0674}"/>
          </ac:spMkLst>
        </pc:spChg>
        <pc:spChg chg="add del mod modVis">
          <ac:chgData name="Steiner Andreas 6206 ED" userId="e6377c33-a923-4f14-8587-531c474c7b48" providerId="ADAL" clId="{6ECD27E6-B224-41CD-B4E0-E297462320DD}" dt="2023-11-24T08:43:22.631" v="51653"/>
          <ac:spMkLst>
            <pc:docMk/>
            <pc:sldMk cId="299398864" sldId="256"/>
            <ac:spMk id="338" creationId="{28635403-D437-8A8C-2475-CD469A56B816}"/>
          </ac:spMkLst>
        </pc:spChg>
        <pc:spChg chg="add del mod modVis">
          <ac:chgData name="Steiner Andreas 6206 ED" userId="e6377c33-a923-4f14-8587-531c474c7b48" providerId="ADAL" clId="{6ECD27E6-B224-41CD-B4E0-E297462320DD}" dt="2023-11-24T08:43:24.624" v="51808"/>
          <ac:spMkLst>
            <pc:docMk/>
            <pc:sldMk cId="299398864" sldId="256"/>
            <ac:spMk id="339" creationId="{BA649A2B-DC9D-AECA-DBB8-2EB404CAB4C6}"/>
          </ac:spMkLst>
        </pc:spChg>
        <pc:spChg chg="add del mod modVis">
          <ac:chgData name="Steiner Andreas 6206 ED" userId="e6377c33-a923-4f14-8587-531c474c7b48" providerId="ADAL" clId="{6ECD27E6-B224-41CD-B4E0-E297462320DD}" dt="2023-11-24T08:43:26.446" v="51963"/>
          <ac:spMkLst>
            <pc:docMk/>
            <pc:sldMk cId="299398864" sldId="256"/>
            <ac:spMk id="340" creationId="{37A230F5-DAAF-BA0E-2F14-F07358275C75}"/>
          </ac:spMkLst>
        </pc:spChg>
        <pc:spChg chg="add del mod modVis">
          <ac:chgData name="Steiner Andreas 6206 ED" userId="e6377c33-a923-4f14-8587-531c474c7b48" providerId="ADAL" clId="{6ECD27E6-B224-41CD-B4E0-E297462320DD}" dt="2023-11-24T08:43:28.271" v="52118"/>
          <ac:spMkLst>
            <pc:docMk/>
            <pc:sldMk cId="299398864" sldId="256"/>
            <ac:spMk id="341" creationId="{DBD01935-EDE4-7F0E-8236-907C7D8F4F6F}"/>
          </ac:spMkLst>
        </pc:spChg>
        <pc:spChg chg="add del mod modVis">
          <ac:chgData name="Steiner Andreas 6206 ED" userId="e6377c33-a923-4f14-8587-531c474c7b48" providerId="ADAL" clId="{6ECD27E6-B224-41CD-B4E0-E297462320DD}" dt="2023-11-24T08:43:30.136" v="52273"/>
          <ac:spMkLst>
            <pc:docMk/>
            <pc:sldMk cId="299398864" sldId="256"/>
            <ac:spMk id="342" creationId="{311A2D2E-A7E2-CB7C-631C-B232CF79DB1F}"/>
          </ac:spMkLst>
        </pc:spChg>
        <pc:spChg chg="add del mod modVis">
          <ac:chgData name="Steiner Andreas 6206 ED" userId="e6377c33-a923-4f14-8587-531c474c7b48" providerId="ADAL" clId="{6ECD27E6-B224-41CD-B4E0-E297462320DD}" dt="2023-11-24T08:43:32.862" v="52428"/>
          <ac:spMkLst>
            <pc:docMk/>
            <pc:sldMk cId="299398864" sldId="256"/>
            <ac:spMk id="343" creationId="{188F4782-5A2A-5259-0BFB-7C8EEE0C05D9}"/>
          </ac:spMkLst>
        </pc:spChg>
        <pc:spChg chg="add del mod modVis">
          <ac:chgData name="Steiner Andreas 6206 ED" userId="e6377c33-a923-4f14-8587-531c474c7b48" providerId="ADAL" clId="{6ECD27E6-B224-41CD-B4E0-E297462320DD}" dt="2023-11-24T08:43:35.394" v="52583"/>
          <ac:spMkLst>
            <pc:docMk/>
            <pc:sldMk cId="299398864" sldId="256"/>
            <ac:spMk id="344" creationId="{BF0A480E-0CCA-EBF4-6CCD-B2533149B26C}"/>
          </ac:spMkLst>
        </pc:spChg>
        <pc:spChg chg="add del mod modVis">
          <ac:chgData name="Steiner Andreas 6206 ED" userId="e6377c33-a923-4f14-8587-531c474c7b48" providerId="ADAL" clId="{6ECD27E6-B224-41CD-B4E0-E297462320DD}" dt="2023-11-24T08:43:37.318" v="52738"/>
          <ac:spMkLst>
            <pc:docMk/>
            <pc:sldMk cId="299398864" sldId="256"/>
            <ac:spMk id="345" creationId="{56A98591-9FFC-1D70-70D9-AD7BBD2375DA}"/>
          </ac:spMkLst>
        </pc:spChg>
        <pc:spChg chg="add del mod modVis">
          <ac:chgData name="Steiner Andreas 6206 ED" userId="e6377c33-a923-4f14-8587-531c474c7b48" providerId="ADAL" clId="{6ECD27E6-B224-41CD-B4E0-E297462320DD}" dt="2023-11-24T08:43:39.576" v="52893"/>
          <ac:spMkLst>
            <pc:docMk/>
            <pc:sldMk cId="299398864" sldId="256"/>
            <ac:spMk id="346" creationId="{7D9C277D-B4E0-CBCE-079B-4FDE0119BBE7}"/>
          </ac:spMkLst>
        </pc:spChg>
        <pc:spChg chg="add del mod modVis">
          <ac:chgData name="Steiner Andreas 6206 ED" userId="e6377c33-a923-4f14-8587-531c474c7b48" providerId="ADAL" clId="{6ECD27E6-B224-41CD-B4E0-E297462320DD}" dt="2023-11-24T08:43:41.631" v="53048"/>
          <ac:spMkLst>
            <pc:docMk/>
            <pc:sldMk cId="299398864" sldId="256"/>
            <ac:spMk id="347" creationId="{4F3D1A1D-5987-F350-5A61-251035A52090}"/>
          </ac:spMkLst>
        </pc:spChg>
        <pc:spChg chg="add del mod modVis">
          <ac:chgData name="Steiner Andreas 6206 ED" userId="e6377c33-a923-4f14-8587-531c474c7b48" providerId="ADAL" clId="{6ECD27E6-B224-41CD-B4E0-E297462320DD}" dt="2023-11-24T08:43:43.562" v="53203"/>
          <ac:spMkLst>
            <pc:docMk/>
            <pc:sldMk cId="299398864" sldId="256"/>
            <ac:spMk id="348" creationId="{00B64D29-7CBE-7648-69B5-599AFDF6BFBD}"/>
          </ac:spMkLst>
        </pc:spChg>
        <pc:spChg chg="add del mod modVis">
          <ac:chgData name="Steiner Andreas 6206 ED" userId="e6377c33-a923-4f14-8587-531c474c7b48" providerId="ADAL" clId="{6ECD27E6-B224-41CD-B4E0-E297462320DD}" dt="2023-11-24T08:43:45.321" v="53358"/>
          <ac:spMkLst>
            <pc:docMk/>
            <pc:sldMk cId="299398864" sldId="256"/>
            <ac:spMk id="349" creationId="{EBE50B8F-4A49-C10C-DFD2-D9989BE40CDB}"/>
          </ac:spMkLst>
        </pc:spChg>
        <pc:spChg chg="add del mod modVis">
          <ac:chgData name="Steiner Andreas 6206 ED" userId="e6377c33-a923-4f14-8587-531c474c7b48" providerId="ADAL" clId="{6ECD27E6-B224-41CD-B4E0-E297462320DD}" dt="2023-11-24T08:43:47.174" v="53513"/>
          <ac:spMkLst>
            <pc:docMk/>
            <pc:sldMk cId="299398864" sldId="256"/>
            <ac:spMk id="350" creationId="{265D7AE1-7E50-192E-816C-D1C5814F3CF7}"/>
          </ac:spMkLst>
        </pc:spChg>
        <pc:spChg chg="add del mod modVis">
          <ac:chgData name="Steiner Andreas 6206 ED" userId="e6377c33-a923-4f14-8587-531c474c7b48" providerId="ADAL" clId="{6ECD27E6-B224-41CD-B4E0-E297462320DD}" dt="2023-11-24T08:43:49.151" v="53668"/>
          <ac:spMkLst>
            <pc:docMk/>
            <pc:sldMk cId="299398864" sldId="256"/>
            <ac:spMk id="351" creationId="{ED6881D1-BD5E-D23F-44D6-9CA6779EDA2D}"/>
          </ac:spMkLst>
        </pc:spChg>
        <pc:spChg chg="add del mod modVis">
          <ac:chgData name="Steiner Andreas 6206 ED" userId="e6377c33-a923-4f14-8587-531c474c7b48" providerId="ADAL" clId="{6ECD27E6-B224-41CD-B4E0-E297462320DD}" dt="2023-11-24T08:43:51.109" v="53823"/>
          <ac:spMkLst>
            <pc:docMk/>
            <pc:sldMk cId="299398864" sldId="256"/>
            <ac:spMk id="352" creationId="{4B1FEE9E-6491-7EBF-DD0A-E19E48711C8B}"/>
          </ac:spMkLst>
        </pc:spChg>
        <pc:spChg chg="add del mod modVis">
          <ac:chgData name="Steiner Andreas 6206 ED" userId="e6377c33-a923-4f14-8587-531c474c7b48" providerId="ADAL" clId="{6ECD27E6-B224-41CD-B4E0-E297462320DD}" dt="2023-11-24T08:43:53.545" v="53978"/>
          <ac:spMkLst>
            <pc:docMk/>
            <pc:sldMk cId="299398864" sldId="256"/>
            <ac:spMk id="353" creationId="{7E8BCD9F-5268-F8FC-3A55-FB2C1BA2D22F}"/>
          </ac:spMkLst>
        </pc:spChg>
        <pc:spChg chg="add del mod modVis">
          <ac:chgData name="Steiner Andreas 6206 ED" userId="e6377c33-a923-4f14-8587-531c474c7b48" providerId="ADAL" clId="{6ECD27E6-B224-41CD-B4E0-E297462320DD}" dt="2023-11-24T08:43:55.908" v="54133"/>
          <ac:spMkLst>
            <pc:docMk/>
            <pc:sldMk cId="299398864" sldId="256"/>
            <ac:spMk id="354" creationId="{B0C0E469-ACD6-BEB5-8800-92507B0D4E3D}"/>
          </ac:spMkLst>
        </pc:spChg>
        <pc:spChg chg="add del mod modVis">
          <ac:chgData name="Steiner Andreas 6206 ED" userId="e6377c33-a923-4f14-8587-531c474c7b48" providerId="ADAL" clId="{6ECD27E6-B224-41CD-B4E0-E297462320DD}" dt="2023-11-24T08:43:57.951" v="54288"/>
          <ac:spMkLst>
            <pc:docMk/>
            <pc:sldMk cId="299398864" sldId="256"/>
            <ac:spMk id="355" creationId="{BCCF05E6-88E0-04E0-CE57-A2D825F38CEF}"/>
          </ac:spMkLst>
        </pc:spChg>
        <pc:spChg chg="add del mod modVis">
          <ac:chgData name="Steiner Andreas 6206 ED" userId="e6377c33-a923-4f14-8587-531c474c7b48" providerId="ADAL" clId="{6ECD27E6-B224-41CD-B4E0-E297462320DD}" dt="2023-11-24T08:44:00.265" v="54443"/>
          <ac:spMkLst>
            <pc:docMk/>
            <pc:sldMk cId="299398864" sldId="256"/>
            <ac:spMk id="356" creationId="{5B44B14D-1F13-0D12-FF74-D6DC8EEBB9E8}"/>
          </ac:spMkLst>
        </pc:spChg>
        <pc:spChg chg="add del mod modVis">
          <ac:chgData name="Steiner Andreas 6206 ED" userId="e6377c33-a923-4f14-8587-531c474c7b48" providerId="ADAL" clId="{6ECD27E6-B224-41CD-B4E0-E297462320DD}" dt="2023-11-24T08:44:02.370" v="54598"/>
          <ac:spMkLst>
            <pc:docMk/>
            <pc:sldMk cId="299398864" sldId="256"/>
            <ac:spMk id="357" creationId="{4E9D41C4-DCEC-0EF6-8747-CA0984E159B2}"/>
          </ac:spMkLst>
        </pc:spChg>
        <pc:spChg chg="add del mod modVis">
          <ac:chgData name="Steiner Andreas 6206 ED" userId="e6377c33-a923-4f14-8587-531c474c7b48" providerId="ADAL" clId="{6ECD27E6-B224-41CD-B4E0-E297462320DD}" dt="2023-11-24T08:44:04.608" v="54753"/>
          <ac:spMkLst>
            <pc:docMk/>
            <pc:sldMk cId="299398864" sldId="256"/>
            <ac:spMk id="358" creationId="{4AAF8F3A-A6B6-CC66-2A70-1DF32689E58B}"/>
          </ac:spMkLst>
        </pc:spChg>
        <pc:spChg chg="add del mod modVis">
          <ac:chgData name="Steiner Andreas 6206 ED" userId="e6377c33-a923-4f14-8587-531c474c7b48" providerId="ADAL" clId="{6ECD27E6-B224-41CD-B4E0-E297462320DD}" dt="2023-11-24T08:44:06.641" v="54908"/>
          <ac:spMkLst>
            <pc:docMk/>
            <pc:sldMk cId="299398864" sldId="256"/>
            <ac:spMk id="359" creationId="{D2FDE7BC-E736-2D9D-7576-3ECFFB254E5F}"/>
          </ac:spMkLst>
        </pc:spChg>
        <pc:spChg chg="add del mod modVis">
          <ac:chgData name="Steiner Andreas 6206 ED" userId="e6377c33-a923-4f14-8587-531c474c7b48" providerId="ADAL" clId="{6ECD27E6-B224-41CD-B4E0-E297462320DD}" dt="2023-11-24T08:44:08.610" v="55063"/>
          <ac:spMkLst>
            <pc:docMk/>
            <pc:sldMk cId="299398864" sldId="256"/>
            <ac:spMk id="360" creationId="{9E8864A8-773E-0396-0512-A17F83033741}"/>
          </ac:spMkLst>
        </pc:spChg>
        <pc:spChg chg="add del mod modVis">
          <ac:chgData name="Steiner Andreas 6206 ED" userId="e6377c33-a923-4f14-8587-531c474c7b48" providerId="ADAL" clId="{6ECD27E6-B224-41CD-B4E0-E297462320DD}" dt="2023-11-24T08:44:10.606" v="55218"/>
          <ac:spMkLst>
            <pc:docMk/>
            <pc:sldMk cId="299398864" sldId="256"/>
            <ac:spMk id="361" creationId="{88BECEF7-F58B-F242-6268-751AF749DDB5}"/>
          </ac:spMkLst>
        </pc:spChg>
        <pc:spChg chg="add del mod modVis">
          <ac:chgData name="Steiner Andreas 6206 ED" userId="e6377c33-a923-4f14-8587-531c474c7b48" providerId="ADAL" clId="{6ECD27E6-B224-41CD-B4E0-E297462320DD}" dt="2023-11-24T08:44:12.634" v="55373"/>
          <ac:spMkLst>
            <pc:docMk/>
            <pc:sldMk cId="299398864" sldId="256"/>
            <ac:spMk id="362" creationId="{6F26A2F5-664A-0C6D-CD1A-0785091CD967}"/>
          </ac:spMkLst>
        </pc:spChg>
        <pc:spChg chg="add del mod modVis">
          <ac:chgData name="Steiner Andreas 6206 ED" userId="e6377c33-a923-4f14-8587-531c474c7b48" providerId="ADAL" clId="{6ECD27E6-B224-41CD-B4E0-E297462320DD}" dt="2023-11-24T08:44:14.714" v="55528"/>
          <ac:spMkLst>
            <pc:docMk/>
            <pc:sldMk cId="299398864" sldId="256"/>
            <ac:spMk id="363" creationId="{575B5909-C571-1F17-9CC9-A5611E302ACD}"/>
          </ac:spMkLst>
        </pc:spChg>
        <pc:spChg chg="add del mod modVis">
          <ac:chgData name="Steiner Andreas 6206 ED" userId="e6377c33-a923-4f14-8587-531c474c7b48" providerId="ADAL" clId="{6ECD27E6-B224-41CD-B4E0-E297462320DD}" dt="2023-11-24T08:44:16.964" v="55683"/>
          <ac:spMkLst>
            <pc:docMk/>
            <pc:sldMk cId="299398864" sldId="256"/>
            <ac:spMk id="364" creationId="{655EEEAE-F641-3033-59A3-4B86019E7AAC}"/>
          </ac:spMkLst>
        </pc:spChg>
        <pc:spChg chg="add del mod modVis">
          <ac:chgData name="Steiner Andreas 6206 ED" userId="e6377c33-a923-4f14-8587-531c474c7b48" providerId="ADAL" clId="{6ECD27E6-B224-41CD-B4E0-E297462320DD}" dt="2023-11-24T08:44:19.416" v="55838"/>
          <ac:spMkLst>
            <pc:docMk/>
            <pc:sldMk cId="299398864" sldId="256"/>
            <ac:spMk id="365" creationId="{7D32729B-71FA-8CA1-5007-DCD16CA578B0}"/>
          </ac:spMkLst>
        </pc:spChg>
        <pc:spChg chg="add del mod modVis">
          <ac:chgData name="Steiner Andreas 6206 ED" userId="e6377c33-a923-4f14-8587-531c474c7b48" providerId="ADAL" clId="{6ECD27E6-B224-41CD-B4E0-E297462320DD}" dt="2023-11-24T08:44:22.287" v="55993"/>
          <ac:spMkLst>
            <pc:docMk/>
            <pc:sldMk cId="299398864" sldId="256"/>
            <ac:spMk id="366" creationId="{52AC0FA8-950D-7E19-A426-FDFADECF759F}"/>
          </ac:spMkLst>
        </pc:spChg>
        <pc:spChg chg="add del mod modVis">
          <ac:chgData name="Steiner Andreas 6206 ED" userId="e6377c33-a923-4f14-8587-531c474c7b48" providerId="ADAL" clId="{6ECD27E6-B224-41CD-B4E0-E297462320DD}" dt="2023-11-24T08:44:24.536" v="56148"/>
          <ac:spMkLst>
            <pc:docMk/>
            <pc:sldMk cId="299398864" sldId="256"/>
            <ac:spMk id="367" creationId="{DB4D982D-0E4D-37B5-61C3-28381FE87CFC}"/>
          </ac:spMkLst>
        </pc:spChg>
        <pc:spChg chg="add del mod modVis">
          <ac:chgData name="Steiner Andreas 6206 ED" userId="e6377c33-a923-4f14-8587-531c474c7b48" providerId="ADAL" clId="{6ECD27E6-B224-41CD-B4E0-E297462320DD}" dt="2023-11-24T08:44:26.501" v="56303"/>
          <ac:spMkLst>
            <pc:docMk/>
            <pc:sldMk cId="299398864" sldId="256"/>
            <ac:spMk id="368" creationId="{122CF937-A904-7B74-F120-D476AC5878A9}"/>
          </ac:spMkLst>
        </pc:spChg>
        <pc:spChg chg="add del mod modVis">
          <ac:chgData name="Steiner Andreas 6206 ED" userId="e6377c33-a923-4f14-8587-531c474c7b48" providerId="ADAL" clId="{6ECD27E6-B224-41CD-B4E0-E297462320DD}" dt="2023-11-24T08:44:28.651" v="56458"/>
          <ac:spMkLst>
            <pc:docMk/>
            <pc:sldMk cId="299398864" sldId="256"/>
            <ac:spMk id="369" creationId="{105C6838-CA51-F45D-A6C3-75472589FCDB}"/>
          </ac:spMkLst>
        </pc:spChg>
        <pc:spChg chg="add del mod modVis">
          <ac:chgData name="Steiner Andreas 6206 ED" userId="e6377c33-a923-4f14-8587-531c474c7b48" providerId="ADAL" clId="{6ECD27E6-B224-41CD-B4E0-E297462320DD}" dt="2023-11-24T08:44:30.661" v="56613"/>
          <ac:spMkLst>
            <pc:docMk/>
            <pc:sldMk cId="299398864" sldId="256"/>
            <ac:spMk id="370" creationId="{44C4BAD9-CB78-C9FE-671C-E81D1B635B47}"/>
          </ac:spMkLst>
        </pc:spChg>
        <pc:spChg chg="add del mod modVis">
          <ac:chgData name="Steiner Andreas 6206 ED" userId="e6377c33-a923-4f14-8587-531c474c7b48" providerId="ADAL" clId="{6ECD27E6-B224-41CD-B4E0-E297462320DD}" dt="2023-11-24T08:44:32.646" v="56768"/>
          <ac:spMkLst>
            <pc:docMk/>
            <pc:sldMk cId="299398864" sldId="256"/>
            <ac:spMk id="371" creationId="{DE60CCB2-85FC-2839-0889-9CEFD1FBD9A0}"/>
          </ac:spMkLst>
        </pc:spChg>
        <pc:spChg chg="add del mod modVis">
          <ac:chgData name="Steiner Andreas 6206 ED" userId="e6377c33-a923-4f14-8587-531c474c7b48" providerId="ADAL" clId="{6ECD27E6-B224-41CD-B4E0-E297462320DD}" dt="2023-11-24T08:44:34.660" v="56923"/>
          <ac:spMkLst>
            <pc:docMk/>
            <pc:sldMk cId="299398864" sldId="256"/>
            <ac:spMk id="372" creationId="{FDB4A606-01E7-CDF9-8AC1-FC2A5B2153C3}"/>
          </ac:spMkLst>
        </pc:spChg>
        <pc:spChg chg="add del mod modVis">
          <ac:chgData name="Steiner Andreas 6206 ED" userId="e6377c33-a923-4f14-8587-531c474c7b48" providerId="ADAL" clId="{6ECD27E6-B224-41CD-B4E0-E297462320DD}" dt="2023-11-24T08:44:37.194" v="57078"/>
          <ac:spMkLst>
            <pc:docMk/>
            <pc:sldMk cId="299398864" sldId="256"/>
            <ac:spMk id="373" creationId="{A688EE48-2BBF-B377-28C5-B622E03A4880}"/>
          </ac:spMkLst>
        </pc:spChg>
        <pc:spChg chg="add del mod modVis">
          <ac:chgData name="Steiner Andreas 6206 ED" userId="e6377c33-a923-4f14-8587-531c474c7b48" providerId="ADAL" clId="{6ECD27E6-B224-41CD-B4E0-E297462320DD}" dt="2023-11-24T08:44:39.728" v="57233"/>
          <ac:spMkLst>
            <pc:docMk/>
            <pc:sldMk cId="299398864" sldId="256"/>
            <ac:spMk id="374" creationId="{351BC5E6-4621-431D-1E08-8090039B9DC6}"/>
          </ac:spMkLst>
        </pc:spChg>
        <pc:spChg chg="add del mod modVis">
          <ac:chgData name="Steiner Andreas 6206 ED" userId="e6377c33-a923-4f14-8587-531c474c7b48" providerId="ADAL" clId="{6ECD27E6-B224-41CD-B4E0-E297462320DD}" dt="2023-11-24T08:44:41.977" v="57388"/>
          <ac:spMkLst>
            <pc:docMk/>
            <pc:sldMk cId="299398864" sldId="256"/>
            <ac:spMk id="375" creationId="{6E036B06-B4D6-9BBC-AAF4-34A6CCC8A2AE}"/>
          </ac:spMkLst>
        </pc:spChg>
        <pc:spChg chg="add del mod modVis">
          <ac:chgData name="Steiner Andreas 6206 ED" userId="e6377c33-a923-4f14-8587-531c474c7b48" providerId="ADAL" clId="{6ECD27E6-B224-41CD-B4E0-E297462320DD}" dt="2023-11-24T08:44:44.137" v="57543"/>
          <ac:spMkLst>
            <pc:docMk/>
            <pc:sldMk cId="299398864" sldId="256"/>
            <ac:spMk id="376" creationId="{96D23950-DB6D-8A36-CFB3-ACD60AE1C099}"/>
          </ac:spMkLst>
        </pc:spChg>
        <pc:spChg chg="add del mod modVis">
          <ac:chgData name="Steiner Andreas 6206 ED" userId="e6377c33-a923-4f14-8587-531c474c7b48" providerId="ADAL" clId="{6ECD27E6-B224-41CD-B4E0-E297462320DD}" dt="2023-11-24T08:44:46.292" v="57698"/>
          <ac:spMkLst>
            <pc:docMk/>
            <pc:sldMk cId="299398864" sldId="256"/>
            <ac:spMk id="377" creationId="{57B48348-55E5-CC6B-E343-0D2B7E681FDD}"/>
          </ac:spMkLst>
        </pc:spChg>
        <pc:spChg chg="add del mod modVis">
          <ac:chgData name="Steiner Andreas 6206 ED" userId="e6377c33-a923-4f14-8587-531c474c7b48" providerId="ADAL" clId="{6ECD27E6-B224-41CD-B4E0-E297462320DD}" dt="2023-11-24T08:44:49.079" v="57853"/>
          <ac:spMkLst>
            <pc:docMk/>
            <pc:sldMk cId="299398864" sldId="256"/>
            <ac:spMk id="378" creationId="{0DD85A07-B747-15F2-FB28-809FD646B9C4}"/>
          </ac:spMkLst>
        </pc:spChg>
        <pc:spChg chg="add del mod modVis">
          <ac:chgData name="Steiner Andreas 6206 ED" userId="e6377c33-a923-4f14-8587-531c474c7b48" providerId="ADAL" clId="{6ECD27E6-B224-41CD-B4E0-E297462320DD}" dt="2023-11-24T08:44:51.270" v="58008"/>
          <ac:spMkLst>
            <pc:docMk/>
            <pc:sldMk cId="299398864" sldId="256"/>
            <ac:spMk id="379" creationId="{80CBAC43-1276-5449-5F82-533F4CCB4F76}"/>
          </ac:spMkLst>
        </pc:spChg>
        <pc:spChg chg="add del mod modVis">
          <ac:chgData name="Steiner Andreas 6206 ED" userId="e6377c33-a923-4f14-8587-531c474c7b48" providerId="ADAL" clId="{6ECD27E6-B224-41CD-B4E0-E297462320DD}" dt="2023-11-24T08:44:53.503" v="58163"/>
          <ac:spMkLst>
            <pc:docMk/>
            <pc:sldMk cId="299398864" sldId="256"/>
            <ac:spMk id="380" creationId="{97D6B0FF-9095-F05F-5C42-5DC6364034FF}"/>
          </ac:spMkLst>
        </pc:spChg>
        <pc:spChg chg="add del mod modVis">
          <ac:chgData name="Steiner Andreas 6206 ED" userId="e6377c33-a923-4f14-8587-531c474c7b48" providerId="ADAL" clId="{6ECD27E6-B224-41CD-B4E0-E297462320DD}" dt="2023-11-24T08:44:55.633" v="58318"/>
          <ac:spMkLst>
            <pc:docMk/>
            <pc:sldMk cId="299398864" sldId="256"/>
            <ac:spMk id="381" creationId="{55FAF7EF-61C9-6981-5FE6-58F7624304EC}"/>
          </ac:spMkLst>
        </pc:spChg>
        <pc:spChg chg="add del mod modVis">
          <ac:chgData name="Steiner Andreas 6206 ED" userId="e6377c33-a923-4f14-8587-531c474c7b48" providerId="ADAL" clId="{6ECD27E6-B224-41CD-B4E0-E297462320DD}" dt="2023-11-24T08:44:57.641" v="58473"/>
          <ac:spMkLst>
            <pc:docMk/>
            <pc:sldMk cId="299398864" sldId="256"/>
            <ac:spMk id="382" creationId="{1147BBE7-7988-8832-B47F-FDC6680DE18C}"/>
          </ac:spMkLst>
        </pc:spChg>
        <pc:spChg chg="add del mod modVis">
          <ac:chgData name="Steiner Andreas 6206 ED" userId="e6377c33-a923-4f14-8587-531c474c7b48" providerId="ADAL" clId="{6ECD27E6-B224-41CD-B4E0-E297462320DD}" dt="2023-11-24T08:44:59.610" v="58628"/>
          <ac:spMkLst>
            <pc:docMk/>
            <pc:sldMk cId="299398864" sldId="256"/>
            <ac:spMk id="383" creationId="{68FA156C-D26B-308E-ACC6-24A279AB746C}"/>
          </ac:spMkLst>
        </pc:spChg>
        <pc:spChg chg="add del mod modVis">
          <ac:chgData name="Steiner Andreas 6206 ED" userId="e6377c33-a923-4f14-8587-531c474c7b48" providerId="ADAL" clId="{6ECD27E6-B224-41CD-B4E0-E297462320DD}" dt="2023-11-24T08:45:01.732" v="58783"/>
          <ac:spMkLst>
            <pc:docMk/>
            <pc:sldMk cId="299398864" sldId="256"/>
            <ac:spMk id="384" creationId="{072DE5DB-D707-9147-189B-EA9BAD3D982C}"/>
          </ac:spMkLst>
        </pc:spChg>
        <pc:spChg chg="add del mod modVis">
          <ac:chgData name="Steiner Andreas 6206 ED" userId="e6377c33-a923-4f14-8587-531c474c7b48" providerId="ADAL" clId="{6ECD27E6-B224-41CD-B4E0-E297462320DD}" dt="2023-11-24T08:45:03.639" v="58938"/>
          <ac:spMkLst>
            <pc:docMk/>
            <pc:sldMk cId="299398864" sldId="256"/>
            <ac:spMk id="385" creationId="{16FB1CD3-2C86-F69A-AC40-F38E137D1E97}"/>
          </ac:spMkLst>
        </pc:spChg>
        <pc:spChg chg="add del mod modVis">
          <ac:chgData name="Steiner Andreas 6206 ED" userId="e6377c33-a923-4f14-8587-531c474c7b48" providerId="ADAL" clId="{6ECD27E6-B224-41CD-B4E0-E297462320DD}" dt="2023-11-24T08:45:05.495" v="59093"/>
          <ac:spMkLst>
            <pc:docMk/>
            <pc:sldMk cId="299398864" sldId="256"/>
            <ac:spMk id="386" creationId="{09CA00C2-C64E-31BD-671A-BBD86270BA52}"/>
          </ac:spMkLst>
        </pc:spChg>
        <pc:spChg chg="add del mod modVis">
          <ac:chgData name="Steiner Andreas 6206 ED" userId="e6377c33-a923-4f14-8587-531c474c7b48" providerId="ADAL" clId="{6ECD27E6-B224-41CD-B4E0-E297462320DD}" dt="2023-11-24T08:45:07.353" v="59248"/>
          <ac:spMkLst>
            <pc:docMk/>
            <pc:sldMk cId="299398864" sldId="256"/>
            <ac:spMk id="387" creationId="{91340982-751E-11A8-0531-A3A9C0B74FC9}"/>
          </ac:spMkLst>
        </pc:spChg>
        <pc:spChg chg="add del mod modVis">
          <ac:chgData name="Steiner Andreas 6206 ED" userId="e6377c33-a923-4f14-8587-531c474c7b48" providerId="ADAL" clId="{6ECD27E6-B224-41CD-B4E0-E297462320DD}" dt="2023-11-24T08:45:09.194" v="59403"/>
          <ac:spMkLst>
            <pc:docMk/>
            <pc:sldMk cId="299398864" sldId="256"/>
            <ac:spMk id="388" creationId="{BA822925-6B28-4796-AA08-7D5A6DE933AB}"/>
          </ac:spMkLst>
        </pc:spChg>
        <pc:spChg chg="add del mod modVis">
          <ac:chgData name="Steiner Andreas 6206 ED" userId="e6377c33-a923-4f14-8587-531c474c7b48" providerId="ADAL" clId="{6ECD27E6-B224-41CD-B4E0-E297462320DD}" dt="2023-11-24T08:45:11.067" v="59558"/>
          <ac:spMkLst>
            <pc:docMk/>
            <pc:sldMk cId="299398864" sldId="256"/>
            <ac:spMk id="389" creationId="{46DD728F-24B7-AEA3-7B24-B22B3966760F}"/>
          </ac:spMkLst>
        </pc:spChg>
        <pc:spChg chg="add del mod modVis">
          <ac:chgData name="Steiner Andreas 6206 ED" userId="e6377c33-a923-4f14-8587-531c474c7b48" providerId="ADAL" clId="{6ECD27E6-B224-41CD-B4E0-E297462320DD}" dt="2023-11-24T08:45:13.074" v="59713"/>
          <ac:spMkLst>
            <pc:docMk/>
            <pc:sldMk cId="299398864" sldId="256"/>
            <ac:spMk id="390" creationId="{EB83480D-6F28-1CDF-889F-4657375096E0}"/>
          </ac:spMkLst>
        </pc:spChg>
        <pc:spChg chg="add del mod modVis">
          <ac:chgData name="Steiner Andreas 6206 ED" userId="e6377c33-a923-4f14-8587-531c474c7b48" providerId="ADAL" clId="{6ECD27E6-B224-41CD-B4E0-E297462320DD}" dt="2023-11-24T08:45:15.032" v="59868"/>
          <ac:spMkLst>
            <pc:docMk/>
            <pc:sldMk cId="299398864" sldId="256"/>
            <ac:spMk id="391" creationId="{9EFAD101-7B32-3397-41C8-A57121550AA5}"/>
          </ac:spMkLst>
        </pc:spChg>
        <pc:spChg chg="add del mod modVis">
          <ac:chgData name="Steiner Andreas 6206 ED" userId="e6377c33-a923-4f14-8587-531c474c7b48" providerId="ADAL" clId="{6ECD27E6-B224-41CD-B4E0-E297462320DD}" dt="2023-11-24T08:45:17.056" v="60023"/>
          <ac:spMkLst>
            <pc:docMk/>
            <pc:sldMk cId="299398864" sldId="256"/>
            <ac:spMk id="392" creationId="{4673049F-DF41-C84E-8C38-13C56E7B43B2}"/>
          </ac:spMkLst>
        </pc:spChg>
        <pc:spChg chg="add del mod modVis">
          <ac:chgData name="Steiner Andreas 6206 ED" userId="e6377c33-a923-4f14-8587-531c474c7b48" providerId="ADAL" clId="{6ECD27E6-B224-41CD-B4E0-E297462320DD}" dt="2023-11-24T08:45:19.023" v="60178"/>
          <ac:spMkLst>
            <pc:docMk/>
            <pc:sldMk cId="299398864" sldId="256"/>
            <ac:spMk id="393" creationId="{98E8854C-D121-2CA3-86DD-AB3AF7D114C7}"/>
          </ac:spMkLst>
        </pc:spChg>
        <pc:spChg chg="add del mod modVis">
          <ac:chgData name="Steiner Andreas 6206 ED" userId="e6377c33-a923-4f14-8587-531c474c7b48" providerId="ADAL" clId="{6ECD27E6-B224-41CD-B4E0-E297462320DD}" dt="2023-11-24T08:45:20.938" v="60333"/>
          <ac:spMkLst>
            <pc:docMk/>
            <pc:sldMk cId="299398864" sldId="256"/>
            <ac:spMk id="394" creationId="{79B814E7-FB63-9106-27F7-64F9A0CD4E82}"/>
          </ac:spMkLst>
        </pc:spChg>
        <pc:spChg chg="add del mod modVis">
          <ac:chgData name="Steiner Andreas 6206 ED" userId="e6377c33-a923-4f14-8587-531c474c7b48" providerId="ADAL" clId="{6ECD27E6-B224-41CD-B4E0-E297462320DD}" dt="2023-11-24T08:45:23.136" v="60488"/>
          <ac:spMkLst>
            <pc:docMk/>
            <pc:sldMk cId="299398864" sldId="256"/>
            <ac:spMk id="395" creationId="{3A054F70-3294-68C8-EE40-319A783B7AA4}"/>
          </ac:spMkLst>
        </pc:spChg>
        <pc:spChg chg="add del mod modVis">
          <ac:chgData name="Steiner Andreas 6206 ED" userId="e6377c33-a923-4f14-8587-531c474c7b48" providerId="ADAL" clId="{6ECD27E6-B224-41CD-B4E0-E297462320DD}" dt="2023-11-24T08:45:25.307" v="60643"/>
          <ac:spMkLst>
            <pc:docMk/>
            <pc:sldMk cId="299398864" sldId="256"/>
            <ac:spMk id="396" creationId="{CB4F685B-67CB-CFB2-30A4-AB38DB91DC56}"/>
          </ac:spMkLst>
        </pc:spChg>
        <pc:spChg chg="add del mod modVis">
          <ac:chgData name="Steiner Andreas 6206 ED" userId="e6377c33-a923-4f14-8587-531c474c7b48" providerId="ADAL" clId="{6ECD27E6-B224-41CD-B4E0-E297462320DD}" dt="2023-11-24T08:45:27.278" v="60798"/>
          <ac:spMkLst>
            <pc:docMk/>
            <pc:sldMk cId="299398864" sldId="256"/>
            <ac:spMk id="397" creationId="{41E1E9E1-2899-A37E-ECCB-3CAE0A8B991A}"/>
          </ac:spMkLst>
        </pc:spChg>
        <pc:spChg chg="add del mod modVis">
          <ac:chgData name="Steiner Andreas 6206 ED" userId="e6377c33-a923-4f14-8587-531c474c7b48" providerId="ADAL" clId="{6ECD27E6-B224-41CD-B4E0-E297462320DD}" dt="2023-11-24T08:45:29.133" v="60953"/>
          <ac:spMkLst>
            <pc:docMk/>
            <pc:sldMk cId="299398864" sldId="256"/>
            <ac:spMk id="398" creationId="{F20A7D9F-65E8-C48C-9581-03FF67A4F692}"/>
          </ac:spMkLst>
        </pc:spChg>
        <pc:spChg chg="add del mod modVis">
          <ac:chgData name="Steiner Andreas 6206 ED" userId="e6377c33-a923-4f14-8587-531c474c7b48" providerId="ADAL" clId="{6ECD27E6-B224-41CD-B4E0-E297462320DD}" dt="2023-11-24T08:45:30.956" v="61108"/>
          <ac:spMkLst>
            <pc:docMk/>
            <pc:sldMk cId="299398864" sldId="256"/>
            <ac:spMk id="399" creationId="{BB9A544F-3092-CB8F-4C7C-0784706E8809}"/>
          </ac:spMkLst>
        </pc:spChg>
        <pc:spChg chg="add del mod modVis">
          <ac:chgData name="Steiner Andreas 6206 ED" userId="e6377c33-a923-4f14-8587-531c474c7b48" providerId="ADAL" clId="{6ECD27E6-B224-41CD-B4E0-E297462320DD}" dt="2023-11-24T08:45:32.793" v="61263"/>
          <ac:spMkLst>
            <pc:docMk/>
            <pc:sldMk cId="299398864" sldId="256"/>
            <ac:spMk id="400" creationId="{51B64367-8025-87F9-7E76-6D80C5AA145C}"/>
          </ac:spMkLst>
        </pc:spChg>
        <pc:spChg chg="add del mod modVis">
          <ac:chgData name="Steiner Andreas 6206 ED" userId="e6377c33-a923-4f14-8587-531c474c7b48" providerId="ADAL" clId="{6ECD27E6-B224-41CD-B4E0-E297462320DD}" dt="2023-11-24T08:45:34.998" v="61418"/>
          <ac:spMkLst>
            <pc:docMk/>
            <pc:sldMk cId="299398864" sldId="256"/>
            <ac:spMk id="401" creationId="{4952F4BF-8BF1-6917-27CB-EB22E9C2A130}"/>
          </ac:spMkLst>
        </pc:spChg>
        <pc:spChg chg="add del mod modVis">
          <ac:chgData name="Steiner Andreas 6206 ED" userId="e6377c33-a923-4f14-8587-531c474c7b48" providerId="ADAL" clId="{6ECD27E6-B224-41CD-B4E0-E297462320DD}" dt="2023-11-24T08:45:37.025" v="61573"/>
          <ac:spMkLst>
            <pc:docMk/>
            <pc:sldMk cId="299398864" sldId="256"/>
            <ac:spMk id="402" creationId="{D7B3E040-9E5D-1F7B-6CEA-B914739A3ECE}"/>
          </ac:spMkLst>
        </pc:spChg>
        <pc:spChg chg="add del mod modVis">
          <ac:chgData name="Steiner Andreas 6206 ED" userId="e6377c33-a923-4f14-8587-531c474c7b48" providerId="ADAL" clId="{6ECD27E6-B224-41CD-B4E0-E297462320DD}" dt="2023-11-24T08:45:38.875" v="61728"/>
          <ac:spMkLst>
            <pc:docMk/>
            <pc:sldMk cId="299398864" sldId="256"/>
            <ac:spMk id="403" creationId="{014E77D7-EF72-A755-187F-33936956C1FD}"/>
          </ac:spMkLst>
        </pc:spChg>
        <pc:spChg chg="add del mod modVis">
          <ac:chgData name="Steiner Andreas 6206 ED" userId="e6377c33-a923-4f14-8587-531c474c7b48" providerId="ADAL" clId="{6ECD27E6-B224-41CD-B4E0-E297462320DD}" dt="2023-11-24T08:45:40.799" v="61883"/>
          <ac:spMkLst>
            <pc:docMk/>
            <pc:sldMk cId="299398864" sldId="256"/>
            <ac:spMk id="404" creationId="{E938666A-F801-8F0E-CFA3-C9CED8A2F613}"/>
          </ac:spMkLst>
        </pc:spChg>
        <pc:spChg chg="add del mod modVis">
          <ac:chgData name="Steiner Andreas 6206 ED" userId="e6377c33-a923-4f14-8587-531c474c7b48" providerId="ADAL" clId="{6ECD27E6-B224-41CD-B4E0-E297462320DD}" dt="2023-11-24T08:45:42.818" v="62038"/>
          <ac:spMkLst>
            <pc:docMk/>
            <pc:sldMk cId="299398864" sldId="256"/>
            <ac:spMk id="405" creationId="{10422814-A3E9-E277-C667-753A22543975}"/>
          </ac:spMkLst>
        </pc:spChg>
        <pc:spChg chg="add del mod modVis">
          <ac:chgData name="Steiner Andreas 6206 ED" userId="e6377c33-a923-4f14-8587-531c474c7b48" providerId="ADAL" clId="{6ECD27E6-B224-41CD-B4E0-E297462320DD}" dt="2023-11-24T08:45:44.823" v="62193"/>
          <ac:spMkLst>
            <pc:docMk/>
            <pc:sldMk cId="299398864" sldId="256"/>
            <ac:spMk id="406" creationId="{4831F66F-4960-EB30-ACC0-DD93F9479C0A}"/>
          </ac:spMkLst>
        </pc:spChg>
        <pc:spChg chg="add del mod modVis">
          <ac:chgData name="Steiner Andreas 6206 ED" userId="e6377c33-a923-4f14-8587-531c474c7b48" providerId="ADAL" clId="{6ECD27E6-B224-41CD-B4E0-E297462320DD}" dt="2023-11-24T08:45:46.861" v="62348"/>
          <ac:spMkLst>
            <pc:docMk/>
            <pc:sldMk cId="299398864" sldId="256"/>
            <ac:spMk id="407" creationId="{E6B55036-73A8-BCAD-19E9-5CBE08FE5463}"/>
          </ac:spMkLst>
        </pc:spChg>
        <pc:spChg chg="add del mod modVis">
          <ac:chgData name="Steiner Andreas 6206 ED" userId="e6377c33-a923-4f14-8587-531c474c7b48" providerId="ADAL" clId="{6ECD27E6-B224-41CD-B4E0-E297462320DD}" dt="2023-11-24T08:45:48.895" v="62503"/>
          <ac:spMkLst>
            <pc:docMk/>
            <pc:sldMk cId="299398864" sldId="256"/>
            <ac:spMk id="408" creationId="{330092A7-E495-72E1-724C-7E36DCE46A77}"/>
          </ac:spMkLst>
        </pc:spChg>
        <pc:spChg chg="add del mod modVis">
          <ac:chgData name="Steiner Andreas 6206 ED" userId="e6377c33-a923-4f14-8587-531c474c7b48" providerId="ADAL" clId="{6ECD27E6-B224-41CD-B4E0-E297462320DD}" dt="2023-11-24T08:45:51.133" v="62658"/>
          <ac:spMkLst>
            <pc:docMk/>
            <pc:sldMk cId="299398864" sldId="256"/>
            <ac:spMk id="409" creationId="{B9BA93B6-3B3B-7767-D8E2-D30F139DAFBE}"/>
          </ac:spMkLst>
        </pc:spChg>
        <pc:spChg chg="add del mod modVis">
          <ac:chgData name="Steiner Andreas 6206 ED" userId="e6377c33-a923-4f14-8587-531c474c7b48" providerId="ADAL" clId="{6ECD27E6-B224-41CD-B4E0-E297462320DD}" dt="2023-11-24T08:45:53.128" v="62813"/>
          <ac:spMkLst>
            <pc:docMk/>
            <pc:sldMk cId="299398864" sldId="256"/>
            <ac:spMk id="410" creationId="{DC867D94-671C-AFDD-0D5C-01610BDD5327}"/>
          </ac:spMkLst>
        </pc:spChg>
        <pc:spChg chg="add del mod modVis">
          <ac:chgData name="Steiner Andreas 6206 ED" userId="e6377c33-a923-4f14-8587-531c474c7b48" providerId="ADAL" clId="{6ECD27E6-B224-41CD-B4E0-E297462320DD}" dt="2023-11-24T08:45:55.133" v="62968"/>
          <ac:spMkLst>
            <pc:docMk/>
            <pc:sldMk cId="299398864" sldId="256"/>
            <ac:spMk id="411" creationId="{6DF1CB0E-2E44-25FA-882A-FE33E793BFB2}"/>
          </ac:spMkLst>
        </pc:spChg>
        <pc:spChg chg="add del mod modVis">
          <ac:chgData name="Steiner Andreas 6206 ED" userId="e6377c33-a923-4f14-8587-531c474c7b48" providerId="ADAL" clId="{6ECD27E6-B224-41CD-B4E0-E297462320DD}" dt="2023-11-24T08:45:57.375" v="63123"/>
          <ac:spMkLst>
            <pc:docMk/>
            <pc:sldMk cId="299398864" sldId="256"/>
            <ac:spMk id="412" creationId="{9AA84BAD-04F4-8BB1-9275-5AAC6FFF5143}"/>
          </ac:spMkLst>
        </pc:spChg>
        <pc:spChg chg="add del mod modVis">
          <ac:chgData name="Steiner Andreas 6206 ED" userId="e6377c33-a923-4f14-8587-531c474c7b48" providerId="ADAL" clId="{6ECD27E6-B224-41CD-B4E0-E297462320DD}" dt="2023-11-24T08:45:59.382" v="63278"/>
          <ac:spMkLst>
            <pc:docMk/>
            <pc:sldMk cId="299398864" sldId="256"/>
            <ac:spMk id="413" creationId="{12CDBB20-7051-E2A5-70BB-5A7796FBF959}"/>
          </ac:spMkLst>
        </pc:spChg>
        <pc:spChg chg="add del mod modVis">
          <ac:chgData name="Steiner Andreas 6206 ED" userId="e6377c33-a923-4f14-8587-531c474c7b48" providerId="ADAL" clId="{6ECD27E6-B224-41CD-B4E0-E297462320DD}" dt="2023-11-24T08:46:01.496" v="63433"/>
          <ac:spMkLst>
            <pc:docMk/>
            <pc:sldMk cId="299398864" sldId="256"/>
            <ac:spMk id="414" creationId="{AB7F16E0-7E0E-1E5D-A9DC-A075E003D1DC}"/>
          </ac:spMkLst>
        </pc:spChg>
        <pc:spChg chg="add del mod modVis">
          <ac:chgData name="Steiner Andreas 6206 ED" userId="e6377c33-a923-4f14-8587-531c474c7b48" providerId="ADAL" clId="{6ECD27E6-B224-41CD-B4E0-E297462320DD}" dt="2023-11-24T08:46:03.555" v="63588"/>
          <ac:spMkLst>
            <pc:docMk/>
            <pc:sldMk cId="299398864" sldId="256"/>
            <ac:spMk id="415" creationId="{B7E4C8D3-7054-DB56-FD54-C61A04775F50}"/>
          </ac:spMkLst>
        </pc:spChg>
        <pc:spChg chg="add del mod modVis">
          <ac:chgData name="Steiner Andreas 6206 ED" userId="e6377c33-a923-4f14-8587-531c474c7b48" providerId="ADAL" clId="{6ECD27E6-B224-41CD-B4E0-E297462320DD}" dt="2023-11-24T08:46:06.007" v="63743"/>
          <ac:spMkLst>
            <pc:docMk/>
            <pc:sldMk cId="299398864" sldId="256"/>
            <ac:spMk id="416" creationId="{FF0FD779-306A-2143-2D82-22E413A9F0D8}"/>
          </ac:spMkLst>
        </pc:spChg>
        <pc:spChg chg="add del mod modVis">
          <ac:chgData name="Steiner Andreas 6206 ED" userId="e6377c33-a923-4f14-8587-531c474c7b48" providerId="ADAL" clId="{6ECD27E6-B224-41CD-B4E0-E297462320DD}" dt="2023-11-24T08:46:08.547" v="63898"/>
          <ac:spMkLst>
            <pc:docMk/>
            <pc:sldMk cId="299398864" sldId="256"/>
            <ac:spMk id="417" creationId="{5FF29AA0-A2E4-8700-F6B6-D5B1C8DF1219}"/>
          </ac:spMkLst>
        </pc:spChg>
        <pc:spChg chg="add del mod modVis">
          <ac:chgData name="Steiner Andreas 6206 ED" userId="e6377c33-a923-4f14-8587-531c474c7b48" providerId="ADAL" clId="{6ECD27E6-B224-41CD-B4E0-E297462320DD}" dt="2023-11-24T08:46:10.626" v="64053"/>
          <ac:spMkLst>
            <pc:docMk/>
            <pc:sldMk cId="299398864" sldId="256"/>
            <ac:spMk id="418" creationId="{E80DA4B7-8D4F-FD74-9ACE-592321FFB571}"/>
          </ac:spMkLst>
        </pc:spChg>
        <pc:spChg chg="add del mod modVis">
          <ac:chgData name="Steiner Andreas 6206 ED" userId="e6377c33-a923-4f14-8587-531c474c7b48" providerId="ADAL" clId="{6ECD27E6-B224-41CD-B4E0-E297462320DD}" dt="2023-11-24T08:46:12.835" v="64208"/>
          <ac:spMkLst>
            <pc:docMk/>
            <pc:sldMk cId="299398864" sldId="256"/>
            <ac:spMk id="419" creationId="{EA638AB8-4504-88BD-33E9-B71D986D044C}"/>
          </ac:spMkLst>
        </pc:spChg>
        <pc:spChg chg="add del mod modVis">
          <ac:chgData name="Steiner Andreas 6206 ED" userId="e6377c33-a923-4f14-8587-531c474c7b48" providerId="ADAL" clId="{6ECD27E6-B224-41CD-B4E0-E297462320DD}" dt="2023-11-24T08:46:15.083" v="64363"/>
          <ac:spMkLst>
            <pc:docMk/>
            <pc:sldMk cId="299398864" sldId="256"/>
            <ac:spMk id="420" creationId="{593F269B-93E2-3F69-15A3-127278C531EC}"/>
          </ac:spMkLst>
        </pc:spChg>
        <pc:spChg chg="add del mod modVis">
          <ac:chgData name="Steiner Andreas 6206 ED" userId="e6377c33-a923-4f14-8587-531c474c7b48" providerId="ADAL" clId="{6ECD27E6-B224-41CD-B4E0-E297462320DD}" dt="2023-11-24T08:46:17.192" v="64518"/>
          <ac:spMkLst>
            <pc:docMk/>
            <pc:sldMk cId="299398864" sldId="256"/>
            <ac:spMk id="421" creationId="{3AAFFEBE-1E6F-5138-7827-07C02A69257A}"/>
          </ac:spMkLst>
        </pc:spChg>
        <pc:spChg chg="add del mod modVis">
          <ac:chgData name="Steiner Andreas 6206 ED" userId="e6377c33-a923-4f14-8587-531c474c7b48" providerId="ADAL" clId="{6ECD27E6-B224-41CD-B4E0-E297462320DD}" dt="2023-11-24T08:46:19.153" v="64673"/>
          <ac:spMkLst>
            <pc:docMk/>
            <pc:sldMk cId="299398864" sldId="256"/>
            <ac:spMk id="422" creationId="{756F971E-E60A-91BE-A955-7A7241F9A69F}"/>
          </ac:spMkLst>
        </pc:spChg>
        <pc:spChg chg="add del mod modVis">
          <ac:chgData name="Steiner Andreas 6206 ED" userId="e6377c33-a923-4f14-8587-531c474c7b48" providerId="ADAL" clId="{6ECD27E6-B224-41CD-B4E0-E297462320DD}" dt="2023-11-24T08:46:21.688" v="64828"/>
          <ac:spMkLst>
            <pc:docMk/>
            <pc:sldMk cId="299398864" sldId="256"/>
            <ac:spMk id="423" creationId="{6FBE49F4-8E0E-2993-8478-E94BD730CE03}"/>
          </ac:spMkLst>
        </pc:spChg>
        <pc:spChg chg="add del mod modVis">
          <ac:chgData name="Steiner Andreas 6206 ED" userId="e6377c33-a923-4f14-8587-531c474c7b48" providerId="ADAL" clId="{6ECD27E6-B224-41CD-B4E0-E297462320DD}" dt="2023-11-24T08:46:23.997" v="64983"/>
          <ac:spMkLst>
            <pc:docMk/>
            <pc:sldMk cId="299398864" sldId="256"/>
            <ac:spMk id="424" creationId="{702203BC-0A36-6AEB-6CD9-07FF21168D37}"/>
          </ac:spMkLst>
        </pc:spChg>
        <pc:spChg chg="add del mod modVis">
          <ac:chgData name="Steiner Andreas 6206 ED" userId="e6377c33-a923-4f14-8587-531c474c7b48" providerId="ADAL" clId="{6ECD27E6-B224-41CD-B4E0-E297462320DD}" dt="2023-11-24T08:46:26.129" v="65138"/>
          <ac:spMkLst>
            <pc:docMk/>
            <pc:sldMk cId="299398864" sldId="256"/>
            <ac:spMk id="425" creationId="{C6925750-C45C-24E5-BA4F-2E37BFB9892E}"/>
          </ac:spMkLst>
        </pc:spChg>
        <pc:spChg chg="add del mod modVis">
          <ac:chgData name="Steiner Andreas 6206 ED" userId="e6377c33-a923-4f14-8587-531c474c7b48" providerId="ADAL" clId="{6ECD27E6-B224-41CD-B4E0-E297462320DD}" dt="2023-11-24T08:46:28.440" v="65293"/>
          <ac:spMkLst>
            <pc:docMk/>
            <pc:sldMk cId="299398864" sldId="256"/>
            <ac:spMk id="426" creationId="{59E43E90-2178-279C-C049-21136CB05A65}"/>
          </ac:spMkLst>
        </pc:spChg>
        <pc:spChg chg="add del mod modVis">
          <ac:chgData name="Steiner Andreas 6206 ED" userId="e6377c33-a923-4f14-8587-531c474c7b48" providerId="ADAL" clId="{6ECD27E6-B224-41CD-B4E0-E297462320DD}" dt="2023-11-24T08:46:30.542" v="65448"/>
          <ac:spMkLst>
            <pc:docMk/>
            <pc:sldMk cId="299398864" sldId="256"/>
            <ac:spMk id="427" creationId="{18D76AFB-0167-35CC-CB35-9D028EC9FB12}"/>
          </ac:spMkLst>
        </pc:spChg>
        <pc:spChg chg="add del mod modVis">
          <ac:chgData name="Steiner Andreas 6206 ED" userId="e6377c33-a923-4f14-8587-531c474c7b48" providerId="ADAL" clId="{6ECD27E6-B224-41CD-B4E0-E297462320DD}" dt="2023-11-24T08:46:33.047" v="65603"/>
          <ac:spMkLst>
            <pc:docMk/>
            <pc:sldMk cId="299398864" sldId="256"/>
            <ac:spMk id="428" creationId="{CDA2BA01-92C8-3420-CF33-0F18960A48BF}"/>
          </ac:spMkLst>
        </pc:spChg>
        <pc:spChg chg="add del mod modVis">
          <ac:chgData name="Steiner Andreas 6206 ED" userId="e6377c33-a923-4f14-8587-531c474c7b48" providerId="ADAL" clId="{6ECD27E6-B224-41CD-B4E0-E297462320DD}" dt="2023-11-24T08:46:35.017" v="65758"/>
          <ac:spMkLst>
            <pc:docMk/>
            <pc:sldMk cId="299398864" sldId="256"/>
            <ac:spMk id="429" creationId="{D530FBC0-169A-B881-DFF3-6FBC97D05B3E}"/>
          </ac:spMkLst>
        </pc:spChg>
        <pc:spChg chg="add del mod modVis">
          <ac:chgData name="Steiner Andreas 6206 ED" userId="e6377c33-a923-4f14-8587-531c474c7b48" providerId="ADAL" clId="{6ECD27E6-B224-41CD-B4E0-E297462320DD}" dt="2023-11-24T08:46:36.978" v="65913"/>
          <ac:spMkLst>
            <pc:docMk/>
            <pc:sldMk cId="299398864" sldId="256"/>
            <ac:spMk id="430" creationId="{62295911-63DE-6BF7-9BBB-E43A8824D882}"/>
          </ac:spMkLst>
        </pc:spChg>
        <pc:spChg chg="add del mod modVis">
          <ac:chgData name="Steiner Andreas 6206 ED" userId="e6377c33-a923-4f14-8587-531c474c7b48" providerId="ADAL" clId="{6ECD27E6-B224-41CD-B4E0-E297462320DD}" dt="2023-11-24T08:46:39.028" v="66068"/>
          <ac:spMkLst>
            <pc:docMk/>
            <pc:sldMk cId="299398864" sldId="256"/>
            <ac:spMk id="431" creationId="{3A97E041-F9E7-DBE0-772C-E9FCE3CA8562}"/>
          </ac:spMkLst>
        </pc:spChg>
        <pc:spChg chg="add del mod modVis">
          <ac:chgData name="Steiner Andreas 6206 ED" userId="e6377c33-a923-4f14-8587-531c474c7b48" providerId="ADAL" clId="{6ECD27E6-B224-41CD-B4E0-E297462320DD}" dt="2023-11-24T08:46:41.192" v="66223"/>
          <ac:spMkLst>
            <pc:docMk/>
            <pc:sldMk cId="299398864" sldId="256"/>
            <ac:spMk id="432" creationId="{4ED31D16-FAA0-3F3A-7EFF-DB3C3EB9BE00}"/>
          </ac:spMkLst>
        </pc:spChg>
        <pc:spChg chg="add del mod modVis">
          <ac:chgData name="Steiner Andreas 6206 ED" userId="e6377c33-a923-4f14-8587-531c474c7b48" providerId="ADAL" clId="{6ECD27E6-B224-41CD-B4E0-E297462320DD}" dt="2023-11-24T08:46:43.424" v="66378"/>
          <ac:spMkLst>
            <pc:docMk/>
            <pc:sldMk cId="299398864" sldId="256"/>
            <ac:spMk id="433" creationId="{5FF2825E-49A9-8FE8-3342-4929DC74B7E0}"/>
          </ac:spMkLst>
        </pc:spChg>
        <pc:spChg chg="add del mod modVis">
          <ac:chgData name="Steiner Andreas 6206 ED" userId="e6377c33-a923-4f14-8587-531c474c7b48" providerId="ADAL" clId="{6ECD27E6-B224-41CD-B4E0-E297462320DD}" dt="2023-11-24T08:46:45.471" v="66533"/>
          <ac:spMkLst>
            <pc:docMk/>
            <pc:sldMk cId="299398864" sldId="256"/>
            <ac:spMk id="434" creationId="{10D9E3C2-9C22-1955-EE2D-DA147D15D77D}"/>
          </ac:spMkLst>
        </pc:spChg>
        <pc:spChg chg="add del mod modVis">
          <ac:chgData name="Steiner Andreas 6206 ED" userId="e6377c33-a923-4f14-8587-531c474c7b48" providerId="ADAL" clId="{6ECD27E6-B224-41CD-B4E0-E297462320DD}" dt="2023-11-24T08:46:47.556" v="66688"/>
          <ac:spMkLst>
            <pc:docMk/>
            <pc:sldMk cId="299398864" sldId="256"/>
            <ac:spMk id="435" creationId="{13495EF2-6B6E-C068-E061-6B87F36B6D03}"/>
          </ac:spMkLst>
        </pc:spChg>
        <pc:spChg chg="add del mod modVis">
          <ac:chgData name="Steiner Andreas 6206 ED" userId="e6377c33-a923-4f14-8587-531c474c7b48" providerId="ADAL" clId="{6ECD27E6-B224-41CD-B4E0-E297462320DD}" dt="2023-11-24T08:46:49.672" v="66843"/>
          <ac:spMkLst>
            <pc:docMk/>
            <pc:sldMk cId="299398864" sldId="256"/>
            <ac:spMk id="436" creationId="{941F9716-DC1F-DEE2-3560-D251EE8D34DB}"/>
          </ac:spMkLst>
        </pc:spChg>
        <pc:spChg chg="add del mod modVis">
          <ac:chgData name="Steiner Andreas 6206 ED" userId="e6377c33-a923-4f14-8587-531c474c7b48" providerId="ADAL" clId="{6ECD27E6-B224-41CD-B4E0-E297462320DD}" dt="2023-11-24T08:46:51.916" v="66998"/>
          <ac:spMkLst>
            <pc:docMk/>
            <pc:sldMk cId="299398864" sldId="256"/>
            <ac:spMk id="437" creationId="{0B72CA43-ED22-9A69-3D38-5E80259525E8}"/>
          </ac:spMkLst>
        </pc:spChg>
        <pc:spChg chg="add del mod modVis">
          <ac:chgData name="Steiner Andreas 6206 ED" userId="e6377c33-a923-4f14-8587-531c474c7b48" providerId="ADAL" clId="{6ECD27E6-B224-41CD-B4E0-E297462320DD}" dt="2023-11-24T08:46:53.772" v="67153"/>
          <ac:spMkLst>
            <pc:docMk/>
            <pc:sldMk cId="299398864" sldId="256"/>
            <ac:spMk id="438" creationId="{FA45707A-766A-BA9D-BF7A-2842CE6A66AA}"/>
          </ac:spMkLst>
        </pc:spChg>
        <pc:spChg chg="add del mod modVis">
          <ac:chgData name="Steiner Andreas 6206 ED" userId="e6377c33-a923-4f14-8587-531c474c7b48" providerId="ADAL" clId="{6ECD27E6-B224-41CD-B4E0-E297462320DD}" dt="2023-11-24T08:46:55.787" v="67308"/>
          <ac:spMkLst>
            <pc:docMk/>
            <pc:sldMk cId="299398864" sldId="256"/>
            <ac:spMk id="439" creationId="{70FDA8F9-6E51-9566-38C5-5E7B1B938D99}"/>
          </ac:spMkLst>
        </pc:spChg>
        <pc:spChg chg="add del mod modVis">
          <ac:chgData name="Steiner Andreas 6206 ED" userId="e6377c33-a923-4f14-8587-531c474c7b48" providerId="ADAL" clId="{6ECD27E6-B224-41CD-B4E0-E297462320DD}" dt="2023-11-24T08:46:57.699" v="67463"/>
          <ac:spMkLst>
            <pc:docMk/>
            <pc:sldMk cId="299398864" sldId="256"/>
            <ac:spMk id="440" creationId="{9656C16C-DFA4-F57F-4BB7-AC89F7332DA9}"/>
          </ac:spMkLst>
        </pc:spChg>
        <pc:spChg chg="add del mod modVis">
          <ac:chgData name="Steiner Andreas 6206 ED" userId="e6377c33-a923-4f14-8587-531c474c7b48" providerId="ADAL" clId="{6ECD27E6-B224-41CD-B4E0-E297462320DD}" dt="2023-11-24T08:46:59.602" v="67618"/>
          <ac:spMkLst>
            <pc:docMk/>
            <pc:sldMk cId="299398864" sldId="256"/>
            <ac:spMk id="441" creationId="{D7C17B4D-056A-2D9C-511C-5BBD5D803DA9}"/>
          </ac:spMkLst>
        </pc:spChg>
        <pc:spChg chg="add del mod modVis">
          <ac:chgData name="Steiner Andreas 6206 ED" userId="e6377c33-a923-4f14-8587-531c474c7b48" providerId="ADAL" clId="{6ECD27E6-B224-41CD-B4E0-E297462320DD}" dt="2023-11-24T08:47:01.733" v="67773"/>
          <ac:spMkLst>
            <pc:docMk/>
            <pc:sldMk cId="299398864" sldId="256"/>
            <ac:spMk id="442" creationId="{1220D317-A766-A4CC-2CEC-A3C29901CB92}"/>
          </ac:spMkLst>
        </pc:spChg>
        <pc:spChg chg="add del mod modVis">
          <ac:chgData name="Steiner Andreas 6206 ED" userId="e6377c33-a923-4f14-8587-531c474c7b48" providerId="ADAL" clId="{6ECD27E6-B224-41CD-B4E0-E297462320DD}" dt="2023-11-24T08:47:03.933" v="67928"/>
          <ac:spMkLst>
            <pc:docMk/>
            <pc:sldMk cId="299398864" sldId="256"/>
            <ac:spMk id="443" creationId="{C3F445D3-B0E6-513D-14B1-5083296AB2F0}"/>
          </ac:spMkLst>
        </pc:spChg>
        <pc:spChg chg="add del mod modVis">
          <ac:chgData name="Steiner Andreas 6206 ED" userId="e6377c33-a923-4f14-8587-531c474c7b48" providerId="ADAL" clId="{6ECD27E6-B224-41CD-B4E0-E297462320DD}" dt="2023-11-24T08:47:05.806" v="68083"/>
          <ac:spMkLst>
            <pc:docMk/>
            <pc:sldMk cId="299398864" sldId="256"/>
            <ac:spMk id="444" creationId="{E2B1EBBC-E813-CE33-43EC-B784E9C05EBC}"/>
          </ac:spMkLst>
        </pc:spChg>
        <pc:spChg chg="add del mod modVis">
          <ac:chgData name="Steiner Andreas 6206 ED" userId="e6377c33-a923-4f14-8587-531c474c7b48" providerId="ADAL" clId="{6ECD27E6-B224-41CD-B4E0-E297462320DD}" dt="2023-11-24T08:47:07.614" v="68238"/>
          <ac:spMkLst>
            <pc:docMk/>
            <pc:sldMk cId="299398864" sldId="256"/>
            <ac:spMk id="445" creationId="{F1443287-0166-9EA0-2622-ED5421AE1950}"/>
          </ac:spMkLst>
        </pc:spChg>
        <pc:spChg chg="add del mod modVis">
          <ac:chgData name="Steiner Andreas 6206 ED" userId="e6377c33-a923-4f14-8587-531c474c7b48" providerId="ADAL" clId="{6ECD27E6-B224-41CD-B4E0-E297462320DD}" dt="2023-11-24T08:47:09.524" v="68393"/>
          <ac:spMkLst>
            <pc:docMk/>
            <pc:sldMk cId="299398864" sldId="256"/>
            <ac:spMk id="446" creationId="{459029FC-864D-99FB-AA7A-0DA13AEE53FF}"/>
          </ac:spMkLst>
        </pc:spChg>
        <pc:spChg chg="add del mod modVis">
          <ac:chgData name="Steiner Andreas 6206 ED" userId="e6377c33-a923-4f14-8587-531c474c7b48" providerId="ADAL" clId="{6ECD27E6-B224-41CD-B4E0-E297462320DD}" dt="2023-11-24T08:47:11.427" v="68548"/>
          <ac:spMkLst>
            <pc:docMk/>
            <pc:sldMk cId="299398864" sldId="256"/>
            <ac:spMk id="447" creationId="{0CE70E9D-9247-A1AD-0DAE-2A9E8FCD0978}"/>
          </ac:spMkLst>
        </pc:spChg>
        <pc:spChg chg="add del mod modVis">
          <ac:chgData name="Steiner Andreas 6206 ED" userId="e6377c33-a923-4f14-8587-531c474c7b48" providerId="ADAL" clId="{6ECD27E6-B224-41CD-B4E0-E297462320DD}" dt="2023-11-24T08:47:13.311" v="68703"/>
          <ac:spMkLst>
            <pc:docMk/>
            <pc:sldMk cId="299398864" sldId="256"/>
            <ac:spMk id="448" creationId="{91CCE929-255A-E590-C406-72CBB3491894}"/>
          </ac:spMkLst>
        </pc:spChg>
        <pc:spChg chg="add del mod modVis">
          <ac:chgData name="Steiner Andreas 6206 ED" userId="e6377c33-a923-4f14-8587-531c474c7b48" providerId="ADAL" clId="{6ECD27E6-B224-41CD-B4E0-E297462320DD}" dt="2023-11-24T08:47:15.491" v="68858"/>
          <ac:spMkLst>
            <pc:docMk/>
            <pc:sldMk cId="299398864" sldId="256"/>
            <ac:spMk id="449" creationId="{1E8EEA30-1CF1-2F4C-6002-F5F9332FCC92}"/>
          </ac:spMkLst>
        </pc:spChg>
        <pc:spChg chg="add del mod modVis">
          <ac:chgData name="Steiner Andreas 6206 ED" userId="e6377c33-a923-4f14-8587-531c474c7b48" providerId="ADAL" clId="{6ECD27E6-B224-41CD-B4E0-E297462320DD}" dt="2023-11-24T08:47:17.369" v="69013"/>
          <ac:spMkLst>
            <pc:docMk/>
            <pc:sldMk cId="299398864" sldId="256"/>
            <ac:spMk id="450" creationId="{A2267959-D1BA-45FE-6C67-F07B1689E08E}"/>
          </ac:spMkLst>
        </pc:spChg>
        <pc:spChg chg="add del mod modVis">
          <ac:chgData name="Steiner Andreas 6206 ED" userId="e6377c33-a923-4f14-8587-531c474c7b48" providerId="ADAL" clId="{6ECD27E6-B224-41CD-B4E0-E297462320DD}" dt="2023-11-24T08:47:19.366" v="69168"/>
          <ac:spMkLst>
            <pc:docMk/>
            <pc:sldMk cId="299398864" sldId="256"/>
            <ac:spMk id="451" creationId="{F62EC3BE-E284-F8EC-8B86-C17502277A5D}"/>
          </ac:spMkLst>
        </pc:spChg>
        <pc:spChg chg="add del mod modVis">
          <ac:chgData name="Steiner Andreas 6206 ED" userId="e6377c33-a923-4f14-8587-531c474c7b48" providerId="ADAL" clId="{6ECD27E6-B224-41CD-B4E0-E297462320DD}" dt="2023-11-24T08:47:21.281" v="69323"/>
          <ac:spMkLst>
            <pc:docMk/>
            <pc:sldMk cId="299398864" sldId="256"/>
            <ac:spMk id="452" creationId="{7182DB33-45E0-14FD-0A27-3D7E7202EB82}"/>
          </ac:spMkLst>
        </pc:spChg>
        <pc:spChg chg="add del mod modVis">
          <ac:chgData name="Steiner Andreas 6206 ED" userId="e6377c33-a923-4f14-8587-531c474c7b48" providerId="ADAL" clId="{6ECD27E6-B224-41CD-B4E0-E297462320DD}" dt="2023-11-24T08:47:23.847" v="69478"/>
          <ac:spMkLst>
            <pc:docMk/>
            <pc:sldMk cId="299398864" sldId="256"/>
            <ac:spMk id="453" creationId="{3ABDDFE9-A547-8D9B-E509-72EF47E1D5C2}"/>
          </ac:spMkLst>
        </pc:spChg>
        <pc:spChg chg="add del mod modVis">
          <ac:chgData name="Steiner Andreas 6206 ED" userId="e6377c33-a923-4f14-8587-531c474c7b48" providerId="ADAL" clId="{6ECD27E6-B224-41CD-B4E0-E297462320DD}" dt="2023-11-24T08:47:26.469" v="69633"/>
          <ac:spMkLst>
            <pc:docMk/>
            <pc:sldMk cId="299398864" sldId="256"/>
            <ac:spMk id="454" creationId="{DD854D5B-CBC0-3EAE-377B-8FF0C8B51877}"/>
          </ac:spMkLst>
        </pc:spChg>
        <pc:spChg chg="add del mod modVis">
          <ac:chgData name="Steiner Andreas 6206 ED" userId="e6377c33-a923-4f14-8587-531c474c7b48" providerId="ADAL" clId="{6ECD27E6-B224-41CD-B4E0-E297462320DD}" dt="2023-11-24T08:47:28.615" v="69788"/>
          <ac:spMkLst>
            <pc:docMk/>
            <pc:sldMk cId="299398864" sldId="256"/>
            <ac:spMk id="455" creationId="{A640083B-15EA-5CBF-7AEC-795CB79CD1CF}"/>
          </ac:spMkLst>
        </pc:spChg>
        <pc:spChg chg="add del mod modVis">
          <ac:chgData name="Steiner Andreas 6206 ED" userId="e6377c33-a923-4f14-8587-531c474c7b48" providerId="ADAL" clId="{6ECD27E6-B224-41CD-B4E0-E297462320DD}" dt="2023-11-24T08:47:30.608" v="69943"/>
          <ac:spMkLst>
            <pc:docMk/>
            <pc:sldMk cId="299398864" sldId="256"/>
            <ac:spMk id="456" creationId="{B5934074-A20E-162B-10D4-656D395B0C25}"/>
          </ac:spMkLst>
        </pc:spChg>
        <pc:spChg chg="add del mod modVis">
          <ac:chgData name="Steiner Andreas 6206 ED" userId="e6377c33-a923-4f14-8587-531c474c7b48" providerId="ADAL" clId="{6ECD27E6-B224-41CD-B4E0-E297462320DD}" dt="2023-11-24T08:47:32.614" v="70098"/>
          <ac:spMkLst>
            <pc:docMk/>
            <pc:sldMk cId="299398864" sldId="256"/>
            <ac:spMk id="457" creationId="{C9B4AFB3-4599-3361-1E63-BBBE5CD31531}"/>
          </ac:spMkLst>
        </pc:spChg>
        <pc:spChg chg="add del mod modVis">
          <ac:chgData name="Steiner Andreas 6206 ED" userId="e6377c33-a923-4f14-8587-531c474c7b48" providerId="ADAL" clId="{6ECD27E6-B224-41CD-B4E0-E297462320DD}" dt="2023-11-24T08:47:34.594" v="70253"/>
          <ac:spMkLst>
            <pc:docMk/>
            <pc:sldMk cId="299398864" sldId="256"/>
            <ac:spMk id="458" creationId="{202EA164-982A-54B3-DD4F-CE6A405747A9}"/>
          </ac:spMkLst>
        </pc:spChg>
        <pc:spChg chg="add del mod modVis">
          <ac:chgData name="Steiner Andreas 6206 ED" userId="e6377c33-a923-4f14-8587-531c474c7b48" providerId="ADAL" clId="{6ECD27E6-B224-41CD-B4E0-E297462320DD}" dt="2023-11-24T08:47:36.776" v="70408"/>
          <ac:spMkLst>
            <pc:docMk/>
            <pc:sldMk cId="299398864" sldId="256"/>
            <ac:spMk id="459" creationId="{A4E00B40-DD2A-C801-42A2-1375DCBDA141}"/>
          </ac:spMkLst>
        </pc:spChg>
        <pc:spChg chg="add del mod modVis">
          <ac:chgData name="Steiner Andreas 6206 ED" userId="e6377c33-a923-4f14-8587-531c474c7b48" providerId="ADAL" clId="{6ECD27E6-B224-41CD-B4E0-E297462320DD}" dt="2023-11-24T08:47:38.870" v="70563"/>
          <ac:spMkLst>
            <pc:docMk/>
            <pc:sldMk cId="299398864" sldId="256"/>
            <ac:spMk id="460" creationId="{C7C53CF9-0E3C-2B81-3D3A-37FB5FBA386B}"/>
          </ac:spMkLst>
        </pc:spChg>
        <pc:spChg chg="add del mod modVis">
          <ac:chgData name="Steiner Andreas 6206 ED" userId="e6377c33-a923-4f14-8587-531c474c7b48" providerId="ADAL" clId="{6ECD27E6-B224-41CD-B4E0-E297462320DD}" dt="2023-11-24T08:47:40.937" v="70718"/>
          <ac:spMkLst>
            <pc:docMk/>
            <pc:sldMk cId="299398864" sldId="256"/>
            <ac:spMk id="461" creationId="{18750CF6-8479-C3CF-BE86-1940D99C5514}"/>
          </ac:spMkLst>
        </pc:spChg>
        <pc:spChg chg="add del mod modVis">
          <ac:chgData name="Steiner Andreas 6206 ED" userId="e6377c33-a923-4f14-8587-531c474c7b48" providerId="ADAL" clId="{6ECD27E6-B224-41CD-B4E0-E297462320DD}" dt="2023-11-24T08:47:42.838" v="70873"/>
          <ac:spMkLst>
            <pc:docMk/>
            <pc:sldMk cId="299398864" sldId="256"/>
            <ac:spMk id="462" creationId="{D754F769-382D-FDFA-4F98-8D02AA4AED46}"/>
          </ac:spMkLst>
        </pc:spChg>
        <pc:spChg chg="add del mod modVis">
          <ac:chgData name="Steiner Andreas 6206 ED" userId="e6377c33-a923-4f14-8587-531c474c7b48" providerId="ADAL" clId="{6ECD27E6-B224-41CD-B4E0-E297462320DD}" dt="2023-11-24T08:47:44.746" v="71028"/>
          <ac:spMkLst>
            <pc:docMk/>
            <pc:sldMk cId="299398864" sldId="256"/>
            <ac:spMk id="463" creationId="{3F7D624D-BC56-CFB0-C249-887B1092D88D}"/>
          </ac:spMkLst>
        </pc:spChg>
        <pc:spChg chg="add del mod modVis">
          <ac:chgData name="Steiner Andreas 6206 ED" userId="e6377c33-a923-4f14-8587-531c474c7b48" providerId="ADAL" clId="{6ECD27E6-B224-41CD-B4E0-E297462320DD}" dt="2023-11-24T08:47:46.734" v="71183"/>
          <ac:spMkLst>
            <pc:docMk/>
            <pc:sldMk cId="299398864" sldId="256"/>
            <ac:spMk id="464" creationId="{F765E6BD-5A98-D094-9094-C049C48BF4CC}"/>
          </ac:spMkLst>
        </pc:spChg>
        <pc:spChg chg="add del mod modVis">
          <ac:chgData name="Steiner Andreas 6206 ED" userId="e6377c33-a923-4f14-8587-531c474c7b48" providerId="ADAL" clId="{6ECD27E6-B224-41CD-B4E0-E297462320DD}" dt="2023-11-24T08:47:48.865" v="71338"/>
          <ac:spMkLst>
            <pc:docMk/>
            <pc:sldMk cId="299398864" sldId="256"/>
            <ac:spMk id="465" creationId="{AB639699-8C86-B2D4-ACD6-254C5A291A7F}"/>
          </ac:spMkLst>
        </pc:spChg>
        <pc:spChg chg="add del mod modVis">
          <ac:chgData name="Steiner Andreas 6206 ED" userId="e6377c33-a923-4f14-8587-531c474c7b48" providerId="ADAL" clId="{6ECD27E6-B224-41CD-B4E0-E297462320DD}" dt="2023-11-24T08:47:50.887" v="71493"/>
          <ac:spMkLst>
            <pc:docMk/>
            <pc:sldMk cId="299398864" sldId="256"/>
            <ac:spMk id="466" creationId="{33F74030-C06F-0BA7-BCC8-93B7DBA1F179}"/>
          </ac:spMkLst>
        </pc:spChg>
        <pc:spChg chg="add del mod modVis">
          <ac:chgData name="Steiner Andreas 6206 ED" userId="e6377c33-a923-4f14-8587-531c474c7b48" providerId="ADAL" clId="{6ECD27E6-B224-41CD-B4E0-E297462320DD}" dt="2023-11-24T08:47:52.820" v="71648"/>
          <ac:spMkLst>
            <pc:docMk/>
            <pc:sldMk cId="299398864" sldId="256"/>
            <ac:spMk id="467" creationId="{E1B7D70D-730B-3DB1-B0F7-D72F14368AD7}"/>
          </ac:spMkLst>
        </pc:spChg>
        <pc:spChg chg="add del mod modVis">
          <ac:chgData name="Steiner Andreas 6206 ED" userId="e6377c33-a923-4f14-8587-531c474c7b48" providerId="ADAL" clId="{6ECD27E6-B224-41CD-B4E0-E297462320DD}" dt="2023-11-24T08:47:54.699" v="71803"/>
          <ac:spMkLst>
            <pc:docMk/>
            <pc:sldMk cId="299398864" sldId="256"/>
            <ac:spMk id="468" creationId="{4C6533FD-36B9-9E8A-A55D-2A39EC706559}"/>
          </ac:spMkLst>
        </pc:spChg>
        <pc:spChg chg="add del mod modVis">
          <ac:chgData name="Steiner Andreas 6206 ED" userId="e6377c33-a923-4f14-8587-531c474c7b48" providerId="ADAL" clId="{6ECD27E6-B224-41CD-B4E0-E297462320DD}" dt="2023-11-24T08:47:56.599" v="71958"/>
          <ac:spMkLst>
            <pc:docMk/>
            <pc:sldMk cId="299398864" sldId="256"/>
            <ac:spMk id="469" creationId="{97ADA0D6-F05D-8920-7C2F-BB1223D932AD}"/>
          </ac:spMkLst>
        </pc:spChg>
        <pc:spChg chg="add del mod modVis">
          <ac:chgData name="Steiner Andreas 6206 ED" userId="e6377c33-a923-4f14-8587-531c474c7b48" providerId="ADAL" clId="{6ECD27E6-B224-41CD-B4E0-E297462320DD}" dt="2023-11-24T08:47:58.574" v="72113"/>
          <ac:spMkLst>
            <pc:docMk/>
            <pc:sldMk cId="299398864" sldId="256"/>
            <ac:spMk id="470" creationId="{7B1C9E69-A478-A04C-BAE2-AD2B26E35CEF}"/>
          </ac:spMkLst>
        </pc:spChg>
        <pc:spChg chg="add del mod modVis">
          <ac:chgData name="Steiner Andreas 6206 ED" userId="e6377c33-a923-4f14-8587-531c474c7b48" providerId="ADAL" clId="{6ECD27E6-B224-41CD-B4E0-E297462320DD}" dt="2023-11-24T08:48:00.736" v="72268"/>
          <ac:spMkLst>
            <pc:docMk/>
            <pc:sldMk cId="299398864" sldId="256"/>
            <ac:spMk id="471" creationId="{F840B666-8750-FBA0-0423-43B5133FD547}"/>
          </ac:spMkLst>
        </pc:spChg>
        <pc:spChg chg="add del mod modVis">
          <ac:chgData name="Steiner Andreas 6206 ED" userId="e6377c33-a923-4f14-8587-531c474c7b48" providerId="ADAL" clId="{6ECD27E6-B224-41CD-B4E0-E297462320DD}" dt="2023-11-24T08:48:02.846" v="72423"/>
          <ac:spMkLst>
            <pc:docMk/>
            <pc:sldMk cId="299398864" sldId="256"/>
            <ac:spMk id="472" creationId="{AA0C9003-C2DF-BD93-92AF-49CE184A695C}"/>
          </ac:spMkLst>
        </pc:spChg>
        <pc:spChg chg="add del mod modVis">
          <ac:chgData name="Steiner Andreas 6206 ED" userId="e6377c33-a923-4f14-8587-531c474c7b48" providerId="ADAL" clId="{6ECD27E6-B224-41CD-B4E0-E297462320DD}" dt="2023-11-24T08:48:04.868" v="72578"/>
          <ac:spMkLst>
            <pc:docMk/>
            <pc:sldMk cId="299398864" sldId="256"/>
            <ac:spMk id="473" creationId="{A1010023-9C76-18DC-A3B6-9A6C3792C438}"/>
          </ac:spMkLst>
        </pc:spChg>
        <pc:spChg chg="add del mod modVis">
          <ac:chgData name="Steiner Andreas 6206 ED" userId="e6377c33-a923-4f14-8587-531c474c7b48" providerId="ADAL" clId="{6ECD27E6-B224-41CD-B4E0-E297462320DD}" dt="2023-11-24T08:48:07.213" v="72733"/>
          <ac:spMkLst>
            <pc:docMk/>
            <pc:sldMk cId="299398864" sldId="256"/>
            <ac:spMk id="474" creationId="{DD7F8C37-D319-878F-0468-8E2869423DCF}"/>
          </ac:spMkLst>
        </pc:spChg>
        <pc:spChg chg="add del mod modVis">
          <ac:chgData name="Steiner Andreas 6206 ED" userId="e6377c33-a923-4f14-8587-531c474c7b48" providerId="ADAL" clId="{6ECD27E6-B224-41CD-B4E0-E297462320DD}" dt="2023-11-24T08:48:09.228" v="72888"/>
          <ac:spMkLst>
            <pc:docMk/>
            <pc:sldMk cId="299398864" sldId="256"/>
            <ac:spMk id="475" creationId="{AB0A543A-C58E-9D4E-9C10-82E2FCB33397}"/>
          </ac:spMkLst>
        </pc:spChg>
        <pc:spChg chg="add del mod modVis">
          <ac:chgData name="Steiner Andreas 6206 ED" userId="e6377c33-a923-4f14-8587-531c474c7b48" providerId="ADAL" clId="{6ECD27E6-B224-41CD-B4E0-E297462320DD}" dt="2023-11-24T08:48:11.342" v="73043"/>
          <ac:spMkLst>
            <pc:docMk/>
            <pc:sldMk cId="299398864" sldId="256"/>
            <ac:spMk id="476" creationId="{3D1EA94E-CEC3-7B2A-5EA6-914A57493934}"/>
          </ac:spMkLst>
        </pc:spChg>
        <pc:spChg chg="add del mod modVis">
          <ac:chgData name="Steiner Andreas 6206 ED" userId="e6377c33-a923-4f14-8587-531c474c7b48" providerId="ADAL" clId="{6ECD27E6-B224-41CD-B4E0-E297462320DD}" dt="2023-11-24T08:48:13.350" v="73198"/>
          <ac:spMkLst>
            <pc:docMk/>
            <pc:sldMk cId="299398864" sldId="256"/>
            <ac:spMk id="477" creationId="{D3427645-EDDC-ED86-265F-AB738F4F5555}"/>
          </ac:spMkLst>
        </pc:spChg>
        <pc:spChg chg="add del mod modVis">
          <ac:chgData name="Steiner Andreas 6206 ED" userId="e6377c33-a923-4f14-8587-531c474c7b48" providerId="ADAL" clId="{6ECD27E6-B224-41CD-B4E0-E297462320DD}" dt="2023-11-24T08:48:15.944" v="73353"/>
          <ac:spMkLst>
            <pc:docMk/>
            <pc:sldMk cId="299398864" sldId="256"/>
            <ac:spMk id="478" creationId="{2A752473-7B7D-B187-80DF-585A7EE36033}"/>
          </ac:spMkLst>
        </pc:spChg>
        <pc:spChg chg="add del mod modVis">
          <ac:chgData name="Steiner Andreas 6206 ED" userId="e6377c33-a923-4f14-8587-531c474c7b48" providerId="ADAL" clId="{6ECD27E6-B224-41CD-B4E0-E297462320DD}" dt="2023-11-24T08:48:18.744" v="73508"/>
          <ac:spMkLst>
            <pc:docMk/>
            <pc:sldMk cId="299398864" sldId="256"/>
            <ac:spMk id="479" creationId="{D9B840D2-6B45-0C69-B8EB-5A906719E0E7}"/>
          </ac:spMkLst>
        </pc:spChg>
        <pc:spChg chg="add del mod modVis">
          <ac:chgData name="Steiner Andreas 6206 ED" userId="e6377c33-a923-4f14-8587-531c474c7b48" providerId="ADAL" clId="{6ECD27E6-B224-41CD-B4E0-E297462320DD}" dt="2023-11-24T08:48:21.104" v="73663"/>
          <ac:spMkLst>
            <pc:docMk/>
            <pc:sldMk cId="299398864" sldId="256"/>
            <ac:spMk id="480" creationId="{E7FBF513-D9CD-7C20-546A-38EFCFCA2EC3}"/>
          </ac:spMkLst>
        </pc:spChg>
        <pc:spChg chg="add del mod modVis">
          <ac:chgData name="Steiner Andreas 6206 ED" userId="e6377c33-a923-4f14-8587-531c474c7b48" providerId="ADAL" clId="{6ECD27E6-B224-41CD-B4E0-E297462320DD}" dt="2023-11-24T08:48:23.231" v="73818"/>
          <ac:spMkLst>
            <pc:docMk/>
            <pc:sldMk cId="299398864" sldId="256"/>
            <ac:spMk id="481" creationId="{F42D24AF-ADDA-8406-FCE6-95EA39D64B5D}"/>
          </ac:spMkLst>
        </pc:spChg>
        <pc:spChg chg="add del mod modVis">
          <ac:chgData name="Steiner Andreas 6206 ED" userId="e6377c33-a923-4f14-8587-531c474c7b48" providerId="ADAL" clId="{6ECD27E6-B224-41CD-B4E0-E297462320DD}" dt="2023-11-24T08:48:25.364" v="73973"/>
          <ac:spMkLst>
            <pc:docMk/>
            <pc:sldMk cId="299398864" sldId="256"/>
            <ac:spMk id="482" creationId="{9F251E21-249C-0B2B-0AFC-592D50FB50AA}"/>
          </ac:spMkLst>
        </pc:spChg>
        <pc:spChg chg="add del mod modVis">
          <ac:chgData name="Steiner Andreas 6206 ED" userId="e6377c33-a923-4f14-8587-531c474c7b48" providerId="ADAL" clId="{6ECD27E6-B224-41CD-B4E0-E297462320DD}" dt="2023-11-24T08:48:27.384" v="74128"/>
          <ac:spMkLst>
            <pc:docMk/>
            <pc:sldMk cId="299398864" sldId="256"/>
            <ac:spMk id="483" creationId="{9BE53169-DCB6-9D5E-C8E0-76AE9841334F}"/>
          </ac:spMkLst>
        </pc:spChg>
        <pc:spChg chg="add del mod modVis">
          <ac:chgData name="Steiner Andreas 6206 ED" userId="e6377c33-a923-4f14-8587-531c474c7b48" providerId="ADAL" clId="{6ECD27E6-B224-41CD-B4E0-E297462320DD}" dt="2023-11-24T08:48:29.374" v="74283"/>
          <ac:spMkLst>
            <pc:docMk/>
            <pc:sldMk cId="299398864" sldId="256"/>
            <ac:spMk id="484" creationId="{178A4023-528B-24E1-0466-1337A687488A}"/>
          </ac:spMkLst>
        </pc:spChg>
        <pc:spChg chg="add del mod modVis">
          <ac:chgData name="Steiner Andreas 6206 ED" userId="e6377c33-a923-4f14-8587-531c474c7b48" providerId="ADAL" clId="{6ECD27E6-B224-41CD-B4E0-E297462320DD}" dt="2023-11-24T08:48:31.291" v="74438"/>
          <ac:spMkLst>
            <pc:docMk/>
            <pc:sldMk cId="299398864" sldId="256"/>
            <ac:spMk id="485" creationId="{C190FC74-3F56-0CF8-6B6F-C015D3DC4D50}"/>
          </ac:spMkLst>
        </pc:spChg>
        <pc:spChg chg="add del mod modVis">
          <ac:chgData name="Steiner Andreas 6206 ED" userId="e6377c33-a923-4f14-8587-531c474c7b48" providerId="ADAL" clId="{6ECD27E6-B224-41CD-B4E0-E297462320DD}" dt="2023-11-24T08:48:33.359" v="74593"/>
          <ac:spMkLst>
            <pc:docMk/>
            <pc:sldMk cId="299398864" sldId="256"/>
            <ac:spMk id="486" creationId="{FBF8CBA5-6A9B-D10A-839D-A70AF8C18A23}"/>
          </ac:spMkLst>
        </pc:spChg>
        <pc:spChg chg="add del mod modVis">
          <ac:chgData name="Steiner Andreas 6206 ED" userId="e6377c33-a923-4f14-8587-531c474c7b48" providerId="ADAL" clId="{6ECD27E6-B224-41CD-B4E0-E297462320DD}" dt="2023-11-24T08:48:35.568" v="74748"/>
          <ac:spMkLst>
            <pc:docMk/>
            <pc:sldMk cId="299398864" sldId="256"/>
            <ac:spMk id="487" creationId="{D4364DE8-407C-893A-36F5-3ABBF0D85023}"/>
          </ac:spMkLst>
        </pc:spChg>
        <pc:spChg chg="add del mod modVis">
          <ac:chgData name="Steiner Andreas 6206 ED" userId="e6377c33-a923-4f14-8587-531c474c7b48" providerId="ADAL" clId="{6ECD27E6-B224-41CD-B4E0-E297462320DD}" dt="2023-11-24T08:48:37.698" v="74903"/>
          <ac:spMkLst>
            <pc:docMk/>
            <pc:sldMk cId="299398864" sldId="256"/>
            <ac:spMk id="488" creationId="{85756410-1FB5-C61A-6097-570076CE6BFA}"/>
          </ac:spMkLst>
        </pc:spChg>
        <pc:spChg chg="add del mod modVis">
          <ac:chgData name="Steiner Andreas 6206 ED" userId="e6377c33-a923-4f14-8587-531c474c7b48" providerId="ADAL" clId="{6ECD27E6-B224-41CD-B4E0-E297462320DD}" dt="2023-11-24T08:48:39.740" v="75058"/>
          <ac:spMkLst>
            <pc:docMk/>
            <pc:sldMk cId="299398864" sldId="256"/>
            <ac:spMk id="489" creationId="{BE1AE35E-8B71-2361-4D51-9DB8B6F69C44}"/>
          </ac:spMkLst>
        </pc:spChg>
        <pc:spChg chg="add del mod modVis">
          <ac:chgData name="Steiner Andreas 6206 ED" userId="e6377c33-a923-4f14-8587-531c474c7b48" providerId="ADAL" clId="{6ECD27E6-B224-41CD-B4E0-E297462320DD}" dt="2023-11-24T08:48:42.078" v="75213"/>
          <ac:spMkLst>
            <pc:docMk/>
            <pc:sldMk cId="299398864" sldId="256"/>
            <ac:spMk id="490" creationId="{9EB5B680-E989-1E8C-1D76-BD2A9AD3DBFE}"/>
          </ac:spMkLst>
        </pc:spChg>
        <pc:spChg chg="add del mod modVis">
          <ac:chgData name="Steiner Andreas 6206 ED" userId="e6377c33-a923-4f14-8587-531c474c7b48" providerId="ADAL" clId="{6ECD27E6-B224-41CD-B4E0-E297462320DD}" dt="2023-11-24T08:48:44.383" v="75368"/>
          <ac:spMkLst>
            <pc:docMk/>
            <pc:sldMk cId="299398864" sldId="256"/>
            <ac:spMk id="491" creationId="{40034DD0-D542-37AA-C1BF-0CE0EB741624}"/>
          </ac:spMkLst>
        </pc:spChg>
        <pc:spChg chg="add del mod modVis">
          <ac:chgData name="Steiner Andreas 6206 ED" userId="e6377c33-a923-4f14-8587-531c474c7b48" providerId="ADAL" clId="{6ECD27E6-B224-41CD-B4E0-E297462320DD}" dt="2023-11-24T08:48:46.728" v="75523"/>
          <ac:spMkLst>
            <pc:docMk/>
            <pc:sldMk cId="299398864" sldId="256"/>
            <ac:spMk id="492" creationId="{3C6A0C4A-0318-2331-F434-023FB2318FA1}"/>
          </ac:spMkLst>
        </pc:spChg>
        <pc:spChg chg="add del mod modVis">
          <ac:chgData name="Steiner Andreas 6206 ED" userId="e6377c33-a923-4f14-8587-531c474c7b48" providerId="ADAL" clId="{6ECD27E6-B224-41CD-B4E0-E297462320DD}" dt="2023-11-24T08:48:48.620" v="75678"/>
          <ac:spMkLst>
            <pc:docMk/>
            <pc:sldMk cId="299398864" sldId="256"/>
            <ac:spMk id="493" creationId="{C6D0AA34-4CD0-DFE4-71B7-A08308905458}"/>
          </ac:spMkLst>
        </pc:spChg>
        <pc:spChg chg="add del mod modVis">
          <ac:chgData name="Steiner Andreas 6206 ED" userId="e6377c33-a923-4f14-8587-531c474c7b48" providerId="ADAL" clId="{6ECD27E6-B224-41CD-B4E0-E297462320DD}" dt="2023-11-24T08:48:50.832" v="75833"/>
          <ac:spMkLst>
            <pc:docMk/>
            <pc:sldMk cId="299398864" sldId="256"/>
            <ac:spMk id="494" creationId="{87D57BAE-1A32-7DAE-975C-1D1AF3C54D7C}"/>
          </ac:spMkLst>
        </pc:spChg>
        <pc:spChg chg="add del mod modVis">
          <ac:chgData name="Steiner Andreas 6206 ED" userId="e6377c33-a923-4f14-8587-531c474c7b48" providerId="ADAL" clId="{6ECD27E6-B224-41CD-B4E0-E297462320DD}" dt="2023-11-24T08:48:52.894" v="75988"/>
          <ac:spMkLst>
            <pc:docMk/>
            <pc:sldMk cId="299398864" sldId="256"/>
            <ac:spMk id="495" creationId="{6203C2D0-86B5-EBE7-F326-1CF906A26BE1}"/>
          </ac:spMkLst>
        </pc:spChg>
        <pc:spChg chg="add del mod modVis">
          <ac:chgData name="Steiner Andreas 6206 ED" userId="e6377c33-a923-4f14-8587-531c474c7b48" providerId="ADAL" clId="{6ECD27E6-B224-41CD-B4E0-E297462320DD}" dt="2023-11-24T08:48:54.721" v="76143"/>
          <ac:spMkLst>
            <pc:docMk/>
            <pc:sldMk cId="299398864" sldId="256"/>
            <ac:spMk id="496" creationId="{609FF8CA-3357-C890-F2CA-519FB2DC0998}"/>
          </ac:spMkLst>
        </pc:spChg>
        <pc:spChg chg="add del mod modVis">
          <ac:chgData name="Steiner Andreas 6206 ED" userId="e6377c33-a923-4f14-8587-531c474c7b48" providerId="ADAL" clId="{6ECD27E6-B224-41CD-B4E0-E297462320DD}" dt="2023-11-24T08:48:56.773" v="76298"/>
          <ac:spMkLst>
            <pc:docMk/>
            <pc:sldMk cId="299398864" sldId="256"/>
            <ac:spMk id="497" creationId="{91A14145-717F-CA60-028D-AC4B700B90CA}"/>
          </ac:spMkLst>
        </pc:spChg>
        <pc:spChg chg="add del mod modVis">
          <ac:chgData name="Steiner Andreas 6206 ED" userId="e6377c33-a923-4f14-8587-531c474c7b48" providerId="ADAL" clId="{6ECD27E6-B224-41CD-B4E0-E297462320DD}" dt="2023-11-24T08:48:58.679" v="76453"/>
          <ac:spMkLst>
            <pc:docMk/>
            <pc:sldMk cId="299398864" sldId="256"/>
            <ac:spMk id="498" creationId="{DE4491A3-B5CF-6A05-F8F7-DCC8EA907906}"/>
          </ac:spMkLst>
        </pc:spChg>
        <pc:spChg chg="add del mod modVis">
          <ac:chgData name="Steiner Andreas 6206 ED" userId="e6377c33-a923-4f14-8587-531c474c7b48" providerId="ADAL" clId="{6ECD27E6-B224-41CD-B4E0-E297462320DD}" dt="2023-11-24T08:49:00.768" v="76608"/>
          <ac:spMkLst>
            <pc:docMk/>
            <pc:sldMk cId="299398864" sldId="256"/>
            <ac:spMk id="499" creationId="{453B3B23-6AF5-7984-9F3F-E1C98ACF6002}"/>
          </ac:spMkLst>
        </pc:spChg>
        <pc:spChg chg="add del mod modVis">
          <ac:chgData name="Steiner Andreas 6206 ED" userId="e6377c33-a923-4f14-8587-531c474c7b48" providerId="ADAL" clId="{6ECD27E6-B224-41CD-B4E0-E297462320DD}" dt="2023-11-24T08:49:02.727" v="76763"/>
          <ac:spMkLst>
            <pc:docMk/>
            <pc:sldMk cId="299398864" sldId="256"/>
            <ac:spMk id="500" creationId="{87F358F8-06B6-0367-9788-8FC9C167D512}"/>
          </ac:spMkLst>
        </pc:spChg>
        <pc:spChg chg="add del mod modVis">
          <ac:chgData name="Steiner Andreas 6206 ED" userId="e6377c33-a923-4f14-8587-531c474c7b48" providerId="ADAL" clId="{6ECD27E6-B224-41CD-B4E0-E297462320DD}" dt="2023-11-24T08:49:04.659" v="76918"/>
          <ac:spMkLst>
            <pc:docMk/>
            <pc:sldMk cId="299398864" sldId="256"/>
            <ac:spMk id="501" creationId="{3ECCE12C-1800-0571-64A9-A440F6AA08ED}"/>
          </ac:spMkLst>
        </pc:spChg>
        <pc:spChg chg="add del mod modVis">
          <ac:chgData name="Steiner Andreas 6206 ED" userId="e6377c33-a923-4f14-8587-531c474c7b48" providerId="ADAL" clId="{6ECD27E6-B224-41CD-B4E0-E297462320DD}" dt="2023-11-24T08:49:06.592" v="77073"/>
          <ac:spMkLst>
            <pc:docMk/>
            <pc:sldMk cId="299398864" sldId="256"/>
            <ac:spMk id="502" creationId="{2BDB0837-3BDA-31F6-B801-4357FFEC1F5F}"/>
          </ac:spMkLst>
        </pc:spChg>
        <pc:spChg chg="add del mod modVis">
          <ac:chgData name="Steiner Andreas 6206 ED" userId="e6377c33-a923-4f14-8587-531c474c7b48" providerId="ADAL" clId="{6ECD27E6-B224-41CD-B4E0-E297462320DD}" dt="2023-11-24T08:49:08.707" v="77228"/>
          <ac:spMkLst>
            <pc:docMk/>
            <pc:sldMk cId="299398864" sldId="256"/>
            <ac:spMk id="503" creationId="{0BA8C409-C70B-561A-E1A5-7EE2F27E107C}"/>
          </ac:spMkLst>
        </pc:spChg>
        <pc:spChg chg="add del mod modVis">
          <ac:chgData name="Steiner Andreas 6206 ED" userId="e6377c33-a923-4f14-8587-531c474c7b48" providerId="ADAL" clId="{6ECD27E6-B224-41CD-B4E0-E297462320DD}" dt="2023-11-24T08:49:10.593" v="77383"/>
          <ac:spMkLst>
            <pc:docMk/>
            <pc:sldMk cId="299398864" sldId="256"/>
            <ac:spMk id="504" creationId="{5AC012B2-0D5B-0CB6-AA96-CD59B0FE65B8}"/>
          </ac:spMkLst>
        </pc:spChg>
        <pc:spChg chg="add del mod modVis">
          <ac:chgData name="Steiner Andreas 6206 ED" userId="e6377c33-a923-4f14-8587-531c474c7b48" providerId="ADAL" clId="{6ECD27E6-B224-41CD-B4E0-E297462320DD}" dt="2023-11-24T08:49:12.320" v="77538"/>
          <ac:spMkLst>
            <pc:docMk/>
            <pc:sldMk cId="299398864" sldId="256"/>
            <ac:spMk id="505" creationId="{147A22A1-1E92-0EF5-D542-E2F4650D73C2}"/>
          </ac:spMkLst>
        </pc:spChg>
        <pc:spChg chg="add del mod modVis">
          <ac:chgData name="Steiner Andreas 6206 ED" userId="e6377c33-a923-4f14-8587-531c474c7b48" providerId="ADAL" clId="{6ECD27E6-B224-41CD-B4E0-E297462320DD}" dt="2023-11-24T08:49:14.475" v="77693"/>
          <ac:spMkLst>
            <pc:docMk/>
            <pc:sldMk cId="299398864" sldId="256"/>
            <ac:spMk id="506" creationId="{FDE9B17D-06FE-9431-F618-C073B4DCF91C}"/>
          </ac:spMkLst>
        </pc:spChg>
        <pc:spChg chg="add del mod modVis">
          <ac:chgData name="Steiner Andreas 6206 ED" userId="e6377c33-a923-4f14-8587-531c474c7b48" providerId="ADAL" clId="{6ECD27E6-B224-41CD-B4E0-E297462320DD}" dt="2023-11-24T08:49:16.485" v="77848"/>
          <ac:spMkLst>
            <pc:docMk/>
            <pc:sldMk cId="299398864" sldId="256"/>
            <ac:spMk id="507" creationId="{9BE4EEF9-CCE1-C27E-0A94-D7F94EEB2D86}"/>
          </ac:spMkLst>
        </pc:spChg>
        <pc:spChg chg="add del mod modVis">
          <ac:chgData name="Steiner Andreas 6206 ED" userId="e6377c33-a923-4f14-8587-531c474c7b48" providerId="ADAL" clId="{6ECD27E6-B224-41CD-B4E0-E297462320DD}" dt="2023-11-24T08:49:18.533" v="78003"/>
          <ac:spMkLst>
            <pc:docMk/>
            <pc:sldMk cId="299398864" sldId="256"/>
            <ac:spMk id="508" creationId="{A74BEC66-382F-7FD3-1190-9D3D780785DA}"/>
          </ac:spMkLst>
        </pc:spChg>
        <pc:spChg chg="add del mod modVis">
          <ac:chgData name="Steiner Andreas 6206 ED" userId="e6377c33-a923-4f14-8587-531c474c7b48" providerId="ADAL" clId="{6ECD27E6-B224-41CD-B4E0-E297462320DD}" dt="2023-11-24T08:49:20.552" v="78158"/>
          <ac:spMkLst>
            <pc:docMk/>
            <pc:sldMk cId="299398864" sldId="256"/>
            <ac:spMk id="509" creationId="{2CA27C6A-6A15-0496-382A-AA504A57E3F7}"/>
          </ac:spMkLst>
        </pc:spChg>
        <pc:spChg chg="add del mod modVis">
          <ac:chgData name="Steiner Andreas 6206 ED" userId="e6377c33-a923-4f14-8587-531c474c7b48" providerId="ADAL" clId="{6ECD27E6-B224-41CD-B4E0-E297462320DD}" dt="2023-11-24T08:49:22.384" v="78313"/>
          <ac:spMkLst>
            <pc:docMk/>
            <pc:sldMk cId="299398864" sldId="256"/>
            <ac:spMk id="510" creationId="{7208AFB0-7602-5757-C30A-13DDD6FD6591}"/>
          </ac:spMkLst>
        </pc:spChg>
        <pc:spChg chg="add del mod modVis">
          <ac:chgData name="Steiner Andreas 6206 ED" userId="e6377c33-a923-4f14-8587-531c474c7b48" providerId="ADAL" clId="{6ECD27E6-B224-41CD-B4E0-E297462320DD}" dt="2023-11-24T08:49:24.349" v="78468"/>
          <ac:spMkLst>
            <pc:docMk/>
            <pc:sldMk cId="299398864" sldId="256"/>
            <ac:spMk id="511" creationId="{E666210E-B7B6-BCC7-5FDE-E78273082C00}"/>
          </ac:spMkLst>
        </pc:spChg>
        <pc:spChg chg="add del mod modVis">
          <ac:chgData name="Steiner Andreas 6206 ED" userId="e6377c33-a923-4f14-8587-531c474c7b48" providerId="ADAL" clId="{6ECD27E6-B224-41CD-B4E0-E297462320DD}" dt="2023-11-24T08:49:26.196" v="78623"/>
          <ac:spMkLst>
            <pc:docMk/>
            <pc:sldMk cId="299398864" sldId="256"/>
            <ac:spMk id="512" creationId="{B0A19C9A-D2BF-803A-ACA0-05C9053ECE77}"/>
          </ac:spMkLst>
        </pc:spChg>
        <pc:spChg chg="add del mod modVis">
          <ac:chgData name="Steiner Andreas 6206 ED" userId="e6377c33-a923-4f14-8587-531c474c7b48" providerId="ADAL" clId="{6ECD27E6-B224-41CD-B4E0-E297462320DD}" dt="2023-11-24T08:49:28.285" v="78778"/>
          <ac:spMkLst>
            <pc:docMk/>
            <pc:sldMk cId="299398864" sldId="256"/>
            <ac:spMk id="513" creationId="{BCE7281F-6794-DE4B-847D-A368C6B00EA9}"/>
          </ac:spMkLst>
        </pc:spChg>
        <pc:spChg chg="add del mod modVis">
          <ac:chgData name="Steiner Andreas 6206 ED" userId="e6377c33-a923-4f14-8587-531c474c7b48" providerId="ADAL" clId="{6ECD27E6-B224-41CD-B4E0-E297462320DD}" dt="2023-11-24T08:49:30.345" v="78933"/>
          <ac:spMkLst>
            <pc:docMk/>
            <pc:sldMk cId="299398864" sldId="256"/>
            <ac:spMk id="514" creationId="{4CCAA4A6-9CE2-40C9-5C15-0EBE19E50F5B}"/>
          </ac:spMkLst>
        </pc:spChg>
        <pc:spChg chg="add del mod modVis">
          <ac:chgData name="Steiner Andreas 6206 ED" userId="e6377c33-a923-4f14-8587-531c474c7b48" providerId="ADAL" clId="{6ECD27E6-B224-41CD-B4E0-E297462320DD}" dt="2023-11-24T08:49:32.236" v="79088"/>
          <ac:spMkLst>
            <pc:docMk/>
            <pc:sldMk cId="299398864" sldId="256"/>
            <ac:spMk id="515" creationId="{DFA90692-A1D0-6730-6B4F-6A09848B7F31}"/>
          </ac:spMkLst>
        </pc:spChg>
        <pc:spChg chg="add del mod modVis">
          <ac:chgData name="Steiner Andreas 6206 ED" userId="e6377c33-a923-4f14-8587-531c474c7b48" providerId="ADAL" clId="{6ECD27E6-B224-41CD-B4E0-E297462320DD}" dt="2023-11-24T08:49:34.122" v="79243"/>
          <ac:spMkLst>
            <pc:docMk/>
            <pc:sldMk cId="299398864" sldId="256"/>
            <ac:spMk id="516" creationId="{02E16714-8FAE-80FD-AD00-9CCE34A933AC}"/>
          </ac:spMkLst>
        </pc:spChg>
        <pc:spChg chg="add del mod modVis">
          <ac:chgData name="Steiner Andreas 6206 ED" userId="e6377c33-a923-4f14-8587-531c474c7b48" providerId="ADAL" clId="{6ECD27E6-B224-41CD-B4E0-E297462320DD}" dt="2023-11-24T08:49:36.002" v="79398"/>
          <ac:spMkLst>
            <pc:docMk/>
            <pc:sldMk cId="299398864" sldId="256"/>
            <ac:spMk id="517" creationId="{67F7D64F-9BE8-0938-6F82-BF9020BD33DF}"/>
          </ac:spMkLst>
        </pc:spChg>
        <pc:spChg chg="add del mod modVis">
          <ac:chgData name="Steiner Andreas 6206 ED" userId="e6377c33-a923-4f14-8587-531c474c7b48" providerId="ADAL" clId="{6ECD27E6-B224-41CD-B4E0-E297462320DD}" dt="2023-11-24T08:49:37.864" v="79553"/>
          <ac:spMkLst>
            <pc:docMk/>
            <pc:sldMk cId="299398864" sldId="256"/>
            <ac:spMk id="518" creationId="{F6403B78-6D89-42C9-9166-DCCA669D479D}"/>
          </ac:spMkLst>
        </pc:spChg>
        <pc:spChg chg="add del mod modVis">
          <ac:chgData name="Steiner Andreas 6206 ED" userId="e6377c33-a923-4f14-8587-531c474c7b48" providerId="ADAL" clId="{6ECD27E6-B224-41CD-B4E0-E297462320DD}" dt="2023-11-24T08:49:39.826" v="79708"/>
          <ac:spMkLst>
            <pc:docMk/>
            <pc:sldMk cId="299398864" sldId="256"/>
            <ac:spMk id="519" creationId="{3F491B21-2B1F-75E9-3C2A-E2C3C2ED3D5D}"/>
          </ac:spMkLst>
        </pc:spChg>
        <pc:spChg chg="add del mod modVis">
          <ac:chgData name="Steiner Andreas 6206 ED" userId="e6377c33-a923-4f14-8587-531c474c7b48" providerId="ADAL" clId="{6ECD27E6-B224-41CD-B4E0-E297462320DD}" dt="2023-11-24T08:49:41.959" v="79863"/>
          <ac:spMkLst>
            <pc:docMk/>
            <pc:sldMk cId="299398864" sldId="256"/>
            <ac:spMk id="520" creationId="{C28AB3A9-D049-3D4B-F248-155742F9EECB}"/>
          </ac:spMkLst>
        </pc:spChg>
        <pc:spChg chg="add del mod modVis">
          <ac:chgData name="Steiner Andreas 6206 ED" userId="e6377c33-a923-4f14-8587-531c474c7b48" providerId="ADAL" clId="{6ECD27E6-B224-41CD-B4E0-E297462320DD}" dt="2023-11-24T08:49:43.831" v="80018"/>
          <ac:spMkLst>
            <pc:docMk/>
            <pc:sldMk cId="299398864" sldId="256"/>
            <ac:spMk id="521" creationId="{9F2536E3-4E38-F6EC-6AEF-E6175AB72DC9}"/>
          </ac:spMkLst>
        </pc:spChg>
        <pc:spChg chg="add del mod modVis">
          <ac:chgData name="Steiner Andreas 6206 ED" userId="e6377c33-a923-4f14-8587-531c474c7b48" providerId="ADAL" clId="{6ECD27E6-B224-41CD-B4E0-E297462320DD}" dt="2023-11-24T08:49:45.793" v="80173"/>
          <ac:spMkLst>
            <pc:docMk/>
            <pc:sldMk cId="299398864" sldId="256"/>
            <ac:spMk id="522" creationId="{0FAEEEF6-4603-3857-98CD-F06C5BA764C4}"/>
          </ac:spMkLst>
        </pc:spChg>
        <pc:spChg chg="add del mod modVis">
          <ac:chgData name="Steiner Andreas 6206 ED" userId="e6377c33-a923-4f14-8587-531c474c7b48" providerId="ADAL" clId="{6ECD27E6-B224-41CD-B4E0-E297462320DD}" dt="2023-11-24T08:49:47.781" v="80328"/>
          <ac:spMkLst>
            <pc:docMk/>
            <pc:sldMk cId="299398864" sldId="256"/>
            <ac:spMk id="523" creationId="{88EFFBC3-487E-09EE-677F-EAD3BF3F9B0D}"/>
          </ac:spMkLst>
        </pc:spChg>
        <pc:spChg chg="add del mod modVis">
          <ac:chgData name="Steiner Andreas 6206 ED" userId="e6377c33-a923-4f14-8587-531c474c7b48" providerId="ADAL" clId="{6ECD27E6-B224-41CD-B4E0-E297462320DD}" dt="2023-11-24T08:49:49.638" v="80483"/>
          <ac:spMkLst>
            <pc:docMk/>
            <pc:sldMk cId="299398864" sldId="256"/>
            <ac:spMk id="524" creationId="{AF2BBBFF-4DE4-56F1-74CD-1590EA77B900}"/>
          </ac:spMkLst>
        </pc:spChg>
        <pc:spChg chg="add del mod modVis">
          <ac:chgData name="Steiner Andreas 6206 ED" userId="e6377c33-a923-4f14-8587-531c474c7b48" providerId="ADAL" clId="{6ECD27E6-B224-41CD-B4E0-E297462320DD}" dt="2023-11-24T08:49:51.494" v="80638"/>
          <ac:spMkLst>
            <pc:docMk/>
            <pc:sldMk cId="299398864" sldId="256"/>
            <ac:spMk id="525" creationId="{15133F89-B37E-261D-899D-6E303F7BE5C5}"/>
          </ac:spMkLst>
        </pc:spChg>
        <pc:spChg chg="add del mod modVis">
          <ac:chgData name="Steiner Andreas 6206 ED" userId="e6377c33-a923-4f14-8587-531c474c7b48" providerId="ADAL" clId="{6ECD27E6-B224-41CD-B4E0-E297462320DD}" dt="2023-11-24T08:49:53.415" v="80793"/>
          <ac:spMkLst>
            <pc:docMk/>
            <pc:sldMk cId="299398864" sldId="256"/>
            <ac:spMk id="526" creationId="{C26E3F6E-FBCA-B235-1148-B29180910455}"/>
          </ac:spMkLst>
        </pc:spChg>
        <pc:spChg chg="add del mod modVis">
          <ac:chgData name="Steiner Andreas 6206 ED" userId="e6377c33-a923-4f14-8587-531c474c7b48" providerId="ADAL" clId="{6ECD27E6-B224-41CD-B4E0-E297462320DD}" dt="2023-11-24T08:49:55.333" v="80948"/>
          <ac:spMkLst>
            <pc:docMk/>
            <pc:sldMk cId="299398864" sldId="256"/>
            <ac:spMk id="527" creationId="{39E1F0A0-7D98-0FDE-DACE-F75F8618878E}"/>
          </ac:spMkLst>
        </pc:spChg>
        <pc:spChg chg="add del mod modVis">
          <ac:chgData name="Steiner Andreas 6206 ED" userId="e6377c33-a923-4f14-8587-531c474c7b48" providerId="ADAL" clId="{6ECD27E6-B224-41CD-B4E0-E297462320DD}" dt="2023-11-24T08:49:57.218" v="81103"/>
          <ac:spMkLst>
            <pc:docMk/>
            <pc:sldMk cId="299398864" sldId="256"/>
            <ac:spMk id="528" creationId="{D0794E14-09CA-7043-8024-3FE9A384AA66}"/>
          </ac:spMkLst>
        </pc:spChg>
        <pc:spChg chg="add del mod modVis">
          <ac:chgData name="Steiner Andreas 6206 ED" userId="e6377c33-a923-4f14-8587-531c474c7b48" providerId="ADAL" clId="{6ECD27E6-B224-41CD-B4E0-E297462320DD}" dt="2023-11-24T08:49:59.132" v="81258"/>
          <ac:spMkLst>
            <pc:docMk/>
            <pc:sldMk cId="299398864" sldId="256"/>
            <ac:spMk id="529" creationId="{EEE92C6C-E814-293F-9DA0-7DDC447C33C5}"/>
          </ac:spMkLst>
        </pc:spChg>
        <pc:spChg chg="add del mod modVis">
          <ac:chgData name="Steiner Andreas 6206 ED" userId="e6377c33-a923-4f14-8587-531c474c7b48" providerId="ADAL" clId="{6ECD27E6-B224-41CD-B4E0-E297462320DD}" dt="2023-11-24T08:50:01.045" v="81413"/>
          <ac:spMkLst>
            <pc:docMk/>
            <pc:sldMk cId="299398864" sldId="256"/>
            <ac:spMk id="530" creationId="{0C656734-274A-070A-7D45-3ABF3D41A5A8}"/>
          </ac:spMkLst>
        </pc:spChg>
        <pc:spChg chg="add del mod modVis">
          <ac:chgData name="Steiner Andreas 6206 ED" userId="e6377c33-a923-4f14-8587-531c474c7b48" providerId="ADAL" clId="{6ECD27E6-B224-41CD-B4E0-E297462320DD}" dt="2023-11-24T08:50:03.126" v="81568"/>
          <ac:spMkLst>
            <pc:docMk/>
            <pc:sldMk cId="299398864" sldId="256"/>
            <ac:spMk id="531" creationId="{571C2CFE-8617-4668-CE8D-7F13EBD3A342}"/>
          </ac:spMkLst>
        </pc:spChg>
        <pc:spChg chg="add del mod modVis">
          <ac:chgData name="Steiner Andreas 6206 ED" userId="e6377c33-a923-4f14-8587-531c474c7b48" providerId="ADAL" clId="{6ECD27E6-B224-41CD-B4E0-E297462320DD}" dt="2023-11-24T08:50:05.257" v="81723"/>
          <ac:spMkLst>
            <pc:docMk/>
            <pc:sldMk cId="299398864" sldId="256"/>
            <ac:spMk id="532" creationId="{5183020D-EA5E-6E3D-D93F-4CD28C4E4606}"/>
          </ac:spMkLst>
        </pc:spChg>
        <pc:spChg chg="add del mod modVis">
          <ac:chgData name="Steiner Andreas 6206 ED" userId="e6377c33-a923-4f14-8587-531c474c7b48" providerId="ADAL" clId="{6ECD27E6-B224-41CD-B4E0-E297462320DD}" dt="2023-11-24T08:50:07.129" v="81878"/>
          <ac:spMkLst>
            <pc:docMk/>
            <pc:sldMk cId="299398864" sldId="256"/>
            <ac:spMk id="533" creationId="{21DA945E-949B-F35B-9638-AC836D40DAF7}"/>
          </ac:spMkLst>
        </pc:spChg>
        <pc:spChg chg="add del mod modVis">
          <ac:chgData name="Steiner Andreas 6206 ED" userId="e6377c33-a923-4f14-8587-531c474c7b48" providerId="ADAL" clId="{6ECD27E6-B224-41CD-B4E0-E297462320DD}" dt="2023-11-24T08:50:09.011" v="82033"/>
          <ac:spMkLst>
            <pc:docMk/>
            <pc:sldMk cId="299398864" sldId="256"/>
            <ac:spMk id="534" creationId="{05AA6905-CB03-9C69-64BD-4A7C8D2D95CA}"/>
          </ac:spMkLst>
        </pc:spChg>
        <pc:spChg chg="add del mod modVis">
          <ac:chgData name="Steiner Andreas 6206 ED" userId="e6377c33-a923-4f14-8587-531c474c7b48" providerId="ADAL" clId="{6ECD27E6-B224-41CD-B4E0-E297462320DD}" dt="2023-11-24T08:50:10.914" v="82188"/>
          <ac:spMkLst>
            <pc:docMk/>
            <pc:sldMk cId="299398864" sldId="256"/>
            <ac:spMk id="535" creationId="{D05FD7AF-8E36-EB3D-335B-3340D91FEE19}"/>
          </ac:spMkLst>
        </pc:spChg>
        <pc:spChg chg="add del mod modVis">
          <ac:chgData name="Steiner Andreas 6206 ED" userId="e6377c33-a923-4f14-8587-531c474c7b48" providerId="ADAL" clId="{6ECD27E6-B224-41CD-B4E0-E297462320DD}" dt="2023-11-24T08:50:12.860" v="82343"/>
          <ac:spMkLst>
            <pc:docMk/>
            <pc:sldMk cId="299398864" sldId="256"/>
            <ac:spMk id="536" creationId="{ECB95BD5-675C-735B-D81B-5C5ED0F5697F}"/>
          </ac:spMkLst>
        </pc:spChg>
        <pc:spChg chg="add del mod modVis">
          <ac:chgData name="Steiner Andreas 6206 ED" userId="e6377c33-a923-4f14-8587-531c474c7b48" providerId="ADAL" clId="{6ECD27E6-B224-41CD-B4E0-E297462320DD}" dt="2023-11-24T08:50:14.962" v="82498"/>
          <ac:spMkLst>
            <pc:docMk/>
            <pc:sldMk cId="299398864" sldId="256"/>
            <ac:spMk id="537" creationId="{2BD59D74-80EF-3784-F256-FE190E344201}"/>
          </ac:spMkLst>
        </pc:spChg>
        <pc:spChg chg="add del mod modVis">
          <ac:chgData name="Steiner Andreas 6206 ED" userId="e6377c33-a923-4f14-8587-531c474c7b48" providerId="ADAL" clId="{6ECD27E6-B224-41CD-B4E0-E297462320DD}" dt="2023-11-24T08:50:16.822" v="82653"/>
          <ac:spMkLst>
            <pc:docMk/>
            <pc:sldMk cId="299398864" sldId="256"/>
            <ac:spMk id="538" creationId="{1372C112-B4D0-6D4C-C210-072F579E7935}"/>
          </ac:spMkLst>
        </pc:spChg>
        <pc:spChg chg="add del mod modVis">
          <ac:chgData name="Steiner Andreas 6206 ED" userId="e6377c33-a923-4f14-8587-531c474c7b48" providerId="ADAL" clId="{6ECD27E6-B224-41CD-B4E0-E297462320DD}" dt="2023-11-24T08:50:18.856" v="82808"/>
          <ac:spMkLst>
            <pc:docMk/>
            <pc:sldMk cId="299398864" sldId="256"/>
            <ac:spMk id="539" creationId="{844D0180-FD33-4A7A-EC5B-77756CEB68F4}"/>
          </ac:spMkLst>
        </pc:spChg>
        <pc:spChg chg="add del mod modVis">
          <ac:chgData name="Steiner Andreas 6206 ED" userId="e6377c33-a923-4f14-8587-531c474c7b48" providerId="ADAL" clId="{6ECD27E6-B224-41CD-B4E0-E297462320DD}" dt="2023-11-24T08:50:21.140" v="82963"/>
          <ac:spMkLst>
            <pc:docMk/>
            <pc:sldMk cId="299398864" sldId="256"/>
            <ac:spMk id="540" creationId="{A641ED5C-312A-9DB3-6C8F-C2BB9811C645}"/>
          </ac:spMkLst>
        </pc:spChg>
        <pc:spChg chg="add del mod modVis">
          <ac:chgData name="Steiner Andreas 6206 ED" userId="e6377c33-a923-4f14-8587-531c474c7b48" providerId="ADAL" clId="{6ECD27E6-B224-41CD-B4E0-E297462320DD}" dt="2023-11-24T08:50:22.975" v="83118"/>
          <ac:spMkLst>
            <pc:docMk/>
            <pc:sldMk cId="299398864" sldId="256"/>
            <ac:spMk id="541" creationId="{23D84E4D-51A3-F5B2-A10F-C18ED3E3802A}"/>
          </ac:spMkLst>
        </pc:spChg>
        <pc:spChg chg="add del mod modVis">
          <ac:chgData name="Steiner Andreas 6206 ED" userId="e6377c33-a923-4f14-8587-531c474c7b48" providerId="ADAL" clId="{6ECD27E6-B224-41CD-B4E0-E297462320DD}" dt="2023-11-24T08:50:25.215" v="83273"/>
          <ac:spMkLst>
            <pc:docMk/>
            <pc:sldMk cId="299398864" sldId="256"/>
            <ac:spMk id="542" creationId="{621A5FC6-64C8-688E-77E5-BF9CA25B4600}"/>
          </ac:spMkLst>
        </pc:spChg>
        <pc:spChg chg="add del mod modVis">
          <ac:chgData name="Steiner Andreas 6206 ED" userId="e6377c33-a923-4f14-8587-531c474c7b48" providerId="ADAL" clId="{6ECD27E6-B224-41CD-B4E0-E297462320DD}" dt="2023-11-24T08:50:27.071" v="83428"/>
          <ac:spMkLst>
            <pc:docMk/>
            <pc:sldMk cId="299398864" sldId="256"/>
            <ac:spMk id="543" creationId="{09076381-EE79-98C3-E283-92B727BE3460}"/>
          </ac:spMkLst>
        </pc:spChg>
        <pc:spChg chg="add del mod modVis">
          <ac:chgData name="Steiner Andreas 6206 ED" userId="e6377c33-a923-4f14-8587-531c474c7b48" providerId="ADAL" clId="{6ECD27E6-B224-41CD-B4E0-E297462320DD}" dt="2023-11-24T08:50:28.995" v="83583"/>
          <ac:spMkLst>
            <pc:docMk/>
            <pc:sldMk cId="299398864" sldId="256"/>
            <ac:spMk id="544" creationId="{C749EF22-639A-6ED7-D69F-AD0BCEA6A125}"/>
          </ac:spMkLst>
        </pc:spChg>
        <pc:spChg chg="add del mod modVis">
          <ac:chgData name="Steiner Andreas 6206 ED" userId="e6377c33-a923-4f14-8587-531c474c7b48" providerId="ADAL" clId="{6ECD27E6-B224-41CD-B4E0-E297462320DD}" dt="2023-11-24T08:50:30.935" v="83738"/>
          <ac:spMkLst>
            <pc:docMk/>
            <pc:sldMk cId="299398864" sldId="256"/>
            <ac:spMk id="545" creationId="{2F4DB3EF-6422-BD2B-5173-6699D012FF4D}"/>
          </ac:spMkLst>
        </pc:spChg>
        <pc:spChg chg="add del mod modVis">
          <ac:chgData name="Steiner Andreas 6206 ED" userId="e6377c33-a923-4f14-8587-531c474c7b48" providerId="ADAL" clId="{6ECD27E6-B224-41CD-B4E0-E297462320DD}" dt="2023-11-24T08:50:33.030" v="83893"/>
          <ac:spMkLst>
            <pc:docMk/>
            <pc:sldMk cId="299398864" sldId="256"/>
            <ac:spMk id="546" creationId="{B24CE7E4-8BA3-0F8D-C9D9-030F21390A37}"/>
          </ac:spMkLst>
        </pc:spChg>
        <pc:spChg chg="add del mod modVis">
          <ac:chgData name="Steiner Andreas 6206 ED" userId="e6377c33-a923-4f14-8587-531c474c7b48" providerId="ADAL" clId="{6ECD27E6-B224-41CD-B4E0-E297462320DD}" dt="2023-11-24T08:50:35.059" v="84048"/>
          <ac:spMkLst>
            <pc:docMk/>
            <pc:sldMk cId="299398864" sldId="256"/>
            <ac:spMk id="547" creationId="{29E71EA4-5F5C-C1B0-5C7A-D99BBB0B0728}"/>
          </ac:spMkLst>
        </pc:spChg>
        <pc:spChg chg="add del mod modVis">
          <ac:chgData name="Steiner Andreas 6206 ED" userId="e6377c33-a923-4f14-8587-531c474c7b48" providerId="ADAL" clId="{6ECD27E6-B224-41CD-B4E0-E297462320DD}" dt="2023-11-24T08:50:37.229" v="84203"/>
          <ac:spMkLst>
            <pc:docMk/>
            <pc:sldMk cId="299398864" sldId="256"/>
            <ac:spMk id="548" creationId="{98C0AA69-6CF4-F565-74B6-1DC291443FFE}"/>
          </ac:spMkLst>
        </pc:spChg>
        <pc:spChg chg="add del mod modVis">
          <ac:chgData name="Steiner Andreas 6206 ED" userId="e6377c33-a923-4f14-8587-531c474c7b48" providerId="ADAL" clId="{6ECD27E6-B224-41CD-B4E0-E297462320DD}" dt="2023-11-24T08:50:39.216" v="84358"/>
          <ac:spMkLst>
            <pc:docMk/>
            <pc:sldMk cId="299398864" sldId="256"/>
            <ac:spMk id="549" creationId="{2A272392-85B4-E84B-F201-DDAFBF09B293}"/>
          </ac:spMkLst>
        </pc:spChg>
        <pc:spChg chg="add del mod modVis">
          <ac:chgData name="Steiner Andreas 6206 ED" userId="e6377c33-a923-4f14-8587-531c474c7b48" providerId="ADAL" clId="{6ECD27E6-B224-41CD-B4E0-E297462320DD}" dt="2023-11-24T08:50:41.189" v="84513"/>
          <ac:spMkLst>
            <pc:docMk/>
            <pc:sldMk cId="299398864" sldId="256"/>
            <ac:spMk id="550" creationId="{A7CBE1B1-96B2-7621-F36E-C9D64A0FEBED}"/>
          </ac:spMkLst>
        </pc:spChg>
        <pc:spChg chg="add del mod modVis">
          <ac:chgData name="Steiner Andreas 6206 ED" userId="e6377c33-a923-4f14-8587-531c474c7b48" providerId="ADAL" clId="{6ECD27E6-B224-41CD-B4E0-E297462320DD}" dt="2023-11-24T08:50:43.196" v="84668"/>
          <ac:spMkLst>
            <pc:docMk/>
            <pc:sldMk cId="299398864" sldId="256"/>
            <ac:spMk id="551" creationId="{110D838C-E161-85D5-88D5-CA0AD634D58B}"/>
          </ac:spMkLst>
        </pc:spChg>
        <pc:spChg chg="add del mod modVis">
          <ac:chgData name="Steiner Andreas 6206 ED" userId="e6377c33-a923-4f14-8587-531c474c7b48" providerId="ADAL" clId="{6ECD27E6-B224-41CD-B4E0-E297462320DD}" dt="2023-11-24T08:50:45.379" v="84823"/>
          <ac:spMkLst>
            <pc:docMk/>
            <pc:sldMk cId="299398864" sldId="256"/>
            <ac:spMk id="552" creationId="{164B547F-720A-7E65-B115-9101781EBE5E}"/>
          </ac:spMkLst>
        </pc:spChg>
        <pc:spChg chg="add del mod modVis">
          <ac:chgData name="Steiner Andreas 6206 ED" userId="e6377c33-a923-4f14-8587-531c474c7b48" providerId="ADAL" clId="{6ECD27E6-B224-41CD-B4E0-E297462320DD}" dt="2023-11-24T08:50:47.521" v="84978"/>
          <ac:spMkLst>
            <pc:docMk/>
            <pc:sldMk cId="299398864" sldId="256"/>
            <ac:spMk id="553" creationId="{48830BCF-EF1C-5676-1CF4-C73328C1388B}"/>
          </ac:spMkLst>
        </pc:spChg>
        <pc:spChg chg="add del mod modVis">
          <ac:chgData name="Steiner Andreas 6206 ED" userId="e6377c33-a923-4f14-8587-531c474c7b48" providerId="ADAL" clId="{6ECD27E6-B224-41CD-B4E0-E297462320DD}" dt="2023-11-24T08:50:49.633" v="85133"/>
          <ac:spMkLst>
            <pc:docMk/>
            <pc:sldMk cId="299398864" sldId="256"/>
            <ac:spMk id="554" creationId="{604AB0CF-36CB-9F83-6BA4-32FC69DC63A4}"/>
          </ac:spMkLst>
        </pc:spChg>
        <pc:spChg chg="add del mod modVis">
          <ac:chgData name="Steiner Andreas 6206 ED" userId="e6377c33-a923-4f14-8587-531c474c7b48" providerId="ADAL" clId="{6ECD27E6-B224-41CD-B4E0-E297462320DD}" dt="2023-11-24T08:50:51.723" v="85288"/>
          <ac:spMkLst>
            <pc:docMk/>
            <pc:sldMk cId="299398864" sldId="256"/>
            <ac:spMk id="555" creationId="{E7C60EDD-BFC8-9DF3-E6DE-9420DE0DFCAB}"/>
          </ac:spMkLst>
        </pc:spChg>
        <pc:spChg chg="add del mod modVis">
          <ac:chgData name="Steiner Andreas 6206 ED" userId="e6377c33-a923-4f14-8587-531c474c7b48" providerId="ADAL" clId="{6ECD27E6-B224-41CD-B4E0-E297462320DD}" dt="2023-11-24T08:50:53.763" v="85443"/>
          <ac:spMkLst>
            <pc:docMk/>
            <pc:sldMk cId="299398864" sldId="256"/>
            <ac:spMk id="556" creationId="{18552544-7711-1840-1F65-91A6A72D62EA}"/>
          </ac:spMkLst>
        </pc:spChg>
        <pc:spChg chg="add del mod modVis">
          <ac:chgData name="Steiner Andreas 6206 ED" userId="e6377c33-a923-4f14-8587-531c474c7b48" providerId="ADAL" clId="{6ECD27E6-B224-41CD-B4E0-E297462320DD}" dt="2023-11-24T08:50:55.687" v="85598"/>
          <ac:spMkLst>
            <pc:docMk/>
            <pc:sldMk cId="299398864" sldId="256"/>
            <ac:spMk id="557" creationId="{B332843B-9818-648D-744E-3FC80CF8D74F}"/>
          </ac:spMkLst>
        </pc:spChg>
        <pc:spChg chg="add del mod modVis">
          <ac:chgData name="Steiner Andreas 6206 ED" userId="e6377c33-a923-4f14-8587-531c474c7b48" providerId="ADAL" clId="{6ECD27E6-B224-41CD-B4E0-E297462320DD}" dt="2023-11-24T08:50:57.632" v="85753"/>
          <ac:spMkLst>
            <pc:docMk/>
            <pc:sldMk cId="299398864" sldId="256"/>
            <ac:spMk id="558" creationId="{AE2AB8AA-05DD-B958-25A5-175342D23583}"/>
          </ac:spMkLst>
        </pc:spChg>
        <pc:spChg chg="add del mod modVis">
          <ac:chgData name="Steiner Andreas 6206 ED" userId="e6377c33-a923-4f14-8587-531c474c7b48" providerId="ADAL" clId="{6ECD27E6-B224-41CD-B4E0-E297462320DD}" dt="2023-11-24T08:50:59.822" v="85908"/>
          <ac:spMkLst>
            <pc:docMk/>
            <pc:sldMk cId="299398864" sldId="256"/>
            <ac:spMk id="559" creationId="{094E052D-D584-96F1-02B2-12FF1DDC2E4F}"/>
          </ac:spMkLst>
        </pc:spChg>
        <pc:spChg chg="add del mod modVis">
          <ac:chgData name="Steiner Andreas 6206 ED" userId="e6377c33-a923-4f14-8587-531c474c7b48" providerId="ADAL" clId="{6ECD27E6-B224-41CD-B4E0-E297462320DD}" dt="2023-11-24T08:51:01.808" v="86063"/>
          <ac:spMkLst>
            <pc:docMk/>
            <pc:sldMk cId="299398864" sldId="256"/>
            <ac:spMk id="560" creationId="{C9B91B17-4C69-DC82-2950-556B935147CB}"/>
          </ac:spMkLst>
        </pc:spChg>
        <pc:spChg chg="add del mod modVis">
          <ac:chgData name="Steiner Andreas 6206 ED" userId="e6377c33-a923-4f14-8587-531c474c7b48" providerId="ADAL" clId="{6ECD27E6-B224-41CD-B4E0-E297462320DD}" dt="2023-11-24T08:51:03.715" v="86218"/>
          <ac:spMkLst>
            <pc:docMk/>
            <pc:sldMk cId="299398864" sldId="256"/>
            <ac:spMk id="561" creationId="{705C81B6-6D06-ED7D-63A8-DB7705B52294}"/>
          </ac:spMkLst>
        </pc:spChg>
        <pc:spChg chg="add del mod modVis">
          <ac:chgData name="Steiner Andreas 6206 ED" userId="e6377c33-a923-4f14-8587-531c474c7b48" providerId="ADAL" clId="{6ECD27E6-B224-41CD-B4E0-E297462320DD}" dt="2023-11-24T08:51:05.593" v="86373"/>
          <ac:spMkLst>
            <pc:docMk/>
            <pc:sldMk cId="299398864" sldId="256"/>
            <ac:spMk id="562" creationId="{C3D67DD0-09EE-6EF4-BADC-D17AA05306BE}"/>
          </ac:spMkLst>
        </pc:spChg>
        <pc:spChg chg="add del mod modVis">
          <ac:chgData name="Steiner Andreas 6206 ED" userId="e6377c33-a923-4f14-8587-531c474c7b48" providerId="ADAL" clId="{6ECD27E6-B224-41CD-B4E0-E297462320DD}" dt="2023-11-24T08:51:07.487" v="86528"/>
          <ac:spMkLst>
            <pc:docMk/>
            <pc:sldMk cId="299398864" sldId="256"/>
            <ac:spMk id="563" creationId="{6DD81E40-8682-C3E9-BBC1-B7EB2887E7B1}"/>
          </ac:spMkLst>
        </pc:spChg>
        <pc:spChg chg="add del mod modVis">
          <ac:chgData name="Steiner Andreas 6206 ED" userId="e6377c33-a923-4f14-8587-531c474c7b48" providerId="ADAL" clId="{6ECD27E6-B224-41CD-B4E0-E297462320DD}" dt="2023-11-24T08:51:09.482" v="86683"/>
          <ac:spMkLst>
            <pc:docMk/>
            <pc:sldMk cId="299398864" sldId="256"/>
            <ac:spMk id="564" creationId="{A8C6F77F-DA6A-72A6-4559-090EA07AC106}"/>
          </ac:spMkLst>
        </pc:spChg>
        <pc:spChg chg="add del mod modVis">
          <ac:chgData name="Steiner Andreas 6206 ED" userId="e6377c33-a923-4f14-8587-531c474c7b48" providerId="ADAL" clId="{6ECD27E6-B224-41CD-B4E0-E297462320DD}" dt="2023-11-24T08:51:11.531" v="86838"/>
          <ac:spMkLst>
            <pc:docMk/>
            <pc:sldMk cId="299398864" sldId="256"/>
            <ac:spMk id="565" creationId="{29F623D8-1C52-10FA-2A50-074EF0EFBE93}"/>
          </ac:spMkLst>
        </pc:spChg>
        <pc:spChg chg="add del mod modVis">
          <ac:chgData name="Steiner Andreas 6206 ED" userId="e6377c33-a923-4f14-8587-531c474c7b48" providerId="ADAL" clId="{6ECD27E6-B224-41CD-B4E0-E297462320DD}" dt="2023-11-24T08:51:13.455" v="86993"/>
          <ac:spMkLst>
            <pc:docMk/>
            <pc:sldMk cId="299398864" sldId="256"/>
            <ac:spMk id="566" creationId="{09F2D0C5-C9C2-E8B5-10BF-60E23A55DBDE}"/>
          </ac:spMkLst>
        </pc:spChg>
        <pc:spChg chg="add del mod modVis">
          <ac:chgData name="Steiner Andreas 6206 ED" userId="e6377c33-a923-4f14-8587-531c474c7b48" providerId="ADAL" clId="{6ECD27E6-B224-41CD-B4E0-E297462320DD}" dt="2023-11-24T08:51:15.689" v="87148"/>
          <ac:spMkLst>
            <pc:docMk/>
            <pc:sldMk cId="299398864" sldId="256"/>
            <ac:spMk id="567" creationId="{8EF34256-2E43-1CC1-4CDA-D5822F838106}"/>
          </ac:spMkLst>
        </pc:spChg>
        <pc:spChg chg="add del mod modVis">
          <ac:chgData name="Steiner Andreas 6206 ED" userId="e6377c33-a923-4f14-8587-531c474c7b48" providerId="ADAL" clId="{6ECD27E6-B224-41CD-B4E0-E297462320DD}" dt="2023-11-24T08:51:17.683" v="87303"/>
          <ac:spMkLst>
            <pc:docMk/>
            <pc:sldMk cId="299398864" sldId="256"/>
            <ac:spMk id="568" creationId="{BAC9F47C-FE2F-C0D5-8EF4-C8CD1D7590ED}"/>
          </ac:spMkLst>
        </pc:spChg>
        <pc:spChg chg="add del mod modVis">
          <ac:chgData name="Steiner Andreas 6206 ED" userId="e6377c33-a923-4f14-8587-531c474c7b48" providerId="ADAL" clId="{6ECD27E6-B224-41CD-B4E0-E297462320DD}" dt="2023-11-24T08:51:19.673" v="87458"/>
          <ac:spMkLst>
            <pc:docMk/>
            <pc:sldMk cId="299398864" sldId="256"/>
            <ac:spMk id="569" creationId="{C685D77B-7978-FA24-8DBF-3F8C265A1F88}"/>
          </ac:spMkLst>
        </pc:spChg>
        <pc:spChg chg="add del mod modVis">
          <ac:chgData name="Steiner Andreas 6206 ED" userId="e6377c33-a923-4f14-8587-531c474c7b48" providerId="ADAL" clId="{6ECD27E6-B224-41CD-B4E0-E297462320DD}" dt="2023-11-24T08:51:21.691" v="87613"/>
          <ac:spMkLst>
            <pc:docMk/>
            <pc:sldMk cId="299398864" sldId="256"/>
            <ac:spMk id="570" creationId="{F61E01E1-5424-0009-F7A3-99ACCCFD08FF}"/>
          </ac:spMkLst>
        </pc:spChg>
        <pc:spChg chg="add del mod modVis">
          <ac:chgData name="Steiner Andreas 6206 ED" userId="e6377c33-a923-4f14-8587-531c474c7b48" providerId="ADAL" clId="{6ECD27E6-B224-41CD-B4E0-E297462320DD}" dt="2023-11-24T08:51:23.592" v="87768"/>
          <ac:spMkLst>
            <pc:docMk/>
            <pc:sldMk cId="299398864" sldId="256"/>
            <ac:spMk id="571" creationId="{841425D7-C052-43EF-4410-3DC80CB3E6EA}"/>
          </ac:spMkLst>
        </pc:spChg>
        <pc:spChg chg="add del mod modVis">
          <ac:chgData name="Steiner Andreas 6206 ED" userId="e6377c33-a923-4f14-8587-531c474c7b48" providerId="ADAL" clId="{6ECD27E6-B224-41CD-B4E0-E297462320DD}" dt="2023-11-24T08:51:25.518" v="87923"/>
          <ac:spMkLst>
            <pc:docMk/>
            <pc:sldMk cId="299398864" sldId="256"/>
            <ac:spMk id="572" creationId="{C7AF7E7D-0590-1020-1709-A9CBC94D7E61}"/>
          </ac:spMkLst>
        </pc:spChg>
        <pc:spChg chg="add del mod modVis">
          <ac:chgData name="Steiner Andreas 6206 ED" userId="e6377c33-a923-4f14-8587-531c474c7b48" providerId="ADAL" clId="{6ECD27E6-B224-41CD-B4E0-E297462320DD}" dt="2023-11-24T08:51:27.371" v="88078"/>
          <ac:spMkLst>
            <pc:docMk/>
            <pc:sldMk cId="299398864" sldId="256"/>
            <ac:spMk id="573" creationId="{445ABD9F-C88F-F139-81B3-0284D115A035}"/>
          </ac:spMkLst>
        </pc:spChg>
        <pc:spChg chg="add del mod modVis">
          <ac:chgData name="Steiner Andreas 6206 ED" userId="e6377c33-a923-4f14-8587-531c474c7b48" providerId="ADAL" clId="{6ECD27E6-B224-41CD-B4E0-E297462320DD}" dt="2023-11-24T08:51:29.308" v="88233"/>
          <ac:spMkLst>
            <pc:docMk/>
            <pc:sldMk cId="299398864" sldId="256"/>
            <ac:spMk id="574" creationId="{2B711416-65B1-65CC-A489-6E33A30B12EF}"/>
          </ac:spMkLst>
        </pc:spChg>
        <pc:spChg chg="add del mod modVis">
          <ac:chgData name="Steiner Andreas 6206 ED" userId="e6377c33-a923-4f14-8587-531c474c7b48" providerId="ADAL" clId="{6ECD27E6-B224-41CD-B4E0-E297462320DD}" dt="2023-11-24T08:51:31.322" v="88388"/>
          <ac:spMkLst>
            <pc:docMk/>
            <pc:sldMk cId="299398864" sldId="256"/>
            <ac:spMk id="575" creationId="{3F6EC4F6-D2A5-3997-4B7A-EA43E82599C4}"/>
          </ac:spMkLst>
        </pc:spChg>
        <pc:spChg chg="add del mod modVis">
          <ac:chgData name="Steiner Andreas 6206 ED" userId="e6377c33-a923-4f14-8587-531c474c7b48" providerId="ADAL" clId="{6ECD27E6-B224-41CD-B4E0-E297462320DD}" dt="2023-11-24T08:51:33.501" v="88543"/>
          <ac:spMkLst>
            <pc:docMk/>
            <pc:sldMk cId="299398864" sldId="256"/>
            <ac:spMk id="576" creationId="{40A9CDE1-DA8C-483D-6E6A-D573990A842A}"/>
          </ac:spMkLst>
        </pc:spChg>
        <pc:spChg chg="add del mod modVis">
          <ac:chgData name="Steiner Andreas 6206 ED" userId="e6377c33-a923-4f14-8587-531c474c7b48" providerId="ADAL" clId="{6ECD27E6-B224-41CD-B4E0-E297462320DD}" dt="2023-11-24T08:51:35.407" v="88698"/>
          <ac:spMkLst>
            <pc:docMk/>
            <pc:sldMk cId="299398864" sldId="256"/>
            <ac:spMk id="577" creationId="{DAAEFEBF-417A-4906-E339-496A6E19C7F0}"/>
          </ac:spMkLst>
        </pc:spChg>
        <pc:spChg chg="add del mod modVis">
          <ac:chgData name="Steiner Andreas 6206 ED" userId="e6377c33-a923-4f14-8587-531c474c7b48" providerId="ADAL" clId="{6ECD27E6-B224-41CD-B4E0-E297462320DD}" dt="2023-11-24T08:51:37.312" v="88853"/>
          <ac:spMkLst>
            <pc:docMk/>
            <pc:sldMk cId="299398864" sldId="256"/>
            <ac:spMk id="578" creationId="{77D9EDDE-EB9D-D5F8-EDA7-7104E45F71C9}"/>
          </ac:spMkLst>
        </pc:spChg>
        <pc:spChg chg="add del mod modVis">
          <ac:chgData name="Steiner Andreas 6206 ED" userId="e6377c33-a923-4f14-8587-531c474c7b48" providerId="ADAL" clId="{6ECD27E6-B224-41CD-B4E0-E297462320DD}" dt="2023-11-24T08:51:39.226" v="89008"/>
          <ac:spMkLst>
            <pc:docMk/>
            <pc:sldMk cId="299398864" sldId="256"/>
            <ac:spMk id="579" creationId="{73D9B5F5-0B7C-0672-2ABD-3C2E30582BDE}"/>
          </ac:spMkLst>
        </pc:spChg>
        <pc:spChg chg="add del mod modVis">
          <ac:chgData name="Steiner Andreas 6206 ED" userId="e6377c33-a923-4f14-8587-531c474c7b48" providerId="ADAL" clId="{6ECD27E6-B224-41CD-B4E0-E297462320DD}" dt="2023-11-24T08:51:41.168" v="89163"/>
          <ac:spMkLst>
            <pc:docMk/>
            <pc:sldMk cId="299398864" sldId="256"/>
            <ac:spMk id="580" creationId="{A83F6B7F-4BA2-93C1-86FA-AD422AADD9E6}"/>
          </ac:spMkLst>
        </pc:spChg>
        <pc:spChg chg="add del mod modVis">
          <ac:chgData name="Steiner Andreas 6206 ED" userId="e6377c33-a923-4f14-8587-531c474c7b48" providerId="ADAL" clId="{6ECD27E6-B224-41CD-B4E0-E297462320DD}" dt="2023-11-24T08:51:43.173" v="89318"/>
          <ac:spMkLst>
            <pc:docMk/>
            <pc:sldMk cId="299398864" sldId="256"/>
            <ac:spMk id="581" creationId="{ABE0CED8-A2EE-4A23-1CF1-462B097907A5}"/>
          </ac:spMkLst>
        </pc:spChg>
        <pc:spChg chg="add del mod modVis">
          <ac:chgData name="Steiner Andreas 6206 ED" userId="e6377c33-a923-4f14-8587-531c474c7b48" providerId="ADAL" clId="{6ECD27E6-B224-41CD-B4E0-E297462320DD}" dt="2023-11-24T08:51:45.300" v="89473"/>
          <ac:spMkLst>
            <pc:docMk/>
            <pc:sldMk cId="299398864" sldId="256"/>
            <ac:spMk id="582" creationId="{16A498CA-394B-ABCE-15E0-65CEBC484E68}"/>
          </ac:spMkLst>
        </pc:spChg>
        <pc:spChg chg="add del mod modVis">
          <ac:chgData name="Steiner Andreas 6206 ED" userId="e6377c33-a923-4f14-8587-531c474c7b48" providerId="ADAL" clId="{6ECD27E6-B224-41CD-B4E0-E297462320DD}" dt="2023-11-24T08:51:47.189" v="89628"/>
          <ac:spMkLst>
            <pc:docMk/>
            <pc:sldMk cId="299398864" sldId="256"/>
            <ac:spMk id="583" creationId="{E26685A1-7630-FEBF-362C-637AD8D45153}"/>
          </ac:spMkLst>
        </pc:spChg>
        <pc:spChg chg="add del mod modVis">
          <ac:chgData name="Steiner Andreas 6206 ED" userId="e6377c33-a923-4f14-8587-531c474c7b48" providerId="ADAL" clId="{6ECD27E6-B224-41CD-B4E0-E297462320DD}" dt="2023-11-24T08:51:49.134" v="89783"/>
          <ac:spMkLst>
            <pc:docMk/>
            <pc:sldMk cId="299398864" sldId="256"/>
            <ac:spMk id="584" creationId="{4086B9DF-162D-6958-CE35-6D2985343A84}"/>
          </ac:spMkLst>
        </pc:spChg>
        <pc:spChg chg="add del mod modVis">
          <ac:chgData name="Steiner Andreas 6206 ED" userId="e6377c33-a923-4f14-8587-531c474c7b48" providerId="ADAL" clId="{6ECD27E6-B224-41CD-B4E0-E297462320DD}" dt="2023-11-24T08:51:51.035" v="89938"/>
          <ac:spMkLst>
            <pc:docMk/>
            <pc:sldMk cId="299398864" sldId="256"/>
            <ac:spMk id="585" creationId="{6F976015-99CA-FB16-2C79-07456599F4DC}"/>
          </ac:spMkLst>
        </pc:spChg>
        <pc:spChg chg="add del mod modVis">
          <ac:chgData name="Steiner Andreas 6206 ED" userId="e6377c33-a923-4f14-8587-531c474c7b48" providerId="ADAL" clId="{6ECD27E6-B224-41CD-B4E0-E297462320DD}" dt="2023-11-24T08:51:52.995" v="90093"/>
          <ac:spMkLst>
            <pc:docMk/>
            <pc:sldMk cId="299398864" sldId="256"/>
            <ac:spMk id="586" creationId="{970A716B-55CA-8E5D-1B68-91F9560AFFE1}"/>
          </ac:spMkLst>
        </pc:spChg>
        <pc:spChg chg="add del mod modVis">
          <ac:chgData name="Steiner Andreas 6206 ED" userId="e6377c33-a923-4f14-8587-531c474c7b48" providerId="ADAL" clId="{6ECD27E6-B224-41CD-B4E0-E297462320DD}" dt="2023-11-24T08:51:54.950" v="90248"/>
          <ac:spMkLst>
            <pc:docMk/>
            <pc:sldMk cId="299398864" sldId="256"/>
            <ac:spMk id="587" creationId="{513C5573-C442-EC24-31ED-CF67B0861D40}"/>
          </ac:spMkLst>
        </pc:spChg>
        <pc:spChg chg="add del mod modVis">
          <ac:chgData name="Steiner Andreas 6206 ED" userId="e6377c33-a923-4f14-8587-531c474c7b48" providerId="ADAL" clId="{6ECD27E6-B224-41CD-B4E0-E297462320DD}" dt="2023-11-24T08:51:56.964" v="90403"/>
          <ac:spMkLst>
            <pc:docMk/>
            <pc:sldMk cId="299398864" sldId="256"/>
            <ac:spMk id="588" creationId="{BB414AA5-ECE1-06B5-9E8A-F6A2C19C0AAE}"/>
          </ac:spMkLst>
        </pc:spChg>
        <pc:spChg chg="add del mod modVis">
          <ac:chgData name="Steiner Andreas 6206 ED" userId="e6377c33-a923-4f14-8587-531c474c7b48" providerId="ADAL" clId="{6ECD27E6-B224-41CD-B4E0-E297462320DD}" dt="2023-11-24T08:51:58.873" v="90558"/>
          <ac:spMkLst>
            <pc:docMk/>
            <pc:sldMk cId="299398864" sldId="256"/>
            <ac:spMk id="589" creationId="{A3187A0B-BA02-AAF3-62D5-6F1B923E54ED}"/>
          </ac:spMkLst>
        </pc:spChg>
        <pc:spChg chg="add del mod modVis">
          <ac:chgData name="Steiner Andreas 6206 ED" userId="e6377c33-a923-4f14-8587-531c474c7b48" providerId="ADAL" clId="{6ECD27E6-B224-41CD-B4E0-E297462320DD}" dt="2023-11-24T08:52:00.987" v="90713"/>
          <ac:spMkLst>
            <pc:docMk/>
            <pc:sldMk cId="299398864" sldId="256"/>
            <ac:spMk id="590" creationId="{38B0A0BA-83D1-8D5E-7F1C-63606915A134}"/>
          </ac:spMkLst>
        </pc:spChg>
        <pc:spChg chg="add del mod modVis">
          <ac:chgData name="Steiner Andreas 6206 ED" userId="e6377c33-a923-4f14-8587-531c474c7b48" providerId="ADAL" clId="{6ECD27E6-B224-41CD-B4E0-E297462320DD}" dt="2023-11-24T08:52:02.944" v="90868"/>
          <ac:spMkLst>
            <pc:docMk/>
            <pc:sldMk cId="299398864" sldId="256"/>
            <ac:spMk id="591" creationId="{97468E38-9A62-2F05-7C7C-3F415BD6A0D9}"/>
          </ac:spMkLst>
        </pc:spChg>
        <pc:spChg chg="add del mod modVis">
          <ac:chgData name="Steiner Andreas 6206 ED" userId="e6377c33-a923-4f14-8587-531c474c7b48" providerId="ADAL" clId="{6ECD27E6-B224-41CD-B4E0-E297462320DD}" dt="2023-11-24T08:52:04.859" v="91023"/>
          <ac:spMkLst>
            <pc:docMk/>
            <pc:sldMk cId="299398864" sldId="256"/>
            <ac:spMk id="592" creationId="{A4BDF1C7-7D89-0D40-FFFB-7881E1854D80}"/>
          </ac:spMkLst>
        </pc:spChg>
        <pc:spChg chg="add del mod modVis">
          <ac:chgData name="Steiner Andreas 6206 ED" userId="e6377c33-a923-4f14-8587-531c474c7b48" providerId="ADAL" clId="{6ECD27E6-B224-41CD-B4E0-E297462320DD}" dt="2023-11-24T08:52:07.105" v="91178"/>
          <ac:spMkLst>
            <pc:docMk/>
            <pc:sldMk cId="299398864" sldId="256"/>
            <ac:spMk id="593" creationId="{9AB4FB6A-0CA2-E1EF-462B-5FF79B40EB7A}"/>
          </ac:spMkLst>
        </pc:spChg>
        <pc:spChg chg="add del mod modVis">
          <ac:chgData name="Steiner Andreas 6206 ED" userId="e6377c33-a923-4f14-8587-531c474c7b48" providerId="ADAL" clId="{6ECD27E6-B224-41CD-B4E0-E297462320DD}" dt="2023-11-24T08:52:08.991" v="91333"/>
          <ac:spMkLst>
            <pc:docMk/>
            <pc:sldMk cId="299398864" sldId="256"/>
            <ac:spMk id="594" creationId="{7A6FBE7D-6B5C-4338-64B3-2AD9078014C8}"/>
          </ac:spMkLst>
        </pc:spChg>
        <pc:spChg chg="add del mod modVis">
          <ac:chgData name="Steiner Andreas 6206 ED" userId="e6377c33-a923-4f14-8587-531c474c7b48" providerId="ADAL" clId="{6ECD27E6-B224-41CD-B4E0-E297462320DD}" dt="2023-11-24T08:52:10.872" v="91488"/>
          <ac:spMkLst>
            <pc:docMk/>
            <pc:sldMk cId="299398864" sldId="256"/>
            <ac:spMk id="595" creationId="{6AD1FF8B-1F81-F9D5-18D4-B815C0C2825A}"/>
          </ac:spMkLst>
        </pc:spChg>
        <pc:spChg chg="add del mod modVis">
          <ac:chgData name="Steiner Andreas 6206 ED" userId="e6377c33-a923-4f14-8587-531c474c7b48" providerId="ADAL" clId="{6ECD27E6-B224-41CD-B4E0-E297462320DD}" dt="2023-11-24T08:52:12.746" v="91643"/>
          <ac:spMkLst>
            <pc:docMk/>
            <pc:sldMk cId="299398864" sldId="256"/>
            <ac:spMk id="596" creationId="{AE275E57-5843-BD23-E94C-CA9A40AC1C1C}"/>
          </ac:spMkLst>
        </pc:spChg>
        <pc:spChg chg="add del mod modVis">
          <ac:chgData name="Steiner Andreas 6206 ED" userId="e6377c33-a923-4f14-8587-531c474c7b48" providerId="ADAL" clId="{6ECD27E6-B224-41CD-B4E0-E297462320DD}" dt="2023-11-24T08:52:14.667" v="91798"/>
          <ac:spMkLst>
            <pc:docMk/>
            <pc:sldMk cId="299398864" sldId="256"/>
            <ac:spMk id="597" creationId="{7BC2C29C-38F8-7D2D-535D-F7D299A3916A}"/>
          </ac:spMkLst>
        </pc:spChg>
        <pc:spChg chg="add del mod modVis">
          <ac:chgData name="Steiner Andreas 6206 ED" userId="e6377c33-a923-4f14-8587-531c474c7b48" providerId="ADAL" clId="{6ECD27E6-B224-41CD-B4E0-E297462320DD}" dt="2023-11-24T08:52:16.649" v="91953"/>
          <ac:spMkLst>
            <pc:docMk/>
            <pc:sldMk cId="299398864" sldId="256"/>
            <ac:spMk id="598" creationId="{AF0F0685-212C-64D7-429D-0B4B68AB3DD2}"/>
          </ac:spMkLst>
        </pc:spChg>
        <pc:spChg chg="add del mod modVis">
          <ac:chgData name="Steiner Andreas 6206 ED" userId="e6377c33-a923-4f14-8587-531c474c7b48" providerId="ADAL" clId="{6ECD27E6-B224-41CD-B4E0-E297462320DD}" dt="2023-11-24T08:52:18.790" v="92108"/>
          <ac:spMkLst>
            <pc:docMk/>
            <pc:sldMk cId="299398864" sldId="256"/>
            <ac:spMk id="599" creationId="{7FB6DDDD-D22E-C6AB-D426-C5C25132927F}"/>
          </ac:spMkLst>
        </pc:spChg>
        <pc:spChg chg="add del mod modVis">
          <ac:chgData name="Steiner Andreas 6206 ED" userId="e6377c33-a923-4f14-8587-531c474c7b48" providerId="ADAL" clId="{6ECD27E6-B224-41CD-B4E0-E297462320DD}" dt="2023-11-24T08:52:20.698" v="92263"/>
          <ac:spMkLst>
            <pc:docMk/>
            <pc:sldMk cId="299398864" sldId="256"/>
            <ac:spMk id="600" creationId="{6F3FDB17-E715-327C-D1DB-0B25D0A5A350}"/>
          </ac:spMkLst>
        </pc:spChg>
        <pc:spChg chg="add del mod modVis">
          <ac:chgData name="Steiner Andreas 6206 ED" userId="e6377c33-a923-4f14-8587-531c474c7b48" providerId="ADAL" clId="{6ECD27E6-B224-41CD-B4E0-E297462320DD}" dt="2023-11-24T08:52:22.590" v="92418"/>
          <ac:spMkLst>
            <pc:docMk/>
            <pc:sldMk cId="299398864" sldId="256"/>
            <ac:spMk id="601" creationId="{0FE8239C-9DC5-C51E-F044-D5EF7599113E}"/>
          </ac:spMkLst>
        </pc:spChg>
        <pc:spChg chg="add del mod modVis">
          <ac:chgData name="Steiner Andreas 6206 ED" userId="e6377c33-a923-4f14-8587-531c474c7b48" providerId="ADAL" clId="{6ECD27E6-B224-41CD-B4E0-E297462320DD}" dt="2023-11-24T08:52:24.693" v="92573"/>
          <ac:spMkLst>
            <pc:docMk/>
            <pc:sldMk cId="299398864" sldId="256"/>
            <ac:spMk id="602" creationId="{C60192ED-8C4F-7DE5-2261-4EDC9AEE0A40}"/>
          </ac:spMkLst>
        </pc:spChg>
        <pc:spChg chg="add del mod modVis">
          <ac:chgData name="Steiner Andreas 6206 ED" userId="e6377c33-a923-4f14-8587-531c474c7b48" providerId="ADAL" clId="{6ECD27E6-B224-41CD-B4E0-E297462320DD}" dt="2023-11-24T08:52:26.518" v="92728"/>
          <ac:spMkLst>
            <pc:docMk/>
            <pc:sldMk cId="299398864" sldId="256"/>
            <ac:spMk id="603" creationId="{FCAFD064-51C1-ACD1-DBE2-B26799AC27E3}"/>
          </ac:spMkLst>
        </pc:spChg>
        <pc:spChg chg="add del mod modVis">
          <ac:chgData name="Steiner Andreas 6206 ED" userId="e6377c33-a923-4f14-8587-531c474c7b48" providerId="ADAL" clId="{6ECD27E6-B224-41CD-B4E0-E297462320DD}" dt="2023-11-24T08:52:28.420" v="92883"/>
          <ac:spMkLst>
            <pc:docMk/>
            <pc:sldMk cId="299398864" sldId="256"/>
            <ac:spMk id="604" creationId="{119B35E8-68E0-17E8-D396-689A97A61A2D}"/>
          </ac:spMkLst>
        </pc:spChg>
        <pc:spChg chg="add del mod modVis">
          <ac:chgData name="Steiner Andreas 6206 ED" userId="e6377c33-a923-4f14-8587-531c474c7b48" providerId="ADAL" clId="{6ECD27E6-B224-41CD-B4E0-E297462320DD}" dt="2023-11-24T08:52:30.512" v="93038"/>
          <ac:spMkLst>
            <pc:docMk/>
            <pc:sldMk cId="299398864" sldId="256"/>
            <ac:spMk id="605" creationId="{78EDA641-FB77-6DFB-DEF4-C8AD298FE033}"/>
          </ac:spMkLst>
        </pc:spChg>
        <pc:spChg chg="add del mod modVis">
          <ac:chgData name="Steiner Andreas 6206 ED" userId="e6377c33-a923-4f14-8587-531c474c7b48" providerId="ADAL" clId="{6ECD27E6-B224-41CD-B4E0-E297462320DD}" dt="2023-11-24T08:52:32.416" v="93193"/>
          <ac:spMkLst>
            <pc:docMk/>
            <pc:sldMk cId="299398864" sldId="256"/>
            <ac:spMk id="606" creationId="{194B4437-B9E8-51EC-2677-2213F8856D8E}"/>
          </ac:spMkLst>
        </pc:spChg>
        <pc:spChg chg="add del mod modVis">
          <ac:chgData name="Steiner Andreas 6206 ED" userId="e6377c33-a923-4f14-8587-531c474c7b48" providerId="ADAL" clId="{6ECD27E6-B224-41CD-B4E0-E297462320DD}" dt="2023-11-24T08:52:34.346" v="93348"/>
          <ac:spMkLst>
            <pc:docMk/>
            <pc:sldMk cId="299398864" sldId="256"/>
            <ac:spMk id="607" creationId="{C0A6A02C-4814-EE6F-40F2-5539F40B9193}"/>
          </ac:spMkLst>
        </pc:spChg>
        <pc:spChg chg="add del mod modVis">
          <ac:chgData name="Steiner Andreas 6206 ED" userId="e6377c33-a923-4f14-8587-531c474c7b48" providerId="ADAL" clId="{6ECD27E6-B224-41CD-B4E0-E297462320DD}" dt="2023-11-24T08:52:36.261" v="93503"/>
          <ac:spMkLst>
            <pc:docMk/>
            <pc:sldMk cId="299398864" sldId="256"/>
            <ac:spMk id="608" creationId="{62BDCB7C-782D-16A0-525D-8655531180E0}"/>
          </ac:spMkLst>
        </pc:spChg>
        <pc:spChg chg="add del mod modVis">
          <ac:chgData name="Steiner Andreas 6206 ED" userId="e6377c33-a923-4f14-8587-531c474c7b48" providerId="ADAL" clId="{6ECD27E6-B224-41CD-B4E0-E297462320DD}" dt="2023-11-24T08:52:38.147" v="93658"/>
          <ac:spMkLst>
            <pc:docMk/>
            <pc:sldMk cId="299398864" sldId="256"/>
            <ac:spMk id="609" creationId="{D82B028A-4A33-6191-CA3A-7F334C732D93}"/>
          </ac:spMkLst>
        </pc:spChg>
        <pc:spChg chg="add del mod modVis">
          <ac:chgData name="Steiner Andreas 6206 ED" userId="e6377c33-a923-4f14-8587-531c474c7b48" providerId="ADAL" clId="{6ECD27E6-B224-41CD-B4E0-E297462320DD}" dt="2023-11-24T08:52:40.132" v="93813"/>
          <ac:spMkLst>
            <pc:docMk/>
            <pc:sldMk cId="299398864" sldId="256"/>
            <ac:spMk id="610" creationId="{EB6CD540-B276-16E1-3F97-563A99D3EF3A}"/>
          </ac:spMkLst>
        </pc:spChg>
        <pc:spChg chg="add del mod modVis">
          <ac:chgData name="Steiner Andreas 6206 ED" userId="e6377c33-a923-4f14-8587-531c474c7b48" providerId="ADAL" clId="{6ECD27E6-B224-41CD-B4E0-E297462320DD}" dt="2023-11-24T08:52:42.143" v="93968"/>
          <ac:spMkLst>
            <pc:docMk/>
            <pc:sldMk cId="299398864" sldId="256"/>
            <ac:spMk id="611" creationId="{65F0A828-70A3-4151-8445-ACEF86CE8317}"/>
          </ac:spMkLst>
        </pc:spChg>
        <pc:spChg chg="add del mod modVis">
          <ac:chgData name="Steiner Andreas 6206 ED" userId="e6377c33-a923-4f14-8587-531c474c7b48" providerId="ADAL" clId="{6ECD27E6-B224-41CD-B4E0-E297462320DD}" dt="2023-11-24T08:52:44.055" v="94123"/>
          <ac:spMkLst>
            <pc:docMk/>
            <pc:sldMk cId="299398864" sldId="256"/>
            <ac:spMk id="612" creationId="{E0E94F32-7E7B-C2A7-C9E6-46016B4B9134}"/>
          </ac:spMkLst>
        </pc:spChg>
        <pc:spChg chg="add del mod modVis">
          <ac:chgData name="Steiner Andreas 6206 ED" userId="e6377c33-a923-4f14-8587-531c474c7b48" providerId="ADAL" clId="{6ECD27E6-B224-41CD-B4E0-E297462320DD}" dt="2023-11-24T08:52:46.006" v="94278"/>
          <ac:spMkLst>
            <pc:docMk/>
            <pc:sldMk cId="299398864" sldId="256"/>
            <ac:spMk id="613" creationId="{979C8543-CD24-30A5-3C4F-9CB2E19CFB06}"/>
          </ac:spMkLst>
        </pc:spChg>
        <pc:spChg chg="add del mod modVis">
          <ac:chgData name="Steiner Andreas 6206 ED" userId="e6377c33-a923-4f14-8587-531c474c7b48" providerId="ADAL" clId="{6ECD27E6-B224-41CD-B4E0-E297462320DD}" dt="2023-11-24T08:52:47.971" v="94433"/>
          <ac:spMkLst>
            <pc:docMk/>
            <pc:sldMk cId="299398864" sldId="256"/>
            <ac:spMk id="614" creationId="{149F191A-902D-9A51-CB11-7EE0102D9783}"/>
          </ac:spMkLst>
        </pc:spChg>
        <pc:spChg chg="add del mod modVis">
          <ac:chgData name="Steiner Andreas 6206 ED" userId="e6377c33-a923-4f14-8587-531c474c7b48" providerId="ADAL" clId="{6ECD27E6-B224-41CD-B4E0-E297462320DD}" dt="2023-11-24T08:52:50.110" v="94588"/>
          <ac:spMkLst>
            <pc:docMk/>
            <pc:sldMk cId="299398864" sldId="256"/>
            <ac:spMk id="615" creationId="{A36D6204-2532-B998-F7BF-9F02D54D2153}"/>
          </ac:spMkLst>
        </pc:spChg>
        <pc:spChg chg="add del mod modVis">
          <ac:chgData name="Steiner Andreas 6206 ED" userId="e6377c33-a923-4f14-8587-531c474c7b48" providerId="ADAL" clId="{6ECD27E6-B224-41CD-B4E0-E297462320DD}" dt="2023-11-24T08:52:52.241" v="94743"/>
          <ac:spMkLst>
            <pc:docMk/>
            <pc:sldMk cId="299398864" sldId="256"/>
            <ac:spMk id="616" creationId="{7BE6008C-9E7C-2799-7437-AC05F7672758}"/>
          </ac:spMkLst>
        </pc:spChg>
        <pc:spChg chg="add del mod modVis">
          <ac:chgData name="Steiner Andreas 6206 ED" userId="e6377c33-a923-4f14-8587-531c474c7b48" providerId="ADAL" clId="{6ECD27E6-B224-41CD-B4E0-E297462320DD}" dt="2023-11-24T08:52:54.194" v="94898"/>
          <ac:spMkLst>
            <pc:docMk/>
            <pc:sldMk cId="299398864" sldId="256"/>
            <ac:spMk id="617" creationId="{886213DA-1B93-1414-D65F-0FD9D2FB2761}"/>
          </ac:spMkLst>
        </pc:spChg>
        <pc:spChg chg="add del mod modVis">
          <ac:chgData name="Steiner Andreas 6206 ED" userId="e6377c33-a923-4f14-8587-531c474c7b48" providerId="ADAL" clId="{6ECD27E6-B224-41CD-B4E0-E297462320DD}" dt="2023-11-24T08:52:56.180" v="95053"/>
          <ac:spMkLst>
            <pc:docMk/>
            <pc:sldMk cId="299398864" sldId="256"/>
            <ac:spMk id="618" creationId="{2340626F-6F7C-F303-26AB-E00435F7CF19}"/>
          </ac:spMkLst>
        </pc:spChg>
        <pc:spChg chg="add del mod modVis">
          <ac:chgData name="Steiner Andreas 6206 ED" userId="e6377c33-a923-4f14-8587-531c474c7b48" providerId="ADAL" clId="{6ECD27E6-B224-41CD-B4E0-E297462320DD}" dt="2023-11-24T08:52:58.161" v="95208"/>
          <ac:spMkLst>
            <pc:docMk/>
            <pc:sldMk cId="299398864" sldId="256"/>
            <ac:spMk id="619" creationId="{FE195703-5B96-A109-383C-256AD62ECA1B}"/>
          </ac:spMkLst>
        </pc:spChg>
        <pc:spChg chg="add del mod modVis">
          <ac:chgData name="Steiner Andreas 6206 ED" userId="e6377c33-a923-4f14-8587-531c474c7b48" providerId="ADAL" clId="{6ECD27E6-B224-41CD-B4E0-E297462320DD}" dt="2023-11-24T08:53:00.160" v="95363"/>
          <ac:spMkLst>
            <pc:docMk/>
            <pc:sldMk cId="299398864" sldId="256"/>
            <ac:spMk id="620" creationId="{59C3F93D-9917-E146-C699-21B875CF1CB5}"/>
          </ac:spMkLst>
        </pc:spChg>
        <pc:spChg chg="add del mod modVis">
          <ac:chgData name="Steiner Andreas 6206 ED" userId="e6377c33-a923-4f14-8587-531c474c7b48" providerId="ADAL" clId="{6ECD27E6-B224-41CD-B4E0-E297462320DD}" dt="2023-11-24T08:53:02.169" v="95518"/>
          <ac:spMkLst>
            <pc:docMk/>
            <pc:sldMk cId="299398864" sldId="256"/>
            <ac:spMk id="621" creationId="{62ABAB26-7094-B2D1-1B2D-FE4386C60A80}"/>
          </ac:spMkLst>
        </pc:spChg>
        <pc:spChg chg="add del mod modVis">
          <ac:chgData name="Steiner Andreas 6206 ED" userId="e6377c33-a923-4f14-8587-531c474c7b48" providerId="ADAL" clId="{6ECD27E6-B224-41CD-B4E0-E297462320DD}" dt="2023-11-24T08:53:04.248" v="95673"/>
          <ac:spMkLst>
            <pc:docMk/>
            <pc:sldMk cId="299398864" sldId="256"/>
            <ac:spMk id="622" creationId="{0D1911A8-A2E8-53C6-0F72-486C550533CE}"/>
          </ac:spMkLst>
        </pc:spChg>
        <pc:spChg chg="add del mod modVis">
          <ac:chgData name="Steiner Andreas 6206 ED" userId="e6377c33-a923-4f14-8587-531c474c7b48" providerId="ADAL" clId="{6ECD27E6-B224-41CD-B4E0-E297462320DD}" dt="2023-11-24T08:53:06.176" v="95828"/>
          <ac:spMkLst>
            <pc:docMk/>
            <pc:sldMk cId="299398864" sldId="256"/>
            <ac:spMk id="623" creationId="{47390D16-048C-EEC9-61CB-8EFE767F4AB3}"/>
          </ac:spMkLst>
        </pc:spChg>
        <pc:spChg chg="add del mod modVis">
          <ac:chgData name="Steiner Andreas 6206 ED" userId="e6377c33-a923-4f14-8587-531c474c7b48" providerId="ADAL" clId="{6ECD27E6-B224-41CD-B4E0-E297462320DD}" dt="2023-11-24T08:53:08.078" v="95983"/>
          <ac:spMkLst>
            <pc:docMk/>
            <pc:sldMk cId="299398864" sldId="256"/>
            <ac:spMk id="624" creationId="{AEBC7044-439B-5E9B-030A-8801D06F426C}"/>
          </ac:spMkLst>
        </pc:spChg>
        <pc:spChg chg="add del mod modVis">
          <ac:chgData name="Steiner Andreas 6206 ED" userId="e6377c33-a923-4f14-8587-531c474c7b48" providerId="ADAL" clId="{6ECD27E6-B224-41CD-B4E0-E297462320DD}" dt="2023-11-24T08:53:10.024" v="96138"/>
          <ac:spMkLst>
            <pc:docMk/>
            <pc:sldMk cId="299398864" sldId="256"/>
            <ac:spMk id="625" creationId="{2689718C-ABE4-28F6-6DD2-CEAC0C10C8CB}"/>
          </ac:spMkLst>
        </pc:spChg>
        <pc:spChg chg="add del mod modVis">
          <ac:chgData name="Steiner Andreas 6206 ED" userId="e6377c33-a923-4f14-8587-531c474c7b48" providerId="ADAL" clId="{6ECD27E6-B224-41CD-B4E0-E297462320DD}" dt="2023-11-24T08:53:11.971" v="96293"/>
          <ac:spMkLst>
            <pc:docMk/>
            <pc:sldMk cId="299398864" sldId="256"/>
            <ac:spMk id="626" creationId="{2C077898-3068-0D00-D16F-6791B3E18984}"/>
          </ac:spMkLst>
        </pc:spChg>
        <pc:spChg chg="add del mod modVis">
          <ac:chgData name="Steiner Andreas 6206 ED" userId="e6377c33-a923-4f14-8587-531c474c7b48" providerId="ADAL" clId="{6ECD27E6-B224-41CD-B4E0-E297462320DD}" dt="2023-11-24T08:53:14.068" v="96448"/>
          <ac:spMkLst>
            <pc:docMk/>
            <pc:sldMk cId="299398864" sldId="256"/>
            <ac:spMk id="627" creationId="{FD4A710C-10B4-855B-A324-DCDB1D1B451E}"/>
          </ac:spMkLst>
        </pc:spChg>
        <pc:spChg chg="add del mod modVis">
          <ac:chgData name="Steiner Andreas 6206 ED" userId="e6377c33-a923-4f14-8587-531c474c7b48" providerId="ADAL" clId="{6ECD27E6-B224-41CD-B4E0-E297462320DD}" dt="2023-11-24T08:53:16.087" v="96603"/>
          <ac:spMkLst>
            <pc:docMk/>
            <pc:sldMk cId="299398864" sldId="256"/>
            <ac:spMk id="628" creationId="{C7FA228C-2DCC-5D45-0DE7-D12407E1CC66}"/>
          </ac:spMkLst>
        </pc:spChg>
        <pc:spChg chg="add del mod modVis">
          <ac:chgData name="Steiner Andreas 6206 ED" userId="e6377c33-a923-4f14-8587-531c474c7b48" providerId="ADAL" clId="{6ECD27E6-B224-41CD-B4E0-E297462320DD}" dt="2023-11-24T08:53:18.016" v="96758"/>
          <ac:spMkLst>
            <pc:docMk/>
            <pc:sldMk cId="299398864" sldId="256"/>
            <ac:spMk id="629" creationId="{EF947153-FF2E-72D3-6679-461B33AEC269}"/>
          </ac:spMkLst>
        </pc:spChg>
        <pc:spChg chg="add del mod modVis">
          <ac:chgData name="Steiner Andreas 6206 ED" userId="e6377c33-a923-4f14-8587-531c474c7b48" providerId="ADAL" clId="{6ECD27E6-B224-41CD-B4E0-E297462320DD}" dt="2023-11-24T08:53:20.012" v="96913"/>
          <ac:spMkLst>
            <pc:docMk/>
            <pc:sldMk cId="299398864" sldId="256"/>
            <ac:spMk id="630" creationId="{31ACF110-CB5A-D0B0-DDAD-3F80613558E4}"/>
          </ac:spMkLst>
        </pc:spChg>
        <pc:spChg chg="add del mod modVis">
          <ac:chgData name="Steiner Andreas 6206 ED" userId="e6377c33-a923-4f14-8587-531c474c7b48" providerId="ADAL" clId="{6ECD27E6-B224-41CD-B4E0-E297462320DD}" dt="2023-11-24T08:53:21.922" v="97068"/>
          <ac:spMkLst>
            <pc:docMk/>
            <pc:sldMk cId="299398864" sldId="256"/>
            <ac:spMk id="631" creationId="{24E08A2D-E0CF-33F5-14B2-947C84C8BE68}"/>
          </ac:spMkLst>
        </pc:spChg>
        <pc:spChg chg="add del mod modVis">
          <ac:chgData name="Steiner Andreas 6206 ED" userId="e6377c33-a923-4f14-8587-531c474c7b48" providerId="ADAL" clId="{6ECD27E6-B224-41CD-B4E0-E297462320DD}" dt="2023-11-24T08:53:23.882" v="97223"/>
          <ac:spMkLst>
            <pc:docMk/>
            <pc:sldMk cId="299398864" sldId="256"/>
            <ac:spMk id="632" creationId="{62E08A31-C317-127F-0CA7-B7562C4A3A09}"/>
          </ac:spMkLst>
        </pc:spChg>
        <pc:spChg chg="add del mod modVis">
          <ac:chgData name="Steiner Andreas 6206 ED" userId="e6377c33-a923-4f14-8587-531c474c7b48" providerId="ADAL" clId="{6ECD27E6-B224-41CD-B4E0-E297462320DD}" dt="2023-11-24T08:53:26.023" v="97378"/>
          <ac:spMkLst>
            <pc:docMk/>
            <pc:sldMk cId="299398864" sldId="256"/>
            <ac:spMk id="633" creationId="{936CD9E4-3DCE-0D31-BCFF-8E953A28C437}"/>
          </ac:spMkLst>
        </pc:spChg>
        <pc:spChg chg="add del mod modVis">
          <ac:chgData name="Steiner Andreas 6206 ED" userId="e6377c33-a923-4f14-8587-531c474c7b48" providerId="ADAL" clId="{6ECD27E6-B224-41CD-B4E0-E297462320DD}" dt="2023-11-24T08:53:27.948" v="97533"/>
          <ac:spMkLst>
            <pc:docMk/>
            <pc:sldMk cId="299398864" sldId="256"/>
            <ac:spMk id="634" creationId="{DD260583-6284-93B9-8AF0-2E93F68D54BA}"/>
          </ac:spMkLst>
        </pc:spChg>
        <pc:spChg chg="add del mod modVis">
          <ac:chgData name="Steiner Andreas 6206 ED" userId="e6377c33-a923-4f14-8587-531c474c7b48" providerId="ADAL" clId="{6ECD27E6-B224-41CD-B4E0-E297462320DD}" dt="2023-11-24T08:53:29.870" v="97688"/>
          <ac:spMkLst>
            <pc:docMk/>
            <pc:sldMk cId="299398864" sldId="256"/>
            <ac:spMk id="635" creationId="{7C898C00-0CB6-F309-76C4-0C4A4E11B8D0}"/>
          </ac:spMkLst>
        </pc:spChg>
        <pc:spChg chg="add del mod modVis">
          <ac:chgData name="Steiner Andreas 6206 ED" userId="e6377c33-a923-4f14-8587-531c474c7b48" providerId="ADAL" clId="{6ECD27E6-B224-41CD-B4E0-E297462320DD}" dt="2023-11-24T08:53:31.864" v="97843"/>
          <ac:spMkLst>
            <pc:docMk/>
            <pc:sldMk cId="299398864" sldId="256"/>
            <ac:spMk id="636" creationId="{1C1FFC6B-7D89-C7F8-FF70-2E79C41C05DC}"/>
          </ac:spMkLst>
        </pc:spChg>
        <pc:spChg chg="add del mod modVis">
          <ac:chgData name="Steiner Andreas 6206 ED" userId="e6377c33-a923-4f14-8587-531c474c7b48" providerId="ADAL" clId="{6ECD27E6-B224-41CD-B4E0-E297462320DD}" dt="2023-11-24T08:53:33.753" v="97998"/>
          <ac:spMkLst>
            <pc:docMk/>
            <pc:sldMk cId="299398864" sldId="256"/>
            <ac:spMk id="637" creationId="{D0EB8068-E83C-2825-A11A-854B4982383B}"/>
          </ac:spMkLst>
        </pc:spChg>
        <pc:spChg chg="add del mod modVis">
          <ac:chgData name="Steiner Andreas 6206 ED" userId="e6377c33-a923-4f14-8587-531c474c7b48" providerId="ADAL" clId="{6ECD27E6-B224-41CD-B4E0-E297462320DD}" dt="2023-11-24T08:53:35.642" v="98153"/>
          <ac:spMkLst>
            <pc:docMk/>
            <pc:sldMk cId="299398864" sldId="256"/>
            <ac:spMk id="638" creationId="{F170F638-B1A3-915E-6BAA-07720E9A13B2}"/>
          </ac:spMkLst>
        </pc:spChg>
        <pc:spChg chg="add del mod modVis">
          <ac:chgData name="Steiner Andreas 6206 ED" userId="e6377c33-a923-4f14-8587-531c474c7b48" providerId="ADAL" clId="{6ECD27E6-B224-41CD-B4E0-E297462320DD}" dt="2023-11-24T08:53:37.768" v="98308"/>
          <ac:spMkLst>
            <pc:docMk/>
            <pc:sldMk cId="299398864" sldId="256"/>
            <ac:spMk id="639" creationId="{C97FD78D-BE92-9A43-7C96-C7D54A863C8B}"/>
          </ac:spMkLst>
        </pc:spChg>
        <pc:spChg chg="add del mod modVis">
          <ac:chgData name="Steiner Andreas 6206 ED" userId="e6377c33-a923-4f14-8587-531c474c7b48" providerId="ADAL" clId="{6ECD27E6-B224-41CD-B4E0-E297462320DD}" dt="2023-11-24T08:53:39.720" v="98463"/>
          <ac:spMkLst>
            <pc:docMk/>
            <pc:sldMk cId="299398864" sldId="256"/>
            <ac:spMk id="640" creationId="{F25079AC-2266-0D4E-245A-7F43591F4DDF}"/>
          </ac:spMkLst>
        </pc:spChg>
        <pc:spChg chg="add del mod modVis">
          <ac:chgData name="Steiner Andreas 6206 ED" userId="e6377c33-a923-4f14-8587-531c474c7b48" providerId="ADAL" clId="{6ECD27E6-B224-41CD-B4E0-E297462320DD}" dt="2023-11-24T08:53:41.616" v="98618"/>
          <ac:spMkLst>
            <pc:docMk/>
            <pc:sldMk cId="299398864" sldId="256"/>
            <ac:spMk id="641" creationId="{EBA445D3-367B-86FA-CC4B-543A463D7E1F}"/>
          </ac:spMkLst>
        </pc:spChg>
        <pc:spChg chg="add del mod modVis">
          <ac:chgData name="Steiner Andreas 6206 ED" userId="e6377c33-a923-4f14-8587-531c474c7b48" providerId="ADAL" clId="{6ECD27E6-B224-41CD-B4E0-E297462320DD}" dt="2023-11-24T08:53:43.573" v="98773"/>
          <ac:spMkLst>
            <pc:docMk/>
            <pc:sldMk cId="299398864" sldId="256"/>
            <ac:spMk id="642" creationId="{438095CD-3BBF-561C-0CBD-550DFE461EA9}"/>
          </ac:spMkLst>
        </pc:spChg>
        <pc:spChg chg="add del mod modVis">
          <ac:chgData name="Steiner Andreas 6206 ED" userId="e6377c33-a923-4f14-8587-531c474c7b48" providerId="ADAL" clId="{6ECD27E6-B224-41CD-B4E0-E297462320DD}" dt="2023-11-24T08:53:45.507" v="98928"/>
          <ac:spMkLst>
            <pc:docMk/>
            <pc:sldMk cId="299398864" sldId="256"/>
            <ac:spMk id="643" creationId="{C8BC4E4C-44A0-B6AA-02AF-6D39C5CE10D9}"/>
          </ac:spMkLst>
        </pc:spChg>
        <pc:spChg chg="add del mod modVis">
          <ac:chgData name="Steiner Andreas 6206 ED" userId="e6377c33-a923-4f14-8587-531c474c7b48" providerId="ADAL" clId="{6ECD27E6-B224-41CD-B4E0-E297462320DD}" dt="2023-11-24T08:53:47.515" v="99083"/>
          <ac:spMkLst>
            <pc:docMk/>
            <pc:sldMk cId="299398864" sldId="256"/>
            <ac:spMk id="644" creationId="{B485A801-7F4A-E5E0-CA87-8754147EAE26}"/>
          </ac:spMkLst>
        </pc:spChg>
        <pc:spChg chg="add del mod modVis">
          <ac:chgData name="Steiner Andreas 6206 ED" userId="e6377c33-a923-4f14-8587-531c474c7b48" providerId="ADAL" clId="{6ECD27E6-B224-41CD-B4E0-E297462320DD}" dt="2023-11-24T08:53:49.509" v="99238"/>
          <ac:spMkLst>
            <pc:docMk/>
            <pc:sldMk cId="299398864" sldId="256"/>
            <ac:spMk id="645" creationId="{06ACDEEE-9501-F7A7-4156-37C023DF307C}"/>
          </ac:spMkLst>
        </pc:spChg>
        <pc:spChg chg="add del mod modVis">
          <ac:chgData name="Steiner Andreas 6206 ED" userId="e6377c33-a923-4f14-8587-531c474c7b48" providerId="ADAL" clId="{6ECD27E6-B224-41CD-B4E0-E297462320DD}" dt="2023-11-24T08:53:51.434" v="99393"/>
          <ac:spMkLst>
            <pc:docMk/>
            <pc:sldMk cId="299398864" sldId="256"/>
            <ac:spMk id="646" creationId="{CAF6A947-F25A-382E-E887-F3AF67F5903C}"/>
          </ac:spMkLst>
        </pc:spChg>
        <pc:spChg chg="add del mod modVis">
          <ac:chgData name="Steiner Andreas 6206 ED" userId="e6377c33-a923-4f14-8587-531c474c7b48" providerId="ADAL" clId="{6ECD27E6-B224-41CD-B4E0-E297462320DD}" dt="2023-11-24T08:53:53.453" v="99548"/>
          <ac:spMkLst>
            <pc:docMk/>
            <pc:sldMk cId="299398864" sldId="256"/>
            <ac:spMk id="647" creationId="{0DCC3511-4FFF-AAF3-932A-ABB05079BEA5}"/>
          </ac:spMkLst>
        </pc:spChg>
        <pc:spChg chg="add del mod modVis">
          <ac:chgData name="Steiner Andreas 6206 ED" userId="e6377c33-a923-4f14-8587-531c474c7b48" providerId="ADAL" clId="{6ECD27E6-B224-41CD-B4E0-E297462320DD}" dt="2023-11-24T08:53:55.417" v="99703"/>
          <ac:spMkLst>
            <pc:docMk/>
            <pc:sldMk cId="299398864" sldId="256"/>
            <ac:spMk id="648" creationId="{79959316-ED38-FED5-D623-ED44605D450A}"/>
          </ac:spMkLst>
        </pc:spChg>
        <pc:spChg chg="add del mod modVis">
          <ac:chgData name="Steiner Andreas 6206 ED" userId="e6377c33-a923-4f14-8587-531c474c7b48" providerId="ADAL" clId="{6ECD27E6-B224-41CD-B4E0-E297462320DD}" dt="2023-11-24T08:53:57.362" v="99858"/>
          <ac:spMkLst>
            <pc:docMk/>
            <pc:sldMk cId="299398864" sldId="256"/>
            <ac:spMk id="649" creationId="{466BEDD9-904F-1BAA-0894-3DF370C2D4F4}"/>
          </ac:spMkLst>
        </pc:spChg>
        <pc:spChg chg="add del mod modVis">
          <ac:chgData name="Steiner Andreas 6206 ED" userId="e6377c33-a923-4f14-8587-531c474c7b48" providerId="ADAL" clId="{6ECD27E6-B224-41CD-B4E0-E297462320DD}" dt="2023-11-24T08:53:59.436" v="100013"/>
          <ac:spMkLst>
            <pc:docMk/>
            <pc:sldMk cId="299398864" sldId="256"/>
            <ac:spMk id="650" creationId="{777E663C-8DBD-AE84-6B84-C66CA31A123E}"/>
          </ac:spMkLst>
        </pc:spChg>
        <pc:spChg chg="add del mod modVis">
          <ac:chgData name="Steiner Andreas 6206 ED" userId="e6377c33-a923-4f14-8587-531c474c7b48" providerId="ADAL" clId="{6ECD27E6-B224-41CD-B4E0-E297462320DD}" dt="2023-11-24T08:54:01.524" v="100168"/>
          <ac:spMkLst>
            <pc:docMk/>
            <pc:sldMk cId="299398864" sldId="256"/>
            <ac:spMk id="651" creationId="{AC528BF4-64CE-4C4D-A34B-0D6F3A477523}"/>
          </ac:spMkLst>
        </pc:spChg>
        <pc:spChg chg="add del mod modVis">
          <ac:chgData name="Steiner Andreas 6206 ED" userId="e6377c33-a923-4f14-8587-531c474c7b48" providerId="ADAL" clId="{6ECD27E6-B224-41CD-B4E0-E297462320DD}" dt="2023-11-24T08:54:03.510" v="100323"/>
          <ac:spMkLst>
            <pc:docMk/>
            <pc:sldMk cId="299398864" sldId="256"/>
            <ac:spMk id="652" creationId="{6A0908DE-CD86-2A5D-5EEE-92B48515D765}"/>
          </ac:spMkLst>
        </pc:spChg>
        <pc:spChg chg="add del mod modVis">
          <ac:chgData name="Steiner Andreas 6206 ED" userId="e6377c33-a923-4f14-8587-531c474c7b48" providerId="ADAL" clId="{6ECD27E6-B224-41CD-B4E0-E297462320DD}" dt="2023-11-24T08:54:05.445" v="100478"/>
          <ac:spMkLst>
            <pc:docMk/>
            <pc:sldMk cId="299398864" sldId="256"/>
            <ac:spMk id="653" creationId="{24AD1596-CB0D-E668-8172-B84470F4B4C4}"/>
          </ac:spMkLst>
        </pc:spChg>
        <pc:spChg chg="add del mod modVis">
          <ac:chgData name="Steiner Andreas 6206 ED" userId="e6377c33-a923-4f14-8587-531c474c7b48" providerId="ADAL" clId="{6ECD27E6-B224-41CD-B4E0-E297462320DD}" dt="2023-11-24T08:54:07.452" v="100633"/>
          <ac:spMkLst>
            <pc:docMk/>
            <pc:sldMk cId="299398864" sldId="256"/>
            <ac:spMk id="654" creationId="{26E917C1-EEF1-482D-9103-19F1065FDD76}"/>
          </ac:spMkLst>
        </pc:spChg>
        <pc:spChg chg="add del mod modVis">
          <ac:chgData name="Steiner Andreas 6206 ED" userId="e6377c33-a923-4f14-8587-531c474c7b48" providerId="ADAL" clId="{6ECD27E6-B224-41CD-B4E0-E297462320DD}" dt="2023-11-24T08:54:09.469" v="100788"/>
          <ac:spMkLst>
            <pc:docMk/>
            <pc:sldMk cId="299398864" sldId="256"/>
            <ac:spMk id="655" creationId="{7C0AC581-2EFF-56B3-10DF-021065084BBD}"/>
          </ac:spMkLst>
        </pc:spChg>
        <pc:spChg chg="add del mod modVis">
          <ac:chgData name="Steiner Andreas 6206 ED" userId="e6377c33-a923-4f14-8587-531c474c7b48" providerId="ADAL" clId="{6ECD27E6-B224-41CD-B4E0-E297462320DD}" dt="2023-11-24T08:54:11.538" v="100943"/>
          <ac:spMkLst>
            <pc:docMk/>
            <pc:sldMk cId="299398864" sldId="256"/>
            <ac:spMk id="656" creationId="{A240A9D4-7DD4-8A35-C1EC-4A39843BC235}"/>
          </ac:spMkLst>
        </pc:spChg>
        <pc:spChg chg="add del mod modVis">
          <ac:chgData name="Steiner Andreas 6206 ED" userId="e6377c33-a923-4f14-8587-531c474c7b48" providerId="ADAL" clId="{6ECD27E6-B224-41CD-B4E0-E297462320DD}" dt="2023-11-24T08:54:13.494" v="101098"/>
          <ac:spMkLst>
            <pc:docMk/>
            <pc:sldMk cId="299398864" sldId="256"/>
            <ac:spMk id="657" creationId="{C71EDC8C-5FA8-CEED-195E-E45547697A42}"/>
          </ac:spMkLst>
        </pc:spChg>
        <pc:spChg chg="add del mod modVis">
          <ac:chgData name="Steiner Andreas 6206 ED" userId="e6377c33-a923-4f14-8587-531c474c7b48" providerId="ADAL" clId="{6ECD27E6-B224-41CD-B4E0-E297462320DD}" dt="2023-11-24T08:54:15.452" v="101253"/>
          <ac:spMkLst>
            <pc:docMk/>
            <pc:sldMk cId="299398864" sldId="256"/>
            <ac:spMk id="658" creationId="{F4579C8B-29B5-740C-92A2-96BA37FF1FFF}"/>
          </ac:spMkLst>
        </pc:spChg>
        <pc:spChg chg="add del mod modVis">
          <ac:chgData name="Steiner Andreas 6206 ED" userId="e6377c33-a923-4f14-8587-531c474c7b48" providerId="ADAL" clId="{6ECD27E6-B224-41CD-B4E0-E297462320DD}" dt="2023-11-24T08:54:17.338" v="101408"/>
          <ac:spMkLst>
            <pc:docMk/>
            <pc:sldMk cId="299398864" sldId="256"/>
            <ac:spMk id="659" creationId="{3628B2DE-AB19-5DEB-CCEF-0339EC3E503D}"/>
          </ac:spMkLst>
        </pc:spChg>
        <pc:spChg chg="add del mod modVis">
          <ac:chgData name="Steiner Andreas 6206 ED" userId="e6377c33-a923-4f14-8587-531c474c7b48" providerId="ADAL" clId="{6ECD27E6-B224-41CD-B4E0-E297462320DD}" dt="2023-11-24T08:54:19.225" v="101563"/>
          <ac:spMkLst>
            <pc:docMk/>
            <pc:sldMk cId="299398864" sldId="256"/>
            <ac:spMk id="660" creationId="{B18DFECB-3489-7BEE-4D3F-82E07176D902}"/>
          </ac:spMkLst>
        </pc:spChg>
        <pc:spChg chg="add del mod modVis">
          <ac:chgData name="Steiner Andreas 6206 ED" userId="e6377c33-a923-4f14-8587-531c474c7b48" providerId="ADAL" clId="{6ECD27E6-B224-41CD-B4E0-E297462320DD}" dt="2023-11-24T08:54:21.279" v="101718"/>
          <ac:spMkLst>
            <pc:docMk/>
            <pc:sldMk cId="299398864" sldId="256"/>
            <ac:spMk id="661" creationId="{E82EFF1C-4350-EA18-390B-073DB23DC9CC}"/>
          </ac:spMkLst>
        </pc:spChg>
        <pc:spChg chg="add del mod modVis">
          <ac:chgData name="Steiner Andreas 6206 ED" userId="e6377c33-a923-4f14-8587-531c474c7b48" providerId="ADAL" clId="{6ECD27E6-B224-41CD-B4E0-E297462320DD}" dt="2023-11-24T08:54:23.291" v="101873"/>
          <ac:spMkLst>
            <pc:docMk/>
            <pc:sldMk cId="299398864" sldId="256"/>
            <ac:spMk id="662" creationId="{A1D0C487-72DF-DE63-95C6-4BB6609A75B1}"/>
          </ac:spMkLst>
        </pc:spChg>
        <pc:spChg chg="add del mod modVis">
          <ac:chgData name="Steiner Andreas 6206 ED" userId="e6377c33-a923-4f14-8587-531c474c7b48" providerId="ADAL" clId="{6ECD27E6-B224-41CD-B4E0-E297462320DD}" dt="2023-11-24T08:54:25.286" v="102028"/>
          <ac:spMkLst>
            <pc:docMk/>
            <pc:sldMk cId="299398864" sldId="256"/>
            <ac:spMk id="663" creationId="{61E6B2A8-6409-DD00-6123-9DA7600E9568}"/>
          </ac:spMkLst>
        </pc:spChg>
        <pc:spChg chg="add del mod modVis">
          <ac:chgData name="Steiner Andreas 6206 ED" userId="e6377c33-a923-4f14-8587-531c474c7b48" providerId="ADAL" clId="{6ECD27E6-B224-41CD-B4E0-E297462320DD}" dt="2023-11-24T08:54:27.262" v="102183"/>
          <ac:spMkLst>
            <pc:docMk/>
            <pc:sldMk cId="299398864" sldId="256"/>
            <ac:spMk id="664" creationId="{91B9FBD1-4486-99A3-D8F8-12E375560D58}"/>
          </ac:spMkLst>
        </pc:spChg>
        <pc:spChg chg="add del mod modVis">
          <ac:chgData name="Steiner Andreas 6206 ED" userId="e6377c33-a923-4f14-8587-531c474c7b48" providerId="ADAL" clId="{6ECD27E6-B224-41CD-B4E0-E297462320DD}" dt="2023-11-24T08:54:29.202" v="102338"/>
          <ac:spMkLst>
            <pc:docMk/>
            <pc:sldMk cId="299398864" sldId="256"/>
            <ac:spMk id="665" creationId="{7748715C-06B5-50EC-849A-F2FA78C11B5F}"/>
          </ac:spMkLst>
        </pc:spChg>
        <pc:spChg chg="add del mod modVis">
          <ac:chgData name="Steiner Andreas 6206 ED" userId="e6377c33-a923-4f14-8587-531c474c7b48" providerId="ADAL" clId="{6ECD27E6-B224-41CD-B4E0-E297462320DD}" dt="2023-11-24T08:54:31.121" v="102493"/>
          <ac:spMkLst>
            <pc:docMk/>
            <pc:sldMk cId="299398864" sldId="256"/>
            <ac:spMk id="666" creationId="{EDE9A264-A12C-8C0D-2F6E-034183A9466B}"/>
          </ac:spMkLst>
        </pc:spChg>
        <pc:spChg chg="add del mod modVis">
          <ac:chgData name="Steiner Andreas 6206 ED" userId="e6377c33-a923-4f14-8587-531c474c7b48" providerId="ADAL" clId="{6ECD27E6-B224-41CD-B4E0-E297462320DD}" dt="2023-11-24T08:54:33.371" v="102648"/>
          <ac:spMkLst>
            <pc:docMk/>
            <pc:sldMk cId="299398864" sldId="256"/>
            <ac:spMk id="667" creationId="{5DB4FBFA-904F-1218-233C-DA0732EE3D68}"/>
          </ac:spMkLst>
        </pc:spChg>
        <pc:spChg chg="add del mod modVis">
          <ac:chgData name="Steiner Andreas 6206 ED" userId="e6377c33-a923-4f14-8587-531c474c7b48" providerId="ADAL" clId="{6ECD27E6-B224-41CD-B4E0-E297462320DD}" dt="2023-11-24T08:54:35.269" v="102803"/>
          <ac:spMkLst>
            <pc:docMk/>
            <pc:sldMk cId="299398864" sldId="256"/>
            <ac:spMk id="668" creationId="{F4741FBE-3773-2ADF-0961-D1607998FC17}"/>
          </ac:spMkLst>
        </pc:spChg>
        <pc:spChg chg="add del mod modVis">
          <ac:chgData name="Steiner Andreas 6206 ED" userId="e6377c33-a923-4f14-8587-531c474c7b48" providerId="ADAL" clId="{6ECD27E6-B224-41CD-B4E0-E297462320DD}" dt="2023-11-24T08:54:37.160" v="102958"/>
          <ac:spMkLst>
            <pc:docMk/>
            <pc:sldMk cId="299398864" sldId="256"/>
            <ac:spMk id="669" creationId="{21F6B6C4-89E5-C7A4-05F7-7929D7B6156C}"/>
          </ac:spMkLst>
        </pc:spChg>
        <pc:spChg chg="add del mod modVis">
          <ac:chgData name="Steiner Andreas 6206 ED" userId="e6377c33-a923-4f14-8587-531c474c7b48" providerId="ADAL" clId="{6ECD27E6-B224-41CD-B4E0-E297462320DD}" dt="2023-11-24T08:54:39.503" v="103113"/>
          <ac:spMkLst>
            <pc:docMk/>
            <pc:sldMk cId="299398864" sldId="256"/>
            <ac:spMk id="670" creationId="{E9EDA899-0E16-E0B5-18BC-0B327E72E54D}"/>
          </ac:spMkLst>
        </pc:spChg>
        <pc:spChg chg="add del mod modVis">
          <ac:chgData name="Steiner Andreas 6206 ED" userId="e6377c33-a923-4f14-8587-531c474c7b48" providerId="ADAL" clId="{6ECD27E6-B224-41CD-B4E0-E297462320DD}" dt="2023-11-24T08:54:41.537" v="103268"/>
          <ac:spMkLst>
            <pc:docMk/>
            <pc:sldMk cId="299398864" sldId="256"/>
            <ac:spMk id="671" creationId="{13CE7A5E-5CB3-4796-8FE3-FD42A1199F82}"/>
          </ac:spMkLst>
        </pc:spChg>
        <pc:spChg chg="add del mod modVis">
          <ac:chgData name="Steiner Andreas 6206 ED" userId="e6377c33-a923-4f14-8587-531c474c7b48" providerId="ADAL" clId="{6ECD27E6-B224-41CD-B4E0-E297462320DD}" dt="2023-11-24T08:54:43.635" v="103423"/>
          <ac:spMkLst>
            <pc:docMk/>
            <pc:sldMk cId="299398864" sldId="256"/>
            <ac:spMk id="672" creationId="{E32D84FD-31CF-BBCB-84A0-9F015B14C211}"/>
          </ac:spMkLst>
        </pc:spChg>
        <pc:spChg chg="add del mod modVis">
          <ac:chgData name="Steiner Andreas 6206 ED" userId="e6377c33-a923-4f14-8587-531c474c7b48" providerId="ADAL" clId="{6ECD27E6-B224-41CD-B4E0-E297462320DD}" dt="2023-11-24T08:54:45.739" v="103578"/>
          <ac:spMkLst>
            <pc:docMk/>
            <pc:sldMk cId="299398864" sldId="256"/>
            <ac:spMk id="673" creationId="{C2930EF8-40BD-4ADE-328B-CBEA89E06E6B}"/>
          </ac:spMkLst>
        </pc:spChg>
        <pc:spChg chg="add del mod modVis">
          <ac:chgData name="Steiner Andreas 6206 ED" userId="e6377c33-a923-4f14-8587-531c474c7b48" providerId="ADAL" clId="{6ECD27E6-B224-41CD-B4E0-E297462320DD}" dt="2023-11-24T08:54:48.009" v="103733"/>
          <ac:spMkLst>
            <pc:docMk/>
            <pc:sldMk cId="299398864" sldId="256"/>
            <ac:spMk id="674" creationId="{8975C8DC-BA7E-909D-4253-93538A6298B0}"/>
          </ac:spMkLst>
        </pc:spChg>
        <pc:spChg chg="add del mod modVis">
          <ac:chgData name="Steiner Andreas 6206 ED" userId="e6377c33-a923-4f14-8587-531c474c7b48" providerId="ADAL" clId="{6ECD27E6-B224-41CD-B4E0-E297462320DD}" dt="2023-11-24T08:54:50.082" v="103888"/>
          <ac:spMkLst>
            <pc:docMk/>
            <pc:sldMk cId="299398864" sldId="256"/>
            <ac:spMk id="675" creationId="{F581AAA6-C7FF-5E6A-E192-61A669C97CFD}"/>
          </ac:spMkLst>
        </pc:spChg>
        <pc:spChg chg="add del mod modVis">
          <ac:chgData name="Steiner Andreas 6206 ED" userId="e6377c33-a923-4f14-8587-531c474c7b48" providerId="ADAL" clId="{6ECD27E6-B224-41CD-B4E0-E297462320DD}" dt="2023-11-24T08:54:52.518" v="104043"/>
          <ac:spMkLst>
            <pc:docMk/>
            <pc:sldMk cId="299398864" sldId="256"/>
            <ac:spMk id="676" creationId="{8A40AED7-F8E8-8406-9D9F-EB1E402AF054}"/>
          </ac:spMkLst>
        </pc:spChg>
        <pc:spChg chg="add del mod modVis">
          <ac:chgData name="Steiner Andreas 6206 ED" userId="e6377c33-a923-4f14-8587-531c474c7b48" providerId="ADAL" clId="{6ECD27E6-B224-41CD-B4E0-E297462320DD}" dt="2023-11-24T08:54:54.556" v="104198"/>
          <ac:spMkLst>
            <pc:docMk/>
            <pc:sldMk cId="299398864" sldId="256"/>
            <ac:spMk id="677" creationId="{241AA739-A021-C506-D5A9-3619CDF30995}"/>
          </ac:spMkLst>
        </pc:spChg>
        <pc:spChg chg="add del mod modVis">
          <ac:chgData name="Steiner Andreas 6206 ED" userId="e6377c33-a923-4f14-8587-531c474c7b48" providerId="ADAL" clId="{6ECD27E6-B224-41CD-B4E0-E297462320DD}" dt="2023-11-24T08:54:56.668" v="104353"/>
          <ac:spMkLst>
            <pc:docMk/>
            <pc:sldMk cId="299398864" sldId="256"/>
            <ac:spMk id="678" creationId="{79146465-73F6-C781-2CA3-A026CC62D14D}"/>
          </ac:spMkLst>
        </pc:spChg>
        <pc:spChg chg="add del mod modVis">
          <ac:chgData name="Steiner Andreas 6206 ED" userId="e6377c33-a923-4f14-8587-531c474c7b48" providerId="ADAL" clId="{6ECD27E6-B224-41CD-B4E0-E297462320DD}" dt="2023-11-24T08:54:58.741" v="104508"/>
          <ac:spMkLst>
            <pc:docMk/>
            <pc:sldMk cId="299398864" sldId="256"/>
            <ac:spMk id="679" creationId="{F8669A60-C660-BE7B-AEC5-0C0034C0C7FF}"/>
          </ac:spMkLst>
        </pc:spChg>
        <pc:spChg chg="add del mod modVis">
          <ac:chgData name="Steiner Andreas 6206 ED" userId="e6377c33-a923-4f14-8587-531c474c7b48" providerId="ADAL" clId="{6ECD27E6-B224-41CD-B4E0-E297462320DD}" dt="2023-11-24T08:55:00.672" v="104663"/>
          <ac:spMkLst>
            <pc:docMk/>
            <pc:sldMk cId="299398864" sldId="256"/>
            <ac:spMk id="680" creationId="{C691358A-95BF-DBBD-5DC3-A0A82C84A06D}"/>
          </ac:spMkLst>
        </pc:spChg>
        <pc:spChg chg="add del mod modVis">
          <ac:chgData name="Steiner Andreas 6206 ED" userId="e6377c33-a923-4f14-8587-531c474c7b48" providerId="ADAL" clId="{6ECD27E6-B224-41CD-B4E0-E297462320DD}" dt="2023-11-24T08:55:02.662" v="104818"/>
          <ac:spMkLst>
            <pc:docMk/>
            <pc:sldMk cId="299398864" sldId="256"/>
            <ac:spMk id="681" creationId="{8CCDF616-857A-7A70-9352-F79126E30C02}"/>
          </ac:spMkLst>
        </pc:spChg>
        <pc:spChg chg="add del mod modVis">
          <ac:chgData name="Steiner Andreas 6206 ED" userId="e6377c33-a923-4f14-8587-531c474c7b48" providerId="ADAL" clId="{6ECD27E6-B224-41CD-B4E0-E297462320DD}" dt="2023-11-24T08:55:04.661" v="104973"/>
          <ac:spMkLst>
            <pc:docMk/>
            <pc:sldMk cId="299398864" sldId="256"/>
            <ac:spMk id="682" creationId="{D2A33732-D52A-0149-9BE7-84DF697C4149}"/>
          </ac:spMkLst>
        </pc:spChg>
        <pc:spChg chg="add del mod modVis">
          <ac:chgData name="Steiner Andreas 6206 ED" userId="e6377c33-a923-4f14-8587-531c474c7b48" providerId="ADAL" clId="{6ECD27E6-B224-41CD-B4E0-E297462320DD}" dt="2023-11-24T08:55:06.812" v="105128"/>
          <ac:spMkLst>
            <pc:docMk/>
            <pc:sldMk cId="299398864" sldId="256"/>
            <ac:spMk id="683" creationId="{21EB2539-5E4D-8552-806F-24CE72BA074C}"/>
          </ac:spMkLst>
        </pc:spChg>
        <pc:spChg chg="add del mod modVis">
          <ac:chgData name="Steiner Andreas 6206 ED" userId="e6377c33-a923-4f14-8587-531c474c7b48" providerId="ADAL" clId="{6ECD27E6-B224-41CD-B4E0-E297462320DD}" dt="2023-11-24T08:55:08.857" v="105283"/>
          <ac:spMkLst>
            <pc:docMk/>
            <pc:sldMk cId="299398864" sldId="256"/>
            <ac:spMk id="684" creationId="{A6784AE0-2B9F-6C78-D818-05ABC8F030CA}"/>
          </ac:spMkLst>
        </pc:spChg>
        <pc:spChg chg="add del mod modVis">
          <ac:chgData name="Steiner Andreas 6206 ED" userId="e6377c33-a923-4f14-8587-531c474c7b48" providerId="ADAL" clId="{6ECD27E6-B224-41CD-B4E0-E297462320DD}" dt="2023-11-24T08:55:10.840" v="105438"/>
          <ac:spMkLst>
            <pc:docMk/>
            <pc:sldMk cId="299398864" sldId="256"/>
            <ac:spMk id="685" creationId="{3CA697CC-DB7E-617C-C5C2-932AC6DDAD7E}"/>
          </ac:spMkLst>
        </pc:spChg>
        <pc:spChg chg="add del mod modVis">
          <ac:chgData name="Steiner Andreas 6206 ED" userId="e6377c33-a923-4f14-8587-531c474c7b48" providerId="ADAL" clId="{6ECD27E6-B224-41CD-B4E0-E297462320DD}" dt="2023-11-24T08:55:12.825" v="105593"/>
          <ac:spMkLst>
            <pc:docMk/>
            <pc:sldMk cId="299398864" sldId="256"/>
            <ac:spMk id="686" creationId="{E87EB76C-B5C0-309A-53A9-E0DA2566AB1E}"/>
          </ac:spMkLst>
        </pc:spChg>
        <pc:spChg chg="add del mod modVis">
          <ac:chgData name="Steiner Andreas 6206 ED" userId="e6377c33-a923-4f14-8587-531c474c7b48" providerId="ADAL" clId="{6ECD27E6-B224-41CD-B4E0-E297462320DD}" dt="2023-11-24T08:55:14.919" v="105748"/>
          <ac:spMkLst>
            <pc:docMk/>
            <pc:sldMk cId="299398864" sldId="256"/>
            <ac:spMk id="687" creationId="{AA0FBB6C-BF4F-EF50-0F79-F7CBFD238862}"/>
          </ac:spMkLst>
        </pc:spChg>
        <pc:spChg chg="add del mod modVis">
          <ac:chgData name="Steiner Andreas 6206 ED" userId="e6377c33-a923-4f14-8587-531c474c7b48" providerId="ADAL" clId="{6ECD27E6-B224-41CD-B4E0-E297462320DD}" dt="2023-11-24T08:55:16.972" v="105903"/>
          <ac:spMkLst>
            <pc:docMk/>
            <pc:sldMk cId="299398864" sldId="256"/>
            <ac:spMk id="688" creationId="{B44E4C17-2FBF-448F-1970-8A9703CBDF06}"/>
          </ac:spMkLst>
        </pc:spChg>
        <pc:spChg chg="add del mod modVis">
          <ac:chgData name="Steiner Andreas 6206 ED" userId="e6377c33-a923-4f14-8587-531c474c7b48" providerId="ADAL" clId="{6ECD27E6-B224-41CD-B4E0-E297462320DD}" dt="2023-11-24T08:55:19.013" v="106058"/>
          <ac:spMkLst>
            <pc:docMk/>
            <pc:sldMk cId="299398864" sldId="256"/>
            <ac:spMk id="689" creationId="{A09892A9-5DE8-D73A-FEF7-1F549E3D9CF5}"/>
          </ac:spMkLst>
        </pc:spChg>
        <pc:spChg chg="add del mod modVis">
          <ac:chgData name="Steiner Andreas 6206 ED" userId="e6377c33-a923-4f14-8587-531c474c7b48" providerId="ADAL" clId="{6ECD27E6-B224-41CD-B4E0-E297462320DD}" dt="2023-11-24T08:55:20.995" v="106213"/>
          <ac:spMkLst>
            <pc:docMk/>
            <pc:sldMk cId="299398864" sldId="256"/>
            <ac:spMk id="690" creationId="{2C066EB4-E4B4-4A53-5986-BBDA7597328E}"/>
          </ac:spMkLst>
        </pc:spChg>
        <pc:spChg chg="add del mod modVis">
          <ac:chgData name="Steiner Andreas 6206 ED" userId="e6377c33-a923-4f14-8587-531c474c7b48" providerId="ADAL" clId="{6ECD27E6-B224-41CD-B4E0-E297462320DD}" dt="2023-11-24T08:55:22.970" v="106368"/>
          <ac:spMkLst>
            <pc:docMk/>
            <pc:sldMk cId="299398864" sldId="256"/>
            <ac:spMk id="691" creationId="{3B68AEC0-AB84-36F6-051C-0DA3B92A526E}"/>
          </ac:spMkLst>
        </pc:spChg>
        <pc:spChg chg="add del mod modVis">
          <ac:chgData name="Steiner Andreas 6206 ED" userId="e6377c33-a923-4f14-8587-531c474c7b48" providerId="ADAL" clId="{6ECD27E6-B224-41CD-B4E0-E297462320DD}" dt="2023-11-24T08:55:24.957" v="106523"/>
          <ac:spMkLst>
            <pc:docMk/>
            <pc:sldMk cId="299398864" sldId="256"/>
            <ac:spMk id="692" creationId="{EDFF3954-2E61-08A7-F34B-7723D00A0123}"/>
          </ac:spMkLst>
        </pc:spChg>
        <pc:spChg chg="add del mod modVis">
          <ac:chgData name="Steiner Andreas 6206 ED" userId="e6377c33-a923-4f14-8587-531c474c7b48" providerId="ADAL" clId="{6ECD27E6-B224-41CD-B4E0-E297462320DD}" dt="2023-11-24T08:55:26.958" v="106678"/>
          <ac:spMkLst>
            <pc:docMk/>
            <pc:sldMk cId="299398864" sldId="256"/>
            <ac:spMk id="693" creationId="{472DBCA4-1DD2-CF72-7C5F-95C1FC497652}"/>
          </ac:spMkLst>
        </pc:spChg>
        <pc:spChg chg="add del mod modVis">
          <ac:chgData name="Steiner Andreas 6206 ED" userId="e6377c33-a923-4f14-8587-531c474c7b48" providerId="ADAL" clId="{6ECD27E6-B224-41CD-B4E0-E297462320DD}" dt="2023-11-24T08:55:29.066" v="106833"/>
          <ac:spMkLst>
            <pc:docMk/>
            <pc:sldMk cId="299398864" sldId="256"/>
            <ac:spMk id="694" creationId="{FC911C98-0EF8-26B8-2CCE-79E4E19420AA}"/>
          </ac:spMkLst>
        </pc:spChg>
        <pc:spChg chg="add del mod modVis">
          <ac:chgData name="Steiner Andreas 6206 ED" userId="e6377c33-a923-4f14-8587-531c474c7b48" providerId="ADAL" clId="{6ECD27E6-B224-41CD-B4E0-E297462320DD}" dt="2023-11-24T08:55:31.246" v="106988"/>
          <ac:spMkLst>
            <pc:docMk/>
            <pc:sldMk cId="299398864" sldId="256"/>
            <ac:spMk id="695" creationId="{A13A5D2B-1023-C403-B865-784EB281A9F5}"/>
          </ac:spMkLst>
        </pc:spChg>
        <pc:spChg chg="add del mod modVis">
          <ac:chgData name="Steiner Andreas 6206 ED" userId="e6377c33-a923-4f14-8587-531c474c7b48" providerId="ADAL" clId="{6ECD27E6-B224-41CD-B4E0-E297462320DD}" dt="2023-11-24T08:55:33.248" v="107143"/>
          <ac:spMkLst>
            <pc:docMk/>
            <pc:sldMk cId="299398864" sldId="256"/>
            <ac:spMk id="696" creationId="{34C406C3-F030-E1BB-6ABE-D6DDD8B5161E}"/>
          </ac:spMkLst>
        </pc:spChg>
        <pc:spChg chg="add del mod modVis">
          <ac:chgData name="Steiner Andreas 6206 ED" userId="e6377c33-a923-4f14-8587-531c474c7b48" providerId="ADAL" clId="{6ECD27E6-B224-41CD-B4E0-E297462320DD}" dt="2023-11-24T08:55:35.152" v="107298"/>
          <ac:spMkLst>
            <pc:docMk/>
            <pc:sldMk cId="299398864" sldId="256"/>
            <ac:spMk id="697" creationId="{87E29F33-62FE-D9B1-4F5A-398D1E9EDDE3}"/>
          </ac:spMkLst>
        </pc:spChg>
        <pc:spChg chg="add del mod modVis">
          <ac:chgData name="Steiner Andreas 6206 ED" userId="e6377c33-a923-4f14-8587-531c474c7b48" providerId="ADAL" clId="{6ECD27E6-B224-41CD-B4E0-E297462320DD}" dt="2023-11-24T08:55:37.083" v="107453"/>
          <ac:spMkLst>
            <pc:docMk/>
            <pc:sldMk cId="299398864" sldId="256"/>
            <ac:spMk id="698" creationId="{18382249-8781-E6A9-AAFD-0ABB2783A005}"/>
          </ac:spMkLst>
        </pc:spChg>
        <pc:spChg chg="add del mod modVis">
          <ac:chgData name="Steiner Andreas 6206 ED" userId="e6377c33-a923-4f14-8587-531c474c7b48" providerId="ADAL" clId="{6ECD27E6-B224-41CD-B4E0-E297462320DD}" dt="2023-11-24T08:55:39.177" v="107608"/>
          <ac:spMkLst>
            <pc:docMk/>
            <pc:sldMk cId="299398864" sldId="256"/>
            <ac:spMk id="699" creationId="{3623A7A9-B231-D5E5-BA8D-75EFBC45414C}"/>
          </ac:spMkLst>
        </pc:spChg>
        <pc:spChg chg="add del mod modVis">
          <ac:chgData name="Steiner Andreas 6206 ED" userId="e6377c33-a923-4f14-8587-531c474c7b48" providerId="ADAL" clId="{6ECD27E6-B224-41CD-B4E0-E297462320DD}" dt="2023-11-24T08:55:41.167" v="107763"/>
          <ac:spMkLst>
            <pc:docMk/>
            <pc:sldMk cId="299398864" sldId="256"/>
            <ac:spMk id="700" creationId="{84E31305-0908-8D99-E639-6D2403342D89}"/>
          </ac:spMkLst>
        </pc:spChg>
        <pc:spChg chg="add del mod modVis">
          <ac:chgData name="Steiner Andreas 6206 ED" userId="e6377c33-a923-4f14-8587-531c474c7b48" providerId="ADAL" clId="{6ECD27E6-B224-41CD-B4E0-E297462320DD}" dt="2023-11-24T08:55:43.054" v="107918"/>
          <ac:spMkLst>
            <pc:docMk/>
            <pc:sldMk cId="299398864" sldId="256"/>
            <ac:spMk id="701" creationId="{EB2CA2C9-7364-9AF2-5820-B23DF910A260}"/>
          </ac:spMkLst>
        </pc:spChg>
        <pc:spChg chg="add del mod modVis">
          <ac:chgData name="Steiner Andreas 6206 ED" userId="e6377c33-a923-4f14-8587-531c474c7b48" providerId="ADAL" clId="{6ECD27E6-B224-41CD-B4E0-E297462320DD}" dt="2023-11-24T08:55:45.049" v="108073"/>
          <ac:spMkLst>
            <pc:docMk/>
            <pc:sldMk cId="299398864" sldId="256"/>
            <ac:spMk id="702" creationId="{7CE2BDA2-12B8-D6FC-1F9A-A22F63A32DDE}"/>
          </ac:spMkLst>
        </pc:spChg>
        <pc:spChg chg="add del mod modVis">
          <ac:chgData name="Steiner Andreas 6206 ED" userId="e6377c33-a923-4f14-8587-531c474c7b48" providerId="ADAL" clId="{6ECD27E6-B224-41CD-B4E0-E297462320DD}" dt="2023-11-24T08:55:47.444" v="108228"/>
          <ac:spMkLst>
            <pc:docMk/>
            <pc:sldMk cId="299398864" sldId="256"/>
            <ac:spMk id="703" creationId="{D37C39B8-93C2-713C-EDD7-BA1DFD45A9DE}"/>
          </ac:spMkLst>
        </pc:spChg>
        <pc:spChg chg="add del mod modVis">
          <ac:chgData name="Steiner Andreas 6206 ED" userId="e6377c33-a923-4f14-8587-531c474c7b48" providerId="ADAL" clId="{6ECD27E6-B224-41CD-B4E0-E297462320DD}" dt="2023-11-24T08:55:49.683" v="108383"/>
          <ac:spMkLst>
            <pc:docMk/>
            <pc:sldMk cId="299398864" sldId="256"/>
            <ac:spMk id="704" creationId="{96EABA0C-13BB-7A89-0C84-0650D8B55E62}"/>
          </ac:spMkLst>
        </pc:spChg>
        <pc:spChg chg="add del mod modVis">
          <ac:chgData name="Steiner Andreas 6206 ED" userId="e6377c33-a923-4f14-8587-531c474c7b48" providerId="ADAL" clId="{6ECD27E6-B224-41CD-B4E0-E297462320DD}" dt="2023-11-24T08:55:51.948" v="108538"/>
          <ac:spMkLst>
            <pc:docMk/>
            <pc:sldMk cId="299398864" sldId="256"/>
            <ac:spMk id="705" creationId="{0162FB0D-672C-6B18-42D8-C7266EE2239F}"/>
          </ac:spMkLst>
        </pc:spChg>
        <pc:spChg chg="add del mod modVis">
          <ac:chgData name="Steiner Andreas 6206 ED" userId="e6377c33-a923-4f14-8587-531c474c7b48" providerId="ADAL" clId="{6ECD27E6-B224-41CD-B4E0-E297462320DD}" dt="2023-11-24T08:55:54.164" v="108693"/>
          <ac:spMkLst>
            <pc:docMk/>
            <pc:sldMk cId="299398864" sldId="256"/>
            <ac:spMk id="706" creationId="{1DD6088A-457B-652B-E710-5417A2B54630}"/>
          </ac:spMkLst>
        </pc:spChg>
        <pc:spChg chg="add del mod modVis">
          <ac:chgData name="Steiner Andreas 6206 ED" userId="e6377c33-a923-4f14-8587-531c474c7b48" providerId="ADAL" clId="{6ECD27E6-B224-41CD-B4E0-E297462320DD}" dt="2023-11-24T08:55:56.147" v="108848"/>
          <ac:spMkLst>
            <pc:docMk/>
            <pc:sldMk cId="299398864" sldId="256"/>
            <ac:spMk id="707" creationId="{31511888-52D5-762C-7EB0-2D426549E26F}"/>
          </ac:spMkLst>
        </pc:spChg>
        <pc:spChg chg="add del mod modVis">
          <ac:chgData name="Steiner Andreas 6206 ED" userId="e6377c33-a923-4f14-8587-531c474c7b48" providerId="ADAL" clId="{6ECD27E6-B224-41CD-B4E0-E297462320DD}" dt="2023-11-24T08:55:58.183" v="109003"/>
          <ac:spMkLst>
            <pc:docMk/>
            <pc:sldMk cId="299398864" sldId="256"/>
            <ac:spMk id="708" creationId="{ECEB4C8D-CF68-316A-CF81-B7FCA628965C}"/>
          </ac:spMkLst>
        </pc:spChg>
        <pc:spChg chg="add del mod modVis">
          <ac:chgData name="Steiner Andreas 6206 ED" userId="e6377c33-a923-4f14-8587-531c474c7b48" providerId="ADAL" clId="{6ECD27E6-B224-41CD-B4E0-E297462320DD}" dt="2023-11-24T08:56:00.301" v="109158"/>
          <ac:spMkLst>
            <pc:docMk/>
            <pc:sldMk cId="299398864" sldId="256"/>
            <ac:spMk id="709" creationId="{D22B47F0-1632-AF40-86C9-FB4FCE0FC708}"/>
          </ac:spMkLst>
        </pc:spChg>
        <pc:spChg chg="add del mod modVis">
          <ac:chgData name="Steiner Andreas 6206 ED" userId="e6377c33-a923-4f14-8587-531c474c7b48" providerId="ADAL" clId="{6ECD27E6-B224-41CD-B4E0-E297462320DD}" dt="2023-11-24T08:56:02.710" v="109313"/>
          <ac:spMkLst>
            <pc:docMk/>
            <pc:sldMk cId="299398864" sldId="256"/>
            <ac:spMk id="710" creationId="{9E7F83B2-B222-381F-B97E-2EE271A883F1}"/>
          </ac:spMkLst>
        </pc:spChg>
        <pc:spChg chg="add del mod modVis">
          <ac:chgData name="Steiner Andreas 6206 ED" userId="e6377c33-a923-4f14-8587-531c474c7b48" providerId="ADAL" clId="{6ECD27E6-B224-41CD-B4E0-E297462320DD}" dt="2023-11-24T08:56:04.912" v="109468"/>
          <ac:spMkLst>
            <pc:docMk/>
            <pc:sldMk cId="299398864" sldId="256"/>
            <ac:spMk id="711" creationId="{BC51AB21-4AFC-924B-4A79-7260ACCB13A9}"/>
          </ac:spMkLst>
        </pc:spChg>
        <pc:spChg chg="add del mod modVis">
          <ac:chgData name="Steiner Andreas 6206 ED" userId="e6377c33-a923-4f14-8587-531c474c7b48" providerId="ADAL" clId="{6ECD27E6-B224-41CD-B4E0-E297462320DD}" dt="2023-11-24T08:56:07.325" v="109623"/>
          <ac:spMkLst>
            <pc:docMk/>
            <pc:sldMk cId="299398864" sldId="256"/>
            <ac:spMk id="712" creationId="{B638F582-F8FD-B490-3A2C-FCEA5BF6F795}"/>
          </ac:spMkLst>
        </pc:spChg>
        <pc:spChg chg="add del mod modVis">
          <ac:chgData name="Steiner Andreas 6206 ED" userId="e6377c33-a923-4f14-8587-531c474c7b48" providerId="ADAL" clId="{6ECD27E6-B224-41CD-B4E0-E297462320DD}" dt="2023-11-24T08:56:09.457" v="109778"/>
          <ac:spMkLst>
            <pc:docMk/>
            <pc:sldMk cId="299398864" sldId="256"/>
            <ac:spMk id="713" creationId="{95F7B5E2-AD33-3FEF-043C-EC164983CD6F}"/>
          </ac:spMkLst>
        </pc:spChg>
        <pc:spChg chg="add del mod modVis">
          <ac:chgData name="Steiner Andreas 6206 ED" userId="e6377c33-a923-4f14-8587-531c474c7b48" providerId="ADAL" clId="{6ECD27E6-B224-41CD-B4E0-E297462320DD}" dt="2023-11-24T08:56:11.490" v="109933"/>
          <ac:spMkLst>
            <pc:docMk/>
            <pc:sldMk cId="299398864" sldId="256"/>
            <ac:spMk id="714" creationId="{1875D112-5B5C-53AF-E40A-A09FD0EA3C3D}"/>
          </ac:spMkLst>
        </pc:spChg>
        <pc:spChg chg="add del mod modVis">
          <ac:chgData name="Steiner Andreas 6206 ED" userId="e6377c33-a923-4f14-8587-531c474c7b48" providerId="ADAL" clId="{6ECD27E6-B224-41CD-B4E0-E297462320DD}" dt="2023-11-24T08:56:13.737" v="110088"/>
          <ac:spMkLst>
            <pc:docMk/>
            <pc:sldMk cId="299398864" sldId="256"/>
            <ac:spMk id="715" creationId="{88308A2E-31B4-D1CA-EA87-E362432EF97D}"/>
          </ac:spMkLst>
        </pc:spChg>
        <pc:spChg chg="add del mod modVis">
          <ac:chgData name="Steiner Andreas 6206 ED" userId="e6377c33-a923-4f14-8587-531c474c7b48" providerId="ADAL" clId="{6ECD27E6-B224-41CD-B4E0-E297462320DD}" dt="2023-11-24T08:56:15.757" v="110243"/>
          <ac:spMkLst>
            <pc:docMk/>
            <pc:sldMk cId="299398864" sldId="256"/>
            <ac:spMk id="716" creationId="{C7CF639C-7995-B8F4-875F-6206CC830FB7}"/>
          </ac:spMkLst>
        </pc:spChg>
        <pc:spChg chg="add del mod modVis">
          <ac:chgData name="Steiner Andreas 6206 ED" userId="e6377c33-a923-4f14-8587-531c474c7b48" providerId="ADAL" clId="{6ECD27E6-B224-41CD-B4E0-E297462320DD}" dt="2023-11-24T08:56:17.723" v="110398"/>
          <ac:spMkLst>
            <pc:docMk/>
            <pc:sldMk cId="299398864" sldId="256"/>
            <ac:spMk id="717" creationId="{D696857C-AD6F-2A52-B297-8BF9B274F7F5}"/>
          </ac:spMkLst>
        </pc:spChg>
        <pc:spChg chg="add del mod modVis">
          <ac:chgData name="Steiner Andreas 6206 ED" userId="e6377c33-a923-4f14-8587-531c474c7b48" providerId="ADAL" clId="{6ECD27E6-B224-41CD-B4E0-E297462320DD}" dt="2023-11-24T08:56:19.724" v="110553"/>
          <ac:spMkLst>
            <pc:docMk/>
            <pc:sldMk cId="299398864" sldId="256"/>
            <ac:spMk id="718" creationId="{60DF9177-D4DD-C867-4889-D846F268E29C}"/>
          </ac:spMkLst>
        </pc:spChg>
        <pc:spChg chg="add del mod modVis">
          <ac:chgData name="Steiner Andreas 6206 ED" userId="e6377c33-a923-4f14-8587-531c474c7b48" providerId="ADAL" clId="{6ECD27E6-B224-41CD-B4E0-E297462320DD}" dt="2023-11-24T08:56:21.628" v="110708"/>
          <ac:spMkLst>
            <pc:docMk/>
            <pc:sldMk cId="299398864" sldId="256"/>
            <ac:spMk id="719" creationId="{15D46B14-DC13-230D-D7B2-A2E626E24A98}"/>
          </ac:spMkLst>
        </pc:spChg>
        <pc:spChg chg="add del mod modVis">
          <ac:chgData name="Steiner Andreas 6206 ED" userId="e6377c33-a923-4f14-8587-531c474c7b48" providerId="ADAL" clId="{6ECD27E6-B224-41CD-B4E0-E297462320DD}" dt="2023-11-24T08:56:23.817" v="110863"/>
          <ac:spMkLst>
            <pc:docMk/>
            <pc:sldMk cId="299398864" sldId="256"/>
            <ac:spMk id="720" creationId="{6D2C08A5-A267-AAAA-079A-7F5126BB9EB6}"/>
          </ac:spMkLst>
        </pc:spChg>
        <pc:spChg chg="add del mod modVis">
          <ac:chgData name="Steiner Andreas 6206 ED" userId="e6377c33-a923-4f14-8587-531c474c7b48" providerId="ADAL" clId="{6ECD27E6-B224-41CD-B4E0-E297462320DD}" dt="2023-11-24T08:56:25.999" v="111018"/>
          <ac:spMkLst>
            <pc:docMk/>
            <pc:sldMk cId="299398864" sldId="256"/>
            <ac:spMk id="721" creationId="{698FC35F-0F07-799D-2876-561EA4945B4A}"/>
          </ac:spMkLst>
        </pc:spChg>
        <pc:spChg chg="add del mod modVis">
          <ac:chgData name="Steiner Andreas 6206 ED" userId="e6377c33-a923-4f14-8587-531c474c7b48" providerId="ADAL" clId="{6ECD27E6-B224-41CD-B4E0-E297462320DD}" dt="2023-11-24T08:56:28.063" v="111173"/>
          <ac:spMkLst>
            <pc:docMk/>
            <pc:sldMk cId="299398864" sldId="256"/>
            <ac:spMk id="722" creationId="{9EB7F0D0-E0B0-7C37-2A34-D7BFBD6FF3BD}"/>
          </ac:spMkLst>
        </pc:spChg>
        <pc:spChg chg="add del mod modVis">
          <ac:chgData name="Steiner Andreas 6206 ED" userId="e6377c33-a923-4f14-8587-531c474c7b48" providerId="ADAL" clId="{6ECD27E6-B224-41CD-B4E0-E297462320DD}" dt="2023-11-24T08:56:30.135" v="111328"/>
          <ac:spMkLst>
            <pc:docMk/>
            <pc:sldMk cId="299398864" sldId="256"/>
            <ac:spMk id="723" creationId="{B8E8A4BD-5A66-00A3-5B57-B28A0F8085A9}"/>
          </ac:spMkLst>
        </pc:spChg>
        <pc:spChg chg="add del mod modVis">
          <ac:chgData name="Steiner Andreas 6206 ED" userId="e6377c33-a923-4f14-8587-531c474c7b48" providerId="ADAL" clId="{6ECD27E6-B224-41CD-B4E0-E297462320DD}" dt="2023-11-24T08:56:32.182" v="111483"/>
          <ac:spMkLst>
            <pc:docMk/>
            <pc:sldMk cId="299398864" sldId="256"/>
            <ac:spMk id="724" creationId="{8CA05B0C-59A7-96C9-652C-A7FC7438EC02}"/>
          </ac:spMkLst>
        </pc:spChg>
        <pc:spChg chg="add del mod modVis">
          <ac:chgData name="Steiner Andreas 6206 ED" userId="e6377c33-a923-4f14-8587-531c474c7b48" providerId="ADAL" clId="{6ECD27E6-B224-41CD-B4E0-E297462320DD}" dt="2023-11-24T08:56:34.420" v="111638"/>
          <ac:spMkLst>
            <pc:docMk/>
            <pc:sldMk cId="299398864" sldId="256"/>
            <ac:spMk id="725" creationId="{03018686-0A5A-4328-1607-E1E0EC2EDAFB}"/>
          </ac:spMkLst>
        </pc:spChg>
        <pc:spChg chg="add del mod modVis">
          <ac:chgData name="Steiner Andreas 6206 ED" userId="e6377c33-a923-4f14-8587-531c474c7b48" providerId="ADAL" clId="{6ECD27E6-B224-41CD-B4E0-E297462320DD}" dt="2023-11-24T08:56:36.686" v="111793"/>
          <ac:spMkLst>
            <pc:docMk/>
            <pc:sldMk cId="299398864" sldId="256"/>
            <ac:spMk id="726" creationId="{5797B95C-3BB4-149C-8406-726E753F9904}"/>
          </ac:spMkLst>
        </pc:spChg>
        <pc:spChg chg="add del mod modVis">
          <ac:chgData name="Steiner Andreas 6206 ED" userId="e6377c33-a923-4f14-8587-531c474c7b48" providerId="ADAL" clId="{6ECD27E6-B224-41CD-B4E0-E297462320DD}" dt="2023-11-24T08:56:38.691" v="111948"/>
          <ac:spMkLst>
            <pc:docMk/>
            <pc:sldMk cId="299398864" sldId="256"/>
            <ac:spMk id="727" creationId="{6AE96C4B-2E58-2F9A-6753-ED41D21FD264}"/>
          </ac:spMkLst>
        </pc:spChg>
        <pc:spChg chg="add del mod modVis">
          <ac:chgData name="Steiner Andreas 6206 ED" userId="e6377c33-a923-4f14-8587-531c474c7b48" providerId="ADAL" clId="{6ECD27E6-B224-41CD-B4E0-E297462320DD}" dt="2023-11-24T08:56:40.756" v="112103"/>
          <ac:spMkLst>
            <pc:docMk/>
            <pc:sldMk cId="299398864" sldId="256"/>
            <ac:spMk id="728" creationId="{BA4C85AE-7685-450F-3A09-843108D766D6}"/>
          </ac:spMkLst>
        </pc:spChg>
        <pc:spChg chg="add del mod modVis">
          <ac:chgData name="Steiner Andreas 6206 ED" userId="e6377c33-a923-4f14-8587-531c474c7b48" providerId="ADAL" clId="{6ECD27E6-B224-41CD-B4E0-E297462320DD}" dt="2023-11-24T08:56:42.725" v="112258"/>
          <ac:spMkLst>
            <pc:docMk/>
            <pc:sldMk cId="299398864" sldId="256"/>
            <ac:spMk id="729" creationId="{AA1494FE-905C-2AE3-8E38-ADD580FD4165}"/>
          </ac:spMkLst>
        </pc:spChg>
        <pc:spChg chg="add del mod modVis">
          <ac:chgData name="Steiner Andreas 6206 ED" userId="e6377c33-a923-4f14-8587-531c474c7b48" providerId="ADAL" clId="{6ECD27E6-B224-41CD-B4E0-E297462320DD}" dt="2023-11-24T08:56:44.757" v="112413"/>
          <ac:spMkLst>
            <pc:docMk/>
            <pc:sldMk cId="299398864" sldId="256"/>
            <ac:spMk id="730" creationId="{6264FF40-2D3D-2EC3-D642-19F272E45CD9}"/>
          </ac:spMkLst>
        </pc:spChg>
        <pc:spChg chg="add del mod modVis">
          <ac:chgData name="Steiner Andreas 6206 ED" userId="e6377c33-a923-4f14-8587-531c474c7b48" providerId="ADAL" clId="{6ECD27E6-B224-41CD-B4E0-E297462320DD}" dt="2023-11-24T08:56:46.817" v="112568"/>
          <ac:spMkLst>
            <pc:docMk/>
            <pc:sldMk cId="299398864" sldId="256"/>
            <ac:spMk id="731" creationId="{49221A2D-F855-B324-9E1D-DB1C05195B48}"/>
          </ac:spMkLst>
        </pc:spChg>
        <pc:spChg chg="add del mod modVis">
          <ac:chgData name="Steiner Andreas 6206 ED" userId="e6377c33-a923-4f14-8587-531c474c7b48" providerId="ADAL" clId="{6ECD27E6-B224-41CD-B4E0-E297462320DD}" dt="2023-11-24T08:56:48.980" v="112723"/>
          <ac:spMkLst>
            <pc:docMk/>
            <pc:sldMk cId="299398864" sldId="256"/>
            <ac:spMk id="732" creationId="{96FFE3D7-CDA1-3A36-7CED-2B5C119A6FE1}"/>
          </ac:spMkLst>
        </pc:spChg>
        <pc:spChg chg="add del mod modVis">
          <ac:chgData name="Steiner Andreas 6206 ED" userId="e6377c33-a923-4f14-8587-531c474c7b48" providerId="ADAL" clId="{6ECD27E6-B224-41CD-B4E0-E297462320DD}" dt="2023-11-24T08:56:50.967" v="112878"/>
          <ac:spMkLst>
            <pc:docMk/>
            <pc:sldMk cId="299398864" sldId="256"/>
            <ac:spMk id="733" creationId="{84560D5B-AA32-82F6-223A-33AD5BC0364A}"/>
          </ac:spMkLst>
        </pc:spChg>
        <pc:spChg chg="add del mod modVis">
          <ac:chgData name="Steiner Andreas 6206 ED" userId="e6377c33-a923-4f14-8587-531c474c7b48" providerId="ADAL" clId="{6ECD27E6-B224-41CD-B4E0-E297462320DD}" dt="2023-11-24T08:56:52.972" v="113033"/>
          <ac:spMkLst>
            <pc:docMk/>
            <pc:sldMk cId="299398864" sldId="256"/>
            <ac:spMk id="734" creationId="{5914625A-2756-1DF5-E3F8-715F6C4009C0}"/>
          </ac:spMkLst>
        </pc:spChg>
        <pc:spChg chg="add del mod modVis">
          <ac:chgData name="Steiner Andreas 6206 ED" userId="e6377c33-a923-4f14-8587-531c474c7b48" providerId="ADAL" clId="{6ECD27E6-B224-41CD-B4E0-E297462320DD}" dt="2023-11-24T08:56:55.111" v="113188"/>
          <ac:spMkLst>
            <pc:docMk/>
            <pc:sldMk cId="299398864" sldId="256"/>
            <ac:spMk id="735" creationId="{4D6E3206-AAA2-D053-EB96-A7211AD45C59}"/>
          </ac:spMkLst>
        </pc:spChg>
        <pc:spChg chg="add del mod modVis">
          <ac:chgData name="Steiner Andreas 6206 ED" userId="e6377c33-a923-4f14-8587-531c474c7b48" providerId="ADAL" clId="{6ECD27E6-B224-41CD-B4E0-E297462320DD}" dt="2023-11-24T08:56:57.053" v="113343"/>
          <ac:spMkLst>
            <pc:docMk/>
            <pc:sldMk cId="299398864" sldId="256"/>
            <ac:spMk id="736" creationId="{74A4CE52-6D1A-BF73-57C2-AB621AA5B9D5}"/>
          </ac:spMkLst>
        </pc:spChg>
        <pc:spChg chg="add del mod modVis">
          <ac:chgData name="Steiner Andreas 6206 ED" userId="e6377c33-a923-4f14-8587-531c474c7b48" providerId="ADAL" clId="{6ECD27E6-B224-41CD-B4E0-E297462320DD}" dt="2023-11-24T08:56:59.257" v="113498"/>
          <ac:spMkLst>
            <pc:docMk/>
            <pc:sldMk cId="299398864" sldId="256"/>
            <ac:spMk id="737" creationId="{3C54C7F7-59E7-1DC3-339E-296E1BAC5A25}"/>
          </ac:spMkLst>
        </pc:spChg>
        <pc:spChg chg="add del mod modVis">
          <ac:chgData name="Steiner Andreas 6206 ED" userId="e6377c33-a923-4f14-8587-531c474c7b48" providerId="ADAL" clId="{6ECD27E6-B224-41CD-B4E0-E297462320DD}" dt="2023-11-24T08:57:01.427" v="113653"/>
          <ac:spMkLst>
            <pc:docMk/>
            <pc:sldMk cId="299398864" sldId="256"/>
            <ac:spMk id="738" creationId="{78CD8BE3-754E-3109-246C-4EDCCB156522}"/>
          </ac:spMkLst>
        </pc:spChg>
        <pc:spChg chg="add del mod modVis">
          <ac:chgData name="Steiner Andreas 6206 ED" userId="e6377c33-a923-4f14-8587-531c474c7b48" providerId="ADAL" clId="{6ECD27E6-B224-41CD-B4E0-E297462320DD}" dt="2023-11-24T08:57:03.895" v="113808"/>
          <ac:spMkLst>
            <pc:docMk/>
            <pc:sldMk cId="299398864" sldId="256"/>
            <ac:spMk id="739" creationId="{50A77A36-D220-2529-40AE-2E700E9B325D}"/>
          </ac:spMkLst>
        </pc:spChg>
        <pc:spChg chg="add del mod modVis">
          <ac:chgData name="Steiner Andreas 6206 ED" userId="e6377c33-a923-4f14-8587-531c474c7b48" providerId="ADAL" clId="{6ECD27E6-B224-41CD-B4E0-E297462320DD}" dt="2023-11-24T09:02:25.706" v="113963"/>
          <ac:spMkLst>
            <pc:docMk/>
            <pc:sldMk cId="299398864" sldId="256"/>
            <ac:spMk id="740" creationId="{49CB179E-995E-D79E-F9FA-B9C71FB1D818}"/>
          </ac:spMkLst>
        </pc:spChg>
        <pc:spChg chg="add del mod modVis">
          <ac:chgData name="Steiner Andreas 6206 ED" userId="e6377c33-a923-4f14-8587-531c474c7b48" providerId="ADAL" clId="{6ECD27E6-B224-41CD-B4E0-E297462320DD}" dt="2023-11-24T09:02:28.339" v="114118"/>
          <ac:spMkLst>
            <pc:docMk/>
            <pc:sldMk cId="299398864" sldId="256"/>
            <ac:spMk id="741" creationId="{ABA19555-3C15-3561-8960-00EB4F4AA8DF}"/>
          </ac:spMkLst>
        </pc:spChg>
        <pc:spChg chg="add del mod modVis">
          <ac:chgData name="Steiner Andreas 6206 ED" userId="e6377c33-a923-4f14-8587-531c474c7b48" providerId="ADAL" clId="{6ECD27E6-B224-41CD-B4E0-E297462320DD}" dt="2023-11-24T09:02:31.283" v="114273"/>
          <ac:spMkLst>
            <pc:docMk/>
            <pc:sldMk cId="299398864" sldId="256"/>
            <ac:spMk id="742" creationId="{B3EB6D6C-597D-5578-E6E1-B84A80211936}"/>
          </ac:spMkLst>
        </pc:spChg>
        <pc:spChg chg="add del mod modVis">
          <ac:chgData name="Steiner Andreas 6206 ED" userId="e6377c33-a923-4f14-8587-531c474c7b48" providerId="ADAL" clId="{6ECD27E6-B224-41CD-B4E0-E297462320DD}" dt="2023-11-24T09:02:34.423" v="114428"/>
          <ac:spMkLst>
            <pc:docMk/>
            <pc:sldMk cId="299398864" sldId="256"/>
            <ac:spMk id="743" creationId="{792C349D-AAA5-2F9A-FD3B-941AFA1EF2B8}"/>
          </ac:spMkLst>
        </pc:spChg>
        <pc:spChg chg="add del mod modVis">
          <ac:chgData name="Steiner Andreas 6206 ED" userId="e6377c33-a923-4f14-8587-531c474c7b48" providerId="ADAL" clId="{6ECD27E6-B224-41CD-B4E0-E297462320DD}" dt="2023-11-24T09:02:43.851" v="114583"/>
          <ac:spMkLst>
            <pc:docMk/>
            <pc:sldMk cId="299398864" sldId="256"/>
            <ac:spMk id="744" creationId="{1E208640-C229-13E3-C4BA-4792FE6135E8}"/>
          </ac:spMkLst>
        </pc:spChg>
        <pc:spChg chg="add del mod modVis">
          <ac:chgData name="Steiner Andreas 6206 ED" userId="e6377c33-a923-4f14-8587-531c474c7b48" providerId="ADAL" clId="{6ECD27E6-B224-41CD-B4E0-E297462320DD}" dt="2023-11-24T11:31:23.674" v="114738"/>
          <ac:spMkLst>
            <pc:docMk/>
            <pc:sldMk cId="299398864" sldId="256"/>
            <ac:spMk id="745" creationId="{F95B4B90-65FA-E435-CE92-9FA254BED6C9}"/>
          </ac:spMkLst>
        </pc:spChg>
        <pc:spChg chg="add del mod modVis">
          <ac:chgData name="Steiner Andreas 6206 ED" userId="e6377c33-a923-4f14-8587-531c474c7b48" providerId="ADAL" clId="{6ECD27E6-B224-41CD-B4E0-E297462320DD}" dt="2023-11-24T11:33:31.804" v="114893"/>
          <ac:spMkLst>
            <pc:docMk/>
            <pc:sldMk cId="299398864" sldId="256"/>
            <ac:spMk id="746" creationId="{4BF9EFA0-3AE9-41A4-1E5A-3218E592777B}"/>
          </ac:spMkLst>
        </pc:spChg>
        <pc:spChg chg="add del mod modVis">
          <ac:chgData name="Steiner Andreas 6206 ED" userId="e6377c33-a923-4f14-8587-531c474c7b48" providerId="ADAL" clId="{6ECD27E6-B224-41CD-B4E0-E297462320DD}" dt="2023-11-24T11:33:37.485" v="115048"/>
          <ac:spMkLst>
            <pc:docMk/>
            <pc:sldMk cId="299398864" sldId="256"/>
            <ac:spMk id="747" creationId="{E18C6683-0ADE-93AF-DA3E-77D1001D8B8C}"/>
          </ac:spMkLst>
        </pc:spChg>
        <pc:spChg chg="add del mod modVis">
          <ac:chgData name="Steiner Andreas 6206 ED" userId="e6377c33-a923-4f14-8587-531c474c7b48" providerId="ADAL" clId="{6ECD27E6-B224-41CD-B4E0-E297462320DD}" dt="2023-11-24T11:33:40.650" v="115203"/>
          <ac:spMkLst>
            <pc:docMk/>
            <pc:sldMk cId="299398864" sldId="256"/>
            <ac:spMk id="748" creationId="{E1E0BEE0-D6EA-DCD6-6D58-CCA308195548}"/>
          </ac:spMkLst>
        </pc:spChg>
        <pc:spChg chg="add del mod modVis">
          <ac:chgData name="Steiner Andreas 6206 ED" userId="e6377c33-a923-4f14-8587-531c474c7b48" providerId="ADAL" clId="{6ECD27E6-B224-41CD-B4E0-E297462320DD}" dt="2023-11-24T11:33:44.329" v="115358"/>
          <ac:spMkLst>
            <pc:docMk/>
            <pc:sldMk cId="299398864" sldId="256"/>
            <ac:spMk id="749" creationId="{B966CB1D-2EF2-4079-0F56-3646EDB61E98}"/>
          </ac:spMkLst>
        </pc:spChg>
        <pc:spChg chg="add del mod modVis">
          <ac:chgData name="Steiner Andreas 6206 ED" userId="e6377c33-a923-4f14-8587-531c474c7b48" providerId="ADAL" clId="{6ECD27E6-B224-41CD-B4E0-E297462320DD}" dt="2023-11-24T11:33:47.288" v="115513"/>
          <ac:spMkLst>
            <pc:docMk/>
            <pc:sldMk cId="299398864" sldId="256"/>
            <ac:spMk id="750" creationId="{75ADEF45-AF63-F545-2826-2CCD4F5B6D81}"/>
          </ac:spMkLst>
        </pc:spChg>
        <pc:spChg chg="add del mod modVis">
          <ac:chgData name="Steiner Andreas 6206 ED" userId="e6377c33-a923-4f14-8587-531c474c7b48" providerId="ADAL" clId="{6ECD27E6-B224-41CD-B4E0-E297462320DD}" dt="2023-11-24T11:33:50.225" v="115668"/>
          <ac:spMkLst>
            <pc:docMk/>
            <pc:sldMk cId="299398864" sldId="256"/>
            <ac:spMk id="751" creationId="{188338BE-C8E1-FF05-AB79-1BAD3A91F439}"/>
          </ac:spMkLst>
        </pc:spChg>
        <pc:spChg chg="add del mod modVis">
          <ac:chgData name="Steiner Andreas 6206 ED" userId="e6377c33-a923-4f14-8587-531c474c7b48" providerId="ADAL" clId="{6ECD27E6-B224-41CD-B4E0-E297462320DD}" dt="2023-11-24T11:33:52.918" v="115823"/>
          <ac:spMkLst>
            <pc:docMk/>
            <pc:sldMk cId="299398864" sldId="256"/>
            <ac:spMk id="752" creationId="{92FF748C-D87A-3057-E443-FC9654F341C3}"/>
          </ac:spMkLst>
        </pc:spChg>
        <pc:spChg chg="add del mod modVis">
          <ac:chgData name="Steiner Andreas 6206 ED" userId="e6377c33-a923-4f14-8587-531c474c7b48" providerId="ADAL" clId="{6ECD27E6-B224-41CD-B4E0-E297462320DD}" dt="2023-11-24T11:33:55.764" v="115978"/>
          <ac:spMkLst>
            <pc:docMk/>
            <pc:sldMk cId="299398864" sldId="256"/>
            <ac:spMk id="753" creationId="{40786F16-6B22-5752-B385-30FA86F833E7}"/>
          </ac:spMkLst>
        </pc:spChg>
        <pc:spChg chg="add del mod modVis">
          <ac:chgData name="Steiner Andreas 6206 ED" userId="e6377c33-a923-4f14-8587-531c474c7b48" providerId="ADAL" clId="{6ECD27E6-B224-41CD-B4E0-E297462320DD}" dt="2023-11-24T11:33:58.102" v="116133"/>
          <ac:spMkLst>
            <pc:docMk/>
            <pc:sldMk cId="299398864" sldId="256"/>
            <ac:spMk id="754" creationId="{C1767E3F-8E10-01C6-F7CB-7E46C4C9457C}"/>
          </ac:spMkLst>
        </pc:spChg>
        <pc:spChg chg="add del mod modVis">
          <ac:chgData name="Steiner Andreas 6206 ED" userId="e6377c33-a923-4f14-8587-531c474c7b48" providerId="ADAL" clId="{6ECD27E6-B224-41CD-B4E0-E297462320DD}" dt="2023-11-24T11:34:00.566" v="116288"/>
          <ac:spMkLst>
            <pc:docMk/>
            <pc:sldMk cId="299398864" sldId="256"/>
            <ac:spMk id="755" creationId="{86F8DA92-0A43-E282-CF02-CBAF40D507E2}"/>
          </ac:spMkLst>
        </pc:spChg>
        <pc:spChg chg="add del mod modVis">
          <ac:chgData name="Steiner Andreas 6206 ED" userId="e6377c33-a923-4f14-8587-531c474c7b48" providerId="ADAL" clId="{6ECD27E6-B224-41CD-B4E0-E297462320DD}" dt="2023-11-24T11:34:02.878" v="116443"/>
          <ac:spMkLst>
            <pc:docMk/>
            <pc:sldMk cId="299398864" sldId="256"/>
            <ac:spMk id="756" creationId="{E24266A9-337B-7366-F129-E0D8D4CDFAC4}"/>
          </ac:spMkLst>
        </pc:spChg>
        <pc:spChg chg="add del mod modVis">
          <ac:chgData name="Steiner Andreas 6206 ED" userId="e6377c33-a923-4f14-8587-531c474c7b48" providerId="ADAL" clId="{6ECD27E6-B224-41CD-B4E0-E297462320DD}" dt="2023-11-24T11:34:05.231" v="116598"/>
          <ac:spMkLst>
            <pc:docMk/>
            <pc:sldMk cId="299398864" sldId="256"/>
            <ac:spMk id="757" creationId="{A8441339-9F31-737F-0EDE-4A016E107688}"/>
          </ac:spMkLst>
        </pc:spChg>
        <pc:spChg chg="add del mod modVis">
          <ac:chgData name="Steiner Andreas 6206 ED" userId="e6377c33-a923-4f14-8587-531c474c7b48" providerId="ADAL" clId="{6ECD27E6-B224-41CD-B4E0-E297462320DD}" dt="2023-11-24T11:34:07.773" v="116753"/>
          <ac:spMkLst>
            <pc:docMk/>
            <pc:sldMk cId="299398864" sldId="256"/>
            <ac:spMk id="758" creationId="{5F6B699F-E2D1-E76B-6BC1-0773CB210026}"/>
          </ac:spMkLst>
        </pc:spChg>
        <pc:spChg chg="add del mod modVis">
          <ac:chgData name="Steiner Andreas 6206 ED" userId="e6377c33-a923-4f14-8587-531c474c7b48" providerId="ADAL" clId="{6ECD27E6-B224-41CD-B4E0-E297462320DD}" dt="2023-11-24T11:34:10.314" v="116908"/>
          <ac:spMkLst>
            <pc:docMk/>
            <pc:sldMk cId="299398864" sldId="256"/>
            <ac:spMk id="759" creationId="{A34A09E0-9F7E-F477-7F14-19E4A0DD96B5}"/>
          </ac:spMkLst>
        </pc:spChg>
        <pc:spChg chg="add del mod modVis">
          <ac:chgData name="Steiner Andreas 6206 ED" userId="e6377c33-a923-4f14-8587-531c474c7b48" providerId="ADAL" clId="{6ECD27E6-B224-41CD-B4E0-E297462320DD}" dt="2023-11-24T11:34:12.078" v="117063"/>
          <ac:spMkLst>
            <pc:docMk/>
            <pc:sldMk cId="299398864" sldId="256"/>
            <ac:spMk id="760" creationId="{4229B4A9-8879-B3E9-0721-C58B4DC872E2}"/>
          </ac:spMkLst>
        </pc:spChg>
        <pc:spChg chg="add del mod modVis">
          <ac:chgData name="Steiner Andreas 6206 ED" userId="e6377c33-a923-4f14-8587-531c474c7b48" providerId="ADAL" clId="{6ECD27E6-B224-41CD-B4E0-E297462320DD}" dt="2023-11-24T11:34:13.875" v="117218"/>
          <ac:spMkLst>
            <pc:docMk/>
            <pc:sldMk cId="299398864" sldId="256"/>
            <ac:spMk id="761" creationId="{E1318636-DF74-BCD3-A95B-C296BC505F46}"/>
          </ac:spMkLst>
        </pc:spChg>
        <pc:spChg chg="add del mod modVis">
          <ac:chgData name="Steiner Andreas 6206 ED" userId="e6377c33-a923-4f14-8587-531c474c7b48" providerId="ADAL" clId="{6ECD27E6-B224-41CD-B4E0-E297462320DD}" dt="2023-11-24T11:34:15.669" v="117373"/>
          <ac:spMkLst>
            <pc:docMk/>
            <pc:sldMk cId="299398864" sldId="256"/>
            <ac:spMk id="762" creationId="{B450C75B-F2EF-E55C-D1BC-FD662F82E607}"/>
          </ac:spMkLst>
        </pc:spChg>
        <pc:spChg chg="add del mod modVis">
          <ac:chgData name="Steiner Andreas 6206 ED" userId="e6377c33-a923-4f14-8587-531c474c7b48" providerId="ADAL" clId="{6ECD27E6-B224-41CD-B4E0-E297462320DD}" dt="2023-11-24T11:34:17.473" v="117528"/>
          <ac:spMkLst>
            <pc:docMk/>
            <pc:sldMk cId="299398864" sldId="256"/>
            <ac:spMk id="763" creationId="{16836C11-3633-B49A-38F6-60E6A4611039}"/>
          </ac:spMkLst>
        </pc:spChg>
        <pc:spChg chg="add del mod modVis">
          <ac:chgData name="Steiner Andreas 6206 ED" userId="e6377c33-a923-4f14-8587-531c474c7b48" providerId="ADAL" clId="{6ECD27E6-B224-41CD-B4E0-E297462320DD}" dt="2023-11-24T11:34:19.326" v="117683"/>
          <ac:spMkLst>
            <pc:docMk/>
            <pc:sldMk cId="299398864" sldId="256"/>
            <ac:spMk id="764" creationId="{5E839410-D883-06F5-97FA-1410A6DFF39E}"/>
          </ac:spMkLst>
        </pc:spChg>
        <pc:spChg chg="add del mod modVis">
          <ac:chgData name="Steiner Andreas 6206 ED" userId="e6377c33-a923-4f14-8587-531c474c7b48" providerId="ADAL" clId="{6ECD27E6-B224-41CD-B4E0-E297462320DD}" dt="2023-11-24T11:34:21.523" v="117838"/>
          <ac:spMkLst>
            <pc:docMk/>
            <pc:sldMk cId="299398864" sldId="256"/>
            <ac:spMk id="765" creationId="{B50F094E-A1C5-8D09-1E4A-8D5374AE6F5A}"/>
          </ac:spMkLst>
        </pc:spChg>
        <pc:spChg chg="add del mod modVis">
          <ac:chgData name="Steiner Andreas 6206 ED" userId="e6377c33-a923-4f14-8587-531c474c7b48" providerId="ADAL" clId="{6ECD27E6-B224-41CD-B4E0-E297462320DD}" dt="2023-11-24T11:34:23.476" v="117993"/>
          <ac:spMkLst>
            <pc:docMk/>
            <pc:sldMk cId="299398864" sldId="256"/>
            <ac:spMk id="766" creationId="{3A930FF2-BA4A-1B36-FEBB-41CDA23DA25B}"/>
          </ac:spMkLst>
        </pc:spChg>
        <pc:spChg chg="add del mod modVis">
          <ac:chgData name="Steiner Andreas 6206 ED" userId="e6377c33-a923-4f14-8587-531c474c7b48" providerId="ADAL" clId="{6ECD27E6-B224-41CD-B4E0-E297462320DD}" dt="2023-11-24T11:34:25.443" v="118148"/>
          <ac:spMkLst>
            <pc:docMk/>
            <pc:sldMk cId="299398864" sldId="256"/>
            <ac:spMk id="767" creationId="{F8296EDD-67B3-4693-E865-C1ED8360D068}"/>
          </ac:spMkLst>
        </pc:spChg>
        <pc:spChg chg="add del mod modVis">
          <ac:chgData name="Steiner Andreas 6206 ED" userId="e6377c33-a923-4f14-8587-531c474c7b48" providerId="ADAL" clId="{6ECD27E6-B224-41CD-B4E0-E297462320DD}" dt="2023-11-24T11:34:28.069" v="118303"/>
          <ac:spMkLst>
            <pc:docMk/>
            <pc:sldMk cId="299398864" sldId="256"/>
            <ac:spMk id="768" creationId="{A2D1E3FB-E324-3335-0585-DE2B02707EAE}"/>
          </ac:spMkLst>
        </pc:spChg>
        <pc:spChg chg="add del mod modVis">
          <ac:chgData name="Steiner Andreas 6206 ED" userId="e6377c33-a923-4f14-8587-531c474c7b48" providerId="ADAL" clId="{6ECD27E6-B224-41CD-B4E0-E297462320DD}" dt="2023-11-24T11:34:30.071" v="118458"/>
          <ac:spMkLst>
            <pc:docMk/>
            <pc:sldMk cId="299398864" sldId="256"/>
            <ac:spMk id="769" creationId="{4F1C219A-8C34-C0E5-7640-B9C0BB03A297}"/>
          </ac:spMkLst>
        </pc:spChg>
        <pc:spChg chg="add del mod modVis">
          <ac:chgData name="Steiner Andreas 6206 ED" userId="e6377c33-a923-4f14-8587-531c474c7b48" providerId="ADAL" clId="{6ECD27E6-B224-41CD-B4E0-E297462320DD}" dt="2023-11-24T11:34:32.376" v="118613"/>
          <ac:spMkLst>
            <pc:docMk/>
            <pc:sldMk cId="299398864" sldId="256"/>
            <ac:spMk id="770" creationId="{15DFCC12-C107-DA8C-97FF-B72E5585BEC6}"/>
          </ac:spMkLst>
        </pc:spChg>
        <pc:spChg chg="add del mod modVis">
          <ac:chgData name="Steiner Andreas 6206 ED" userId="e6377c33-a923-4f14-8587-531c474c7b48" providerId="ADAL" clId="{6ECD27E6-B224-41CD-B4E0-E297462320DD}" dt="2023-11-24T11:34:34.281" v="118768"/>
          <ac:spMkLst>
            <pc:docMk/>
            <pc:sldMk cId="299398864" sldId="256"/>
            <ac:spMk id="771" creationId="{A3C9D9AE-643C-1424-6841-69C7FE741D58}"/>
          </ac:spMkLst>
        </pc:spChg>
        <pc:spChg chg="add del mod modVis">
          <ac:chgData name="Steiner Andreas 6206 ED" userId="e6377c33-a923-4f14-8587-531c474c7b48" providerId="ADAL" clId="{6ECD27E6-B224-41CD-B4E0-E297462320DD}" dt="2023-11-24T11:34:36.354" v="118923"/>
          <ac:spMkLst>
            <pc:docMk/>
            <pc:sldMk cId="299398864" sldId="256"/>
            <ac:spMk id="772" creationId="{E40363D8-EA22-B40E-D64F-87BF9D3D230F}"/>
          </ac:spMkLst>
        </pc:spChg>
        <pc:spChg chg="add del mod modVis">
          <ac:chgData name="Steiner Andreas 6206 ED" userId="e6377c33-a923-4f14-8587-531c474c7b48" providerId="ADAL" clId="{6ECD27E6-B224-41CD-B4E0-E297462320DD}" dt="2023-11-24T11:34:38.431" v="119078"/>
          <ac:spMkLst>
            <pc:docMk/>
            <pc:sldMk cId="299398864" sldId="256"/>
            <ac:spMk id="773" creationId="{3D627D40-FB30-93D2-D5D2-6D22C93C2A01}"/>
          </ac:spMkLst>
        </pc:spChg>
        <pc:spChg chg="add del mod modVis">
          <ac:chgData name="Steiner Andreas 6206 ED" userId="e6377c33-a923-4f14-8587-531c474c7b48" providerId="ADAL" clId="{6ECD27E6-B224-41CD-B4E0-E297462320DD}" dt="2023-11-24T11:34:40.311" v="119233"/>
          <ac:spMkLst>
            <pc:docMk/>
            <pc:sldMk cId="299398864" sldId="256"/>
            <ac:spMk id="774" creationId="{9139F723-8827-871C-1F3C-6FF6D627ABF3}"/>
          </ac:spMkLst>
        </pc:spChg>
        <pc:spChg chg="add del mod modVis">
          <ac:chgData name="Steiner Andreas 6206 ED" userId="e6377c33-a923-4f14-8587-531c474c7b48" providerId="ADAL" clId="{6ECD27E6-B224-41CD-B4E0-E297462320DD}" dt="2023-11-24T11:34:42.600" v="119388"/>
          <ac:spMkLst>
            <pc:docMk/>
            <pc:sldMk cId="299398864" sldId="256"/>
            <ac:spMk id="775" creationId="{F283429E-7846-B4D0-BC8A-22E3831864D4}"/>
          </ac:spMkLst>
        </pc:spChg>
        <pc:spChg chg="add del mod modVis">
          <ac:chgData name="Steiner Andreas 6206 ED" userId="e6377c33-a923-4f14-8587-531c474c7b48" providerId="ADAL" clId="{6ECD27E6-B224-41CD-B4E0-E297462320DD}" dt="2023-11-24T11:34:44.671" v="119543"/>
          <ac:spMkLst>
            <pc:docMk/>
            <pc:sldMk cId="299398864" sldId="256"/>
            <ac:spMk id="776" creationId="{669B85F5-9D5F-22C1-DC50-15418A35B5F7}"/>
          </ac:spMkLst>
        </pc:spChg>
        <pc:spChg chg="add del mod modVis">
          <ac:chgData name="Steiner Andreas 6206 ED" userId="e6377c33-a923-4f14-8587-531c474c7b48" providerId="ADAL" clId="{6ECD27E6-B224-41CD-B4E0-E297462320DD}" dt="2023-11-24T11:34:46.706" v="119698"/>
          <ac:spMkLst>
            <pc:docMk/>
            <pc:sldMk cId="299398864" sldId="256"/>
            <ac:spMk id="777" creationId="{61CAD045-2306-F60A-EF1B-90544467F492}"/>
          </ac:spMkLst>
        </pc:spChg>
        <pc:spChg chg="add del mod modVis">
          <ac:chgData name="Steiner Andreas 6206 ED" userId="e6377c33-a923-4f14-8587-531c474c7b48" providerId="ADAL" clId="{6ECD27E6-B224-41CD-B4E0-E297462320DD}" dt="2023-11-24T11:34:48.543" v="119853"/>
          <ac:spMkLst>
            <pc:docMk/>
            <pc:sldMk cId="299398864" sldId="256"/>
            <ac:spMk id="778" creationId="{FC86E6A0-84E9-2DFC-C20C-F81D50A84536}"/>
          </ac:spMkLst>
        </pc:spChg>
        <pc:spChg chg="add del mod modVis">
          <ac:chgData name="Steiner Andreas 6206 ED" userId="e6377c33-a923-4f14-8587-531c474c7b48" providerId="ADAL" clId="{6ECD27E6-B224-41CD-B4E0-E297462320DD}" dt="2023-11-24T11:34:50.803" v="120008"/>
          <ac:spMkLst>
            <pc:docMk/>
            <pc:sldMk cId="299398864" sldId="256"/>
            <ac:spMk id="779" creationId="{F217EBCA-A00F-6ED7-6C3E-798EA1940E6A}"/>
          </ac:spMkLst>
        </pc:spChg>
        <pc:spChg chg="add del mod modVis">
          <ac:chgData name="Steiner Andreas 6206 ED" userId="e6377c33-a923-4f14-8587-531c474c7b48" providerId="ADAL" clId="{6ECD27E6-B224-41CD-B4E0-E297462320DD}" dt="2023-11-24T11:34:52.948" v="120163"/>
          <ac:spMkLst>
            <pc:docMk/>
            <pc:sldMk cId="299398864" sldId="256"/>
            <ac:spMk id="780" creationId="{EFF2F43B-6154-359F-51F1-AD897CE3FC84}"/>
          </ac:spMkLst>
        </pc:spChg>
        <pc:spChg chg="add del mod modVis">
          <ac:chgData name="Steiner Andreas 6206 ED" userId="e6377c33-a923-4f14-8587-531c474c7b48" providerId="ADAL" clId="{6ECD27E6-B224-41CD-B4E0-E297462320DD}" dt="2023-11-24T11:34:54.820" v="120318"/>
          <ac:spMkLst>
            <pc:docMk/>
            <pc:sldMk cId="299398864" sldId="256"/>
            <ac:spMk id="781" creationId="{70E479E1-1D0D-5C39-6175-859D2BE04C50}"/>
          </ac:spMkLst>
        </pc:spChg>
        <pc:spChg chg="add del mod modVis">
          <ac:chgData name="Steiner Andreas 6206 ED" userId="e6377c33-a923-4f14-8587-531c474c7b48" providerId="ADAL" clId="{6ECD27E6-B224-41CD-B4E0-E297462320DD}" dt="2023-11-24T11:34:56.691" v="120473"/>
          <ac:spMkLst>
            <pc:docMk/>
            <pc:sldMk cId="299398864" sldId="256"/>
            <ac:spMk id="782" creationId="{004DFEEE-ABC0-5F58-55A5-8FD769406940}"/>
          </ac:spMkLst>
        </pc:spChg>
        <pc:spChg chg="add del mod modVis">
          <ac:chgData name="Steiner Andreas 6206 ED" userId="e6377c33-a923-4f14-8587-531c474c7b48" providerId="ADAL" clId="{6ECD27E6-B224-41CD-B4E0-E297462320DD}" dt="2023-11-24T11:34:58.553" v="120628"/>
          <ac:spMkLst>
            <pc:docMk/>
            <pc:sldMk cId="299398864" sldId="256"/>
            <ac:spMk id="783" creationId="{2F60CFB8-32F8-9D31-2D67-924B8A6586E4}"/>
          </ac:spMkLst>
        </pc:spChg>
        <pc:spChg chg="add del mod modVis">
          <ac:chgData name="Steiner Andreas 6206 ED" userId="e6377c33-a923-4f14-8587-531c474c7b48" providerId="ADAL" clId="{6ECD27E6-B224-41CD-B4E0-E297462320DD}" dt="2023-11-24T11:35:00.357" v="120783"/>
          <ac:spMkLst>
            <pc:docMk/>
            <pc:sldMk cId="299398864" sldId="256"/>
            <ac:spMk id="784" creationId="{3873B673-39E7-77B4-59F8-277F0795C9C7}"/>
          </ac:spMkLst>
        </pc:spChg>
        <pc:spChg chg="add del mod modVis">
          <ac:chgData name="Steiner Andreas 6206 ED" userId="e6377c33-a923-4f14-8587-531c474c7b48" providerId="ADAL" clId="{6ECD27E6-B224-41CD-B4E0-E297462320DD}" dt="2023-11-24T11:35:02.232" v="120938"/>
          <ac:spMkLst>
            <pc:docMk/>
            <pc:sldMk cId="299398864" sldId="256"/>
            <ac:spMk id="785" creationId="{9620DBD7-CDB5-312A-7C49-56085C77893D}"/>
          </ac:spMkLst>
        </pc:spChg>
        <pc:spChg chg="add del mod modVis">
          <ac:chgData name="Steiner Andreas 6206 ED" userId="e6377c33-a923-4f14-8587-531c474c7b48" providerId="ADAL" clId="{6ECD27E6-B224-41CD-B4E0-E297462320DD}" dt="2023-11-24T11:35:04.066" v="121093"/>
          <ac:spMkLst>
            <pc:docMk/>
            <pc:sldMk cId="299398864" sldId="256"/>
            <ac:spMk id="786" creationId="{22641A79-9C11-38F5-D2FC-F8EFBE281B17}"/>
          </ac:spMkLst>
        </pc:spChg>
        <pc:spChg chg="add del mod modVis">
          <ac:chgData name="Steiner Andreas 6206 ED" userId="e6377c33-a923-4f14-8587-531c474c7b48" providerId="ADAL" clId="{6ECD27E6-B224-41CD-B4E0-E297462320DD}" dt="2023-11-24T11:35:06.041" v="121248"/>
          <ac:spMkLst>
            <pc:docMk/>
            <pc:sldMk cId="299398864" sldId="256"/>
            <ac:spMk id="787" creationId="{B77B3F7A-313E-1C66-855D-DED5B7F7F836}"/>
          </ac:spMkLst>
        </pc:spChg>
        <pc:spChg chg="add del mod modVis">
          <ac:chgData name="Steiner Andreas 6206 ED" userId="e6377c33-a923-4f14-8587-531c474c7b48" providerId="ADAL" clId="{6ECD27E6-B224-41CD-B4E0-E297462320DD}" dt="2023-11-24T11:35:08.274" v="121403"/>
          <ac:spMkLst>
            <pc:docMk/>
            <pc:sldMk cId="299398864" sldId="256"/>
            <ac:spMk id="788" creationId="{045D65C4-C6FE-A637-16BB-D59942D41750}"/>
          </ac:spMkLst>
        </pc:spChg>
        <pc:spChg chg="add del mod modVis">
          <ac:chgData name="Steiner Andreas 6206 ED" userId="e6377c33-a923-4f14-8587-531c474c7b48" providerId="ADAL" clId="{6ECD27E6-B224-41CD-B4E0-E297462320DD}" dt="2023-11-24T11:35:10.175" v="121558"/>
          <ac:spMkLst>
            <pc:docMk/>
            <pc:sldMk cId="299398864" sldId="256"/>
            <ac:spMk id="789" creationId="{6292E00B-A16E-2C49-2B50-6A519800E317}"/>
          </ac:spMkLst>
        </pc:spChg>
        <pc:spChg chg="add del mod modVis">
          <ac:chgData name="Steiner Andreas 6206 ED" userId="e6377c33-a923-4f14-8587-531c474c7b48" providerId="ADAL" clId="{6ECD27E6-B224-41CD-B4E0-E297462320DD}" dt="2023-11-24T11:35:12.111" v="121713"/>
          <ac:spMkLst>
            <pc:docMk/>
            <pc:sldMk cId="299398864" sldId="256"/>
            <ac:spMk id="790" creationId="{3D209ECA-8356-E4FE-F19F-200F2B7445ED}"/>
          </ac:spMkLst>
        </pc:spChg>
        <pc:spChg chg="add del mod modVis">
          <ac:chgData name="Steiner Andreas 6206 ED" userId="e6377c33-a923-4f14-8587-531c474c7b48" providerId="ADAL" clId="{6ECD27E6-B224-41CD-B4E0-E297462320DD}" dt="2023-11-24T11:35:13.846" v="121868"/>
          <ac:spMkLst>
            <pc:docMk/>
            <pc:sldMk cId="299398864" sldId="256"/>
            <ac:spMk id="791" creationId="{23FCA125-3FB1-0727-CD9F-AF659EEB272E}"/>
          </ac:spMkLst>
        </pc:spChg>
        <pc:spChg chg="add del mod modVis">
          <ac:chgData name="Steiner Andreas 6206 ED" userId="e6377c33-a923-4f14-8587-531c474c7b48" providerId="ADAL" clId="{6ECD27E6-B224-41CD-B4E0-E297462320DD}" dt="2023-11-24T11:35:15.785" v="122023"/>
          <ac:spMkLst>
            <pc:docMk/>
            <pc:sldMk cId="299398864" sldId="256"/>
            <ac:spMk id="792" creationId="{0FCE418F-AD14-D389-5287-AAE9EABCC2A4}"/>
          </ac:spMkLst>
        </pc:spChg>
        <pc:spChg chg="add del mod modVis">
          <ac:chgData name="Steiner Andreas 6206 ED" userId="e6377c33-a923-4f14-8587-531c474c7b48" providerId="ADAL" clId="{6ECD27E6-B224-41CD-B4E0-E297462320DD}" dt="2023-11-24T11:35:17.428" v="122178"/>
          <ac:spMkLst>
            <pc:docMk/>
            <pc:sldMk cId="299398864" sldId="256"/>
            <ac:spMk id="793" creationId="{541D8DFF-116E-CE54-0D0D-E7AC1098CBC1}"/>
          </ac:spMkLst>
        </pc:spChg>
        <pc:spChg chg="add del mod modVis">
          <ac:chgData name="Steiner Andreas 6206 ED" userId="e6377c33-a923-4f14-8587-531c474c7b48" providerId="ADAL" clId="{6ECD27E6-B224-41CD-B4E0-E297462320DD}" dt="2023-11-24T11:35:19.127" v="122333"/>
          <ac:spMkLst>
            <pc:docMk/>
            <pc:sldMk cId="299398864" sldId="256"/>
            <ac:spMk id="794" creationId="{49D94B82-13F4-DD33-B0BD-7473F878F086}"/>
          </ac:spMkLst>
        </pc:spChg>
        <pc:spChg chg="add del mod modVis">
          <ac:chgData name="Steiner Andreas 6206 ED" userId="e6377c33-a923-4f14-8587-531c474c7b48" providerId="ADAL" clId="{6ECD27E6-B224-41CD-B4E0-E297462320DD}" dt="2023-11-24T11:35:20.743" v="122488"/>
          <ac:spMkLst>
            <pc:docMk/>
            <pc:sldMk cId="299398864" sldId="256"/>
            <ac:spMk id="795" creationId="{AD6261E1-6A69-7BDE-1AC5-E15D88918678}"/>
          </ac:spMkLst>
        </pc:spChg>
        <pc:spChg chg="add del mod modVis">
          <ac:chgData name="Steiner Andreas 6206 ED" userId="e6377c33-a923-4f14-8587-531c474c7b48" providerId="ADAL" clId="{6ECD27E6-B224-41CD-B4E0-E297462320DD}" dt="2023-11-24T11:35:22.384" v="122643"/>
          <ac:spMkLst>
            <pc:docMk/>
            <pc:sldMk cId="299398864" sldId="256"/>
            <ac:spMk id="796" creationId="{AF4BDC89-FEE3-4D0A-3085-820AEEA0B8FC}"/>
          </ac:spMkLst>
        </pc:spChg>
        <pc:spChg chg="add del mod modVis">
          <ac:chgData name="Steiner Andreas 6206 ED" userId="e6377c33-a923-4f14-8587-531c474c7b48" providerId="ADAL" clId="{6ECD27E6-B224-41CD-B4E0-E297462320DD}" dt="2023-11-24T11:35:24.110" v="122798"/>
          <ac:spMkLst>
            <pc:docMk/>
            <pc:sldMk cId="299398864" sldId="256"/>
            <ac:spMk id="797" creationId="{E365D077-D1DE-97A5-B4D7-5A40DD170E07}"/>
          </ac:spMkLst>
        </pc:spChg>
        <pc:spChg chg="add del mod modVis">
          <ac:chgData name="Steiner Andreas 6206 ED" userId="e6377c33-a923-4f14-8587-531c474c7b48" providerId="ADAL" clId="{6ECD27E6-B224-41CD-B4E0-E297462320DD}" dt="2023-11-24T11:35:26.288" v="122953"/>
          <ac:spMkLst>
            <pc:docMk/>
            <pc:sldMk cId="299398864" sldId="256"/>
            <ac:spMk id="798" creationId="{B29D3823-146D-420B-7F78-03E901E4627D}"/>
          </ac:spMkLst>
        </pc:spChg>
        <pc:spChg chg="add del mod modVis">
          <ac:chgData name="Steiner Andreas 6206 ED" userId="e6377c33-a923-4f14-8587-531c474c7b48" providerId="ADAL" clId="{6ECD27E6-B224-41CD-B4E0-E297462320DD}" dt="2023-11-24T11:35:28.223" v="123108"/>
          <ac:spMkLst>
            <pc:docMk/>
            <pc:sldMk cId="299398864" sldId="256"/>
            <ac:spMk id="799" creationId="{E9472C9D-71E6-3CAC-A22A-C57A98B4A7CC}"/>
          </ac:spMkLst>
        </pc:spChg>
        <pc:spChg chg="add del mod modVis">
          <ac:chgData name="Steiner Andreas 6206 ED" userId="e6377c33-a923-4f14-8587-531c474c7b48" providerId="ADAL" clId="{6ECD27E6-B224-41CD-B4E0-E297462320DD}" dt="2023-11-24T11:35:30.101" v="123263"/>
          <ac:spMkLst>
            <pc:docMk/>
            <pc:sldMk cId="299398864" sldId="256"/>
            <ac:spMk id="800" creationId="{01117C11-8286-61C4-E377-6CDCC22E3185}"/>
          </ac:spMkLst>
        </pc:spChg>
        <pc:spChg chg="add del mod modVis">
          <ac:chgData name="Steiner Andreas 6206 ED" userId="e6377c33-a923-4f14-8587-531c474c7b48" providerId="ADAL" clId="{6ECD27E6-B224-41CD-B4E0-E297462320DD}" dt="2023-11-24T11:35:32.954" v="123418"/>
          <ac:spMkLst>
            <pc:docMk/>
            <pc:sldMk cId="299398864" sldId="256"/>
            <ac:spMk id="801" creationId="{4BB034F3-BF2F-034E-4AB7-23413BC010AC}"/>
          </ac:spMkLst>
        </pc:spChg>
        <pc:spChg chg="add del mod modVis">
          <ac:chgData name="Steiner Andreas 6206 ED" userId="e6377c33-a923-4f14-8587-531c474c7b48" providerId="ADAL" clId="{6ECD27E6-B224-41CD-B4E0-E297462320DD}" dt="2023-11-24T11:35:34.809" v="123573"/>
          <ac:spMkLst>
            <pc:docMk/>
            <pc:sldMk cId="299398864" sldId="256"/>
            <ac:spMk id="802" creationId="{DD78DE7D-7C06-950E-1004-1BE0CF01B1E8}"/>
          </ac:spMkLst>
        </pc:spChg>
        <pc:spChg chg="add del mod modVis">
          <ac:chgData name="Steiner Andreas 6206 ED" userId="e6377c33-a923-4f14-8587-531c474c7b48" providerId="ADAL" clId="{6ECD27E6-B224-41CD-B4E0-E297462320DD}" dt="2023-11-24T11:35:36.557" v="123728"/>
          <ac:spMkLst>
            <pc:docMk/>
            <pc:sldMk cId="299398864" sldId="256"/>
            <ac:spMk id="803" creationId="{64A8A379-D900-FED2-D619-3ADE83AD9521}"/>
          </ac:spMkLst>
        </pc:spChg>
        <pc:spChg chg="add del mod modVis">
          <ac:chgData name="Steiner Andreas 6206 ED" userId="e6377c33-a923-4f14-8587-531c474c7b48" providerId="ADAL" clId="{6ECD27E6-B224-41CD-B4E0-E297462320DD}" dt="2023-11-24T11:35:38.159" v="123883"/>
          <ac:spMkLst>
            <pc:docMk/>
            <pc:sldMk cId="299398864" sldId="256"/>
            <ac:spMk id="804" creationId="{EF0916D6-8463-D5B8-DD2B-60A91468D3A8}"/>
          </ac:spMkLst>
        </pc:spChg>
        <pc:spChg chg="add del mod modVis">
          <ac:chgData name="Steiner Andreas 6206 ED" userId="e6377c33-a923-4f14-8587-531c474c7b48" providerId="ADAL" clId="{6ECD27E6-B224-41CD-B4E0-E297462320DD}" dt="2023-11-24T11:35:39.831" v="124038"/>
          <ac:spMkLst>
            <pc:docMk/>
            <pc:sldMk cId="299398864" sldId="256"/>
            <ac:spMk id="805" creationId="{A11AA8B0-2339-C3D1-A4C3-5B9A974BE2F2}"/>
          </ac:spMkLst>
        </pc:spChg>
        <pc:spChg chg="add del mod modVis">
          <ac:chgData name="Steiner Andreas 6206 ED" userId="e6377c33-a923-4f14-8587-531c474c7b48" providerId="ADAL" clId="{6ECD27E6-B224-41CD-B4E0-E297462320DD}" dt="2023-11-24T11:35:41.513" v="124193"/>
          <ac:spMkLst>
            <pc:docMk/>
            <pc:sldMk cId="299398864" sldId="256"/>
            <ac:spMk id="806" creationId="{7F0C25C6-C1A3-4C42-637C-148B677B12B5}"/>
          </ac:spMkLst>
        </pc:spChg>
        <pc:spChg chg="add del mod modVis">
          <ac:chgData name="Steiner Andreas 6206 ED" userId="e6377c33-a923-4f14-8587-531c474c7b48" providerId="ADAL" clId="{6ECD27E6-B224-41CD-B4E0-E297462320DD}" dt="2023-11-24T11:35:43.140" v="124348"/>
          <ac:spMkLst>
            <pc:docMk/>
            <pc:sldMk cId="299398864" sldId="256"/>
            <ac:spMk id="807" creationId="{8FBD23DB-93E5-B884-1FBB-E17CC48A2D66}"/>
          </ac:spMkLst>
        </pc:spChg>
        <pc:spChg chg="add del mod modVis">
          <ac:chgData name="Steiner Andreas 6206 ED" userId="e6377c33-a923-4f14-8587-531c474c7b48" providerId="ADAL" clId="{6ECD27E6-B224-41CD-B4E0-E297462320DD}" dt="2023-11-24T11:35:44.830" v="124503"/>
          <ac:spMkLst>
            <pc:docMk/>
            <pc:sldMk cId="299398864" sldId="256"/>
            <ac:spMk id="808" creationId="{731B7556-D96D-6876-2226-197FAF287020}"/>
          </ac:spMkLst>
        </pc:spChg>
        <pc:spChg chg="add del mod modVis">
          <ac:chgData name="Steiner Andreas 6206 ED" userId="e6377c33-a923-4f14-8587-531c474c7b48" providerId="ADAL" clId="{6ECD27E6-B224-41CD-B4E0-E297462320DD}" dt="2023-11-24T11:35:46.465" v="124658"/>
          <ac:spMkLst>
            <pc:docMk/>
            <pc:sldMk cId="299398864" sldId="256"/>
            <ac:spMk id="809" creationId="{6AB5B5E6-AB1C-FD59-4FA7-0C14E883361D}"/>
          </ac:spMkLst>
        </pc:spChg>
        <pc:spChg chg="add del mod modVis">
          <ac:chgData name="Steiner Andreas 6206 ED" userId="e6377c33-a923-4f14-8587-531c474c7b48" providerId="ADAL" clId="{6ECD27E6-B224-41CD-B4E0-E297462320DD}" dt="2023-11-24T11:35:48.163" v="124813"/>
          <ac:spMkLst>
            <pc:docMk/>
            <pc:sldMk cId="299398864" sldId="256"/>
            <ac:spMk id="810" creationId="{46BCF121-50AB-D289-2DD8-FE8DF5A52257}"/>
          </ac:spMkLst>
        </pc:spChg>
        <pc:spChg chg="add del mod modVis">
          <ac:chgData name="Steiner Andreas 6206 ED" userId="e6377c33-a923-4f14-8587-531c474c7b48" providerId="ADAL" clId="{6ECD27E6-B224-41CD-B4E0-E297462320DD}" dt="2023-11-24T11:35:50.023" v="124968"/>
          <ac:spMkLst>
            <pc:docMk/>
            <pc:sldMk cId="299398864" sldId="256"/>
            <ac:spMk id="811" creationId="{DD31995C-ACBD-5B64-3CF4-81AA5F08FF2B}"/>
          </ac:spMkLst>
        </pc:spChg>
        <pc:spChg chg="add del mod modVis">
          <ac:chgData name="Steiner Andreas 6206 ED" userId="e6377c33-a923-4f14-8587-531c474c7b48" providerId="ADAL" clId="{6ECD27E6-B224-41CD-B4E0-E297462320DD}" dt="2023-11-24T11:35:51.938" v="125123"/>
          <ac:spMkLst>
            <pc:docMk/>
            <pc:sldMk cId="299398864" sldId="256"/>
            <ac:spMk id="812" creationId="{C673AA13-CDE4-3768-854A-C62A751A8586}"/>
          </ac:spMkLst>
        </pc:spChg>
        <pc:spChg chg="add del mod modVis">
          <ac:chgData name="Steiner Andreas 6206 ED" userId="e6377c33-a923-4f14-8587-531c474c7b48" providerId="ADAL" clId="{6ECD27E6-B224-41CD-B4E0-E297462320DD}" dt="2023-11-24T11:35:53.628" v="125278"/>
          <ac:spMkLst>
            <pc:docMk/>
            <pc:sldMk cId="299398864" sldId="256"/>
            <ac:spMk id="813" creationId="{A996F0C4-9380-95C4-6BFD-4D3869D42BC2}"/>
          </ac:spMkLst>
        </pc:spChg>
        <pc:spChg chg="add del mod modVis">
          <ac:chgData name="Steiner Andreas 6206 ED" userId="e6377c33-a923-4f14-8587-531c474c7b48" providerId="ADAL" clId="{6ECD27E6-B224-41CD-B4E0-E297462320DD}" dt="2023-11-24T11:35:55.661" v="125433"/>
          <ac:spMkLst>
            <pc:docMk/>
            <pc:sldMk cId="299398864" sldId="256"/>
            <ac:spMk id="814" creationId="{C0103937-61FF-9EFD-1C0E-82E4A0995050}"/>
          </ac:spMkLst>
        </pc:spChg>
        <pc:spChg chg="add del mod modVis">
          <ac:chgData name="Steiner Andreas 6206 ED" userId="e6377c33-a923-4f14-8587-531c474c7b48" providerId="ADAL" clId="{6ECD27E6-B224-41CD-B4E0-E297462320DD}" dt="2023-11-24T11:35:57.899" v="125588"/>
          <ac:spMkLst>
            <pc:docMk/>
            <pc:sldMk cId="299398864" sldId="256"/>
            <ac:spMk id="815" creationId="{E53D8544-D454-1576-9868-207B8C781044}"/>
          </ac:spMkLst>
        </pc:spChg>
        <pc:spChg chg="add del mod modVis">
          <ac:chgData name="Steiner Andreas 6206 ED" userId="e6377c33-a923-4f14-8587-531c474c7b48" providerId="ADAL" clId="{6ECD27E6-B224-41CD-B4E0-E297462320DD}" dt="2023-11-24T11:35:59.552" v="125743"/>
          <ac:spMkLst>
            <pc:docMk/>
            <pc:sldMk cId="299398864" sldId="256"/>
            <ac:spMk id="816" creationId="{C9E37838-4EA5-345E-A3EF-8E676984F16B}"/>
          </ac:spMkLst>
        </pc:spChg>
        <pc:spChg chg="add del mod modVis">
          <ac:chgData name="Steiner Andreas 6206 ED" userId="e6377c33-a923-4f14-8587-531c474c7b48" providerId="ADAL" clId="{6ECD27E6-B224-41CD-B4E0-E297462320DD}" dt="2023-11-24T11:36:01.328" v="125898"/>
          <ac:spMkLst>
            <pc:docMk/>
            <pc:sldMk cId="299398864" sldId="256"/>
            <ac:spMk id="817" creationId="{4D8C086A-8D61-5856-BFF3-2B5137BCE7FA}"/>
          </ac:spMkLst>
        </pc:spChg>
        <pc:spChg chg="add del mod modVis">
          <ac:chgData name="Steiner Andreas 6206 ED" userId="e6377c33-a923-4f14-8587-531c474c7b48" providerId="ADAL" clId="{6ECD27E6-B224-41CD-B4E0-E297462320DD}" dt="2023-11-24T11:36:03.068" v="126053"/>
          <ac:spMkLst>
            <pc:docMk/>
            <pc:sldMk cId="299398864" sldId="256"/>
            <ac:spMk id="818" creationId="{C9A7F4E9-383B-54EA-1FFE-23AE249D3988}"/>
          </ac:spMkLst>
        </pc:spChg>
        <pc:spChg chg="add del mod modVis">
          <ac:chgData name="Steiner Andreas 6206 ED" userId="e6377c33-a923-4f14-8587-531c474c7b48" providerId="ADAL" clId="{6ECD27E6-B224-41CD-B4E0-E297462320DD}" dt="2023-11-24T11:36:04.838" v="126208"/>
          <ac:spMkLst>
            <pc:docMk/>
            <pc:sldMk cId="299398864" sldId="256"/>
            <ac:spMk id="819" creationId="{45E36644-6B70-1050-5613-2317C0840C01}"/>
          </ac:spMkLst>
        </pc:spChg>
        <pc:spChg chg="add del mod modVis">
          <ac:chgData name="Steiner Andreas 6206 ED" userId="e6377c33-a923-4f14-8587-531c474c7b48" providerId="ADAL" clId="{6ECD27E6-B224-41CD-B4E0-E297462320DD}" dt="2023-11-24T11:36:06.533" v="126363"/>
          <ac:spMkLst>
            <pc:docMk/>
            <pc:sldMk cId="299398864" sldId="256"/>
            <ac:spMk id="820" creationId="{D027A742-99C4-3B07-F107-D81819DFA3A8}"/>
          </ac:spMkLst>
        </pc:spChg>
        <pc:spChg chg="add del mod modVis">
          <ac:chgData name="Steiner Andreas 6206 ED" userId="e6377c33-a923-4f14-8587-531c474c7b48" providerId="ADAL" clId="{6ECD27E6-B224-41CD-B4E0-E297462320DD}" dt="2023-11-24T11:36:08.281" v="126518"/>
          <ac:spMkLst>
            <pc:docMk/>
            <pc:sldMk cId="299398864" sldId="256"/>
            <ac:spMk id="821" creationId="{40655385-BA30-04C5-C17E-9B2F19BB7A87}"/>
          </ac:spMkLst>
        </pc:spChg>
        <pc:spChg chg="add del mod modVis">
          <ac:chgData name="Steiner Andreas 6206 ED" userId="e6377c33-a923-4f14-8587-531c474c7b48" providerId="ADAL" clId="{6ECD27E6-B224-41CD-B4E0-E297462320DD}" dt="2023-11-24T11:36:10.128" v="126673"/>
          <ac:spMkLst>
            <pc:docMk/>
            <pc:sldMk cId="299398864" sldId="256"/>
            <ac:spMk id="822" creationId="{7E1BE624-6954-4DD8-AE8C-6D75C9915405}"/>
          </ac:spMkLst>
        </pc:spChg>
        <pc:spChg chg="add del mod modVis">
          <ac:chgData name="Steiner Andreas 6206 ED" userId="e6377c33-a923-4f14-8587-531c474c7b48" providerId="ADAL" clId="{6ECD27E6-B224-41CD-B4E0-E297462320DD}" dt="2023-11-24T11:36:12.033" v="126828"/>
          <ac:spMkLst>
            <pc:docMk/>
            <pc:sldMk cId="299398864" sldId="256"/>
            <ac:spMk id="823" creationId="{9C1DE620-9253-33E9-8B14-E22A7E31BFC0}"/>
          </ac:spMkLst>
        </pc:spChg>
        <pc:spChg chg="add del mod modVis">
          <ac:chgData name="Steiner Andreas 6206 ED" userId="e6377c33-a923-4f14-8587-531c474c7b48" providerId="ADAL" clId="{6ECD27E6-B224-41CD-B4E0-E297462320DD}" dt="2023-11-24T11:36:13.886" v="126983"/>
          <ac:spMkLst>
            <pc:docMk/>
            <pc:sldMk cId="299398864" sldId="256"/>
            <ac:spMk id="824" creationId="{1B2E2CE7-206D-CE79-9710-E97523F2CD11}"/>
          </ac:spMkLst>
        </pc:spChg>
        <pc:spChg chg="add del mod modVis">
          <ac:chgData name="Steiner Andreas 6206 ED" userId="e6377c33-a923-4f14-8587-531c474c7b48" providerId="ADAL" clId="{6ECD27E6-B224-41CD-B4E0-E297462320DD}" dt="2023-11-24T11:36:15.827" v="127138"/>
          <ac:spMkLst>
            <pc:docMk/>
            <pc:sldMk cId="299398864" sldId="256"/>
            <ac:spMk id="825" creationId="{B05D62A3-F41D-3079-4736-96571A4FF8CB}"/>
          </ac:spMkLst>
        </pc:spChg>
        <pc:spChg chg="add del mod modVis">
          <ac:chgData name="Steiner Andreas 6206 ED" userId="e6377c33-a923-4f14-8587-531c474c7b48" providerId="ADAL" clId="{6ECD27E6-B224-41CD-B4E0-E297462320DD}" dt="2023-11-24T11:36:18.497" v="127293"/>
          <ac:spMkLst>
            <pc:docMk/>
            <pc:sldMk cId="299398864" sldId="256"/>
            <ac:spMk id="826" creationId="{2D5E6EB9-49C1-1D34-9A8F-9FB3EAF1288B}"/>
          </ac:spMkLst>
        </pc:spChg>
        <pc:spChg chg="add del mod modVis">
          <ac:chgData name="Steiner Andreas 6206 ED" userId="e6377c33-a923-4f14-8587-531c474c7b48" providerId="ADAL" clId="{6ECD27E6-B224-41CD-B4E0-E297462320DD}" dt="2023-11-24T11:36:20.975" v="127448"/>
          <ac:spMkLst>
            <pc:docMk/>
            <pc:sldMk cId="299398864" sldId="256"/>
            <ac:spMk id="827" creationId="{8119B8AA-FF2F-0AB3-A8DE-99DA2F1E3DCF}"/>
          </ac:spMkLst>
        </pc:spChg>
        <pc:spChg chg="add del mod modVis">
          <ac:chgData name="Steiner Andreas 6206 ED" userId="e6377c33-a923-4f14-8587-531c474c7b48" providerId="ADAL" clId="{6ECD27E6-B224-41CD-B4E0-E297462320DD}" dt="2023-11-24T11:36:23.375" v="127603"/>
          <ac:spMkLst>
            <pc:docMk/>
            <pc:sldMk cId="299398864" sldId="256"/>
            <ac:spMk id="828" creationId="{464F0261-0DEB-AC95-2521-A5D8FBFD473C}"/>
          </ac:spMkLst>
        </pc:spChg>
        <pc:spChg chg="add del mod modVis">
          <ac:chgData name="Steiner Andreas 6206 ED" userId="e6377c33-a923-4f14-8587-531c474c7b48" providerId="ADAL" clId="{6ECD27E6-B224-41CD-B4E0-E297462320DD}" dt="2023-11-24T11:36:26.616" v="127758"/>
          <ac:spMkLst>
            <pc:docMk/>
            <pc:sldMk cId="299398864" sldId="256"/>
            <ac:spMk id="829" creationId="{58DD4638-B0D2-6F61-CD78-D7358A1233CD}"/>
          </ac:spMkLst>
        </pc:spChg>
        <pc:spChg chg="add del mod modVis">
          <ac:chgData name="Steiner Andreas 6206 ED" userId="e6377c33-a923-4f14-8587-531c474c7b48" providerId="ADAL" clId="{6ECD27E6-B224-41CD-B4E0-E297462320DD}" dt="2023-11-24T11:36:29.380" v="127913"/>
          <ac:spMkLst>
            <pc:docMk/>
            <pc:sldMk cId="299398864" sldId="256"/>
            <ac:spMk id="830" creationId="{373E0795-0709-8A01-3478-FD4233C3E181}"/>
          </ac:spMkLst>
        </pc:spChg>
        <pc:spChg chg="add del mod modVis">
          <ac:chgData name="Steiner Andreas 6206 ED" userId="e6377c33-a923-4f14-8587-531c474c7b48" providerId="ADAL" clId="{6ECD27E6-B224-41CD-B4E0-E297462320DD}" dt="2023-11-24T11:36:31.950" v="128068"/>
          <ac:spMkLst>
            <pc:docMk/>
            <pc:sldMk cId="299398864" sldId="256"/>
            <ac:spMk id="831" creationId="{373E0DB2-E8C0-86C9-BD52-123526C8CBE2}"/>
          </ac:spMkLst>
        </pc:spChg>
        <pc:spChg chg="add del mod modVis">
          <ac:chgData name="Steiner Andreas 6206 ED" userId="e6377c33-a923-4f14-8587-531c474c7b48" providerId="ADAL" clId="{6ECD27E6-B224-41CD-B4E0-E297462320DD}" dt="2023-11-24T11:36:34.183" v="128223"/>
          <ac:spMkLst>
            <pc:docMk/>
            <pc:sldMk cId="299398864" sldId="256"/>
            <ac:spMk id="832" creationId="{B9756258-06FD-F55E-5878-1289DA3BCF52}"/>
          </ac:spMkLst>
        </pc:spChg>
        <pc:spChg chg="add del mod modVis">
          <ac:chgData name="Steiner Andreas 6206 ED" userId="e6377c33-a923-4f14-8587-531c474c7b48" providerId="ADAL" clId="{6ECD27E6-B224-41CD-B4E0-E297462320DD}" dt="2023-11-24T11:36:36.182" v="128378"/>
          <ac:spMkLst>
            <pc:docMk/>
            <pc:sldMk cId="299398864" sldId="256"/>
            <ac:spMk id="833" creationId="{17BC3283-B4B6-00C8-9ABC-3B44A155B5BF}"/>
          </ac:spMkLst>
        </pc:spChg>
        <pc:spChg chg="add del mod modVis">
          <ac:chgData name="Steiner Andreas 6206 ED" userId="e6377c33-a923-4f14-8587-531c474c7b48" providerId="ADAL" clId="{6ECD27E6-B224-41CD-B4E0-E297462320DD}" dt="2023-11-24T11:36:38.387" v="128533"/>
          <ac:spMkLst>
            <pc:docMk/>
            <pc:sldMk cId="299398864" sldId="256"/>
            <ac:spMk id="834" creationId="{5E20587B-D2F2-E860-7550-99648893F623}"/>
          </ac:spMkLst>
        </pc:spChg>
        <pc:spChg chg="add del mod modVis">
          <ac:chgData name="Steiner Andreas 6206 ED" userId="e6377c33-a923-4f14-8587-531c474c7b48" providerId="ADAL" clId="{6ECD27E6-B224-41CD-B4E0-E297462320DD}" dt="2023-11-24T11:36:40.611" v="128688"/>
          <ac:spMkLst>
            <pc:docMk/>
            <pc:sldMk cId="299398864" sldId="256"/>
            <ac:spMk id="835" creationId="{BC6B6DC2-6914-A84C-E48B-3D2F77737409}"/>
          </ac:spMkLst>
        </pc:spChg>
        <pc:spChg chg="add del mod modVis">
          <ac:chgData name="Steiner Andreas 6206 ED" userId="e6377c33-a923-4f14-8587-531c474c7b48" providerId="ADAL" clId="{6ECD27E6-B224-41CD-B4E0-E297462320DD}" dt="2023-11-24T11:36:43.305" v="128843"/>
          <ac:spMkLst>
            <pc:docMk/>
            <pc:sldMk cId="299398864" sldId="256"/>
            <ac:spMk id="836" creationId="{116E7B0F-3CD8-73BF-EDB5-75EB50A9C57A}"/>
          </ac:spMkLst>
        </pc:spChg>
        <pc:spChg chg="add del mod modVis">
          <ac:chgData name="Steiner Andreas 6206 ED" userId="e6377c33-a923-4f14-8587-531c474c7b48" providerId="ADAL" clId="{6ECD27E6-B224-41CD-B4E0-E297462320DD}" dt="2023-11-24T11:36:45.445" v="128998"/>
          <ac:spMkLst>
            <pc:docMk/>
            <pc:sldMk cId="299398864" sldId="256"/>
            <ac:spMk id="837" creationId="{D7F88711-C625-FC7A-C7D1-455FA0EC8F8D}"/>
          </ac:spMkLst>
        </pc:spChg>
        <pc:spChg chg="add del mod modVis">
          <ac:chgData name="Steiner Andreas 6206 ED" userId="e6377c33-a923-4f14-8587-531c474c7b48" providerId="ADAL" clId="{6ECD27E6-B224-41CD-B4E0-E297462320DD}" dt="2023-11-24T11:36:47.343" v="129153"/>
          <ac:spMkLst>
            <pc:docMk/>
            <pc:sldMk cId="299398864" sldId="256"/>
            <ac:spMk id="838" creationId="{B267791A-B60E-54A8-D82E-2F70F17E0123}"/>
          </ac:spMkLst>
        </pc:spChg>
        <pc:spChg chg="add del mod modVis">
          <ac:chgData name="Steiner Andreas 6206 ED" userId="e6377c33-a923-4f14-8587-531c474c7b48" providerId="ADAL" clId="{6ECD27E6-B224-41CD-B4E0-E297462320DD}" dt="2023-11-24T11:36:49.316" v="129308"/>
          <ac:spMkLst>
            <pc:docMk/>
            <pc:sldMk cId="299398864" sldId="256"/>
            <ac:spMk id="839" creationId="{1ADA4648-4257-285C-E62D-207F3DBB021C}"/>
          </ac:spMkLst>
        </pc:spChg>
        <pc:spChg chg="add del mod modVis">
          <ac:chgData name="Steiner Andreas 6206 ED" userId="e6377c33-a923-4f14-8587-531c474c7b48" providerId="ADAL" clId="{6ECD27E6-B224-41CD-B4E0-E297462320DD}" dt="2023-11-24T11:36:51.347" v="129463"/>
          <ac:spMkLst>
            <pc:docMk/>
            <pc:sldMk cId="299398864" sldId="256"/>
            <ac:spMk id="840" creationId="{9BDF9C0C-65F2-9E55-2272-1F23CE5DB3E3}"/>
          </ac:spMkLst>
        </pc:spChg>
        <pc:spChg chg="add del mod modVis">
          <ac:chgData name="Steiner Andreas 6206 ED" userId="e6377c33-a923-4f14-8587-531c474c7b48" providerId="ADAL" clId="{6ECD27E6-B224-41CD-B4E0-E297462320DD}" dt="2023-11-24T11:36:53.634" v="129618"/>
          <ac:spMkLst>
            <pc:docMk/>
            <pc:sldMk cId="299398864" sldId="256"/>
            <ac:spMk id="841" creationId="{F1BC62DB-693F-89E3-CD0F-6B6E7BC365D3}"/>
          </ac:spMkLst>
        </pc:spChg>
        <pc:spChg chg="add del mod modVis">
          <ac:chgData name="Steiner Andreas 6206 ED" userId="e6377c33-a923-4f14-8587-531c474c7b48" providerId="ADAL" clId="{6ECD27E6-B224-41CD-B4E0-E297462320DD}" dt="2023-11-24T11:36:56.335" v="129773"/>
          <ac:spMkLst>
            <pc:docMk/>
            <pc:sldMk cId="299398864" sldId="256"/>
            <ac:spMk id="842" creationId="{3BCF8639-30F4-8717-AC91-A52338E7437E}"/>
          </ac:spMkLst>
        </pc:spChg>
        <pc:spChg chg="add del mod modVis">
          <ac:chgData name="Steiner Andreas 6206 ED" userId="e6377c33-a923-4f14-8587-531c474c7b48" providerId="ADAL" clId="{6ECD27E6-B224-41CD-B4E0-E297462320DD}" dt="2023-11-24T11:36:58.657" v="129928"/>
          <ac:spMkLst>
            <pc:docMk/>
            <pc:sldMk cId="299398864" sldId="256"/>
            <ac:spMk id="843" creationId="{3DB71142-FCF1-65A0-E164-53E998070D5E}"/>
          </ac:spMkLst>
        </pc:spChg>
        <pc:spChg chg="add del mod modVis">
          <ac:chgData name="Steiner Andreas 6206 ED" userId="e6377c33-a923-4f14-8587-531c474c7b48" providerId="ADAL" clId="{6ECD27E6-B224-41CD-B4E0-E297462320DD}" dt="2023-11-24T11:37:00.893" v="130083"/>
          <ac:spMkLst>
            <pc:docMk/>
            <pc:sldMk cId="299398864" sldId="256"/>
            <ac:spMk id="844" creationId="{A2A5BD2A-FB9D-53BB-80A7-AAEEC7F6F661}"/>
          </ac:spMkLst>
        </pc:spChg>
        <pc:spChg chg="add del mod modVis">
          <ac:chgData name="Steiner Andreas 6206 ED" userId="e6377c33-a923-4f14-8587-531c474c7b48" providerId="ADAL" clId="{6ECD27E6-B224-41CD-B4E0-E297462320DD}" dt="2023-11-24T11:37:02.674" v="130238"/>
          <ac:spMkLst>
            <pc:docMk/>
            <pc:sldMk cId="299398864" sldId="256"/>
            <ac:spMk id="845" creationId="{339EE83A-5988-6742-3D29-3F7FD5FFCF04}"/>
          </ac:spMkLst>
        </pc:spChg>
        <pc:spChg chg="add del mod modVis">
          <ac:chgData name="Steiner Andreas 6206 ED" userId="e6377c33-a923-4f14-8587-531c474c7b48" providerId="ADAL" clId="{6ECD27E6-B224-41CD-B4E0-E297462320DD}" dt="2023-11-24T11:37:04.420" v="130393"/>
          <ac:spMkLst>
            <pc:docMk/>
            <pc:sldMk cId="299398864" sldId="256"/>
            <ac:spMk id="846" creationId="{12B4D942-A7A3-3F0A-05F1-116C874D41C9}"/>
          </ac:spMkLst>
        </pc:spChg>
        <pc:spChg chg="add del mod modVis">
          <ac:chgData name="Steiner Andreas 6206 ED" userId="e6377c33-a923-4f14-8587-531c474c7b48" providerId="ADAL" clId="{6ECD27E6-B224-41CD-B4E0-E297462320DD}" dt="2023-11-24T11:37:06.280" v="130548"/>
          <ac:spMkLst>
            <pc:docMk/>
            <pc:sldMk cId="299398864" sldId="256"/>
            <ac:spMk id="847" creationId="{C2CCA683-A859-1FF7-80CC-CE86130220C5}"/>
          </ac:spMkLst>
        </pc:spChg>
        <pc:spChg chg="add del mod modVis">
          <ac:chgData name="Steiner Andreas 6206 ED" userId="e6377c33-a923-4f14-8587-531c474c7b48" providerId="ADAL" clId="{6ECD27E6-B224-41CD-B4E0-E297462320DD}" dt="2023-11-24T11:37:08.099" v="130703"/>
          <ac:spMkLst>
            <pc:docMk/>
            <pc:sldMk cId="299398864" sldId="256"/>
            <ac:spMk id="848" creationId="{8527EFEE-BB39-EEC5-B073-B124421F03D2}"/>
          </ac:spMkLst>
        </pc:spChg>
        <pc:spChg chg="add del mod modVis">
          <ac:chgData name="Steiner Andreas 6206 ED" userId="e6377c33-a923-4f14-8587-531c474c7b48" providerId="ADAL" clId="{6ECD27E6-B224-41CD-B4E0-E297462320DD}" dt="2023-11-24T11:37:09.717" v="130858"/>
          <ac:spMkLst>
            <pc:docMk/>
            <pc:sldMk cId="299398864" sldId="256"/>
            <ac:spMk id="849" creationId="{3531DC64-3731-4DC0-5755-C6C86E68E9FE}"/>
          </ac:spMkLst>
        </pc:spChg>
        <pc:spChg chg="add del mod modVis">
          <ac:chgData name="Steiner Andreas 6206 ED" userId="e6377c33-a923-4f14-8587-531c474c7b48" providerId="ADAL" clId="{6ECD27E6-B224-41CD-B4E0-E297462320DD}" dt="2023-11-24T11:37:11.464" v="131013"/>
          <ac:spMkLst>
            <pc:docMk/>
            <pc:sldMk cId="299398864" sldId="256"/>
            <ac:spMk id="850" creationId="{3DA32452-5A24-7439-CF8C-A56803773047}"/>
          </ac:spMkLst>
        </pc:spChg>
        <pc:spChg chg="add del mod modVis">
          <ac:chgData name="Steiner Andreas 6206 ED" userId="e6377c33-a923-4f14-8587-531c474c7b48" providerId="ADAL" clId="{6ECD27E6-B224-41CD-B4E0-E297462320DD}" dt="2023-11-24T11:37:13.105" v="131168"/>
          <ac:spMkLst>
            <pc:docMk/>
            <pc:sldMk cId="299398864" sldId="256"/>
            <ac:spMk id="851" creationId="{92FBFE19-1A59-06BF-DBA1-54B371BC5181}"/>
          </ac:spMkLst>
        </pc:spChg>
        <pc:spChg chg="add del mod modVis">
          <ac:chgData name="Steiner Andreas 6206 ED" userId="e6377c33-a923-4f14-8587-531c474c7b48" providerId="ADAL" clId="{6ECD27E6-B224-41CD-B4E0-E297462320DD}" dt="2023-11-24T11:37:14.785" v="131323"/>
          <ac:spMkLst>
            <pc:docMk/>
            <pc:sldMk cId="299398864" sldId="256"/>
            <ac:spMk id="852" creationId="{4DE88693-3293-BE80-917D-C9F9D3A305AB}"/>
          </ac:spMkLst>
        </pc:spChg>
        <pc:spChg chg="add del mod modVis">
          <ac:chgData name="Steiner Andreas 6206 ED" userId="e6377c33-a923-4f14-8587-531c474c7b48" providerId="ADAL" clId="{6ECD27E6-B224-41CD-B4E0-E297462320DD}" dt="2023-11-24T11:37:16.918" v="131478"/>
          <ac:spMkLst>
            <pc:docMk/>
            <pc:sldMk cId="299398864" sldId="256"/>
            <ac:spMk id="853" creationId="{304DA528-7409-CAF8-5C9D-6B5FE1FE4AAF}"/>
          </ac:spMkLst>
        </pc:spChg>
        <pc:spChg chg="add del mod modVis">
          <ac:chgData name="Steiner Andreas 6206 ED" userId="e6377c33-a923-4f14-8587-531c474c7b48" providerId="ADAL" clId="{6ECD27E6-B224-41CD-B4E0-E297462320DD}" dt="2023-11-24T11:37:18.883" v="131633"/>
          <ac:spMkLst>
            <pc:docMk/>
            <pc:sldMk cId="299398864" sldId="256"/>
            <ac:spMk id="854" creationId="{ECEE97C8-B9D7-AFBB-0310-7C946E0B6633}"/>
          </ac:spMkLst>
        </pc:spChg>
        <pc:spChg chg="add del mod modVis">
          <ac:chgData name="Steiner Andreas 6206 ED" userId="e6377c33-a923-4f14-8587-531c474c7b48" providerId="ADAL" clId="{6ECD27E6-B224-41CD-B4E0-E297462320DD}" dt="2023-11-24T11:37:20.787" v="131788"/>
          <ac:spMkLst>
            <pc:docMk/>
            <pc:sldMk cId="299398864" sldId="256"/>
            <ac:spMk id="855" creationId="{E189B502-C3EB-E60A-5926-62C06632371C}"/>
          </ac:spMkLst>
        </pc:spChg>
        <pc:spChg chg="add del mod modVis">
          <ac:chgData name="Steiner Andreas 6206 ED" userId="e6377c33-a923-4f14-8587-531c474c7b48" providerId="ADAL" clId="{6ECD27E6-B224-41CD-B4E0-E297462320DD}" dt="2023-11-24T11:37:22.640" v="131943"/>
          <ac:spMkLst>
            <pc:docMk/>
            <pc:sldMk cId="299398864" sldId="256"/>
            <ac:spMk id="856" creationId="{988BEBD7-9BB0-2B75-D40F-1FB432FD489B}"/>
          </ac:spMkLst>
        </pc:spChg>
        <pc:spChg chg="add del mod modVis">
          <ac:chgData name="Steiner Andreas 6206 ED" userId="e6377c33-a923-4f14-8587-531c474c7b48" providerId="ADAL" clId="{6ECD27E6-B224-41CD-B4E0-E297462320DD}" dt="2023-11-24T11:37:24.427" v="132098"/>
          <ac:spMkLst>
            <pc:docMk/>
            <pc:sldMk cId="299398864" sldId="256"/>
            <ac:spMk id="857" creationId="{40BA6682-703B-98E0-713D-DD459DE6106E}"/>
          </ac:spMkLst>
        </pc:spChg>
        <pc:spChg chg="add del mod modVis">
          <ac:chgData name="Steiner Andreas 6206 ED" userId="e6377c33-a923-4f14-8587-531c474c7b48" providerId="ADAL" clId="{6ECD27E6-B224-41CD-B4E0-E297462320DD}" dt="2023-11-24T11:37:26.083" v="132253"/>
          <ac:spMkLst>
            <pc:docMk/>
            <pc:sldMk cId="299398864" sldId="256"/>
            <ac:spMk id="858" creationId="{0D6C401B-C90A-9F69-56F2-179B99A31EBB}"/>
          </ac:spMkLst>
        </pc:spChg>
        <pc:spChg chg="add del mod modVis">
          <ac:chgData name="Steiner Andreas 6206 ED" userId="e6377c33-a923-4f14-8587-531c474c7b48" providerId="ADAL" clId="{6ECD27E6-B224-41CD-B4E0-E297462320DD}" dt="2023-11-24T11:37:28.275" v="132408"/>
          <ac:spMkLst>
            <pc:docMk/>
            <pc:sldMk cId="299398864" sldId="256"/>
            <ac:spMk id="859" creationId="{CECACB01-3F08-2A53-A6B3-A1647EC85549}"/>
          </ac:spMkLst>
        </pc:spChg>
        <pc:spChg chg="add del mod modVis">
          <ac:chgData name="Steiner Andreas 6206 ED" userId="e6377c33-a923-4f14-8587-531c474c7b48" providerId="ADAL" clId="{6ECD27E6-B224-41CD-B4E0-E297462320DD}" dt="2023-11-24T11:37:30.899" v="132563"/>
          <ac:spMkLst>
            <pc:docMk/>
            <pc:sldMk cId="299398864" sldId="256"/>
            <ac:spMk id="860" creationId="{98DBAC5C-280E-F039-CA5C-9616638D3177}"/>
          </ac:spMkLst>
        </pc:spChg>
        <pc:spChg chg="add del mod modVis">
          <ac:chgData name="Steiner Andreas 6206 ED" userId="e6377c33-a923-4f14-8587-531c474c7b48" providerId="ADAL" clId="{6ECD27E6-B224-41CD-B4E0-E297462320DD}" dt="2023-11-24T11:37:33.582" v="132718"/>
          <ac:spMkLst>
            <pc:docMk/>
            <pc:sldMk cId="299398864" sldId="256"/>
            <ac:spMk id="861" creationId="{3CC45E8A-285F-9634-D7A4-2C1B69E5FDFB}"/>
          </ac:spMkLst>
        </pc:spChg>
        <pc:spChg chg="add del mod modVis">
          <ac:chgData name="Steiner Andreas 6206 ED" userId="e6377c33-a923-4f14-8587-531c474c7b48" providerId="ADAL" clId="{6ECD27E6-B224-41CD-B4E0-E297462320DD}" dt="2023-11-24T11:37:36.423" v="132873"/>
          <ac:spMkLst>
            <pc:docMk/>
            <pc:sldMk cId="299398864" sldId="256"/>
            <ac:spMk id="862" creationId="{7F34D40B-76D6-2491-6108-CB1AC6048C89}"/>
          </ac:spMkLst>
        </pc:spChg>
        <pc:spChg chg="add del mod modVis">
          <ac:chgData name="Steiner Andreas 6206 ED" userId="e6377c33-a923-4f14-8587-531c474c7b48" providerId="ADAL" clId="{6ECD27E6-B224-41CD-B4E0-E297462320DD}" dt="2023-11-24T11:37:39.282" v="133028"/>
          <ac:spMkLst>
            <pc:docMk/>
            <pc:sldMk cId="299398864" sldId="256"/>
            <ac:spMk id="863" creationId="{4FF3CA9E-F649-1788-BFEB-4941B7D183C9}"/>
          </ac:spMkLst>
        </pc:spChg>
        <pc:spChg chg="add del mod modVis">
          <ac:chgData name="Steiner Andreas 6206 ED" userId="e6377c33-a923-4f14-8587-531c474c7b48" providerId="ADAL" clId="{6ECD27E6-B224-41CD-B4E0-E297462320DD}" dt="2023-11-24T11:37:41.663" v="133183"/>
          <ac:spMkLst>
            <pc:docMk/>
            <pc:sldMk cId="299398864" sldId="256"/>
            <ac:spMk id="864" creationId="{46519924-9020-0AE6-DF4B-F46E7B9BDF95}"/>
          </ac:spMkLst>
        </pc:spChg>
        <pc:spChg chg="add del mod modVis">
          <ac:chgData name="Steiner Andreas 6206 ED" userId="e6377c33-a923-4f14-8587-531c474c7b48" providerId="ADAL" clId="{6ECD27E6-B224-41CD-B4E0-E297462320DD}" dt="2023-11-24T11:37:44.944" v="133338"/>
          <ac:spMkLst>
            <pc:docMk/>
            <pc:sldMk cId="299398864" sldId="256"/>
            <ac:spMk id="865" creationId="{78005DA6-A4C5-AE6A-B15D-FC46C221F497}"/>
          </ac:spMkLst>
        </pc:spChg>
        <pc:spChg chg="add del mod modVis">
          <ac:chgData name="Steiner Andreas 6206 ED" userId="e6377c33-a923-4f14-8587-531c474c7b48" providerId="ADAL" clId="{6ECD27E6-B224-41CD-B4E0-E297462320DD}" dt="2023-11-24T11:37:48.911" v="133493"/>
          <ac:spMkLst>
            <pc:docMk/>
            <pc:sldMk cId="299398864" sldId="256"/>
            <ac:spMk id="866" creationId="{3C9D9B2D-B65F-3789-4CE1-0AB132083A72}"/>
          </ac:spMkLst>
        </pc:spChg>
        <pc:spChg chg="add del mod modVis">
          <ac:chgData name="Steiner Andreas 6206 ED" userId="e6377c33-a923-4f14-8587-531c474c7b48" providerId="ADAL" clId="{6ECD27E6-B224-41CD-B4E0-E297462320DD}" dt="2023-11-24T11:37:52.161" v="133648"/>
          <ac:spMkLst>
            <pc:docMk/>
            <pc:sldMk cId="299398864" sldId="256"/>
            <ac:spMk id="867" creationId="{673A80A9-E371-87CD-C021-0C033D1BDDAE}"/>
          </ac:spMkLst>
        </pc:spChg>
        <pc:spChg chg="add del mod modVis">
          <ac:chgData name="Steiner Andreas 6206 ED" userId="e6377c33-a923-4f14-8587-531c474c7b48" providerId="ADAL" clId="{6ECD27E6-B224-41CD-B4E0-E297462320DD}" dt="2023-11-24T11:37:54.805" v="133803"/>
          <ac:spMkLst>
            <pc:docMk/>
            <pc:sldMk cId="299398864" sldId="256"/>
            <ac:spMk id="868" creationId="{A0FCF812-49FA-345A-0D22-6B9FC7161421}"/>
          </ac:spMkLst>
        </pc:spChg>
        <pc:spChg chg="add del mod modVis">
          <ac:chgData name="Steiner Andreas 6206 ED" userId="e6377c33-a923-4f14-8587-531c474c7b48" providerId="ADAL" clId="{6ECD27E6-B224-41CD-B4E0-E297462320DD}" dt="2023-11-24T11:37:57.291" v="133958"/>
          <ac:spMkLst>
            <pc:docMk/>
            <pc:sldMk cId="299398864" sldId="256"/>
            <ac:spMk id="869" creationId="{32B038E0-8CE6-7196-46B1-AD3ECD08ED6E}"/>
          </ac:spMkLst>
        </pc:spChg>
        <pc:spChg chg="add del mod modVis">
          <ac:chgData name="Steiner Andreas 6206 ED" userId="e6377c33-a923-4f14-8587-531c474c7b48" providerId="ADAL" clId="{6ECD27E6-B224-41CD-B4E0-E297462320DD}" dt="2023-11-24T11:37:59.850" v="134113"/>
          <ac:spMkLst>
            <pc:docMk/>
            <pc:sldMk cId="299398864" sldId="256"/>
            <ac:spMk id="870" creationId="{05CD648B-05B0-8ED1-E926-BB0AE603C2A7}"/>
          </ac:spMkLst>
        </pc:spChg>
        <pc:spChg chg="add del mod modVis">
          <ac:chgData name="Steiner Andreas 6206 ED" userId="e6377c33-a923-4f14-8587-531c474c7b48" providerId="ADAL" clId="{6ECD27E6-B224-41CD-B4E0-E297462320DD}" dt="2023-11-24T11:38:02.067" v="134268"/>
          <ac:spMkLst>
            <pc:docMk/>
            <pc:sldMk cId="299398864" sldId="256"/>
            <ac:spMk id="871" creationId="{A4FE6FC0-29D8-799F-2721-D206E900A831}"/>
          </ac:spMkLst>
        </pc:spChg>
        <pc:spChg chg="add del mod modVis">
          <ac:chgData name="Steiner Andreas 6206 ED" userId="e6377c33-a923-4f14-8587-531c474c7b48" providerId="ADAL" clId="{6ECD27E6-B224-41CD-B4E0-E297462320DD}" dt="2023-11-24T11:38:04.655" v="134423"/>
          <ac:spMkLst>
            <pc:docMk/>
            <pc:sldMk cId="299398864" sldId="256"/>
            <ac:spMk id="872" creationId="{72D198EF-C492-B7D0-FD53-F0A5CBC043D5}"/>
          </ac:spMkLst>
        </pc:spChg>
        <pc:spChg chg="add del mod modVis">
          <ac:chgData name="Steiner Andreas 6206 ED" userId="e6377c33-a923-4f14-8587-531c474c7b48" providerId="ADAL" clId="{6ECD27E6-B224-41CD-B4E0-E297462320DD}" dt="2023-11-24T11:38:07.130" v="134578"/>
          <ac:spMkLst>
            <pc:docMk/>
            <pc:sldMk cId="299398864" sldId="256"/>
            <ac:spMk id="873" creationId="{9905A199-B3D0-4FD0-3B94-92D7BB589BE6}"/>
          </ac:spMkLst>
        </pc:spChg>
        <pc:spChg chg="add del mod modVis">
          <ac:chgData name="Steiner Andreas 6206 ED" userId="e6377c33-a923-4f14-8587-531c474c7b48" providerId="ADAL" clId="{6ECD27E6-B224-41CD-B4E0-E297462320DD}" dt="2023-11-24T11:38:10.049" v="134733"/>
          <ac:spMkLst>
            <pc:docMk/>
            <pc:sldMk cId="299398864" sldId="256"/>
            <ac:spMk id="874" creationId="{B4144EBE-1ADE-47FA-CF4A-8FC35C30587D}"/>
          </ac:spMkLst>
        </pc:spChg>
        <pc:spChg chg="add del mod modVis">
          <ac:chgData name="Steiner Andreas 6206 ED" userId="e6377c33-a923-4f14-8587-531c474c7b48" providerId="ADAL" clId="{6ECD27E6-B224-41CD-B4E0-E297462320DD}" dt="2023-11-24T11:38:12.655" v="134888"/>
          <ac:spMkLst>
            <pc:docMk/>
            <pc:sldMk cId="299398864" sldId="256"/>
            <ac:spMk id="875" creationId="{776782A5-EDB3-4816-4925-9A55D2DDFAB8}"/>
          </ac:spMkLst>
        </pc:spChg>
        <pc:spChg chg="add del mod modVis">
          <ac:chgData name="Steiner Andreas 6206 ED" userId="e6377c33-a923-4f14-8587-531c474c7b48" providerId="ADAL" clId="{6ECD27E6-B224-41CD-B4E0-E297462320DD}" dt="2023-11-24T11:38:15.038" v="135043"/>
          <ac:spMkLst>
            <pc:docMk/>
            <pc:sldMk cId="299398864" sldId="256"/>
            <ac:spMk id="876" creationId="{E53361D7-C77A-A094-82E2-FADD80998829}"/>
          </ac:spMkLst>
        </pc:spChg>
        <pc:spChg chg="add del mod modVis">
          <ac:chgData name="Steiner Andreas 6206 ED" userId="e6377c33-a923-4f14-8587-531c474c7b48" providerId="ADAL" clId="{6ECD27E6-B224-41CD-B4E0-E297462320DD}" dt="2023-11-24T11:38:17.426" v="135198"/>
          <ac:spMkLst>
            <pc:docMk/>
            <pc:sldMk cId="299398864" sldId="256"/>
            <ac:spMk id="877" creationId="{A24CB972-E59C-10D9-FE17-2DFB370362A5}"/>
          </ac:spMkLst>
        </pc:spChg>
        <pc:spChg chg="add del mod modVis">
          <ac:chgData name="Steiner Andreas 6206 ED" userId="e6377c33-a923-4f14-8587-531c474c7b48" providerId="ADAL" clId="{6ECD27E6-B224-41CD-B4E0-E297462320DD}" dt="2023-11-24T11:38:20.526" v="135353"/>
          <ac:spMkLst>
            <pc:docMk/>
            <pc:sldMk cId="299398864" sldId="256"/>
            <ac:spMk id="878" creationId="{AD8E858D-2798-1F22-F1C9-4B92C434D820}"/>
          </ac:spMkLst>
        </pc:spChg>
        <pc:spChg chg="add del mod modVis">
          <ac:chgData name="Steiner Andreas 6206 ED" userId="e6377c33-a923-4f14-8587-531c474c7b48" providerId="ADAL" clId="{6ECD27E6-B224-41CD-B4E0-E297462320DD}" dt="2023-11-24T11:38:23.093" v="135508"/>
          <ac:spMkLst>
            <pc:docMk/>
            <pc:sldMk cId="299398864" sldId="256"/>
            <ac:spMk id="879" creationId="{CDF8ABEE-09BB-1E7F-CC75-78C424F9D6F9}"/>
          </ac:spMkLst>
        </pc:spChg>
        <pc:spChg chg="add del mod modVis">
          <ac:chgData name="Steiner Andreas 6206 ED" userId="e6377c33-a923-4f14-8587-531c474c7b48" providerId="ADAL" clId="{6ECD27E6-B224-41CD-B4E0-E297462320DD}" dt="2023-11-24T11:38:25.702" v="135663"/>
          <ac:spMkLst>
            <pc:docMk/>
            <pc:sldMk cId="299398864" sldId="256"/>
            <ac:spMk id="880" creationId="{2171DB2F-9ECB-6CCD-C712-D030F8F96854}"/>
          </ac:spMkLst>
        </pc:spChg>
        <pc:spChg chg="add del mod modVis">
          <ac:chgData name="Steiner Andreas 6206 ED" userId="e6377c33-a923-4f14-8587-531c474c7b48" providerId="ADAL" clId="{6ECD27E6-B224-41CD-B4E0-E297462320DD}" dt="2023-11-24T11:38:28.471" v="135818"/>
          <ac:spMkLst>
            <pc:docMk/>
            <pc:sldMk cId="299398864" sldId="256"/>
            <ac:spMk id="881" creationId="{53BC52C2-67F9-F2AA-60A7-F2834CD60A8D}"/>
          </ac:spMkLst>
        </pc:spChg>
        <pc:spChg chg="add del mod modVis">
          <ac:chgData name="Steiner Andreas 6206 ED" userId="e6377c33-a923-4f14-8587-531c474c7b48" providerId="ADAL" clId="{6ECD27E6-B224-41CD-B4E0-E297462320DD}" dt="2023-11-24T11:38:31.060" v="135973"/>
          <ac:spMkLst>
            <pc:docMk/>
            <pc:sldMk cId="299398864" sldId="256"/>
            <ac:spMk id="882" creationId="{3822DE12-2C8B-BFDE-64A1-93C66B5EA499}"/>
          </ac:spMkLst>
        </pc:spChg>
        <pc:spChg chg="add del mod modVis">
          <ac:chgData name="Steiner Andreas 6206 ED" userId="e6377c33-a923-4f14-8587-531c474c7b48" providerId="ADAL" clId="{6ECD27E6-B224-41CD-B4E0-E297462320DD}" dt="2023-11-24T11:38:33.583" v="136128"/>
          <ac:spMkLst>
            <pc:docMk/>
            <pc:sldMk cId="299398864" sldId="256"/>
            <ac:spMk id="883" creationId="{1E01BB6A-2F3F-A947-AA9D-D8F68D52EACF}"/>
          </ac:spMkLst>
        </pc:spChg>
        <pc:spChg chg="add del mod modVis">
          <ac:chgData name="Steiner Andreas 6206 ED" userId="e6377c33-a923-4f14-8587-531c474c7b48" providerId="ADAL" clId="{6ECD27E6-B224-41CD-B4E0-E297462320DD}" dt="2023-11-24T11:38:35.860" v="136283"/>
          <ac:spMkLst>
            <pc:docMk/>
            <pc:sldMk cId="299398864" sldId="256"/>
            <ac:spMk id="884" creationId="{76A464DC-950A-FB3C-F9A6-21E338E6E4B1}"/>
          </ac:spMkLst>
        </pc:spChg>
        <pc:spChg chg="add del mod modVis">
          <ac:chgData name="Steiner Andreas 6206 ED" userId="e6377c33-a923-4f14-8587-531c474c7b48" providerId="ADAL" clId="{6ECD27E6-B224-41CD-B4E0-E297462320DD}" dt="2023-11-24T11:38:38.964" v="136438"/>
          <ac:spMkLst>
            <pc:docMk/>
            <pc:sldMk cId="299398864" sldId="256"/>
            <ac:spMk id="885" creationId="{B9A6A001-7EFA-F264-DF70-7AA6ABF3F658}"/>
          </ac:spMkLst>
        </pc:spChg>
        <pc:spChg chg="add del mod modVis">
          <ac:chgData name="Steiner Andreas 6206 ED" userId="e6377c33-a923-4f14-8587-531c474c7b48" providerId="ADAL" clId="{6ECD27E6-B224-41CD-B4E0-E297462320DD}" dt="2023-11-24T11:38:41.371" v="136593"/>
          <ac:spMkLst>
            <pc:docMk/>
            <pc:sldMk cId="299398864" sldId="256"/>
            <ac:spMk id="886" creationId="{E42089D9-D8FA-DBED-72E4-055FF21E7712}"/>
          </ac:spMkLst>
        </pc:spChg>
        <pc:spChg chg="add del mod modVis">
          <ac:chgData name="Steiner Andreas 6206 ED" userId="e6377c33-a923-4f14-8587-531c474c7b48" providerId="ADAL" clId="{6ECD27E6-B224-41CD-B4E0-E297462320DD}" dt="2023-11-24T11:38:43.775" v="136748"/>
          <ac:spMkLst>
            <pc:docMk/>
            <pc:sldMk cId="299398864" sldId="256"/>
            <ac:spMk id="887" creationId="{B1F9A7E1-5AD8-818A-8C56-CA427DA34091}"/>
          </ac:spMkLst>
        </pc:spChg>
        <pc:spChg chg="add del mod modVis">
          <ac:chgData name="Steiner Andreas 6206 ED" userId="e6377c33-a923-4f14-8587-531c474c7b48" providerId="ADAL" clId="{6ECD27E6-B224-41CD-B4E0-E297462320DD}" dt="2023-11-24T11:38:46.172" v="136903"/>
          <ac:spMkLst>
            <pc:docMk/>
            <pc:sldMk cId="299398864" sldId="256"/>
            <ac:spMk id="888" creationId="{50A72EE6-A625-C310-161B-C3924A9A241A}"/>
          </ac:spMkLst>
        </pc:spChg>
        <pc:spChg chg="add del mod modVis">
          <ac:chgData name="Steiner Andreas 6206 ED" userId="e6377c33-a923-4f14-8587-531c474c7b48" providerId="ADAL" clId="{6ECD27E6-B224-41CD-B4E0-E297462320DD}" dt="2023-11-24T11:38:48.552" v="137058"/>
          <ac:spMkLst>
            <pc:docMk/>
            <pc:sldMk cId="299398864" sldId="256"/>
            <ac:spMk id="889" creationId="{4401E8F6-F863-15EB-90E1-273E8E41C1D8}"/>
          </ac:spMkLst>
        </pc:spChg>
        <pc:spChg chg="add del mod modVis">
          <ac:chgData name="Steiner Andreas 6206 ED" userId="e6377c33-a923-4f14-8587-531c474c7b48" providerId="ADAL" clId="{6ECD27E6-B224-41CD-B4E0-E297462320DD}" dt="2023-11-24T11:38:51.604" v="137213"/>
          <ac:spMkLst>
            <pc:docMk/>
            <pc:sldMk cId="299398864" sldId="256"/>
            <ac:spMk id="890" creationId="{BA4CECB8-3375-9BE3-5DCF-F2A0E536813C}"/>
          </ac:spMkLst>
        </pc:spChg>
        <pc:spChg chg="add del mod modVis">
          <ac:chgData name="Steiner Andreas 6206 ED" userId="e6377c33-a923-4f14-8587-531c474c7b48" providerId="ADAL" clId="{6ECD27E6-B224-41CD-B4E0-E297462320DD}" dt="2023-11-24T11:38:53.926" v="137368"/>
          <ac:spMkLst>
            <pc:docMk/>
            <pc:sldMk cId="299398864" sldId="256"/>
            <ac:spMk id="891" creationId="{1C863AD8-4031-C5CF-A169-6191C3C3A8B3}"/>
          </ac:spMkLst>
        </pc:spChg>
        <pc:spChg chg="add del mod modVis">
          <ac:chgData name="Steiner Andreas 6206 ED" userId="e6377c33-a923-4f14-8587-531c474c7b48" providerId="ADAL" clId="{6ECD27E6-B224-41CD-B4E0-E297462320DD}" dt="2023-11-24T11:38:56.597" v="137523"/>
          <ac:spMkLst>
            <pc:docMk/>
            <pc:sldMk cId="299398864" sldId="256"/>
            <ac:spMk id="892" creationId="{3B6B966B-BC9D-32B9-BA79-FE2B98CED142}"/>
          </ac:spMkLst>
        </pc:spChg>
        <pc:spChg chg="add del mod modVis">
          <ac:chgData name="Steiner Andreas 6206 ED" userId="e6377c33-a923-4f14-8587-531c474c7b48" providerId="ADAL" clId="{6ECD27E6-B224-41CD-B4E0-E297462320DD}" dt="2023-11-24T11:38:58.912" v="137678"/>
          <ac:spMkLst>
            <pc:docMk/>
            <pc:sldMk cId="299398864" sldId="256"/>
            <ac:spMk id="893" creationId="{32C7991C-3B15-CBAE-4115-905F9BEEA301}"/>
          </ac:spMkLst>
        </pc:spChg>
        <pc:spChg chg="add del mod modVis">
          <ac:chgData name="Steiner Andreas 6206 ED" userId="e6377c33-a923-4f14-8587-531c474c7b48" providerId="ADAL" clId="{6ECD27E6-B224-41CD-B4E0-E297462320DD}" dt="2023-11-24T11:39:01.330" v="137833"/>
          <ac:spMkLst>
            <pc:docMk/>
            <pc:sldMk cId="299398864" sldId="256"/>
            <ac:spMk id="894" creationId="{FA96C6C1-4D69-AA64-43E1-F94EE9E43BB3}"/>
          </ac:spMkLst>
        </pc:spChg>
        <pc:spChg chg="add del mod modVis">
          <ac:chgData name="Steiner Andreas 6206 ED" userId="e6377c33-a923-4f14-8587-531c474c7b48" providerId="ADAL" clId="{6ECD27E6-B224-41CD-B4E0-E297462320DD}" dt="2023-11-24T11:39:04.323" v="137988"/>
          <ac:spMkLst>
            <pc:docMk/>
            <pc:sldMk cId="299398864" sldId="256"/>
            <ac:spMk id="895" creationId="{0C1A2CA6-5265-98D4-CEF4-71A741CCE84E}"/>
          </ac:spMkLst>
        </pc:spChg>
        <pc:spChg chg="add del mod modVis">
          <ac:chgData name="Steiner Andreas 6206 ED" userId="e6377c33-a923-4f14-8587-531c474c7b48" providerId="ADAL" clId="{6ECD27E6-B224-41CD-B4E0-E297462320DD}" dt="2023-11-24T11:39:07.075" v="138143"/>
          <ac:spMkLst>
            <pc:docMk/>
            <pc:sldMk cId="299398864" sldId="256"/>
            <ac:spMk id="896" creationId="{1F3F2E5E-8366-D278-B3BF-D91AE4071D54}"/>
          </ac:spMkLst>
        </pc:spChg>
        <pc:spChg chg="add del mod modVis">
          <ac:chgData name="Steiner Andreas 6206 ED" userId="e6377c33-a923-4f14-8587-531c474c7b48" providerId="ADAL" clId="{6ECD27E6-B224-41CD-B4E0-E297462320DD}" dt="2023-11-24T11:39:09.381" v="138298"/>
          <ac:spMkLst>
            <pc:docMk/>
            <pc:sldMk cId="299398864" sldId="256"/>
            <ac:spMk id="897" creationId="{3E3DDC04-0DAA-C2D8-D64A-382B4274284F}"/>
          </ac:spMkLst>
        </pc:spChg>
        <pc:spChg chg="add del mod modVis">
          <ac:chgData name="Steiner Andreas 6206 ED" userId="e6377c33-a923-4f14-8587-531c474c7b48" providerId="ADAL" clId="{6ECD27E6-B224-41CD-B4E0-E297462320DD}" dt="2023-11-24T11:39:11.878" v="138453"/>
          <ac:spMkLst>
            <pc:docMk/>
            <pc:sldMk cId="299398864" sldId="256"/>
            <ac:spMk id="898" creationId="{31EF866E-7B68-195C-01EC-AB0689E98C19}"/>
          </ac:spMkLst>
        </pc:spChg>
        <pc:spChg chg="add del mod modVis">
          <ac:chgData name="Steiner Andreas 6206 ED" userId="e6377c33-a923-4f14-8587-531c474c7b48" providerId="ADAL" clId="{6ECD27E6-B224-41CD-B4E0-E297462320DD}" dt="2023-11-24T11:39:14.371" v="138608"/>
          <ac:spMkLst>
            <pc:docMk/>
            <pc:sldMk cId="299398864" sldId="256"/>
            <ac:spMk id="899" creationId="{1DCE16E5-A457-3057-37D5-1E3FE0F8A25E}"/>
          </ac:spMkLst>
        </pc:spChg>
        <pc:spChg chg="add del mod modVis">
          <ac:chgData name="Steiner Andreas 6206 ED" userId="e6377c33-a923-4f14-8587-531c474c7b48" providerId="ADAL" clId="{6ECD27E6-B224-41CD-B4E0-E297462320DD}" dt="2023-11-24T11:39:17.103" v="138763"/>
          <ac:spMkLst>
            <pc:docMk/>
            <pc:sldMk cId="299398864" sldId="256"/>
            <ac:spMk id="900" creationId="{ED6FDB8E-945E-D672-621E-299D22018186}"/>
          </ac:spMkLst>
        </pc:spChg>
        <pc:spChg chg="add del mod modVis">
          <ac:chgData name="Steiner Andreas 6206 ED" userId="e6377c33-a923-4f14-8587-531c474c7b48" providerId="ADAL" clId="{6ECD27E6-B224-41CD-B4E0-E297462320DD}" dt="2023-11-24T11:39:19.795" v="138918"/>
          <ac:spMkLst>
            <pc:docMk/>
            <pc:sldMk cId="299398864" sldId="256"/>
            <ac:spMk id="901" creationId="{DA32C662-DA91-C538-26AF-7D3E31B04EFE}"/>
          </ac:spMkLst>
        </pc:spChg>
        <pc:spChg chg="add del mod modVis">
          <ac:chgData name="Steiner Andreas 6206 ED" userId="e6377c33-a923-4f14-8587-531c474c7b48" providerId="ADAL" clId="{6ECD27E6-B224-41CD-B4E0-E297462320DD}" dt="2023-11-24T11:39:22.581" v="139073"/>
          <ac:spMkLst>
            <pc:docMk/>
            <pc:sldMk cId="299398864" sldId="256"/>
            <ac:spMk id="902" creationId="{9FC5EB10-E405-1F58-0671-148BB785FD2D}"/>
          </ac:spMkLst>
        </pc:spChg>
        <pc:spChg chg="add del mod modVis">
          <ac:chgData name="Steiner Andreas 6206 ED" userId="e6377c33-a923-4f14-8587-531c474c7b48" providerId="ADAL" clId="{6ECD27E6-B224-41CD-B4E0-E297462320DD}" dt="2023-11-24T11:39:25.113" v="139228"/>
          <ac:spMkLst>
            <pc:docMk/>
            <pc:sldMk cId="299398864" sldId="256"/>
            <ac:spMk id="903" creationId="{99F22C74-D843-2C76-0173-CEB13AA4F67D}"/>
          </ac:spMkLst>
        </pc:spChg>
        <pc:spChg chg="add del mod modVis">
          <ac:chgData name="Steiner Andreas 6206 ED" userId="e6377c33-a923-4f14-8587-531c474c7b48" providerId="ADAL" clId="{6ECD27E6-B224-41CD-B4E0-E297462320DD}" dt="2023-11-24T11:39:27.906" v="139383"/>
          <ac:spMkLst>
            <pc:docMk/>
            <pc:sldMk cId="299398864" sldId="256"/>
            <ac:spMk id="904" creationId="{A9176066-55BF-B81F-0F5F-CAFE1E9B8C93}"/>
          </ac:spMkLst>
        </pc:spChg>
        <pc:spChg chg="add del mod modVis">
          <ac:chgData name="Steiner Andreas 6206 ED" userId="e6377c33-a923-4f14-8587-531c474c7b48" providerId="ADAL" clId="{6ECD27E6-B224-41CD-B4E0-E297462320DD}" dt="2023-11-24T11:39:30.424" v="139538"/>
          <ac:spMkLst>
            <pc:docMk/>
            <pc:sldMk cId="299398864" sldId="256"/>
            <ac:spMk id="905" creationId="{7DA4AB5B-69CA-B945-867A-080C169441D1}"/>
          </ac:spMkLst>
        </pc:spChg>
        <pc:spChg chg="add del mod modVis">
          <ac:chgData name="Steiner Andreas 6206 ED" userId="e6377c33-a923-4f14-8587-531c474c7b48" providerId="ADAL" clId="{6ECD27E6-B224-41CD-B4E0-E297462320DD}" dt="2023-11-24T11:39:33.559" v="139693"/>
          <ac:spMkLst>
            <pc:docMk/>
            <pc:sldMk cId="299398864" sldId="256"/>
            <ac:spMk id="906" creationId="{35867C73-E005-833E-F623-BE9A4CE6F8A7}"/>
          </ac:spMkLst>
        </pc:spChg>
        <pc:spChg chg="add del mod modVis">
          <ac:chgData name="Steiner Andreas 6206 ED" userId="e6377c33-a923-4f14-8587-531c474c7b48" providerId="ADAL" clId="{6ECD27E6-B224-41CD-B4E0-E297462320DD}" dt="2023-11-24T11:39:36.239" v="139848"/>
          <ac:spMkLst>
            <pc:docMk/>
            <pc:sldMk cId="299398864" sldId="256"/>
            <ac:spMk id="907" creationId="{417D857D-8C44-6452-152A-1FABEFCA0556}"/>
          </ac:spMkLst>
        </pc:spChg>
        <pc:spChg chg="add del mod modVis">
          <ac:chgData name="Steiner Andreas 6206 ED" userId="e6377c33-a923-4f14-8587-531c474c7b48" providerId="ADAL" clId="{6ECD27E6-B224-41CD-B4E0-E297462320DD}" dt="2023-11-24T11:39:39.215" v="140003"/>
          <ac:spMkLst>
            <pc:docMk/>
            <pc:sldMk cId="299398864" sldId="256"/>
            <ac:spMk id="908" creationId="{6A9C0C2F-5799-0D58-8295-D99C1B1FD6AB}"/>
          </ac:spMkLst>
        </pc:spChg>
        <pc:spChg chg="add del mod modVis">
          <ac:chgData name="Steiner Andreas 6206 ED" userId="e6377c33-a923-4f14-8587-531c474c7b48" providerId="ADAL" clId="{6ECD27E6-B224-41CD-B4E0-E297462320DD}" dt="2023-11-24T11:39:41.790" v="140158"/>
          <ac:spMkLst>
            <pc:docMk/>
            <pc:sldMk cId="299398864" sldId="256"/>
            <ac:spMk id="909" creationId="{C494103F-4C20-1697-7739-07396FB0FCFF}"/>
          </ac:spMkLst>
        </pc:spChg>
        <pc:spChg chg="add del mod modVis">
          <ac:chgData name="Steiner Andreas 6206 ED" userId="e6377c33-a923-4f14-8587-531c474c7b48" providerId="ADAL" clId="{6ECD27E6-B224-41CD-B4E0-E297462320DD}" dt="2023-11-24T11:39:44.410" v="140313"/>
          <ac:spMkLst>
            <pc:docMk/>
            <pc:sldMk cId="299398864" sldId="256"/>
            <ac:spMk id="910" creationId="{009DD1B1-2D64-04C6-A77D-5E227367ACA5}"/>
          </ac:spMkLst>
        </pc:spChg>
        <pc:spChg chg="add del mod modVis">
          <ac:chgData name="Steiner Andreas 6206 ED" userId="e6377c33-a923-4f14-8587-531c474c7b48" providerId="ADAL" clId="{6ECD27E6-B224-41CD-B4E0-E297462320DD}" dt="2023-11-24T11:39:46.937" v="140468"/>
          <ac:spMkLst>
            <pc:docMk/>
            <pc:sldMk cId="299398864" sldId="256"/>
            <ac:spMk id="911" creationId="{9646451C-1C0A-D907-3F57-0285223E1DFE}"/>
          </ac:spMkLst>
        </pc:spChg>
        <pc:spChg chg="add del mod modVis">
          <ac:chgData name="Steiner Andreas 6206 ED" userId="e6377c33-a923-4f14-8587-531c474c7b48" providerId="ADAL" clId="{6ECD27E6-B224-41CD-B4E0-E297462320DD}" dt="2023-11-24T11:39:49.483" v="140623"/>
          <ac:spMkLst>
            <pc:docMk/>
            <pc:sldMk cId="299398864" sldId="256"/>
            <ac:spMk id="912" creationId="{667FE0C4-A105-3E34-9D93-4919BF1B8324}"/>
          </ac:spMkLst>
        </pc:spChg>
        <pc:spChg chg="add del mod modVis">
          <ac:chgData name="Steiner Andreas 6206 ED" userId="e6377c33-a923-4f14-8587-531c474c7b48" providerId="ADAL" clId="{6ECD27E6-B224-41CD-B4E0-E297462320DD}" dt="2023-11-24T11:39:52.383" v="140778"/>
          <ac:spMkLst>
            <pc:docMk/>
            <pc:sldMk cId="299398864" sldId="256"/>
            <ac:spMk id="913" creationId="{8514BB13-0FCF-36AB-36F8-A158A67564F0}"/>
          </ac:spMkLst>
        </pc:spChg>
        <pc:spChg chg="add del mod modVis">
          <ac:chgData name="Steiner Andreas 6206 ED" userId="e6377c33-a923-4f14-8587-531c474c7b48" providerId="ADAL" clId="{6ECD27E6-B224-41CD-B4E0-E297462320DD}" dt="2023-11-24T11:39:55.444" v="140933"/>
          <ac:spMkLst>
            <pc:docMk/>
            <pc:sldMk cId="299398864" sldId="256"/>
            <ac:spMk id="914" creationId="{51C20158-B214-917D-AC0E-EA5D9CD9E13D}"/>
          </ac:spMkLst>
        </pc:spChg>
        <pc:spChg chg="add del mod modVis">
          <ac:chgData name="Steiner Andreas 6206 ED" userId="e6377c33-a923-4f14-8587-531c474c7b48" providerId="ADAL" clId="{6ECD27E6-B224-41CD-B4E0-E297462320DD}" dt="2023-11-24T11:39:57.821" v="141088"/>
          <ac:spMkLst>
            <pc:docMk/>
            <pc:sldMk cId="299398864" sldId="256"/>
            <ac:spMk id="915" creationId="{186937E6-E96A-6273-70D0-631A14946F2F}"/>
          </ac:spMkLst>
        </pc:spChg>
        <pc:spChg chg="add del mod modVis">
          <ac:chgData name="Steiner Andreas 6206 ED" userId="e6377c33-a923-4f14-8587-531c474c7b48" providerId="ADAL" clId="{6ECD27E6-B224-41CD-B4E0-E297462320DD}" dt="2023-11-24T11:40:00.223" v="141243"/>
          <ac:spMkLst>
            <pc:docMk/>
            <pc:sldMk cId="299398864" sldId="256"/>
            <ac:spMk id="916" creationId="{39C065D3-7F7E-017C-A137-9CACF81B3C37}"/>
          </ac:spMkLst>
        </pc:spChg>
        <pc:spChg chg="add del mod modVis">
          <ac:chgData name="Steiner Andreas 6206 ED" userId="e6377c33-a923-4f14-8587-531c474c7b48" providerId="ADAL" clId="{6ECD27E6-B224-41CD-B4E0-E297462320DD}" dt="2023-11-24T11:40:03.031" v="141398"/>
          <ac:spMkLst>
            <pc:docMk/>
            <pc:sldMk cId="299398864" sldId="256"/>
            <ac:spMk id="917" creationId="{8278486C-DD38-B66F-01EC-EDF3F2DD5483}"/>
          </ac:spMkLst>
        </pc:spChg>
        <pc:spChg chg="add del mod modVis">
          <ac:chgData name="Steiner Andreas 6206 ED" userId="e6377c33-a923-4f14-8587-531c474c7b48" providerId="ADAL" clId="{6ECD27E6-B224-41CD-B4E0-E297462320DD}" dt="2023-11-24T11:40:05.816" v="141553"/>
          <ac:spMkLst>
            <pc:docMk/>
            <pc:sldMk cId="299398864" sldId="256"/>
            <ac:spMk id="918" creationId="{97C58985-BE62-B39D-C2A9-2004C8C28E02}"/>
          </ac:spMkLst>
        </pc:spChg>
        <pc:spChg chg="add del mod modVis">
          <ac:chgData name="Steiner Andreas 6206 ED" userId="e6377c33-a923-4f14-8587-531c474c7b48" providerId="ADAL" clId="{6ECD27E6-B224-41CD-B4E0-E297462320DD}" dt="2023-11-24T11:40:08.486" v="141708"/>
          <ac:spMkLst>
            <pc:docMk/>
            <pc:sldMk cId="299398864" sldId="256"/>
            <ac:spMk id="919" creationId="{3FDC1C61-884D-3DF3-924B-D5B8CA4CBD8D}"/>
          </ac:spMkLst>
        </pc:spChg>
        <pc:spChg chg="add del mod modVis">
          <ac:chgData name="Steiner Andreas 6206 ED" userId="e6377c33-a923-4f14-8587-531c474c7b48" providerId="ADAL" clId="{6ECD27E6-B224-41CD-B4E0-E297462320DD}" dt="2023-11-24T11:40:11.021" v="141863"/>
          <ac:spMkLst>
            <pc:docMk/>
            <pc:sldMk cId="299398864" sldId="256"/>
            <ac:spMk id="920" creationId="{E6568DF1-0255-A445-8960-FE6414585F0C}"/>
          </ac:spMkLst>
        </pc:spChg>
        <pc:spChg chg="add del mod modVis">
          <ac:chgData name="Steiner Andreas 6206 ED" userId="e6377c33-a923-4f14-8587-531c474c7b48" providerId="ADAL" clId="{6ECD27E6-B224-41CD-B4E0-E297462320DD}" dt="2023-11-24T11:40:13.523" v="142018"/>
          <ac:spMkLst>
            <pc:docMk/>
            <pc:sldMk cId="299398864" sldId="256"/>
            <ac:spMk id="921" creationId="{359D4041-EC7B-F91D-A34C-741D11D54C6C}"/>
          </ac:spMkLst>
        </pc:spChg>
        <pc:spChg chg="add del mod modVis">
          <ac:chgData name="Steiner Andreas 6206 ED" userId="e6377c33-a923-4f14-8587-531c474c7b48" providerId="ADAL" clId="{6ECD27E6-B224-41CD-B4E0-E297462320DD}" dt="2023-11-24T11:40:17.419" v="142173"/>
          <ac:spMkLst>
            <pc:docMk/>
            <pc:sldMk cId="299398864" sldId="256"/>
            <ac:spMk id="922" creationId="{946A84D9-7F0F-AC70-61D7-F11CA54B6B70}"/>
          </ac:spMkLst>
        </pc:spChg>
        <pc:spChg chg="add del mod modVis">
          <ac:chgData name="Steiner Andreas 6206 ED" userId="e6377c33-a923-4f14-8587-531c474c7b48" providerId="ADAL" clId="{6ECD27E6-B224-41CD-B4E0-E297462320DD}" dt="2023-11-24T11:40:20.735" v="142328"/>
          <ac:spMkLst>
            <pc:docMk/>
            <pc:sldMk cId="299398864" sldId="256"/>
            <ac:spMk id="923" creationId="{2C2665CC-5046-4C4D-0884-122FB597C4B9}"/>
          </ac:spMkLst>
        </pc:spChg>
        <pc:spChg chg="add del mod modVis">
          <ac:chgData name="Steiner Andreas 6206 ED" userId="e6377c33-a923-4f14-8587-531c474c7b48" providerId="ADAL" clId="{6ECD27E6-B224-41CD-B4E0-E297462320DD}" dt="2023-11-24T11:40:23.477" v="142483"/>
          <ac:spMkLst>
            <pc:docMk/>
            <pc:sldMk cId="299398864" sldId="256"/>
            <ac:spMk id="924" creationId="{E4BBED69-6AA1-B3EF-8BD8-4F09BA2D8F2A}"/>
          </ac:spMkLst>
        </pc:spChg>
        <pc:spChg chg="add del mod modVis">
          <ac:chgData name="Steiner Andreas 6206 ED" userId="e6377c33-a923-4f14-8587-531c474c7b48" providerId="ADAL" clId="{6ECD27E6-B224-41CD-B4E0-E297462320DD}" dt="2023-11-24T11:40:26.110" v="142638"/>
          <ac:spMkLst>
            <pc:docMk/>
            <pc:sldMk cId="299398864" sldId="256"/>
            <ac:spMk id="925" creationId="{A8012954-1C31-74A6-D721-0413EB6B5B97}"/>
          </ac:spMkLst>
        </pc:spChg>
        <pc:spChg chg="add del mod modVis">
          <ac:chgData name="Steiner Andreas 6206 ED" userId="e6377c33-a923-4f14-8587-531c474c7b48" providerId="ADAL" clId="{6ECD27E6-B224-41CD-B4E0-E297462320DD}" dt="2023-11-24T11:40:29.365" v="142793"/>
          <ac:spMkLst>
            <pc:docMk/>
            <pc:sldMk cId="299398864" sldId="256"/>
            <ac:spMk id="926" creationId="{0B1D1AE3-AD01-B60A-CB1A-D9CCC9B6D2F1}"/>
          </ac:spMkLst>
        </pc:spChg>
        <pc:spChg chg="add del mod modVis">
          <ac:chgData name="Steiner Andreas 6206 ED" userId="e6377c33-a923-4f14-8587-531c474c7b48" providerId="ADAL" clId="{6ECD27E6-B224-41CD-B4E0-E297462320DD}" dt="2023-11-24T11:40:31.852" v="142948"/>
          <ac:spMkLst>
            <pc:docMk/>
            <pc:sldMk cId="299398864" sldId="256"/>
            <ac:spMk id="927" creationId="{868522BB-DEB3-7492-02AA-668AB6C2F574}"/>
          </ac:spMkLst>
        </pc:spChg>
        <pc:spChg chg="add del mod modVis">
          <ac:chgData name="Steiner Andreas 6206 ED" userId="e6377c33-a923-4f14-8587-531c474c7b48" providerId="ADAL" clId="{6ECD27E6-B224-41CD-B4E0-E297462320DD}" dt="2023-11-24T11:40:34.372" v="143103"/>
          <ac:spMkLst>
            <pc:docMk/>
            <pc:sldMk cId="299398864" sldId="256"/>
            <ac:spMk id="928" creationId="{77931830-257A-2C96-8135-340C3B86C417}"/>
          </ac:spMkLst>
        </pc:spChg>
        <pc:spChg chg="add del mod modVis">
          <ac:chgData name="Steiner Andreas 6206 ED" userId="e6377c33-a923-4f14-8587-531c474c7b48" providerId="ADAL" clId="{6ECD27E6-B224-41CD-B4E0-E297462320DD}" dt="2023-11-24T11:40:37.304" v="143258"/>
          <ac:spMkLst>
            <pc:docMk/>
            <pc:sldMk cId="299398864" sldId="256"/>
            <ac:spMk id="929" creationId="{F19CA6F9-5A5A-5EEC-AC33-9EDCB147D01B}"/>
          </ac:spMkLst>
        </pc:spChg>
        <pc:spChg chg="add del mod modVis">
          <ac:chgData name="Steiner Andreas 6206 ED" userId="e6377c33-a923-4f14-8587-531c474c7b48" providerId="ADAL" clId="{6ECD27E6-B224-41CD-B4E0-E297462320DD}" dt="2023-11-24T11:40:40.203" v="143413"/>
          <ac:spMkLst>
            <pc:docMk/>
            <pc:sldMk cId="299398864" sldId="256"/>
            <ac:spMk id="930" creationId="{EE20FE1C-1597-613B-51D4-4696E441DBD7}"/>
          </ac:spMkLst>
        </pc:spChg>
        <pc:spChg chg="add del mod modVis">
          <ac:chgData name="Steiner Andreas 6206 ED" userId="e6377c33-a923-4f14-8587-531c474c7b48" providerId="ADAL" clId="{6ECD27E6-B224-41CD-B4E0-E297462320DD}" dt="2023-11-24T11:40:43.198" v="143568"/>
          <ac:spMkLst>
            <pc:docMk/>
            <pc:sldMk cId="299398864" sldId="256"/>
            <ac:spMk id="931" creationId="{398DED24-ED80-824E-BEB8-4F8923426642}"/>
          </ac:spMkLst>
        </pc:spChg>
        <pc:spChg chg="add del mod modVis">
          <ac:chgData name="Steiner Andreas 6206 ED" userId="e6377c33-a923-4f14-8587-531c474c7b48" providerId="ADAL" clId="{6ECD27E6-B224-41CD-B4E0-E297462320DD}" dt="2023-11-24T11:40:45.773" v="143723"/>
          <ac:spMkLst>
            <pc:docMk/>
            <pc:sldMk cId="299398864" sldId="256"/>
            <ac:spMk id="932" creationId="{F58DA146-F7CB-867B-01B6-2F29C00D1814}"/>
          </ac:spMkLst>
        </pc:spChg>
        <pc:spChg chg="add del mod modVis">
          <ac:chgData name="Steiner Andreas 6206 ED" userId="e6377c33-a923-4f14-8587-531c474c7b48" providerId="ADAL" clId="{6ECD27E6-B224-41CD-B4E0-E297462320DD}" dt="2023-11-24T11:40:48.625" v="143878"/>
          <ac:spMkLst>
            <pc:docMk/>
            <pc:sldMk cId="299398864" sldId="256"/>
            <ac:spMk id="933" creationId="{62DCA8FF-52FC-0BC4-4573-915A15FDC198}"/>
          </ac:spMkLst>
        </pc:spChg>
        <pc:spChg chg="add del mod modVis">
          <ac:chgData name="Steiner Andreas 6206 ED" userId="e6377c33-a923-4f14-8587-531c474c7b48" providerId="ADAL" clId="{6ECD27E6-B224-41CD-B4E0-E297462320DD}" dt="2023-11-24T11:40:51.310" v="144033"/>
          <ac:spMkLst>
            <pc:docMk/>
            <pc:sldMk cId="299398864" sldId="256"/>
            <ac:spMk id="934" creationId="{23373D7C-5EDD-AC0F-9929-261BB3B7C302}"/>
          </ac:spMkLst>
        </pc:spChg>
        <pc:spChg chg="add del mod modVis">
          <ac:chgData name="Steiner Andreas 6206 ED" userId="e6377c33-a923-4f14-8587-531c474c7b48" providerId="ADAL" clId="{6ECD27E6-B224-41CD-B4E0-E297462320DD}" dt="2023-11-24T11:40:54.233" v="144188"/>
          <ac:spMkLst>
            <pc:docMk/>
            <pc:sldMk cId="299398864" sldId="256"/>
            <ac:spMk id="935" creationId="{AF6BD46A-1CF8-3BF1-031F-55B7E232E268}"/>
          </ac:spMkLst>
        </pc:spChg>
        <pc:spChg chg="add del mod modVis">
          <ac:chgData name="Steiner Andreas 6206 ED" userId="e6377c33-a923-4f14-8587-531c474c7b48" providerId="ADAL" clId="{6ECD27E6-B224-41CD-B4E0-E297462320DD}" dt="2023-11-24T11:40:56.902" v="144343"/>
          <ac:spMkLst>
            <pc:docMk/>
            <pc:sldMk cId="299398864" sldId="256"/>
            <ac:spMk id="936" creationId="{38DC17CE-C454-A284-5100-EBF20B9B7447}"/>
          </ac:spMkLst>
        </pc:spChg>
        <pc:spChg chg="add del mod modVis">
          <ac:chgData name="Steiner Andreas 6206 ED" userId="e6377c33-a923-4f14-8587-531c474c7b48" providerId="ADAL" clId="{6ECD27E6-B224-41CD-B4E0-E297462320DD}" dt="2023-11-24T11:40:59.480" v="144498"/>
          <ac:spMkLst>
            <pc:docMk/>
            <pc:sldMk cId="299398864" sldId="256"/>
            <ac:spMk id="937" creationId="{00C46971-56E5-BB9B-933D-A26799DBF8F8}"/>
          </ac:spMkLst>
        </pc:spChg>
        <pc:spChg chg="add del mod modVis">
          <ac:chgData name="Steiner Andreas 6206 ED" userId="e6377c33-a923-4f14-8587-531c474c7b48" providerId="ADAL" clId="{6ECD27E6-B224-41CD-B4E0-E297462320DD}" dt="2023-11-24T11:41:01.994" v="144653"/>
          <ac:spMkLst>
            <pc:docMk/>
            <pc:sldMk cId="299398864" sldId="256"/>
            <ac:spMk id="938" creationId="{A231B70C-7E37-6A31-50E4-23E437D28726}"/>
          </ac:spMkLst>
        </pc:spChg>
        <pc:spChg chg="add del mod modVis">
          <ac:chgData name="Steiner Andreas 6206 ED" userId="e6377c33-a923-4f14-8587-531c474c7b48" providerId="ADAL" clId="{6ECD27E6-B224-41CD-B4E0-E297462320DD}" dt="2023-11-24T11:41:04.831" v="144808"/>
          <ac:spMkLst>
            <pc:docMk/>
            <pc:sldMk cId="299398864" sldId="256"/>
            <ac:spMk id="939" creationId="{3B8B74DB-1C71-7DE9-000E-05A975BCC4BF}"/>
          </ac:spMkLst>
        </pc:spChg>
        <pc:spChg chg="add del mod modVis">
          <ac:chgData name="Steiner Andreas 6206 ED" userId="e6377c33-a923-4f14-8587-531c474c7b48" providerId="ADAL" clId="{6ECD27E6-B224-41CD-B4E0-E297462320DD}" dt="2023-11-24T11:41:07.870" v="144963"/>
          <ac:spMkLst>
            <pc:docMk/>
            <pc:sldMk cId="299398864" sldId="256"/>
            <ac:spMk id="940" creationId="{8CD1B2BC-7D6C-A0F5-2C2D-61CEB448BC61}"/>
          </ac:spMkLst>
        </pc:spChg>
        <pc:spChg chg="add del mod modVis">
          <ac:chgData name="Steiner Andreas 6206 ED" userId="e6377c33-a923-4f14-8587-531c474c7b48" providerId="ADAL" clId="{6ECD27E6-B224-41CD-B4E0-E297462320DD}" dt="2023-11-24T11:41:10.900" v="145118"/>
          <ac:spMkLst>
            <pc:docMk/>
            <pc:sldMk cId="299398864" sldId="256"/>
            <ac:spMk id="941" creationId="{5AF8713E-609D-02F2-BFFB-93FC92151779}"/>
          </ac:spMkLst>
        </pc:spChg>
        <pc:spChg chg="add del mod modVis">
          <ac:chgData name="Steiner Andreas 6206 ED" userId="e6377c33-a923-4f14-8587-531c474c7b48" providerId="ADAL" clId="{6ECD27E6-B224-41CD-B4E0-E297462320DD}" dt="2023-11-24T11:41:13.948" v="145273"/>
          <ac:spMkLst>
            <pc:docMk/>
            <pc:sldMk cId="299398864" sldId="256"/>
            <ac:spMk id="942" creationId="{AFD446FE-5FAC-9B85-36D6-82DAD07D976D}"/>
          </ac:spMkLst>
        </pc:spChg>
        <pc:spChg chg="add del mod modVis">
          <ac:chgData name="Steiner Andreas 6206 ED" userId="e6377c33-a923-4f14-8587-531c474c7b48" providerId="ADAL" clId="{6ECD27E6-B224-41CD-B4E0-E297462320DD}" dt="2023-11-24T11:41:16.984" v="145428"/>
          <ac:spMkLst>
            <pc:docMk/>
            <pc:sldMk cId="299398864" sldId="256"/>
            <ac:spMk id="943" creationId="{37CC9CD5-E688-FE35-A7DF-C980CAD511B8}"/>
          </ac:spMkLst>
        </pc:spChg>
        <pc:spChg chg="add del mod modVis">
          <ac:chgData name="Steiner Andreas 6206 ED" userId="e6377c33-a923-4f14-8587-531c474c7b48" providerId="ADAL" clId="{6ECD27E6-B224-41CD-B4E0-E297462320DD}" dt="2023-11-24T11:41:20.073" v="145583"/>
          <ac:spMkLst>
            <pc:docMk/>
            <pc:sldMk cId="299398864" sldId="256"/>
            <ac:spMk id="944" creationId="{AA72BC55-8B75-7DBC-44EA-5B0E6987C0EF}"/>
          </ac:spMkLst>
        </pc:spChg>
        <pc:spChg chg="add del mod modVis">
          <ac:chgData name="Steiner Andreas 6206 ED" userId="e6377c33-a923-4f14-8587-531c474c7b48" providerId="ADAL" clId="{6ECD27E6-B224-41CD-B4E0-E297462320DD}" dt="2023-11-24T11:41:22.738" v="145738"/>
          <ac:spMkLst>
            <pc:docMk/>
            <pc:sldMk cId="299398864" sldId="256"/>
            <ac:spMk id="945" creationId="{0FB042D8-48FA-E977-F0E2-A2E635B59BBE}"/>
          </ac:spMkLst>
        </pc:spChg>
        <pc:spChg chg="add del mod modVis">
          <ac:chgData name="Steiner Andreas 6206 ED" userId="e6377c33-a923-4f14-8587-531c474c7b48" providerId="ADAL" clId="{6ECD27E6-B224-41CD-B4E0-E297462320DD}" dt="2023-11-24T11:41:26.572" v="145893"/>
          <ac:spMkLst>
            <pc:docMk/>
            <pc:sldMk cId="299398864" sldId="256"/>
            <ac:spMk id="946" creationId="{71DF3D7D-FA95-DF0E-6475-939874AC9C59}"/>
          </ac:spMkLst>
        </pc:spChg>
        <pc:spChg chg="add del mod modVis">
          <ac:chgData name="Steiner Andreas 6206 ED" userId="e6377c33-a923-4f14-8587-531c474c7b48" providerId="ADAL" clId="{6ECD27E6-B224-41CD-B4E0-E297462320DD}" dt="2023-11-24T11:41:29.693" v="146048"/>
          <ac:spMkLst>
            <pc:docMk/>
            <pc:sldMk cId="299398864" sldId="256"/>
            <ac:spMk id="947" creationId="{9D280CEB-EF6F-5736-2089-B4B4EF1ACC91}"/>
          </ac:spMkLst>
        </pc:spChg>
        <pc:spChg chg="add del mod modVis">
          <ac:chgData name="Steiner Andreas 6206 ED" userId="e6377c33-a923-4f14-8587-531c474c7b48" providerId="ADAL" clId="{6ECD27E6-B224-41CD-B4E0-E297462320DD}" dt="2023-11-24T11:41:32.168" v="146203"/>
          <ac:spMkLst>
            <pc:docMk/>
            <pc:sldMk cId="299398864" sldId="256"/>
            <ac:spMk id="948" creationId="{A017793D-E28F-05E5-3190-B05AC9DF5E94}"/>
          </ac:spMkLst>
        </pc:spChg>
        <pc:spChg chg="add del mod modVis">
          <ac:chgData name="Steiner Andreas 6206 ED" userId="e6377c33-a923-4f14-8587-531c474c7b48" providerId="ADAL" clId="{6ECD27E6-B224-41CD-B4E0-E297462320DD}" dt="2023-11-24T11:41:34.294" v="146358"/>
          <ac:spMkLst>
            <pc:docMk/>
            <pc:sldMk cId="299398864" sldId="256"/>
            <ac:spMk id="949" creationId="{C63E058B-3DB7-375E-A9AA-A531F2B61F07}"/>
          </ac:spMkLst>
        </pc:spChg>
        <pc:spChg chg="add del mod modVis">
          <ac:chgData name="Steiner Andreas 6206 ED" userId="e6377c33-a923-4f14-8587-531c474c7b48" providerId="ADAL" clId="{6ECD27E6-B224-41CD-B4E0-E297462320DD}" dt="2023-11-24T11:41:36.414" v="146513"/>
          <ac:spMkLst>
            <pc:docMk/>
            <pc:sldMk cId="299398864" sldId="256"/>
            <ac:spMk id="950" creationId="{1893E5C9-A2DB-EFBC-9AE4-0650F9886FA2}"/>
          </ac:spMkLst>
        </pc:spChg>
        <pc:spChg chg="add del mod modVis">
          <ac:chgData name="Steiner Andreas 6206 ED" userId="e6377c33-a923-4f14-8587-531c474c7b48" providerId="ADAL" clId="{6ECD27E6-B224-41CD-B4E0-E297462320DD}" dt="2023-11-24T11:41:38.637" v="146668"/>
          <ac:spMkLst>
            <pc:docMk/>
            <pc:sldMk cId="299398864" sldId="256"/>
            <ac:spMk id="951" creationId="{2270C52F-76BB-8F6C-953D-BDECBDBF29CB}"/>
          </ac:spMkLst>
        </pc:spChg>
        <pc:spChg chg="add del mod modVis">
          <ac:chgData name="Steiner Andreas 6206 ED" userId="e6377c33-a923-4f14-8587-531c474c7b48" providerId="ADAL" clId="{6ECD27E6-B224-41CD-B4E0-E297462320DD}" dt="2023-11-24T11:41:41.476" v="146823"/>
          <ac:spMkLst>
            <pc:docMk/>
            <pc:sldMk cId="299398864" sldId="256"/>
            <ac:spMk id="952" creationId="{BDCA829C-9122-804C-B402-F4D0C75CB466}"/>
          </ac:spMkLst>
        </pc:spChg>
        <pc:spChg chg="add del mod modVis">
          <ac:chgData name="Steiner Andreas 6206 ED" userId="e6377c33-a923-4f14-8587-531c474c7b48" providerId="ADAL" clId="{6ECD27E6-B224-41CD-B4E0-E297462320DD}" dt="2023-11-24T11:41:43.629" v="146978"/>
          <ac:spMkLst>
            <pc:docMk/>
            <pc:sldMk cId="299398864" sldId="256"/>
            <ac:spMk id="953" creationId="{AFB3FBFE-6080-5BAE-1900-9CEF42032F40}"/>
          </ac:spMkLst>
        </pc:spChg>
        <pc:spChg chg="add del mod modVis">
          <ac:chgData name="Steiner Andreas 6206 ED" userId="e6377c33-a923-4f14-8587-531c474c7b48" providerId="ADAL" clId="{6ECD27E6-B224-41CD-B4E0-E297462320DD}" dt="2023-11-24T11:41:45.599" v="147133"/>
          <ac:spMkLst>
            <pc:docMk/>
            <pc:sldMk cId="299398864" sldId="256"/>
            <ac:spMk id="954" creationId="{7714B475-5EA3-C3C9-ADF8-763810A25ABB}"/>
          </ac:spMkLst>
        </pc:spChg>
        <pc:spChg chg="add del mod modVis">
          <ac:chgData name="Steiner Andreas 6206 ED" userId="e6377c33-a923-4f14-8587-531c474c7b48" providerId="ADAL" clId="{6ECD27E6-B224-41CD-B4E0-E297462320DD}" dt="2023-11-24T11:41:48.119" v="147288"/>
          <ac:spMkLst>
            <pc:docMk/>
            <pc:sldMk cId="299398864" sldId="256"/>
            <ac:spMk id="955" creationId="{12C6977D-0C38-7677-611A-01F9BFB12CFD}"/>
          </ac:spMkLst>
        </pc:spChg>
        <pc:spChg chg="add del mod modVis">
          <ac:chgData name="Steiner Andreas 6206 ED" userId="e6377c33-a923-4f14-8587-531c474c7b48" providerId="ADAL" clId="{6ECD27E6-B224-41CD-B4E0-E297462320DD}" dt="2023-11-24T11:41:50.312" v="147443"/>
          <ac:spMkLst>
            <pc:docMk/>
            <pc:sldMk cId="299398864" sldId="256"/>
            <ac:spMk id="956" creationId="{65653F6B-0A94-1129-8FC1-137B0B9261C1}"/>
          </ac:spMkLst>
        </pc:spChg>
        <pc:spChg chg="add del mod modVis">
          <ac:chgData name="Steiner Andreas 6206 ED" userId="e6377c33-a923-4f14-8587-531c474c7b48" providerId="ADAL" clId="{6ECD27E6-B224-41CD-B4E0-E297462320DD}" dt="2023-11-24T11:41:52.708" v="147598"/>
          <ac:spMkLst>
            <pc:docMk/>
            <pc:sldMk cId="299398864" sldId="256"/>
            <ac:spMk id="957" creationId="{71220C51-04A1-A9E1-0A63-D0C89B679C67}"/>
          </ac:spMkLst>
        </pc:spChg>
        <pc:spChg chg="add del mod modVis">
          <ac:chgData name="Steiner Andreas 6206 ED" userId="e6377c33-a923-4f14-8587-531c474c7b48" providerId="ADAL" clId="{6ECD27E6-B224-41CD-B4E0-E297462320DD}" dt="2023-11-24T11:41:55.069" v="147753"/>
          <ac:spMkLst>
            <pc:docMk/>
            <pc:sldMk cId="299398864" sldId="256"/>
            <ac:spMk id="958" creationId="{C20E464D-FF4E-0C74-8947-CC221514BA73}"/>
          </ac:spMkLst>
        </pc:spChg>
        <pc:spChg chg="add del mod modVis">
          <ac:chgData name="Steiner Andreas 6206 ED" userId="e6377c33-a923-4f14-8587-531c474c7b48" providerId="ADAL" clId="{6ECD27E6-B224-41CD-B4E0-E297462320DD}" dt="2023-11-24T11:41:58.340" v="147908"/>
          <ac:spMkLst>
            <pc:docMk/>
            <pc:sldMk cId="299398864" sldId="256"/>
            <ac:spMk id="959" creationId="{F1BFD9F5-9707-45A0-F3C9-8EE894383760}"/>
          </ac:spMkLst>
        </pc:spChg>
        <pc:spChg chg="add del mod modVis">
          <ac:chgData name="Steiner Andreas 6206 ED" userId="e6377c33-a923-4f14-8587-531c474c7b48" providerId="ADAL" clId="{6ECD27E6-B224-41CD-B4E0-E297462320DD}" dt="2023-11-24T11:42:01.652" v="148063"/>
          <ac:spMkLst>
            <pc:docMk/>
            <pc:sldMk cId="299398864" sldId="256"/>
            <ac:spMk id="960" creationId="{5FA55A8C-2B4B-7E0B-8175-3A3A055E7E62}"/>
          </ac:spMkLst>
        </pc:spChg>
        <pc:spChg chg="add del mod modVis">
          <ac:chgData name="Steiner Andreas 6206 ED" userId="e6377c33-a923-4f14-8587-531c474c7b48" providerId="ADAL" clId="{6ECD27E6-B224-41CD-B4E0-E297462320DD}" dt="2023-11-24T11:42:04.860" v="148218"/>
          <ac:spMkLst>
            <pc:docMk/>
            <pc:sldMk cId="299398864" sldId="256"/>
            <ac:spMk id="961" creationId="{E32E5667-4AEE-2C17-5259-7AF92099D0C9}"/>
          </ac:spMkLst>
        </pc:spChg>
        <pc:spChg chg="add del mod modVis">
          <ac:chgData name="Steiner Andreas 6206 ED" userId="e6377c33-a923-4f14-8587-531c474c7b48" providerId="ADAL" clId="{6ECD27E6-B224-41CD-B4E0-E297462320DD}" dt="2023-11-24T11:42:07.363" v="148373"/>
          <ac:spMkLst>
            <pc:docMk/>
            <pc:sldMk cId="299398864" sldId="256"/>
            <ac:spMk id="962" creationId="{C36B2D68-21F8-8C16-16C0-0F8EB2D6053E}"/>
          </ac:spMkLst>
        </pc:spChg>
        <pc:spChg chg="add del mod modVis">
          <ac:chgData name="Steiner Andreas 6206 ED" userId="e6377c33-a923-4f14-8587-531c474c7b48" providerId="ADAL" clId="{6ECD27E6-B224-41CD-B4E0-E297462320DD}" dt="2023-11-24T11:42:09.627" v="148528"/>
          <ac:spMkLst>
            <pc:docMk/>
            <pc:sldMk cId="299398864" sldId="256"/>
            <ac:spMk id="963" creationId="{78086DDA-4BE1-311A-A02E-C5B8AFC21146}"/>
          </ac:spMkLst>
        </pc:spChg>
        <pc:spChg chg="add del mod modVis">
          <ac:chgData name="Steiner Andreas 6206 ED" userId="e6377c33-a923-4f14-8587-531c474c7b48" providerId="ADAL" clId="{6ECD27E6-B224-41CD-B4E0-E297462320DD}" dt="2023-11-24T11:42:12.300" v="148683"/>
          <ac:spMkLst>
            <pc:docMk/>
            <pc:sldMk cId="299398864" sldId="256"/>
            <ac:spMk id="964" creationId="{6F02DB5A-320F-16A2-44B8-F6D887B877FF}"/>
          </ac:spMkLst>
        </pc:spChg>
        <pc:spChg chg="add del mod modVis">
          <ac:chgData name="Steiner Andreas 6206 ED" userId="e6377c33-a923-4f14-8587-531c474c7b48" providerId="ADAL" clId="{6ECD27E6-B224-41CD-B4E0-E297462320DD}" dt="2023-11-24T11:42:14.841" v="148838"/>
          <ac:spMkLst>
            <pc:docMk/>
            <pc:sldMk cId="299398864" sldId="256"/>
            <ac:spMk id="965" creationId="{E2D331D6-2012-37EC-5AA7-24292656EE6B}"/>
          </ac:spMkLst>
        </pc:spChg>
        <pc:spChg chg="add del mod modVis">
          <ac:chgData name="Steiner Andreas 6206 ED" userId="e6377c33-a923-4f14-8587-531c474c7b48" providerId="ADAL" clId="{6ECD27E6-B224-41CD-B4E0-E297462320DD}" dt="2023-11-24T11:42:17.133" v="148993"/>
          <ac:spMkLst>
            <pc:docMk/>
            <pc:sldMk cId="299398864" sldId="256"/>
            <ac:spMk id="966" creationId="{C8D5700C-9128-AF84-9EAB-FBB9BCFB61F1}"/>
          </ac:spMkLst>
        </pc:spChg>
        <pc:spChg chg="add del mod modVis">
          <ac:chgData name="Steiner Andreas 6206 ED" userId="e6377c33-a923-4f14-8587-531c474c7b48" providerId="ADAL" clId="{6ECD27E6-B224-41CD-B4E0-E297462320DD}" dt="2023-11-24T11:42:19.171" v="149148"/>
          <ac:spMkLst>
            <pc:docMk/>
            <pc:sldMk cId="299398864" sldId="256"/>
            <ac:spMk id="967" creationId="{5906D218-BC5A-5A03-287C-90ED949F09B7}"/>
          </ac:spMkLst>
        </pc:spChg>
        <pc:spChg chg="add del mod modVis">
          <ac:chgData name="Steiner Andreas 6206 ED" userId="e6377c33-a923-4f14-8587-531c474c7b48" providerId="ADAL" clId="{6ECD27E6-B224-41CD-B4E0-E297462320DD}" dt="2023-11-24T11:42:21.179" v="149303"/>
          <ac:spMkLst>
            <pc:docMk/>
            <pc:sldMk cId="299398864" sldId="256"/>
            <ac:spMk id="968" creationId="{D1A861B9-C80B-1EE9-089E-747EB3B7DB46}"/>
          </ac:spMkLst>
        </pc:spChg>
        <pc:spChg chg="add del mod modVis">
          <ac:chgData name="Steiner Andreas 6206 ED" userId="e6377c33-a923-4f14-8587-531c474c7b48" providerId="ADAL" clId="{6ECD27E6-B224-41CD-B4E0-E297462320DD}" dt="2023-11-24T11:42:23.257" v="149458"/>
          <ac:spMkLst>
            <pc:docMk/>
            <pc:sldMk cId="299398864" sldId="256"/>
            <ac:spMk id="969" creationId="{2C0B0204-99F1-9C25-FD78-1659DD82033A}"/>
          </ac:spMkLst>
        </pc:spChg>
        <pc:spChg chg="add del mod modVis">
          <ac:chgData name="Steiner Andreas 6206 ED" userId="e6377c33-a923-4f14-8587-531c474c7b48" providerId="ADAL" clId="{6ECD27E6-B224-41CD-B4E0-E297462320DD}" dt="2023-11-24T11:42:25.184" v="149613"/>
          <ac:spMkLst>
            <pc:docMk/>
            <pc:sldMk cId="299398864" sldId="256"/>
            <ac:spMk id="970" creationId="{E766B716-FBEF-1EA2-B41C-AD57ADDD21FC}"/>
          </ac:spMkLst>
        </pc:spChg>
        <pc:spChg chg="add del mod modVis">
          <ac:chgData name="Steiner Andreas 6206 ED" userId="e6377c33-a923-4f14-8587-531c474c7b48" providerId="ADAL" clId="{6ECD27E6-B224-41CD-B4E0-E297462320DD}" dt="2023-11-24T11:42:27.119" v="149768"/>
          <ac:spMkLst>
            <pc:docMk/>
            <pc:sldMk cId="299398864" sldId="256"/>
            <ac:spMk id="971" creationId="{18A39198-4F31-A100-AAA0-5D083524BD1F}"/>
          </ac:spMkLst>
        </pc:spChg>
        <pc:spChg chg="add del mod modVis">
          <ac:chgData name="Steiner Andreas 6206 ED" userId="e6377c33-a923-4f14-8587-531c474c7b48" providerId="ADAL" clId="{6ECD27E6-B224-41CD-B4E0-E297462320DD}" dt="2023-11-24T11:42:30.518" v="149923"/>
          <ac:spMkLst>
            <pc:docMk/>
            <pc:sldMk cId="299398864" sldId="256"/>
            <ac:spMk id="972" creationId="{234DC1D6-1994-D2C2-AC8E-35981ACA02A4}"/>
          </ac:spMkLst>
        </pc:spChg>
        <pc:spChg chg="add del mod modVis">
          <ac:chgData name="Steiner Andreas 6206 ED" userId="e6377c33-a923-4f14-8587-531c474c7b48" providerId="ADAL" clId="{6ECD27E6-B224-41CD-B4E0-E297462320DD}" dt="2023-11-24T11:42:33.357" v="150078"/>
          <ac:spMkLst>
            <pc:docMk/>
            <pc:sldMk cId="299398864" sldId="256"/>
            <ac:spMk id="973" creationId="{0C5D5739-9D86-3CDE-F77B-82612ED3D439}"/>
          </ac:spMkLst>
        </pc:spChg>
        <pc:spChg chg="add del mod modVis">
          <ac:chgData name="Steiner Andreas 6206 ED" userId="e6377c33-a923-4f14-8587-531c474c7b48" providerId="ADAL" clId="{6ECD27E6-B224-41CD-B4E0-E297462320DD}" dt="2023-11-24T11:42:36.471" v="150233"/>
          <ac:spMkLst>
            <pc:docMk/>
            <pc:sldMk cId="299398864" sldId="256"/>
            <ac:spMk id="974" creationId="{ADD28705-DB52-688A-56F3-227A817A6B92}"/>
          </ac:spMkLst>
        </pc:spChg>
        <pc:spChg chg="add del mod modVis">
          <ac:chgData name="Steiner Andreas 6206 ED" userId="e6377c33-a923-4f14-8587-531c474c7b48" providerId="ADAL" clId="{6ECD27E6-B224-41CD-B4E0-E297462320DD}" dt="2023-11-24T11:42:38.861" v="150388"/>
          <ac:spMkLst>
            <pc:docMk/>
            <pc:sldMk cId="299398864" sldId="256"/>
            <ac:spMk id="975" creationId="{DE935C0C-E0BC-C54C-4B06-6121131DDA55}"/>
          </ac:spMkLst>
        </pc:spChg>
        <pc:spChg chg="add del mod modVis">
          <ac:chgData name="Steiner Andreas 6206 ED" userId="e6377c33-a923-4f14-8587-531c474c7b48" providerId="ADAL" clId="{6ECD27E6-B224-41CD-B4E0-E297462320DD}" dt="2023-11-24T11:42:40.896" v="150543"/>
          <ac:spMkLst>
            <pc:docMk/>
            <pc:sldMk cId="299398864" sldId="256"/>
            <ac:spMk id="976" creationId="{A4FF6289-E75D-1031-F056-45518C46B2B8}"/>
          </ac:spMkLst>
        </pc:spChg>
        <pc:spChg chg="add del mod modVis">
          <ac:chgData name="Steiner Andreas 6206 ED" userId="e6377c33-a923-4f14-8587-531c474c7b48" providerId="ADAL" clId="{6ECD27E6-B224-41CD-B4E0-E297462320DD}" dt="2023-11-24T11:42:42.945" v="150698"/>
          <ac:spMkLst>
            <pc:docMk/>
            <pc:sldMk cId="299398864" sldId="256"/>
            <ac:spMk id="977" creationId="{55A2CBC7-BC9A-A1C4-65B4-0C27FA8996B7}"/>
          </ac:spMkLst>
        </pc:spChg>
        <pc:spChg chg="add del mod modVis">
          <ac:chgData name="Steiner Andreas 6206 ED" userId="e6377c33-a923-4f14-8587-531c474c7b48" providerId="ADAL" clId="{6ECD27E6-B224-41CD-B4E0-E297462320DD}" dt="2023-11-24T11:42:45.010" v="150853"/>
          <ac:spMkLst>
            <pc:docMk/>
            <pc:sldMk cId="299398864" sldId="256"/>
            <ac:spMk id="978" creationId="{073AFAA8-9EDA-F244-CC40-FD0D6D154AD2}"/>
          </ac:spMkLst>
        </pc:spChg>
        <pc:spChg chg="add del mod modVis">
          <ac:chgData name="Steiner Andreas 6206 ED" userId="e6377c33-a923-4f14-8587-531c474c7b48" providerId="ADAL" clId="{6ECD27E6-B224-41CD-B4E0-E297462320DD}" dt="2023-11-24T11:42:47.386" v="151008"/>
          <ac:spMkLst>
            <pc:docMk/>
            <pc:sldMk cId="299398864" sldId="256"/>
            <ac:spMk id="979" creationId="{9B34CA45-EBF4-D4C1-0402-A7B40C5AD397}"/>
          </ac:spMkLst>
        </pc:spChg>
        <pc:spChg chg="add del mod modVis">
          <ac:chgData name="Steiner Andreas 6206 ED" userId="e6377c33-a923-4f14-8587-531c474c7b48" providerId="ADAL" clId="{6ECD27E6-B224-41CD-B4E0-E297462320DD}" dt="2023-11-24T11:42:49.585" v="151163"/>
          <ac:spMkLst>
            <pc:docMk/>
            <pc:sldMk cId="299398864" sldId="256"/>
            <ac:spMk id="980" creationId="{3F8106DD-CF7C-8C4E-2DEF-2D111F7DA877}"/>
          </ac:spMkLst>
        </pc:spChg>
        <pc:spChg chg="add del mod modVis">
          <ac:chgData name="Steiner Andreas 6206 ED" userId="e6377c33-a923-4f14-8587-531c474c7b48" providerId="ADAL" clId="{6ECD27E6-B224-41CD-B4E0-E297462320DD}" dt="2023-11-24T11:42:51.891" v="151318"/>
          <ac:spMkLst>
            <pc:docMk/>
            <pc:sldMk cId="299398864" sldId="256"/>
            <ac:spMk id="981" creationId="{F5E5E66E-833A-35A2-B886-5174DA9F7556}"/>
          </ac:spMkLst>
        </pc:spChg>
        <pc:spChg chg="add del mod modVis">
          <ac:chgData name="Steiner Andreas 6206 ED" userId="e6377c33-a923-4f14-8587-531c474c7b48" providerId="ADAL" clId="{6ECD27E6-B224-41CD-B4E0-E297462320DD}" dt="2023-11-24T11:42:54.170" v="151473"/>
          <ac:spMkLst>
            <pc:docMk/>
            <pc:sldMk cId="299398864" sldId="256"/>
            <ac:spMk id="982" creationId="{F918ED2B-C79F-23C7-7246-FCB049D1065F}"/>
          </ac:spMkLst>
        </pc:spChg>
        <pc:spChg chg="add del mod modVis">
          <ac:chgData name="Steiner Andreas 6206 ED" userId="e6377c33-a923-4f14-8587-531c474c7b48" providerId="ADAL" clId="{6ECD27E6-B224-41CD-B4E0-E297462320DD}" dt="2023-11-24T11:42:56.337" v="151628"/>
          <ac:spMkLst>
            <pc:docMk/>
            <pc:sldMk cId="299398864" sldId="256"/>
            <ac:spMk id="983" creationId="{57B2D6B1-04F6-57C7-7F45-EB5AB5156127}"/>
          </ac:spMkLst>
        </pc:spChg>
        <pc:spChg chg="add del mod modVis">
          <ac:chgData name="Steiner Andreas 6206 ED" userId="e6377c33-a923-4f14-8587-531c474c7b48" providerId="ADAL" clId="{6ECD27E6-B224-41CD-B4E0-E297462320DD}" dt="2023-11-24T11:42:58.914" v="151783"/>
          <ac:spMkLst>
            <pc:docMk/>
            <pc:sldMk cId="299398864" sldId="256"/>
            <ac:spMk id="984" creationId="{D1A97D38-BD44-2050-FC02-60DE436230C8}"/>
          </ac:spMkLst>
        </pc:spChg>
        <pc:spChg chg="add del mod modVis">
          <ac:chgData name="Steiner Andreas 6206 ED" userId="e6377c33-a923-4f14-8587-531c474c7b48" providerId="ADAL" clId="{6ECD27E6-B224-41CD-B4E0-E297462320DD}" dt="2023-11-24T11:43:02.509" v="151938"/>
          <ac:spMkLst>
            <pc:docMk/>
            <pc:sldMk cId="299398864" sldId="256"/>
            <ac:spMk id="985" creationId="{24E83BAE-B900-FBF3-E469-DD2FA9921FDA}"/>
          </ac:spMkLst>
        </pc:spChg>
        <pc:spChg chg="add del mod modVis">
          <ac:chgData name="Steiner Andreas 6206 ED" userId="e6377c33-a923-4f14-8587-531c474c7b48" providerId="ADAL" clId="{6ECD27E6-B224-41CD-B4E0-E297462320DD}" dt="2023-11-24T11:43:05.021" v="152093"/>
          <ac:spMkLst>
            <pc:docMk/>
            <pc:sldMk cId="299398864" sldId="256"/>
            <ac:spMk id="986" creationId="{1E1CB233-13DA-FC3A-E8BC-ED72B64A85DF}"/>
          </ac:spMkLst>
        </pc:spChg>
        <pc:spChg chg="add del mod modVis">
          <ac:chgData name="Steiner Andreas 6206 ED" userId="e6377c33-a923-4f14-8587-531c474c7b48" providerId="ADAL" clId="{6ECD27E6-B224-41CD-B4E0-E297462320DD}" dt="2023-11-24T11:43:07.042" v="152248"/>
          <ac:spMkLst>
            <pc:docMk/>
            <pc:sldMk cId="299398864" sldId="256"/>
            <ac:spMk id="987" creationId="{643DDF43-78C1-1115-A780-DF1EC92ACED1}"/>
          </ac:spMkLst>
        </pc:spChg>
        <pc:spChg chg="add del mod modVis">
          <ac:chgData name="Steiner Andreas 6206 ED" userId="e6377c33-a923-4f14-8587-531c474c7b48" providerId="ADAL" clId="{6ECD27E6-B224-41CD-B4E0-E297462320DD}" dt="2023-11-24T11:43:09.220" v="152403"/>
          <ac:spMkLst>
            <pc:docMk/>
            <pc:sldMk cId="299398864" sldId="256"/>
            <ac:spMk id="988" creationId="{0242A444-94A7-C41E-B593-2820D961D4C1}"/>
          </ac:spMkLst>
        </pc:spChg>
        <pc:spChg chg="add del mod modVis">
          <ac:chgData name="Steiner Andreas 6206 ED" userId="e6377c33-a923-4f14-8587-531c474c7b48" providerId="ADAL" clId="{6ECD27E6-B224-41CD-B4E0-E297462320DD}" dt="2023-11-24T11:43:11.308" v="152558"/>
          <ac:spMkLst>
            <pc:docMk/>
            <pc:sldMk cId="299398864" sldId="256"/>
            <ac:spMk id="989" creationId="{B84643BA-B568-7C4C-4E75-79E0528B3C22}"/>
          </ac:spMkLst>
        </pc:spChg>
        <pc:spChg chg="add del mod modVis">
          <ac:chgData name="Steiner Andreas 6206 ED" userId="e6377c33-a923-4f14-8587-531c474c7b48" providerId="ADAL" clId="{6ECD27E6-B224-41CD-B4E0-E297462320DD}" dt="2023-11-24T11:43:13.549" v="152713"/>
          <ac:spMkLst>
            <pc:docMk/>
            <pc:sldMk cId="299398864" sldId="256"/>
            <ac:spMk id="990" creationId="{5C2532F0-0C92-B40E-328C-DF667205B9A1}"/>
          </ac:spMkLst>
        </pc:spChg>
        <pc:spChg chg="add del mod modVis">
          <ac:chgData name="Steiner Andreas 6206 ED" userId="e6377c33-a923-4f14-8587-531c474c7b48" providerId="ADAL" clId="{6ECD27E6-B224-41CD-B4E0-E297462320DD}" dt="2023-11-24T11:43:15.952" v="152868"/>
          <ac:spMkLst>
            <pc:docMk/>
            <pc:sldMk cId="299398864" sldId="256"/>
            <ac:spMk id="991" creationId="{FE98BFEA-A172-312A-A4DB-5A6EEBBD4133}"/>
          </ac:spMkLst>
        </pc:spChg>
        <pc:spChg chg="add del mod modVis">
          <ac:chgData name="Steiner Andreas 6206 ED" userId="e6377c33-a923-4f14-8587-531c474c7b48" providerId="ADAL" clId="{6ECD27E6-B224-41CD-B4E0-E297462320DD}" dt="2023-11-24T11:43:19.212" v="153023"/>
          <ac:spMkLst>
            <pc:docMk/>
            <pc:sldMk cId="299398864" sldId="256"/>
            <ac:spMk id="992" creationId="{A49E380E-A7BC-16D9-5E00-396F7AA78A8D}"/>
          </ac:spMkLst>
        </pc:spChg>
        <pc:spChg chg="add del mod modVis">
          <ac:chgData name="Steiner Andreas 6206 ED" userId="e6377c33-a923-4f14-8587-531c474c7b48" providerId="ADAL" clId="{6ECD27E6-B224-41CD-B4E0-E297462320DD}" dt="2023-11-24T11:43:23.160" v="153178"/>
          <ac:spMkLst>
            <pc:docMk/>
            <pc:sldMk cId="299398864" sldId="256"/>
            <ac:spMk id="993" creationId="{C0F5FC69-870D-4D3B-0F08-8D59B2570AB2}"/>
          </ac:spMkLst>
        </pc:spChg>
        <pc:spChg chg="add del mod modVis">
          <ac:chgData name="Steiner Andreas 6206 ED" userId="e6377c33-a923-4f14-8587-531c474c7b48" providerId="ADAL" clId="{6ECD27E6-B224-41CD-B4E0-E297462320DD}" dt="2023-11-24T11:43:25.617" v="153333"/>
          <ac:spMkLst>
            <pc:docMk/>
            <pc:sldMk cId="299398864" sldId="256"/>
            <ac:spMk id="994" creationId="{6302AB77-2051-D7F9-6E1D-E67165354E5C}"/>
          </ac:spMkLst>
        </pc:spChg>
        <pc:spChg chg="add del mod modVis">
          <ac:chgData name="Steiner Andreas 6206 ED" userId="e6377c33-a923-4f14-8587-531c474c7b48" providerId="ADAL" clId="{6ECD27E6-B224-41CD-B4E0-E297462320DD}" dt="2023-11-24T11:43:27.845" v="153488"/>
          <ac:spMkLst>
            <pc:docMk/>
            <pc:sldMk cId="299398864" sldId="256"/>
            <ac:spMk id="995" creationId="{0B90DE82-026D-C2DF-0158-800CDCFAFDC7}"/>
          </ac:spMkLst>
        </pc:spChg>
        <pc:spChg chg="add del mod modVis">
          <ac:chgData name="Steiner Andreas 6206 ED" userId="e6377c33-a923-4f14-8587-531c474c7b48" providerId="ADAL" clId="{6ECD27E6-B224-41CD-B4E0-E297462320DD}" dt="2023-11-24T11:43:30.131" v="153643"/>
          <ac:spMkLst>
            <pc:docMk/>
            <pc:sldMk cId="299398864" sldId="256"/>
            <ac:spMk id="996" creationId="{396B4AD6-C6E9-9773-E47B-CACEA21C612D}"/>
          </ac:spMkLst>
        </pc:spChg>
        <pc:spChg chg="add del mod modVis">
          <ac:chgData name="Steiner Andreas 6206 ED" userId="e6377c33-a923-4f14-8587-531c474c7b48" providerId="ADAL" clId="{6ECD27E6-B224-41CD-B4E0-E297462320DD}" dt="2023-11-24T11:43:32.380" v="153798"/>
          <ac:spMkLst>
            <pc:docMk/>
            <pc:sldMk cId="299398864" sldId="256"/>
            <ac:spMk id="997" creationId="{C5451768-CFD6-2C52-30FE-27432993B098}"/>
          </ac:spMkLst>
        </pc:spChg>
        <pc:spChg chg="add del mod modVis">
          <ac:chgData name="Steiner Andreas 6206 ED" userId="e6377c33-a923-4f14-8587-531c474c7b48" providerId="ADAL" clId="{6ECD27E6-B224-41CD-B4E0-E297462320DD}" dt="2023-11-24T11:43:35.230" v="153953"/>
          <ac:spMkLst>
            <pc:docMk/>
            <pc:sldMk cId="299398864" sldId="256"/>
            <ac:spMk id="998" creationId="{569422AD-1813-BABE-052F-2A1CC2FFCE25}"/>
          </ac:spMkLst>
        </pc:spChg>
        <pc:spChg chg="add del mod modVis">
          <ac:chgData name="Steiner Andreas 6206 ED" userId="e6377c33-a923-4f14-8587-531c474c7b48" providerId="ADAL" clId="{6ECD27E6-B224-41CD-B4E0-E297462320DD}" dt="2023-11-24T11:43:37.299" v="154108"/>
          <ac:spMkLst>
            <pc:docMk/>
            <pc:sldMk cId="299398864" sldId="256"/>
            <ac:spMk id="999" creationId="{58D2D4E7-DA13-B26E-AAA6-5C2D4DB8B1C9}"/>
          </ac:spMkLst>
        </pc:spChg>
        <pc:spChg chg="add del mod modVis">
          <ac:chgData name="Steiner Andreas 6206 ED" userId="e6377c33-a923-4f14-8587-531c474c7b48" providerId="ADAL" clId="{6ECD27E6-B224-41CD-B4E0-E297462320DD}" dt="2023-11-24T11:43:39.430" v="154263"/>
          <ac:spMkLst>
            <pc:docMk/>
            <pc:sldMk cId="299398864" sldId="256"/>
            <ac:spMk id="1000" creationId="{81D80D0B-C6EF-BF64-4877-66A66685780F}"/>
          </ac:spMkLst>
        </pc:spChg>
        <pc:spChg chg="add del mod modVis">
          <ac:chgData name="Steiner Andreas 6206 ED" userId="e6377c33-a923-4f14-8587-531c474c7b48" providerId="ADAL" clId="{6ECD27E6-B224-41CD-B4E0-E297462320DD}" dt="2023-11-24T11:43:41.897" v="154418"/>
          <ac:spMkLst>
            <pc:docMk/>
            <pc:sldMk cId="299398864" sldId="256"/>
            <ac:spMk id="1001" creationId="{BB10B367-5954-A154-3C56-F1DD0F60BF90}"/>
          </ac:spMkLst>
        </pc:spChg>
        <pc:spChg chg="add del mod modVis">
          <ac:chgData name="Steiner Andreas 6206 ED" userId="e6377c33-a923-4f14-8587-531c474c7b48" providerId="ADAL" clId="{6ECD27E6-B224-41CD-B4E0-E297462320DD}" dt="2023-11-24T11:43:44.820" v="154573"/>
          <ac:spMkLst>
            <pc:docMk/>
            <pc:sldMk cId="299398864" sldId="256"/>
            <ac:spMk id="1002" creationId="{99127804-EA06-DCEC-CF52-9AFEB3593BBE}"/>
          </ac:spMkLst>
        </pc:spChg>
        <pc:spChg chg="add del mod modVis">
          <ac:chgData name="Steiner Andreas 6206 ED" userId="e6377c33-a923-4f14-8587-531c474c7b48" providerId="ADAL" clId="{6ECD27E6-B224-41CD-B4E0-E297462320DD}" dt="2023-11-24T11:43:47.170" v="154728"/>
          <ac:spMkLst>
            <pc:docMk/>
            <pc:sldMk cId="299398864" sldId="256"/>
            <ac:spMk id="1003" creationId="{6ADD0AC3-3302-F234-6523-299674AF195A}"/>
          </ac:spMkLst>
        </pc:spChg>
        <pc:spChg chg="add del mod modVis">
          <ac:chgData name="Steiner Andreas 6206 ED" userId="e6377c33-a923-4f14-8587-531c474c7b48" providerId="ADAL" clId="{6ECD27E6-B224-41CD-B4E0-E297462320DD}" dt="2023-11-24T11:43:49.378" v="154883"/>
          <ac:spMkLst>
            <pc:docMk/>
            <pc:sldMk cId="299398864" sldId="256"/>
            <ac:spMk id="1004" creationId="{0413A102-4617-C322-0D37-E4B58826A57C}"/>
          </ac:spMkLst>
        </pc:spChg>
        <pc:spChg chg="add del mod modVis">
          <ac:chgData name="Steiner Andreas 6206 ED" userId="e6377c33-a923-4f14-8587-531c474c7b48" providerId="ADAL" clId="{6ECD27E6-B224-41CD-B4E0-E297462320DD}" dt="2023-11-24T11:43:51.390" v="155038"/>
          <ac:spMkLst>
            <pc:docMk/>
            <pc:sldMk cId="299398864" sldId="256"/>
            <ac:spMk id="1005" creationId="{45B86D86-BE5E-EB82-D08F-DF526EF92442}"/>
          </ac:spMkLst>
        </pc:spChg>
        <pc:spChg chg="add del mod modVis">
          <ac:chgData name="Steiner Andreas 6206 ED" userId="e6377c33-a923-4f14-8587-531c474c7b48" providerId="ADAL" clId="{6ECD27E6-B224-41CD-B4E0-E297462320DD}" dt="2023-11-24T11:43:53.632" v="155193"/>
          <ac:spMkLst>
            <pc:docMk/>
            <pc:sldMk cId="299398864" sldId="256"/>
            <ac:spMk id="1006" creationId="{929A7FB8-8E47-7136-AC6A-BAE1574833B2}"/>
          </ac:spMkLst>
        </pc:spChg>
        <pc:spChg chg="add del mod modVis">
          <ac:chgData name="Steiner Andreas 6206 ED" userId="e6377c33-a923-4f14-8587-531c474c7b48" providerId="ADAL" clId="{6ECD27E6-B224-41CD-B4E0-E297462320DD}" dt="2023-11-24T11:43:56.726" v="155348"/>
          <ac:spMkLst>
            <pc:docMk/>
            <pc:sldMk cId="299398864" sldId="256"/>
            <ac:spMk id="1007" creationId="{6D6ACC1F-9DDE-5321-5D3F-821528A4C9C6}"/>
          </ac:spMkLst>
        </pc:spChg>
        <pc:spChg chg="add del mod modVis">
          <ac:chgData name="Steiner Andreas 6206 ED" userId="e6377c33-a923-4f14-8587-531c474c7b48" providerId="ADAL" clId="{6ECD27E6-B224-41CD-B4E0-E297462320DD}" dt="2023-11-24T11:43:59.012" v="155503"/>
          <ac:spMkLst>
            <pc:docMk/>
            <pc:sldMk cId="299398864" sldId="256"/>
            <ac:spMk id="1008" creationId="{E0E140B6-365A-31FA-3ED6-4247583FA5C9}"/>
          </ac:spMkLst>
        </pc:spChg>
        <pc:spChg chg="add del mod modVis">
          <ac:chgData name="Steiner Andreas 6206 ED" userId="e6377c33-a923-4f14-8587-531c474c7b48" providerId="ADAL" clId="{6ECD27E6-B224-41CD-B4E0-E297462320DD}" dt="2023-11-24T11:44:01.054" v="155658"/>
          <ac:spMkLst>
            <pc:docMk/>
            <pc:sldMk cId="299398864" sldId="256"/>
            <ac:spMk id="1009" creationId="{1EBFE3E5-C4A0-E767-7FCA-9A67ECC2828B}"/>
          </ac:spMkLst>
        </pc:spChg>
        <pc:spChg chg="add del mod modVis">
          <ac:chgData name="Steiner Andreas 6206 ED" userId="e6377c33-a923-4f14-8587-531c474c7b48" providerId="ADAL" clId="{6ECD27E6-B224-41CD-B4E0-E297462320DD}" dt="2023-11-24T11:44:03.028" v="155813"/>
          <ac:spMkLst>
            <pc:docMk/>
            <pc:sldMk cId="299398864" sldId="256"/>
            <ac:spMk id="1010" creationId="{66496ADB-52FD-BA9B-FBFE-76A55C4803E2}"/>
          </ac:spMkLst>
        </pc:spChg>
        <pc:spChg chg="add del mod modVis">
          <ac:chgData name="Steiner Andreas 6206 ED" userId="e6377c33-a923-4f14-8587-531c474c7b48" providerId="ADAL" clId="{6ECD27E6-B224-41CD-B4E0-E297462320DD}" dt="2023-11-24T11:44:05.093" v="155968"/>
          <ac:spMkLst>
            <pc:docMk/>
            <pc:sldMk cId="299398864" sldId="256"/>
            <ac:spMk id="1011" creationId="{616220C8-35D4-C674-695C-E3620263E72D}"/>
          </ac:spMkLst>
        </pc:spChg>
        <pc:spChg chg="add del mod modVis">
          <ac:chgData name="Steiner Andreas 6206 ED" userId="e6377c33-a923-4f14-8587-531c474c7b48" providerId="ADAL" clId="{6ECD27E6-B224-41CD-B4E0-E297462320DD}" dt="2023-11-24T11:44:07.099" v="156123"/>
          <ac:spMkLst>
            <pc:docMk/>
            <pc:sldMk cId="299398864" sldId="256"/>
            <ac:spMk id="1012" creationId="{6662FBD5-4477-6F12-2657-A4F307882727}"/>
          </ac:spMkLst>
        </pc:spChg>
        <pc:spChg chg="add del mod modVis">
          <ac:chgData name="Steiner Andreas 6206 ED" userId="e6377c33-a923-4f14-8587-531c474c7b48" providerId="ADAL" clId="{6ECD27E6-B224-41CD-B4E0-E297462320DD}" dt="2023-11-24T11:44:09.282" v="156278"/>
          <ac:spMkLst>
            <pc:docMk/>
            <pc:sldMk cId="299398864" sldId="256"/>
            <ac:spMk id="1013" creationId="{A347F39B-94DF-93EC-FE65-5CC68330172F}"/>
          </ac:spMkLst>
        </pc:spChg>
        <pc:spChg chg="add del mod modVis">
          <ac:chgData name="Steiner Andreas 6206 ED" userId="e6377c33-a923-4f14-8587-531c474c7b48" providerId="ADAL" clId="{6ECD27E6-B224-41CD-B4E0-E297462320DD}" dt="2023-11-24T11:44:11.337" v="156433"/>
          <ac:spMkLst>
            <pc:docMk/>
            <pc:sldMk cId="299398864" sldId="256"/>
            <ac:spMk id="1014" creationId="{0F34CF53-B969-9B05-5D7B-7E2A24E8352B}"/>
          </ac:spMkLst>
        </pc:spChg>
        <pc:spChg chg="add del mod modVis">
          <ac:chgData name="Steiner Andreas 6206 ED" userId="e6377c33-a923-4f14-8587-531c474c7b48" providerId="ADAL" clId="{6ECD27E6-B224-41CD-B4E0-E297462320DD}" dt="2023-11-24T11:44:13.345" v="156588"/>
          <ac:spMkLst>
            <pc:docMk/>
            <pc:sldMk cId="299398864" sldId="256"/>
            <ac:spMk id="1015" creationId="{1E1276D3-2129-5C2E-E188-C78288F201B9}"/>
          </ac:spMkLst>
        </pc:spChg>
        <pc:spChg chg="add del mod modVis">
          <ac:chgData name="Steiner Andreas 6206 ED" userId="e6377c33-a923-4f14-8587-531c474c7b48" providerId="ADAL" clId="{6ECD27E6-B224-41CD-B4E0-E297462320DD}" dt="2023-11-24T11:44:15.359" v="156743"/>
          <ac:spMkLst>
            <pc:docMk/>
            <pc:sldMk cId="299398864" sldId="256"/>
            <ac:spMk id="1016" creationId="{83996418-CA6D-A5D8-FE11-A4BE8F6346DA}"/>
          </ac:spMkLst>
        </pc:spChg>
        <pc:spChg chg="add del mod modVis">
          <ac:chgData name="Steiner Andreas 6206 ED" userId="e6377c33-a923-4f14-8587-531c474c7b48" providerId="ADAL" clId="{6ECD27E6-B224-41CD-B4E0-E297462320DD}" dt="2023-11-24T11:44:17.340" v="156898"/>
          <ac:spMkLst>
            <pc:docMk/>
            <pc:sldMk cId="299398864" sldId="256"/>
            <ac:spMk id="1017" creationId="{889DD26E-B566-EBC5-C561-B81266582E20}"/>
          </ac:spMkLst>
        </pc:spChg>
        <pc:spChg chg="add del mod modVis">
          <ac:chgData name="Steiner Andreas 6206 ED" userId="e6377c33-a923-4f14-8587-531c474c7b48" providerId="ADAL" clId="{6ECD27E6-B224-41CD-B4E0-E297462320DD}" dt="2023-11-24T11:44:19.482" v="157053"/>
          <ac:spMkLst>
            <pc:docMk/>
            <pc:sldMk cId="299398864" sldId="256"/>
            <ac:spMk id="1018" creationId="{C95EEB59-33B2-0BDC-DADA-F12FB72CEC1C}"/>
          </ac:spMkLst>
        </pc:spChg>
        <pc:spChg chg="add del mod modVis">
          <ac:chgData name="Steiner Andreas 6206 ED" userId="e6377c33-a923-4f14-8587-531c474c7b48" providerId="ADAL" clId="{6ECD27E6-B224-41CD-B4E0-E297462320DD}" dt="2023-11-24T11:44:21.544" v="157208"/>
          <ac:spMkLst>
            <pc:docMk/>
            <pc:sldMk cId="299398864" sldId="256"/>
            <ac:spMk id="1019" creationId="{E8BF4767-229C-06F2-3EB1-4FAB7E5AC270}"/>
          </ac:spMkLst>
        </pc:spChg>
        <pc:spChg chg="add del mod modVis">
          <ac:chgData name="Steiner Andreas 6206 ED" userId="e6377c33-a923-4f14-8587-531c474c7b48" providerId="ADAL" clId="{6ECD27E6-B224-41CD-B4E0-E297462320DD}" dt="2023-11-24T11:44:23.971" v="157363"/>
          <ac:spMkLst>
            <pc:docMk/>
            <pc:sldMk cId="299398864" sldId="256"/>
            <ac:spMk id="1020" creationId="{C22B1D3E-4978-2F43-5CA2-EB52A3E499B0}"/>
          </ac:spMkLst>
        </pc:spChg>
        <pc:spChg chg="add del mod modVis">
          <ac:chgData name="Steiner Andreas 6206 ED" userId="e6377c33-a923-4f14-8587-531c474c7b48" providerId="ADAL" clId="{6ECD27E6-B224-41CD-B4E0-E297462320DD}" dt="2023-11-24T11:44:29.165" v="157518"/>
          <ac:spMkLst>
            <pc:docMk/>
            <pc:sldMk cId="299398864" sldId="256"/>
            <ac:spMk id="1021" creationId="{F723664B-EE83-A8E7-67BA-4E24CEADC0AE}"/>
          </ac:spMkLst>
        </pc:spChg>
        <pc:spChg chg="del mod modVis">
          <ac:chgData name="Steiner Andreas 6206 ED" userId="e6377c33-a923-4f14-8587-531c474c7b48" providerId="ADAL" clId="{6ECD27E6-B224-41CD-B4E0-E297462320DD}" dt="2023-11-24T11:44:33.214" v="157670" actId="478"/>
          <ac:spMkLst>
            <pc:docMk/>
            <pc:sldMk cId="299398864" sldId="256"/>
            <ac:spMk id="1022" creationId="{FAD4BA1F-6D8B-0C47-6813-2DAEAF2ACBFC}"/>
          </ac:spMkLst>
        </pc:spChg>
        <pc:graphicFrameChg chg="mod">
          <ac:chgData name="Steiner Andreas 6206 ED" userId="e6377c33-a923-4f14-8587-531c474c7b48" providerId="ADAL" clId="{6ECD27E6-B224-41CD-B4E0-E297462320DD}" dt="2023-11-24T11:44:33.214" v="157671" actId="1076"/>
          <ac:graphicFrameMkLst>
            <pc:docMk/>
            <pc:sldMk cId="299398864" sldId="256"/>
            <ac:graphicFrameMk id="10" creationId="{7A4FD44E-5326-CB55-8940-0EDA28CA58E0}"/>
          </ac:graphicFrameMkLst>
        </pc:graphicFrameChg>
      </pc:sldChg>
      <pc:sldChg chg="addSp delSp modSp mod">
        <pc:chgData name="Steiner Andreas 6206 ED" userId="e6377c33-a923-4f14-8587-531c474c7b48" providerId="ADAL" clId="{6ECD27E6-B224-41CD-B4E0-E297462320DD}" dt="2023-11-24T11:44:30.668" v="157572"/>
        <pc:sldMkLst>
          <pc:docMk/>
          <pc:sldMk cId="1005745348" sldId="686"/>
        </pc:sldMkLst>
        <pc:spChg chg="mod">
          <ac:chgData name="Steiner Andreas 6206 ED" userId="e6377c33-a923-4f14-8587-531c474c7b48" providerId="ADAL" clId="{6ECD27E6-B224-41CD-B4E0-E297462320DD}" dt="2023-11-24T11:44:30.668" v="157569" actId="20577"/>
          <ac:spMkLst>
            <pc:docMk/>
            <pc:sldMk cId="1005745348" sldId="686"/>
            <ac:spMk id="2" creationId="{D6478157-28B3-0594-385C-43A411002153}"/>
          </ac:spMkLst>
        </pc:spChg>
        <pc:spChg chg="del">
          <ac:chgData name="Steiner Andreas 6206 ED" userId="e6377c33-a923-4f14-8587-531c474c7b48" providerId="ADAL" clId="{6ECD27E6-B224-41CD-B4E0-E297462320DD}" dt="2023-11-23T19:49:53.518" v="78"/>
          <ac:spMkLst>
            <pc:docMk/>
            <pc:sldMk cId="1005745348" sldId="686"/>
            <ac:spMk id="3" creationId="{5261E912-6660-34A1-ABEB-6D471111FC47}"/>
          </ac:spMkLst>
        </pc:spChg>
        <pc:spChg chg="add del mod">
          <ac:chgData name="Steiner Andreas 6206 ED" userId="e6377c33-a923-4f14-8587-531c474c7b48" providerId="ADAL" clId="{6ECD27E6-B224-41CD-B4E0-E297462320DD}" dt="2023-11-23T19:49:54.442" v="246"/>
          <ac:spMkLst>
            <pc:docMk/>
            <pc:sldMk cId="1005745348" sldId="686"/>
            <ac:spMk id="5" creationId="{BE73622B-01EE-F0A3-07DA-42D50AAFD967}"/>
          </ac:spMkLst>
        </pc:spChg>
        <pc:spChg chg="add del mod">
          <ac:chgData name="Steiner Andreas 6206 ED" userId="e6377c33-a923-4f14-8587-531c474c7b48" providerId="ADAL" clId="{6ECD27E6-B224-41CD-B4E0-E297462320DD}" dt="2023-11-23T19:50:25.244" v="401"/>
          <ac:spMkLst>
            <pc:docMk/>
            <pc:sldMk cId="1005745348" sldId="686"/>
            <ac:spMk id="6" creationId="{30EBD375-4C88-2578-C22A-271D2A103B27}"/>
          </ac:spMkLst>
        </pc:spChg>
        <pc:spChg chg="add del mod">
          <ac:chgData name="Steiner Andreas 6206 ED" userId="e6377c33-a923-4f14-8587-531c474c7b48" providerId="ADAL" clId="{6ECD27E6-B224-41CD-B4E0-E297462320DD}" dt="2023-11-23T19:50:35.046" v="556"/>
          <ac:spMkLst>
            <pc:docMk/>
            <pc:sldMk cId="1005745348" sldId="686"/>
            <ac:spMk id="7" creationId="{E9134D6B-15E4-2218-098A-F6BCFFD44D9E}"/>
          </ac:spMkLst>
        </pc:spChg>
        <pc:spChg chg="add del mod">
          <ac:chgData name="Steiner Andreas 6206 ED" userId="e6377c33-a923-4f14-8587-531c474c7b48" providerId="ADAL" clId="{6ECD27E6-B224-41CD-B4E0-E297462320DD}" dt="2023-11-23T19:50:46.716" v="711"/>
          <ac:spMkLst>
            <pc:docMk/>
            <pc:sldMk cId="1005745348" sldId="686"/>
            <ac:spMk id="8" creationId="{64F53F16-BFF8-4278-26CD-17FDF678DC95}"/>
          </ac:spMkLst>
        </pc:spChg>
        <pc:spChg chg="add del mod">
          <ac:chgData name="Steiner Andreas 6206 ED" userId="e6377c33-a923-4f14-8587-531c474c7b48" providerId="ADAL" clId="{6ECD27E6-B224-41CD-B4E0-E297462320DD}" dt="2023-11-23T19:50:58.423" v="866"/>
          <ac:spMkLst>
            <pc:docMk/>
            <pc:sldMk cId="1005745348" sldId="686"/>
            <ac:spMk id="9" creationId="{D956619C-5B19-BDC9-366D-4DC04DF5B7E3}"/>
          </ac:spMkLst>
        </pc:spChg>
        <pc:spChg chg="add del mod">
          <ac:chgData name="Steiner Andreas 6206 ED" userId="e6377c33-a923-4f14-8587-531c474c7b48" providerId="ADAL" clId="{6ECD27E6-B224-41CD-B4E0-E297462320DD}" dt="2023-11-23T19:51:09.102" v="1021"/>
          <ac:spMkLst>
            <pc:docMk/>
            <pc:sldMk cId="1005745348" sldId="686"/>
            <ac:spMk id="10" creationId="{D55406C5-E0E8-1246-50C0-87CC36A339A4}"/>
          </ac:spMkLst>
        </pc:spChg>
        <pc:spChg chg="add del mod">
          <ac:chgData name="Steiner Andreas 6206 ED" userId="e6377c33-a923-4f14-8587-531c474c7b48" providerId="ADAL" clId="{6ECD27E6-B224-41CD-B4E0-E297462320DD}" dt="2023-11-23T19:51:20.087" v="1176"/>
          <ac:spMkLst>
            <pc:docMk/>
            <pc:sldMk cId="1005745348" sldId="686"/>
            <ac:spMk id="11" creationId="{75673181-8327-E3DF-8A8E-52D5EF2059B9}"/>
          </ac:spMkLst>
        </pc:spChg>
        <pc:spChg chg="add del mod">
          <ac:chgData name="Steiner Andreas 6206 ED" userId="e6377c33-a923-4f14-8587-531c474c7b48" providerId="ADAL" clId="{6ECD27E6-B224-41CD-B4E0-E297462320DD}" dt="2023-11-23T19:51:31.570" v="1331"/>
          <ac:spMkLst>
            <pc:docMk/>
            <pc:sldMk cId="1005745348" sldId="686"/>
            <ac:spMk id="12" creationId="{5C408104-894C-5139-9B1D-604A8F8FC407}"/>
          </ac:spMkLst>
        </pc:spChg>
        <pc:spChg chg="add del mod">
          <ac:chgData name="Steiner Andreas 6206 ED" userId="e6377c33-a923-4f14-8587-531c474c7b48" providerId="ADAL" clId="{6ECD27E6-B224-41CD-B4E0-E297462320DD}" dt="2023-11-23T19:51:42.230" v="1486"/>
          <ac:spMkLst>
            <pc:docMk/>
            <pc:sldMk cId="1005745348" sldId="686"/>
            <ac:spMk id="13" creationId="{85DF5F30-95F1-D54C-8901-89D04BCD27C6}"/>
          </ac:spMkLst>
        </pc:spChg>
        <pc:spChg chg="add del mod">
          <ac:chgData name="Steiner Andreas 6206 ED" userId="e6377c33-a923-4f14-8587-531c474c7b48" providerId="ADAL" clId="{6ECD27E6-B224-41CD-B4E0-E297462320DD}" dt="2023-11-23T19:51:53.571" v="1641"/>
          <ac:spMkLst>
            <pc:docMk/>
            <pc:sldMk cId="1005745348" sldId="686"/>
            <ac:spMk id="14" creationId="{C780AA3E-44F2-B476-1D64-EAD60C00F499}"/>
          </ac:spMkLst>
        </pc:spChg>
        <pc:spChg chg="add del mod">
          <ac:chgData name="Steiner Andreas 6206 ED" userId="e6377c33-a923-4f14-8587-531c474c7b48" providerId="ADAL" clId="{6ECD27E6-B224-41CD-B4E0-E297462320DD}" dt="2023-11-23T19:52:05.217" v="1796"/>
          <ac:spMkLst>
            <pc:docMk/>
            <pc:sldMk cId="1005745348" sldId="686"/>
            <ac:spMk id="15" creationId="{1F4AAEBB-9FFB-24A1-B2F3-07A8C797644A}"/>
          </ac:spMkLst>
        </pc:spChg>
        <pc:spChg chg="add del mod">
          <ac:chgData name="Steiner Andreas 6206 ED" userId="e6377c33-a923-4f14-8587-531c474c7b48" providerId="ADAL" clId="{6ECD27E6-B224-41CD-B4E0-E297462320DD}" dt="2023-11-23T19:52:16.918" v="1951"/>
          <ac:spMkLst>
            <pc:docMk/>
            <pc:sldMk cId="1005745348" sldId="686"/>
            <ac:spMk id="16" creationId="{27E17F80-2D0C-E1FF-4A1B-E5BCD280A734}"/>
          </ac:spMkLst>
        </pc:spChg>
        <pc:spChg chg="add del mod">
          <ac:chgData name="Steiner Andreas 6206 ED" userId="e6377c33-a923-4f14-8587-531c474c7b48" providerId="ADAL" clId="{6ECD27E6-B224-41CD-B4E0-E297462320DD}" dt="2023-11-23T19:52:28.615" v="2106"/>
          <ac:spMkLst>
            <pc:docMk/>
            <pc:sldMk cId="1005745348" sldId="686"/>
            <ac:spMk id="17" creationId="{4B3C4000-6E71-8219-AE66-B8317D00AF3B}"/>
          </ac:spMkLst>
        </pc:spChg>
        <pc:spChg chg="add del mod">
          <ac:chgData name="Steiner Andreas 6206 ED" userId="e6377c33-a923-4f14-8587-531c474c7b48" providerId="ADAL" clId="{6ECD27E6-B224-41CD-B4E0-E297462320DD}" dt="2023-11-23T19:52:40.299" v="2261"/>
          <ac:spMkLst>
            <pc:docMk/>
            <pc:sldMk cId="1005745348" sldId="686"/>
            <ac:spMk id="18" creationId="{E12EB3EB-1B18-582E-317A-7ABBE7EFF97D}"/>
          </ac:spMkLst>
        </pc:spChg>
        <pc:spChg chg="add del mod">
          <ac:chgData name="Steiner Andreas 6206 ED" userId="e6377c33-a923-4f14-8587-531c474c7b48" providerId="ADAL" clId="{6ECD27E6-B224-41CD-B4E0-E297462320DD}" dt="2023-11-23T19:52:51.692" v="2416"/>
          <ac:spMkLst>
            <pc:docMk/>
            <pc:sldMk cId="1005745348" sldId="686"/>
            <ac:spMk id="19" creationId="{F497E34D-6F17-3126-818C-9C2EBDE56066}"/>
          </ac:spMkLst>
        </pc:spChg>
        <pc:spChg chg="add del mod">
          <ac:chgData name="Steiner Andreas 6206 ED" userId="e6377c33-a923-4f14-8587-531c474c7b48" providerId="ADAL" clId="{6ECD27E6-B224-41CD-B4E0-E297462320DD}" dt="2023-11-23T19:53:03.360" v="2571"/>
          <ac:spMkLst>
            <pc:docMk/>
            <pc:sldMk cId="1005745348" sldId="686"/>
            <ac:spMk id="20" creationId="{203AA3AB-E1B8-9251-2C98-924497941449}"/>
          </ac:spMkLst>
        </pc:spChg>
        <pc:spChg chg="add del mod">
          <ac:chgData name="Steiner Andreas 6206 ED" userId="e6377c33-a923-4f14-8587-531c474c7b48" providerId="ADAL" clId="{6ECD27E6-B224-41CD-B4E0-E297462320DD}" dt="2023-11-23T19:53:15.095" v="2726"/>
          <ac:spMkLst>
            <pc:docMk/>
            <pc:sldMk cId="1005745348" sldId="686"/>
            <ac:spMk id="21" creationId="{4799868B-3746-A9F8-9EC7-04EB9AEF930B}"/>
          </ac:spMkLst>
        </pc:spChg>
        <pc:spChg chg="add del mod">
          <ac:chgData name="Steiner Andreas 6206 ED" userId="e6377c33-a923-4f14-8587-531c474c7b48" providerId="ADAL" clId="{6ECD27E6-B224-41CD-B4E0-E297462320DD}" dt="2023-11-23T19:53:26.777" v="2881"/>
          <ac:spMkLst>
            <pc:docMk/>
            <pc:sldMk cId="1005745348" sldId="686"/>
            <ac:spMk id="22" creationId="{D7C48DDC-4C66-385C-FAF5-B7EED645C5CD}"/>
          </ac:spMkLst>
        </pc:spChg>
        <pc:spChg chg="add del mod">
          <ac:chgData name="Steiner Andreas 6206 ED" userId="e6377c33-a923-4f14-8587-531c474c7b48" providerId="ADAL" clId="{6ECD27E6-B224-41CD-B4E0-E297462320DD}" dt="2023-11-23T19:53:38.436" v="3036"/>
          <ac:spMkLst>
            <pc:docMk/>
            <pc:sldMk cId="1005745348" sldId="686"/>
            <ac:spMk id="23" creationId="{1F168D59-431D-A3B5-6792-B37279CE8872}"/>
          </ac:spMkLst>
        </pc:spChg>
        <pc:spChg chg="add del mod">
          <ac:chgData name="Steiner Andreas 6206 ED" userId="e6377c33-a923-4f14-8587-531c474c7b48" providerId="ADAL" clId="{6ECD27E6-B224-41CD-B4E0-E297462320DD}" dt="2023-11-23T19:53:50.097" v="3191"/>
          <ac:spMkLst>
            <pc:docMk/>
            <pc:sldMk cId="1005745348" sldId="686"/>
            <ac:spMk id="24" creationId="{CC46DA05-7185-E0F5-6574-3F6C582162B8}"/>
          </ac:spMkLst>
        </pc:spChg>
        <pc:spChg chg="add del mod">
          <ac:chgData name="Steiner Andreas 6206 ED" userId="e6377c33-a923-4f14-8587-531c474c7b48" providerId="ADAL" clId="{6ECD27E6-B224-41CD-B4E0-E297462320DD}" dt="2023-11-23T19:54:01.772" v="3346"/>
          <ac:spMkLst>
            <pc:docMk/>
            <pc:sldMk cId="1005745348" sldId="686"/>
            <ac:spMk id="25" creationId="{001B9258-142A-56D7-3C7D-C80CEC86AE08}"/>
          </ac:spMkLst>
        </pc:spChg>
        <pc:spChg chg="add del mod">
          <ac:chgData name="Steiner Andreas 6206 ED" userId="e6377c33-a923-4f14-8587-531c474c7b48" providerId="ADAL" clId="{6ECD27E6-B224-41CD-B4E0-E297462320DD}" dt="2023-11-23T19:54:13.464" v="3501"/>
          <ac:spMkLst>
            <pc:docMk/>
            <pc:sldMk cId="1005745348" sldId="686"/>
            <ac:spMk id="26" creationId="{FA78AD4D-14B6-9793-2C51-4C79C0FE089C}"/>
          </ac:spMkLst>
        </pc:spChg>
        <pc:spChg chg="add del mod">
          <ac:chgData name="Steiner Andreas 6206 ED" userId="e6377c33-a923-4f14-8587-531c474c7b48" providerId="ADAL" clId="{6ECD27E6-B224-41CD-B4E0-E297462320DD}" dt="2023-11-23T19:54:25.126" v="3656"/>
          <ac:spMkLst>
            <pc:docMk/>
            <pc:sldMk cId="1005745348" sldId="686"/>
            <ac:spMk id="27" creationId="{6673996C-8E8E-2AC6-269E-8B8CD6160B7B}"/>
          </ac:spMkLst>
        </pc:spChg>
        <pc:spChg chg="add del mod">
          <ac:chgData name="Steiner Andreas 6206 ED" userId="e6377c33-a923-4f14-8587-531c474c7b48" providerId="ADAL" clId="{6ECD27E6-B224-41CD-B4E0-E297462320DD}" dt="2023-11-23T19:54:36.844" v="3811"/>
          <ac:spMkLst>
            <pc:docMk/>
            <pc:sldMk cId="1005745348" sldId="686"/>
            <ac:spMk id="28" creationId="{A2826D29-6871-5F39-7EC4-4DD235730D51}"/>
          </ac:spMkLst>
        </pc:spChg>
        <pc:spChg chg="add del mod">
          <ac:chgData name="Steiner Andreas 6206 ED" userId="e6377c33-a923-4f14-8587-531c474c7b48" providerId="ADAL" clId="{6ECD27E6-B224-41CD-B4E0-E297462320DD}" dt="2023-11-23T19:54:48.177" v="3966"/>
          <ac:spMkLst>
            <pc:docMk/>
            <pc:sldMk cId="1005745348" sldId="686"/>
            <ac:spMk id="29" creationId="{B8D2396D-B56B-1C88-180A-6C35FF906509}"/>
          </ac:spMkLst>
        </pc:spChg>
        <pc:spChg chg="add del mod">
          <ac:chgData name="Steiner Andreas 6206 ED" userId="e6377c33-a923-4f14-8587-531c474c7b48" providerId="ADAL" clId="{6ECD27E6-B224-41CD-B4E0-E297462320DD}" dt="2023-11-23T19:54:59.816" v="4121"/>
          <ac:spMkLst>
            <pc:docMk/>
            <pc:sldMk cId="1005745348" sldId="686"/>
            <ac:spMk id="30" creationId="{0934EBE2-30CD-E350-4A6D-DAFC72D60273}"/>
          </ac:spMkLst>
        </pc:spChg>
        <pc:spChg chg="add del mod">
          <ac:chgData name="Steiner Andreas 6206 ED" userId="e6377c33-a923-4f14-8587-531c474c7b48" providerId="ADAL" clId="{6ECD27E6-B224-41CD-B4E0-E297462320DD}" dt="2023-11-23T19:55:11.549" v="4276"/>
          <ac:spMkLst>
            <pc:docMk/>
            <pc:sldMk cId="1005745348" sldId="686"/>
            <ac:spMk id="31" creationId="{C45507B5-8E95-8A2B-0577-8C714F4D28D3}"/>
          </ac:spMkLst>
        </pc:spChg>
        <pc:spChg chg="add del mod">
          <ac:chgData name="Steiner Andreas 6206 ED" userId="e6377c33-a923-4f14-8587-531c474c7b48" providerId="ADAL" clId="{6ECD27E6-B224-41CD-B4E0-E297462320DD}" dt="2023-11-23T19:55:23.227" v="4431"/>
          <ac:spMkLst>
            <pc:docMk/>
            <pc:sldMk cId="1005745348" sldId="686"/>
            <ac:spMk id="32" creationId="{9B5E1B48-8376-CE75-D66A-03A68A7A41D9}"/>
          </ac:spMkLst>
        </pc:spChg>
        <pc:spChg chg="add del mod">
          <ac:chgData name="Steiner Andreas 6206 ED" userId="e6377c33-a923-4f14-8587-531c474c7b48" providerId="ADAL" clId="{6ECD27E6-B224-41CD-B4E0-E297462320DD}" dt="2023-11-23T19:55:34.874" v="4586"/>
          <ac:spMkLst>
            <pc:docMk/>
            <pc:sldMk cId="1005745348" sldId="686"/>
            <ac:spMk id="33" creationId="{A1617E12-9B7A-CA98-DD20-2A8AE1B57A74}"/>
          </ac:spMkLst>
        </pc:spChg>
        <pc:spChg chg="add del mod">
          <ac:chgData name="Steiner Andreas 6206 ED" userId="e6377c33-a923-4f14-8587-531c474c7b48" providerId="ADAL" clId="{6ECD27E6-B224-41CD-B4E0-E297462320DD}" dt="2023-11-23T19:55:46.208" v="4741"/>
          <ac:spMkLst>
            <pc:docMk/>
            <pc:sldMk cId="1005745348" sldId="686"/>
            <ac:spMk id="34" creationId="{998BE29E-F5D9-F37B-CC53-35270C2664F8}"/>
          </ac:spMkLst>
        </pc:spChg>
        <pc:spChg chg="add del mod">
          <ac:chgData name="Steiner Andreas 6206 ED" userId="e6377c33-a923-4f14-8587-531c474c7b48" providerId="ADAL" clId="{6ECD27E6-B224-41CD-B4E0-E297462320DD}" dt="2023-11-23T19:55:57.874" v="4896"/>
          <ac:spMkLst>
            <pc:docMk/>
            <pc:sldMk cId="1005745348" sldId="686"/>
            <ac:spMk id="35" creationId="{CC54669F-67E3-9A1B-DC9C-A69F0A1EFDFC}"/>
          </ac:spMkLst>
        </pc:spChg>
        <pc:spChg chg="add del mod">
          <ac:chgData name="Steiner Andreas 6206 ED" userId="e6377c33-a923-4f14-8587-531c474c7b48" providerId="ADAL" clId="{6ECD27E6-B224-41CD-B4E0-E297462320DD}" dt="2023-11-23T19:56:09.540" v="5051"/>
          <ac:spMkLst>
            <pc:docMk/>
            <pc:sldMk cId="1005745348" sldId="686"/>
            <ac:spMk id="36" creationId="{ED701D87-B71D-3094-8896-FA7471F28EF9}"/>
          </ac:spMkLst>
        </pc:spChg>
        <pc:spChg chg="add del mod">
          <ac:chgData name="Steiner Andreas 6206 ED" userId="e6377c33-a923-4f14-8587-531c474c7b48" providerId="ADAL" clId="{6ECD27E6-B224-41CD-B4E0-E297462320DD}" dt="2023-11-23T19:56:21.238" v="5206"/>
          <ac:spMkLst>
            <pc:docMk/>
            <pc:sldMk cId="1005745348" sldId="686"/>
            <ac:spMk id="37" creationId="{FD40EFB7-5D81-0BE4-80F1-ADB13E5B2C9F}"/>
          </ac:spMkLst>
        </pc:spChg>
        <pc:spChg chg="add del mod">
          <ac:chgData name="Steiner Andreas 6206 ED" userId="e6377c33-a923-4f14-8587-531c474c7b48" providerId="ADAL" clId="{6ECD27E6-B224-41CD-B4E0-E297462320DD}" dt="2023-11-23T19:56:32.924" v="5361"/>
          <ac:spMkLst>
            <pc:docMk/>
            <pc:sldMk cId="1005745348" sldId="686"/>
            <ac:spMk id="38" creationId="{2018A019-057A-66A5-0E1E-99E0B0A5B5BA}"/>
          </ac:spMkLst>
        </pc:spChg>
        <pc:spChg chg="add del mod">
          <ac:chgData name="Steiner Andreas 6206 ED" userId="e6377c33-a923-4f14-8587-531c474c7b48" providerId="ADAL" clId="{6ECD27E6-B224-41CD-B4E0-E297462320DD}" dt="2023-11-23T19:56:44.281" v="5516"/>
          <ac:spMkLst>
            <pc:docMk/>
            <pc:sldMk cId="1005745348" sldId="686"/>
            <ac:spMk id="39" creationId="{43F121D3-05B2-816B-3FF3-C45F170E039A}"/>
          </ac:spMkLst>
        </pc:spChg>
        <pc:spChg chg="add del mod">
          <ac:chgData name="Steiner Andreas 6206 ED" userId="e6377c33-a923-4f14-8587-531c474c7b48" providerId="ADAL" clId="{6ECD27E6-B224-41CD-B4E0-E297462320DD}" dt="2023-11-23T19:56:54.657" v="5671"/>
          <ac:spMkLst>
            <pc:docMk/>
            <pc:sldMk cId="1005745348" sldId="686"/>
            <ac:spMk id="40" creationId="{9CF996B6-9163-252D-2911-1B3C80A0B3D6}"/>
          </ac:spMkLst>
        </pc:spChg>
        <pc:spChg chg="add del mod">
          <ac:chgData name="Steiner Andreas 6206 ED" userId="e6377c33-a923-4f14-8587-531c474c7b48" providerId="ADAL" clId="{6ECD27E6-B224-41CD-B4E0-E297462320DD}" dt="2023-11-23T19:57:06.122" v="5826"/>
          <ac:spMkLst>
            <pc:docMk/>
            <pc:sldMk cId="1005745348" sldId="686"/>
            <ac:spMk id="41" creationId="{5D10271B-22D0-5F45-CC3D-D8826C8D8690}"/>
          </ac:spMkLst>
        </pc:spChg>
        <pc:spChg chg="add del mod">
          <ac:chgData name="Steiner Andreas 6206 ED" userId="e6377c33-a923-4f14-8587-531c474c7b48" providerId="ADAL" clId="{6ECD27E6-B224-41CD-B4E0-E297462320DD}" dt="2023-11-23T19:57:17.802" v="5981"/>
          <ac:spMkLst>
            <pc:docMk/>
            <pc:sldMk cId="1005745348" sldId="686"/>
            <ac:spMk id="42" creationId="{B804CB8B-DFBB-9A25-BB48-720FDDEAEAE9}"/>
          </ac:spMkLst>
        </pc:spChg>
        <pc:spChg chg="add del mod">
          <ac:chgData name="Steiner Andreas 6206 ED" userId="e6377c33-a923-4f14-8587-531c474c7b48" providerId="ADAL" clId="{6ECD27E6-B224-41CD-B4E0-E297462320DD}" dt="2023-11-23T19:57:29.267" v="6136"/>
          <ac:spMkLst>
            <pc:docMk/>
            <pc:sldMk cId="1005745348" sldId="686"/>
            <ac:spMk id="43" creationId="{EB51F996-1EC8-EFC3-B6D3-5DD882D53DED}"/>
          </ac:spMkLst>
        </pc:spChg>
        <pc:spChg chg="add del mod">
          <ac:chgData name="Steiner Andreas 6206 ED" userId="e6377c33-a923-4f14-8587-531c474c7b48" providerId="ADAL" clId="{6ECD27E6-B224-41CD-B4E0-E297462320DD}" dt="2023-11-23T19:57:40.893" v="6291"/>
          <ac:spMkLst>
            <pc:docMk/>
            <pc:sldMk cId="1005745348" sldId="686"/>
            <ac:spMk id="44" creationId="{837B27A8-D217-7B19-9116-B1D11229D3E6}"/>
          </ac:spMkLst>
        </pc:spChg>
        <pc:spChg chg="add del mod">
          <ac:chgData name="Steiner Andreas 6206 ED" userId="e6377c33-a923-4f14-8587-531c474c7b48" providerId="ADAL" clId="{6ECD27E6-B224-41CD-B4E0-E297462320DD}" dt="2023-11-23T19:57:52.564" v="6446"/>
          <ac:spMkLst>
            <pc:docMk/>
            <pc:sldMk cId="1005745348" sldId="686"/>
            <ac:spMk id="45" creationId="{EF5C6577-EA5B-CE5A-17DE-DDFE0B26BB07}"/>
          </ac:spMkLst>
        </pc:spChg>
        <pc:spChg chg="add del mod">
          <ac:chgData name="Steiner Andreas 6206 ED" userId="e6377c33-a923-4f14-8587-531c474c7b48" providerId="ADAL" clId="{6ECD27E6-B224-41CD-B4E0-E297462320DD}" dt="2023-11-23T19:58:04.263" v="6601"/>
          <ac:spMkLst>
            <pc:docMk/>
            <pc:sldMk cId="1005745348" sldId="686"/>
            <ac:spMk id="46" creationId="{85BD4910-7F5E-3BAD-3C35-7F2D558B92DC}"/>
          </ac:spMkLst>
        </pc:spChg>
        <pc:spChg chg="add del mod">
          <ac:chgData name="Steiner Andreas 6206 ED" userId="e6377c33-a923-4f14-8587-531c474c7b48" providerId="ADAL" clId="{6ECD27E6-B224-41CD-B4E0-E297462320DD}" dt="2023-11-23T19:58:15.660" v="6756"/>
          <ac:spMkLst>
            <pc:docMk/>
            <pc:sldMk cId="1005745348" sldId="686"/>
            <ac:spMk id="47" creationId="{4B9C39E0-108C-E09F-0123-B71CC88249C8}"/>
          </ac:spMkLst>
        </pc:spChg>
        <pc:spChg chg="add del mod">
          <ac:chgData name="Steiner Andreas 6206 ED" userId="e6377c33-a923-4f14-8587-531c474c7b48" providerId="ADAL" clId="{6ECD27E6-B224-41CD-B4E0-E297462320DD}" dt="2023-11-23T19:58:27.781" v="6911"/>
          <ac:spMkLst>
            <pc:docMk/>
            <pc:sldMk cId="1005745348" sldId="686"/>
            <ac:spMk id="48" creationId="{86197A49-88DE-E417-3D48-438A8475536E}"/>
          </ac:spMkLst>
        </pc:spChg>
        <pc:spChg chg="add del mod">
          <ac:chgData name="Steiner Andreas 6206 ED" userId="e6377c33-a923-4f14-8587-531c474c7b48" providerId="ADAL" clId="{6ECD27E6-B224-41CD-B4E0-E297462320DD}" dt="2023-11-23T19:58:39.525" v="7066"/>
          <ac:spMkLst>
            <pc:docMk/>
            <pc:sldMk cId="1005745348" sldId="686"/>
            <ac:spMk id="49" creationId="{866E6721-D647-23FB-3D18-6D0BA2004C3D}"/>
          </ac:spMkLst>
        </pc:spChg>
        <pc:spChg chg="add del mod">
          <ac:chgData name="Steiner Andreas 6206 ED" userId="e6377c33-a923-4f14-8587-531c474c7b48" providerId="ADAL" clId="{6ECD27E6-B224-41CD-B4E0-E297462320DD}" dt="2023-11-23T19:58:51.213" v="7221"/>
          <ac:spMkLst>
            <pc:docMk/>
            <pc:sldMk cId="1005745348" sldId="686"/>
            <ac:spMk id="50" creationId="{6D0BD68F-D866-49D9-B844-01C8CC8B66DD}"/>
          </ac:spMkLst>
        </pc:spChg>
        <pc:spChg chg="add del mod">
          <ac:chgData name="Steiner Andreas 6206 ED" userId="e6377c33-a923-4f14-8587-531c474c7b48" providerId="ADAL" clId="{6ECD27E6-B224-41CD-B4E0-E297462320DD}" dt="2023-11-23T19:59:02.592" v="7376"/>
          <ac:spMkLst>
            <pc:docMk/>
            <pc:sldMk cId="1005745348" sldId="686"/>
            <ac:spMk id="51" creationId="{DB0547AA-0711-2331-E183-A69B68B1B054}"/>
          </ac:spMkLst>
        </pc:spChg>
        <pc:spChg chg="add del mod">
          <ac:chgData name="Steiner Andreas 6206 ED" userId="e6377c33-a923-4f14-8587-531c474c7b48" providerId="ADAL" clId="{6ECD27E6-B224-41CD-B4E0-E297462320DD}" dt="2023-11-24T08:31:41.452" v="7531"/>
          <ac:spMkLst>
            <pc:docMk/>
            <pc:sldMk cId="1005745348" sldId="686"/>
            <ac:spMk id="52" creationId="{C66B372F-B644-E6FA-14D7-29AFA10272BD}"/>
          </ac:spMkLst>
        </pc:spChg>
        <pc:spChg chg="add del mod">
          <ac:chgData name="Steiner Andreas 6206 ED" userId="e6377c33-a923-4f14-8587-531c474c7b48" providerId="ADAL" clId="{6ECD27E6-B224-41CD-B4E0-E297462320DD}" dt="2023-11-24T08:31:45.155" v="7686"/>
          <ac:spMkLst>
            <pc:docMk/>
            <pc:sldMk cId="1005745348" sldId="686"/>
            <ac:spMk id="53" creationId="{575D031E-FBC8-06AB-34D5-36F8E837F8DF}"/>
          </ac:spMkLst>
        </pc:spChg>
        <pc:spChg chg="add del mod">
          <ac:chgData name="Steiner Andreas 6206 ED" userId="e6377c33-a923-4f14-8587-531c474c7b48" providerId="ADAL" clId="{6ECD27E6-B224-41CD-B4E0-E297462320DD}" dt="2023-11-24T08:31:47" v="7841"/>
          <ac:spMkLst>
            <pc:docMk/>
            <pc:sldMk cId="1005745348" sldId="686"/>
            <ac:spMk id="54" creationId="{D32F00D5-760D-FE95-F442-0268DA66476B}"/>
          </ac:spMkLst>
        </pc:spChg>
        <pc:spChg chg="add del mod">
          <ac:chgData name="Steiner Andreas 6206 ED" userId="e6377c33-a923-4f14-8587-531c474c7b48" providerId="ADAL" clId="{6ECD27E6-B224-41CD-B4E0-E297462320DD}" dt="2023-11-24T08:31:48.866" v="7996"/>
          <ac:spMkLst>
            <pc:docMk/>
            <pc:sldMk cId="1005745348" sldId="686"/>
            <ac:spMk id="55" creationId="{950BF842-5622-3085-C3EC-558FE4E1914B}"/>
          </ac:spMkLst>
        </pc:spChg>
        <pc:spChg chg="add del mod">
          <ac:chgData name="Steiner Andreas 6206 ED" userId="e6377c33-a923-4f14-8587-531c474c7b48" providerId="ADAL" clId="{6ECD27E6-B224-41CD-B4E0-E297462320DD}" dt="2023-11-24T08:31:50.738" v="8151"/>
          <ac:spMkLst>
            <pc:docMk/>
            <pc:sldMk cId="1005745348" sldId="686"/>
            <ac:spMk id="56" creationId="{B35D97ED-883A-58C1-5D87-C0EA7D45DBE4}"/>
          </ac:spMkLst>
        </pc:spChg>
        <pc:spChg chg="add del mod">
          <ac:chgData name="Steiner Andreas 6206 ED" userId="e6377c33-a923-4f14-8587-531c474c7b48" providerId="ADAL" clId="{6ECD27E6-B224-41CD-B4E0-E297462320DD}" dt="2023-11-24T08:31:52.516" v="8306"/>
          <ac:spMkLst>
            <pc:docMk/>
            <pc:sldMk cId="1005745348" sldId="686"/>
            <ac:spMk id="57" creationId="{22F6FDCE-9C7D-CB40-0E90-C4D8A3267E2B}"/>
          </ac:spMkLst>
        </pc:spChg>
        <pc:spChg chg="add del mod">
          <ac:chgData name="Steiner Andreas 6206 ED" userId="e6377c33-a923-4f14-8587-531c474c7b48" providerId="ADAL" clId="{6ECD27E6-B224-41CD-B4E0-E297462320DD}" dt="2023-11-24T08:31:54.336" v="8461"/>
          <ac:spMkLst>
            <pc:docMk/>
            <pc:sldMk cId="1005745348" sldId="686"/>
            <ac:spMk id="58" creationId="{CE60D1DC-8CB1-39FE-656B-56F5102677CC}"/>
          </ac:spMkLst>
        </pc:spChg>
        <pc:spChg chg="add del mod">
          <ac:chgData name="Steiner Andreas 6206 ED" userId="e6377c33-a923-4f14-8587-531c474c7b48" providerId="ADAL" clId="{6ECD27E6-B224-41CD-B4E0-E297462320DD}" dt="2023-11-24T08:31:56.177" v="8616"/>
          <ac:spMkLst>
            <pc:docMk/>
            <pc:sldMk cId="1005745348" sldId="686"/>
            <ac:spMk id="59" creationId="{E968F026-78BF-80A5-978A-FFD206DFFD57}"/>
          </ac:spMkLst>
        </pc:spChg>
        <pc:spChg chg="add del mod">
          <ac:chgData name="Steiner Andreas 6206 ED" userId="e6377c33-a923-4f14-8587-531c474c7b48" providerId="ADAL" clId="{6ECD27E6-B224-41CD-B4E0-E297462320DD}" dt="2023-11-24T08:31:58.062" v="8771"/>
          <ac:spMkLst>
            <pc:docMk/>
            <pc:sldMk cId="1005745348" sldId="686"/>
            <ac:spMk id="60" creationId="{D29CB866-D100-42F5-9140-D0499964E0E0}"/>
          </ac:spMkLst>
        </pc:spChg>
        <pc:spChg chg="add del mod">
          <ac:chgData name="Steiner Andreas 6206 ED" userId="e6377c33-a923-4f14-8587-531c474c7b48" providerId="ADAL" clId="{6ECD27E6-B224-41CD-B4E0-E297462320DD}" dt="2023-11-24T08:32:00.774" v="8926"/>
          <ac:spMkLst>
            <pc:docMk/>
            <pc:sldMk cId="1005745348" sldId="686"/>
            <ac:spMk id="61" creationId="{8D1C4A79-6863-073F-7947-47F6FC87D0D3}"/>
          </ac:spMkLst>
        </pc:spChg>
        <pc:spChg chg="add del mod">
          <ac:chgData name="Steiner Andreas 6206 ED" userId="e6377c33-a923-4f14-8587-531c474c7b48" providerId="ADAL" clId="{6ECD27E6-B224-41CD-B4E0-E297462320DD}" dt="2023-11-24T08:32:03.097" v="9081"/>
          <ac:spMkLst>
            <pc:docMk/>
            <pc:sldMk cId="1005745348" sldId="686"/>
            <ac:spMk id="62" creationId="{1D16A1D1-D75A-EFCE-E03E-B34565989EBE}"/>
          </ac:spMkLst>
        </pc:spChg>
        <pc:spChg chg="add del mod">
          <ac:chgData name="Steiner Andreas 6206 ED" userId="e6377c33-a923-4f14-8587-531c474c7b48" providerId="ADAL" clId="{6ECD27E6-B224-41CD-B4E0-E297462320DD}" dt="2023-11-24T08:32:05.146" v="9236"/>
          <ac:spMkLst>
            <pc:docMk/>
            <pc:sldMk cId="1005745348" sldId="686"/>
            <ac:spMk id="63" creationId="{4A1500F6-E690-79BF-C56D-E93DBF310C2C}"/>
          </ac:spMkLst>
        </pc:spChg>
        <pc:spChg chg="add del mod">
          <ac:chgData name="Steiner Andreas 6206 ED" userId="e6377c33-a923-4f14-8587-531c474c7b48" providerId="ADAL" clId="{6ECD27E6-B224-41CD-B4E0-E297462320DD}" dt="2023-11-24T08:32:07.088" v="9391"/>
          <ac:spMkLst>
            <pc:docMk/>
            <pc:sldMk cId="1005745348" sldId="686"/>
            <ac:spMk id="64" creationId="{0490BF6A-BDA1-EFF1-7CF6-BBCA0A05CA8D}"/>
          </ac:spMkLst>
        </pc:spChg>
        <pc:spChg chg="add del mod">
          <ac:chgData name="Steiner Andreas 6206 ED" userId="e6377c33-a923-4f14-8587-531c474c7b48" providerId="ADAL" clId="{6ECD27E6-B224-41CD-B4E0-E297462320DD}" dt="2023-11-24T08:32:09.419" v="9546"/>
          <ac:spMkLst>
            <pc:docMk/>
            <pc:sldMk cId="1005745348" sldId="686"/>
            <ac:spMk id="65" creationId="{C62D7B37-4AEE-E3CD-B8D6-4EFF6DA7E239}"/>
          </ac:spMkLst>
        </pc:spChg>
        <pc:spChg chg="add del mod">
          <ac:chgData name="Steiner Andreas 6206 ED" userId="e6377c33-a923-4f14-8587-531c474c7b48" providerId="ADAL" clId="{6ECD27E6-B224-41CD-B4E0-E297462320DD}" dt="2023-11-24T08:32:11.726" v="9701"/>
          <ac:spMkLst>
            <pc:docMk/>
            <pc:sldMk cId="1005745348" sldId="686"/>
            <ac:spMk id="66" creationId="{75A51FE0-12A6-1A51-81CB-D540388F7C87}"/>
          </ac:spMkLst>
        </pc:spChg>
        <pc:spChg chg="add del mod">
          <ac:chgData name="Steiner Andreas 6206 ED" userId="e6377c33-a923-4f14-8587-531c474c7b48" providerId="ADAL" clId="{6ECD27E6-B224-41CD-B4E0-E297462320DD}" dt="2023-11-24T08:32:13.887" v="9856"/>
          <ac:spMkLst>
            <pc:docMk/>
            <pc:sldMk cId="1005745348" sldId="686"/>
            <ac:spMk id="67" creationId="{A3A97FC6-BE3E-F59C-B926-1DF1619C5F3D}"/>
          </ac:spMkLst>
        </pc:spChg>
        <pc:spChg chg="add del mod">
          <ac:chgData name="Steiner Andreas 6206 ED" userId="e6377c33-a923-4f14-8587-531c474c7b48" providerId="ADAL" clId="{6ECD27E6-B224-41CD-B4E0-E297462320DD}" dt="2023-11-24T08:32:15.826" v="10011"/>
          <ac:spMkLst>
            <pc:docMk/>
            <pc:sldMk cId="1005745348" sldId="686"/>
            <ac:spMk id="68" creationId="{9EF80685-9E20-736E-2E32-01D0934082E8}"/>
          </ac:spMkLst>
        </pc:spChg>
        <pc:spChg chg="add del mod">
          <ac:chgData name="Steiner Andreas 6206 ED" userId="e6377c33-a923-4f14-8587-531c474c7b48" providerId="ADAL" clId="{6ECD27E6-B224-41CD-B4E0-E297462320DD}" dt="2023-11-24T08:32:17.825" v="10166"/>
          <ac:spMkLst>
            <pc:docMk/>
            <pc:sldMk cId="1005745348" sldId="686"/>
            <ac:spMk id="69" creationId="{1412CA08-DAD3-9A5C-2623-CEA5A67CC89A}"/>
          </ac:spMkLst>
        </pc:spChg>
        <pc:spChg chg="add del mod">
          <ac:chgData name="Steiner Andreas 6206 ED" userId="e6377c33-a923-4f14-8587-531c474c7b48" providerId="ADAL" clId="{6ECD27E6-B224-41CD-B4E0-E297462320DD}" dt="2023-11-24T08:32:19.779" v="10321"/>
          <ac:spMkLst>
            <pc:docMk/>
            <pc:sldMk cId="1005745348" sldId="686"/>
            <ac:spMk id="70" creationId="{320A3DA4-7AB1-E591-1478-62E7A8D11B18}"/>
          </ac:spMkLst>
        </pc:spChg>
        <pc:spChg chg="add del mod">
          <ac:chgData name="Steiner Andreas 6206 ED" userId="e6377c33-a923-4f14-8587-531c474c7b48" providerId="ADAL" clId="{6ECD27E6-B224-41CD-B4E0-E297462320DD}" dt="2023-11-24T08:32:21.741" v="10476"/>
          <ac:spMkLst>
            <pc:docMk/>
            <pc:sldMk cId="1005745348" sldId="686"/>
            <ac:spMk id="71" creationId="{4E4A3A8A-4418-4889-84EA-E2B059668811}"/>
          </ac:spMkLst>
        </pc:spChg>
        <pc:spChg chg="add del mod">
          <ac:chgData name="Steiner Andreas 6206 ED" userId="e6377c33-a923-4f14-8587-531c474c7b48" providerId="ADAL" clId="{6ECD27E6-B224-41CD-B4E0-E297462320DD}" dt="2023-11-24T08:32:23.885" v="10631"/>
          <ac:spMkLst>
            <pc:docMk/>
            <pc:sldMk cId="1005745348" sldId="686"/>
            <ac:spMk id="72" creationId="{30542360-43B8-AA82-D10E-22FAC6E32922}"/>
          </ac:spMkLst>
        </pc:spChg>
        <pc:spChg chg="add del mod">
          <ac:chgData name="Steiner Andreas 6206 ED" userId="e6377c33-a923-4f14-8587-531c474c7b48" providerId="ADAL" clId="{6ECD27E6-B224-41CD-B4E0-E297462320DD}" dt="2023-11-24T08:32:25.867" v="10786"/>
          <ac:spMkLst>
            <pc:docMk/>
            <pc:sldMk cId="1005745348" sldId="686"/>
            <ac:spMk id="73" creationId="{61C63193-0FDC-C4F8-A374-1507826FA7EA}"/>
          </ac:spMkLst>
        </pc:spChg>
        <pc:spChg chg="add del mod">
          <ac:chgData name="Steiner Andreas 6206 ED" userId="e6377c33-a923-4f14-8587-531c474c7b48" providerId="ADAL" clId="{6ECD27E6-B224-41CD-B4E0-E297462320DD}" dt="2023-11-24T08:32:27.847" v="10941"/>
          <ac:spMkLst>
            <pc:docMk/>
            <pc:sldMk cId="1005745348" sldId="686"/>
            <ac:spMk id="74" creationId="{3A21E4A8-5854-ACDD-5C04-FB3CC8CC50B9}"/>
          </ac:spMkLst>
        </pc:spChg>
        <pc:spChg chg="add del mod">
          <ac:chgData name="Steiner Andreas 6206 ED" userId="e6377c33-a923-4f14-8587-531c474c7b48" providerId="ADAL" clId="{6ECD27E6-B224-41CD-B4E0-E297462320DD}" dt="2023-11-24T08:32:29.761" v="11096"/>
          <ac:spMkLst>
            <pc:docMk/>
            <pc:sldMk cId="1005745348" sldId="686"/>
            <ac:spMk id="75" creationId="{0EB6D002-31A6-0037-19D0-9E5B51647998}"/>
          </ac:spMkLst>
        </pc:spChg>
        <pc:spChg chg="add del mod">
          <ac:chgData name="Steiner Andreas 6206 ED" userId="e6377c33-a923-4f14-8587-531c474c7b48" providerId="ADAL" clId="{6ECD27E6-B224-41CD-B4E0-E297462320DD}" dt="2023-11-24T08:32:31.880" v="11251"/>
          <ac:spMkLst>
            <pc:docMk/>
            <pc:sldMk cId="1005745348" sldId="686"/>
            <ac:spMk id="76" creationId="{E6A6A7E9-9888-8843-E4D4-1817DFE4CBBB}"/>
          </ac:spMkLst>
        </pc:spChg>
        <pc:spChg chg="add del mod">
          <ac:chgData name="Steiner Andreas 6206 ED" userId="e6377c33-a923-4f14-8587-531c474c7b48" providerId="ADAL" clId="{6ECD27E6-B224-41CD-B4E0-E297462320DD}" dt="2023-11-24T08:32:34.196" v="11406"/>
          <ac:spMkLst>
            <pc:docMk/>
            <pc:sldMk cId="1005745348" sldId="686"/>
            <ac:spMk id="77" creationId="{3ADAFB3B-4EFD-1124-F1A1-904C412F32C3}"/>
          </ac:spMkLst>
        </pc:spChg>
        <pc:spChg chg="add del mod">
          <ac:chgData name="Steiner Andreas 6206 ED" userId="e6377c33-a923-4f14-8587-531c474c7b48" providerId="ADAL" clId="{6ECD27E6-B224-41CD-B4E0-E297462320DD}" dt="2023-11-24T08:32:36.605" v="11561"/>
          <ac:spMkLst>
            <pc:docMk/>
            <pc:sldMk cId="1005745348" sldId="686"/>
            <ac:spMk id="78" creationId="{F5EFF8CE-CF78-AFB4-D898-0CE6BAFD6036}"/>
          </ac:spMkLst>
        </pc:spChg>
        <pc:spChg chg="add del mod">
          <ac:chgData name="Steiner Andreas 6206 ED" userId="e6377c33-a923-4f14-8587-531c474c7b48" providerId="ADAL" clId="{6ECD27E6-B224-41CD-B4E0-E297462320DD}" dt="2023-11-24T08:32:38.536" v="11716"/>
          <ac:spMkLst>
            <pc:docMk/>
            <pc:sldMk cId="1005745348" sldId="686"/>
            <ac:spMk id="79" creationId="{8B49C531-8FEE-8266-160D-0776B1CF745B}"/>
          </ac:spMkLst>
        </pc:spChg>
        <pc:spChg chg="add del mod">
          <ac:chgData name="Steiner Andreas 6206 ED" userId="e6377c33-a923-4f14-8587-531c474c7b48" providerId="ADAL" clId="{6ECD27E6-B224-41CD-B4E0-E297462320DD}" dt="2023-11-24T08:32:40.634" v="11871"/>
          <ac:spMkLst>
            <pc:docMk/>
            <pc:sldMk cId="1005745348" sldId="686"/>
            <ac:spMk id="80" creationId="{2CF7186F-B365-083A-DBC7-2D67E88D964A}"/>
          </ac:spMkLst>
        </pc:spChg>
        <pc:spChg chg="add del mod">
          <ac:chgData name="Steiner Andreas 6206 ED" userId="e6377c33-a923-4f14-8587-531c474c7b48" providerId="ADAL" clId="{6ECD27E6-B224-41CD-B4E0-E297462320DD}" dt="2023-11-24T08:32:42.785" v="12026"/>
          <ac:spMkLst>
            <pc:docMk/>
            <pc:sldMk cId="1005745348" sldId="686"/>
            <ac:spMk id="81" creationId="{31E84EBF-942D-088F-7F67-3486C6A7FFC7}"/>
          </ac:spMkLst>
        </pc:spChg>
        <pc:spChg chg="add del mod">
          <ac:chgData name="Steiner Andreas 6206 ED" userId="e6377c33-a923-4f14-8587-531c474c7b48" providerId="ADAL" clId="{6ECD27E6-B224-41CD-B4E0-E297462320DD}" dt="2023-11-24T08:32:44.932" v="12181"/>
          <ac:spMkLst>
            <pc:docMk/>
            <pc:sldMk cId="1005745348" sldId="686"/>
            <ac:spMk id="82" creationId="{814A232E-C73E-0C36-19D4-ED3003D1D13C}"/>
          </ac:spMkLst>
        </pc:spChg>
        <pc:spChg chg="add del mod">
          <ac:chgData name="Steiner Andreas 6206 ED" userId="e6377c33-a923-4f14-8587-531c474c7b48" providerId="ADAL" clId="{6ECD27E6-B224-41CD-B4E0-E297462320DD}" dt="2023-11-24T08:32:47.119" v="12336"/>
          <ac:spMkLst>
            <pc:docMk/>
            <pc:sldMk cId="1005745348" sldId="686"/>
            <ac:spMk id="83" creationId="{4A7E2236-AC3A-3F44-85DB-008816AB3D21}"/>
          </ac:spMkLst>
        </pc:spChg>
        <pc:spChg chg="add del mod">
          <ac:chgData name="Steiner Andreas 6206 ED" userId="e6377c33-a923-4f14-8587-531c474c7b48" providerId="ADAL" clId="{6ECD27E6-B224-41CD-B4E0-E297462320DD}" dt="2023-11-24T08:32:49.174" v="12491"/>
          <ac:spMkLst>
            <pc:docMk/>
            <pc:sldMk cId="1005745348" sldId="686"/>
            <ac:spMk id="84" creationId="{6440D22E-703E-1B73-2A24-23E17AA0B9D0}"/>
          </ac:spMkLst>
        </pc:spChg>
        <pc:spChg chg="add del mod">
          <ac:chgData name="Steiner Andreas 6206 ED" userId="e6377c33-a923-4f14-8587-531c474c7b48" providerId="ADAL" clId="{6ECD27E6-B224-41CD-B4E0-E297462320DD}" dt="2023-11-24T08:32:51.115" v="12646"/>
          <ac:spMkLst>
            <pc:docMk/>
            <pc:sldMk cId="1005745348" sldId="686"/>
            <ac:spMk id="85" creationId="{04F4C48E-AD6C-6CE7-9924-E7E34445763F}"/>
          </ac:spMkLst>
        </pc:spChg>
        <pc:spChg chg="add del mod">
          <ac:chgData name="Steiner Andreas 6206 ED" userId="e6377c33-a923-4f14-8587-531c474c7b48" providerId="ADAL" clId="{6ECD27E6-B224-41CD-B4E0-E297462320DD}" dt="2023-11-24T08:32:53.135" v="12801"/>
          <ac:spMkLst>
            <pc:docMk/>
            <pc:sldMk cId="1005745348" sldId="686"/>
            <ac:spMk id="86" creationId="{51C49FCD-B340-B772-D163-79F84BF33846}"/>
          </ac:spMkLst>
        </pc:spChg>
        <pc:spChg chg="add del mod">
          <ac:chgData name="Steiner Andreas 6206 ED" userId="e6377c33-a923-4f14-8587-531c474c7b48" providerId="ADAL" clId="{6ECD27E6-B224-41CD-B4E0-E297462320DD}" dt="2023-11-24T08:32:55.126" v="12956"/>
          <ac:spMkLst>
            <pc:docMk/>
            <pc:sldMk cId="1005745348" sldId="686"/>
            <ac:spMk id="87" creationId="{6C2B7071-428A-9ADF-DCDC-DED533DE8EA7}"/>
          </ac:spMkLst>
        </pc:spChg>
        <pc:spChg chg="add del mod">
          <ac:chgData name="Steiner Andreas 6206 ED" userId="e6377c33-a923-4f14-8587-531c474c7b48" providerId="ADAL" clId="{6ECD27E6-B224-41CD-B4E0-E297462320DD}" dt="2023-11-24T08:32:57.046" v="13111"/>
          <ac:spMkLst>
            <pc:docMk/>
            <pc:sldMk cId="1005745348" sldId="686"/>
            <ac:spMk id="88" creationId="{FADB1BA0-CCAB-0545-1C13-48AF78002522}"/>
          </ac:spMkLst>
        </pc:spChg>
        <pc:spChg chg="add del mod">
          <ac:chgData name="Steiner Andreas 6206 ED" userId="e6377c33-a923-4f14-8587-531c474c7b48" providerId="ADAL" clId="{6ECD27E6-B224-41CD-B4E0-E297462320DD}" dt="2023-11-24T08:32:59.152" v="13266"/>
          <ac:spMkLst>
            <pc:docMk/>
            <pc:sldMk cId="1005745348" sldId="686"/>
            <ac:spMk id="89" creationId="{6C8DD404-3DF6-05D9-56CE-7D06F64C7CF7}"/>
          </ac:spMkLst>
        </pc:spChg>
        <pc:spChg chg="add del mod">
          <ac:chgData name="Steiner Andreas 6206 ED" userId="e6377c33-a923-4f14-8587-531c474c7b48" providerId="ADAL" clId="{6ECD27E6-B224-41CD-B4E0-E297462320DD}" dt="2023-11-24T08:33:01.284" v="13421"/>
          <ac:spMkLst>
            <pc:docMk/>
            <pc:sldMk cId="1005745348" sldId="686"/>
            <ac:spMk id="90" creationId="{5123A0BF-5784-6970-E467-70BEE7B52266}"/>
          </ac:spMkLst>
        </pc:spChg>
        <pc:spChg chg="add del mod">
          <ac:chgData name="Steiner Andreas 6206 ED" userId="e6377c33-a923-4f14-8587-531c474c7b48" providerId="ADAL" clId="{6ECD27E6-B224-41CD-B4E0-E297462320DD}" dt="2023-11-24T08:33:03.627" v="13576"/>
          <ac:spMkLst>
            <pc:docMk/>
            <pc:sldMk cId="1005745348" sldId="686"/>
            <ac:spMk id="91" creationId="{12B951BA-9C1A-7BBF-BA39-67C2EE7BC458}"/>
          </ac:spMkLst>
        </pc:spChg>
        <pc:spChg chg="add del mod">
          <ac:chgData name="Steiner Andreas 6206 ED" userId="e6377c33-a923-4f14-8587-531c474c7b48" providerId="ADAL" clId="{6ECD27E6-B224-41CD-B4E0-E297462320DD}" dt="2023-11-24T08:33:05.956" v="13731"/>
          <ac:spMkLst>
            <pc:docMk/>
            <pc:sldMk cId="1005745348" sldId="686"/>
            <ac:spMk id="92" creationId="{3F724945-AF4F-3236-E39F-8505740E5210}"/>
          </ac:spMkLst>
        </pc:spChg>
        <pc:spChg chg="add del mod">
          <ac:chgData name="Steiner Andreas 6206 ED" userId="e6377c33-a923-4f14-8587-531c474c7b48" providerId="ADAL" clId="{6ECD27E6-B224-41CD-B4E0-E297462320DD}" dt="2023-11-24T08:33:08.190" v="13886"/>
          <ac:spMkLst>
            <pc:docMk/>
            <pc:sldMk cId="1005745348" sldId="686"/>
            <ac:spMk id="93" creationId="{EDD6E212-98AE-8258-369E-5DC7CA4BB71D}"/>
          </ac:spMkLst>
        </pc:spChg>
        <pc:spChg chg="add del mod">
          <ac:chgData name="Steiner Andreas 6206 ED" userId="e6377c33-a923-4f14-8587-531c474c7b48" providerId="ADAL" clId="{6ECD27E6-B224-41CD-B4E0-E297462320DD}" dt="2023-11-24T08:33:10.616" v="14041"/>
          <ac:spMkLst>
            <pc:docMk/>
            <pc:sldMk cId="1005745348" sldId="686"/>
            <ac:spMk id="94" creationId="{24B88FA3-2BA0-8292-819E-14D6064FD9FD}"/>
          </ac:spMkLst>
        </pc:spChg>
        <pc:spChg chg="add del mod">
          <ac:chgData name="Steiner Andreas 6206 ED" userId="e6377c33-a923-4f14-8587-531c474c7b48" providerId="ADAL" clId="{6ECD27E6-B224-41CD-B4E0-E297462320DD}" dt="2023-11-24T08:33:12.612" v="14196"/>
          <ac:spMkLst>
            <pc:docMk/>
            <pc:sldMk cId="1005745348" sldId="686"/>
            <ac:spMk id="95" creationId="{4B82E7B0-4D1F-A03A-0F44-8DC63AFE1D8F}"/>
          </ac:spMkLst>
        </pc:spChg>
        <pc:spChg chg="add del mod">
          <ac:chgData name="Steiner Andreas 6206 ED" userId="e6377c33-a923-4f14-8587-531c474c7b48" providerId="ADAL" clId="{6ECD27E6-B224-41CD-B4E0-E297462320DD}" dt="2023-11-24T08:33:14.508" v="14351"/>
          <ac:spMkLst>
            <pc:docMk/>
            <pc:sldMk cId="1005745348" sldId="686"/>
            <ac:spMk id="96" creationId="{3B92D214-EECF-BC9C-32E3-C3B660A54026}"/>
          </ac:spMkLst>
        </pc:spChg>
        <pc:spChg chg="add del mod">
          <ac:chgData name="Steiner Andreas 6206 ED" userId="e6377c33-a923-4f14-8587-531c474c7b48" providerId="ADAL" clId="{6ECD27E6-B224-41CD-B4E0-E297462320DD}" dt="2023-11-24T08:33:16.513" v="14506"/>
          <ac:spMkLst>
            <pc:docMk/>
            <pc:sldMk cId="1005745348" sldId="686"/>
            <ac:spMk id="97" creationId="{E034990F-F97B-FAE2-57CD-6598EB0C28B1}"/>
          </ac:spMkLst>
        </pc:spChg>
        <pc:spChg chg="add del mod">
          <ac:chgData name="Steiner Andreas 6206 ED" userId="e6377c33-a923-4f14-8587-531c474c7b48" providerId="ADAL" clId="{6ECD27E6-B224-41CD-B4E0-E297462320DD}" dt="2023-11-24T08:33:18.823" v="14661"/>
          <ac:spMkLst>
            <pc:docMk/>
            <pc:sldMk cId="1005745348" sldId="686"/>
            <ac:spMk id="98" creationId="{D92F693D-CFD4-C5FE-5FDF-980FBFE7A697}"/>
          </ac:spMkLst>
        </pc:spChg>
        <pc:spChg chg="add del mod">
          <ac:chgData name="Steiner Andreas 6206 ED" userId="e6377c33-a923-4f14-8587-531c474c7b48" providerId="ADAL" clId="{6ECD27E6-B224-41CD-B4E0-E297462320DD}" dt="2023-11-24T08:33:21.177" v="14816"/>
          <ac:spMkLst>
            <pc:docMk/>
            <pc:sldMk cId="1005745348" sldId="686"/>
            <ac:spMk id="99" creationId="{082427B7-7A56-EDD7-8C2F-1334AA4B0CE6}"/>
          </ac:spMkLst>
        </pc:spChg>
        <pc:spChg chg="add del mod">
          <ac:chgData name="Steiner Andreas 6206 ED" userId="e6377c33-a923-4f14-8587-531c474c7b48" providerId="ADAL" clId="{6ECD27E6-B224-41CD-B4E0-E297462320DD}" dt="2023-11-24T08:33:23.539" v="14971"/>
          <ac:spMkLst>
            <pc:docMk/>
            <pc:sldMk cId="1005745348" sldId="686"/>
            <ac:spMk id="100" creationId="{74832257-8DB6-500B-0A11-8DA5DAAAE0AE}"/>
          </ac:spMkLst>
        </pc:spChg>
        <pc:spChg chg="add del mod">
          <ac:chgData name="Steiner Andreas 6206 ED" userId="e6377c33-a923-4f14-8587-531c474c7b48" providerId="ADAL" clId="{6ECD27E6-B224-41CD-B4E0-E297462320DD}" dt="2023-11-24T08:33:25.966" v="15126"/>
          <ac:spMkLst>
            <pc:docMk/>
            <pc:sldMk cId="1005745348" sldId="686"/>
            <ac:spMk id="101" creationId="{B798CAA3-E824-F38B-233C-3AD3224ED5AD}"/>
          </ac:spMkLst>
        </pc:spChg>
        <pc:spChg chg="add del mod">
          <ac:chgData name="Steiner Andreas 6206 ED" userId="e6377c33-a923-4f14-8587-531c474c7b48" providerId="ADAL" clId="{6ECD27E6-B224-41CD-B4E0-E297462320DD}" dt="2023-11-24T08:33:28.238" v="15281"/>
          <ac:spMkLst>
            <pc:docMk/>
            <pc:sldMk cId="1005745348" sldId="686"/>
            <ac:spMk id="102" creationId="{CBC2B62A-A22D-D54B-3D9F-41776ED98FBF}"/>
          </ac:spMkLst>
        </pc:spChg>
        <pc:spChg chg="add del mod">
          <ac:chgData name="Steiner Andreas 6206 ED" userId="e6377c33-a923-4f14-8587-531c474c7b48" providerId="ADAL" clId="{6ECD27E6-B224-41CD-B4E0-E297462320DD}" dt="2023-11-24T08:33:30.693" v="15436"/>
          <ac:spMkLst>
            <pc:docMk/>
            <pc:sldMk cId="1005745348" sldId="686"/>
            <ac:spMk id="103" creationId="{E83EB609-E7C4-7268-E40B-3CA386677AA2}"/>
          </ac:spMkLst>
        </pc:spChg>
        <pc:spChg chg="add del mod">
          <ac:chgData name="Steiner Andreas 6206 ED" userId="e6377c33-a923-4f14-8587-531c474c7b48" providerId="ADAL" clId="{6ECD27E6-B224-41CD-B4E0-E297462320DD}" dt="2023-11-24T08:33:33.502" v="15591"/>
          <ac:spMkLst>
            <pc:docMk/>
            <pc:sldMk cId="1005745348" sldId="686"/>
            <ac:spMk id="104" creationId="{5F3DD367-F146-F34A-580E-C1D298EA3C9D}"/>
          </ac:spMkLst>
        </pc:spChg>
        <pc:spChg chg="add del mod">
          <ac:chgData name="Steiner Andreas 6206 ED" userId="e6377c33-a923-4f14-8587-531c474c7b48" providerId="ADAL" clId="{6ECD27E6-B224-41CD-B4E0-E297462320DD}" dt="2023-11-24T08:33:35.799" v="15746"/>
          <ac:spMkLst>
            <pc:docMk/>
            <pc:sldMk cId="1005745348" sldId="686"/>
            <ac:spMk id="105" creationId="{9FB8C26B-F412-E19A-EEF1-96C667B9FB23}"/>
          </ac:spMkLst>
        </pc:spChg>
        <pc:spChg chg="add del mod">
          <ac:chgData name="Steiner Andreas 6206 ED" userId="e6377c33-a923-4f14-8587-531c474c7b48" providerId="ADAL" clId="{6ECD27E6-B224-41CD-B4E0-E297462320DD}" dt="2023-11-24T08:33:37.917" v="15901"/>
          <ac:spMkLst>
            <pc:docMk/>
            <pc:sldMk cId="1005745348" sldId="686"/>
            <ac:spMk id="106" creationId="{CDD2C18C-3322-95F7-1510-48863F86151E}"/>
          </ac:spMkLst>
        </pc:spChg>
        <pc:spChg chg="add del mod">
          <ac:chgData name="Steiner Andreas 6206 ED" userId="e6377c33-a923-4f14-8587-531c474c7b48" providerId="ADAL" clId="{6ECD27E6-B224-41CD-B4E0-E297462320DD}" dt="2023-11-24T08:33:40.233" v="16056"/>
          <ac:spMkLst>
            <pc:docMk/>
            <pc:sldMk cId="1005745348" sldId="686"/>
            <ac:spMk id="107" creationId="{6581C12D-25B3-19CF-EF71-3C4A0A64E8A2}"/>
          </ac:spMkLst>
        </pc:spChg>
        <pc:spChg chg="add del mod">
          <ac:chgData name="Steiner Andreas 6206 ED" userId="e6377c33-a923-4f14-8587-531c474c7b48" providerId="ADAL" clId="{6ECD27E6-B224-41CD-B4E0-E297462320DD}" dt="2023-11-24T08:33:42.849" v="16211"/>
          <ac:spMkLst>
            <pc:docMk/>
            <pc:sldMk cId="1005745348" sldId="686"/>
            <ac:spMk id="108" creationId="{FA49E8BA-4361-B80E-E575-7314CE8D3702}"/>
          </ac:spMkLst>
        </pc:spChg>
        <pc:spChg chg="add del mod">
          <ac:chgData name="Steiner Andreas 6206 ED" userId="e6377c33-a923-4f14-8587-531c474c7b48" providerId="ADAL" clId="{6ECD27E6-B224-41CD-B4E0-E297462320DD}" dt="2023-11-24T08:33:45.423" v="16366"/>
          <ac:spMkLst>
            <pc:docMk/>
            <pc:sldMk cId="1005745348" sldId="686"/>
            <ac:spMk id="109" creationId="{C5C970FA-8846-D6E8-7323-F38E0079D463}"/>
          </ac:spMkLst>
        </pc:spChg>
        <pc:spChg chg="add del mod">
          <ac:chgData name="Steiner Andreas 6206 ED" userId="e6377c33-a923-4f14-8587-531c474c7b48" providerId="ADAL" clId="{6ECD27E6-B224-41CD-B4E0-E297462320DD}" dt="2023-11-24T08:33:47.637" v="16521"/>
          <ac:spMkLst>
            <pc:docMk/>
            <pc:sldMk cId="1005745348" sldId="686"/>
            <ac:spMk id="110" creationId="{4AAC70A2-421D-1515-4E2D-D151442951EF}"/>
          </ac:spMkLst>
        </pc:spChg>
        <pc:spChg chg="add del mod">
          <ac:chgData name="Steiner Andreas 6206 ED" userId="e6377c33-a923-4f14-8587-531c474c7b48" providerId="ADAL" clId="{6ECD27E6-B224-41CD-B4E0-E297462320DD}" dt="2023-11-24T08:33:50.345" v="16676"/>
          <ac:spMkLst>
            <pc:docMk/>
            <pc:sldMk cId="1005745348" sldId="686"/>
            <ac:spMk id="111" creationId="{D67D1CC7-5849-7B54-D38C-B945170E1DD7}"/>
          </ac:spMkLst>
        </pc:spChg>
        <pc:spChg chg="add del mod">
          <ac:chgData name="Steiner Andreas 6206 ED" userId="e6377c33-a923-4f14-8587-531c474c7b48" providerId="ADAL" clId="{6ECD27E6-B224-41CD-B4E0-E297462320DD}" dt="2023-11-24T08:33:52.761" v="16831"/>
          <ac:spMkLst>
            <pc:docMk/>
            <pc:sldMk cId="1005745348" sldId="686"/>
            <ac:spMk id="112" creationId="{8C21EF42-923E-602C-A633-A79810F8BB45}"/>
          </ac:spMkLst>
        </pc:spChg>
        <pc:spChg chg="add del mod">
          <ac:chgData name="Steiner Andreas 6206 ED" userId="e6377c33-a923-4f14-8587-531c474c7b48" providerId="ADAL" clId="{6ECD27E6-B224-41CD-B4E0-E297462320DD}" dt="2023-11-24T08:33:54.918" v="16986"/>
          <ac:spMkLst>
            <pc:docMk/>
            <pc:sldMk cId="1005745348" sldId="686"/>
            <ac:spMk id="113" creationId="{3E647AD7-CE9E-5A65-79C5-51E78608C7F7}"/>
          </ac:spMkLst>
        </pc:spChg>
        <pc:spChg chg="add del mod">
          <ac:chgData name="Steiner Andreas 6206 ED" userId="e6377c33-a923-4f14-8587-531c474c7b48" providerId="ADAL" clId="{6ECD27E6-B224-41CD-B4E0-E297462320DD}" dt="2023-11-24T08:33:57.295" v="17141"/>
          <ac:spMkLst>
            <pc:docMk/>
            <pc:sldMk cId="1005745348" sldId="686"/>
            <ac:spMk id="114" creationId="{15CD7540-FB6D-3296-078C-12024A392DE1}"/>
          </ac:spMkLst>
        </pc:spChg>
        <pc:spChg chg="add del mod">
          <ac:chgData name="Steiner Andreas 6206 ED" userId="e6377c33-a923-4f14-8587-531c474c7b48" providerId="ADAL" clId="{6ECD27E6-B224-41CD-B4E0-E297462320DD}" dt="2023-11-24T08:33:59.725" v="17296"/>
          <ac:spMkLst>
            <pc:docMk/>
            <pc:sldMk cId="1005745348" sldId="686"/>
            <ac:spMk id="115" creationId="{DFC39ED3-D080-05EB-73F3-A1C4D8D4CB64}"/>
          </ac:spMkLst>
        </pc:spChg>
        <pc:spChg chg="add del mod">
          <ac:chgData name="Steiner Andreas 6206 ED" userId="e6377c33-a923-4f14-8587-531c474c7b48" providerId="ADAL" clId="{6ECD27E6-B224-41CD-B4E0-E297462320DD}" dt="2023-11-24T08:34:01.689" v="17451"/>
          <ac:spMkLst>
            <pc:docMk/>
            <pc:sldMk cId="1005745348" sldId="686"/>
            <ac:spMk id="116" creationId="{F7973B77-95FE-EA32-0A98-A6D38B4486F4}"/>
          </ac:spMkLst>
        </pc:spChg>
        <pc:spChg chg="add del mod">
          <ac:chgData name="Steiner Andreas 6206 ED" userId="e6377c33-a923-4f14-8587-531c474c7b48" providerId="ADAL" clId="{6ECD27E6-B224-41CD-B4E0-E297462320DD}" dt="2023-11-24T08:34:04.110" v="17606"/>
          <ac:spMkLst>
            <pc:docMk/>
            <pc:sldMk cId="1005745348" sldId="686"/>
            <ac:spMk id="117" creationId="{22BAB28B-0B75-3879-78DB-9E62737EF218}"/>
          </ac:spMkLst>
        </pc:spChg>
        <pc:spChg chg="add del mod">
          <ac:chgData name="Steiner Andreas 6206 ED" userId="e6377c33-a923-4f14-8587-531c474c7b48" providerId="ADAL" clId="{6ECD27E6-B224-41CD-B4E0-E297462320DD}" dt="2023-11-24T08:34:05.970" v="17761"/>
          <ac:spMkLst>
            <pc:docMk/>
            <pc:sldMk cId="1005745348" sldId="686"/>
            <ac:spMk id="118" creationId="{008DBCC1-979B-43DE-E821-D20A228BCA4B}"/>
          </ac:spMkLst>
        </pc:spChg>
        <pc:spChg chg="add del mod">
          <ac:chgData name="Steiner Andreas 6206 ED" userId="e6377c33-a923-4f14-8587-531c474c7b48" providerId="ADAL" clId="{6ECD27E6-B224-41CD-B4E0-E297462320DD}" dt="2023-11-24T08:34:08.081" v="17916"/>
          <ac:spMkLst>
            <pc:docMk/>
            <pc:sldMk cId="1005745348" sldId="686"/>
            <ac:spMk id="119" creationId="{C02EA7F5-1654-950E-3A09-FB148CAEFB9B}"/>
          </ac:spMkLst>
        </pc:spChg>
        <pc:spChg chg="add del mod">
          <ac:chgData name="Steiner Andreas 6206 ED" userId="e6377c33-a923-4f14-8587-531c474c7b48" providerId="ADAL" clId="{6ECD27E6-B224-41CD-B4E0-E297462320DD}" dt="2023-11-24T08:34:10.029" v="18071"/>
          <ac:spMkLst>
            <pc:docMk/>
            <pc:sldMk cId="1005745348" sldId="686"/>
            <ac:spMk id="120" creationId="{7314D3A2-E951-45B8-C7DC-D12CB6E0EECF}"/>
          </ac:spMkLst>
        </pc:spChg>
        <pc:spChg chg="add del mod">
          <ac:chgData name="Steiner Andreas 6206 ED" userId="e6377c33-a923-4f14-8587-531c474c7b48" providerId="ADAL" clId="{6ECD27E6-B224-41CD-B4E0-E297462320DD}" dt="2023-11-24T08:34:12.112" v="18226"/>
          <ac:spMkLst>
            <pc:docMk/>
            <pc:sldMk cId="1005745348" sldId="686"/>
            <ac:spMk id="121" creationId="{B31D6B11-AB0D-1745-2B54-C4B91754A4B0}"/>
          </ac:spMkLst>
        </pc:spChg>
        <pc:spChg chg="add del mod">
          <ac:chgData name="Steiner Andreas 6206 ED" userId="e6377c33-a923-4f14-8587-531c474c7b48" providerId="ADAL" clId="{6ECD27E6-B224-41CD-B4E0-E297462320DD}" dt="2023-11-24T08:34:14.422" v="18381"/>
          <ac:spMkLst>
            <pc:docMk/>
            <pc:sldMk cId="1005745348" sldId="686"/>
            <ac:spMk id="122" creationId="{C58B2964-FDFF-BEAF-B224-B32E5A053115}"/>
          </ac:spMkLst>
        </pc:spChg>
        <pc:spChg chg="add del mod">
          <ac:chgData name="Steiner Andreas 6206 ED" userId="e6377c33-a923-4f14-8587-531c474c7b48" providerId="ADAL" clId="{6ECD27E6-B224-41CD-B4E0-E297462320DD}" dt="2023-11-24T08:34:16.483" v="18536"/>
          <ac:spMkLst>
            <pc:docMk/>
            <pc:sldMk cId="1005745348" sldId="686"/>
            <ac:spMk id="123" creationId="{44A8D129-450C-2945-E69C-90D73F6CCBAA}"/>
          </ac:spMkLst>
        </pc:spChg>
        <pc:spChg chg="add del mod">
          <ac:chgData name="Steiner Andreas 6206 ED" userId="e6377c33-a923-4f14-8587-531c474c7b48" providerId="ADAL" clId="{6ECD27E6-B224-41CD-B4E0-E297462320DD}" dt="2023-11-24T08:34:18.689" v="18691"/>
          <ac:spMkLst>
            <pc:docMk/>
            <pc:sldMk cId="1005745348" sldId="686"/>
            <ac:spMk id="124" creationId="{1FBD2E36-FC65-6E4E-E636-EADF55E98DF2}"/>
          </ac:spMkLst>
        </pc:spChg>
        <pc:spChg chg="add del mod">
          <ac:chgData name="Steiner Andreas 6206 ED" userId="e6377c33-a923-4f14-8587-531c474c7b48" providerId="ADAL" clId="{6ECD27E6-B224-41CD-B4E0-E297462320DD}" dt="2023-11-24T08:34:20.779" v="18846"/>
          <ac:spMkLst>
            <pc:docMk/>
            <pc:sldMk cId="1005745348" sldId="686"/>
            <ac:spMk id="125" creationId="{3007E400-1D98-122E-627A-15F3AB583568}"/>
          </ac:spMkLst>
        </pc:spChg>
        <pc:spChg chg="add del mod">
          <ac:chgData name="Steiner Andreas 6206 ED" userId="e6377c33-a923-4f14-8587-531c474c7b48" providerId="ADAL" clId="{6ECD27E6-B224-41CD-B4E0-E297462320DD}" dt="2023-11-24T08:34:22.895" v="19001"/>
          <ac:spMkLst>
            <pc:docMk/>
            <pc:sldMk cId="1005745348" sldId="686"/>
            <ac:spMk id="126" creationId="{CD1AF792-4723-C261-8166-CA630E9EC600}"/>
          </ac:spMkLst>
        </pc:spChg>
        <pc:spChg chg="add del mod">
          <ac:chgData name="Steiner Andreas 6206 ED" userId="e6377c33-a923-4f14-8587-531c474c7b48" providerId="ADAL" clId="{6ECD27E6-B224-41CD-B4E0-E297462320DD}" dt="2023-11-24T08:34:26.176" v="19156"/>
          <ac:spMkLst>
            <pc:docMk/>
            <pc:sldMk cId="1005745348" sldId="686"/>
            <ac:spMk id="127" creationId="{E828135E-AF63-3796-DFF5-79911CFEC05F}"/>
          </ac:spMkLst>
        </pc:spChg>
        <pc:spChg chg="add del mod">
          <ac:chgData name="Steiner Andreas 6206 ED" userId="e6377c33-a923-4f14-8587-531c474c7b48" providerId="ADAL" clId="{6ECD27E6-B224-41CD-B4E0-E297462320DD}" dt="2023-11-24T08:34:28.827" v="19311"/>
          <ac:spMkLst>
            <pc:docMk/>
            <pc:sldMk cId="1005745348" sldId="686"/>
            <ac:spMk id="128" creationId="{DBE28C13-2371-4064-AB4E-F85F83D513FE}"/>
          </ac:spMkLst>
        </pc:spChg>
        <pc:spChg chg="add del mod">
          <ac:chgData name="Steiner Andreas 6206 ED" userId="e6377c33-a923-4f14-8587-531c474c7b48" providerId="ADAL" clId="{6ECD27E6-B224-41CD-B4E0-E297462320DD}" dt="2023-11-24T08:34:31.460" v="19466"/>
          <ac:spMkLst>
            <pc:docMk/>
            <pc:sldMk cId="1005745348" sldId="686"/>
            <ac:spMk id="129" creationId="{B1378F09-7CE3-5379-B8E5-C9CFB162B7BE}"/>
          </ac:spMkLst>
        </pc:spChg>
        <pc:spChg chg="add del mod">
          <ac:chgData name="Steiner Andreas 6206 ED" userId="e6377c33-a923-4f14-8587-531c474c7b48" providerId="ADAL" clId="{6ECD27E6-B224-41CD-B4E0-E297462320DD}" dt="2023-11-24T08:34:33.644" v="19621"/>
          <ac:spMkLst>
            <pc:docMk/>
            <pc:sldMk cId="1005745348" sldId="686"/>
            <ac:spMk id="130" creationId="{893F28E3-9165-601E-AB10-275A7B7E327D}"/>
          </ac:spMkLst>
        </pc:spChg>
        <pc:spChg chg="add del mod">
          <ac:chgData name="Steiner Andreas 6206 ED" userId="e6377c33-a923-4f14-8587-531c474c7b48" providerId="ADAL" clId="{6ECD27E6-B224-41CD-B4E0-E297462320DD}" dt="2023-11-24T08:34:35.898" v="19776"/>
          <ac:spMkLst>
            <pc:docMk/>
            <pc:sldMk cId="1005745348" sldId="686"/>
            <ac:spMk id="131" creationId="{DE21032C-24AE-4C4A-28C4-A496268788C5}"/>
          </ac:spMkLst>
        </pc:spChg>
        <pc:spChg chg="add del mod">
          <ac:chgData name="Steiner Andreas 6206 ED" userId="e6377c33-a923-4f14-8587-531c474c7b48" providerId="ADAL" clId="{6ECD27E6-B224-41CD-B4E0-E297462320DD}" dt="2023-11-24T08:34:38.159" v="19931"/>
          <ac:spMkLst>
            <pc:docMk/>
            <pc:sldMk cId="1005745348" sldId="686"/>
            <ac:spMk id="132" creationId="{938116D7-D515-301F-F0D6-E00A3BC6ECA1}"/>
          </ac:spMkLst>
        </pc:spChg>
        <pc:spChg chg="add del mod">
          <ac:chgData name="Steiner Andreas 6206 ED" userId="e6377c33-a923-4f14-8587-531c474c7b48" providerId="ADAL" clId="{6ECD27E6-B224-41CD-B4E0-E297462320DD}" dt="2023-11-24T08:34:40.428" v="20086"/>
          <ac:spMkLst>
            <pc:docMk/>
            <pc:sldMk cId="1005745348" sldId="686"/>
            <ac:spMk id="133" creationId="{23C17758-006A-BE5C-4378-065F04703356}"/>
          </ac:spMkLst>
        </pc:spChg>
        <pc:spChg chg="add del mod">
          <ac:chgData name="Steiner Andreas 6206 ED" userId="e6377c33-a923-4f14-8587-531c474c7b48" providerId="ADAL" clId="{6ECD27E6-B224-41CD-B4E0-E297462320DD}" dt="2023-11-24T08:34:43.201" v="20241"/>
          <ac:spMkLst>
            <pc:docMk/>
            <pc:sldMk cId="1005745348" sldId="686"/>
            <ac:spMk id="134" creationId="{949D9ACE-E7A4-F27A-DDBF-A55AAA970C11}"/>
          </ac:spMkLst>
        </pc:spChg>
        <pc:spChg chg="add del mod">
          <ac:chgData name="Steiner Andreas 6206 ED" userId="e6377c33-a923-4f14-8587-531c474c7b48" providerId="ADAL" clId="{6ECD27E6-B224-41CD-B4E0-E297462320DD}" dt="2023-11-24T08:34:45.517" v="20396"/>
          <ac:spMkLst>
            <pc:docMk/>
            <pc:sldMk cId="1005745348" sldId="686"/>
            <ac:spMk id="135" creationId="{AF8BF372-024D-C64D-FE79-E6F45B58E33D}"/>
          </ac:spMkLst>
        </pc:spChg>
        <pc:spChg chg="add del mod">
          <ac:chgData name="Steiner Andreas 6206 ED" userId="e6377c33-a923-4f14-8587-531c474c7b48" providerId="ADAL" clId="{6ECD27E6-B224-41CD-B4E0-E297462320DD}" dt="2023-11-24T08:34:47.778" v="20551"/>
          <ac:spMkLst>
            <pc:docMk/>
            <pc:sldMk cId="1005745348" sldId="686"/>
            <ac:spMk id="136" creationId="{6F44BD9A-B4BA-B2B2-C2C0-C750A7C922CD}"/>
          </ac:spMkLst>
        </pc:spChg>
        <pc:spChg chg="add del mod">
          <ac:chgData name="Steiner Andreas 6206 ED" userId="e6377c33-a923-4f14-8587-531c474c7b48" providerId="ADAL" clId="{6ECD27E6-B224-41CD-B4E0-E297462320DD}" dt="2023-11-24T08:34:50.172" v="20706"/>
          <ac:spMkLst>
            <pc:docMk/>
            <pc:sldMk cId="1005745348" sldId="686"/>
            <ac:spMk id="137" creationId="{3445FEA0-7358-B296-2546-2EDCBD113808}"/>
          </ac:spMkLst>
        </pc:spChg>
        <pc:spChg chg="add del mod">
          <ac:chgData name="Steiner Andreas 6206 ED" userId="e6377c33-a923-4f14-8587-531c474c7b48" providerId="ADAL" clId="{6ECD27E6-B224-41CD-B4E0-E297462320DD}" dt="2023-11-24T08:34:52.742" v="20861"/>
          <ac:spMkLst>
            <pc:docMk/>
            <pc:sldMk cId="1005745348" sldId="686"/>
            <ac:spMk id="138" creationId="{FB097263-5F99-88A7-B155-64DC0FD08543}"/>
          </ac:spMkLst>
        </pc:spChg>
        <pc:spChg chg="add del mod">
          <ac:chgData name="Steiner Andreas 6206 ED" userId="e6377c33-a923-4f14-8587-531c474c7b48" providerId="ADAL" clId="{6ECD27E6-B224-41CD-B4E0-E297462320DD}" dt="2023-11-24T08:34:55.240" v="21016"/>
          <ac:spMkLst>
            <pc:docMk/>
            <pc:sldMk cId="1005745348" sldId="686"/>
            <ac:spMk id="139" creationId="{33501286-17B0-EABC-7059-BBE8B778BA6A}"/>
          </ac:spMkLst>
        </pc:spChg>
        <pc:spChg chg="add del mod">
          <ac:chgData name="Steiner Andreas 6206 ED" userId="e6377c33-a923-4f14-8587-531c474c7b48" providerId="ADAL" clId="{6ECD27E6-B224-41CD-B4E0-E297462320DD}" dt="2023-11-24T08:34:57.536" v="21171"/>
          <ac:spMkLst>
            <pc:docMk/>
            <pc:sldMk cId="1005745348" sldId="686"/>
            <ac:spMk id="140" creationId="{D26B200E-3C37-AC31-5B46-05E6BF7DBBA0}"/>
          </ac:spMkLst>
        </pc:spChg>
        <pc:spChg chg="add del mod">
          <ac:chgData name="Steiner Andreas 6206 ED" userId="e6377c33-a923-4f14-8587-531c474c7b48" providerId="ADAL" clId="{6ECD27E6-B224-41CD-B4E0-E297462320DD}" dt="2023-11-24T08:35:00.075" v="21326"/>
          <ac:spMkLst>
            <pc:docMk/>
            <pc:sldMk cId="1005745348" sldId="686"/>
            <ac:spMk id="141" creationId="{33611F28-1843-E2BE-1114-66B084984874}"/>
          </ac:spMkLst>
        </pc:spChg>
        <pc:spChg chg="add del mod">
          <ac:chgData name="Steiner Andreas 6206 ED" userId="e6377c33-a923-4f14-8587-531c474c7b48" providerId="ADAL" clId="{6ECD27E6-B224-41CD-B4E0-E297462320DD}" dt="2023-11-24T08:35:02.737" v="21481"/>
          <ac:spMkLst>
            <pc:docMk/>
            <pc:sldMk cId="1005745348" sldId="686"/>
            <ac:spMk id="142" creationId="{52D7779C-998A-4C10-7581-10215C835793}"/>
          </ac:spMkLst>
        </pc:spChg>
        <pc:spChg chg="add del mod">
          <ac:chgData name="Steiner Andreas 6206 ED" userId="e6377c33-a923-4f14-8587-531c474c7b48" providerId="ADAL" clId="{6ECD27E6-B224-41CD-B4E0-E297462320DD}" dt="2023-11-24T08:35:05.216" v="21636"/>
          <ac:spMkLst>
            <pc:docMk/>
            <pc:sldMk cId="1005745348" sldId="686"/>
            <ac:spMk id="143" creationId="{DAB340AB-6585-FA72-93EF-D050C3953388}"/>
          </ac:spMkLst>
        </pc:spChg>
        <pc:spChg chg="add del mod">
          <ac:chgData name="Steiner Andreas 6206 ED" userId="e6377c33-a923-4f14-8587-531c474c7b48" providerId="ADAL" clId="{6ECD27E6-B224-41CD-B4E0-E297462320DD}" dt="2023-11-24T08:35:07.717" v="21791"/>
          <ac:spMkLst>
            <pc:docMk/>
            <pc:sldMk cId="1005745348" sldId="686"/>
            <ac:spMk id="144" creationId="{77CAD0A4-B23B-497F-FD7F-88D27983B855}"/>
          </ac:spMkLst>
        </pc:spChg>
        <pc:spChg chg="add del mod">
          <ac:chgData name="Steiner Andreas 6206 ED" userId="e6377c33-a923-4f14-8587-531c474c7b48" providerId="ADAL" clId="{6ECD27E6-B224-41CD-B4E0-E297462320DD}" dt="2023-11-24T08:35:10.253" v="21946"/>
          <ac:spMkLst>
            <pc:docMk/>
            <pc:sldMk cId="1005745348" sldId="686"/>
            <ac:spMk id="145" creationId="{5F294BD9-A32C-9910-C2EA-16006B82A731}"/>
          </ac:spMkLst>
        </pc:spChg>
        <pc:spChg chg="add del mod">
          <ac:chgData name="Steiner Andreas 6206 ED" userId="e6377c33-a923-4f14-8587-531c474c7b48" providerId="ADAL" clId="{6ECD27E6-B224-41CD-B4E0-E297462320DD}" dt="2023-11-24T08:35:12.674" v="22101"/>
          <ac:spMkLst>
            <pc:docMk/>
            <pc:sldMk cId="1005745348" sldId="686"/>
            <ac:spMk id="146" creationId="{BABD0213-B9F5-D959-BF85-196FEB363A15}"/>
          </ac:spMkLst>
        </pc:spChg>
        <pc:spChg chg="add del mod">
          <ac:chgData name="Steiner Andreas 6206 ED" userId="e6377c33-a923-4f14-8587-531c474c7b48" providerId="ADAL" clId="{6ECD27E6-B224-41CD-B4E0-E297462320DD}" dt="2023-11-24T08:35:14.758" v="22256"/>
          <ac:spMkLst>
            <pc:docMk/>
            <pc:sldMk cId="1005745348" sldId="686"/>
            <ac:spMk id="147" creationId="{C5C719D3-4774-8724-4AAA-F711F79838C3}"/>
          </ac:spMkLst>
        </pc:spChg>
        <pc:spChg chg="add del mod">
          <ac:chgData name="Steiner Andreas 6206 ED" userId="e6377c33-a923-4f14-8587-531c474c7b48" providerId="ADAL" clId="{6ECD27E6-B224-41CD-B4E0-E297462320DD}" dt="2023-11-24T08:35:17.139" v="22411"/>
          <ac:spMkLst>
            <pc:docMk/>
            <pc:sldMk cId="1005745348" sldId="686"/>
            <ac:spMk id="148" creationId="{B342F491-E7F4-C87F-EA71-24E8BCC14070}"/>
          </ac:spMkLst>
        </pc:spChg>
        <pc:spChg chg="add del mod">
          <ac:chgData name="Steiner Andreas 6206 ED" userId="e6377c33-a923-4f14-8587-531c474c7b48" providerId="ADAL" clId="{6ECD27E6-B224-41CD-B4E0-E297462320DD}" dt="2023-11-24T08:35:19.582" v="22566"/>
          <ac:spMkLst>
            <pc:docMk/>
            <pc:sldMk cId="1005745348" sldId="686"/>
            <ac:spMk id="149" creationId="{023E9ABE-A335-DE39-F21E-1A167FD414F5}"/>
          </ac:spMkLst>
        </pc:spChg>
        <pc:spChg chg="add del mod">
          <ac:chgData name="Steiner Andreas 6206 ED" userId="e6377c33-a923-4f14-8587-531c474c7b48" providerId="ADAL" clId="{6ECD27E6-B224-41CD-B4E0-E297462320DD}" dt="2023-11-24T08:35:22.017" v="22721"/>
          <ac:spMkLst>
            <pc:docMk/>
            <pc:sldMk cId="1005745348" sldId="686"/>
            <ac:spMk id="150" creationId="{14179674-6E9F-093B-6FA6-B72BE3740E66}"/>
          </ac:spMkLst>
        </pc:spChg>
        <pc:spChg chg="add del mod">
          <ac:chgData name="Steiner Andreas 6206 ED" userId="e6377c33-a923-4f14-8587-531c474c7b48" providerId="ADAL" clId="{6ECD27E6-B224-41CD-B4E0-E297462320DD}" dt="2023-11-24T08:35:24.336" v="22876"/>
          <ac:spMkLst>
            <pc:docMk/>
            <pc:sldMk cId="1005745348" sldId="686"/>
            <ac:spMk id="151" creationId="{83955486-9D7C-0B85-7E5B-D51961B36491}"/>
          </ac:spMkLst>
        </pc:spChg>
        <pc:spChg chg="add del mod">
          <ac:chgData name="Steiner Andreas 6206 ED" userId="e6377c33-a923-4f14-8587-531c474c7b48" providerId="ADAL" clId="{6ECD27E6-B224-41CD-B4E0-E297462320DD}" dt="2023-11-24T08:35:26.991" v="23031"/>
          <ac:spMkLst>
            <pc:docMk/>
            <pc:sldMk cId="1005745348" sldId="686"/>
            <ac:spMk id="152" creationId="{5AC0EFEF-5787-E547-5A78-A228E36C9951}"/>
          </ac:spMkLst>
        </pc:spChg>
        <pc:spChg chg="add del mod">
          <ac:chgData name="Steiner Andreas 6206 ED" userId="e6377c33-a923-4f14-8587-531c474c7b48" providerId="ADAL" clId="{6ECD27E6-B224-41CD-B4E0-E297462320DD}" dt="2023-11-24T08:35:29.710" v="23186"/>
          <ac:spMkLst>
            <pc:docMk/>
            <pc:sldMk cId="1005745348" sldId="686"/>
            <ac:spMk id="153" creationId="{D04CFA22-7A21-87C4-ABAE-E99B5B49B58D}"/>
          </ac:spMkLst>
        </pc:spChg>
        <pc:spChg chg="add del mod">
          <ac:chgData name="Steiner Andreas 6206 ED" userId="e6377c33-a923-4f14-8587-531c474c7b48" providerId="ADAL" clId="{6ECD27E6-B224-41CD-B4E0-E297462320DD}" dt="2023-11-24T08:35:32.062" v="23341"/>
          <ac:spMkLst>
            <pc:docMk/>
            <pc:sldMk cId="1005745348" sldId="686"/>
            <ac:spMk id="154" creationId="{1A26D5D4-F16C-1066-8552-5754BC95D4BC}"/>
          </ac:spMkLst>
        </pc:spChg>
        <pc:spChg chg="add del mod">
          <ac:chgData name="Steiner Andreas 6206 ED" userId="e6377c33-a923-4f14-8587-531c474c7b48" providerId="ADAL" clId="{6ECD27E6-B224-41CD-B4E0-E297462320DD}" dt="2023-11-24T08:35:34.461" v="23496"/>
          <ac:spMkLst>
            <pc:docMk/>
            <pc:sldMk cId="1005745348" sldId="686"/>
            <ac:spMk id="155" creationId="{9A72DA17-D6FE-C3EB-B785-F065FF1BEA2B}"/>
          </ac:spMkLst>
        </pc:spChg>
        <pc:spChg chg="add del mod">
          <ac:chgData name="Steiner Andreas 6206 ED" userId="e6377c33-a923-4f14-8587-531c474c7b48" providerId="ADAL" clId="{6ECD27E6-B224-41CD-B4E0-E297462320DD}" dt="2023-11-24T08:35:36.789" v="23651"/>
          <ac:spMkLst>
            <pc:docMk/>
            <pc:sldMk cId="1005745348" sldId="686"/>
            <ac:spMk id="156" creationId="{94CA245C-D796-D825-7873-941DE9FA1269}"/>
          </ac:spMkLst>
        </pc:spChg>
        <pc:spChg chg="add del mod">
          <ac:chgData name="Steiner Andreas 6206 ED" userId="e6377c33-a923-4f14-8587-531c474c7b48" providerId="ADAL" clId="{6ECD27E6-B224-41CD-B4E0-E297462320DD}" dt="2023-11-24T08:35:39.194" v="23806"/>
          <ac:spMkLst>
            <pc:docMk/>
            <pc:sldMk cId="1005745348" sldId="686"/>
            <ac:spMk id="157" creationId="{C37C4F14-E032-89FB-3BA1-61D55C6BE6AA}"/>
          </ac:spMkLst>
        </pc:spChg>
        <pc:spChg chg="add del mod">
          <ac:chgData name="Steiner Andreas 6206 ED" userId="e6377c33-a923-4f14-8587-531c474c7b48" providerId="ADAL" clId="{6ECD27E6-B224-41CD-B4E0-E297462320DD}" dt="2023-11-24T08:35:41.859" v="23961"/>
          <ac:spMkLst>
            <pc:docMk/>
            <pc:sldMk cId="1005745348" sldId="686"/>
            <ac:spMk id="158" creationId="{C30800E5-4D32-E251-FCD4-3AADDECF3C01}"/>
          </ac:spMkLst>
        </pc:spChg>
        <pc:spChg chg="add del mod">
          <ac:chgData name="Steiner Andreas 6206 ED" userId="e6377c33-a923-4f14-8587-531c474c7b48" providerId="ADAL" clId="{6ECD27E6-B224-41CD-B4E0-E297462320DD}" dt="2023-11-24T08:35:44.312" v="24116"/>
          <ac:spMkLst>
            <pc:docMk/>
            <pc:sldMk cId="1005745348" sldId="686"/>
            <ac:spMk id="159" creationId="{1DC1EFDE-4394-7236-D210-A2B87B3087FF}"/>
          </ac:spMkLst>
        </pc:spChg>
        <pc:spChg chg="add del mod">
          <ac:chgData name="Steiner Andreas 6206 ED" userId="e6377c33-a923-4f14-8587-531c474c7b48" providerId="ADAL" clId="{6ECD27E6-B224-41CD-B4E0-E297462320DD}" dt="2023-11-24T08:35:46.597" v="24271"/>
          <ac:spMkLst>
            <pc:docMk/>
            <pc:sldMk cId="1005745348" sldId="686"/>
            <ac:spMk id="160" creationId="{19564A96-7412-DC7A-549C-0F5067F8CABB}"/>
          </ac:spMkLst>
        </pc:spChg>
        <pc:spChg chg="add del mod">
          <ac:chgData name="Steiner Andreas 6206 ED" userId="e6377c33-a923-4f14-8587-531c474c7b48" providerId="ADAL" clId="{6ECD27E6-B224-41CD-B4E0-E297462320DD}" dt="2023-11-24T08:35:48.830" v="24426"/>
          <ac:spMkLst>
            <pc:docMk/>
            <pc:sldMk cId="1005745348" sldId="686"/>
            <ac:spMk id="161" creationId="{1C9D7449-A0CC-53A3-5BE7-09DEE837DDEE}"/>
          </ac:spMkLst>
        </pc:spChg>
        <pc:spChg chg="add del mod">
          <ac:chgData name="Steiner Andreas 6206 ED" userId="e6377c33-a923-4f14-8587-531c474c7b48" providerId="ADAL" clId="{6ECD27E6-B224-41CD-B4E0-E297462320DD}" dt="2023-11-24T08:35:51.128" v="24581"/>
          <ac:spMkLst>
            <pc:docMk/>
            <pc:sldMk cId="1005745348" sldId="686"/>
            <ac:spMk id="162" creationId="{F6F03EF2-4F40-FDBB-C441-582756BAAF00}"/>
          </ac:spMkLst>
        </pc:spChg>
        <pc:spChg chg="add del mod">
          <ac:chgData name="Steiner Andreas 6206 ED" userId="e6377c33-a923-4f14-8587-531c474c7b48" providerId="ADAL" clId="{6ECD27E6-B224-41CD-B4E0-E297462320DD}" dt="2023-11-24T08:35:54.008" v="24736"/>
          <ac:spMkLst>
            <pc:docMk/>
            <pc:sldMk cId="1005745348" sldId="686"/>
            <ac:spMk id="163" creationId="{82BCDE86-5A88-9119-2ABE-92EA340A7767}"/>
          </ac:spMkLst>
        </pc:spChg>
        <pc:spChg chg="add del mod">
          <ac:chgData name="Steiner Andreas 6206 ED" userId="e6377c33-a923-4f14-8587-531c474c7b48" providerId="ADAL" clId="{6ECD27E6-B224-41CD-B4E0-E297462320DD}" dt="2023-11-24T08:35:56.518" v="24891"/>
          <ac:spMkLst>
            <pc:docMk/>
            <pc:sldMk cId="1005745348" sldId="686"/>
            <ac:spMk id="164" creationId="{1E1C6D26-93C1-151B-E7C8-3720D7FB6134}"/>
          </ac:spMkLst>
        </pc:spChg>
        <pc:spChg chg="add del mod">
          <ac:chgData name="Steiner Andreas 6206 ED" userId="e6377c33-a923-4f14-8587-531c474c7b48" providerId="ADAL" clId="{6ECD27E6-B224-41CD-B4E0-E297462320DD}" dt="2023-11-24T08:35:59.062" v="25046"/>
          <ac:spMkLst>
            <pc:docMk/>
            <pc:sldMk cId="1005745348" sldId="686"/>
            <ac:spMk id="165" creationId="{25A63B7A-1768-3169-05ED-4352A844ADA2}"/>
          </ac:spMkLst>
        </pc:spChg>
        <pc:spChg chg="add del mod">
          <ac:chgData name="Steiner Andreas 6206 ED" userId="e6377c33-a923-4f14-8587-531c474c7b48" providerId="ADAL" clId="{6ECD27E6-B224-41CD-B4E0-E297462320DD}" dt="2023-11-24T08:36:01.534" v="25201"/>
          <ac:spMkLst>
            <pc:docMk/>
            <pc:sldMk cId="1005745348" sldId="686"/>
            <ac:spMk id="166" creationId="{D63A4A94-49AE-8D71-F704-BE1D05434AF4}"/>
          </ac:spMkLst>
        </pc:spChg>
        <pc:spChg chg="add del mod">
          <ac:chgData name="Steiner Andreas 6206 ED" userId="e6377c33-a923-4f14-8587-531c474c7b48" providerId="ADAL" clId="{6ECD27E6-B224-41CD-B4E0-E297462320DD}" dt="2023-11-24T08:36:04.117" v="25356"/>
          <ac:spMkLst>
            <pc:docMk/>
            <pc:sldMk cId="1005745348" sldId="686"/>
            <ac:spMk id="167" creationId="{FDA84936-7F29-4FCA-B094-08B31C874C23}"/>
          </ac:spMkLst>
        </pc:spChg>
        <pc:spChg chg="add del mod">
          <ac:chgData name="Steiner Andreas 6206 ED" userId="e6377c33-a923-4f14-8587-531c474c7b48" providerId="ADAL" clId="{6ECD27E6-B224-41CD-B4E0-E297462320DD}" dt="2023-11-24T08:36:06.658" v="25511"/>
          <ac:spMkLst>
            <pc:docMk/>
            <pc:sldMk cId="1005745348" sldId="686"/>
            <ac:spMk id="168" creationId="{188BB90D-BEB9-0EC1-D138-B6A15183A0F5}"/>
          </ac:spMkLst>
        </pc:spChg>
        <pc:spChg chg="add del mod">
          <ac:chgData name="Steiner Andreas 6206 ED" userId="e6377c33-a923-4f14-8587-531c474c7b48" providerId="ADAL" clId="{6ECD27E6-B224-41CD-B4E0-E297462320DD}" dt="2023-11-24T08:36:09.174" v="25666"/>
          <ac:spMkLst>
            <pc:docMk/>
            <pc:sldMk cId="1005745348" sldId="686"/>
            <ac:spMk id="169" creationId="{E9326ECE-2788-4A7B-F988-167A8F530B23}"/>
          </ac:spMkLst>
        </pc:spChg>
        <pc:spChg chg="add del mod">
          <ac:chgData name="Steiner Andreas 6206 ED" userId="e6377c33-a923-4f14-8587-531c474c7b48" providerId="ADAL" clId="{6ECD27E6-B224-41CD-B4E0-E297462320DD}" dt="2023-11-24T08:36:11.713" v="25821"/>
          <ac:spMkLst>
            <pc:docMk/>
            <pc:sldMk cId="1005745348" sldId="686"/>
            <ac:spMk id="170" creationId="{37E0C02B-3F2C-492E-A007-27878E5F9D9E}"/>
          </ac:spMkLst>
        </pc:spChg>
        <pc:spChg chg="add del mod">
          <ac:chgData name="Steiner Andreas 6206 ED" userId="e6377c33-a923-4f14-8587-531c474c7b48" providerId="ADAL" clId="{6ECD27E6-B224-41CD-B4E0-E297462320DD}" dt="2023-11-24T08:36:14.094" v="25976"/>
          <ac:spMkLst>
            <pc:docMk/>
            <pc:sldMk cId="1005745348" sldId="686"/>
            <ac:spMk id="171" creationId="{47CA120F-BF46-F02B-A18D-A08B8C9F579E}"/>
          </ac:spMkLst>
        </pc:spChg>
        <pc:spChg chg="add del mod">
          <ac:chgData name="Steiner Andreas 6206 ED" userId="e6377c33-a923-4f14-8587-531c474c7b48" providerId="ADAL" clId="{6ECD27E6-B224-41CD-B4E0-E297462320DD}" dt="2023-11-24T08:36:16.882" v="26131"/>
          <ac:spMkLst>
            <pc:docMk/>
            <pc:sldMk cId="1005745348" sldId="686"/>
            <ac:spMk id="172" creationId="{E4077E3E-4B9C-D4B1-E784-D7309DDC293B}"/>
          </ac:spMkLst>
        </pc:spChg>
        <pc:spChg chg="add del mod">
          <ac:chgData name="Steiner Andreas 6206 ED" userId="e6377c33-a923-4f14-8587-531c474c7b48" providerId="ADAL" clId="{6ECD27E6-B224-41CD-B4E0-E297462320DD}" dt="2023-11-24T08:36:19.338" v="26286"/>
          <ac:spMkLst>
            <pc:docMk/>
            <pc:sldMk cId="1005745348" sldId="686"/>
            <ac:spMk id="173" creationId="{6B58733B-AB1A-340D-48AD-7E0921EE6A11}"/>
          </ac:spMkLst>
        </pc:spChg>
        <pc:spChg chg="add del mod">
          <ac:chgData name="Steiner Andreas 6206 ED" userId="e6377c33-a923-4f14-8587-531c474c7b48" providerId="ADAL" clId="{6ECD27E6-B224-41CD-B4E0-E297462320DD}" dt="2023-11-24T08:36:21.580" v="26441"/>
          <ac:spMkLst>
            <pc:docMk/>
            <pc:sldMk cId="1005745348" sldId="686"/>
            <ac:spMk id="174" creationId="{A5DE62A0-E75C-94C6-64FD-FD5D4DBF04F3}"/>
          </ac:spMkLst>
        </pc:spChg>
        <pc:spChg chg="add del mod">
          <ac:chgData name="Steiner Andreas 6206 ED" userId="e6377c33-a923-4f14-8587-531c474c7b48" providerId="ADAL" clId="{6ECD27E6-B224-41CD-B4E0-E297462320DD}" dt="2023-11-24T08:36:24.081" v="26596"/>
          <ac:spMkLst>
            <pc:docMk/>
            <pc:sldMk cId="1005745348" sldId="686"/>
            <ac:spMk id="175" creationId="{B012DF14-7087-4D4B-AFA8-5F5D061B6B56}"/>
          </ac:spMkLst>
        </pc:spChg>
        <pc:spChg chg="add del mod">
          <ac:chgData name="Steiner Andreas 6206 ED" userId="e6377c33-a923-4f14-8587-531c474c7b48" providerId="ADAL" clId="{6ECD27E6-B224-41CD-B4E0-E297462320DD}" dt="2023-11-24T08:36:26.607" v="26751"/>
          <ac:spMkLst>
            <pc:docMk/>
            <pc:sldMk cId="1005745348" sldId="686"/>
            <ac:spMk id="176" creationId="{15994D7A-F81B-42C2-6E96-D5CC8DF6DF81}"/>
          </ac:spMkLst>
        </pc:spChg>
        <pc:spChg chg="add del mod">
          <ac:chgData name="Steiner Andreas 6206 ED" userId="e6377c33-a923-4f14-8587-531c474c7b48" providerId="ADAL" clId="{6ECD27E6-B224-41CD-B4E0-E297462320DD}" dt="2023-11-24T08:36:29.531" v="26906"/>
          <ac:spMkLst>
            <pc:docMk/>
            <pc:sldMk cId="1005745348" sldId="686"/>
            <ac:spMk id="177" creationId="{6E534343-2E68-9FC9-BF4B-14161DCF7F8B}"/>
          </ac:spMkLst>
        </pc:spChg>
        <pc:spChg chg="add del mod">
          <ac:chgData name="Steiner Andreas 6206 ED" userId="e6377c33-a923-4f14-8587-531c474c7b48" providerId="ADAL" clId="{6ECD27E6-B224-41CD-B4E0-E297462320DD}" dt="2023-11-24T08:36:32.226" v="27061"/>
          <ac:spMkLst>
            <pc:docMk/>
            <pc:sldMk cId="1005745348" sldId="686"/>
            <ac:spMk id="178" creationId="{763027BA-31D7-650E-5534-F38DB446373D}"/>
          </ac:spMkLst>
        </pc:spChg>
        <pc:spChg chg="add del mod">
          <ac:chgData name="Steiner Andreas 6206 ED" userId="e6377c33-a923-4f14-8587-531c474c7b48" providerId="ADAL" clId="{6ECD27E6-B224-41CD-B4E0-E297462320DD}" dt="2023-11-24T08:36:34.755" v="27216"/>
          <ac:spMkLst>
            <pc:docMk/>
            <pc:sldMk cId="1005745348" sldId="686"/>
            <ac:spMk id="179" creationId="{50FF7B87-C07E-AFDA-60B7-A09F26FD9429}"/>
          </ac:spMkLst>
        </pc:spChg>
        <pc:spChg chg="add del mod">
          <ac:chgData name="Steiner Andreas 6206 ED" userId="e6377c33-a923-4f14-8587-531c474c7b48" providerId="ADAL" clId="{6ECD27E6-B224-41CD-B4E0-E297462320DD}" dt="2023-11-24T08:36:37.292" v="27371"/>
          <ac:spMkLst>
            <pc:docMk/>
            <pc:sldMk cId="1005745348" sldId="686"/>
            <ac:spMk id="180" creationId="{85092AF5-2C72-C57C-4968-C1DF9C434CB9}"/>
          </ac:spMkLst>
        </pc:spChg>
        <pc:spChg chg="add del mod">
          <ac:chgData name="Steiner Andreas 6206 ED" userId="e6377c33-a923-4f14-8587-531c474c7b48" providerId="ADAL" clId="{6ECD27E6-B224-41CD-B4E0-E297462320DD}" dt="2023-11-24T08:36:39.842" v="27526"/>
          <ac:spMkLst>
            <pc:docMk/>
            <pc:sldMk cId="1005745348" sldId="686"/>
            <ac:spMk id="181" creationId="{FE311144-5ADF-895C-5DF6-3D0D777C8708}"/>
          </ac:spMkLst>
        </pc:spChg>
        <pc:spChg chg="add del mod">
          <ac:chgData name="Steiner Andreas 6206 ED" userId="e6377c33-a923-4f14-8587-531c474c7b48" providerId="ADAL" clId="{6ECD27E6-B224-41CD-B4E0-E297462320DD}" dt="2023-11-24T08:36:42.655" v="27681"/>
          <ac:spMkLst>
            <pc:docMk/>
            <pc:sldMk cId="1005745348" sldId="686"/>
            <ac:spMk id="182" creationId="{04D78FE0-CDED-4AAB-EB20-4EDEE947CC9C}"/>
          </ac:spMkLst>
        </pc:spChg>
        <pc:spChg chg="add del mod">
          <ac:chgData name="Steiner Andreas 6206 ED" userId="e6377c33-a923-4f14-8587-531c474c7b48" providerId="ADAL" clId="{6ECD27E6-B224-41CD-B4E0-E297462320DD}" dt="2023-11-24T08:36:45.162" v="27836"/>
          <ac:spMkLst>
            <pc:docMk/>
            <pc:sldMk cId="1005745348" sldId="686"/>
            <ac:spMk id="183" creationId="{880A0A6C-4C20-BB97-1D6E-B6B65D76303F}"/>
          </ac:spMkLst>
        </pc:spChg>
        <pc:spChg chg="add del mod">
          <ac:chgData name="Steiner Andreas 6206 ED" userId="e6377c33-a923-4f14-8587-531c474c7b48" providerId="ADAL" clId="{6ECD27E6-B224-41CD-B4E0-E297462320DD}" dt="2023-11-24T08:36:47.567" v="27991"/>
          <ac:spMkLst>
            <pc:docMk/>
            <pc:sldMk cId="1005745348" sldId="686"/>
            <ac:spMk id="184" creationId="{1AEF1415-4530-9DA1-84AD-FA83EF4956F5}"/>
          </ac:spMkLst>
        </pc:spChg>
        <pc:spChg chg="add del mod">
          <ac:chgData name="Steiner Andreas 6206 ED" userId="e6377c33-a923-4f14-8587-531c474c7b48" providerId="ADAL" clId="{6ECD27E6-B224-41CD-B4E0-E297462320DD}" dt="2023-11-24T08:36:50.027" v="28146"/>
          <ac:spMkLst>
            <pc:docMk/>
            <pc:sldMk cId="1005745348" sldId="686"/>
            <ac:spMk id="185" creationId="{2AED59F2-B0CE-EE6B-C71C-FBFAED1E0B07}"/>
          </ac:spMkLst>
        </pc:spChg>
        <pc:spChg chg="add del mod">
          <ac:chgData name="Steiner Andreas 6206 ED" userId="e6377c33-a923-4f14-8587-531c474c7b48" providerId="ADAL" clId="{6ECD27E6-B224-41CD-B4E0-E297462320DD}" dt="2023-11-24T08:36:53.057" v="28301"/>
          <ac:spMkLst>
            <pc:docMk/>
            <pc:sldMk cId="1005745348" sldId="686"/>
            <ac:spMk id="186" creationId="{06A53818-EA4D-788F-61AE-B07A96296E85}"/>
          </ac:spMkLst>
        </pc:spChg>
        <pc:spChg chg="add del mod">
          <ac:chgData name="Steiner Andreas 6206 ED" userId="e6377c33-a923-4f14-8587-531c474c7b48" providerId="ADAL" clId="{6ECD27E6-B224-41CD-B4E0-E297462320DD}" dt="2023-11-24T08:36:56.132" v="28456"/>
          <ac:spMkLst>
            <pc:docMk/>
            <pc:sldMk cId="1005745348" sldId="686"/>
            <ac:spMk id="187" creationId="{9210D0C5-2D23-7EB7-AEEA-88325FE75CD5}"/>
          </ac:spMkLst>
        </pc:spChg>
        <pc:spChg chg="add del mod">
          <ac:chgData name="Steiner Andreas 6206 ED" userId="e6377c33-a923-4f14-8587-531c474c7b48" providerId="ADAL" clId="{6ECD27E6-B224-41CD-B4E0-E297462320DD}" dt="2023-11-24T08:36:58.948" v="28611"/>
          <ac:spMkLst>
            <pc:docMk/>
            <pc:sldMk cId="1005745348" sldId="686"/>
            <ac:spMk id="188" creationId="{D6BE5CDC-A7AF-B390-BEFB-BDED1D84FBC5}"/>
          </ac:spMkLst>
        </pc:spChg>
        <pc:spChg chg="add del mod">
          <ac:chgData name="Steiner Andreas 6206 ED" userId="e6377c33-a923-4f14-8587-531c474c7b48" providerId="ADAL" clId="{6ECD27E6-B224-41CD-B4E0-E297462320DD}" dt="2023-11-24T08:37:01.667" v="28766"/>
          <ac:spMkLst>
            <pc:docMk/>
            <pc:sldMk cId="1005745348" sldId="686"/>
            <ac:spMk id="189" creationId="{E010AB75-D503-4B10-B5B7-AC91A834D1C1}"/>
          </ac:spMkLst>
        </pc:spChg>
        <pc:spChg chg="add del mod">
          <ac:chgData name="Steiner Andreas 6206 ED" userId="e6377c33-a923-4f14-8587-531c474c7b48" providerId="ADAL" clId="{6ECD27E6-B224-41CD-B4E0-E297462320DD}" dt="2023-11-24T08:37:04.430" v="28921"/>
          <ac:spMkLst>
            <pc:docMk/>
            <pc:sldMk cId="1005745348" sldId="686"/>
            <ac:spMk id="190" creationId="{B1F4FDB8-03BB-900A-53E1-6804E64239BE}"/>
          </ac:spMkLst>
        </pc:spChg>
        <pc:spChg chg="add del mod">
          <ac:chgData name="Steiner Andreas 6206 ED" userId="e6377c33-a923-4f14-8587-531c474c7b48" providerId="ADAL" clId="{6ECD27E6-B224-41CD-B4E0-E297462320DD}" dt="2023-11-24T08:37:07.282" v="29076"/>
          <ac:spMkLst>
            <pc:docMk/>
            <pc:sldMk cId="1005745348" sldId="686"/>
            <ac:spMk id="191" creationId="{4D462133-0898-4845-8220-C26FCDD5FC29}"/>
          </ac:spMkLst>
        </pc:spChg>
        <pc:spChg chg="add del mod">
          <ac:chgData name="Steiner Andreas 6206 ED" userId="e6377c33-a923-4f14-8587-531c474c7b48" providerId="ADAL" clId="{6ECD27E6-B224-41CD-B4E0-E297462320DD}" dt="2023-11-24T08:37:09.817" v="29231"/>
          <ac:spMkLst>
            <pc:docMk/>
            <pc:sldMk cId="1005745348" sldId="686"/>
            <ac:spMk id="192" creationId="{636CCD47-5E4C-E0E0-447B-0A05F6903E23}"/>
          </ac:spMkLst>
        </pc:spChg>
        <pc:spChg chg="add del mod">
          <ac:chgData name="Steiner Andreas 6206 ED" userId="e6377c33-a923-4f14-8587-531c474c7b48" providerId="ADAL" clId="{6ECD27E6-B224-41CD-B4E0-E297462320DD}" dt="2023-11-24T08:37:12.587" v="29386"/>
          <ac:spMkLst>
            <pc:docMk/>
            <pc:sldMk cId="1005745348" sldId="686"/>
            <ac:spMk id="193" creationId="{078C4A13-6B25-9441-26E8-20A70F73C9AB}"/>
          </ac:spMkLst>
        </pc:spChg>
        <pc:spChg chg="add del mod">
          <ac:chgData name="Steiner Andreas 6206 ED" userId="e6377c33-a923-4f14-8587-531c474c7b48" providerId="ADAL" clId="{6ECD27E6-B224-41CD-B4E0-E297462320DD}" dt="2023-11-24T08:37:15.889" v="29541"/>
          <ac:spMkLst>
            <pc:docMk/>
            <pc:sldMk cId="1005745348" sldId="686"/>
            <ac:spMk id="194" creationId="{9C4F87AC-F102-077D-C752-499AEB21BFC9}"/>
          </ac:spMkLst>
        </pc:spChg>
        <pc:spChg chg="add del mod">
          <ac:chgData name="Steiner Andreas 6206 ED" userId="e6377c33-a923-4f14-8587-531c474c7b48" providerId="ADAL" clId="{6ECD27E6-B224-41CD-B4E0-E297462320DD}" dt="2023-11-24T08:37:18.654" v="29696"/>
          <ac:spMkLst>
            <pc:docMk/>
            <pc:sldMk cId="1005745348" sldId="686"/>
            <ac:spMk id="195" creationId="{D2D784D9-74AE-AD5F-3F03-76419FAFD598}"/>
          </ac:spMkLst>
        </pc:spChg>
        <pc:spChg chg="add del mod">
          <ac:chgData name="Steiner Andreas 6206 ED" userId="e6377c33-a923-4f14-8587-531c474c7b48" providerId="ADAL" clId="{6ECD27E6-B224-41CD-B4E0-E297462320DD}" dt="2023-11-24T08:37:21.146" v="29851"/>
          <ac:spMkLst>
            <pc:docMk/>
            <pc:sldMk cId="1005745348" sldId="686"/>
            <ac:spMk id="196" creationId="{5D382154-7DE5-22DF-BAF8-B9FFE6F01077}"/>
          </ac:spMkLst>
        </pc:spChg>
        <pc:spChg chg="add del mod">
          <ac:chgData name="Steiner Andreas 6206 ED" userId="e6377c33-a923-4f14-8587-531c474c7b48" providerId="ADAL" clId="{6ECD27E6-B224-41CD-B4E0-E297462320DD}" dt="2023-11-24T08:37:24.002" v="30006"/>
          <ac:spMkLst>
            <pc:docMk/>
            <pc:sldMk cId="1005745348" sldId="686"/>
            <ac:spMk id="197" creationId="{F012718F-900A-E101-C78C-49F6AE8E3448}"/>
          </ac:spMkLst>
        </pc:spChg>
        <pc:spChg chg="add del mod">
          <ac:chgData name="Steiner Andreas 6206 ED" userId="e6377c33-a923-4f14-8587-531c474c7b48" providerId="ADAL" clId="{6ECD27E6-B224-41CD-B4E0-E297462320DD}" dt="2023-11-24T08:37:26.509" v="30161"/>
          <ac:spMkLst>
            <pc:docMk/>
            <pc:sldMk cId="1005745348" sldId="686"/>
            <ac:spMk id="198" creationId="{7C2A2B41-5F1E-25B5-C08F-E2D976F70BF5}"/>
          </ac:spMkLst>
        </pc:spChg>
        <pc:spChg chg="add del mod">
          <ac:chgData name="Steiner Andreas 6206 ED" userId="e6377c33-a923-4f14-8587-531c474c7b48" providerId="ADAL" clId="{6ECD27E6-B224-41CD-B4E0-E297462320DD}" dt="2023-11-24T08:37:29.721" v="30316"/>
          <ac:spMkLst>
            <pc:docMk/>
            <pc:sldMk cId="1005745348" sldId="686"/>
            <ac:spMk id="199" creationId="{E4C35623-FECC-B1AE-D3F4-0C55988CA208}"/>
          </ac:spMkLst>
        </pc:spChg>
        <pc:spChg chg="add del mod">
          <ac:chgData name="Steiner Andreas 6206 ED" userId="e6377c33-a923-4f14-8587-531c474c7b48" providerId="ADAL" clId="{6ECD27E6-B224-41CD-B4E0-E297462320DD}" dt="2023-11-24T08:37:32.687" v="30471"/>
          <ac:spMkLst>
            <pc:docMk/>
            <pc:sldMk cId="1005745348" sldId="686"/>
            <ac:spMk id="200" creationId="{91BA041C-8088-2506-434D-3FDFE0305716}"/>
          </ac:spMkLst>
        </pc:spChg>
        <pc:spChg chg="add del mod">
          <ac:chgData name="Steiner Andreas 6206 ED" userId="e6377c33-a923-4f14-8587-531c474c7b48" providerId="ADAL" clId="{6ECD27E6-B224-41CD-B4E0-E297462320DD}" dt="2023-11-24T08:37:35.282" v="30626"/>
          <ac:spMkLst>
            <pc:docMk/>
            <pc:sldMk cId="1005745348" sldId="686"/>
            <ac:spMk id="201" creationId="{3483D5E1-3DF9-4156-283E-5E4B9B3F0563}"/>
          </ac:spMkLst>
        </pc:spChg>
        <pc:spChg chg="add del mod">
          <ac:chgData name="Steiner Andreas 6206 ED" userId="e6377c33-a923-4f14-8587-531c474c7b48" providerId="ADAL" clId="{6ECD27E6-B224-41CD-B4E0-E297462320DD}" dt="2023-11-24T08:37:37.955" v="30781"/>
          <ac:spMkLst>
            <pc:docMk/>
            <pc:sldMk cId="1005745348" sldId="686"/>
            <ac:spMk id="202" creationId="{6C72FCA2-B535-FA1E-59BB-04F06C88FF0C}"/>
          </ac:spMkLst>
        </pc:spChg>
        <pc:spChg chg="add del mod">
          <ac:chgData name="Steiner Andreas 6206 ED" userId="e6377c33-a923-4f14-8587-531c474c7b48" providerId="ADAL" clId="{6ECD27E6-B224-41CD-B4E0-E297462320DD}" dt="2023-11-24T08:37:41.665" v="30936"/>
          <ac:spMkLst>
            <pc:docMk/>
            <pc:sldMk cId="1005745348" sldId="686"/>
            <ac:spMk id="203" creationId="{4B9E43FE-B770-A347-439A-4A17A5428C29}"/>
          </ac:spMkLst>
        </pc:spChg>
        <pc:spChg chg="add del mod">
          <ac:chgData name="Steiner Andreas 6206 ED" userId="e6377c33-a923-4f14-8587-531c474c7b48" providerId="ADAL" clId="{6ECD27E6-B224-41CD-B4E0-E297462320DD}" dt="2023-11-24T08:37:44.893" v="31091"/>
          <ac:spMkLst>
            <pc:docMk/>
            <pc:sldMk cId="1005745348" sldId="686"/>
            <ac:spMk id="204" creationId="{CB77F59D-4C75-A24A-130F-DF1F583A430E}"/>
          </ac:spMkLst>
        </pc:spChg>
        <pc:spChg chg="add del mod">
          <ac:chgData name="Steiner Andreas 6206 ED" userId="e6377c33-a923-4f14-8587-531c474c7b48" providerId="ADAL" clId="{6ECD27E6-B224-41CD-B4E0-E297462320DD}" dt="2023-11-24T08:37:47.668" v="31246"/>
          <ac:spMkLst>
            <pc:docMk/>
            <pc:sldMk cId="1005745348" sldId="686"/>
            <ac:spMk id="205" creationId="{EBC9CE72-C3A3-5E93-8698-E5F656EB872D}"/>
          </ac:spMkLst>
        </pc:spChg>
        <pc:spChg chg="add del mod">
          <ac:chgData name="Steiner Andreas 6206 ED" userId="e6377c33-a923-4f14-8587-531c474c7b48" providerId="ADAL" clId="{6ECD27E6-B224-41CD-B4E0-E297462320DD}" dt="2023-11-24T08:37:50.443" v="31401"/>
          <ac:spMkLst>
            <pc:docMk/>
            <pc:sldMk cId="1005745348" sldId="686"/>
            <ac:spMk id="206" creationId="{C5874726-B307-B027-5274-6DCF99ADF6EF}"/>
          </ac:spMkLst>
        </pc:spChg>
        <pc:spChg chg="add del mod">
          <ac:chgData name="Steiner Andreas 6206 ED" userId="e6377c33-a923-4f14-8587-531c474c7b48" providerId="ADAL" clId="{6ECD27E6-B224-41CD-B4E0-E297462320DD}" dt="2023-11-24T08:37:53.046" v="31556"/>
          <ac:spMkLst>
            <pc:docMk/>
            <pc:sldMk cId="1005745348" sldId="686"/>
            <ac:spMk id="207" creationId="{6B263739-98B6-2A76-5ABB-7ED220928B85}"/>
          </ac:spMkLst>
        </pc:spChg>
        <pc:spChg chg="add del mod">
          <ac:chgData name="Steiner Andreas 6206 ED" userId="e6377c33-a923-4f14-8587-531c474c7b48" providerId="ADAL" clId="{6ECD27E6-B224-41CD-B4E0-E297462320DD}" dt="2023-11-24T08:37:57.111" v="31711"/>
          <ac:spMkLst>
            <pc:docMk/>
            <pc:sldMk cId="1005745348" sldId="686"/>
            <ac:spMk id="208" creationId="{1E232F83-8097-228F-2BA8-55A061FBCA65}"/>
          </ac:spMkLst>
        </pc:spChg>
        <pc:spChg chg="add del mod">
          <ac:chgData name="Steiner Andreas 6206 ED" userId="e6377c33-a923-4f14-8587-531c474c7b48" providerId="ADAL" clId="{6ECD27E6-B224-41CD-B4E0-E297462320DD}" dt="2023-11-24T08:37:59.904" v="31866"/>
          <ac:spMkLst>
            <pc:docMk/>
            <pc:sldMk cId="1005745348" sldId="686"/>
            <ac:spMk id="209" creationId="{24B840FD-DD33-DE8C-3185-93DD8CB3D7A0}"/>
          </ac:spMkLst>
        </pc:spChg>
        <pc:spChg chg="add del mod">
          <ac:chgData name="Steiner Andreas 6206 ED" userId="e6377c33-a923-4f14-8587-531c474c7b48" providerId="ADAL" clId="{6ECD27E6-B224-41CD-B4E0-E297462320DD}" dt="2023-11-24T08:38:02.903" v="32021"/>
          <ac:spMkLst>
            <pc:docMk/>
            <pc:sldMk cId="1005745348" sldId="686"/>
            <ac:spMk id="210" creationId="{C25F4D75-7671-EE41-D2FF-43D4FCFD4BD9}"/>
          </ac:spMkLst>
        </pc:spChg>
        <pc:spChg chg="add del mod">
          <ac:chgData name="Steiner Andreas 6206 ED" userId="e6377c33-a923-4f14-8587-531c474c7b48" providerId="ADAL" clId="{6ECD27E6-B224-41CD-B4E0-E297462320DD}" dt="2023-11-24T08:38:05.775" v="32176"/>
          <ac:spMkLst>
            <pc:docMk/>
            <pc:sldMk cId="1005745348" sldId="686"/>
            <ac:spMk id="211" creationId="{03B1C8DD-0496-B1E0-67D4-6255B659473E}"/>
          </ac:spMkLst>
        </pc:spChg>
        <pc:spChg chg="add del mod">
          <ac:chgData name="Steiner Andreas 6206 ED" userId="e6377c33-a923-4f14-8587-531c474c7b48" providerId="ADAL" clId="{6ECD27E6-B224-41CD-B4E0-E297462320DD}" dt="2023-11-24T08:38:08.906" v="32331"/>
          <ac:spMkLst>
            <pc:docMk/>
            <pc:sldMk cId="1005745348" sldId="686"/>
            <ac:spMk id="212" creationId="{92C903A8-73E0-578B-2CF4-B82096583C5D}"/>
          </ac:spMkLst>
        </pc:spChg>
        <pc:spChg chg="add del mod">
          <ac:chgData name="Steiner Andreas 6206 ED" userId="e6377c33-a923-4f14-8587-531c474c7b48" providerId="ADAL" clId="{6ECD27E6-B224-41CD-B4E0-E297462320DD}" dt="2023-11-24T08:38:11.659" v="32486"/>
          <ac:spMkLst>
            <pc:docMk/>
            <pc:sldMk cId="1005745348" sldId="686"/>
            <ac:spMk id="213" creationId="{87E5167E-CC7B-BC6D-3B2D-7C93783C2182}"/>
          </ac:spMkLst>
        </pc:spChg>
        <pc:spChg chg="add del mod">
          <ac:chgData name="Steiner Andreas 6206 ED" userId="e6377c33-a923-4f14-8587-531c474c7b48" providerId="ADAL" clId="{6ECD27E6-B224-41CD-B4E0-E297462320DD}" dt="2023-11-24T08:38:14.315" v="32641"/>
          <ac:spMkLst>
            <pc:docMk/>
            <pc:sldMk cId="1005745348" sldId="686"/>
            <ac:spMk id="214" creationId="{307B5EDF-8ADD-7B32-2EAF-632257F0CEE0}"/>
          </ac:spMkLst>
        </pc:spChg>
        <pc:spChg chg="add del mod">
          <ac:chgData name="Steiner Andreas 6206 ED" userId="e6377c33-a923-4f14-8587-531c474c7b48" providerId="ADAL" clId="{6ECD27E6-B224-41CD-B4E0-E297462320DD}" dt="2023-11-24T08:38:16.980" v="32796"/>
          <ac:spMkLst>
            <pc:docMk/>
            <pc:sldMk cId="1005745348" sldId="686"/>
            <ac:spMk id="215" creationId="{49F93645-70C1-471B-BAED-2C78052FDF51}"/>
          </ac:spMkLst>
        </pc:spChg>
        <pc:spChg chg="add del mod">
          <ac:chgData name="Steiner Andreas 6206 ED" userId="e6377c33-a923-4f14-8587-531c474c7b48" providerId="ADAL" clId="{6ECD27E6-B224-41CD-B4E0-E297462320DD}" dt="2023-11-24T08:38:20.006" v="32951"/>
          <ac:spMkLst>
            <pc:docMk/>
            <pc:sldMk cId="1005745348" sldId="686"/>
            <ac:spMk id="216" creationId="{85BA9871-953B-92CE-0DF5-0E56E68E526A}"/>
          </ac:spMkLst>
        </pc:spChg>
        <pc:spChg chg="add del mod">
          <ac:chgData name="Steiner Andreas 6206 ED" userId="e6377c33-a923-4f14-8587-531c474c7b48" providerId="ADAL" clId="{6ECD27E6-B224-41CD-B4E0-E297462320DD}" dt="2023-11-24T08:38:22.828" v="33106"/>
          <ac:spMkLst>
            <pc:docMk/>
            <pc:sldMk cId="1005745348" sldId="686"/>
            <ac:spMk id="217" creationId="{E0C5D054-90CE-CC78-984B-ED165B23F9B7}"/>
          </ac:spMkLst>
        </pc:spChg>
        <pc:spChg chg="add del mod">
          <ac:chgData name="Steiner Andreas 6206 ED" userId="e6377c33-a923-4f14-8587-531c474c7b48" providerId="ADAL" clId="{6ECD27E6-B224-41CD-B4E0-E297462320DD}" dt="2023-11-24T08:38:25.620" v="33261"/>
          <ac:spMkLst>
            <pc:docMk/>
            <pc:sldMk cId="1005745348" sldId="686"/>
            <ac:spMk id="218" creationId="{64E106FD-24B4-D3F0-99F5-5CB35F81E7A0}"/>
          </ac:spMkLst>
        </pc:spChg>
        <pc:spChg chg="add del mod">
          <ac:chgData name="Steiner Andreas 6206 ED" userId="e6377c33-a923-4f14-8587-531c474c7b48" providerId="ADAL" clId="{6ECD27E6-B224-41CD-B4E0-E297462320DD}" dt="2023-11-24T08:38:29.180" v="33416"/>
          <ac:spMkLst>
            <pc:docMk/>
            <pc:sldMk cId="1005745348" sldId="686"/>
            <ac:spMk id="219" creationId="{074680D6-DAE0-E1D2-B6F3-714C7820DB22}"/>
          </ac:spMkLst>
        </pc:spChg>
        <pc:spChg chg="add del mod">
          <ac:chgData name="Steiner Andreas 6206 ED" userId="e6377c33-a923-4f14-8587-531c474c7b48" providerId="ADAL" clId="{6ECD27E6-B224-41CD-B4E0-E297462320DD}" dt="2023-11-24T08:38:32.340" v="33571"/>
          <ac:spMkLst>
            <pc:docMk/>
            <pc:sldMk cId="1005745348" sldId="686"/>
            <ac:spMk id="220" creationId="{6AF8E714-2EC2-4FD5-FC3B-FE72DA8A7C06}"/>
          </ac:spMkLst>
        </pc:spChg>
        <pc:spChg chg="add del mod">
          <ac:chgData name="Steiner Andreas 6206 ED" userId="e6377c33-a923-4f14-8587-531c474c7b48" providerId="ADAL" clId="{6ECD27E6-B224-41CD-B4E0-E297462320DD}" dt="2023-11-24T08:38:35.080" v="33726"/>
          <ac:spMkLst>
            <pc:docMk/>
            <pc:sldMk cId="1005745348" sldId="686"/>
            <ac:spMk id="221" creationId="{9B6C768D-9444-E1A5-7ACE-C3AD465183F2}"/>
          </ac:spMkLst>
        </pc:spChg>
        <pc:spChg chg="add del mod">
          <ac:chgData name="Steiner Andreas 6206 ED" userId="e6377c33-a923-4f14-8587-531c474c7b48" providerId="ADAL" clId="{6ECD27E6-B224-41CD-B4E0-E297462320DD}" dt="2023-11-24T08:38:37.734" v="33881"/>
          <ac:spMkLst>
            <pc:docMk/>
            <pc:sldMk cId="1005745348" sldId="686"/>
            <ac:spMk id="222" creationId="{7DE38DF3-EDA4-3A67-E0A9-6371248DD002}"/>
          </ac:spMkLst>
        </pc:spChg>
        <pc:spChg chg="add del mod">
          <ac:chgData name="Steiner Andreas 6206 ED" userId="e6377c33-a923-4f14-8587-531c474c7b48" providerId="ADAL" clId="{6ECD27E6-B224-41CD-B4E0-E297462320DD}" dt="2023-11-24T08:38:40.264" v="34036"/>
          <ac:spMkLst>
            <pc:docMk/>
            <pc:sldMk cId="1005745348" sldId="686"/>
            <ac:spMk id="223" creationId="{1003F250-5D61-8AAE-1CC0-94C5B3D4CC28}"/>
          </ac:spMkLst>
        </pc:spChg>
        <pc:spChg chg="add del mod">
          <ac:chgData name="Steiner Andreas 6206 ED" userId="e6377c33-a923-4f14-8587-531c474c7b48" providerId="ADAL" clId="{6ECD27E6-B224-41CD-B4E0-E297462320DD}" dt="2023-11-24T08:38:42.744" v="34191"/>
          <ac:spMkLst>
            <pc:docMk/>
            <pc:sldMk cId="1005745348" sldId="686"/>
            <ac:spMk id="224" creationId="{ED4C3298-F64A-31E6-AE1E-608B664515B9}"/>
          </ac:spMkLst>
        </pc:spChg>
        <pc:spChg chg="add del mod">
          <ac:chgData name="Steiner Andreas 6206 ED" userId="e6377c33-a923-4f14-8587-531c474c7b48" providerId="ADAL" clId="{6ECD27E6-B224-41CD-B4E0-E297462320DD}" dt="2023-11-24T08:38:46.784" v="34346"/>
          <ac:spMkLst>
            <pc:docMk/>
            <pc:sldMk cId="1005745348" sldId="686"/>
            <ac:spMk id="225" creationId="{401FC7BE-21F6-D592-425D-F47625256D52}"/>
          </ac:spMkLst>
        </pc:spChg>
        <pc:spChg chg="add del mod">
          <ac:chgData name="Steiner Andreas 6206 ED" userId="e6377c33-a923-4f14-8587-531c474c7b48" providerId="ADAL" clId="{6ECD27E6-B224-41CD-B4E0-E297462320DD}" dt="2023-11-24T08:38:49.510" v="34501"/>
          <ac:spMkLst>
            <pc:docMk/>
            <pc:sldMk cId="1005745348" sldId="686"/>
            <ac:spMk id="226" creationId="{060992D6-FD08-4913-4BB0-350459E76A73}"/>
          </ac:spMkLst>
        </pc:spChg>
        <pc:spChg chg="add del mod">
          <ac:chgData name="Steiner Andreas 6206 ED" userId="e6377c33-a923-4f14-8587-531c474c7b48" providerId="ADAL" clId="{6ECD27E6-B224-41CD-B4E0-E297462320DD}" dt="2023-11-24T08:38:52.280" v="34656"/>
          <ac:spMkLst>
            <pc:docMk/>
            <pc:sldMk cId="1005745348" sldId="686"/>
            <ac:spMk id="227" creationId="{88ED7F75-58AD-B8F4-03BA-CBA8ACF3BF34}"/>
          </ac:spMkLst>
        </pc:spChg>
        <pc:spChg chg="add del mod">
          <ac:chgData name="Steiner Andreas 6206 ED" userId="e6377c33-a923-4f14-8587-531c474c7b48" providerId="ADAL" clId="{6ECD27E6-B224-41CD-B4E0-E297462320DD}" dt="2023-11-24T08:38:55.304" v="34811"/>
          <ac:spMkLst>
            <pc:docMk/>
            <pc:sldMk cId="1005745348" sldId="686"/>
            <ac:spMk id="228" creationId="{EA8E87D7-14D5-F0FD-A676-697B8B85B024}"/>
          </ac:spMkLst>
        </pc:spChg>
        <pc:spChg chg="add del mod">
          <ac:chgData name="Steiner Andreas 6206 ED" userId="e6377c33-a923-4f14-8587-531c474c7b48" providerId="ADAL" clId="{6ECD27E6-B224-41CD-B4E0-E297462320DD}" dt="2023-11-24T08:38:58.453" v="34966"/>
          <ac:spMkLst>
            <pc:docMk/>
            <pc:sldMk cId="1005745348" sldId="686"/>
            <ac:spMk id="229" creationId="{0C99FD2C-80F7-634B-8387-6711A6821212}"/>
          </ac:spMkLst>
        </pc:spChg>
        <pc:spChg chg="add del mod">
          <ac:chgData name="Steiner Andreas 6206 ED" userId="e6377c33-a923-4f14-8587-531c474c7b48" providerId="ADAL" clId="{6ECD27E6-B224-41CD-B4E0-E297462320DD}" dt="2023-11-24T08:39:01.881" v="35121"/>
          <ac:spMkLst>
            <pc:docMk/>
            <pc:sldMk cId="1005745348" sldId="686"/>
            <ac:spMk id="230" creationId="{C11186D4-4F17-E3CB-83CC-497FD92BECF8}"/>
          </ac:spMkLst>
        </pc:spChg>
        <pc:spChg chg="add del mod">
          <ac:chgData name="Steiner Andreas 6206 ED" userId="e6377c33-a923-4f14-8587-531c474c7b48" providerId="ADAL" clId="{6ECD27E6-B224-41CD-B4E0-E297462320DD}" dt="2023-11-24T08:39:05.131" v="35276"/>
          <ac:spMkLst>
            <pc:docMk/>
            <pc:sldMk cId="1005745348" sldId="686"/>
            <ac:spMk id="231" creationId="{CD5B4C05-E4BB-555C-5214-6EE5B956FF67}"/>
          </ac:spMkLst>
        </pc:spChg>
        <pc:spChg chg="add del mod">
          <ac:chgData name="Steiner Andreas 6206 ED" userId="e6377c33-a923-4f14-8587-531c474c7b48" providerId="ADAL" clId="{6ECD27E6-B224-41CD-B4E0-E297462320DD}" dt="2023-11-24T08:39:07.966" v="35431"/>
          <ac:spMkLst>
            <pc:docMk/>
            <pc:sldMk cId="1005745348" sldId="686"/>
            <ac:spMk id="232" creationId="{6AD2701E-B252-0AB9-D71A-7C67A668B22F}"/>
          </ac:spMkLst>
        </pc:spChg>
        <pc:spChg chg="add del mod">
          <ac:chgData name="Steiner Andreas 6206 ED" userId="e6377c33-a923-4f14-8587-531c474c7b48" providerId="ADAL" clId="{6ECD27E6-B224-41CD-B4E0-E297462320DD}" dt="2023-11-24T08:39:12.649" v="35586"/>
          <ac:spMkLst>
            <pc:docMk/>
            <pc:sldMk cId="1005745348" sldId="686"/>
            <ac:spMk id="233" creationId="{0156CB2E-04FA-ECD3-79DC-3F8BECBF0987}"/>
          </ac:spMkLst>
        </pc:spChg>
        <pc:spChg chg="add del mod">
          <ac:chgData name="Steiner Andreas 6206 ED" userId="e6377c33-a923-4f14-8587-531c474c7b48" providerId="ADAL" clId="{6ECD27E6-B224-41CD-B4E0-E297462320DD}" dt="2023-11-24T08:39:15.337" v="35741"/>
          <ac:spMkLst>
            <pc:docMk/>
            <pc:sldMk cId="1005745348" sldId="686"/>
            <ac:spMk id="234" creationId="{1C2A1112-0094-E3CA-FC73-C2732CF4E2C8}"/>
          </ac:spMkLst>
        </pc:spChg>
        <pc:spChg chg="add del mod">
          <ac:chgData name="Steiner Andreas 6206 ED" userId="e6377c33-a923-4f14-8587-531c474c7b48" providerId="ADAL" clId="{6ECD27E6-B224-41CD-B4E0-E297462320DD}" dt="2023-11-24T08:39:17.922" v="35896"/>
          <ac:spMkLst>
            <pc:docMk/>
            <pc:sldMk cId="1005745348" sldId="686"/>
            <ac:spMk id="235" creationId="{E2F27904-5FD7-C279-87A9-F2AA3495EC56}"/>
          </ac:spMkLst>
        </pc:spChg>
        <pc:spChg chg="add del mod">
          <ac:chgData name="Steiner Andreas 6206 ED" userId="e6377c33-a923-4f14-8587-531c474c7b48" providerId="ADAL" clId="{6ECD27E6-B224-41CD-B4E0-E297462320DD}" dt="2023-11-24T08:39:20.600" v="36051"/>
          <ac:spMkLst>
            <pc:docMk/>
            <pc:sldMk cId="1005745348" sldId="686"/>
            <ac:spMk id="236" creationId="{F4B70326-0BA7-5DBF-DF46-44BF739C046C}"/>
          </ac:spMkLst>
        </pc:spChg>
        <pc:spChg chg="add del mod">
          <ac:chgData name="Steiner Andreas 6206 ED" userId="e6377c33-a923-4f14-8587-531c474c7b48" providerId="ADAL" clId="{6ECD27E6-B224-41CD-B4E0-E297462320DD}" dt="2023-11-24T08:39:23.759" v="36206"/>
          <ac:spMkLst>
            <pc:docMk/>
            <pc:sldMk cId="1005745348" sldId="686"/>
            <ac:spMk id="237" creationId="{EB9FB4BB-A8C2-24E5-0C93-723AA0CC7F1D}"/>
          </ac:spMkLst>
        </pc:spChg>
        <pc:spChg chg="add del mod">
          <ac:chgData name="Steiner Andreas 6206 ED" userId="e6377c33-a923-4f14-8587-531c474c7b48" providerId="ADAL" clId="{6ECD27E6-B224-41CD-B4E0-E297462320DD}" dt="2023-11-24T08:39:26.505" v="36361"/>
          <ac:spMkLst>
            <pc:docMk/>
            <pc:sldMk cId="1005745348" sldId="686"/>
            <ac:spMk id="238" creationId="{C51E09F6-F325-2EED-2638-4CF92768DD03}"/>
          </ac:spMkLst>
        </pc:spChg>
        <pc:spChg chg="add del mod">
          <ac:chgData name="Steiner Andreas 6206 ED" userId="e6377c33-a923-4f14-8587-531c474c7b48" providerId="ADAL" clId="{6ECD27E6-B224-41CD-B4E0-E297462320DD}" dt="2023-11-24T08:39:29.244" v="36516"/>
          <ac:spMkLst>
            <pc:docMk/>
            <pc:sldMk cId="1005745348" sldId="686"/>
            <ac:spMk id="239" creationId="{C7CCEDF4-83FC-09A3-0F5F-8ADE8728317F}"/>
          </ac:spMkLst>
        </pc:spChg>
        <pc:spChg chg="add del mod">
          <ac:chgData name="Steiner Andreas 6206 ED" userId="e6377c33-a923-4f14-8587-531c474c7b48" providerId="ADAL" clId="{6ECD27E6-B224-41CD-B4E0-E297462320DD}" dt="2023-11-24T08:39:31.841" v="36671"/>
          <ac:spMkLst>
            <pc:docMk/>
            <pc:sldMk cId="1005745348" sldId="686"/>
            <ac:spMk id="240" creationId="{9A46FE64-783C-BBDC-40CA-0C7B2E7D66BE}"/>
          </ac:spMkLst>
        </pc:spChg>
        <pc:spChg chg="add del mod">
          <ac:chgData name="Steiner Andreas 6206 ED" userId="e6377c33-a923-4f14-8587-531c474c7b48" providerId="ADAL" clId="{6ECD27E6-B224-41CD-B4E0-E297462320DD}" dt="2023-11-24T08:39:34.337" v="36826"/>
          <ac:spMkLst>
            <pc:docMk/>
            <pc:sldMk cId="1005745348" sldId="686"/>
            <ac:spMk id="241" creationId="{5DCCD189-7859-923C-1D84-3ACFE102C511}"/>
          </ac:spMkLst>
        </pc:spChg>
        <pc:spChg chg="add del mod">
          <ac:chgData name="Steiner Andreas 6206 ED" userId="e6377c33-a923-4f14-8587-531c474c7b48" providerId="ADAL" clId="{6ECD27E6-B224-41CD-B4E0-E297462320DD}" dt="2023-11-24T08:39:37.241" v="36981"/>
          <ac:spMkLst>
            <pc:docMk/>
            <pc:sldMk cId="1005745348" sldId="686"/>
            <ac:spMk id="242" creationId="{94B644CE-682B-2F4B-3C9E-937DC4E1FA2D}"/>
          </ac:spMkLst>
        </pc:spChg>
        <pc:spChg chg="add del mod">
          <ac:chgData name="Steiner Andreas 6206 ED" userId="e6377c33-a923-4f14-8587-531c474c7b48" providerId="ADAL" clId="{6ECD27E6-B224-41CD-B4E0-E297462320DD}" dt="2023-11-24T08:39:39.859" v="37136"/>
          <ac:spMkLst>
            <pc:docMk/>
            <pc:sldMk cId="1005745348" sldId="686"/>
            <ac:spMk id="243" creationId="{3C953A34-4889-4F9B-F14A-24BBFF4B6BE5}"/>
          </ac:spMkLst>
        </pc:spChg>
        <pc:spChg chg="add del mod">
          <ac:chgData name="Steiner Andreas 6206 ED" userId="e6377c33-a923-4f14-8587-531c474c7b48" providerId="ADAL" clId="{6ECD27E6-B224-41CD-B4E0-E297462320DD}" dt="2023-11-24T08:39:42.368" v="37291"/>
          <ac:spMkLst>
            <pc:docMk/>
            <pc:sldMk cId="1005745348" sldId="686"/>
            <ac:spMk id="244" creationId="{C0988225-1151-370F-7A70-CC460A174EB8}"/>
          </ac:spMkLst>
        </pc:spChg>
        <pc:spChg chg="add del mod">
          <ac:chgData name="Steiner Andreas 6206 ED" userId="e6377c33-a923-4f14-8587-531c474c7b48" providerId="ADAL" clId="{6ECD27E6-B224-41CD-B4E0-E297462320DD}" dt="2023-11-24T08:39:44.897" v="37446"/>
          <ac:spMkLst>
            <pc:docMk/>
            <pc:sldMk cId="1005745348" sldId="686"/>
            <ac:spMk id="245" creationId="{98EFDDB8-A929-59E5-17D9-0E096B8A70A6}"/>
          </ac:spMkLst>
        </pc:spChg>
        <pc:spChg chg="add del mod">
          <ac:chgData name="Steiner Andreas 6206 ED" userId="e6377c33-a923-4f14-8587-531c474c7b48" providerId="ADAL" clId="{6ECD27E6-B224-41CD-B4E0-E297462320DD}" dt="2023-11-24T08:39:47.834" v="37601"/>
          <ac:spMkLst>
            <pc:docMk/>
            <pc:sldMk cId="1005745348" sldId="686"/>
            <ac:spMk id="246" creationId="{98E5FEBD-8324-13FD-3CF8-CCFA080842ED}"/>
          </ac:spMkLst>
        </pc:spChg>
        <pc:spChg chg="add del mod">
          <ac:chgData name="Steiner Andreas 6206 ED" userId="e6377c33-a923-4f14-8587-531c474c7b48" providerId="ADAL" clId="{6ECD27E6-B224-41CD-B4E0-E297462320DD}" dt="2023-11-24T08:39:50.613" v="37756"/>
          <ac:spMkLst>
            <pc:docMk/>
            <pc:sldMk cId="1005745348" sldId="686"/>
            <ac:spMk id="247" creationId="{A115B566-F9A7-549C-84AD-CAEDF015536E}"/>
          </ac:spMkLst>
        </pc:spChg>
        <pc:spChg chg="add del mod">
          <ac:chgData name="Steiner Andreas 6206 ED" userId="e6377c33-a923-4f14-8587-531c474c7b48" providerId="ADAL" clId="{6ECD27E6-B224-41CD-B4E0-E297462320DD}" dt="2023-11-24T08:39:53.230" v="37911"/>
          <ac:spMkLst>
            <pc:docMk/>
            <pc:sldMk cId="1005745348" sldId="686"/>
            <ac:spMk id="248" creationId="{22AE776E-6529-F33F-19B4-C520180A024E}"/>
          </ac:spMkLst>
        </pc:spChg>
        <pc:spChg chg="add del mod">
          <ac:chgData name="Steiner Andreas 6206 ED" userId="e6377c33-a923-4f14-8587-531c474c7b48" providerId="ADAL" clId="{6ECD27E6-B224-41CD-B4E0-E297462320DD}" dt="2023-11-24T08:39:56.177" v="38066"/>
          <ac:spMkLst>
            <pc:docMk/>
            <pc:sldMk cId="1005745348" sldId="686"/>
            <ac:spMk id="249" creationId="{A40C9A0C-4BAB-0FEE-253C-EE4927EE99A2}"/>
          </ac:spMkLst>
        </pc:spChg>
        <pc:spChg chg="add del mod">
          <ac:chgData name="Steiner Andreas 6206 ED" userId="e6377c33-a923-4f14-8587-531c474c7b48" providerId="ADAL" clId="{6ECD27E6-B224-41CD-B4E0-E297462320DD}" dt="2023-11-24T08:39:59.311" v="38221"/>
          <ac:spMkLst>
            <pc:docMk/>
            <pc:sldMk cId="1005745348" sldId="686"/>
            <ac:spMk id="250" creationId="{B751DC9F-57BA-3247-C207-11688C359302}"/>
          </ac:spMkLst>
        </pc:spChg>
        <pc:spChg chg="add del mod">
          <ac:chgData name="Steiner Andreas 6206 ED" userId="e6377c33-a923-4f14-8587-531c474c7b48" providerId="ADAL" clId="{6ECD27E6-B224-41CD-B4E0-E297462320DD}" dt="2023-11-24T08:40:02.682" v="38376"/>
          <ac:spMkLst>
            <pc:docMk/>
            <pc:sldMk cId="1005745348" sldId="686"/>
            <ac:spMk id="251" creationId="{4C71648C-C390-80CF-7E5D-69C393186835}"/>
          </ac:spMkLst>
        </pc:spChg>
        <pc:spChg chg="add del mod">
          <ac:chgData name="Steiner Andreas 6206 ED" userId="e6377c33-a923-4f14-8587-531c474c7b48" providerId="ADAL" clId="{6ECD27E6-B224-41CD-B4E0-E297462320DD}" dt="2023-11-24T08:40:05.440" v="38531"/>
          <ac:spMkLst>
            <pc:docMk/>
            <pc:sldMk cId="1005745348" sldId="686"/>
            <ac:spMk id="252" creationId="{050D71A6-B1CC-B89B-3ABF-2F7FE0DC14D0}"/>
          </ac:spMkLst>
        </pc:spChg>
        <pc:spChg chg="add del mod">
          <ac:chgData name="Steiner Andreas 6206 ED" userId="e6377c33-a923-4f14-8587-531c474c7b48" providerId="ADAL" clId="{6ECD27E6-B224-41CD-B4E0-E297462320DD}" dt="2023-11-24T08:40:07.970" v="38686"/>
          <ac:spMkLst>
            <pc:docMk/>
            <pc:sldMk cId="1005745348" sldId="686"/>
            <ac:spMk id="253" creationId="{8D5A406F-7517-1649-D777-C922CDCDAAA7}"/>
          </ac:spMkLst>
        </pc:spChg>
        <pc:spChg chg="add del mod">
          <ac:chgData name="Steiner Andreas 6206 ED" userId="e6377c33-a923-4f14-8587-531c474c7b48" providerId="ADAL" clId="{6ECD27E6-B224-41CD-B4E0-E297462320DD}" dt="2023-11-24T08:40:10.681" v="38841"/>
          <ac:spMkLst>
            <pc:docMk/>
            <pc:sldMk cId="1005745348" sldId="686"/>
            <ac:spMk id="254" creationId="{A1C1BEBE-BAC9-ACF9-C40F-5586D6197D88}"/>
          </ac:spMkLst>
        </pc:spChg>
        <pc:spChg chg="add del mod">
          <ac:chgData name="Steiner Andreas 6206 ED" userId="e6377c33-a923-4f14-8587-531c474c7b48" providerId="ADAL" clId="{6ECD27E6-B224-41CD-B4E0-E297462320DD}" dt="2023-11-24T08:40:13.850" v="38996"/>
          <ac:spMkLst>
            <pc:docMk/>
            <pc:sldMk cId="1005745348" sldId="686"/>
            <ac:spMk id="255" creationId="{844096DB-A7B2-510C-8C23-BA3C082F769E}"/>
          </ac:spMkLst>
        </pc:spChg>
        <pc:spChg chg="add del mod">
          <ac:chgData name="Steiner Andreas 6206 ED" userId="e6377c33-a923-4f14-8587-531c474c7b48" providerId="ADAL" clId="{6ECD27E6-B224-41CD-B4E0-E297462320DD}" dt="2023-11-24T08:40:16.548" v="39151"/>
          <ac:spMkLst>
            <pc:docMk/>
            <pc:sldMk cId="1005745348" sldId="686"/>
            <ac:spMk id="256" creationId="{B781C5D9-D938-95BF-093D-B244B53B9106}"/>
          </ac:spMkLst>
        </pc:spChg>
        <pc:spChg chg="add del mod">
          <ac:chgData name="Steiner Andreas 6206 ED" userId="e6377c33-a923-4f14-8587-531c474c7b48" providerId="ADAL" clId="{6ECD27E6-B224-41CD-B4E0-E297462320DD}" dt="2023-11-24T08:40:19.067" v="39306"/>
          <ac:spMkLst>
            <pc:docMk/>
            <pc:sldMk cId="1005745348" sldId="686"/>
            <ac:spMk id="257" creationId="{61284D32-1666-4C48-56DC-800428A0EF4F}"/>
          </ac:spMkLst>
        </pc:spChg>
        <pc:spChg chg="add del mod">
          <ac:chgData name="Steiner Andreas 6206 ED" userId="e6377c33-a923-4f14-8587-531c474c7b48" providerId="ADAL" clId="{6ECD27E6-B224-41CD-B4E0-E297462320DD}" dt="2023-11-24T08:40:21.497" v="39461"/>
          <ac:spMkLst>
            <pc:docMk/>
            <pc:sldMk cId="1005745348" sldId="686"/>
            <ac:spMk id="258" creationId="{44BABE68-BF22-B949-5CB4-F2EA38FA6D1D}"/>
          </ac:spMkLst>
        </pc:spChg>
        <pc:spChg chg="add del mod">
          <ac:chgData name="Steiner Andreas 6206 ED" userId="e6377c33-a923-4f14-8587-531c474c7b48" providerId="ADAL" clId="{6ECD27E6-B224-41CD-B4E0-E297462320DD}" dt="2023-11-24T08:40:24.144" v="39616"/>
          <ac:spMkLst>
            <pc:docMk/>
            <pc:sldMk cId="1005745348" sldId="686"/>
            <ac:spMk id="259" creationId="{07C88BF9-5004-17EB-2FD0-0ACAED5C8178}"/>
          </ac:spMkLst>
        </pc:spChg>
        <pc:spChg chg="add del mod">
          <ac:chgData name="Steiner Andreas 6206 ED" userId="e6377c33-a923-4f14-8587-531c474c7b48" providerId="ADAL" clId="{6ECD27E6-B224-41CD-B4E0-E297462320DD}" dt="2023-11-24T08:40:27.085" v="39771"/>
          <ac:spMkLst>
            <pc:docMk/>
            <pc:sldMk cId="1005745348" sldId="686"/>
            <ac:spMk id="260" creationId="{544508E6-87F0-91B9-CA28-575AA6D7E588}"/>
          </ac:spMkLst>
        </pc:spChg>
        <pc:spChg chg="add del mod">
          <ac:chgData name="Steiner Andreas 6206 ED" userId="e6377c33-a923-4f14-8587-531c474c7b48" providerId="ADAL" clId="{6ECD27E6-B224-41CD-B4E0-E297462320DD}" dt="2023-11-24T08:40:29.727" v="39926"/>
          <ac:spMkLst>
            <pc:docMk/>
            <pc:sldMk cId="1005745348" sldId="686"/>
            <ac:spMk id="261" creationId="{CAD11A52-1F29-DD28-1D8D-B9300F026502}"/>
          </ac:spMkLst>
        </pc:spChg>
        <pc:spChg chg="add del mod">
          <ac:chgData name="Steiner Andreas 6206 ED" userId="e6377c33-a923-4f14-8587-531c474c7b48" providerId="ADAL" clId="{6ECD27E6-B224-41CD-B4E0-E297462320DD}" dt="2023-11-24T08:40:32.297" v="40081"/>
          <ac:spMkLst>
            <pc:docMk/>
            <pc:sldMk cId="1005745348" sldId="686"/>
            <ac:spMk id="262" creationId="{36C37DAE-5F00-581C-52FB-066A6C052C69}"/>
          </ac:spMkLst>
        </pc:spChg>
        <pc:spChg chg="add del mod">
          <ac:chgData name="Steiner Andreas 6206 ED" userId="e6377c33-a923-4f14-8587-531c474c7b48" providerId="ADAL" clId="{6ECD27E6-B224-41CD-B4E0-E297462320DD}" dt="2023-11-24T08:40:34.879" v="40236"/>
          <ac:spMkLst>
            <pc:docMk/>
            <pc:sldMk cId="1005745348" sldId="686"/>
            <ac:spMk id="263" creationId="{83EECF5A-26D7-4EDB-A861-4FB15DD25C32}"/>
          </ac:spMkLst>
        </pc:spChg>
        <pc:spChg chg="add del mod">
          <ac:chgData name="Steiner Andreas 6206 ED" userId="e6377c33-a923-4f14-8587-531c474c7b48" providerId="ADAL" clId="{6ECD27E6-B224-41CD-B4E0-E297462320DD}" dt="2023-11-24T08:40:38.289" v="40391"/>
          <ac:spMkLst>
            <pc:docMk/>
            <pc:sldMk cId="1005745348" sldId="686"/>
            <ac:spMk id="264" creationId="{0778DD9E-6911-6972-1389-522B9EEBC78F}"/>
          </ac:spMkLst>
        </pc:spChg>
        <pc:spChg chg="add del mod">
          <ac:chgData name="Steiner Andreas 6206 ED" userId="e6377c33-a923-4f14-8587-531c474c7b48" providerId="ADAL" clId="{6ECD27E6-B224-41CD-B4E0-E297462320DD}" dt="2023-11-24T08:40:40.997" v="40546"/>
          <ac:spMkLst>
            <pc:docMk/>
            <pc:sldMk cId="1005745348" sldId="686"/>
            <ac:spMk id="265" creationId="{D447D087-627F-3728-CAC0-9D181ABABB54}"/>
          </ac:spMkLst>
        </pc:spChg>
        <pc:spChg chg="add del mod">
          <ac:chgData name="Steiner Andreas 6206 ED" userId="e6377c33-a923-4f14-8587-531c474c7b48" providerId="ADAL" clId="{6ECD27E6-B224-41CD-B4E0-E297462320DD}" dt="2023-11-24T08:40:43.780" v="40701"/>
          <ac:spMkLst>
            <pc:docMk/>
            <pc:sldMk cId="1005745348" sldId="686"/>
            <ac:spMk id="266" creationId="{8171747C-578B-0A6F-EB2A-F4CF36A65CA8}"/>
          </ac:spMkLst>
        </pc:spChg>
        <pc:spChg chg="add del mod">
          <ac:chgData name="Steiner Andreas 6206 ED" userId="e6377c33-a923-4f14-8587-531c474c7b48" providerId="ADAL" clId="{6ECD27E6-B224-41CD-B4E0-E297462320DD}" dt="2023-11-24T08:40:46.226" v="40856"/>
          <ac:spMkLst>
            <pc:docMk/>
            <pc:sldMk cId="1005745348" sldId="686"/>
            <ac:spMk id="267" creationId="{8755D738-08E3-1B14-EB5B-81E0820AEC52}"/>
          </ac:spMkLst>
        </pc:spChg>
        <pc:spChg chg="add del mod">
          <ac:chgData name="Steiner Andreas 6206 ED" userId="e6377c33-a923-4f14-8587-531c474c7b48" providerId="ADAL" clId="{6ECD27E6-B224-41CD-B4E0-E297462320DD}" dt="2023-11-24T08:40:49.027" v="41011"/>
          <ac:spMkLst>
            <pc:docMk/>
            <pc:sldMk cId="1005745348" sldId="686"/>
            <ac:spMk id="268" creationId="{ABA317A2-C9D5-8AB0-2DCE-80B321077D3A}"/>
          </ac:spMkLst>
        </pc:spChg>
        <pc:spChg chg="add del mod">
          <ac:chgData name="Steiner Andreas 6206 ED" userId="e6377c33-a923-4f14-8587-531c474c7b48" providerId="ADAL" clId="{6ECD27E6-B224-41CD-B4E0-E297462320DD}" dt="2023-11-24T08:40:51.883" v="41166"/>
          <ac:spMkLst>
            <pc:docMk/>
            <pc:sldMk cId="1005745348" sldId="686"/>
            <ac:spMk id="269" creationId="{75D8FCCE-FAD8-ACB8-9E7E-15D6B13A6F33}"/>
          </ac:spMkLst>
        </pc:spChg>
        <pc:spChg chg="add del mod">
          <ac:chgData name="Steiner Andreas 6206 ED" userId="e6377c33-a923-4f14-8587-531c474c7b48" providerId="ADAL" clId="{6ECD27E6-B224-41CD-B4E0-E297462320DD}" dt="2023-11-24T08:40:54.408" v="41321"/>
          <ac:spMkLst>
            <pc:docMk/>
            <pc:sldMk cId="1005745348" sldId="686"/>
            <ac:spMk id="270" creationId="{2522C827-D97F-600D-F9D7-648DA139A1B2}"/>
          </ac:spMkLst>
        </pc:spChg>
        <pc:spChg chg="add del mod">
          <ac:chgData name="Steiner Andreas 6206 ED" userId="e6377c33-a923-4f14-8587-531c474c7b48" providerId="ADAL" clId="{6ECD27E6-B224-41CD-B4E0-E297462320DD}" dt="2023-11-24T08:40:56.870" v="41476"/>
          <ac:spMkLst>
            <pc:docMk/>
            <pc:sldMk cId="1005745348" sldId="686"/>
            <ac:spMk id="271" creationId="{C7A53756-91D9-9D59-E5CA-BE5DC9CD3134}"/>
          </ac:spMkLst>
        </pc:spChg>
        <pc:spChg chg="add del mod">
          <ac:chgData name="Steiner Andreas 6206 ED" userId="e6377c33-a923-4f14-8587-531c474c7b48" providerId="ADAL" clId="{6ECD27E6-B224-41CD-B4E0-E297462320DD}" dt="2023-11-24T08:40:59.576" v="41631"/>
          <ac:spMkLst>
            <pc:docMk/>
            <pc:sldMk cId="1005745348" sldId="686"/>
            <ac:spMk id="272" creationId="{6ED5A33E-31EA-09BB-E227-8B08589410D9}"/>
          </ac:spMkLst>
        </pc:spChg>
        <pc:spChg chg="add del mod">
          <ac:chgData name="Steiner Andreas 6206 ED" userId="e6377c33-a923-4f14-8587-531c474c7b48" providerId="ADAL" clId="{6ECD27E6-B224-41CD-B4E0-E297462320DD}" dt="2023-11-24T08:41:02.553" v="41786"/>
          <ac:spMkLst>
            <pc:docMk/>
            <pc:sldMk cId="1005745348" sldId="686"/>
            <ac:spMk id="273" creationId="{9439B2BE-496B-2D35-F527-38FD301C559D}"/>
          </ac:spMkLst>
        </pc:spChg>
        <pc:spChg chg="add del mod">
          <ac:chgData name="Steiner Andreas 6206 ED" userId="e6377c33-a923-4f14-8587-531c474c7b48" providerId="ADAL" clId="{6ECD27E6-B224-41CD-B4E0-E297462320DD}" dt="2023-11-24T08:41:05.284" v="41941"/>
          <ac:spMkLst>
            <pc:docMk/>
            <pc:sldMk cId="1005745348" sldId="686"/>
            <ac:spMk id="274" creationId="{B0A84631-CC22-A6A2-1549-B211533728DD}"/>
          </ac:spMkLst>
        </pc:spChg>
        <pc:spChg chg="add del mod">
          <ac:chgData name="Steiner Andreas 6206 ED" userId="e6377c33-a923-4f14-8587-531c474c7b48" providerId="ADAL" clId="{6ECD27E6-B224-41CD-B4E0-E297462320DD}" dt="2023-11-24T08:41:08.604" v="42096"/>
          <ac:spMkLst>
            <pc:docMk/>
            <pc:sldMk cId="1005745348" sldId="686"/>
            <ac:spMk id="275" creationId="{4AD88792-A9C4-41D3-D1F2-48A364418FE9}"/>
          </ac:spMkLst>
        </pc:spChg>
        <pc:spChg chg="add del mod">
          <ac:chgData name="Steiner Andreas 6206 ED" userId="e6377c33-a923-4f14-8587-531c474c7b48" providerId="ADAL" clId="{6ECD27E6-B224-41CD-B4E0-E297462320DD}" dt="2023-11-24T08:41:12.476" v="42251"/>
          <ac:spMkLst>
            <pc:docMk/>
            <pc:sldMk cId="1005745348" sldId="686"/>
            <ac:spMk id="276" creationId="{A4968565-73E2-4718-C71E-D7EB30AA96B8}"/>
          </ac:spMkLst>
        </pc:spChg>
        <pc:spChg chg="add del mod">
          <ac:chgData name="Steiner Andreas 6206 ED" userId="e6377c33-a923-4f14-8587-531c474c7b48" providerId="ADAL" clId="{6ECD27E6-B224-41CD-B4E0-E297462320DD}" dt="2023-11-24T08:41:15.257" v="42406"/>
          <ac:spMkLst>
            <pc:docMk/>
            <pc:sldMk cId="1005745348" sldId="686"/>
            <ac:spMk id="277" creationId="{4C78F27A-2190-25C6-1C3D-C4EA6D1DA051}"/>
          </ac:spMkLst>
        </pc:spChg>
        <pc:spChg chg="add del mod">
          <ac:chgData name="Steiner Andreas 6206 ED" userId="e6377c33-a923-4f14-8587-531c474c7b48" providerId="ADAL" clId="{6ECD27E6-B224-41CD-B4E0-E297462320DD}" dt="2023-11-24T08:41:17.388" v="42561"/>
          <ac:spMkLst>
            <pc:docMk/>
            <pc:sldMk cId="1005745348" sldId="686"/>
            <ac:spMk id="278" creationId="{5752F608-FEAD-0E27-7113-2B875B3D66C4}"/>
          </ac:spMkLst>
        </pc:spChg>
        <pc:spChg chg="add del mod">
          <ac:chgData name="Steiner Andreas 6206 ED" userId="e6377c33-a923-4f14-8587-531c474c7b48" providerId="ADAL" clId="{6ECD27E6-B224-41CD-B4E0-E297462320DD}" dt="2023-11-24T08:41:19.829" v="42716"/>
          <ac:spMkLst>
            <pc:docMk/>
            <pc:sldMk cId="1005745348" sldId="686"/>
            <ac:spMk id="279" creationId="{22867956-3B6E-7CDE-EA5E-638A2D83D2BE}"/>
          </ac:spMkLst>
        </pc:spChg>
        <pc:spChg chg="add del mod">
          <ac:chgData name="Steiner Andreas 6206 ED" userId="e6377c33-a923-4f14-8587-531c474c7b48" providerId="ADAL" clId="{6ECD27E6-B224-41CD-B4E0-E297462320DD}" dt="2023-11-24T08:41:22.158" v="42871"/>
          <ac:spMkLst>
            <pc:docMk/>
            <pc:sldMk cId="1005745348" sldId="686"/>
            <ac:spMk id="280" creationId="{170D6610-8BCA-F680-0D6E-D7428C8B6B4A}"/>
          </ac:spMkLst>
        </pc:spChg>
        <pc:spChg chg="add del mod">
          <ac:chgData name="Steiner Andreas 6206 ED" userId="e6377c33-a923-4f14-8587-531c474c7b48" providerId="ADAL" clId="{6ECD27E6-B224-41CD-B4E0-E297462320DD}" dt="2023-11-24T08:41:24.301" v="43026"/>
          <ac:spMkLst>
            <pc:docMk/>
            <pc:sldMk cId="1005745348" sldId="686"/>
            <ac:spMk id="281" creationId="{C3DFA5E6-1742-87A2-C230-7CE2881094ED}"/>
          </ac:spMkLst>
        </pc:spChg>
        <pc:spChg chg="add del mod">
          <ac:chgData name="Steiner Andreas 6206 ED" userId="e6377c33-a923-4f14-8587-531c474c7b48" providerId="ADAL" clId="{6ECD27E6-B224-41CD-B4E0-E297462320DD}" dt="2023-11-24T08:41:26.818" v="43181"/>
          <ac:spMkLst>
            <pc:docMk/>
            <pc:sldMk cId="1005745348" sldId="686"/>
            <ac:spMk id="282" creationId="{FFA3DBB3-93A4-D244-ABFC-3982EDFA42E1}"/>
          </ac:spMkLst>
        </pc:spChg>
        <pc:spChg chg="add del mod">
          <ac:chgData name="Steiner Andreas 6206 ED" userId="e6377c33-a923-4f14-8587-531c474c7b48" providerId="ADAL" clId="{6ECD27E6-B224-41CD-B4E0-E297462320DD}" dt="2023-11-24T08:41:28.951" v="43336"/>
          <ac:spMkLst>
            <pc:docMk/>
            <pc:sldMk cId="1005745348" sldId="686"/>
            <ac:spMk id="283" creationId="{5B40C92B-8B09-4B2F-B77E-47A512D8C875}"/>
          </ac:spMkLst>
        </pc:spChg>
        <pc:spChg chg="add del mod">
          <ac:chgData name="Steiner Andreas 6206 ED" userId="e6377c33-a923-4f14-8587-531c474c7b48" providerId="ADAL" clId="{6ECD27E6-B224-41CD-B4E0-E297462320DD}" dt="2023-11-24T08:41:31.170" v="43491"/>
          <ac:spMkLst>
            <pc:docMk/>
            <pc:sldMk cId="1005745348" sldId="686"/>
            <ac:spMk id="284" creationId="{BD6F26A2-CABB-E540-C7C4-BEB4588E3D0B}"/>
          </ac:spMkLst>
        </pc:spChg>
        <pc:spChg chg="add del mod">
          <ac:chgData name="Steiner Andreas 6206 ED" userId="e6377c33-a923-4f14-8587-531c474c7b48" providerId="ADAL" clId="{6ECD27E6-B224-41CD-B4E0-E297462320DD}" dt="2023-11-24T08:41:35.590" v="43646"/>
          <ac:spMkLst>
            <pc:docMk/>
            <pc:sldMk cId="1005745348" sldId="686"/>
            <ac:spMk id="285" creationId="{D106A4F1-9BB6-2BB7-E52B-B7911D2CE60E}"/>
          </ac:spMkLst>
        </pc:spChg>
        <pc:spChg chg="add del mod">
          <ac:chgData name="Steiner Andreas 6206 ED" userId="e6377c33-a923-4f14-8587-531c474c7b48" providerId="ADAL" clId="{6ECD27E6-B224-41CD-B4E0-E297462320DD}" dt="2023-11-24T08:41:38.556" v="43801"/>
          <ac:spMkLst>
            <pc:docMk/>
            <pc:sldMk cId="1005745348" sldId="686"/>
            <ac:spMk id="286" creationId="{0E5BB7A8-DFBB-DD9A-F80A-E92DFB9C4A5D}"/>
          </ac:spMkLst>
        </pc:spChg>
        <pc:spChg chg="add del mod">
          <ac:chgData name="Steiner Andreas 6206 ED" userId="e6377c33-a923-4f14-8587-531c474c7b48" providerId="ADAL" clId="{6ECD27E6-B224-41CD-B4E0-E297462320DD}" dt="2023-11-24T08:41:40.811" v="43956"/>
          <ac:spMkLst>
            <pc:docMk/>
            <pc:sldMk cId="1005745348" sldId="686"/>
            <ac:spMk id="287" creationId="{6B643A5C-AFA5-9A16-24DD-21202283DE15}"/>
          </ac:spMkLst>
        </pc:spChg>
        <pc:spChg chg="add del mod">
          <ac:chgData name="Steiner Andreas 6206 ED" userId="e6377c33-a923-4f14-8587-531c474c7b48" providerId="ADAL" clId="{6ECD27E6-B224-41CD-B4E0-E297462320DD}" dt="2023-11-24T08:41:43.197" v="44111"/>
          <ac:spMkLst>
            <pc:docMk/>
            <pc:sldMk cId="1005745348" sldId="686"/>
            <ac:spMk id="288" creationId="{A07476F0-2A36-8E12-8E37-2EFE6933AF93}"/>
          </ac:spMkLst>
        </pc:spChg>
        <pc:spChg chg="add del mod">
          <ac:chgData name="Steiner Andreas 6206 ED" userId="e6377c33-a923-4f14-8587-531c474c7b48" providerId="ADAL" clId="{6ECD27E6-B224-41CD-B4E0-E297462320DD}" dt="2023-11-24T08:41:45.119" v="44266"/>
          <ac:spMkLst>
            <pc:docMk/>
            <pc:sldMk cId="1005745348" sldId="686"/>
            <ac:spMk id="289" creationId="{5682179C-7C16-15AF-621B-2EF69F94DF29}"/>
          </ac:spMkLst>
        </pc:spChg>
        <pc:spChg chg="add del mod">
          <ac:chgData name="Steiner Andreas 6206 ED" userId="e6377c33-a923-4f14-8587-531c474c7b48" providerId="ADAL" clId="{6ECD27E6-B224-41CD-B4E0-E297462320DD}" dt="2023-11-24T08:41:47.029" v="44421"/>
          <ac:spMkLst>
            <pc:docMk/>
            <pc:sldMk cId="1005745348" sldId="686"/>
            <ac:spMk id="290" creationId="{A4A1A9D6-9FA8-45C6-F1F2-DC947A8682D7}"/>
          </ac:spMkLst>
        </pc:spChg>
        <pc:spChg chg="add del mod">
          <ac:chgData name="Steiner Andreas 6206 ED" userId="e6377c33-a923-4f14-8587-531c474c7b48" providerId="ADAL" clId="{6ECD27E6-B224-41CD-B4E0-E297462320DD}" dt="2023-11-24T08:41:49.050" v="44576"/>
          <ac:spMkLst>
            <pc:docMk/>
            <pc:sldMk cId="1005745348" sldId="686"/>
            <ac:spMk id="291" creationId="{1BD7DF90-F643-FFB4-622F-87BA032EBC8D}"/>
          </ac:spMkLst>
        </pc:spChg>
        <pc:spChg chg="add del mod">
          <ac:chgData name="Steiner Andreas 6206 ED" userId="e6377c33-a923-4f14-8587-531c474c7b48" providerId="ADAL" clId="{6ECD27E6-B224-41CD-B4E0-E297462320DD}" dt="2023-11-24T08:41:50.930" v="44731"/>
          <ac:spMkLst>
            <pc:docMk/>
            <pc:sldMk cId="1005745348" sldId="686"/>
            <ac:spMk id="292" creationId="{D9BCBB37-C5EE-ABA3-6B6E-E0277B8354F1}"/>
          </ac:spMkLst>
        </pc:spChg>
        <pc:spChg chg="add del mod">
          <ac:chgData name="Steiner Andreas 6206 ED" userId="e6377c33-a923-4f14-8587-531c474c7b48" providerId="ADAL" clId="{6ECD27E6-B224-41CD-B4E0-E297462320DD}" dt="2023-11-24T08:41:53.265" v="44886"/>
          <ac:spMkLst>
            <pc:docMk/>
            <pc:sldMk cId="1005745348" sldId="686"/>
            <ac:spMk id="293" creationId="{3B97A2E6-8767-C057-0028-586AFA8AF992}"/>
          </ac:spMkLst>
        </pc:spChg>
        <pc:spChg chg="add del mod">
          <ac:chgData name="Steiner Andreas 6206 ED" userId="e6377c33-a923-4f14-8587-531c474c7b48" providerId="ADAL" clId="{6ECD27E6-B224-41CD-B4E0-E297462320DD}" dt="2023-11-24T08:41:55.194" v="45041"/>
          <ac:spMkLst>
            <pc:docMk/>
            <pc:sldMk cId="1005745348" sldId="686"/>
            <ac:spMk id="294" creationId="{CD8BB6D2-FA8C-FB13-E6CA-8DB17E33F1D6}"/>
          </ac:spMkLst>
        </pc:spChg>
        <pc:spChg chg="add del mod">
          <ac:chgData name="Steiner Andreas 6206 ED" userId="e6377c33-a923-4f14-8587-531c474c7b48" providerId="ADAL" clId="{6ECD27E6-B224-41CD-B4E0-E297462320DD}" dt="2023-11-24T08:41:57.464" v="45196"/>
          <ac:spMkLst>
            <pc:docMk/>
            <pc:sldMk cId="1005745348" sldId="686"/>
            <ac:spMk id="295" creationId="{0AE6D102-CAC7-F169-08FE-EBF606256670}"/>
          </ac:spMkLst>
        </pc:spChg>
        <pc:spChg chg="add del mod">
          <ac:chgData name="Steiner Andreas 6206 ED" userId="e6377c33-a923-4f14-8587-531c474c7b48" providerId="ADAL" clId="{6ECD27E6-B224-41CD-B4E0-E297462320DD}" dt="2023-11-24T08:41:59.619" v="45351"/>
          <ac:spMkLst>
            <pc:docMk/>
            <pc:sldMk cId="1005745348" sldId="686"/>
            <ac:spMk id="296" creationId="{A2E9F84A-1B38-0C8B-8CE6-CB77BE5841EE}"/>
          </ac:spMkLst>
        </pc:spChg>
        <pc:spChg chg="add del mod">
          <ac:chgData name="Steiner Andreas 6206 ED" userId="e6377c33-a923-4f14-8587-531c474c7b48" providerId="ADAL" clId="{6ECD27E6-B224-41CD-B4E0-E297462320DD}" dt="2023-11-24T08:42:01.845" v="45506"/>
          <ac:spMkLst>
            <pc:docMk/>
            <pc:sldMk cId="1005745348" sldId="686"/>
            <ac:spMk id="297" creationId="{0B2E7191-D41C-92EC-F9F2-FA92E263667E}"/>
          </ac:spMkLst>
        </pc:spChg>
        <pc:spChg chg="add del mod">
          <ac:chgData name="Steiner Andreas 6206 ED" userId="e6377c33-a923-4f14-8587-531c474c7b48" providerId="ADAL" clId="{6ECD27E6-B224-41CD-B4E0-E297462320DD}" dt="2023-11-24T08:42:03.857" v="45661"/>
          <ac:spMkLst>
            <pc:docMk/>
            <pc:sldMk cId="1005745348" sldId="686"/>
            <ac:spMk id="298" creationId="{77DAAADC-FDD6-A4C4-A713-8D67BCD79A88}"/>
          </ac:spMkLst>
        </pc:spChg>
        <pc:spChg chg="add del mod">
          <ac:chgData name="Steiner Andreas 6206 ED" userId="e6377c33-a923-4f14-8587-531c474c7b48" providerId="ADAL" clId="{6ECD27E6-B224-41CD-B4E0-E297462320DD}" dt="2023-11-24T08:42:05.816" v="45816"/>
          <ac:spMkLst>
            <pc:docMk/>
            <pc:sldMk cId="1005745348" sldId="686"/>
            <ac:spMk id="299" creationId="{458DC528-D592-C57B-989C-BC854B337595}"/>
          </ac:spMkLst>
        </pc:spChg>
        <pc:spChg chg="add del mod">
          <ac:chgData name="Steiner Andreas 6206 ED" userId="e6377c33-a923-4f14-8587-531c474c7b48" providerId="ADAL" clId="{6ECD27E6-B224-41CD-B4E0-E297462320DD}" dt="2023-11-24T08:42:07.721" v="45971"/>
          <ac:spMkLst>
            <pc:docMk/>
            <pc:sldMk cId="1005745348" sldId="686"/>
            <ac:spMk id="300" creationId="{270FAAED-0A70-CD4B-D31E-6F34EC59348B}"/>
          </ac:spMkLst>
        </pc:spChg>
        <pc:spChg chg="add del mod">
          <ac:chgData name="Steiner Andreas 6206 ED" userId="e6377c33-a923-4f14-8587-531c474c7b48" providerId="ADAL" clId="{6ECD27E6-B224-41CD-B4E0-E297462320DD}" dt="2023-11-24T08:42:09.611" v="46126"/>
          <ac:spMkLst>
            <pc:docMk/>
            <pc:sldMk cId="1005745348" sldId="686"/>
            <ac:spMk id="301" creationId="{7AE8AEE9-6346-42F5-ECDD-551B3F7E3E13}"/>
          </ac:spMkLst>
        </pc:spChg>
        <pc:spChg chg="add del mod">
          <ac:chgData name="Steiner Andreas 6206 ED" userId="e6377c33-a923-4f14-8587-531c474c7b48" providerId="ADAL" clId="{6ECD27E6-B224-41CD-B4E0-E297462320DD}" dt="2023-11-24T08:42:11.962" v="46281"/>
          <ac:spMkLst>
            <pc:docMk/>
            <pc:sldMk cId="1005745348" sldId="686"/>
            <ac:spMk id="302" creationId="{0F13BD32-697F-CB89-6A56-92D28979DD06}"/>
          </ac:spMkLst>
        </pc:spChg>
        <pc:spChg chg="add del mod">
          <ac:chgData name="Steiner Andreas 6206 ED" userId="e6377c33-a923-4f14-8587-531c474c7b48" providerId="ADAL" clId="{6ECD27E6-B224-41CD-B4E0-E297462320DD}" dt="2023-11-24T08:42:14.425" v="46436"/>
          <ac:spMkLst>
            <pc:docMk/>
            <pc:sldMk cId="1005745348" sldId="686"/>
            <ac:spMk id="303" creationId="{61A1CECD-52B6-C9C6-8A8B-13D9B037B170}"/>
          </ac:spMkLst>
        </pc:spChg>
        <pc:spChg chg="add del mod">
          <ac:chgData name="Steiner Andreas 6206 ED" userId="e6377c33-a923-4f14-8587-531c474c7b48" providerId="ADAL" clId="{6ECD27E6-B224-41CD-B4E0-E297462320DD}" dt="2023-11-24T08:42:16.886" v="46591"/>
          <ac:spMkLst>
            <pc:docMk/>
            <pc:sldMk cId="1005745348" sldId="686"/>
            <ac:spMk id="304" creationId="{17D6F0B1-5CE8-33CF-19F7-68C991EDE676}"/>
          </ac:spMkLst>
        </pc:spChg>
        <pc:spChg chg="add del mod">
          <ac:chgData name="Steiner Andreas 6206 ED" userId="e6377c33-a923-4f14-8587-531c474c7b48" providerId="ADAL" clId="{6ECD27E6-B224-41CD-B4E0-E297462320DD}" dt="2023-11-24T08:42:19.010" v="46746"/>
          <ac:spMkLst>
            <pc:docMk/>
            <pc:sldMk cId="1005745348" sldId="686"/>
            <ac:spMk id="305" creationId="{3A0B24FB-08CE-2A3F-B535-A2B27EAB2B5C}"/>
          </ac:spMkLst>
        </pc:spChg>
        <pc:spChg chg="add del mod">
          <ac:chgData name="Steiner Andreas 6206 ED" userId="e6377c33-a923-4f14-8587-531c474c7b48" providerId="ADAL" clId="{6ECD27E6-B224-41CD-B4E0-E297462320DD}" dt="2023-11-24T08:42:21.330" v="46901"/>
          <ac:spMkLst>
            <pc:docMk/>
            <pc:sldMk cId="1005745348" sldId="686"/>
            <ac:spMk id="306" creationId="{43F5D865-580A-CC9C-A31B-C2B29F839FF8}"/>
          </ac:spMkLst>
        </pc:spChg>
        <pc:spChg chg="add del mod">
          <ac:chgData name="Steiner Andreas 6206 ED" userId="e6377c33-a923-4f14-8587-531c474c7b48" providerId="ADAL" clId="{6ECD27E6-B224-41CD-B4E0-E297462320DD}" dt="2023-11-24T08:42:23.963" v="47056"/>
          <ac:spMkLst>
            <pc:docMk/>
            <pc:sldMk cId="1005745348" sldId="686"/>
            <ac:spMk id="307" creationId="{836E0DA6-0E65-68E5-0FD1-559F518D2E68}"/>
          </ac:spMkLst>
        </pc:spChg>
        <pc:spChg chg="add del mod">
          <ac:chgData name="Steiner Andreas 6206 ED" userId="e6377c33-a923-4f14-8587-531c474c7b48" providerId="ADAL" clId="{6ECD27E6-B224-41CD-B4E0-E297462320DD}" dt="2023-11-24T08:42:25.951" v="47211"/>
          <ac:spMkLst>
            <pc:docMk/>
            <pc:sldMk cId="1005745348" sldId="686"/>
            <ac:spMk id="308" creationId="{F902BEA6-509E-A296-33F8-D5DA04FCE6C4}"/>
          </ac:spMkLst>
        </pc:spChg>
        <pc:spChg chg="add del mod">
          <ac:chgData name="Steiner Andreas 6206 ED" userId="e6377c33-a923-4f14-8587-531c474c7b48" providerId="ADAL" clId="{6ECD27E6-B224-41CD-B4E0-E297462320DD}" dt="2023-11-24T08:42:27.852" v="47366"/>
          <ac:spMkLst>
            <pc:docMk/>
            <pc:sldMk cId="1005745348" sldId="686"/>
            <ac:spMk id="309" creationId="{38167A29-BB9D-E8FA-BFAB-5DA8EAAC7FFF}"/>
          </ac:spMkLst>
        </pc:spChg>
        <pc:spChg chg="add del mod">
          <ac:chgData name="Steiner Andreas 6206 ED" userId="e6377c33-a923-4f14-8587-531c474c7b48" providerId="ADAL" clId="{6ECD27E6-B224-41CD-B4E0-E297462320DD}" dt="2023-11-24T08:42:29.619" v="47521"/>
          <ac:spMkLst>
            <pc:docMk/>
            <pc:sldMk cId="1005745348" sldId="686"/>
            <ac:spMk id="310" creationId="{80229442-F815-C82B-FC1B-D5E977A69488}"/>
          </ac:spMkLst>
        </pc:spChg>
        <pc:spChg chg="add del mod">
          <ac:chgData name="Steiner Andreas 6206 ED" userId="e6377c33-a923-4f14-8587-531c474c7b48" providerId="ADAL" clId="{6ECD27E6-B224-41CD-B4E0-E297462320DD}" dt="2023-11-24T08:42:31.510" v="47676"/>
          <ac:spMkLst>
            <pc:docMk/>
            <pc:sldMk cId="1005745348" sldId="686"/>
            <ac:spMk id="311" creationId="{EEFA758F-5708-7B9F-0D86-E691866A8119}"/>
          </ac:spMkLst>
        </pc:spChg>
        <pc:spChg chg="add del mod">
          <ac:chgData name="Steiner Andreas 6206 ED" userId="e6377c33-a923-4f14-8587-531c474c7b48" providerId="ADAL" clId="{6ECD27E6-B224-41CD-B4E0-E297462320DD}" dt="2023-11-24T08:42:33.492" v="47831"/>
          <ac:spMkLst>
            <pc:docMk/>
            <pc:sldMk cId="1005745348" sldId="686"/>
            <ac:spMk id="312" creationId="{E7022AC4-485F-D268-5953-54BF3311DE98}"/>
          </ac:spMkLst>
        </pc:spChg>
        <pc:spChg chg="add del mod">
          <ac:chgData name="Steiner Andreas 6206 ED" userId="e6377c33-a923-4f14-8587-531c474c7b48" providerId="ADAL" clId="{6ECD27E6-B224-41CD-B4E0-E297462320DD}" dt="2023-11-24T08:42:35.556" v="47986"/>
          <ac:spMkLst>
            <pc:docMk/>
            <pc:sldMk cId="1005745348" sldId="686"/>
            <ac:spMk id="313" creationId="{B6ACB072-C4E5-9069-2675-BEA0532C1AC7}"/>
          </ac:spMkLst>
        </pc:spChg>
        <pc:spChg chg="add del mod">
          <ac:chgData name="Steiner Andreas 6206 ED" userId="e6377c33-a923-4f14-8587-531c474c7b48" providerId="ADAL" clId="{6ECD27E6-B224-41CD-B4E0-E297462320DD}" dt="2023-11-24T08:42:37.443" v="48141"/>
          <ac:spMkLst>
            <pc:docMk/>
            <pc:sldMk cId="1005745348" sldId="686"/>
            <ac:spMk id="314" creationId="{CD5062AE-3C3B-36BC-3B55-E3FFACD6685C}"/>
          </ac:spMkLst>
        </pc:spChg>
        <pc:spChg chg="add del mod">
          <ac:chgData name="Steiner Andreas 6206 ED" userId="e6377c33-a923-4f14-8587-531c474c7b48" providerId="ADAL" clId="{6ECD27E6-B224-41CD-B4E0-E297462320DD}" dt="2023-11-24T08:42:39.311" v="48296"/>
          <ac:spMkLst>
            <pc:docMk/>
            <pc:sldMk cId="1005745348" sldId="686"/>
            <ac:spMk id="315" creationId="{BD1F7D1C-2B06-8FBE-8613-137E6839FAF0}"/>
          </ac:spMkLst>
        </pc:spChg>
        <pc:spChg chg="add del mod">
          <ac:chgData name="Steiner Andreas 6206 ED" userId="e6377c33-a923-4f14-8587-531c474c7b48" providerId="ADAL" clId="{6ECD27E6-B224-41CD-B4E0-E297462320DD}" dt="2023-11-24T08:42:41.424" v="48451"/>
          <ac:spMkLst>
            <pc:docMk/>
            <pc:sldMk cId="1005745348" sldId="686"/>
            <ac:spMk id="316" creationId="{DBCF835D-61D7-6086-DD79-CF5E2D442189}"/>
          </ac:spMkLst>
        </pc:spChg>
        <pc:spChg chg="add del mod">
          <ac:chgData name="Steiner Andreas 6206 ED" userId="e6377c33-a923-4f14-8587-531c474c7b48" providerId="ADAL" clId="{6ECD27E6-B224-41CD-B4E0-E297462320DD}" dt="2023-11-24T08:42:43.535" v="48606"/>
          <ac:spMkLst>
            <pc:docMk/>
            <pc:sldMk cId="1005745348" sldId="686"/>
            <ac:spMk id="317" creationId="{6BB04ABA-F858-0D99-B984-98B5B0D249E3}"/>
          </ac:spMkLst>
        </pc:spChg>
        <pc:spChg chg="add del mod">
          <ac:chgData name="Steiner Andreas 6206 ED" userId="e6377c33-a923-4f14-8587-531c474c7b48" providerId="ADAL" clId="{6ECD27E6-B224-41CD-B4E0-E297462320DD}" dt="2023-11-24T08:42:45.568" v="48761"/>
          <ac:spMkLst>
            <pc:docMk/>
            <pc:sldMk cId="1005745348" sldId="686"/>
            <ac:spMk id="318" creationId="{8E2138CD-E785-80CC-B8E8-5DA698A181F0}"/>
          </ac:spMkLst>
        </pc:spChg>
        <pc:spChg chg="add del mod">
          <ac:chgData name="Steiner Andreas 6206 ED" userId="e6377c33-a923-4f14-8587-531c474c7b48" providerId="ADAL" clId="{6ECD27E6-B224-41CD-B4E0-E297462320DD}" dt="2023-11-24T08:42:47.455" v="48916"/>
          <ac:spMkLst>
            <pc:docMk/>
            <pc:sldMk cId="1005745348" sldId="686"/>
            <ac:spMk id="319" creationId="{6E35193D-BEE0-0E97-FD48-BFBC251166E9}"/>
          </ac:spMkLst>
        </pc:spChg>
        <pc:spChg chg="add del mod">
          <ac:chgData name="Steiner Andreas 6206 ED" userId="e6377c33-a923-4f14-8587-531c474c7b48" providerId="ADAL" clId="{6ECD27E6-B224-41CD-B4E0-E297462320DD}" dt="2023-11-24T08:42:49.259" v="49071"/>
          <ac:spMkLst>
            <pc:docMk/>
            <pc:sldMk cId="1005745348" sldId="686"/>
            <ac:spMk id="320" creationId="{7E2F5C7A-7827-8D6B-5519-29B2266A4F07}"/>
          </ac:spMkLst>
        </pc:spChg>
        <pc:spChg chg="add del mod">
          <ac:chgData name="Steiner Andreas 6206 ED" userId="e6377c33-a923-4f14-8587-531c474c7b48" providerId="ADAL" clId="{6ECD27E6-B224-41CD-B4E0-E297462320DD}" dt="2023-11-24T08:42:51.134" v="49226"/>
          <ac:spMkLst>
            <pc:docMk/>
            <pc:sldMk cId="1005745348" sldId="686"/>
            <ac:spMk id="321" creationId="{0A2DAE8C-ED36-7603-DACC-558273F33FB5}"/>
          </ac:spMkLst>
        </pc:spChg>
        <pc:spChg chg="add del mod">
          <ac:chgData name="Steiner Andreas 6206 ED" userId="e6377c33-a923-4f14-8587-531c474c7b48" providerId="ADAL" clId="{6ECD27E6-B224-41CD-B4E0-E297462320DD}" dt="2023-11-24T08:42:53.226" v="49381"/>
          <ac:spMkLst>
            <pc:docMk/>
            <pc:sldMk cId="1005745348" sldId="686"/>
            <ac:spMk id="322" creationId="{F2132A2A-0184-A15A-D389-85E8D2518E27}"/>
          </ac:spMkLst>
        </pc:spChg>
        <pc:spChg chg="add del mod">
          <ac:chgData name="Steiner Andreas 6206 ED" userId="e6377c33-a923-4f14-8587-531c474c7b48" providerId="ADAL" clId="{6ECD27E6-B224-41CD-B4E0-E297462320DD}" dt="2023-11-24T08:42:55.822" v="49536"/>
          <ac:spMkLst>
            <pc:docMk/>
            <pc:sldMk cId="1005745348" sldId="686"/>
            <ac:spMk id="323" creationId="{755691B0-B40C-0584-6B43-2CA0564BF61A}"/>
          </ac:spMkLst>
        </pc:spChg>
        <pc:spChg chg="add del mod">
          <ac:chgData name="Steiner Andreas 6206 ED" userId="e6377c33-a923-4f14-8587-531c474c7b48" providerId="ADAL" clId="{6ECD27E6-B224-41CD-B4E0-E297462320DD}" dt="2023-11-24T08:42:57.930" v="49691"/>
          <ac:spMkLst>
            <pc:docMk/>
            <pc:sldMk cId="1005745348" sldId="686"/>
            <ac:spMk id="324" creationId="{77120529-6990-D66A-59A6-FB8684B58E04}"/>
          </ac:spMkLst>
        </pc:spChg>
        <pc:spChg chg="add del mod">
          <ac:chgData name="Steiner Andreas 6206 ED" userId="e6377c33-a923-4f14-8587-531c474c7b48" providerId="ADAL" clId="{6ECD27E6-B224-41CD-B4E0-E297462320DD}" dt="2023-11-24T08:42:59.857" v="49846"/>
          <ac:spMkLst>
            <pc:docMk/>
            <pc:sldMk cId="1005745348" sldId="686"/>
            <ac:spMk id="325" creationId="{8EFFEF7C-66A2-7323-446F-4121DD3FE0B7}"/>
          </ac:spMkLst>
        </pc:spChg>
        <pc:spChg chg="add del mod">
          <ac:chgData name="Steiner Andreas 6206 ED" userId="e6377c33-a923-4f14-8587-531c474c7b48" providerId="ADAL" clId="{6ECD27E6-B224-41CD-B4E0-E297462320DD}" dt="2023-11-24T08:43:01.851" v="50001"/>
          <ac:spMkLst>
            <pc:docMk/>
            <pc:sldMk cId="1005745348" sldId="686"/>
            <ac:spMk id="326" creationId="{D08CAFE5-0B4B-FBF6-EF59-D7D23314160F}"/>
          </ac:spMkLst>
        </pc:spChg>
        <pc:spChg chg="add del mod">
          <ac:chgData name="Steiner Andreas 6206 ED" userId="e6377c33-a923-4f14-8587-531c474c7b48" providerId="ADAL" clId="{6ECD27E6-B224-41CD-B4E0-E297462320DD}" dt="2023-11-24T08:43:03.839" v="50156"/>
          <ac:spMkLst>
            <pc:docMk/>
            <pc:sldMk cId="1005745348" sldId="686"/>
            <ac:spMk id="327" creationId="{2F4DFDD2-BA46-A6AB-1518-23A87B7AE1ED}"/>
          </ac:spMkLst>
        </pc:spChg>
        <pc:spChg chg="add del mod">
          <ac:chgData name="Steiner Andreas 6206 ED" userId="e6377c33-a923-4f14-8587-531c474c7b48" providerId="ADAL" clId="{6ECD27E6-B224-41CD-B4E0-E297462320DD}" dt="2023-11-24T08:43:05.718" v="50311"/>
          <ac:spMkLst>
            <pc:docMk/>
            <pc:sldMk cId="1005745348" sldId="686"/>
            <ac:spMk id="328" creationId="{77DD00A2-9CF1-33C7-4114-B6441F35DC0E}"/>
          </ac:spMkLst>
        </pc:spChg>
        <pc:spChg chg="add del mod">
          <ac:chgData name="Steiner Andreas 6206 ED" userId="e6377c33-a923-4f14-8587-531c474c7b48" providerId="ADAL" clId="{6ECD27E6-B224-41CD-B4E0-E297462320DD}" dt="2023-11-24T08:43:07.907" v="50466"/>
          <ac:spMkLst>
            <pc:docMk/>
            <pc:sldMk cId="1005745348" sldId="686"/>
            <ac:spMk id="329" creationId="{29168435-6FC8-A377-4EF0-A6A10BC0F5C4}"/>
          </ac:spMkLst>
        </pc:spChg>
        <pc:spChg chg="add del mod">
          <ac:chgData name="Steiner Andreas 6206 ED" userId="e6377c33-a923-4f14-8587-531c474c7b48" providerId="ADAL" clId="{6ECD27E6-B224-41CD-B4E0-E297462320DD}" dt="2023-11-24T08:43:09.991" v="50621"/>
          <ac:spMkLst>
            <pc:docMk/>
            <pc:sldMk cId="1005745348" sldId="686"/>
            <ac:spMk id="330" creationId="{10B7F4E4-9BDD-98D0-1C2B-EAD109C19583}"/>
          </ac:spMkLst>
        </pc:spChg>
        <pc:spChg chg="add del mod">
          <ac:chgData name="Steiner Andreas 6206 ED" userId="e6377c33-a923-4f14-8587-531c474c7b48" providerId="ADAL" clId="{6ECD27E6-B224-41CD-B4E0-E297462320DD}" dt="2023-11-24T08:43:11.826" v="50776"/>
          <ac:spMkLst>
            <pc:docMk/>
            <pc:sldMk cId="1005745348" sldId="686"/>
            <ac:spMk id="331" creationId="{146172F2-86DA-D9E2-F06C-A185439AF5DE}"/>
          </ac:spMkLst>
        </pc:spChg>
        <pc:spChg chg="add del mod">
          <ac:chgData name="Steiner Andreas 6206 ED" userId="e6377c33-a923-4f14-8587-531c474c7b48" providerId="ADAL" clId="{6ECD27E6-B224-41CD-B4E0-E297462320DD}" dt="2023-11-24T08:43:13.882" v="50931"/>
          <ac:spMkLst>
            <pc:docMk/>
            <pc:sldMk cId="1005745348" sldId="686"/>
            <ac:spMk id="332" creationId="{69C6B455-4469-A1BE-874E-FB293D737914}"/>
          </ac:spMkLst>
        </pc:spChg>
        <pc:spChg chg="add del mod">
          <ac:chgData name="Steiner Andreas 6206 ED" userId="e6377c33-a923-4f14-8587-531c474c7b48" providerId="ADAL" clId="{6ECD27E6-B224-41CD-B4E0-E297462320DD}" dt="2023-11-24T08:43:15.857" v="51086"/>
          <ac:spMkLst>
            <pc:docMk/>
            <pc:sldMk cId="1005745348" sldId="686"/>
            <ac:spMk id="333" creationId="{D66D2CB5-5674-6BB7-39C1-46F4EA3BC8FF}"/>
          </ac:spMkLst>
        </pc:spChg>
        <pc:spChg chg="add del mod">
          <ac:chgData name="Steiner Andreas 6206 ED" userId="e6377c33-a923-4f14-8587-531c474c7b48" providerId="ADAL" clId="{6ECD27E6-B224-41CD-B4E0-E297462320DD}" dt="2023-11-24T08:43:17.939" v="51241"/>
          <ac:spMkLst>
            <pc:docMk/>
            <pc:sldMk cId="1005745348" sldId="686"/>
            <ac:spMk id="334" creationId="{B80E96E3-A426-ABB7-FBA3-8FA914EE7FE1}"/>
          </ac:spMkLst>
        </pc:spChg>
        <pc:spChg chg="add del mod">
          <ac:chgData name="Steiner Andreas 6206 ED" userId="e6377c33-a923-4f14-8587-531c474c7b48" providerId="ADAL" clId="{6ECD27E6-B224-41CD-B4E0-E297462320DD}" dt="2023-11-24T08:43:19.924" v="51396"/>
          <ac:spMkLst>
            <pc:docMk/>
            <pc:sldMk cId="1005745348" sldId="686"/>
            <ac:spMk id="335" creationId="{5967C030-2C5C-3E6E-1F79-535D73DB2CCB}"/>
          </ac:spMkLst>
        </pc:spChg>
        <pc:spChg chg="add del mod">
          <ac:chgData name="Steiner Andreas 6206 ED" userId="e6377c33-a923-4f14-8587-531c474c7b48" providerId="ADAL" clId="{6ECD27E6-B224-41CD-B4E0-E297462320DD}" dt="2023-11-24T08:43:21.833" v="51551"/>
          <ac:spMkLst>
            <pc:docMk/>
            <pc:sldMk cId="1005745348" sldId="686"/>
            <ac:spMk id="336" creationId="{F629408F-3613-FCA1-3AC1-D01E0AC66347}"/>
          </ac:spMkLst>
        </pc:spChg>
        <pc:spChg chg="add del mod">
          <ac:chgData name="Steiner Andreas 6206 ED" userId="e6377c33-a923-4f14-8587-531c474c7b48" providerId="ADAL" clId="{6ECD27E6-B224-41CD-B4E0-E297462320DD}" dt="2023-11-24T08:43:23.760" v="51706"/>
          <ac:spMkLst>
            <pc:docMk/>
            <pc:sldMk cId="1005745348" sldId="686"/>
            <ac:spMk id="337" creationId="{FF6A7056-3EB2-07B5-148A-2518BE1967AE}"/>
          </ac:spMkLst>
        </pc:spChg>
        <pc:spChg chg="add del mod">
          <ac:chgData name="Steiner Andreas 6206 ED" userId="e6377c33-a923-4f14-8587-531c474c7b48" providerId="ADAL" clId="{6ECD27E6-B224-41CD-B4E0-E297462320DD}" dt="2023-11-24T08:43:25.658" v="51861"/>
          <ac:spMkLst>
            <pc:docMk/>
            <pc:sldMk cId="1005745348" sldId="686"/>
            <ac:spMk id="338" creationId="{A812201A-1378-0EC8-BB23-2569D0784632}"/>
          </ac:spMkLst>
        </pc:spChg>
        <pc:spChg chg="add del mod">
          <ac:chgData name="Steiner Andreas 6206 ED" userId="e6377c33-a923-4f14-8587-531c474c7b48" providerId="ADAL" clId="{6ECD27E6-B224-41CD-B4E0-E297462320DD}" dt="2023-11-24T08:43:27.497" v="52016"/>
          <ac:spMkLst>
            <pc:docMk/>
            <pc:sldMk cId="1005745348" sldId="686"/>
            <ac:spMk id="339" creationId="{7439F5F7-974E-8241-1D72-BD14DCC05CCD}"/>
          </ac:spMkLst>
        </pc:spChg>
        <pc:spChg chg="add del mod">
          <ac:chgData name="Steiner Andreas 6206 ED" userId="e6377c33-a923-4f14-8587-531c474c7b48" providerId="ADAL" clId="{6ECD27E6-B224-41CD-B4E0-E297462320DD}" dt="2023-11-24T08:43:29.291" v="52171"/>
          <ac:spMkLst>
            <pc:docMk/>
            <pc:sldMk cId="1005745348" sldId="686"/>
            <ac:spMk id="340" creationId="{53EC1197-4950-E761-A27A-B2AB842FC1A1}"/>
          </ac:spMkLst>
        </pc:spChg>
        <pc:spChg chg="add del mod">
          <ac:chgData name="Steiner Andreas 6206 ED" userId="e6377c33-a923-4f14-8587-531c474c7b48" providerId="ADAL" clId="{6ECD27E6-B224-41CD-B4E0-E297462320DD}" dt="2023-11-24T08:43:31.961" v="52326"/>
          <ac:spMkLst>
            <pc:docMk/>
            <pc:sldMk cId="1005745348" sldId="686"/>
            <ac:spMk id="341" creationId="{AF778C5F-2A90-9433-4124-7109FD081856}"/>
          </ac:spMkLst>
        </pc:spChg>
        <pc:spChg chg="add del mod">
          <ac:chgData name="Steiner Andreas 6206 ED" userId="e6377c33-a923-4f14-8587-531c474c7b48" providerId="ADAL" clId="{6ECD27E6-B224-41CD-B4E0-E297462320DD}" dt="2023-11-24T08:43:34.491" v="52481"/>
          <ac:spMkLst>
            <pc:docMk/>
            <pc:sldMk cId="1005745348" sldId="686"/>
            <ac:spMk id="342" creationId="{6C74F7DD-485D-50D5-EB72-252B9F503500}"/>
          </ac:spMkLst>
        </pc:spChg>
        <pc:spChg chg="add del mod">
          <ac:chgData name="Steiner Andreas 6206 ED" userId="e6377c33-a923-4f14-8587-531c474c7b48" providerId="ADAL" clId="{6ECD27E6-B224-41CD-B4E0-E297462320DD}" dt="2023-11-24T08:43:36.580" v="52636"/>
          <ac:spMkLst>
            <pc:docMk/>
            <pc:sldMk cId="1005745348" sldId="686"/>
            <ac:spMk id="343" creationId="{6A088F67-45B1-128B-A4CB-CCB626B4BB6E}"/>
          </ac:spMkLst>
        </pc:spChg>
        <pc:spChg chg="add del mod">
          <ac:chgData name="Steiner Andreas 6206 ED" userId="e6377c33-a923-4f14-8587-531c474c7b48" providerId="ADAL" clId="{6ECD27E6-B224-41CD-B4E0-E297462320DD}" dt="2023-11-24T08:43:38.681" v="52791"/>
          <ac:spMkLst>
            <pc:docMk/>
            <pc:sldMk cId="1005745348" sldId="686"/>
            <ac:spMk id="344" creationId="{FA8DB854-6F43-F57B-E1DC-2EB92972B2AA}"/>
          </ac:spMkLst>
        </pc:spChg>
        <pc:spChg chg="add del mod">
          <ac:chgData name="Steiner Andreas 6206 ED" userId="e6377c33-a923-4f14-8587-531c474c7b48" providerId="ADAL" clId="{6ECD27E6-B224-41CD-B4E0-E297462320DD}" dt="2023-11-24T08:43:40.798" v="52946"/>
          <ac:spMkLst>
            <pc:docMk/>
            <pc:sldMk cId="1005745348" sldId="686"/>
            <ac:spMk id="345" creationId="{01057216-893E-198C-1A31-D918F4E26FBA}"/>
          </ac:spMkLst>
        </pc:spChg>
        <pc:spChg chg="add del mod">
          <ac:chgData name="Steiner Andreas 6206 ED" userId="e6377c33-a923-4f14-8587-531c474c7b48" providerId="ADAL" clId="{6ECD27E6-B224-41CD-B4E0-E297462320DD}" dt="2023-11-24T08:43:42.777" v="53101"/>
          <ac:spMkLst>
            <pc:docMk/>
            <pc:sldMk cId="1005745348" sldId="686"/>
            <ac:spMk id="346" creationId="{835D225A-2B7C-6456-AD22-37A276671CA0}"/>
          </ac:spMkLst>
        </pc:spChg>
        <pc:spChg chg="add del mod">
          <ac:chgData name="Steiner Andreas 6206 ED" userId="e6377c33-a923-4f14-8587-531c474c7b48" providerId="ADAL" clId="{6ECD27E6-B224-41CD-B4E0-E297462320DD}" dt="2023-11-24T08:43:44.600" v="53256"/>
          <ac:spMkLst>
            <pc:docMk/>
            <pc:sldMk cId="1005745348" sldId="686"/>
            <ac:spMk id="347" creationId="{578AAB1D-2280-FDDE-A769-B3883BC7DA02}"/>
          </ac:spMkLst>
        </pc:spChg>
        <pc:spChg chg="add del mod">
          <ac:chgData name="Steiner Andreas 6206 ED" userId="e6377c33-a923-4f14-8587-531c474c7b48" providerId="ADAL" clId="{6ECD27E6-B224-41CD-B4E0-E297462320DD}" dt="2023-11-24T08:43:46.381" v="53411"/>
          <ac:spMkLst>
            <pc:docMk/>
            <pc:sldMk cId="1005745348" sldId="686"/>
            <ac:spMk id="348" creationId="{5018876D-FCE3-C76B-2BF5-AABB9E686200}"/>
          </ac:spMkLst>
        </pc:spChg>
        <pc:spChg chg="add del mod">
          <ac:chgData name="Steiner Andreas 6206 ED" userId="e6377c33-a923-4f14-8587-531c474c7b48" providerId="ADAL" clId="{6ECD27E6-B224-41CD-B4E0-E297462320DD}" dt="2023-11-24T08:43:48.330" v="53566"/>
          <ac:spMkLst>
            <pc:docMk/>
            <pc:sldMk cId="1005745348" sldId="686"/>
            <ac:spMk id="349" creationId="{9DDE1528-B121-A812-53B2-B81A69045A64}"/>
          </ac:spMkLst>
        </pc:spChg>
        <pc:spChg chg="add del mod">
          <ac:chgData name="Steiner Andreas 6206 ED" userId="e6377c33-a923-4f14-8587-531c474c7b48" providerId="ADAL" clId="{6ECD27E6-B224-41CD-B4E0-E297462320DD}" dt="2023-11-24T08:43:50.295" v="53721"/>
          <ac:spMkLst>
            <pc:docMk/>
            <pc:sldMk cId="1005745348" sldId="686"/>
            <ac:spMk id="350" creationId="{FE2C4D29-2DA0-E3E7-5FAA-3095F76D88BF}"/>
          </ac:spMkLst>
        </pc:spChg>
        <pc:spChg chg="add del mod">
          <ac:chgData name="Steiner Andreas 6206 ED" userId="e6377c33-a923-4f14-8587-531c474c7b48" providerId="ADAL" clId="{6ECD27E6-B224-41CD-B4E0-E297462320DD}" dt="2023-11-24T08:43:52.429" v="53876"/>
          <ac:spMkLst>
            <pc:docMk/>
            <pc:sldMk cId="1005745348" sldId="686"/>
            <ac:spMk id="351" creationId="{F4CD021F-8B9E-CBB2-6209-65163AD45DC1}"/>
          </ac:spMkLst>
        </pc:spChg>
        <pc:spChg chg="add del mod">
          <ac:chgData name="Steiner Andreas 6206 ED" userId="e6377c33-a923-4f14-8587-531c474c7b48" providerId="ADAL" clId="{6ECD27E6-B224-41CD-B4E0-E297462320DD}" dt="2023-11-24T08:43:55.103" v="54031"/>
          <ac:spMkLst>
            <pc:docMk/>
            <pc:sldMk cId="1005745348" sldId="686"/>
            <ac:spMk id="352" creationId="{75609727-976E-EA62-8108-DD564FE3B093}"/>
          </ac:spMkLst>
        </pc:spChg>
        <pc:spChg chg="add del mod">
          <ac:chgData name="Steiner Andreas 6206 ED" userId="e6377c33-a923-4f14-8587-531c474c7b48" providerId="ADAL" clId="{6ECD27E6-B224-41CD-B4E0-E297462320DD}" dt="2023-11-24T08:43:57.157" v="54186"/>
          <ac:spMkLst>
            <pc:docMk/>
            <pc:sldMk cId="1005745348" sldId="686"/>
            <ac:spMk id="353" creationId="{BD67A207-B3A8-1C7F-2A0C-967D4FDB2EE6}"/>
          </ac:spMkLst>
        </pc:spChg>
        <pc:spChg chg="add del mod">
          <ac:chgData name="Steiner Andreas 6206 ED" userId="e6377c33-a923-4f14-8587-531c474c7b48" providerId="ADAL" clId="{6ECD27E6-B224-41CD-B4E0-E297462320DD}" dt="2023-11-24T08:43:59.317" v="54341"/>
          <ac:spMkLst>
            <pc:docMk/>
            <pc:sldMk cId="1005745348" sldId="686"/>
            <ac:spMk id="354" creationId="{3C53866B-1A30-FD4C-8315-A9F02B38EB7D}"/>
          </ac:spMkLst>
        </pc:spChg>
        <pc:spChg chg="add del mod">
          <ac:chgData name="Steiner Andreas 6206 ED" userId="e6377c33-a923-4f14-8587-531c474c7b48" providerId="ADAL" clId="{6ECD27E6-B224-41CD-B4E0-E297462320DD}" dt="2023-11-24T08:44:01.597" v="54496"/>
          <ac:spMkLst>
            <pc:docMk/>
            <pc:sldMk cId="1005745348" sldId="686"/>
            <ac:spMk id="355" creationId="{0D1E1DAC-C9CB-1C19-A6EE-36861E63D609}"/>
          </ac:spMkLst>
        </pc:spChg>
        <pc:spChg chg="add del mod">
          <ac:chgData name="Steiner Andreas 6206 ED" userId="e6377c33-a923-4f14-8587-531c474c7b48" providerId="ADAL" clId="{6ECD27E6-B224-41CD-B4E0-E297462320DD}" dt="2023-11-24T08:44:03.734" v="54651"/>
          <ac:spMkLst>
            <pc:docMk/>
            <pc:sldMk cId="1005745348" sldId="686"/>
            <ac:spMk id="356" creationId="{5CA61ECF-B374-55A8-1A7B-CE585AE80099}"/>
          </ac:spMkLst>
        </pc:spChg>
        <pc:spChg chg="add del mod">
          <ac:chgData name="Steiner Andreas 6206 ED" userId="e6377c33-a923-4f14-8587-531c474c7b48" providerId="ADAL" clId="{6ECD27E6-B224-41CD-B4E0-E297462320DD}" dt="2023-11-24T08:44:05.832" v="54806"/>
          <ac:spMkLst>
            <pc:docMk/>
            <pc:sldMk cId="1005745348" sldId="686"/>
            <ac:spMk id="357" creationId="{4EDC9B0E-3FE3-C56F-D1D2-7B8A5F927D8F}"/>
          </ac:spMkLst>
        </pc:spChg>
        <pc:spChg chg="add del mod">
          <ac:chgData name="Steiner Andreas 6206 ED" userId="e6377c33-a923-4f14-8587-531c474c7b48" providerId="ADAL" clId="{6ECD27E6-B224-41CD-B4E0-E297462320DD}" dt="2023-11-24T08:44:07.800" v="54961"/>
          <ac:spMkLst>
            <pc:docMk/>
            <pc:sldMk cId="1005745348" sldId="686"/>
            <ac:spMk id="358" creationId="{28281784-8B56-0F6F-62F6-E071193B8E8E}"/>
          </ac:spMkLst>
        </pc:spChg>
        <pc:spChg chg="add del mod">
          <ac:chgData name="Steiner Andreas 6206 ED" userId="e6377c33-a923-4f14-8587-531c474c7b48" providerId="ADAL" clId="{6ECD27E6-B224-41CD-B4E0-E297462320DD}" dt="2023-11-24T08:44:09.798" v="55116"/>
          <ac:spMkLst>
            <pc:docMk/>
            <pc:sldMk cId="1005745348" sldId="686"/>
            <ac:spMk id="359" creationId="{8678EF07-CBDE-C9D6-BE73-34CE293B89B2}"/>
          </ac:spMkLst>
        </pc:spChg>
        <pc:spChg chg="add del mod">
          <ac:chgData name="Steiner Andreas 6206 ED" userId="e6377c33-a923-4f14-8587-531c474c7b48" providerId="ADAL" clId="{6ECD27E6-B224-41CD-B4E0-E297462320DD}" dt="2023-11-24T08:44:11.787" v="55271"/>
          <ac:spMkLst>
            <pc:docMk/>
            <pc:sldMk cId="1005745348" sldId="686"/>
            <ac:spMk id="360" creationId="{7C5EF118-2954-1DE3-D340-D084EEEC77C0}"/>
          </ac:spMkLst>
        </pc:spChg>
        <pc:spChg chg="add del mod">
          <ac:chgData name="Steiner Andreas 6206 ED" userId="e6377c33-a923-4f14-8587-531c474c7b48" providerId="ADAL" clId="{6ECD27E6-B224-41CD-B4E0-E297462320DD}" dt="2023-11-24T08:44:13.949" v="55426"/>
          <ac:spMkLst>
            <pc:docMk/>
            <pc:sldMk cId="1005745348" sldId="686"/>
            <ac:spMk id="361" creationId="{86C9EFD0-9D30-4C46-245C-59A4D7132ADA}"/>
          </ac:spMkLst>
        </pc:spChg>
        <pc:spChg chg="add del mod">
          <ac:chgData name="Steiner Andreas 6206 ED" userId="e6377c33-a923-4f14-8587-531c474c7b48" providerId="ADAL" clId="{6ECD27E6-B224-41CD-B4E0-E297462320DD}" dt="2023-11-24T08:44:16.035" v="55581"/>
          <ac:spMkLst>
            <pc:docMk/>
            <pc:sldMk cId="1005745348" sldId="686"/>
            <ac:spMk id="362" creationId="{07C3CF37-03B6-F116-3954-7293C12E2523}"/>
          </ac:spMkLst>
        </pc:spChg>
        <pc:spChg chg="add del mod">
          <ac:chgData name="Steiner Andreas 6206 ED" userId="e6377c33-a923-4f14-8587-531c474c7b48" providerId="ADAL" clId="{6ECD27E6-B224-41CD-B4E0-E297462320DD}" dt="2023-11-24T08:44:18.482" v="55736"/>
          <ac:spMkLst>
            <pc:docMk/>
            <pc:sldMk cId="1005745348" sldId="686"/>
            <ac:spMk id="363" creationId="{28182A9A-2D4C-F012-2EDC-82C9EF95A08F}"/>
          </ac:spMkLst>
        </pc:spChg>
        <pc:spChg chg="add del mod">
          <ac:chgData name="Steiner Andreas 6206 ED" userId="e6377c33-a923-4f14-8587-531c474c7b48" providerId="ADAL" clId="{6ECD27E6-B224-41CD-B4E0-E297462320DD}" dt="2023-11-24T08:44:21.324" v="55891"/>
          <ac:spMkLst>
            <pc:docMk/>
            <pc:sldMk cId="1005745348" sldId="686"/>
            <ac:spMk id="364" creationId="{AB00B4D5-8579-3998-A3CA-A17D046585FB}"/>
          </ac:spMkLst>
        </pc:spChg>
        <pc:spChg chg="add del mod">
          <ac:chgData name="Steiner Andreas 6206 ED" userId="e6377c33-a923-4f14-8587-531c474c7b48" providerId="ADAL" clId="{6ECD27E6-B224-41CD-B4E0-E297462320DD}" dt="2023-11-24T08:44:23.743" v="56046"/>
          <ac:spMkLst>
            <pc:docMk/>
            <pc:sldMk cId="1005745348" sldId="686"/>
            <ac:spMk id="365" creationId="{DA95C916-85F4-452E-3A03-E1E4CFBDAC6A}"/>
          </ac:spMkLst>
        </pc:spChg>
        <pc:spChg chg="add del mod">
          <ac:chgData name="Steiner Andreas 6206 ED" userId="e6377c33-a923-4f14-8587-531c474c7b48" providerId="ADAL" clId="{6ECD27E6-B224-41CD-B4E0-E297462320DD}" dt="2023-11-24T08:44:25.675" v="56201"/>
          <ac:spMkLst>
            <pc:docMk/>
            <pc:sldMk cId="1005745348" sldId="686"/>
            <ac:spMk id="366" creationId="{7067E45E-1ED0-782D-0D7F-7854B837E0D2}"/>
          </ac:spMkLst>
        </pc:spChg>
        <pc:spChg chg="add del mod">
          <ac:chgData name="Steiner Andreas 6206 ED" userId="e6377c33-a923-4f14-8587-531c474c7b48" providerId="ADAL" clId="{6ECD27E6-B224-41CD-B4E0-E297462320DD}" dt="2023-11-24T08:44:27.860" v="56356"/>
          <ac:spMkLst>
            <pc:docMk/>
            <pc:sldMk cId="1005745348" sldId="686"/>
            <ac:spMk id="367" creationId="{97F3CDA3-6D40-2C2E-9AD3-E9BBA9503818}"/>
          </ac:spMkLst>
        </pc:spChg>
        <pc:spChg chg="add del mod">
          <ac:chgData name="Steiner Andreas 6206 ED" userId="e6377c33-a923-4f14-8587-531c474c7b48" providerId="ADAL" clId="{6ECD27E6-B224-41CD-B4E0-E297462320DD}" dt="2023-11-24T08:44:29.869" v="56511"/>
          <ac:spMkLst>
            <pc:docMk/>
            <pc:sldMk cId="1005745348" sldId="686"/>
            <ac:spMk id="368" creationId="{1D409C9F-E71F-985A-8D23-EF1D539EA05B}"/>
          </ac:spMkLst>
        </pc:spChg>
        <pc:spChg chg="add del mod">
          <ac:chgData name="Steiner Andreas 6206 ED" userId="e6377c33-a923-4f14-8587-531c474c7b48" providerId="ADAL" clId="{6ECD27E6-B224-41CD-B4E0-E297462320DD}" dt="2023-11-24T08:44:31.849" v="56666"/>
          <ac:spMkLst>
            <pc:docMk/>
            <pc:sldMk cId="1005745348" sldId="686"/>
            <ac:spMk id="369" creationId="{8DFC22CD-DD45-796A-F316-02DD0EDADA59}"/>
          </ac:spMkLst>
        </pc:spChg>
        <pc:spChg chg="add del mod">
          <ac:chgData name="Steiner Andreas 6206 ED" userId="e6377c33-a923-4f14-8587-531c474c7b48" providerId="ADAL" clId="{6ECD27E6-B224-41CD-B4E0-E297462320DD}" dt="2023-11-24T08:44:33.807" v="56821"/>
          <ac:spMkLst>
            <pc:docMk/>
            <pc:sldMk cId="1005745348" sldId="686"/>
            <ac:spMk id="370" creationId="{0186FB59-75AD-EFB6-7AD8-8F292C2F7B29}"/>
          </ac:spMkLst>
        </pc:spChg>
        <pc:spChg chg="add del mod">
          <ac:chgData name="Steiner Andreas 6206 ED" userId="e6377c33-a923-4f14-8587-531c474c7b48" providerId="ADAL" clId="{6ECD27E6-B224-41CD-B4E0-E297462320DD}" dt="2023-11-24T08:44:36.194" v="56976"/>
          <ac:spMkLst>
            <pc:docMk/>
            <pc:sldMk cId="1005745348" sldId="686"/>
            <ac:spMk id="371" creationId="{4DBC1139-63B0-B2C1-F9B2-85A156289813}"/>
          </ac:spMkLst>
        </pc:spChg>
        <pc:spChg chg="add del mod">
          <ac:chgData name="Steiner Andreas 6206 ED" userId="e6377c33-a923-4f14-8587-531c474c7b48" providerId="ADAL" clId="{6ECD27E6-B224-41CD-B4E0-E297462320DD}" dt="2023-11-24T08:44:38.805" v="57131"/>
          <ac:spMkLst>
            <pc:docMk/>
            <pc:sldMk cId="1005745348" sldId="686"/>
            <ac:spMk id="372" creationId="{E24862F1-A9C3-B864-E6CE-22E7698ECA49}"/>
          </ac:spMkLst>
        </pc:spChg>
        <pc:spChg chg="add del mod">
          <ac:chgData name="Steiner Andreas 6206 ED" userId="e6377c33-a923-4f14-8587-531c474c7b48" providerId="ADAL" clId="{6ECD27E6-B224-41CD-B4E0-E297462320DD}" dt="2023-11-24T08:44:41.117" v="57286"/>
          <ac:spMkLst>
            <pc:docMk/>
            <pc:sldMk cId="1005745348" sldId="686"/>
            <ac:spMk id="373" creationId="{09AFC31D-1F8E-25AB-77E3-D4A73CCC55CE}"/>
          </ac:spMkLst>
        </pc:spChg>
        <pc:spChg chg="add del mod">
          <ac:chgData name="Steiner Andreas 6206 ED" userId="e6377c33-a923-4f14-8587-531c474c7b48" providerId="ADAL" clId="{6ECD27E6-B224-41CD-B4E0-E297462320DD}" dt="2023-11-24T08:44:43.338" v="57441"/>
          <ac:spMkLst>
            <pc:docMk/>
            <pc:sldMk cId="1005745348" sldId="686"/>
            <ac:spMk id="374" creationId="{8DB3F115-733F-C3AA-470D-2F1E2D44631C}"/>
          </ac:spMkLst>
        </pc:spChg>
        <pc:spChg chg="add del mod">
          <ac:chgData name="Steiner Andreas 6206 ED" userId="e6377c33-a923-4f14-8587-531c474c7b48" providerId="ADAL" clId="{6ECD27E6-B224-41CD-B4E0-E297462320DD}" dt="2023-11-24T08:44:45.488" v="57596"/>
          <ac:spMkLst>
            <pc:docMk/>
            <pc:sldMk cId="1005745348" sldId="686"/>
            <ac:spMk id="375" creationId="{ECF28618-1457-1F1A-A473-ABEDAF87D629}"/>
          </ac:spMkLst>
        </pc:spChg>
        <pc:spChg chg="add del mod">
          <ac:chgData name="Steiner Andreas 6206 ED" userId="e6377c33-a923-4f14-8587-531c474c7b48" providerId="ADAL" clId="{6ECD27E6-B224-41CD-B4E0-E297462320DD}" dt="2023-11-24T08:44:48.229" v="57751"/>
          <ac:spMkLst>
            <pc:docMk/>
            <pc:sldMk cId="1005745348" sldId="686"/>
            <ac:spMk id="376" creationId="{84C89293-F2BD-378F-B125-21C6DF6F682E}"/>
          </ac:spMkLst>
        </pc:spChg>
        <pc:spChg chg="add del mod">
          <ac:chgData name="Steiner Andreas 6206 ED" userId="e6377c33-a923-4f14-8587-531c474c7b48" providerId="ADAL" clId="{6ECD27E6-B224-41CD-B4E0-E297462320DD}" dt="2023-11-24T08:44:50.498" v="57906"/>
          <ac:spMkLst>
            <pc:docMk/>
            <pc:sldMk cId="1005745348" sldId="686"/>
            <ac:spMk id="377" creationId="{446A2359-361F-0D6E-12C0-75160BCCCF65}"/>
          </ac:spMkLst>
        </pc:spChg>
        <pc:spChg chg="add del mod">
          <ac:chgData name="Steiner Andreas 6206 ED" userId="e6377c33-a923-4f14-8587-531c474c7b48" providerId="ADAL" clId="{6ECD27E6-B224-41CD-B4E0-E297462320DD}" dt="2023-11-24T08:44:52.643" v="58061"/>
          <ac:spMkLst>
            <pc:docMk/>
            <pc:sldMk cId="1005745348" sldId="686"/>
            <ac:spMk id="378" creationId="{12C703D5-5E99-CAFB-DE90-EE84B0E0611E}"/>
          </ac:spMkLst>
        </pc:spChg>
        <pc:spChg chg="add del mod">
          <ac:chgData name="Steiner Andreas 6206 ED" userId="e6377c33-a923-4f14-8587-531c474c7b48" providerId="ADAL" clId="{6ECD27E6-B224-41CD-B4E0-E297462320DD}" dt="2023-11-24T08:44:54.837" v="58216"/>
          <ac:spMkLst>
            <pc:docMk/>
            <pc:sldMk cId="1005745348" sldId="686"/>
            <ac:spMk id="379" creationId="{8C0CC9FD-DA36-5CC4-024E-FC5DB57CBE44}"/>
          </ac:spMkLst>
        </pc:spChg>
        <pc:spChg chg="add del mod">
          <ac:chgData name="Steiner Andreas 6206 ED" userId="e6377c33-a923-4f14-8587-531c474c7b48" providerId="ADAL" clId="{6ECD27E6-B224-41CD-B4E0-E297462320DD}" dt="2023-11-24T08:44:56.858" v="58371"/>
          <ac:spMkLst>
            <pc:docMk/>
            <pc:sldMk cId="1005745348" sldId="686"/>
            <ac:spMk id="380" creationId="{1759EFB5-CE4E-EAD9-7B5A-A47E86F0300E}"/>
          </ac:spMkLst>
        </pc:spChg>
        <pc:spChg chg="add del mod">
          <ac:chgData name="Steiner Andreas 6206 ED" userId="e6377c33-a923-4f14-8587-531c474c7b48" providerId="ADAL" clId="{6ECD27E6-B224-41CD-B4E0-E297462320DD}" dt="2023-11-24T08:44:58.792" v="58526"/>
          <ac:spMkLst>
            <pc:docMk/>
            <pc:sldMk cId="1005745348" sldId="686"/>
            <ac:spMk id="381" creationId="{668A6E57-B172-E635-F4FB-257328F6F8AA}"/>
          </ac:spMkLst>
        </pc:spChg>
        <pc:spChg chg="add del mod">
          <ac:chgData name="Steiner Andreas 6206 ED" userId="e6377c33-a923-4f14-8587-531c474c7b48" providerId="ADAL" clId="{6ECD27E6-B224-41CD-B4E0-E297462320DD}" dt="2023-11-24T08:45:00.953" v="58681"/>
          <ac:spMkLst>
            <pc:docMk/>
            <pc:sldMk cId="1005745348" sldId="686"/>
            <ac:spMk id="382" creationId="{06EB84EB-55E0-D95E-8CF8-3E5F774ECFF4}"/>
          </ac:spMkLst>
        </pc:spChg>
        <pc:spChg chg="add del mod">
          <ac:chgData name="Steiner Andreas 6206 ED" userId="e6377c33-a923-4f14-8587-531c474c7b48" providerId="ADAL" clId="{6ECD27E6-B224-41CD-B4E0-E297462320DD}" dt="2023-11-24T08:45:02.875" v="58836"/>
          <ac:spMkLst>
            <pc:docMk/>
            <pc:sldMk cId="1005745348" sldId="686"/>
            <ac:spMk id="383" creationId="{7FCBD4B8-AE75-6BA1-7C1D-62D331464E13}"/>
          </ac:spMkLst>
        </pc:spChg>
        <pc:spChg chg="add del mod">
          <ac:chgData name="Steiner Andreas 6206 ED" userId="e6377c33-a923-4f14-8587-531c474c7b48" providerId="ADAL" clId="{6ECD27E6-B224-41CD-B4E0-E297462320DD}" dt="2023-11-24T08:45:04.725" v="58991"/>
          <ac:spMkLst>
            <pc:docMk/>
            <pc:sldMk cId="1005745348" sldId="686"/>
            <ac:spMk id="384" creationId="{5297A1D5-6380-436E-D0A5-6147BE2BB3DB}"/>
          </ac:spMkLst>
        </pc:spChg>
        <pc:spChg chg="add del mod">
          <ac:chgData name="Steiner Andreas 6206 ED" userId="e6377c33-a923-4f14-8587-531c474c7b48" providerId="ADAL" clId="{6ECD27E6-B224-41CD-B4E0-E297462320DD}" dt="2023-11-24T08:45:06.583" v="59146"/>
          <ac:spMkLst>
            <pc:docMk/>
            <pc:sldMk cId="1005745348" sldId="686"/>
            <ac:spMk id="385" creationId="{266D7D8F-F7B7-A003-7758-63394715FF11}"/>
          </ac:spMkLst>
        </pc:spChg>
        <pc:spChg chg="add del mod">
          <ac:chgData name="Steiner Andreas 6206 ED" userId="e6377c33-a923-4f14-8587-531c474c7b48" providerId="ADAL" clId="{6ECD27E6-B224-41CD-B4E0-E297462320DD}" dt="2023-11-24T08:45:08.412" v="59301"/>
          <ac:spMkLst>
            <pc:docMk/>
            <pc:sldMk cId="1005745348" sldId="686"/>
            <ac:spMk id="386" creationId="{B0C00CA0-26D0-104C-48CB-3677627E4A3B}"/>
          </ac:spMkLst>
        </pc:spChg>
        <pc:spChg chg="add del mod">
          <ac:chgData name="Steiner Andreas 6206 ED" userId="e6377c33-a923-4f14-8587-531c474c7b48" providerId="ADAL" clId="{6ECD27E6-B224-41CD-B4E0-E297462320DD}" dt="2023-11-24T08:45:10.227" v="59456"/>
          <ac:spMkLst>
            <pc:docMk/>
            <pc:sldMk cId="1005745348" sldId="686"/>
            <ac:spMk id="387" creationId="{9E7590EE-AD9A-0CDD-5A56-B4771C56F56F}"/>
          </ac:spMkLst>
        </pc:spChg>
        <pc:spChg chg="add del mod">
          <ac:chgData name="Steiner Andreas 6206 ED" userId="e6377c33-a923-4f14-8587-531c474c7b48" providerId="ADAL" clId="{6ECD27E6-B224-41CD-B4E0-E297462320DD}" dt="2023-11-24T08:45:12.308" v="59611"/>
          <ac:spMkLst>
            <pc:docMk/>
            <pc:sldMk cId="1005745348" sldId="686"/>
            <ac:spMk id="388" creationId="{2893F4E4-B48F-6B6D-494F-D60C15F04854}"/>
          </ac:spMkLst>
        </pc:spChg>
        <pc:spChg chg="add del mod">
          <ac:chgData name="Steiner Andreas 6206 ED" userId="e6377c33-a923-4f14-8587-531c474c7b48" providerId="ADAL" clId="{6ECD27E6-B224-41CD-B4E0-E297462320DD}" dt="2023-11-24T08:45:14.242" v="59766"/>
          <ac:spMkLst>
            <pc:docMk/>
            <pc:sldMk cId="1005745348" sldId="686"/>
            <ac:spMk id="389" creationId="{BAA8E40C-A0C5-35A0-E63E-6253E25E292B}"/>
          </ac:spMkLst>
        </pc:spChg>
        <pc:spChg chg="add del mod">
          <ac:chgData name="Steiner Andreas 6206 ED" userId="e6377c33-a923-4f14-8587-531c474c7b48" providerId="ADAL" clId="{6ECD27E6-B224-41CD-B4E0-E297462320DD}" dt="2023-11-24T08:45:16.313" v="59921"/>
          <ac:spMkLst>
            <pc:docMk/>
            <pc:sldMk cId="1005745348" sldId="686"/>
            <ac:spMk id="390" creationId="{BECD764A-C1DA-EA21-AB8F-54648F6E7020}"/>
          </ac:spMkLst>
        </pc:spChg>
        <pc:spChg chg="add del mod">
          <ac:chgData name="Steiner Andreas 6206 ED" userId="e6377c33-a923-4f14-8587-531c474c7b48" providerId="ADAL" clId="{6ECD27E6-B224-41CD-B4E0-E297462320DD}" dt="2023-11-24T08:45:18.254" v="60076"/>
          <ac:spMkLst>
            <pc:docMk/>
            <pc:sldMk cId="1005745348" sldId="686"/>
            <ac:spMk id="391" creationId="{768D677D-B601-4951-53C4-6503CA5B2511}"/>
          </ac:spMkLst>
        </pc:spChg>
        <pc:spChg chg="add del mod">
          <ac:chgData name="Steiner Andreas 6206 ED" userId="e6377c33-a923-4f14-8587-531c474c7b48" providerId="ADAL" clId="{6ECD27E6-B224-41CD-B4E0-E297462320DD}" dt="2023-11-24T08:45:20.150" v="60231"/>
          <ac:spMkLst>
            <pc:docMk/>
            <pc:sldMk cId="1005745348" sldId="686"/>
            <ac:spMk id="392" creationId="{52EBB73A-9C0C-110D-EC0E-2CCD67FE8FC2}"/>
          </ac:spMkLst>
        </pc:spChg>
        <pc:spChg chg="add del mod">
          <ac:chgData name="Steiner Andreas 6206 ED" userId="e6377c33-a923-4f14-8587-531c474c7b48" providerId="ADAL" clId="{6ECD27E6-B224-41CD-B4E0-E297462320DD}" dt="2023-11-24T08:45:22.290" v="60386"/>
          <ac:spMkLst>
            <pc:docMk/>
            <pc:sldMk cId="1005745348" sldId="686"/>
            <ac:spMk id="393" creationId="{E5F17D90-3852-4F69-0E3B-EC1088F4CD6A}"/>
          </ac:spMkLst>
        </pc:spChg>
        <pc:spChg chg="add del mod">
          <ac:chgData name="Steiner Andreas 6206 ED" userId="e6377c33-a923-4f14-8587-531c474c7b48" providerId="ADAL" clId="{6ECD27E6-B224-41CD-B4E0-E297462320DD}" dt="2023-11-24T08:45:24.495" v="60541"/>
          <ac:spMkLst>
            <pc:docMk/>
            <pc:sldMk cId="1005745348" sldId="686"/>
            <ac:spMk id="394" creationId="{EDBB3DA0-EA63-53E9-C0C5-359357B13877}"/>
          </ac:spMkLst>
        </pc:spChg>
        <pc:spChg chg="add del mod">
          <ac:chgData name="Steiner Andreas 6206 ED" userId="e6377c33-a923-4f14-8587-531c474c7b48" providerId="ADAL" clId="{6ECD27E6-B224-41CD-B4E0-E297462320DD}" dt="2023-11-24T08:45:26.460" v="60696"/>
          <ac:spMkLst>
            <pc:docMk/>
            <pc:sldMk cId="1005745348" sldId="686"/>
            <ac:spMk id="395" creationId="{20546FD2-5E5C-B62A-4EFC-319FAE98B884}"/>
          </ac:spMkLst>
        </pc:spChg>
        <pc:spChg chg="add del mod">
          <ac:chgData name="Steiner Andreas 6206 ED" userId="e6377c33-a923-4f14-8587-531c474c7b48" providerId="ADAL" clId="{6ECD27E6-B224-41CD-B4E0-E297462320DD}" dt="2023-11-24T08:45:28.352" v="60851"/>
          <ac:spMkLst>
            <pc:docMk/>
            <pc:sldMk cId="1005745348" sldId="686"/>
            <ac:spMk id="396" creationId="{7493EAE1-9B2D-55F5-74C2-C4898085BCB6}"/>
          </ac:spMkLst>
        </pc:spChg>
        <pc:spChg chg="add del mod">
          <ac:chgData name="Steiner Andreas 6206 ED" userId="e6377c33-a923-4f14-8587-531c474c7b48" providerId="ADAL" clId="{6ECD27E6-B224-41CD-B4E0-E297462320DD}" dt="2023-11-24T08:45:30.176" v="61006"/>
          <ac:spMkLst>
            <pc:docMk/>
            <pc:sldMk cId="1005745348" sldId="686"/>
            <ac:spMk id="397" creationId="{36A199F3-EBE3-C9F4-16A8-6E71DD5EAC1D}"/>
          </ac:spMkLst>
        </pc:spChg>
        <pc:spChg chg="add del mod">
          <ac:chgData name="Steiner Andreas 6206 ED" userId="e6377c33-a923-4f14-8587-531c474c7b48" providerId="ADAL" clId="{6ECD27E6-B224-41CD-B4E0-E297462320DD}" dt="2023-11-24T08:45:32.048" v="61161"/>
          <ac:spMkLst>
            <pc:docMk/>
            <pc:sldMk cId="1005745348" sldId="686"/>
            <ac:spMk id="398" creationId="{14C918CC-C8F7-7D12-AB22-945903B3ADBB}"/>
          </ac:spMkLst>
        </pc:spChg>
        <pc:spChg chg="add del mod">
          <ac:chgData name="Steiner Andreas 6206 ED" userId="e6377c33-a923-4f14-8587-531c474c7b48" providerId="ADAL" clId="{6ECD27E6-B224-41CD-B4E0-E297462320DD}" dt="2023-11-24T08:45:34.172" v="61316"/>
          <ac:spMkLst>
            <pc:docMk/>
            <pc:sldMk cId="1005745348" sldId="686"/>
            <ac:spMk id="399" creationId="{F5211A86-C91B-0736-840B-A70AEAFBAB37}"/>
          </ac:spMkLst>
        </pc:spChg>
        <pc:spChg chg="add del mod">
          <ac:chgData name="Steiner Andreas 6206 ED" userId="e6377c33-a923-4f14-8587-531c474c7b48" providerId="ADAL" clId="{6ECD27E6-B224-41CD-B4E0-E297462320DD}" dt="2023-11-24T08:45:36.228" v="61471"/>
          <ac:spMkLst>
            <pc:docMk/>
            <pc:sldMk cId="1005745348" sldId="686"/>
            <ac:spMk id="400" creationId="{916939A0-CDDE-C8FA-FD82-3D0196006E0B}"/>
          </ac:spMkLst>
        </pc:spChg>
        <pc:spChg chg="add del mod">
          <ac:chgData name="Steiner Andreas 6206 ED" userId="e6377c33-a923-4f14-8587-531c474c7b48" providerId="ADAL" clId="{6ECD27E6-B224-41CD-B4E0-E297462320DD}" dt="2023-11-24T08:45:38.118" v="61626"/>
          <ac:spMkLst>
            <pc:docMk/>
            <pc:sldMk cId="1005745348" sldId="686"/>
            <ac:spMk id="401" creationId="{5D8CF93B-254A-6F9E-4AE7-8B283D96D95A}"/>
          </ac:spMkLst>
        </pc:spChg>
        <pc:spChg chg="add del mod">
          <ac:chgData name="Steiner Andreas 6206 ED" userId="e6377c33-a923-4f14-8587-531c474c7b48" providerId="ADAL" clId="{6ECD27E6-B224-41CD-B4E0-E297462320DD}" dt="2023-11-24T08:45:39.996" v="61781"/>
          <ac:spMkLst>
            <pc:docMk/>
            <pc:sldMk cId="1005745348" sldId="686"/>
            <ac:spMk id="402" creationId="{B9B1AA3F-E0C0-B24D-37A7-8D76DF2C83BE}"/>
          </ac:spMkLst>
        </pc:spChg>
        <pc:spChg chg="add del mod">
          <ac:chgData name="Steiner Andreas 6206 ED" userId="e6377c33-a923-4f14-8587-531c474c7b48" providerId="ADAL" clId="{6ECD27E6-B224-41CD-B4E0-E297462320DD}" dt="2023-11-24T08:45:42.004" v="61936"/>
          <ac:spMkLst>
            <pc:docMk/>
            <pc:sldMk cId="1005745348" sldId="686"/>
            <ac:spMk id="403" creationId="{8EAC0D5B-C366-8CFD-80D4-933F252214CF}"/>
          </ac:spMkLst>
        </pc:spChg>
        <pc:spChg chg="add del mod">
          <ac:chgData name="Steiner Andreas 6206 ED" userId="e6377c33-a923-4f14-8587-531c474c7b48" providerId="ADAL" clId="{6ECD27E6-B224-41CD-B4E0-E297462320DD}" dt="2023-11-24T08:45:43.990" v="62091"/>
          <ac:spMkLst>
            <pc:docMk/>
            <pc:sldMk cId="1005745348" sldId="686"/>
            <ac:spMk id="404" creationId="{E3A39304-2533-B40F-F5EA-D136C48B6D11}"/>
          </ac:spMkLst>
        </pc:spChg>
        <pc:spChg chg="add del mod">
          <ac:chgData name="Steiner Andreas 6206 ED" userId="e6377c33-a923-4f14-8587-531c474c7b48" providerId="ADAL" clId="{6ECD27E6-B224-41CD-B4E0-E297462320DD}" dt="2023-11-24T08:45:46.096" v="62246"/>
          <ac:spMkLst>
            <pc:docMk/>
            <pc:sldMk cId="1005745348" sldId="686"/>
            <ac:spMk id="405" creationId="{4E67EF57-DE03-EC50-E68D-68B760F7F18F}"/>
          </ac:spMkLst>
        </pc:spChg>
        <pc:spChg chg="add del mod">
          <ac:chgData name="Steiner Andreas 6206 ED" userId="e6377c33-a923-4f14-8587-531c474c7b48" providerId="ADAL" clId="{6ECD27E6-B224-41CD-B4E0-E297462320DD}" dt="2023-11-24T08:45:47.999" v="62401"/>
          <ac:spMkLst>
            <pc:docMk/>
            <pc:sldMk cId="1005745348" sldId="686"/>
            <ac:spMk id="406" creationId="{8C4E81C5-384C-CEB9-22CC-1EE692B3A612}"/>
          </ac:spMkLst>
        </pc:spChg>
        <pc:spChg chg="add del mod">
          <ac:chgData name="Steiner Andreas 6206 ED" userId="e6377c33-a923-4f14-8587-531c474c7b48" providerId="ADAL" clId="{6ECD27E6-B224-41CD-B4E0-E297462320DD}" dt="2023-11-24T08:45:50.311" v="62556"/>
          <ac:spMkLst>
            <pc:docMk/>
            <pc:sldMk cId="1005745348" sldId="686"/>
            <ac:spMk id="407" creationId="{83961650-0ED5-5A56-D2C9-A1F112B548A4}"/>
          </ac:spMkLst>
        </pc:spChg>
        <pc:spChg chg="add del mod">
          <ac:chgData name="Steiner Andreas 6206 ED" userId="e6377c33-a923-4f14-8587-531c474c7b48" providerId="ADAL" clId="{6ECD27E6-B224-41CD-B4E0-E297462320DD}" dt="2023-11-24T08:45:52.346" v="62711"/>
          <ac:spMkLst>
            <pc:docMk/>
            <pc:sldMk cId="1005745348" sldId="686"/>
            <ac:spMk id="408" creationId="{FDAF46E4-63AE-015E-CCF4-D25A8FF8FB6E}"/>
          </ac:spMkLst>
        </pc:spChg>
        <pc:spChg chg="add del mod">
          <ac:chgData name="Steiner Andreas 6206 ED" userId="e6377c33-a923-4f14-8587-531c474c7b48" providerId="ADAL" clId="{6ECD27E6-B224-41CD-B4E0-E297462320DD}" dt="2023-11-24T08:45:54.368" v="62866"/>
          <ac:spMkLst>
            <pc:docMk/>
            <pc:sldMk cId="1005745348" sldId="686"/>
            <ac:spMk id="409" creationId="{1989BA3C-8E18-1EF8-FB6B-8C95BEA194F9}"/>
          </ac:spMkLst>
        </pc:spChg>
        <pc:spChg chg="add del mod">
          <ac:chgData name="Steiner Andreas 6206 ED" userId="e6377c33-a923-4f14-8587-531c474c7b48" providerId="ADAL" clId="{6ECD27E6-B224-41CD-B4E0-E297462320DD}" dt="2023-11-24T08:45:56.542" v="63021"/>
          <ac:spMkLst>
            <pc:docMk/>
            <pc:sldMk cId="1005745348" sldId="686"/>
            <ac:spMk id="410" creationId="{CDE60D3F-075B-BB39-847E-F682E75A0329}"/>
          </ac:spMkLst>
        </pc:spChg>
        <pc:spChg chg="add del mod">
          <ac:chgData name="Steiner Andreas 6206 ED" userId="e6377c33-a923-4f14-8587-531c474c7b48" providerId="ADAL" clId="{6ECD27E6-B224-41CD-B4E0-E297462320DD}" dt="2023-11-24T08:45:58.581" v="63176"/>
          <ac:spMkLst>
            <pc:docMk/>
            <pc:sldMk cId="1005745348" sldId="686"/>
            <ac:spMk id="411" creationId="{6E8F0BD1-57F9-05CA-0808-0D8387D49B68}"/>
          </ac:spMkLst>
        </pc:spChg>
        <pc:spChg chg="add del mod">
          <ac:chgData name="Steiner Andreas 6206 ED" userId="e6377c33-a923-4f14-8587-531c474c7b48" providerId="ADAL" clId="{6ECD27E6-B224-41CD-B4E0-E297462320DD}" dt="2023-11-24T08:46:00.665" v="63331"/>
          <ac:spMkLst>
            <pc:docMk/>
            <pc:sldMk cId="1005745348" sldId="686"/>
            <ac:spMk id="412" creationId="{7EDB9699-11D4-C5D8-056D-B6E10EF282FC}"/>
          </ac:spMkLst>
        </pc:spChg>
        <pc:spChg chg="add del mod">
          <ac:chgData name="Steiner Andreas 6206 ED" userId="e6377c33-a923-4f14-8587-531c474c7b48" providerId="ADAL" clId="{6ECD27E6-B224-41CD-B4E0-E297462320DD}" dt="2023-11-24T08:46:02.740" v="63486"/>
          <ac:spMkLst>
            <pc:docMk/>
            <pc:sldMk cId="1005745348" sldId="686"/>
            <ac:spMk id="413" creationId="{45D89E64-8837-128C-8503-86667D1D8DCB}"/>
          </ac:spMkLst>
        </pc:spChg>
        <pc:spChg chg="add del mod">
          <ac:chgData name="Steiner Andreas 6206 ED" userId="e6377c33-a923-4f14-8587-531c474c7b48" providerId="ADAL" clId="{6ECD27E6-B224-41CD-B4E0-E297462320DD}" dt="2023-11-24T08:46:05.105" v="63641"/>
          <ac:spMkLst>
            <pc:docMk/>
            <pc:sldMk cId="1005745348" sldId="686"/>
            <ac:spMk id="414" creationId="{499AEFD6-49FD-B2D8-EBEC-2103FCD08B09}"/>
          </ac:spMkLst>
        </pc:spChg>
        <pc:spChg chg="add del mod">
          <ac:chgData name="Steiner Andreas 6206 ED" userId="e6377c33-a923-4f14-8587-531c474c7b48" providerId="ADAL" clId="{6ECD27E6-B224-41CD-B4E0-E297462320DD}" dt="2023-11-24T08:46:07.658" v="63796"/>
          <ac:spMkLst>
            <pc:docMk/>
            <pc:sldMk cId="1005745348" sldId="686"/>
            <ac:spMk id="415" creationId="{5962F624-0535-1959-7DD5-E50A6CE48C33}"/>
          </ac:spMkLst>
        </pc:spChg>
        <pc:spChg chg="add del mod">
          <ac:chgData name="Steiner Andreas 6206 ED" userId="e6377c33-a923-4f14-8587-531c474c7b48" providerId="ADAL" clId="{6ECD27E6-B224-41CD-B4E0-E297462320DD}" dt="2023-11-24T08:46:09.857" v="63951"/>
          <ac:spMkLst>
            <pc:docMk/>
            <pc:sldMk cId="1005745348" sldId="686"/>
            <ac:spMk id="416" creationId="{1156F74A-4C03-3AA4-01B3-AF577A006196}"/>
          </ac:spMkLst>
        </pc:spChg>
        <pc:spChg chg="add del mod">
          <ac:chgData name="Steiner Andreas 6206 ED" userId="e6377c33-a923-4f14-8587-531c474c7b48" providerId="ADAL" clId="{6ECD27E6-B224-41CD-B4E0-E297462320DD}" dt="2023-11-24T08:46:12.039" v="64106"/>
          <ac:spMkLst>
            <pc:docMk/>
            <pc:sldMk cId="1005745348" sldId="686"/>
            <ac:spMk id="417" creationId="{D86F6920-1E77-3435-EBCC-BD38C51C61F6}"/>
          </ac:spMkLst>
        </pc:spChg>
        <pc:spChg chg="add del mod">
          <ac:chgData name="Steiner Andreas 6206 ED" userId="e6377c33-a923-4f14-8587-531c474c7b48" providerId="ADAL" clId="{6ECD27E6-B224-41CD-B4E0-E297462320DD}" dt="2023-11-24T08:46:14.199" v="64261"/>
          <ac:spMkLst>
            <pc:docMk/>
            <pc:sldMk cId="1005745348" sldId="686"/>
            <ac:spMk id="418" creationId="{1B4AAD1B-E220-C314-D96C-5315F222B070}"/>
          </ac:spMkLst>
        </pc:spChg>
        <pc:spChg chg="add del mod">
          <ac:chgData name="Steiner Andreas 6206 ED" userId="e6377c33-a923-4f14-8587-531c474c7b48" providerId="ADAL" clId="{6ECD27E6-B224-41CD-B4E0-E297462320DD}" dt="2023-11-24T08:46:16.425" v="64416"/>
          <ac:spMkLst>
            <pc:docMk/>
            <pc:sldMk cId="1005745348" sldId="686"/>
            <ac:spMk id="419" creationId="{9079E393-13B7-1B57-AAAF-076799CC51CF}"/>
          </ac:spMkLst>
        </pc:spChg>
        <pc:spChg chg="add del mod">
          <ac:chgData name="Steiner Andreas 6206 ED" userId="e6377c33-a923-4f14-8587-531c474c7b48" providerId="ADAL" clId="{6ECD27E6-B224-41CD-B4E0-E297462320DD}" dt="2023-11-24T08:46:18.293" v="64571"/>
          <ac:spMkLst>
            <pc:docMk/>
            <pc:sldMk cId="1005745348" sldId="686"/>
            <ac:spMk id="420" creationId="{BF7C3D6A-9323-65DF-A599-2C9F06B18DA5}"/>
          </ac:spMkLst>
        </pc:spChg>
        <pc:spChg chg="add del mod">
          <ac:chgData name="Steiner Andreas 6206 ED" userId="e6377c33-a923-4f14-8587-531c474c7b48" providerId="ADAL" clId="{6ECD27E6-B224-41CD-B4E0-E297462320DD}" dt="2023-11-24T08:46:20.805" v="64726"/>
          <ac:spMkLst>
            <pc:docMk/>
            <pc:sldMk cId="1005745348" sldId="686"/>
            <ac:spMk id="421" creationId="{1E9807C8-9A3B-C6CC-A5B6-25C2E6BF1453}"/>
          </ac:spMkLst>
        </pc:spChg>
        <pc:spChg chg="add del mod">
          <ac:chgData name="Steiner Andreas 6206 ED" userId="e6377c33-a923-4f14-8587-531c474c7b48" providerId="ADAL" clId="{6ECD27E6-B224-41CD-B4E0-E297462320DD}" dt="2023-11-24T08:46:23.063" v="64881"/>
          <ac:spMkLst>
            <pc:docMk/>
            <pc:sldMk cId="1005745348" sldId="686"/>
            <ac:spMk id="422" creationId="{F149F26C-F07A-EA88-BC80-7A53F403376F}"/>
          </ac:spMkLst>
        </pc:spChg>
        <pc:spChg chg="add del mod">
          <ac:chgData name="Steiner Andreas 6206 ED" userId="e6377c33-a923-4f14-8587-531c474c7b48" providerId="ADAL" clId="{6ECD27E6-B224-41CD-B4E0-E297462320DD}" dt="2023-11-24T08:46:25.330" v="65036"/>
          <ac:spMkLst>
            <pc:docMk/>
            <pc:sldMk cId="1005745348" sldId="686"/>
            <ac:spMk id="423" creationId="{3818C199-0D36-5830-25A6-B99F4FAA1CDB}"/>
          </ac:spMkLst>
        </pc:spChg>
        <pc:spChg chg="add del mod">
          <ac:chgData name="Steiner Andreas 6206 ED" userId="e6377c33-a923-4f14-8587-531c474c7b48" providerId="ADAL" clId="{6ECD27E6-B224-41CD-B4E0-E297462320DD}" dt="2023-11-24T08:46:27.658" v="65191"/>
          <ac:spMkLst>
            <pc:docMk/>
            <pc:sldMk cId="1005745348" sldId="686"/>
            <ac:spMk id="424" creationId="{90850035-9987-D883-1579-CA03158E5077}"/>
          </ac:spMkLst>
        </pc:spChg>
        <pc:spChg chg="add del mod">
          <ac:chgData name="Steiner Andreas 6206 ED" userId="e6377c33-a923-4f14-8587-531c474c7b48" providerId="ADAL" clId="{6ECD27E6-B224-41CD-B4E0-E297462320DD}" dt="2023-11-24T08:46:29.673" v="65346"/>
          <ac:spMkLst>
            <pc:docMk/>
            <pc:sldMk cId="1005745348" sldId="686"/>
            <ac:spMk id="425" creationId="{FF6CD6CE-1839-DEF9-BB39-391B2B82208E}"/>
          </ac:spMkLst>
        </pc:spChg>
        <pc:spChg chg="add del mod">
          <ac:chgData name="Steiner Andreas 6206 ED" userId="e6377c33-a923-4f14-8587-531c474c7b48" providerId="ADAL" clId="{6ECD27E6-B224-41CD-B4E0-E297462320DD}" dt="2023-11-24T08:46:32.152" v="65501"/>
          <ac:spMkLst>
            <pc:docMk/>
            <pc:sldMk cId="1005745348" sldId="686"/>
            <ac:spMk id="426" creationId="{0515FDEF-BDD9-7296-B3D4-F8622A7845DA}"/>
          </ac:spMkLst>
        </pc:spChg>
        <pc:spChg chg="add del mod">
          <ac:chgData name="Steiner Andreas 6206 ED" userId="e6377c33-a923-4f14-8587-531c474c7b48" providerId="ADAL" clId="{6ECD27E6-B224-41CD-B4E0-E297462320DD}" dt="2023-11-24T08:46:34.227" v="65656"/>
          <ac:spMkLst>
            <pc:docMk/>
            <pc:sldMk cId="1005745348" sldId="686"/>
            <ac:spMk id="427" creationId="{D00EAA5A-1B87-3BB5-F1F0-243FD4D75452}"/>
          </ac:spMkLst>
        </pc:spChg>
        <pc:spChg chg="add del mod">
          <ac:chgData name="Steiner Andreas 6206 ED" userId="e6377c33-a923-4f14-8587-531c474c7b48" providerId="ADAL" clId="{6ECD27E6-B224-41CD-B4E0-E297462320DD}" dt="2023-11-24T08:46:36.160" v="65811"/>
          <ac:spMkLst>
            <pc:docMk/>
            <pc:sldMk cId="1005745348" sldId="686"/>
            <ac:spMk id="428" creationId="{1832FD1F-D2EF-657E-A9DF-98A09EB49B37}"/>
          </ac:spMkLst>
        </pc:spChg>
        <pc:spChg chg="add del mod">
          <ac:chgData name="Steiner Andreas 6206 ED" userId="e6377c33-a923-4f14-8587-531c474c7b48" providerId="ADAL" clId="{6ECD27E6-B224-41CD-B4E0-E297462320DD}" dt="2023-11-24T08:46:38.237" v="65966"/>
          <ac:spMkLst>
            <pc:docMk/>
            <pc:sldMk cId="1005745348" sldId="686"/>
            <ac:spMk id="429" creationId="{5B99B198-9D90-E52C-1E16-F28E49042F3E}"/>
          </ac:spMkLst>
        </pc:spChg>
        <pc:spChg chg="add del mod">
          <ac:chgData name="Steiner Andreas 6206 ED" userId="e6377c33-a923-4f14-8587-531c474c7b48" providerId="ADAL" clId="{6ECD27E6-B224-41CD-B4E0-E297462320DD}" dt="2023-11-24T08:46:40.313" v="66121"/>
          <ac:spMkLst>
            <pc:docMk/>
            <pc:sldMk cId="1005745348" sldId="686"/>
            <ac:spMk id="430" creationId="{F363BCCA-F4AD-3B37-881E-541732D1DB0A}"/>
          </ac:spMkLst>
        </pc:spChg>
        <pc:spChg chg="add del mod">
          <ac:chgData name="Steiner Andreas 6206 ED" userId="e6377c33-a923-4f14-8587-531c474c7b48" providerId="ADAL" clId="{6ECD27E6-B224-41CD-B4E0-E297462320DD}" dt="2023-11-24T08:46:42.586" v="66276"/>
          <ac:spMkLst>
            <pc:docMk/>
            <pc:sldMk cId="1005745348" sldId="686"/>
            <ac:spMk id="431" creationId="{6FE3AFF7-D804-B85D-259B-D71AC566337F}"/>
          </ac:spMkLst>
        </pc:spChg>
        <pc:spChg chg="add del mod">
          <ac:chgData name="Steiner Andreas 6206 ED" userId="e6377c33-a923-4f14-8587-531c474c7b48" providerId="ADAL" clId="{6ECD27E6-B224-41CD-B4E0-E297462320DD}" dt="2023-11-24T08:46:44.701" v="66431"/>
          <ac:spMkLst>
            <pc:docMk/>
            <pc:sldMk cId="1005745348" sldId="686"/>
            <ac:spMk id="432" creationId="{01F6A7D4-CD0F-A59F-9CFD-F9320376CF3E}"/>
          </ac:spMkLst>
        </pc:spChg>
        <pc:spChg chg="add del mod">
          <ac:chgData name="Steiner Andreas 6206 ED" userId="e6377c33-a923-4f14-8587-531c474c7b48" providerId="ADAL" clId="{6ECD27E6-B224-41CD-B4E0-E297462320DD}" dt="2023-11-24T08:46:46.772" v="66586"/>
          <ac:spMkLst>
            <pc:docMk/>
            <pc:sldMk cId="1005745348" sldId="686"/>
            <ac:spMk id="433" creationId="{682DCB00-BF3E-6B49-979F-92277D6B4CC4}"/>
          </ac:spMkLst>
        </pc:spChg>
        <pc:spChg chg="add del mod">
          <ac:chgData name="Steiner Andreas 6206 ED" userId="e6377c33-a923-4f14-8587-531c474c7b48" providerId="ADAL" clId="{6ECD27E6-B224-41CD-B4E0-E297462320DD}" dt="2023-11-24T08:46:48.906" v="66741"/>
          <ac:spMkLst>
            <pc:docMk/>
            <pc:sldMk cId="1005745348" sldId="686"/>
            <ac:spMk id="434" creationId="{CBFF465B-1D65-57F2-DEB4-0BF47F7134B9}"/>
          </ac:spMkLst>
        </pc:spChg>
        <pc:spChg chg="add del mod">
          <ac:chgData name="Steiner Andreas 6206 ED" userId="e6377c33-a923-4f14-8587-531c474c7b48" providerId="ADAL" clId="{6ECD27E6-B224-41CD-B4E0-E297462320DD}" dt="2023-11-24T08:46:50.961" v="66896"/>
          <ac:spMkLst>
            <pc:docMk/>
            <pc:sldMk cId="1005745348" sldId="686"/>
            <ac:spMk id="435" creationId="{EE1389F2-57B3-1A82-42E7-DB35E3D19473}"/>
          </ac:spMkLst>
        </pc:spChg>
        <pc:spChg chg="add del mod">
          <ac:chgData name="Steiner Andreas 6206 ED" userId="e6377c33-a923-4f14-8587-531c474c7b48" providerId="ADAL" clId="{6ECD27E6-B224-41CD-B4E0-E297462320DD}" dt="2023-11-24T08:46:53.018" v="67051"/>
          <ac:spMkLst>
            <pc:docMk/>
            <pc:sldMk cId="1005745348" sldId="686"/>
            <ac:spMk id="436" creationId="{F6712DB7-1F55-3111-770B-FCDE5CD9E1F4}"/>
          </ac:spMkLst>
        </pc:spChg>
        <pc:spChg chg="add del mod">
          <ac:chgData name="Steiner Andreas 6206 ED" userId="e6377c33-a923-4f14-8587-531c474c7b48" providerId="ADAL" clId="{6ECD27E6-B224-41CD-B4E0-E297462320DD}" dt="2023-11-24T08:46:54.984" v="67206"/>
          <ac:spMkLst>
            <pc:docMk/>
            <pc:sldMk cId="1005745348" sldId="686"/>
            <ac:spMk id="437" creationId="{8FA56701-C11D-59AE-E982-11D795F89966}"/>
          </ac:spMkLst>
        </pc:spChg>
        <pc:spChg chg="add del mod">
          <ac:chgData name="Steiner Andreas 6206 ED" userId="e6377c33-a923-4f14-8587-531c474c7b48" providerId="ADAL" clId="{6ECD27E6-B224-41CD-B4E0-E297462320DD}" dt="2023-11-24T08:46:56.962" v="67361"/>
          <ac:spMkLst>
            <pc:docMk/>
            <pc:sldMk cId="1005745348" sldId="686"/>
            <ac:spMk id="438" creationId="{F63640E7-1C07-227E-73EF-99C1AE31E522}"/>
          </ac:spMkLst>
        </pc:spChg>
        <pc:spChg chg="add del mod">
          <ac:chgData name="Steiner Andreas 6206 ED" userId="e6377c33-a923-4f14-8587-531c474c7b48" providerId="ADAL" clId="{6ECD27E6-B224-41CD-B4E0-E297462320DD}" dt="2023-11-24T08:46:58.825" v="67516"/>
          <ac:spMkLst>
            <pc:docMk/>
            <pc:sldMk cId="1005745348" sldId="686"/>
            <ac:spMk id="439" creationId="{5E5725D7-2F0D-1EB0-FD76-C23B2DCD64DE}"/>
          </ac:spMkLst>
        </pc:spChg>
        <pc:spChg chg="add del mod">
          <ac:chgData name="Steiner Andreas 6206 ED" userId="e6377c33-a923-4f14-8587-531c474c7b48" providerId="ADAL" clId="{6ECD27E6-B224-41CD-B4E0-E297462320DD}" dt="2023-11-24T08:47:00.934" v="67671"/>
          <ac:spMkLst>
            <pc:docMk/>
            <pc:sldMk cId="1005745348" sldId="686"/>
            <ac:spMk id="440" creationId="{B4C9716E-50DA-1DB2-F44F-E10AC5835CE9}"/>
          </ac:spMkLst>
        </pc:spChg>
        <pc:spChg chg="add del mod">
          <ac:chgData name="Steiner Andreas 6206 ED" userId="e6377c33-a923-4f14-8587-531c474c7b48" providerId="ADAL" clId="{6ECD27E6-B224-41CD-B4E0-E297462320DD}" dt="2023-11-24T08:47:03.078" v="67826"/>
          <ac:spMkLst>
            <pc:docMk/>
            <pc:sldMk cId="1005745348" sldId="686"/>
            <ac:spMk id="441" creationId="{9685EF2C-5785-02A1-C568-893539A2C3EB}"/>
          </ac:spMkLst>
        </pc:spChg>
        <pc:spChg chg="add del mod">
          <ac:chgData name="Steiner Andreas 6206 ED" userId="e6377c33-a923-4f14-8587-531c474c7b48" providerId="ADAL" clId="{6ECD27E6-B224-41CD-B4E0-E297462320DD}" dt="2023-11-24T08:47:05.090" v="67981"/>
          <ac:spMkLst>
            <pc:docMk/>
            <pc:sldMk cId="1005745348" sldId="686"/>
            <ac:spMk id="442" creationId="{8CD313E7-3B0E-A062-1B00-897C6C029FF4}"/>
          </ac:spMkLst>
        </pc:spChg>
        <pc:spChg chg="add del mod">
          <ac:chgData name="Steiner Andreas 6206 ED" userId="e6377c33-a923-4f14-8587-531c474c7b48" providerId="ADAL" clId="{6ECD27E6-B224-41CD-B4E0-E297462320DD}" dt="2023-11-24T08:47:06.864" v="68136"/>
          <ac:spMkLst>
            <pc:docMk/>
            <pc:sldMk cId="1005745348" sldId="686"/>
            <ac:spMk id="443" creationId="{3AB05CB0-8251-45C2-7A03-05FE98D6EC8C}"/>
          </ac:spMkLst>
        </pc:spChg>
        <pc:spChg chg="add del mod">
          <ac:chgData name="Steiner Andreas 6206 ED" userId="e6377c33-a923-4f14-8587-531c474c7b48" providerId="ADAL" clId="{6ECD27E6-B224-41CD-B4E0-E297462320DD}" dt="2023-11-24T08:47:08.756" v="68291"/>
          <ac:spMkLst>
            <pc:docMk/>
            <pc:sldMk cId="1005745348" sldId="686"/>
            <ac:spMk id="444" creationId="{08634492-1E47-B598-DD28-F60C5D3AE706}"/>
          </ac:spMkLst>
        </pc:spChg>
        <pc:spChg chg="add del mod">
          <ac:chgData name="Steiner Andreas 6206 ED" userId="e6377c33-a923-4f14-8587-531c474c7b48" providerId="ADAL" clId="{6ECD27E6-B224-41CD-B4E0-E297462320DD}" dt="2023-11-24T08:47:10.633" v="68446"/>
          <ac:spMkLst>
            <pc:docMk/>
            <pc:sldMk cId="1005745348" sldId="686"/>
            <ac:spMk id="445" creationId="{315E62C4-0022-1243-CA74-9EF8B9283EBE}"/>
          </ac:spMkLst>
        </pc:spChg>
        <pc:spChg chg="add del mod">
          <ac:chgData name="Steiner Andreas 6206 ED" userId="e6377c33-a923-4f14-8587-531c474c7b48" providerId="ADAL" clId="{6ECD27E6-B224-41CD-B4E0-E297462320DD}" dt="2023-11-24T08:47:12.513" v="68601"/>
          <ac:spMkLst>
            <pc:docMk/>
            <pc:sldMk cId="1005745348" sldId="686"/>
            <ac:spMk id="446" creationId="{5B843170-AFA6-9A9E-D6D6-5FC53B339E61}"/>
          </ac:spMkLst>
        </pc:spChg>
        <pc:spChg chg="add del mod">
          <ac:chgData name="Steiner Andreas 6206 ED" userId="e6377c33-a923-4f14-8587-531c474c7b48" providerId="ADAL" clId="{6ECD27E6-B224-41CD-B4E0-E297462320DD}" dt="2023-11-24T08:47:14.666" v="68756"/>
          <ac:spMkLst>
            <pc:docMk/>
            <pc:sldMk cId="1005745348" sldId="686"/>
            <ac:spMk id="447" creationId="{104B6DCA-291D-F10E-1885-F2F6F2FA895C}"/>
          </ac:spMkLst>
        </pc:spChg>
        <pc:spChg chg="add del mod">
          <ac:chgData name="Steiner Andreas 6206 ED" userId="e6377c33-a923-4f14-8587-531c474c7b48" providerId="ADAL" clId="{6ECD27E6-B224-41CD-B4E0-E297462320DD}" dt="2023-11-24T08:47:16.637" v="68911"/>
          <ac:spMkLst>
            <pc:docMk/>
            <pc:sldMk cId="1005745348" sldId="686"/>
            <ac:spMk id="448" creationId="{8A1A1612-4CDD-F2EC-B3FE-2BC54C99FC84}"/>
          </ac:spMkLst>
        </pc:spChg>
        <pc:spChg chg="add del mod">
          <ac:chgData name="Steiner Andreas 6206 ED" userId="e6377c33-a923-4f14-8587-531c474c7b48" providerId="ADAL" clId="{6ECD27E6-B224-41CD-B4E0-E297462320DD}" dt="2023-11-24T08:47:18.546" v="69066"/>
          <ac:spMkLst>
            <pc:docMk/>
            <pc:sldMk cId="1005745348" sldId="686"/>
            <ac:spMk id="449" creationId="{3A356BAB-743B-4FF4-1E61-3C8FF4F2B3F3}"/>
          </ac:spMkLst>
        </pc:spChg>
        <pc:spChg chg="add del mod">
          <ac:chgData name="Steiner Andreas 6206 ED" userId="e6377c33-a923-4f14-8587-531c474c7b48" providerId="ADAL" clId="{6ECD27E6-B224-41CD-B4E0-E297462320DD}" dt="2023-11-24T08:47:20.540" v="69221"/>
          <ac:spMkLst>
            <pc:docMk/>
            <pc:sldMk cId="1005745348" sldId="686"/>
            <ac:spMk id="450" creationId="{4B921D7B-90D4-9D41-451F-F90D35C2E192}"/>
          </ac:spMkLst>
        </pc:spChg>
        <pc:spChg chg="add del mod">
          <ac:chgData name="Steiner Andreas 6206 ED" userId="e6377c33-a923-4f14-8587-531c474c7b48" providerId="ADAL" clId="{6ECD27E6-B224-41CD-B4E0-E297462320DD}" dt="2023-11-24T08:47:22.904" v="69376"/>
          <ac:spMkLst>
            <pc:docMk/>
            <pc:sldMk cId="1005745348" sldId="686"/>
            <ac:spMk id="451" creationId="{1DC1F642-5458-4BAC-A17D-5AE0EFCF3E5A}"/>
          </ac:spMkLst>
        </pc:spChg>
        <pc:spChg chg="add del mod">
          <ac:chgData name="Steiner Andreas 6206 ED" userId="e6377c33-a923-4f14-8587-531c474c7b48" providerId="ADAL" clId="{6ECD27E6-B224-41CD-B4E0-E297462320DD}" dt="2023-11-24T08:47:25.580" v="69531"/>
          <ac:spMkLst>
            <pc:docMk/>
            <pc:sldMk cId="1005745348" sldId="686"/>
            <ac:spMk id="452" creationId="{D8773FCE-15BA-EC8D-37C3-5C94B4BBA8ED}"/>
          </ac:spMkLst>
        </pc:spChg>
        <pc:spChg chg="add del mod">
          <ac:chgData name="Steiner Andreas 6206 ED" userId="e6377c33-a923-4f14-8587-531c474c7b48" providerId="ADAL" clId="{6ECD27E6-B224-41CD-B4E0-E297462320DD}" dt="2023-11-24T08:47:27.784" v="69686"/>
          <ac:spMkLst>
            <pc:docMk/>
            <pc:sldMk cId="1005745348" sldId="686"/>
            <ac:spMk id="453" creationId="{69A2BC0F-05A0-4B0B-7769-98C9F74B730B}"/>
          </ac:spMkLst>
        </pc:spChg>
        <pc:spChg chg="add del mod">
          <ac:chgData name="Steiner Andreas 6206 ED" userId="e6377c33-a923-4f14-8587-531c474c7b48" providerId="ADAL" clId="{6ECD27E6-B224-41CD-B4E0-E297462320DD}" dt="2023-11-24T08:47:29.859" v="69841"/>
          <ac:spMkLst>
            <pc:docMk/>
            <pc:sldMk cId="1005745348" sldId="686"/>
            <ac:spMk id="454" creationId="{9F67CC7D-5FA1-8ABB-8B98-BA72423092B4}"/>
          </ac:spMkLst>
        </pc:spChg>
        <pc:spChg chg="add del mod">
          <ac:chgData name="Steiner Andreas 6206 ED" userId="e6377c33-a923-4f14-8587-531c474c7b48" providerId="ADAL" clId="{6ECD27E6-B224-41CD-B4E0-E297462320DD}" dt="2023-11-24T08:47:31.824" v="69996"/>
          <ac:spMkLst>
            <pc:docMk/>
            <pc:sldMk cId="1005745348" sldId="686"/>
            <ac:spMk id="455" creationId="{BC406239-8773-31BD-1B41-A2D817B3E21A}"/>
          </ac:spMkLst>
        </pc:spChg>
        <pc:spChg chg="add del mod">
          <ac:chgData name="Steiner Andreas 6206 ED" userId="e6377c33-a923-4f14-8587-531c474c7b48" providerId="ADAL" clId="{6ECD27E6-B224-41CD-B4E0-E297462320DD}" dt="2023-11-24T08:47:33.818" v="70151"/>
          <ac:spMkLst>
            <pc:docMk/>
            <pc:sldMk cId="1005745348" sldId="686"/>
            <ac:spMk id="456" creationId="{157887E1-A3C1-4F49-A63E-9C94C3EFF2EC}"/>
          </ac:spMkLst>
        </pc:spChg>
        <pc:spChg chg="add del mod">
          <ac:chgData name="Steiner Andreas 6206 ED" userId="e6377c33-a923-4f14-8587-531c474c7b48" providerId="ADAL" clId="{6ECD27E6-B224-41CD-B4E0-E297462320DD}" dt="2023-11-24T08:47:35.974" v="70306"/>
          <ac:spMkLst>
            <pc:docMk/>
            <pc:sldMk cId="1005745348" sldId="686"/>
            <ac:spMk id="457" creationId="{F61B8708-BF8E-511E-D0F5-B9EB679C3FC9}"/>
          </ac:spMkLst>
        </pc:spChg>
        <pc:spChg chg="add del mod">
          <ac:chgData name="Steiner Andreas 6206 ED" userId="e6377c33-a923-4f14-8587-531c474c7b48" providerId="ADAL" clId="{6ECD27E6-B224-41CD-B4E0-E297462320DD}" dt="2023-11-24T08:47:38.078" v="70461"/>
          <ac:spMkLst>
            <pc:docMk/>
            <pc:sldMk cId="1005745348" sldId="686"/>
            <ac:spMk id="458" creationId="{1ACA9A51-65CE-5E71-CEF7-665854ACC87D}"/>
          </ac:spMkLst>
        </pc:spChg>
        <pc:spChg chg="add del mod">
          <ac:chgData name="Steiner Andreas 6206 ED" userId="e6377c33-a923-4f14-8587-531c474c7b48" providerId="ADAL" clId="{6ECD27E6-B224-41CD-B4E0-E297462320DD}" dt="2023-11-24T08:47:40.157" v="70616"/>
          <ac:spMkLst>
            <pc:docMk/>
            <pc:sldMk cId="1005745348" sldId="686"/>
            <ac:spMk id="459" creationId="{DB77C4CA-0834-4155-A1C8-847B8D8768E1}"/>
          </ac:spMkLst>
        </pc:spChg>
        <pc:spChg chg="add del mod">
          <ac:chgData name="Steiner Andreas 6206 ED" userId="e6377c33-a923-4f14-8587-531c474c7b48" providerId="ADAL" clId="{6ECD27E6-B224-41CD-B4E0-E297462320DD}" dt="2023-11-24T08:47:42.084" v="70771"/>
          <ac:spMkLst>
            <pc:docMk/>
            <pc:sldMk cId="1005745348" sldId="686"/>
            <ac:spMk id="460" creationId="{91676276-D685-B0E0-6763-CEB8CED469B0}"/>
          </ac:spMkLst>
        </pc:spChg>
        <pc:spChg chg="add del mod">
          <ac:chgData name="Steiner Andreas 6206 ED" userId="e6377c33-a923-4f14-8587-531c474c7b48" providerId="ADAL" clId="{6ECD27E6-B224-41CD-B4E0-E297462320DD}" dt="2023-11-24T08:47:44.003" v="70926"/>
          <ac:spMkLst>
            <pc:docMk/>
            <pc:sldMk cId="1005745348" sldId="686"/>
            <ac:spMk id="461" creationId="{2896104A-836D-06B7-1F39-4753F35A5882}"/>
          </ac:spMkLst>
        </pc:spChg>
        <pc:spChg chg="add del mod">
          <ac:chgData name="Steiner Andreas 6206 ED" userId="e6377c33-a923-4f14-8587-531c474c7b48" providerId="ADAL" clId="{6ECD27E6-B224-41CD-B4E0-E297462320DD}" dt="2023-11-24T08:47:45.931" v="71081"/>
          <ac:spMkLst>
            <pc:docMk/>
            <pc:sldMk cId="1005745348" sldId="686"/>
            <ac:spMk id="462" creationId="{099A0B68-6DDE-7040-49DC-8ECD0216FB4C}"/>
          </ac:spMkLst>
        </pc:spChg>
        <pc:spChg chg="add del mod">
          <ac:chgData name="Steiner Andreas 6206 ED" userId="e6377c33-a923-4f14-8587-531c474c7b48" providerId="ADAL" clId="{6ECD27E6-B224-41CD-B4E0-E297462320DD}" dt="2023-11-24T08:47:48.013" v="71236"/>
          <ac:spMkLst>
            <pc:docMk/>
            <pc:sldMk cId="1005745348" sldId="686"/>
            <ac:spMk id="463" creationId="{27F70178-BDB5-B9A4-E2A1-858987CB4F1A}"/>
          </ac:spMkLst>
        </pc:spChg>
        <pc:spChg chg="add del mod">
          <ac:chgData name="Steiner Andreas 6206 ED" userId="e6377c33-a923-4f14-8587-531c474c7b48" providerId="ADAL" clId="{6ECD27E6-B224-41CD-B4E0-E297462320DD}" dt="2023-11-24T08:47:50.122" v="71391"/>
          <ac:spMkLst>
            <pc:docMk/>
            <pc:sldMk cId="1005745348" sldId="686"/>
            <ac:spMk id="464" creationId="{06C5746B-B126-A61F-1443-C05AD1A8D485}"/>
          </ac:spMkLst>
        </pc:spChg>
        <pc:spChg chg="add del mod">
          <ac:chgData name="Steiner Andreas 6206 ED" userId="e6377c33-a923-4f14-8587-531c474c7b48" providerId="ADAL" clId="{6ECD27E6-B224-41CD-B4E0-E297462320DD}" dt="2023-11-24T08:47:52.035" v="71546"/>
          <ac:spMkLst>
            <pc:docMk/>
            <pc:sldMk cId="1005745348" sldId="686"/>
            <ac:spMk id="465" creationId="{EC6EBA6A-32FF-63B9-259D-46F2A1D5EAC3}"/>
          </ac:spMkLst>
        </pc:spChg>
        <pc:spChg chg="add del mod">
          <ac:chgData name="Steiner Andreas 6206 ED" userId="e6377c33-a923-4f14-8587-531c474c7b48" providerId="ADAL" clId="{6ECD27E6-B224-41CD-B4E0-E297462320DD}" dt="2023-11-24T08:47:53.987" v="71701"/>
          <ac:spMkLst>
            <pc:docMk/>
            <pc:sldMk cId="1005745348" sldId="686"/>
            <ac:spMk id="466" creationId="{1FA4DE69-1B59-E216-C2D2-2C8E4956E9A7}"/>
          </ac:spMkLst>
        </pc:spChg>
        <pc:spChg chg="add del mod">
          <ac:chgData name="Steiner Andreas 6206 ED" userId="e6377c33-a923-4f14-8587-531c474c7b48" providerId="ADAL" clId="{6ECD27E6-B224-41CD-B4E0-E297462320DD}" dt="2023-11-24T08:47:55.819" v="71856"/>
          <ac:spMkLst>
            <pc:docMk/>
            <pc:sldMk cId="1005745348" sldId="686"/>
            <ac:spMk id="467" creationId="{EB55CB1F-997B-9404-8945-F3D33FC31CB1}"/>
          </ac:spMkLst>
        </pc:spChg>
        <pc:spChg chg="add del mod">
          <ac:chgData name="Steiner Andreas 6206 ED" userId="e6377c33-a923-4f14-8587-531c474c7b48" providerId="ADAL" clId="{6ECD27E6-B224-41CD-B4E0-E297462320DD}" dt="2023-11-24T08:47:57.810" v="72011"/>
          <ac:spMkLst>
            <pc:docMk/>
            <pc:sldMk cId="1005745348" sldId="686"/>
            <ac:spMk id="468" creationId="{66892FEC-CD63-3FCF-9F4F-AC681AC4AEA8}"/>
          </ac:spMkLst>
        </pc:spChg>
        <pc:spChg chg="add del mod">
          <ac:chgData name="Steiner Andreas 6206 ED" userId="e6377c33-a923-4f14-8587-531c474c7b48" providerId="ADAL" clId="{6ECD27E6-B224-41CD-B4E0-E297462320DD}" dt="2023-11-24T08:47:59.934" v="72166"/>
          <ac:spMkLst>
            <pc:docMk/>
            <pc:sldMk cId="1005745348" sldId="686"/>
            <ac:spMk id="469" creationId="{E2A69656-D9DE-D87C-515B-4CA2EB1A65D8}"/>
          </ac:spMkLst>
        </pc:spChg>
        <pc:spChg chg="add del mod">
          <ac:chgData name="Steiner Andreas 6206 ED" userId="e6377c33-a923-4f14-8587-531c474c7b48" providerId="ADAL" clId="{6ECD27E6-B224-41CD-B4E0-E297462320DD}" dt="2023-11-24T08:48:02.069" v="72321"/>
          <ac:spMkLst>
            <pc:docMk/>
            <pc:sldMk cId="1005745348" sldId="686"/>
            <ac:spMk id="470" creationId="{A6B674B7-4C0C-3521-65C7-7E10D4693DB1}"/>
          </ac:spMkLst>
        </pc:spChg>
        <pc:spChg chg="add del mod">
          <ac:chgData name="Steiner Andreas 6206 ED" userId="e6377c33-a923-4f14-8587-531c474c7b48" providerId="ADAL" clId="{6ECD27E6-B224-41CD-B4E0-E297462320DD}" dt="2023-11-24T08:48:04.092" v="72476"/>
          <ac:spMkLst>
            <pc:docMk/>
            <pc:sldMk cId="1005745348" sldId="686"/>
            <ac:spMk id="471" creationId="{9D388649-5892-72B7-3B91-759C7CDD38BC}"/>
          </ac:spMkLst>
        </pc:spChg>
        <pc:spChg chg="add del mod">
          <ac:chgData name="Steiner Andreas 6206 ED" userId="e6377c33-a923-4f14-8587-531c474c7b48" providerId="ADAL" clId="{6ECD27E6-B224-41CD-B4E0-E297462320DD}" dt="2023-11-24T08:48:06.284" v="72631"/>
          <ac:spMkLst>
            <pc:docMk/>
            <pc:sldMk cId="1005745348" sldId="686"/>
            <ac:spMk id="472" creationId="{2330CE4B-9102-F33F-874E-16BE597703D2}"/>
          </ac:spMkLst>
        </pc:spChg>
        <pc:spChg chg="add del mod">
          <ac:chgData name="Steiner Andreas 6206 ED" userId="e6377c33-a923-4f14-8587-531c474c7b48" providerId="ADAL" clId="{6ECD27E6-B224-41CD-B4E0-E297462320DD}" dt="2023-11-24T08:48:08.468" v="72786"/>
          <ac:spMkLst>
            <pc:docMk/>
            <pc:sldMk cId="1005745348" sldId="686"/>
            <ac:spMk id="473" creationId="{7ABB719C-59CB-DEB4-1DFA-0C1B84108578}"/>
          </ac:spMkLst>
        </pc:spChg>
        <pc:spChg chg="add del mod">
          <ac:chgData name="Steiner Andreas 6206 ED" userId="e6377c33-a923-4f14-8587-531c474c7b48" providerId="ADAL" clId="{6ECD27E6-B224-41CD-B4E0-E297462320DD}" dt="2023-11-24T08:48:10.514" v="72941"/>
          <ac:spMkLst>
            <pc:docMk/>
            <pc:sldMk cId="1005745348" sldId="686"/>
            <ac:spMk id="474" creationId="{2B2E1F81-C57E-C4E3-2F30-EC49E9332BE7}"/>
          </ac:spMkLst>
        </pc:spChg>
        <pc:spChg chg="add del mod">
          <ac:chgData name="Steiner Andreas 6206 ED" userId="e6377c33-a923-4f14-8587-531c474c7b48" providerId="ADAL" clId="{6ECD27E6-B224-41CD-B4E0-E297462320DD}" dt="2023-11-24T08:48:12.483" v="73096"/>
          <ac:spMkLst>
            <pc:docMk/>
            <pc:sldMk cId="1005745348" sldId="686"/>
            <ac:spMk id="475" creationId="{A64B5664-C579-75A2-83B4-393FC88AFA02}"/>
          </ac:spMkLst>
        </pc:spChg>
        <pc:spChg chg="add del mod">
          <ac:chgData name="Steiner Andreas 6206 ED" userId="e6377c33-a923-4f14-8587-531c474c7b48" providerId="ADAL" clId="{6ECD27E6-B224-41CD-B4E0-E297462320DD}" dt="2023-11-24T08:48:14.988" v="73251"/>
          <ac:spMkLst>
            <pc:docMk/>
            <pc:sldMk cId="1005745348" sldId="686"/>
            <ac:spMk id="476" creationId="{1045A5B2-82D0-03F7-0082-AD2F0E6173E7}"/>
          </ac:spMkLst>
        </pc:spChg>
        <pc:spChg chg="add del mod">
          <ac:chgData name="Steiner Andreas 6206 ED" userId="e6377c33-a923-4f14-8587-531c474c7b48" providerId="ADAL" clId="{6ECD27E6-B224-41CD-B4E0-E297462320DD}" dt="2023-11-24T08:48:17.782" v="73406"/>
          <ac:spMkLst>
            <pc:docMk/>
            <pc:sldMk cId="1005745348" sldId="686"/>
            <ac:spMk id="477" creationId="{B3A8F1BF-F696-1603-274E-C28EE5540DDC}"/>
          </ac:spMkLst>
        </pc:spChg>
        <pc:spChg chg="add del mod">
          <ac:chgData name="Steiner Andreas 6206 ED" userId="e6377c33-a923-4f14-8587-531c474c7b48" providerId="ADAL" clId="{6ECD27E6-B224-41CD-B4E0-E297462320DD}" dt="2023-11-24T08:48:20.323" v="73561"/>
          <ac:spMkLst>
            <pc:docMk/>
            <pc:sldMk cId="1005745348" sldId="686"/>
            <ac:spMk id="478" creationId="{0ED4F64A-6C44-E1EA-A4B8-2898DE5FEE2B}"/>
          </ac:spMkLst>
        </pc:spChg>
        <pc:spChg chg="add del mod">
          <ac:chgData name="Steiner Andreas 6206 ED" userId="e6377c33-a923-4f14-8587-531c474c7b48" providerId="ADAL" clId="{6ECD27E6-B224-41CD-B4E0-E297462320DD}" dt="2023-11-24T08:48:22.458" v="73716"/>
          <ac:spMkLst>
            <pc:docMk/>
            <pc:sldMk cId="1005745348" sldId="686"/>
            <ac:spMk id="479" creationId="{9D991B30-0E0E-E6AF-A5F5-5478A6038600}"/>
          </ac:spMkLst>
        </pc:spChg>
        <pc:spChg chg="add del mod">
          <ac:chgData name="Steiner Andreas 6206 ED" userId="e6377c33-a923-4f14-8587-531c474c7b48" providerId="ADAL" clId="{6ECD27E6-B224-41CD-B4E0-E297462320DD}" dt="2023-11-24T08:48:24.536" v="73871"/>
          <ac:spMkLst>
            <pc:docMk/>
            <pc:sldMk cId="1005745348" sldId="686"/>
            <ac:spMk id="480" creationId="{CAB6BECC-C93F-AEE2-CC19-5D8691D54F72}"/>
          </ac:spMkLst>
        </pc:spChg>
        <pc:spChg chg="add del mod">
          <ac:chgData name="Steiner Andreas 6206 ED" userId="e6377c33-a923-4f14-8587-531c474c7b48" providerId="ADAL" clId="{6ECD27E6-B224-41CD-B4E0-E297462320DD}" dt="2023-11-24T08:48:26.644" v="74026"/>
          <ac:spMkLst>
            <pc:docMk/>
            <pc:sldMk cId="1005745348" sldId="686"/>
            <ac:spMk id="481" creationId="{D3C205EF-D752-2AB5-4BEF-3F876616AF63}"/>
          </ac:spMkLst>
        </pc:spChg>
        <pc:spChg chg="add del mod">
          <ac:chgData name="Steiner Andreas 6206 ED" userId="e6377c33-a923-4f14-8587-531c474c7b48" providerId="ADAL" clId="{6ECD27E6-B224-41CD-B4E0-E297462320DD}" dt="2023-11-24T08:48:28.653" v="74181"/>
          <ac:spMkLst>
            <pc:docMk/>
            <pc:sldMk cId="1005745348" sldId="686"/>
            <ac:spMk id="482" creationId="{12F69BF6-3E0C-B607-D347-3B99FC76CFF4}"/>
          </ac:spMkLst>
        </pc:spChg>
        <pc:spChg chg="add del mod">
          <ac:chgData name="Steiner Andreas 6206 ED" userId="e6377c33-a923-4f14-8587-531c474c7b48" providerId="ADAL" clId="{6ECD27E6-B224-41CD-B4E0-E297462320DD}" dt="2023-11-24T08:48:30.530" v="74336"/>
          <ac:spMkLst>
            <pc:docMk/>
            <pc:sldMk cId="1005745348" sldId="686"/>
            <ac:spMk id="483" creationId="{E1F503A1-FF16-5898-FD0D-8A13CFA46085}"/>
          </ac:spMkLst>
        </pc:spChg>
        <pc:spChg chg="add del mod">
          <ac:chgData name="Steiner Andreas 6206 ED" userId="e6377c33-a923-4f14-8587-531c474c7b48" providerId="ADAL" clId="{6ECD27E6-B224-41CD-B4E0-E297462320DD}" dt="2023-11-24T08:48:32.498" v="74491"/>
          <ac:spMkLst>
            <pc:docMk/>
            <pc:sldMk cId="1005745348" sldId="686"/>
            <ac:spMk id="484" creationId="{6944AA83-FF37-1802-CB8E-C3BF41987DF3}"/>
          </ac:spMkLst>
        </pc:spChg>
        <pc:spChg chg="add del mod">
          <ac:chgData name="Steiner Andreas 6206 ED" userId="e6377c33-a923-4f14-8587-531c474c7b48" providerId="ADAL" clId="{6ECD27E6-B224-41CD-B4E0-E297462320DD}" dt="2023-11-24T08:48:34.781" v="74646"/>
          <ac:spMkLst>
            <pc:docMk/>
            <pc:sldMk cId="1005745348" sldId="686"/>
            <ac:spMk id="485" creationId="{F541B4EA-EA27-D734-E00B-24125F4196E6}"/>
          </ac:spMkLst>
        </pc:spChg>
        <pc:spChg chg="add del mod">
          <ac:chgData name="Steiner Andreas 6206 ED" userId="e6377c33-a923-4f14-8587-531c474c7b48" providerId="ADAL" clId="{6ECD27E6-B224-41CD-B4E0-E297462320DD}" dt="2023-11-24T08:48:36.906" v="74801"/>
          <ac:spMkLst>
            <pc:docMk/>
            <pc:sldMk cId="1005745348" sldId="686"/>
            <ac:spMk id="486" creationId="{34104C0E-7BFD-1755-2170-CFF2BDB55289}"/>
          </ac:spMkLst>
        </pc:spChg>
        <pc:spChg chg="add del mod">
          <ac:chgData name="Steiner Andreas 6206 ED" userId="e6377c33-a923-4f14-8587-531c474c7b48" providerId="ADAL" clId="{6ECD27E6-B224-41CD-B4E0-E297462320DD}" dt="2023-11-24T08:48:38.978" v="74956"/>
          <ac:spMkLst>
            <pc:docMk/>
            <pc:sldMk cId="1005745348" sldId="686"/>
            <ac:spMk id="487" creationId="{43D50ACA-8132-6334-F43D-146836E3174E}"/>
          </ac:spMkLst>
        </pc:spChg>
        <pc:spChg chg="add del mod">
          <ac:chgData name="Steiner Andreas 6206 ED" userId="e6377c33-a923-4f14-8587-531c474c7b48" providerId="ADAL" clId="{6ECD27E6-B224-41CD-B4E0-E297462320DD}" dt="2023-11-24T08:48:41.102" v="75111"/>
          <ac:spMkLst>
            <pc:docMk/>
            <pc:sldMk cId="1005745348" sldId="686"/>
            <ac:spMk id="488" creationId="{4207DBFC-2920-FB44-5364-F00D58284E59}"/>
          </ac:spMkLst>
        </pc:spChg>
        <pc:spChg chg="add del mod">
          <ac:chgData name="Steiner Andreas 6206 ED" userId="e6377c33-a923-4f14-8587-531c474c7b48" providerId="ADAL" clId="{6ECD27E6-B224-41CD-B4E0-E297462320DD}" dt="2023-11-24T08:48:43.536" v="75266"/>
          <ac:spMkLst>
            <pc:docMk/>
            <pc:sldMk cId="1005745348" sldId="686"/>
            <ac:spMk id="489" creationId="{B01488EA-2C38-6067-0934-F5011A0E7A6D}"/>
          </ac:spMkLst>
        </pc:spChg>
        <pc:spChg chg="add del mod">
          <ac:chgData name="Steiner Andreas 6206 ED" userId="e6377c33-a923-4f14-8587-531c474c7b48" providerId="ADAL" clId="{6ECD27E6-B224-41CD-B4E0-E297462320DD}" dt="2023-11-24T08:48:45.850" v="75421"/>
          <ac:spMkLst>
            <pc:docMk/>
            <pc:sldMk cId="1005745348" sldId="686"/>
            <ac:spMk id="490" creationId="{4B927A99-D040-A59C-4A27-8E6AAFB3E9C6}"/>
          </ac:spMkLst>
        </pc:spChg>
        <pc:spChg chg="add del mod">
          <ac:chgData name="Steiner Andreas 6206 ED" userId="e6377c33-a923-4f14-8587-531c474c7b48" providerId="ADAL" clId="{6ECD27E6-B224-41CD-B4E0-E297462320DD}" dt="2023-11-24T08:48:47.890" v="75576"/>
          <ac:spMkLst>
            <pc:docMk/>
            <pc:sldMk cId="1005745348" sldId="686"/>
            <ac:spMk id="491" creationId="{DF39C029-0509-FECB-171F-54B7DD8B5127}"/>
          </ac:spMkLst>
        </pc:spChg>
        <pc:spChg chg="add del mod">
          <ac:chgData name="Steiner Andreas 6206 ED" userId="e6377c33-a923-4f14-8587-531c474c7b48" providerId="ADAL" clId="{6ECD27E6-B224-41CD-B4E0-E297462320DD}" dt="2023-11-24T08:48:49.837" v="75731"/>
          <ac:spMkLst>
            <pc:docMk/>
            <pc:sldMk cId="1005745348" sldId="686"/>
            <ac:spMk id="492" creationId="{52351DA5-9F48-F452-2F20-04E607D0ADCE}"/>
          </ac:spMkLst>
        </pc:spChg>
        <pc:spChg chg="add del mod">
          <ac:chgData name="Steiner Andreas 6206 ED" userId="e6377c33-a923-4f14-8587-531c474c7b48" providerId="ADAL" clId="{6ECD27E6-B224-41CD-B4E0-E297462320DD}" dt="2023-11-24T08:48:52.085" v="75886"/>
          <ac:spMkLst>
            <pc:docMk/>
            <pc:sldMk cId="1005745348" sldId="686"/>
            <ac:spMk id="493" creationId="{263EC721-52E2-8095-F9D0-4317FF00902E}"/>
          </ac:spMkLst>
        </pc:spChg>
        <pc:spChg chg="add del mod">
          <ac:chgData name="Steiner Andreas 6206 ED" userId="e6377c33-a923-4f14-8587-531c474c7b48" providerId="ADAL" clId="{6ECD27E6-B224-41CD-B4E0-E297462320DD}" dt="2023-11-24T08:48:53.993" v="76041"/>
          <ac:spMkLst>
            <pc:docMk/>
            <pc:sldMk cId="1005745348" sldId="686"/>
            <ac:spMk id="494" creationId="{A6C5FB1E-7F32-7A05-E1BB-496C8E737BE4}"/>
          </ac:spMkLst>
        </pc:spChg>
        <pc:spChg chg="add del mod">
          <ac:chgData name="Steiner Andreas 6206 ED" userId="e6377c33-a923-4f14-8587-531c474c7b48" providerId="ADAL" clId="{6ECD27E6-B224-41CD-B4E0-E297462320DD}" dt="2023-11-24T08:48:55.985" v="76196"/>
          <ac:spMkLst>
            <pc:docMk/>
            <pc:sldMk cId="1005745348" sldId="686"/>
            <ac:spMk id="495" creationId="{76ECFAAB-F73E-2273-A67B-E11C3E6FF3D1}"/>
          </ac:spMkLst>
        </pc:spChg>
        <pc:spChg chg="add del mod">
          <ac:chgData name="Steiner Andreas 6206 ED" userId="e6377c33-a923-4f14-8587-531c474c7b48" providerId="ADAL" clId="{6ECD27E6-B224-41CD-B4E0-E297462320DD}" dt="2023-11-24T08:48:57.929" v="76351"/>
          <ac:spMkLst>
            <pc:docMk/>
            <pc:sldMk cId="1005745348" sldId="686"/>
            <ac:spMk id="496" creationId="{24C7355C-4408-8AF4-AEB7-2BF0AB5F1A9D}"/>
          </ac:spMkLst>
        </pc:spChg>
        <pc:spChg chg="add del mod">
          <ac:chgData name="Steiner Andreas 6206 ED" userId="e6377c33-a923-4f14-8587-531c474c7b48" providerId="ADAL" clId="{6ECD27E6-B224-41CD-B4E0-E297462320DD}" dt="2023-11-24T08:48:59.983" v="76506"/>
          <ac:spMkLst>
            <pc:docMk/>
            <pc:sldMk cId="1005745348" sldId="686"/>
            <ac:spMk id="497" creationId="{827B4999-3789-185C-0FEB-7A996B70D094}"/>
          </ac:spMkLst>
        </pc:spChg>
        <pc:spChg chg="add del mod">
          <ac:chgData name="Steiner Andreas 6206 ED" userId="e6377c33-a923-4f14-8587-531c474c7b48" providerId="ADAL" clId="{6ECD27E6-B224-41CD-B4E0-E297462320DD}" dt="2023-11-24T08:49:01.963" v="76661"/>
          <ac:spMkLst>
            <pc:docMk/>
            <pc:sldMk cId="1005745348" sldId="686"/>
            <ac:spMk id="498" creationId="{23250C09-F504-1933-08E7-EE47B3D011AB}"/>
          </ac:spMkLst>
        </pc:spChg>
        <pc:spChg chg="add del mod">
          <ac:chgData name="Steiner Andreas 6206 ED" userId="e6377c33-a923-4f14-8587-531c474c7b48" providerId="ADAL" clId="{6ECD27E6-B224-41CD-B4E0-E297462320DD}" dt="2023-11-24T08:49:03.925" v="76816"/>
          <ac:spMkLst>
            <pc:docMk/>
            <pc:sldMk cId="1005745348" sldId="686"/>
            <ac:spMk id="499" creationId="{2A430E45-F82D-3AEF-5A80-4056A5F5D69F}"/>
          </ac:spMkLst>
        </pc:spChg>
        <pc:spChg chg="add del mod">
          <ac:chgData name="Steiner Andreas 6206 ED" userId="e6377c33-a923-4f14-8587-531c474c7b48" providerId="ADAL" clId="{6ECD27E6-B224-41CD-B4E0-E297462320DD}" dt="2023-11-24T08:49:05.820" v="76971"/>
          <ac:spMkLst>
            <pc:docMk/>
            <pc:sldMk cId="1005745348" sldId="686"/>
            <ac:spMk id="500" creationId="{BC753DA4-697F-DCA5-BC29-E1E0ADBA5CFA}"/>
          </ac:spMkLst>
        </pc:spChg>
        <pc:spChg chg="add del mod">
          <ac:chgData name="Steiner Andreas 6206 ED" userId="e6377c33-a923-4f14-8587-531c474c7b48" providerId="ADAL" clId="{6ECD27E6-B224-41CD-B4E0-E297462320DD}" dt="2023-11-24T08:49:07.931" v="77126"/>
          <ac:spMkLst>
            <pc:docMk/>
            <pc:sldMk cId="1005745348" sldId="686"/>
            <ac:spMk id="501" creationId="{9115A311-42EF-6C17-6435-9E3B0731DADB}"/>
          </ac:spMkLst>
        </pc:spChg>
        <pc:spChg chg="add del mod">
          <ac:chgData name="Steiner Andreas 6206 ED" userId="e6377c33-a923-4f14-8587-531c474c7b48" providerId="ADAL" clId="{6ECD27E6-B224-41CD-B4E0-E297462320DD}" dt="2023-11-24T08:49:09.816" v="77281"/>
          <ac:spMkLst>
            <pc:docMk/>
            <pc:sldMk cId="1005745348" sldId="686"/>
            <ac:spMk id="502" creationId="{B57773C6-1C75-BBAA-4A32-F0F90019D073}"/>
          </ac:spMkLst>
        </pc:spChg>
        <pc:spChg chg="add del mod">
          <ac:chgData name="Steiner Andreas 6206 ED" userId="e6377c33-a923-4f14-8587-531c474c7b48" providerId="ADAL" clId="{6ECD27E6-B224-41CD-B4E0-E297462320DD}" dt="2023-11-24T08:49:11.593" v="77436"/>
          <ac:spMkLst>
            <pc:docMk/>
            <pc:sldMk cId="1005745348" sldId="686"/>
            <ac:spMk id="503" creationId="{BC65491D-41DE-D5AD-0E3C-E65598EF8D76}"/>
          </ac:spMkLst>
        </pc:spChg>
        <pc:spChg chg="add del mod">
          <ac:chgData name="Steiner Andreas 6206 ED" userId="e6377c33-a923-4f14-8587-531c474c7b48" providerId="ADAL" clId="{6ECD27E6-B224-41CD-B4E0-E297462320DD}" dt="2023-11-24T08:49:13.691" v="77591"/>
          <ac:spMkLst>
            <pc:docMk/>
            <pc:sldMk cId="1005745348" sldId="686"/>
            <ac:spMk id="504" creationId="{E0D15027-AB82-1B44-21ED-79396291F886}"/>
          </ac:spMkLst>
        </pc:spChg>
        <pc:spChg chg="add del mod">
          <ac:chgData name="Steiner Andreas 6206 ED" userId="e6377c33-a923-4f14-8587-531c474c7b48" providerId="ADAL" clId="{6ECD27E6-B224-41CD-B4E0-E297462320DD}" dt="2023-11-24T08:49:15.691" v="77746"/>
          <ac:spMkLst>
            <pc:docMk/>
            <pc:sldMk cId="1005745348" sldId="686"/>
            <ac:spMk id="505" creationId="{923CB6D7-7987-6E29-17BA-E14F88C4977B}"/>
          </ac:spMkLst>
        </pc:spChg>
        <pc:spChg chg="add del mod">
          <ac:chgData name="Steiner Andreas 6206 ED" userId="e6377c33-a923-4f14-8587-531c474c7b48" providerId="ADAL" clId="{6ECD27E6-B224-41CD-B4E0-E297462320DD}" dt="2023-11-24T08:49:17.711" v="77901"/>
          <ac:spMkLst>
            <pc:docMk/>
            <pc:sldMk cId="1005745348" sldId="686"/>
            <ac:spMk id="506" creationId="{A1A65482-F2A9-1CDC-0159-7B16D93E2033}"/>
          </ac:spMkLst>
        </pc:spChg>
        <pc:spChg chg="add del mod">
          <ac:chgData name="Steiner Andreas 6206 ED" userId="e6377c33-a923-4f14-8587-531c474c7b48" providerId="ADAL" clId="{6ECD27E6-B224-41CD-B4E0-E297462320DD}" dt="2023-11-24T08:49:19.771" v="78056"/>
          <ac:spMkLst>
            <pc:docMk/>
            <pc:sldMk cId="1005745348" sldId="686"/>
            <ac:spMk id="507" creationId="{F852BC87-FC09-EBE5-EBAA-3FED89D37B4B}"/>
          </ac:spMkLst>
        </pc:spChg>
        <pc:spChg chg="add del mod">
          <ac:chgData name="Steiner Andreas 6206 ED" userId="e6377c33-a923-4f14-8587-531c474c7b48" providerId="ADAL" clId="{6ECD27E6-B224-41CD-B4E0-E297462320DD}" dt="2023-11-24T08:49:21.670" v="78211"/>
          <ac:spMkLst>
            <pc:docMk/>
            <pc:sldMk cId="1005745348" sldId="686"/>
            <ac:spMk id="508" creationId="{A54FAF0F-48BD-EFDA-8FBF-A588923A3290}"/>
          </ac:spMkLst>
        </pc:spChg>
        <pc:spChg chg="add del mod">
          <ac:chgData name="Steiner Andreas 6206 ED" userId="e6377c33-a923-4f14-8587-531c474c7b48" providerId="ADAL" clId="{6ECD27E6-B224-41CD-B4E0-E297462320DD}" dt="2023-11-24T08:49:23.570" v="78366"/>
          <ac:spMkLst>
            <pc:docMk/>
            <pc:sldMk cId="1005745348" sldId="686"/>
            <ac:spMk id="509" creationId="{02ABCCDD-E126-D2CE-D3F5-D394AC6B8D26}"/>
          </ac:spMkLst>
        </pc:spChg>
        <pc:spChg chg="add del mod">
          <ac:chgData name="Steiner Andreas 6206 ED" userId="e6377c33-a923-4f14-8587-531c474c7b48" providerId="ADAL" clId="{6ECD27E6-B224-41CD-B4E0-E297462320DD}" dt="2023-11-24T08:49:25.448" v="78521"/>
          <ac:spMkLst>
            <pc:docMk/>
            <pc:sldMk cId="1005745348" sldId="686"/>
            <ac:spMk id="510" creationId="{4C26DC19-9F8C-FC25-AD82-42F6840E0D32}"/>
          </ac:spMkLst>
        </pc:spChg>
        <pc:spChg chg="add del mod">
          <ac:chgData name="Steiner Andreas 6206 ED" userId="e6377c33-a923-4f14-8587-531c474c7b48" providerId="ADAL" clId="{6ECD27E6-B224-41CD-B4E0-E297462320DD}" dt="2023-11-24T08:49:27.511" v="78676"/>
          <ac:spMkLst>
            <pc:docMk/>
            <pc:sldMk cId="1005745348" sldId="686"/>
            <ac:spMk id="511" creationId="{F5B0E198-F7CF-B525-13F8-B7EB6B2A6D65}"/>
          </ac:spMkLst>
        </pc:spChg>
        <pc:spChg chg="add del mod">
          <ac:chgData name="Steiner Andreas 6206 ED" userId="e6377c33-a923-4f14-8587-531c474c7b48" providerId="ADAL" clId="{6ECD27E6-B224-41CD-B4E0-E297462320DD}" dt="2023-11-24T08:49:29.537" v="78831"/>
          <ac:spMkLst>
            <pc:docMk/>
            <pc:sldMk cId="1005745348" sldId="686"/>
            <ac:spMk id="512" creationId="{BF4B6499-1DE8-839A-E216-D3799429A320}"/>
          </ac:spMkLst>
        </pc:spChg>
        <pc:spChg chg="add del mod">
          <ac:chgData name="Steiner Andreas 6206 ED" userId="e6377c33-a923-4f14-8587-531c474c7b48" providerId="ADAL" clId="{6ECD27E6-B224-41CD-B4E0-E297462320DD}" dt="2023-11-24T08:49:31.475" v="78986"/>
          <ac:spMkLst>
            <pc:docMk/>
            <pc:sldMk cId="1005745348" sldId="686"/>
            <ac:spMk id="513" creationId="{7B6554BA-6EC0-92DF-26C8-7CC396D758A0}"/>
          </ac:spMkLst>
        </pc:spChg>
        <pc:spChg chg="add del mod">
          <ac:chgData name="Steiner Andreas 6206 ED" userId="e6377c33-a923-4f14-8587-531c474c7b48" providerId="ADAL" clId="{6ECD27E6-B224-41CD-B4E0-E297462320DD}" dt="2023-11-24T08:49:33.378" v="79141"/>
          <ac:spMkLst>
            <pc:docMk/>
            <pc:sldMk cId="1005745348" sldId="686"/>
            <ac:spMk id="514" creationId="{14D33081-8251-2BA1-ADCE-FB1A8B11B532}"/>
          </ac:spMkLst>
        </pc:spChg>
        <pc:spChg chg="add del mod">
          <ac:chgData name="Steiner Andreas 6206 ED" userId="e6377c33-a923-4f14-8587-531c474c7b48" providerId="ADAL" clId="{6ECD27E6-B224-41CD-B4E0-E297462320DD}" dt="2023-11-24T08:49:35.284" v="79296"/>
          <ac:spMkLst>
            <pc:docMk/>
            <pc:sldMk cId="1005745348" sldId="686"/>
            <ac:spMk id="515" creationId="{604524EE-D306-EC4C-0478-1922D6DF6003}"/>
          </ac:spMkLst>
        </pc:spChg>
        <pc:spChg chg="add del mod">
          <ac:chgData name="Steiner Andreas 6206 ED" userId="e6377c33-a923-4f14-8587-531c474c7b48" providerId="ADAL" clId="{6ECD27E6-B224-41CD-B4E0-E297462320DD}" dt="2023-11-24T08:49:37.114" v="79451"/>
          <ac:spMkLst>
            <pc:docMk/>
            <pc:sldMk cId="1005745348" sldId="686"/>
            <ac:spMk id="516" creationId="{99AC0FCD-B6C7-4B51-C49C-6A64F5A52929}"/>
          </ac:spMkLst>
        </pc:spChg>
        <pc:spChg chg="add del mod">
          <ac:chgData name="Steiner Andreas 6206 ED" userId="e6377c33-a923-4f14-8587-531c474c7b48" providerId="ADAL" clId="{6ECD27E6-B224-41CD-B4E0-E297462320DD}" dt="2023-11-24T08:49:39.081" v="79606"/>
          <ac:spMkLst>
            <pc:docMk/>
            <pc:sldMk cId="1005745348" sldId="686"/>
            <ac:spMk id="517" creationId="{E5CA6F02-1A82-4575-54BD-093B1183B9A2}"/>
          </ac:spMkLst>
        </pc:spChg>
        <pc:spChg chg="add del mod">
          <ac:chgData name="Steiner Andreas 6206 ED" userId="e6377c33-a923-4f14-8587-531c474c7b48" providerId="ADAL" clId="{6ECD27E6-B224-41CD-B4E0-E297462320DD}" dt="2023-11-24T08:49:41.166" v="79761"/>
          <ac:spMkLst>
            <pc:docMk/>
            <pc:sldMk cId="1005745348" sldId="686"/>
            <ac:spMk id="518" creationId="{AD480E16-F16C-A723-2B18-761BA4CAC0D6}"/>
          </ac:spMkLst>
        </pc:spChg>
        <pc:spChg chg="add del mod">
          <ac:chgData name="Steiner Andreas 6206 ED" userId="e6377c33-a923-4f14-8587-531c474c7b48" providerId="ADAL" clId="{6ECD27E6-B224-41CD-B4E0-E297462320DD}" dt="2023-11-24T08:49:43.078" v="79916"/>
          <ac:spMkLst>
            <pc:docMk/>
            <pc:sldMk cId="1005745348" sldId="686"/>
            <ac:spMk id="519" creationId="{6D19FF21-6A69-AF73-8CF3-319C7FE75D03}"/>
          </ac:spMkLst>
        </pc:spChg>
        <pc:spChg chg="add del mod">
          <ac:chgData name="Steiner Andreas 6206 ED" userId="e6377c33-a923-4f14-8587-531c474c7b48" providerId="ADAL" clId="{6ECD27E6-B224-41CD-B4E0-E297462320DD}" dt="2023-11-24T08:49:45.023" v="80071"/>
          <ac:spMkLst>
            <pc:docMk/>
            <pc:sldMk cId="1005745348" sldId="686"/>
            <ac:spMk id="520" creationId="{C37EA6A5-3651-ED1B-31B0-7E61C9EF8DDD}"/>
          </ac:spMkLst>
        </pc:spChg>
        <pc:spChg chg="add del mod">
          <ac:chgData name="Steiner Andreas 6206 ED" userId="e6377c33-a923-4f14-8587-531c474c7b48" providerId="ADAL" clId="{6ECD27E6-B224-41CD-B4E0-E297462320DD}" dt="2023-11-24T08:49:46.981" v="80226"/>
          <ac:spMkLst>
            <pc:docMk/>
            <pc:sldMk cId="1005745348" sldId="686"/>
            <ac:spMk id="521" creationId="{76848DCC-3F31-F5E9-3F93-B413F50CACB2}"/>
          </ac:spMkLst>
        </pc:spChg>
        <pc:spChg chg="add del mod">
          <ac:chgData name="Steiner Andreas 6206 ED" userId="e6377c33-a923-4f14-8587-531c474c7b48" providerId="ADAL" clId="{6ECD27E6-B224-41CD-B4E0-E297462320DD}" dt="2023-11-24T08:49:48.858" v="80381"/>
          <ac:spMkLst>
            <pc:docMk/>
            <pc:sldMk cId="1005745348" sldId="686"/>
            <ac:spMk id="522" creationId="{E12D4A2D-02CB-FDFE-2941-4C948325ED33}"/>
          </ac:spMkLst>
        </pc:spChg>
        <pc:spChg chg="add del mod">
          <ac:chgData name="Steiner Andreas 6206 ED" userId="e6377c33-a923-4f14-8587-531c474c7b48" providerId="ADAL" clId="{6ECD27E6-B224-41CD-B4E0-E297462320DD}" dt="2023-11-24T08:49:50.758" v="80536"/>
          <ac:spMkLst>
            <pc:docMk/>
            <pc:sldMk cId="1005745348" sldId="686"/>
            <ac:spMk id="523" creationId="{75020099-27C0-5679-C12E-1204F410C126}"/>
          </ac:spMkLst>
        </pc:spChg>
        <pc:spChg chg="add del mod">
          <ac:chgData name="Steiner Andreas 6206 ED" userId="e6377c33-a923-4f14-8587-531c474c7b48" providerId="ADAL" clId="{6ECD27E6-B224-41CD-B4E0-E297462320DD}" dt="2023-11-24T08:49:52.686" v="80691"/>
          <ac:spMkLst>
            <pc:docMk/>
            <pc:sldMk cId="1005745348" sldId="686"/>
            <ac:spMk id="524" creationId="{5A808CB9-CF09-B044-436D-BC41C94AFAB1}"/>
          </ac:spMkLst>
        </pc:spChg>
        <pc:spChg chg="add del mod">
          <ac:chgData name="Steiner Andreas 6206 ED" userId="e6377c33-a923-4f14-8587-531c474c7b48" providerId="ADAL" clId="{6ECD27E6-B224-41CD-B4E0-E297462320DD}" dt="2023-11-24T08:49:54.619" v="80846"/>
          <ac:spMkLst>
            <pc:docMk/>
            <pc:sldMk cId="1005745348" sldId="686"/>
            <ac:spMk id="525" creationId="{E5DFF897-FEAF-83CB-2AA6-35E8A01F1C1E}"/>
          </ac:spMkLst>
        </pc:spChg>
        <pc:spChg chg="add del mod">
          <ac:chgData name="Steiner Andreas 6206 ED" userId="e6377c33-a923-4f14-8587-531c474c7b48" providerId="ADAL" clId="{6ECD27E6-B224-41CD-B4E0-E297462320DD}" dt="2023-11-24T08:49:56.492" v="81001"/>
          <ac:spMkLst>
            <pc:docMk/>
            <pc:sldMk cId="1005745348" sldId="686"/>
            <ac:spMk id="526" creationId="{3B3CE962-8856-B0F3-44EB-6AA9629B1F52}"/>
          </ac:spMkLst>
        </pc:spChg>
        <pc:spChg chg="add del mod">
          <ac:chgData name="Steiner Andreas 6206 ED" userId="e6377c33-a923-4f14-8587-531c474c7b48" providerId="ADAL" clId="{6ECD27E6-B224-41CD-B4E0-E297462320DD}" dt="2023-11-24T08:49:58.382" v="81156"/>
          <ac:spMkLst>
            <pc:docMk/>
            <pc:sldMk cId="1005745348" sldId="686"/>
            <ac:spMk id="527" creationId="{F5D80165-9C19-F0DF-1010-95453DAF896D}"/>
          </ac:spMkLst>
        </pc:spChg>
        <pc:spChg chg="add del mod">
          <ac:chgData name="Steiner Andreas 6206 ED" userId="e6377c33-a923-4f14-8587-531c474c7b48" providerId="ADAL" clId="{6ECD27E6-B224-41CD-B4E0-E297462320DD}" dt="2023-11-24T08:50:00.309" v="81311"/>
          <ac:spMkLst>
            <pc:docMk/>
            <pc:sldMk cId="1005745348" sldId="686"/>
            <ac:spMk id="528" creationId="{BE94F673-323A-CF03-DAC7-45F9D243934B}"/>
          </ac:spMkLst>
        </pc:spChg>
        <pc:spChg chg="add del mod">
          <ac:chgData name="Steiner Andreas 6206 ED" userId="e6377c33-a923-4f14-8587-531c474c7b48" providerId="ADAL" clId="{6ECD27E6-B224-41CD-B4E0-E297462320DD}" dt="2023-11-24T08:50:02.383" v="81466"/>
          <ac:spMkLst>
            <pc:docMk/>
            <pc:sldMk cId="1005745348" sldId="686"/>
            <ac:spMk id="529" creationId="{730D4452-C3F4-D7E4-3304-67E44271786A}"/>
          </ac:spMkLst>
        </pc:spChg>
        <pc:spChg chg="add del mod">
          <ac:chgData name="Steiner Andreas 6206 ED" userId="e6377c33-a923-4f14-8587-531c474c7b48" providerId="ADAL" clId="{6ECD27E6-B224-41CD-B4E0-E297462320DD}" dt="2023-11-24T08:50:04.447" v="81621"/>
          <ac:spMkLst>
            <pc:docMk/>
            <pc:sldMk cId="1005745348" sldId="686"/>
            <ac:spMk id="530" creationId="{B2465F9A-366D-CF50-101E-7BC4F796FB24}"/>
          </ac:spMkLst>
        </pc:spChg>
        <pc:spChg chg="add del mod">
          <ac:chgData name="Steiner Andreas 6206 ED" userId="e6377c33-a923-4f14-8587-531c474c7b48" providerId="ADAL" clId="{6ECD27E6-B224-41CD-B4E0-E297462320DD}" dt="2023-11-24T08:50:06.389" v="81776"/>
          <ac:spMkLst>
            <pc:docMk/>
            <pc:sldMk cId="1005745348" sldId="686"/>
            <ac:spMk id="531" creationId="{3F81DA50-A5C1-9244-21E4-5F2CE960272C}"/>
          </ac:spMkLst>
        </pc:spChg>
        <pc:spChg chg="add del mod">
          <ac:chgData name="Steiner Andreas 6206 ED" userId="e6377c33-a923-4f14-8587-531c474c7b48" providerId="ADAL" clId="{6ECD27E6-B224-41CD-B4E0-E297462320DD}" dt="2023-11-24T08:50:08.280" v="81931"/>
          <ac:spMkLst>
            <pc:docMk/>
            <pc:sldMk cId="1005745348" sldId="686"/>
            <ac:spMk id="532" creationId="{26DE31BB-403B-9C2D-ACD1-0A949CBE97F2}"/>
          </ac:spMkLst>
        </pc:spChg>
        <pc:spChg chg="add del mod">
          <ac:chgData name="Steiner Andreas 6206 ED" userId="e6377c33-a923-4f14-8587-531c474c7b48" providerId="ADAL" clId="{6ECD27E6-B224-41CD-B4E0-E297462320DD}" dt="2023-11-24T08:50:10.169" v="82086"/>
          <ac:spMkLst>
            <pc:docMk/>
            <pc:sldMk cId="1005745348" sldId="686"/>
            <ac:spMk id="533" creationId="{5E5D7F8D-F795-0861-4B2B-918AACE8FAF7}"/>
          </ac:spMkLst>
        </pc:spChg>
        <pc:spChg chg="add del mod">
          <ac:chgData name="Steiner Andreas 6206 ED" userId="e6377c33-a923-4f14-8587-531c474c7b48" providerId="ADAL" clId="{6ECD27E6-B224-41CD-B4E0-E297462320DD}" dt="2023-11-24T08:50:12.082" v="82241"/>
          <ac:spMkLst>
            <pc:docMk/>
            <pc:sldMk cId="1005745348" sldId="686"/>
            <ac:spMk id="534" creationId="{4C1BD5A7-1772-F673-D6A2-5D762D2BA606}"/>
          </ac:spMkLst>
        </pc:spChg>
        <pc:spChg chg="add del mod">
          <ac:chgData name="Steiner Andreas 6206 ED" userId="e6377c33-a923-4f14-8587-531c474c7b48" providerId="ADAL" clId="{6ECD27E6-B224-41CD-B4E0-E297462320DD}" dt="2023-11-24T08:50:14.146" v="82396"/>
          <ac:spMkLst>
            <pc:docMk/>
            <pc:sldMk cId="1005745348" sldId="686"/>
            <ac:spMk id="535" creationId="{1661CE6C-1D71-D1A8-BC96-C64B5FAD0716}"/>
          </ac:spMkLst>
        </pc:spChg>
        <pc:spChg chg="add del mod">
          <ac:chgData name="Steiner Andreas 6206 ED" userId="e6377c33-a923-4f14-8587-531c474c7b48" providerId="ADAL" clId="{6ECD27E6-B224-41CD-B4E0-E297462320DD}" dt="2023-11-24T08:50:16.103" v="82551"/>
          <ac:spMkLst>
            <pc:docMk/>
            <pc:sldMk cId="1005745348" sldId="686"/>
            <ac:spMk id="536" creationId="{846B8C94-D34E-C9F4-3EB1-C769D26AD33B}"/>
          </ac:spMkLst>
        </pc:spChg>
        <pc:spChg chg="add del mod">
          <ac:chgData name="Steiner Andreas 6206 ED" userId="e6377c33-a923-4f14-8587-531c474c7b48" providerId="ADAL" clId="{6ECD27E6-B224-41CD-B4E0-E297462320DD}" dt="2023-11-24T08:50:18.083" v="82706"/>
          <ac:spMkLst>
            <pc:docMk/>
            <pc:sldMk cId="1005745348" sldId="686"/>
            <ac:spMk id="537" creationId="{51AB5128-D583-06E0-3FEA-EB4430D54B21}"/>
          </ac:spMkLst>
        </pc:spChg>
        <pc:spChg chg="add del mod">
          <ac:chgData name="Steiner Andreas 6206 ED" userId="e6377c33-a923-4f14-8587-531c474c7b48" providerId="ADAL" clId="{6ECD27E6-B224-41CD-B4E0-E297462320DD}" dt="2023-11-24T08:50:20.285" v="82861"/>
          <ac:spMkLst>
            <pc:docMk/>
            <pc:sldMk cId="1005745348" sldId="686"/>
            <ac:spMk id="538" creationId="{593F73DD-6A95-9702-3FB8-BF8FFAB0ED9B}"/>
          </ac:spMkLst>
        </pc:spChg>
        <pc:spChg chg="add del mod">
          <ac:chgData name="Steiner Andreas 6206 ED" userId="e6377c33-a923-4f14-8587-531c474c7b48" providerId="ADAL" clId="{6ECD27E6-B224-41CD-B4E0-E297462320DD}" dt="2023-11-24T08:50:22.225" v="83016"/>
          <ac:spMkLst>
            <pc:docMk/>
            <pc:sldMk cId="1005745348" sldId="686"/>
            <ac:spMk id="539" creationId="{96622040-A821-39C2-636A-537C782F9CE6}"/>
          </ac:spMkLst>
        </pc:spChg>
        <pc:spChg chg="add del mod">
          <ac:chgData name="Steiner Andreas 6206 ED" userId="e6377c33-a923-4f14-8587-531c474c7b48" providerId="ADAL" clId="{6ECD27E6-B224-41CD-B4E0-E297462320DD}" dt="2023-11-24T08:50:24.306" v="83171"/>
          <ac:spMkLst>
            <pc:docMk/>
            <pc:sldMk cId="1005745348" sldId="686"/>
            <ac:spMk id="540" creationId="{C5513E27-667F-5679-98D8-79438F234C52}"/>
          </ac:spMkLst>
        </pc:spChg>
        <pc:spChg chg="add del mod">
          <ac:chgData name="Steiner Andreas 6206 ED" userId="e6377c33-a923-4f14-8587-531c474c7b48" providerId="ADAL" clId="{6ECD27E6-B224-41CD-B4E0-E297462320DD}" dt="2023-11-24T08:50:26.318" v="83326"/>
          <ac:spMkLst>
            <pc:docMk/>
            <pc:sldMk cId="1005745348" sldId="686"/>
            <ac:spMk id="541" creationId="{5A5C5019-D93A-F219-BBE1-F7EEA40BE8D4}"/>
          </ac:spMkLst>
        </pc:spChg>
        <pc:spChg chg="add del mod">
          <ac:chgData name="Steiner Andreas 6206 ED" userId="e6377c33-a923-4f14-8587-531c474c7b48" providerId="ADAL" clId="{6ECD27E6-B224-41CD-B4E0-E297462320DD}" dt="2023-11-24T08:50:28.251" v="83481"/>
          <ac:spMkLst>
            <pc:docMk/>
            <pc:sldMk cId="1005745348" sldId="686"/>
            <ac:spMk id="542" creationId="{74BBEB73-CE66-AD18-21CB-21863EAD7002}"/>
          </ac:spMkLst>
        </pc:spChg>
        <pc:spChg chg="add del mod">
          <ac:chgData name="Steiner Andreas 6206 ED" userId="e6377c33-a923-4f14-8587-531c474c7b48" providerId="ADAL" clId="{6ECD27E6-B224-41CD-B4E0-E297462320DD}" dt="2023-11-24T08:50:30.163" v="83636"/>
          <ac:spMkLst>
            <pc:docMk/>
            <pc:sldMk cId="1005745348" sldId="686"/>
            <ac:spMk id="543" creationId="{96D36950-B2A8-B799-B1A9-1147B7C7C97E}"/>
          </ac:spMkLst>
        </pc:spChg>
        <pc:spChg chg="add del mod">
          <ac:chgData name="Steiner Andreas 6206 ED" userId="e6377c33-a923-4f14-8587-531c474c7b48" providerId="ADAL" clId="{6ECD27E6-B224-41CD-B4E0-E297462320DD}" dt="2023-11-24T08:50:32.201" v="83791"/>
          <ac:spMkLst>
            <pc:docMk/>
            <pc:sldMk cId="1005745348" sldId="686"/>
            <ac:spMk id="544" creationId="{30A2A21B-6128-B283-0F8A-B95AAE83C3C0}"/>
          </ac:spMkLst>
        </pc:spChg>
        <pc:spChg chg="add del mod">
          <ac:chgData name="Steiner Andreas 6206 ED" userId="e6377c33-a923-4f14-8587-531c474c7b48" providerId="ADAL" clId="{6ECD27E6-B224-41CD-B4E0-E297462320DD}" dt="2023-11-24T08:50:34.237" v="83946"/>
          <ac:spMkLst>
            <pc:docMk/>
            <pc:sldMk cId="1005745348" sldId="686"/>
            <ac:spMk id="545" creationId="{FD6B73B5-583D-0ACD-2DB5-E1B86D6C1B2E}"/>
          </ac:spMkLst>
        </pc:spChg>
        <pc:spChg chg="add del mod">
          <ac:chgData name="Steiner Andreas 6206 ED" userId="e6377c33-a923-4f14-8587-531c474c7b48" providerId="ADAL" clId="{6ECD27E6-B224-41CD-B4E0-E297462320DD}" dt="2023-11-24T08:50:36.481" v="84101"/>
          <ac:spMkLst>
            <pc:docMk/>
            <pc:sldMk cId="1005745348" sldId="686"/>
            <ac:spMk id="546" creationId="{8205C6F0-5746-3D5D-512E-CB3DB18F0B44}"/>
          </ac:spMkLst>
        </pc:spChg>
        <pc:spChg chg="add del mod">
          <ac:chgData name="Steiner Andreas 6206 ED" userId="e6377c33-a923-4f14-8587-531c474c7b48" providerId="ADAL" clId="{6ECD27E6-B224-41CD-B4E0-E297462320DD}" dt="2023-11-24T08:50:38.438" v="84256"/>
          <ac:spMkLst>
            <pc:docMk/>
            <pc:sldMk cId="1005745348" sldId="686"/>
            <ac:spMk id="547" creationId="{E9FA709B-34A3-CD25-FB10-0A03E385DFC4}"/>
          </ac:spMkLst>
        </pc:spChg>
        <pc:spChg chg="add del mod">
          <ac:chgData name="Steiner Andreas 6206 ED" userId="e6377c33-a923-4f14-8587-531c474c7b48" providerId="ADAL" clId="{6ECD27E6-B224-41CD-B4E0-E297462320DD}" dt="2023-11-24T08:50:40.420" v="84411"/>
          <ac:spMkLst>
            <pc:docMk/>
            <pc:sldMk cId="1005745348" sldId="686"/>
            <ac:spMk id="548" creationId="{3B07942C-DF2E-7761-FD23-1CD8D4883AB5}"/>
          </ac:spMkLst>
        </pc:spChg>
        <pc:spChg chg="add del mod">
          <ac:chgData name="Steiner Andreas 6206 ED" userId="e6377c33-a923-4f14-8587-531c474c7b48" providerId="ADAL" clId="{6ECD27E6-B224-41CD-B4E0-E297462320DD}" dt="2023-11-24T08:50:42.422" v="84566"/>
          <ac:spMkLst>
            <pc:docMk/>
            <pc:sldMk cId="1005745348" sldId="686"/>
            <ac:spMk id="549" creationId="{BA14CDA4-3246-7A37-53A1-DC2AF0558908}"/>
          </ac:spMkLst>
        </pc:spChg>
        <pc:spChg chg="add del mod">
          <ac:chgData name="Steiner Andreas 6206 ED" userId="e6377c33-a923-4f14-8587-531c474c7b48" providerId="ADAL" clId="{6ECD27E6-B224-41CD-B4E0-E297462320DD}" dt="2023-11-24T08:50:44.581" v="84721"/>
          <ac:spMkLst>
            <pc:docMk/>
            <pc:sldMk cId="1005745348" sldId="686"/>
            <ac:spMk id="550" creationId="{3A5C1C06-35D4-CB68-9ECE-257D7640B415}"/>
          </ac:spMkLst>
        </pc:spChg>
        <pc:spChg chg="add del mod">
          <ac:chgData name="Steiner Andreas 6206 ED" userId="e6377c33-a923-4f14-8587-531c474c7b48" providerId="ADAL" clId="{6ECD27E6-B224-41CD-B4E0-E297462320DD}" dt="2023-11-24T08:50:46.684" v="84876"/>
          <ac:spMkLst>
            <pc:docMk/>
            <pc:sldMk cId="1005745348" sldId="686"/>
            <ac:spMk id="551" creationId="{25FD2C14-C4B6-5A5F-65CC-C34707AAA204}"/>
          </ac:spMkLst>
        </pc:spChg>
        <pc:spChg chg="add del mod">
          <ac:chgData name="Steiner Andreas 6206 ED" userId="e6377c33-a923-4f14-8587-531c474c7b48" providerId="ADAL" clId="{6ECD27E6-B224-41CD-B4E0-E297462320DD}" dt="2023-11-24T08:50:48.819" v="85031"/>
          <ac:spMkLst>
            <pc:docMk/>
            <pc:sldMk cId="1005745348" sldId="686"/>
            <ac:spMk id="552" creationId="{813921D3-688D-5411-A603-A0C81A7651AD}"/>
          </ac:spMkLst>
        </pc:spChg>
        <pc:spChg chg="add del mod">
          <ac:chgData name="Steiner Andreas 6206 ED" userId="e6377c33-a923-4f14-8587-531c474c7b48" providerId="ADAL" clId="{6ECD27E6-B224-41CD-B4E0-E297462320DD}" dt="2023-11-24T08:50:50.914" v="85186"/>
          <ac:spMkLst>
            <pc:docMk/>
            <pc:sldMk cId="1005745348" sldId="686"/>
            <ac:spMk id="553" creationId="{CDCFF348-2B64-A773-3F44-A5EB61570F00}"/>
          </ac:spMkLst>
        </pc:spChg>
        <pc:spChg chg="add del mod">
          <ac:chgData name="Steiner Andreas 6206 ED" userId="e6377c33-a923-4f14-8587-531c474c7b48" providerId="ADAL" clId="{6ECD27E6-B224-41CD-B4E0-E297462320DD}" dt="2023-11-24T08:50:53.039" v="85341"/>
          <ac:spMkLst>
            <pc:docMk/>
            <pc:sldMk cId="1005745348" sldId="686"/>
            <ac:spMk id="554" creationId="{81FD1158-3F65-BE73-F4DA-A45B20CAA1E8}"/>
          </ac:spMkLst>
        </pc:spChg>
        <pc:spChg chg="add del mod">
          <ac:chgData name="Steiner Andreas 6206 ED" userId="e6377c33-a923-4f14-8587-531c474c7b48" providerId="ADAL" clId="{6ECD27E6-B224-41CD-B4E0-E297462320DD}" dt="2023-11-24T08:50:54.954" v="85496"/>
          <ac:spMkLst>
            <pc:docMk/>
            <pc:sldMk cId="1005745348" sldId="686"/>
            <ac:spMk id="555" creationId="{3CEA02DE-9CD4-68B6-8FFE-D5F4E615BD07}"/>
          </ac:spMkLst>
        </pc:spChg>
        <pc:spChg chg="add del mod">
          <ac:chgData name="Steiner Andreas 6206 ED" userId="e6377c33-a923-4f14-8587-531c474c7b48" providerId="ADAL" clId="{6ECD27E6-B224-41CD-B4E0-E297462320DD}" dt="2023-11-24T08:50:56.855" v="85651"/>
          <ac:spMkLst>
            <pc:docMk/>
            <pc:sldMk cId="1005745348" sldId="686"/>
            <ac:spMk id="556" creationId="{BB89BB8B-A62E-9FF4-B5AC-54E945C3CCA2}"/>
          </ac:spMkLst>
        </pc:spChg>
        <pc:spChg chg="add del mod">
          <ac:chgData name="Steiner Andreas 6206 ED" userId="e6377c33-a923-4f14-8587-531c474c7b48" providerId="ADAL" clId="{6ECD27E6-B224-41CD-B4E0-E297462320DD}" dt="2023-11-24T08:50:59.042" v="85806"/>
          <ac:spMkLst>
            <pc:docMk/>
            <pc:sldMk cId="1005745348" sldId="686"/>
            <ac:spMk id="557" creationId="{242E91B1-C425-8334-560D-5745374D60F1}"/>
          </ac:spMkLst>
        </pc:spChg>
        <pc:spChg chg="add del mod">
          <ac:chgData name="Steiner Andreas 6206 ED" userId="e6377c33-a923-4f14-8587-531c474c7b48" providerId="ADAL" clId="{6ECD27E6-B224-41CD-B4E0-E297462320DD}" dt="2023-11-24T08:51:00.998" v="85961"/>
          <ac:spMkLst>
            <pc:docMk/>
            <pc:sldMk cId="1005745348" sldId="686"/>
            <ac:spMk id="558" creationId="{8A9F30CF-5011-21BA-09D1-6D0A5E857315}"/>
          </ac:spMkLst>
        </pc:spChg>
        <pc:spChg chg="add del mod">
          <ac:chgData name="Steiner Andreas 6206 ED" userId="e6377c33-a923-4f14-8587-531c474c7b48" providerId="ADAL" clId="{6ECD27E6-B224-41CD-B4E0-E297462320DD}" dt="2023-11-24T08:51:02.982" v="86116"/>
          <ac:spMkLst>
            <pc:docMk/>
            <pc:sldMk cId="1005745348" sldId="686"/>
            <ac:spMk id="559" creationId="{BC3FFCA9-8F41-F0DF-169B-7709AEAB2255}"/>
          </ac:spMkLst>
        </pc:spChg>
        <pc:spChg chg="add del mod">
          <ac:chgData name="Steiner Andreas 6206 ED" userId="e6377c33-a923-4f14-8587-531c474c7b48" providerId="ADAL" clId="{6ECD27E6-B224-41CD-B4E0-E297462320DD}" dt="2023-11-24T08:51:04.853" v="86271"/>
          <ac:spMkLst>
            <pc:docMk/>
            <pc:sldMk cId="1005745348" sldId="686"/>
            <ac:spMk id="560" creationId="{36D68C91-2678-BE59-A33C-04B46CD74EAA}"/>
          </ac:spMkLst>
        </pc:spChg>
        <pc:spChg chg="add del mod">
          <ac:chgData name="Steiner Andreas 6206 ED" userId="e6377c33-a923-4f14-8587-531c474c7b48" providerId="ADAL" clId="{6ECD27E6-B224-41CD-B4E0-E297462320DD}" dt="2023-11-24T08:51:06.749" v="86426"/>
          <ac:spMkLst>
            <pc:docMk/>
            <pc:sldMk cId="1005745348" sldId="686"/>
            <ac:spMk id="561" creationId="{40F487AB-A620-AD90-91A7-3C23A5C41D7E}"/>
          </ac:spMkLst>
        </pc:spChg>
        <pc:spChg chg="add del mod">
          <ac:chgData name="Steiner Andreas 6206 ED" userId="e6377c33-a923-4f14-8587-531c474c7b48" providerId="ADAL" clId="{6ECD27E6-B224-41CD-B4E0-E297462320DD}" dt="2023-11-24T08:51:08.733" v="86581"/>
          <ac:spMkLst>
            <pc:docMk/>
            <pc:sldMk cId="1005745348" sldId="686"/>
            <ac:spMk id="562" creationId="{9BC82A0B-EEB1-B920-3F9F-ADED5E9E7D35}"/>
          </ac:spMkLst>
        </pc:spChg>
        <pc:spChg chg="add del mod">
          <ac:chgData name="Steiner Andreas 6206 ED" userId="e6377c33-a923-4f14-8587-531c474c7b48" providerId="ADAL" clId="{6ECD27E6-B224-41CD-B4E0-E297462320DD}" dt="2023-11-24T08:51:10.762" v="86736"/>
          <ac:spMkLst>
            <pc:docMk/>
            <pc:sldMk cId="1005745348" sldId="686"/>
            <ac:spMk id="563" creationId="{1BFD29AB-912F-330E-D087-EB86EA4FD00C}"/>
          </ac:spMkLst>
        </pc:spChg>
        <pc:spChg chg="add del mod">
          <ac:chgData name="Steiner Andreas 6206 ED" userId="e6377c33-a923-4f14-8587-531c474c7b48" providerId="ADAL" clId="{6ECD27E6-B224-41CD-B4E0-E297462320DD}" dt="2023-11-24T08:51:12.657" v="86891"/>
          <ac:spMkLst>
            <pc:docMk/>
            <pc:sldMk cId="1005745348" sldId="686"/>
            <ac:spMk id="564" creationId="{7DE004D8-7CEF-D71B-3962-495A6EF69157}"/>
          </ac:spMkLst>
        </pc:spChg>
        <pc:spChg chg="add del mod">
          <ac:chgData name="Steiner Andreas 6206 ED" userId="e6377c33-a923-4f14-8587-531c474c7b48" providerId="ADAL" clId="{6ECD27E6-B224-41CD-B4E0-E297462320DD}" dt="2023-11-24T08:51:14.844" v="87046"/>
          <ac:spMkLst>
            <pc:docMk/>
            <pc:sldMk cId="1005745348" sldId="686"/>
            <ac:spMk id="565" creationId="{D4D56D54-5F83-BB3B-6026-6ADAD4336B3B}"/>
          </ac:spMkLst>
        </pc:spChg>
        <pc:spChg chg="add del mod">
          <ac:chgData name="Steiner Andreas 6206 ED" userId="e6377c33-a923-4f14-8587-531c474c7b48" providerId="ADAL" clId="{6ECD27E6-B224-41CD-B4E0-E297462320DD}" dt="2023-11-24T08:51:16.938" v="87201"/>
          <ac:spMkLst>
            <pc:docMk/>
            <pc:sldMk cId="1005745348" sldId="686"/>
            <ac:spMk id="566" creationId="{90533061-C1DF-561D-3C22-F5BA4BF19D5A}"/>
          </ac:spMkLst>
        </pc:spChg>
        <pc:spChg chg="add del mod">
          <ac:chgData name="Steiner Andreas 6206 ED" userId="e6377c33-a923-4f14-8587-531c474c7b48" providerId="ADAL" clId="{6ECD27E6-B224-41CD-B4E0-E297462320DD}" dt="2023-11-24T08:51:18.852" v="87356"/>
          <ac:spMkLst>
            <pc:docMk/>
            <pc:sldMk cId="1005745348" sldId="686"/>
            <ac:spMk id="567" creationId="{C91A90ED-036B-A9E6-D65B-5C35668A779F}"/>
          </ac:spMkLst>
        </pc:spChg>
        <pc:spChg chg="add del mod">
          <ac:chgData name="Steiner Andreas 6206 ED" userId="e6377c33-a923-4f14-8587-531c474c7b48" providerId="ADAL" clId="{6ECD27E6-B224-41CD-B4E0-E297462320DD}" dt="2023-11-24T08:51:20.909" v="87511"/>
          <ac:spMkLst>
            <pc:docMk/>
            <pc:sldMk cId="1005745348" sldId="686"/>
            <ac:spMk id="568" creationId="{FEA074E1-F21A-24C4-DE90-4F51475D90C5}"/>
          </ac:spMkLst>
        </pc:spChg>
        <pc:spChg chg="add del mod">
          <ac:chgData name="Steiner Andreas 6206 ED" userId="e6377c33-a923-4f14-8587-531c474c7b48" providerId="ADAL" clId="{6ECD27E6-B224-41CD-B4E0-E297462320DD}" dt="2023-11-24T08:51:22.857" v="87666"/>
          <ac:spMkLst>
            <pc:docMk/>
            <pc:sldMk cId="1005745348" sldId="686"/>
            <ac:spMk id="569" creationId="{1AECAB73-8186-4693-A397-82CBC6874D2D}"/>
          </ac:spMkLst>
        </pc:spChg>
        <pc:spChg chg="add del mod">
          <ac:chgData name="Steiner Andreas 6206 ED" userId="e6377c33-a923-4f14-8587-531c474c7b48" providerId="ADAL" clId="{6ECD27E6-B224-41CD-B4E0-E297462320DD}" dt="2023-11-24T08:51:24.777" v="87821"/>
          <ac:spMkLst>
            <pc:docMk/>
            <pc:sldMk cId="1005745348" sldId="686"/>
            <ac:spMk id="570" creationId="{60E73ECF-26FA-6994-6AA3-E4066DC23B2D}"/>
          </ac:spMkLst>
        </pc:spChg>
        <pc:spChg chg="add del mod">
          <ac:chgData name="Steiner Andreas 6206 ED" userId="e6377c33-a923-4f14-8587-531c474c7b48" providerId="ADAL" clId="{6ECD27E6-B224-41CD-B4E0-E297462320DD}" dt="2023-11-24T08:51:26.646" v="87976"/>
          <ac:spMkLst>
            <pc:docMk/>
            <pc:sldMk cId="1005745348" sldId="686"/>
            <ac:spMk id="571" creationId="{5BF1722A-7B3A-E349-C54F-60CD37654487}"/>
          </ac:spMkLst>
        </pc:spChg>
        <pc:spChg chg="add del mod">
          <ac:chgData name="Steiner Andreas 6206 ED" userId="e6377c33-a923-4f14-8587-531c474c7b48" providerId="ADAL" clId="{6ECD27E6-B224-41CD-B4E0-E297462320DD}" dt="2023-11-24T08:51:28.556" v="88131"/>
          <ac:spMkLst>
            <pc:docMk/>
            <pc:sldMk cId="1005745348" sldId="686"/>
            <ac:spMk id="572" creationId="{D154D255-2CAE-7ED2-00FE-52FF44377392}"/>
          </ac:spMkLst>
        </pc:spChg>
        <pc:spChg chg="add del mod">
          <ac:chgData name="Steiner Andreas 6206 ED" userId="e6377c33-a923-4f14-8587-531c474c7b48" providerId="ADAL" clId="{6ECD27E6-B224-41CD-B4E0-E297462320DD}" dt="2023-11-24T08:51:30.523" v="88286"/>
          <ac:spMkLst>
            <pc:docMk/>
            <pc:sldMk cId="1005745348" sldId="686"/>
            <ac:spMk id="573" creationId="{20742EC5-0908-ED64-18EC-F121CC696A2C}"/>
          </ac:spMkLst>
        </pc:spChg>
        <pc:spChg chg="add del mod">
          <ac:chgData name="Steiner Andreas 6206 ED" userId="e6377c33-a923-4f14-8587-531c474c7b48" providerId="ADAL" clId="{6ECD27E6-B224-41CD-B4E0-E297462320DD}" dt="2023-11-24T08:51:32.683" v="88441"/>
          <ac:spMkLst>
            <pc:docMk/>
            <pc:sldMk cId="1005745348" sldId="686"/>
            <ac:spMk id="574" creationId="{65C13917-1012-C91A-D10C-A2B2540E74CC}"/>
          </ac:spMkLst>
        </pc:spChg>
        <pc:spChg chg="add del mod">
          <ac:chgData name="Steiner Andreas 6206 ED" userId="e6377c33-a923-4f14-8587-531c474c7b48" providerId="ADAL" clId="{6ECD27E6-B224-41CD-B4E0-E297462320DD}" dt="2023-11-24T08:51:34.651" v="88596"/>
          <ac:spMkLst>
            <pc:docMk/>
            <pc:sldMk cId="1005745348" sldId="686"/>
            <ac:spMk id="575" creationId="{A3CB6578-F132-8786-FEB3-1F9B59A64763}"/>
          </ac:spMkLst>
        </pc:spChg>
        <pc:spChg chg="add del mod">
          <ac:chgData name="Steiner Andreas 6206 ED" userId="e6377c33-a923-4f14-8587-531c474c7b48" providerId="ADAL" clId="{6ECD27E6-B224-41CD-B4E0-E297462320DD}" dt="2023-11-24T08:51:36.521" v="88751"/>
          <ac:spMkLst>
            <pc:docMk/>
            <pc:sldMk cId="1005745348" sldId="686"/>
            <ac:spMk id="576" creationId="{BD56EE8A-9EA6-36B5-DB94-8311B97D515F}"/>
          </ac:spMkLst>
        </pc:spChg>
        <pc:spChg chg="add del mod">
          <ac:chgData name="Steiner Andreas 6206 ED" userId="e6377c33-a923-4f14-8587-531c474c7b48" providerId="ADAL" clId="{6ECD27E6-B224-41CD-B4E0-E297462320DD}" dt="2023-11-24T08:51:38.467" v="88906"/>
          <ac:spMkLst>
            <pc:docMk/>
            <pc:sldMk cId="1005745348" sldId="686"/>
            <ac:spMk id="577" creationId="{8AB54669-2AC2-9D8F-2233-F267D2D9AB62}"/>
          </ac:spMkLst>
        </pc:spChg>
        <pc:spChg chg="add del mod">
          <ac:chgData name="Steiner Andreas 6206 ED" userId="e6377c33-a923-4f14-8587-531c474c7b48" providerId="ADAL" clId="{6ECD27E6-B224-41CD-B4E0-E297462320DD}" dt="2023-11-24T08:51:40.398" v="89061"/>
          <ac:spMkLst>
            <pc:docMk/>
            <pc:sldMk cId="1005745348" sldId="686"/>
            <ac:spMk id="578" creationId="{18FB80F3-99A1-476B-8705-F076366B977B}"/>
          </ac:spMkLst>
        </pc:spChg>
        <pc:spChg chg="add del mod">
          <ac:chgData name="Steiner Andreas 6206 ED" userId="e6377c33-a923-4f14-8587-531c474c7b48" providerId="ADAL" clId="{6ECD27E6-B224-41CD-B4E0-E297462320DD}" dt="2023-11-24T08:51:42.406" v="89216"/>
          <ac:spMkLst>
            <pc:docMk/>
            <pc:sldMk cId="1005745348" sldId="686"/>
            <ac:spMk id="579" creationId="{2D69D290-45C0-CD98-97AD-0BFC4F9A2EAE}"/>
          </ac:spMkLst>
        </pc:spChg>
        <pc:spChg chg="add del mod">
          <ac:chgData name="Steiner Andreas 6206 ED" userId="e6377c33-a923-4f14-8587-531c474c7b48" providerId="ADAL" clId="{6ECD27E6-B224-41CD-B4E0-E297462320DD}" dt="2023-11-24T08:51:44.520" v="89371"/>
          <ac:spMkLst>
            <pc:docMk/>
            <pc:sldMk cId="1005745348" sldId="686"/>
            <ac:spMk id="580" creationId="{0CB08BA9-9A50-0812-341D-CF29E8ECB3B1}"/>
          </ac:spMkLst>
        </pc:spChg>
        <pc:spChg chg="add del mod">
          <ac:chgData name="Steiner Andreas 6206 ED" userId="e6377c33-a923-4f14-8587-531c474c7b48" providerId="ADAL" clId="{6ECD27E6-B224-41CD-B4E0-E297462320DD}" dt="2023-11-24T08:51:46.481" v="89526"/>
          <ac:spMkLst>
            <pc:docMk/>
            <pc:sldMk cId="1005745348" sldId="686"/>
            <ac:spMk id="581" creationId="{77EE28C2-8061-409D-DAB9-64588C2AA1C8}"/>
          </ac:spMkLst>
        </pc:spChg>
        <pc:spChg chg="add del mod">
          <ac:chgData name="Steiner Andreas 6206 ED" userId="e6377c33-a923-4f14-8587-531c474c7b48" providerId="ADAL" clId="{6ECD27E6-B224-41CD-B4E0-E297462320DD}" dt="2023-11-24T08:51:48.375" v="89681"/>
          <ac:spMkLst>
            <pc:docMk/>
            <pc:sldMk cId="1005745348" sldId="686"/>
            <ac:spMk id="582" creationId="{EC495D87-247E-684A-56F5-52020CE26CB3}"/>
          </ac:spMkLst>
        </pc:spChg>
        <pc:spChg chg="add del mod">
          <ac:chgData name="Steiner Andreas 6206 ED" userId="e6377c33-a923-4f14-8587-531c474c7b48" providerId="ADAL" clId="{6ECD27E6-B224-41CD-B4E0-E297462320DD}" dt="2023-11-24T08:51:50.292" v="89836"/>
          <ac:spMkLst>
            <pc:docMk/>
            <pc:sldMk cId="1005745348" sldId="686"/>
            <ac:spMk id="583" creationId="{3B2E4BEE-7BF8-DB70-CACF-3BF4CC36759B}"/>
          </ac:spMkLst>
        </pc:spChg>
        <pc:spChg chg="add del mod">
          <ac:chgData name="Steiner Andreas 6206 ED" userId="e6377c33-a923-4f14-8587-531c474c7b48" providerId="ADAL" clId="{6ECD27E6-B224-41CD-B4E0-E297462320DD}" dt="2023-11-24T08:51:52.202" v="89991"/>
          <ac:spMkLst>
            <pc:docMk/>
            <pc:sldMk cId="1005745348" sldId="686"/>
            <ac:spMk id="584" creationId="{4AD796EA-82C5-F638-73DC-111A254F89D2}"/>
          </ac:spMkLst>
        </pc:spChg>
        <pc:spChg chg="add del mod">
          <ac:chgData name="Steiner Andreas 6206 ED" userId="e6377c33-a923-4f14-8587-531c474c7b48" providerId="ADAL" clId="{6ECD27E6-B224-41CD-B4E0-E297462320DD}" dt="2023-11-24T08:51:54.182" v="90146"/>
          <ac:spMkLst>
            <pc:docMk/>
            <pc:sldMk cId="1005745348" sldId="686"/>
            <ac:spMk id="585" creationId="{563C2DE7-1AAE-7785-44E0-FDB6DE7C7942}"/>
          </ac:spMkLst>
        </pc:spChg>
        <pc:spChg chg="add del mod">
          <ac:chgData name="Steiner Andreas 6206 ED" userId="e6377c33-a923-4f14-8587-531c474c7b48" providerId="ADAL" clId="{6ECD27E6-B224-41CD-B4E0-E297462320DD}" dt="2023-11-24T08:51:56.173" v="90301"/>
          <ac:spMkLst>
            <pc:docMk/>
            <pc:sldMk cId="1005745348" sldId="686"/>
            <ac:spMk id="586" creationId="{3A64F147-408A-2881-1510-76237D2F36FF}"/>
          </ac:spMkLst>
        </pc:spChg>
        <pc:spChg chg="add del mod">
          <ac:chgData name="Steiner Andreas 6206 ED" userId="e6377c33-a923-4f14-8587-531c474c7b48" providerId="ADAL" clId="{6ECD27E6-B224-41CD-B4E0-E297462320DD}" dt="2023-11-24T08:51:58.099" v="90456"/>
          <ac:spMkLst>
            <pc:docMk/>
            <pc:sldMk cId="1005745348" sldId="686"/>
            <ac:spMk id="587" creationId="{D6269A70-4475-B43B-54AD-407A7FECD13C}"/>
          </ac:spMkLst>
        </pc:spChg>
        <pc:spChg chg="add del mod">
          <ac:chgData name="Steiner Andreas 6206 ED" userId="e6377c33-a923-4f14-8587-531c474c7b48" providerId="ADAL" clId="{6ECD27E6-B224-41CD-B4E0-E297462320DD}" dt="2023-11-24T08:52:00.228" v="90611"/>
          <ac:spMkLst>
            <pc:docMk/>
            <pc:sldMk cId="1005745348" sldId="686"/>
            <ac:spMk id="588" creationId="{FADAED8C-21CF-F326-2C7B-7366DFFED2DF}"/>
          </ac:spMkLst>
        </pc:spChg>
        <pc:spChg chg="add del mod">
          <ac:chgData name="Steiner Andreas 6206 ED" userId="e6377c33-a923-4f14-8587-531c474c7b48" providerId="ADAL" clId="{6ECD27E6-B224-41CD-B4E0-E297462320DD}" dt="2023-11-24T08:52:02.184" v="90766"/>
          <ac:spMkLst>
            <pc:docMk/>
            <pc:sldMk cId="1005745348" sldId="686"/>
            <ac:spMk id="589" creationId="{F1D0B43F-6338-FCE9-0F80-92C6513D26CF}"/>
          </ac:spMkLst>
        </pc:spChg>
        <pc:spChg chg="add del mod">
          <ac:chgData name="Steiner Andreas 6206 ED" userId="e6377c33-a923-4f14-8587-531c474c7b48" providerId="ADAL" clId="{6ECD27E6-B224-41CD-B4E0-E297462320DD}" dt="2023-11-24T08:52:04.107" v="90921"/>
          <ac:spMkLst>
            <pc:docMk/>
            <pc:sldMk cId="1005745348" sldId="686"/>
            <ac:spMk id="590" creationId="{EDFC35DE-2613-F5A2-D171-FBDD3FD28A12}"/>
          </ac:spMkLst>
        </pc:spChg>
        <pc:spChg chg="add del mod">
          <ac:chgData name="Steiner Andreas 6206 ED" userId="e6377c33-a923-4f14-8587-531c474c7b48" providerId="ADAL" clId="{6ECD27E6-B224-41CD-B4E0-E297462320DD}" dt="2023-11-24T08:52:06.297" v="91076"/>
          <ac:spMkLst>
            <pc:docMk/>
            <pc:sldMk cId="1005745348" sldId="686"/>
            <ac:spMk id="591" creationId="{DDD0B7D9-B332-14A8-6174-A34275A74349}"/>
          </ac:spMkLst>
        </pc:spChg>
        <pc:spChg chg="add del mod">
          <ac:chgData name="Steiner Andreas 6206 ED" userId="e6377c33-a923-4f14-8587-531c474c7b48" providerId="ADAL" clId="{6ECD27E6-B224-41CD-B4E0-E297462320DD}" dt="2023-11-24T08:52:08.273" v="91231"/>
          <ac:spMkLst>
            <pc:docMk/>
            <pc:sldMk cId="1005745348" sldId="686"/>
            <ac:spMk id="592" creationId="{06A17D93-AD5C-106A-37CC-E620B916864F}"/>
          </ac:spMkLst>
        </pc:spChg>
        <pc:spChg chg="add del mod">
          <ac:chgData name="Steiner Andreas 6206 ED" userId="e6377c33-a923-4f14-8587-531c474c7b48" providerId="ADAL" clId="{6ECD27E6-B224-41CD-B4E0-E297462320DD}" dt="2023-11-24T08:52:10.157" v="91386"/>
          <ac:spMkLst>
            <pc:docMk/>
            <pc:sldMk cId="1005745348" sldId="686"/>
            <ac:spMk id="593" creationId="{ED854355-F094-F2B9-E716-8E5FF21348F7}"/>
          </ac:spMkLst>
        </pc:spChg>
        <pc:spChg chg="add del mod">
          <ac:chgData name="Steiner Andreas 6206 ED" userId="e6377c33-a923-4f14-8587-531c474c7b48" providerId="ADAL" clId="{6ECD27E6-B224-41CD-B4E0-E297462320DD}" dt="2023-11-24T08:52:12.012" v="91541"/>
          <ac:spMkLst>
            <pc:docMk/>
            <pc:sldMk cId="1005745348" sldId="686"/>
            <ac:spMk id="594" creationId="{1E5CD18C-7DD2-E6F5-F584-2A0B39B5E192}"/>
          </ac:spMkLst>
        </pc:spChg>
        <pc:spChg chg="add del mod">
          <ac:chgData name="Steiner Andreas 6206 ED" userId="e6377c33-a923-4f14-8587-531c474c7b48" providerId="ADAL" clId="{6ECD27E6-B224-41CD-B4E0-E297462320DD}" dt="2023-11-24T08:52:13.950" v="91696"/>
          <ac:spMkLst>
            <pc:docMk/>
            <pc:sldMk cId="1005745348" sldId="686"/>
            <ac:spMk id="595" creationId="{E74F3CE4-EA22-BB7F-A861-0562DA980147}"/>
          </ac:spMkLst>
        </pc:spChg>
        <pc:spChg chg="add del mod">
          <ac:chgData name="Steiner Andreas 6206 ED" userId="e6377c33-a923-4f14-8587-531c474c7b48" providerId="ADAL" clId="{6ECD27E6-B224-41CD-B4E0-E297462320DD}" dt="2023-11-24T08:52:15.860" v="91851"/>
          <ac:spMkLst>
            <pc:docMk/>
            <pc:sldMk cId="1005745348" sldId="686"/>
            <ac:spMk id="596" creationId="{2085ABEE-AF17-C533-7E19-F0A9E67EEF87}"/>
          </ac:spMkLst>
        </pc:spChg>
        <pc:spChg chg="add del mod">
          <ac:chgData name="Steiner Andreas 6206 ED" userId="e6377c33-a923-4f14-8587-531c474c7b48" providerId="ADAL" clId="{6ECD27E6-B224-41CD-B4E0-E297462320DD}" dt="2023-11-24T08:52:18.018" v="92006"/>
          <ac:spMkLst>
            <pc:docMk/>
            <pc:sldMk cId="1005745348" sldId="686"/>
            <ac:spMk id="597" creationId="{44D0F6FF-609D-6F80-C4EF-A393F5800742}"/>
          </ac:spMkLst>
        </pc:spChg>
        <pc:spChg chg="add del mod">
          <ac:chgData name="Steiner Andreas 6206 ED" userId="e6377c33-a923-4f14-8587-531c474c7b48" providerId="ADAL" clId="{6ECD27E6-B224-41CD-B4E0-E297462320DD}" dt="2023-11-24T08:52:19.987" v="92161"/>
          <ac:spMkLst>
            <pc:docMk/>
            <pc:sldMk cId="1005745348" sldId="686"/>
            <ac:spMk id="598" creationId="{160C03CC-5FFB-3669-3B27-009FDEE012DB}"/>
          </ac:spMkLst>
        </pc:spChg>
        <pc:spChg chg="add del mod">
          <ac:chgData name="Steiner Andreas 6206 ED" userId="e6377c33-a923-4f14-8587-531c474c7b48" providerId="ADAL" clId="{6ECD27E6-B224-41CD-B4E0-E297462320DD}" dt="2023-11-24T08:52:21.821" v="92316"/>
          <ac:spMkLst>
            <pc:docMk/>
            <pc:sldMk cId="1005745348" sldId="686"/>
            <ac:spMk id="599" creationId="{D4A8103D-F983-EFD7-94E8-26A280245B3D}"/>
          </ac:spMkLst>
        </pc:spChg>
        <pc:spChg chg="add del mod">
          <ac:chgData name="Steiner Andreas 6206 ED" userId="e6377c33-a923-4f14-8587-531c474c7b48" providerId="ADAL" clId="{6ECD27E6-B224-41CD-B4E0-E297462320DD}" dt="2023-11-24T08:52:23.885" v="92471"/>
          <ac:spMkLst>
            <pc:docMk/>
            <pc:sldMk cId="1005745348" sldId="686"/>
            <ac:spMk id="600" creationId="{62474172-3191-CA1C-F2EE-082D7EE0476E}"/>
          </ac:spMkLst>
        </pc:spChg>
        <pc:spChg chg="add del mod">
          <ac:chgData name="Steiner Andreas 6206 ED" userId="e6377c33-a923-4f14-8587-531c474c7b48" providerId="ADAL" clId="{6ECD27E6-B224-41CD-B4E0-E297462320DD}" dt="2023-11-24T08:52:25.762" v="92626"/>
          <ac:spMkLst>
            <pc:docMk/>
            <pc:sldMk cId="1005745348" sldId="686"/>
            <ac:spMk id="601" creationId="{2B5988EC-74F2-64CF-8011-B079CFC65748}"/>
          </ac:spMkLst>
        </pc:spChg>
        <pc:spChg chg="add del mod">
          <ac:chgData name="Steiner Andreas 6206 ED" userId="e6377c33-a923-4f14-8587-531c474c7b48" providerId="ADAL" clId="{6ECD27E6-B224-41CD-B4E0-E297462320DD}" dt="2023-11-24T08:52:27.629" v="92781"/>
          <ac:spMkLst>
            <pc:docMk/>
            <pc:sldMk cId="1005745348" sldId="686"/>
            <ac:spMk id="602" creationId="{3D352595-70F8-3FE3-20E5-0364254AA654}"/>
          </ac:spMkLst>
        </pc:spChg>
        <pc:spChg chg="add del mod">
          <ac:chgData name="Steiner Andreas 6206 ED" userId="e6377c33-a923-4f14-8587-531c474c7b48" providerId="ADAL" clId="{6ECD27E6-B224-41CD-B4E0-E297462320DD}" dt="2023-11-24T08:52:29.719" v="92936"/>
          <ac:spMkLst>
            <pc:docMk/>
            <pc:sldMk cId="1005745348" sldId="686"/>
            <ac:spMk id="603" creationId="{F65CB401-34E8-49B5-0542-931548EFF77A}"/>
          </ac:spMkLst>
        </pc:spChg>
        <pc:spChg chg="add del mod">
          <ac:chgData name="Steiner Andreas 6206 ED" userId="e6377c33-a923-4f14-8587-531c474c7b48" providerId="ADAL" clId="{6ECD27E6-B224-41CD-B4E0-E297462320DD}" dt="2023-11-24T08:52:31.647" v="93091"/>
          <ac:spMkLst>
            <pc:docMk/>
            <pc:sldMk cId="1005745348" sldId="686"/>
            <ac:spMk id="604" creationId="{57565067-52CD-DD34-276B-91A86AE3ED04}"/>
          </ac:spMkLst>
        </pc:spChg>
        <pc:spChg chg="add del mod">
          <ac:chgData name="Steiner Andreas 6206 ED" userId="e6377c33-a923-4f14-8587-531c474c7b48" providerId="ADAL" clId="{6ECD27E6-B224-41CD-B4E0-E297462320DD}" dt="2023-11-24T08:52:33.576" v="93246"/>
          <ac:spMkLst>
            <pc:docMk/>
            <pc:sldMk cId="1005745348" sldId="686"/>
            <ac:spMk id="605" creationId="{2FF15681-41D8-058B-4A0B-A4B066CFBFBD}"/>
          </ac:spMkLst>
        </pc:spChg>
        <pc:spChg chg="add del mod">
          <ac:chgData name="Steiner Andreas 6206 ED" userId="e6377c33-a923-4f14-8587-531c474c7b48" providerId="ADAL" clId="{6ECD27E6-B224-41CD-B4E0-E297462320DD}" dt="2023-11-24T08:52:35.468" v="93401"/>
          <ac:spMkLst>
            <pc:docMk/>
            <pc:sldMk cId="1005745348" sldId="686"/>
            <ac:spMk id="606" creationId="{7F23968C-15DB-12F8-B103-CDAB678B2B33}"/>
          </ac:spMkLst>
        </pc:spChg>
        <pc:spChg chg="add del mod">
          <ac:chgData name="Steiner Andreas 6206 ED" userId="e6377c33-a923-4f14-8587-531c474c7b48" providerId="ADAL" clId="{6ECD27E6-B224-41CD-B4E0-E297462320DD}" dt="2023-11-24T08:52:37.392" v="93556"/>
          <ac:spMkLst>
            <pc:docMk/>
            <pc:sldMk cId="1005745348" sldId="686"/>
            <ac:spMk id="607" creationId="{9433FAD4-D4F7-55B2-267D-867E8789572B}"/>
          </ac:spMkLst>
        </pc:spChg>
        <pc:spChg chg="add del mod">
          <ac:chgData name="Steiner Andreas 6206 ED" userId="e6377c33-a923-4f14-8587-531c474c7b48" providerId="ADAL" clId="{6ECD27E6-B224-41CD-B4E0-E297462320DD}" dt="2023-11-24T08:52:39.301" v="93711"/>
          <ac:spMkLst>
            <pc:docMk/>
            <pc:sldMk cId="1005745348" sldId="686"/>
            <ac:spMk id="608" creationId="{B24C067D-AF3D-4869-3E8D-5E7C09A51BEC}"/>
          </ac:spMkLst>
        </pc:spChg>
        <pc:spChg chg="add del mod">
          <ac:chgData name="Steiner Andreas 6206 ED" userId="e6377c33-a923-4f14-8587-531c474c7b48" providerId="ADAL" clId="{6ECD27E6-B224-41CD-B4E0-E297462320DD}" dt="2023-11-24T08:52:41.351" v="93866"/>
          <ac:spMkLst>
            <pc:docMk/>
            <pc:sldMk cId="1005745348" sldId="686"/>
            <ac:spMk id="609" creationId="{F37074DE-0AC8-350A-C849-8BA6A6547CF2}"/>
          </ac:spMkLst>
        </pc:spChg>
        <pc:spChg chg="add del mod">
          <ac:chgData name="Steiner Andreas 6206 ED" userId="e6377c33-a923-4f14-8587-531c474c7b48" providerId="ADAL" clId="{6ECD27E6-B224-41CD-B4E0-E297462320DD}" dt="2023-11-24T08:52:43.305" v="94021"/>
          <ac:spMkLst>
            <pc:docMk/>
            <pc:sldMk cId="1005745348" sldId="686"/>
            <ac:spMk id="610" creationId="{C14F1583-F101-459E-5C08-04DD1E0E09EF}"/>
          </ac:spMkLst>
        </pc:spChg>
        <pc:spChg chg="add del mod">
          <ac:chgData name="Steiner Andreas 6206 ED" userId="e6377c33-a923-4f14-8587-531c474c7b48" providerId="ADAL" clId="{6ECD27E6-B224-41CD-B4E0-E297462320DD}" dt="2023-11-24T08:52:45.239" v="94176"/>
          <ac:spMkLst>
            <pc:docMk/>
            <pc:sldMk cId="1005745348" sldId="686"/>
            <ac:spMk id="611" creationId="{B9FA3BCA-2AD8-5285-C5CF-F431C5D2CC0B}"/>
          </ac:spMkLst>
        </pc:spChg>
        <pc:spChg chg="add del mod">
          <ac:chgData name="Steiner Andreas 6206 ED" userId="e6377c33-a923-4f14-8587-531c474c7b48" providerId="ADAL" clId="{6ECD27E6-B224-41CD-B4E0-E297462320DD}" dt="2023-11-24T08:52:47.200" v="94331"/>
          <ac:spMkLst>
            <pc:docMk/>
            <pc:sldMk cId="1005745348" sldId="686"/>
            <ac:spMk id="612" creationId="{0271D6A4-5B94-4BD8-600E-FA8DE98B4146}"/>
          </ac:spMkLst>
        </pc:spChg>
        <pc:spChg chg="add del mod">
          <ac:chgData name="Steiner Andreas 6206 ED" userId="e6377c33-a923-4f14-8587-531c474c7b48" providerId="ADAL" clId="{6ECD27E6-B224-41CD-B4E0-E297462320DD}" dt="2023-11-24T08:52:49.274" v="94486"/>
          <ac:spMkLst>
            <pc:docMk/>
            <pc:sldMk cId="1005745348" sldId="686"/>
            <ac:spMk id="613" creationId="{FEF4FAE2-6434-3A12-3139-D3EB73D0A11A}"/>
          </ac:spMkLst>
        </pc:spChg>
        <pc:spChg chg="add del mod">
          <ac:chgData name="Steiner Andreas 6206 ED" userId="e6377c33-a923-4f14-8587-531c474c7b48" providerId="ADAL" clId="{6ECD27E6-B224-41CD-B4E0-E297462320DD}" dt="2023-11-24T08:52:51.479" v="94641"/>
          <ac:spMkLst>
            <pc:docMk/>
            <pc:sldMk cId="1005745348" sldId="686"/>
            <ac:spMk id="614" creationId="{F72A6492-38EB-9D5A-1472-88172A325256}"/>
          </ac:spMkLst>
        </pc:spChg>
        <pc:spChg chg="add del mod">
          <ac:chgData name="Steiner Andreas 6206 ED" userId="e6377c33-a923-4f14-8587-531c474c7b48" providerId="ADAL" clId="{6ECD27E6-B224-41CD-B4E0-E297462320DD}" dt="2023-11-24T08:52:53.423" v="94796"/>
          <ac:spMkLst>
            <pc:docMk/>
            <pc:sldMk cId="1005745348" sldId="686"/>
            <ac:spMk id="615" creationId="{1A78DBD6-558C-3161-4BF2-75CEF7C57A7E}"/>
          </ac:spMkLst>
        </pc:spChg>
        <pc:spChg chg="add del mod">
          <ac:chgData name="Steiner Andreas 6206 ED" userId="e6377c33-a923-4f14-8587-531c474c7b48" providerId="ADAL" clId="{6ECD27E6-B224-41CD-B4E0-E297462320DD}" dt="2023-11-24T08:52:55.362" v="94951"/>
          <ac:spMkLst>
            <pc:docMk/>
            <pc:sldMk cId="1005745348" sldId="686"/>
            <ac:spMk id="616" creationId="{A3FDC1B4-C21D-835F-C557-8FD668E06638}"/>
          </ac:spMkLst>
        </pc:spChg>
        <pc:spChg chg="add del mod">
          <ac:chgData name="Steiner Andreas 6206 ED" userId="e6377c33-a923-4f14-8587-531c474c7b48" providerId="ADAL" clId="{6ECD27E6-B224-41CD-B4E0-E297462320DD}" dt="2023-11-24T08:52:57.393" v="95106"/>
          <ac:spMkLst>
            <pc:docMk/>
            <pc:sldMk cId="1005745348" sldId="686"/>
            <ac:spMk id="617" creationId="{E6156771-70A1-D075-47C4-B6073924DF4B}"/>
          </ac:spMkLst>
        </pc:spChg>
        <pc:spChg chg="add del mod">
          <ac:chgData name="Steiner Andreas 6206 ED" userId="e6377c33-a923-4f14-8587-531c474c7b48" providerId="ADAL" clId="{6ECD27E6-B224-41CD-B4E0-E297462320DD}" dt="2023-11-24T08:52:59.343" v="95261"/>
          <ac:spMkLst>
            <pc:docMk/>
            <pc:sldMk cId="1005745348" sldId="686"/>
            <ac:spMk id="618" creationId="{63368DD3-6CEF-160D-5A14-8C13FD357B22}"/>
          </ac:spMkLst>
        </pc:spChg>
        <pc:spChg chg="add del mod">
          <ac:chgData name="Steiner Andreas 6206 ED" userId="e6377c33-a923-4f14-8587-531c474c7b48" providerId="ADAL" clId="{6ECD27E6-B224-41CD-B4E0-E297462320DD}" dt="2023-11-24T08:53:01.349" v="95416"/>
          <ac:spMkLst>
            <pc:docMk/>
            <pc:sldMk cId="1005745348" sldId="686"/>
            <ac:spMk id="619" creationId="{874B31B4-FEBA-40B0-832B-982F00D2FE3E}"/>
          </ac:spMkLst>
        </pc:spChg>
        <pc:spChg chg="add del mod">
          <ac:chgData name="Steiner Andreas 6206 ED" userId="e6377c33-a923-4f14-8587-531c474c7b48" providerId="ADAL" clId="{6ECD27E6-B224-41CD-B4E0-E297462320DD}" dt="2023-11-24T08:53:03.472" v="95571"/>
          <ac:spMkLst>
            <pc:docMk/>
            <pc:sldMk cId="1005745348" sldId="686"/>
            <ac:spMk id="620" creationId="{832A8C0E-A69D-6F16-E907-ED21E97EFCE3}"/>
          </ac:spMkLst>
        </pc:spChg>
        <pc:spChg chg="add del mod">
          <ac:chgData name="Steiner Andreas 6206 ED" userId="e6377c33-a923-4f14-8587-531c474c7b48" providerId="ADAL" clId="{6ECD27E6-B224-41CD-B4E0-E297462320DD}" dt="2023-11-24T08:53:05.440" v="95726"/>
          <ac:spMkLst>
            <pc:docMk/>
            <pc:sldMk cId="1005745348" sldId="686"/>
            <ac:spMk id="621" creationId="{6E4FD15C-5AF2-6D52-7500-AF53FDCDCBC4}"/>
          </ac:spMkLst>
        </pc:spChg>
        <pc:spChg chg="add del mod">
          <ac:chgData name="Steiner Andreas 6206 ED" userId="e6377c33-a923-4f14-8587-531c474c7b48" providerId="ADAL" clId="{6ECD27E6-B224-41CD-B4E0-E297462320DD}" dt="2023-11-24T08:53:07.315" v="95881"/>
          <ac:spMkLst>
            <pc:docMk/>
            <pc:sldMk cId="1005745348" sldId="686"/>
            <ac:spMk id="622" creationId="{0B029808-5FF2-D789-E49A-2B6326495402}"/>
          </ac:spMkLst>
        </pc:spChg>
        <pc:spChg chg="add del mod">
          <ac:chgData name="Steiner Andreas 6206 ED" userId="e6377c33-a923-4f14-8587-531c474c7b48" providerId="ADAL" clId="{6ECD27E6-B224-41CD-B4E0-E297462320DD}" dt="2023-11-24T08:53:09.255" v="96036"/>
          <ac:spMkLst>
            <pc:docMk/>
            <pc:sldMk cId="1005745348" sldId="686"/>
            <ac:spMk id="623" creationId="{2A93C5A2-2CE4-EA38-FABE-DC7F3DA530E3}"/>
          </ac:spMkLst>
        </pc:spChg>
        <pc:spChg chg="add del mod">
          <ac:chgData name="Steiner Andreas 6206 ED" userId="e6377c33-a923-4f14-8587-531c474c7b48" providerId="ADAL" clId="{6ECD27E6-B224-41CD-B4E0-E297462320DD}" dt="2023-11-24T08:53:11.199" v="96191"/>
          <ac:spMkLst>
            <pc:docMk/>
            <pc:sldMk cId="1005745348" sldId="686"/>
            <ac:spMk id="624" creationId="{E6ED9A1A-56DF-5E94-A38E-6E3688FC9E9E}"/>
          </ac:spMkLst>
        </pc:spChg>
        <pc:spChg chg="add del mod">
          <ac:chgData name="Steiner Andreas 6206 ED" userId="e6377c33-a923-4f14-8587-531c474c7b48" providerId="ADAL" clId="{6ECD27E6-B224-41CD-B4E0-E297462320DD}" dt="2023-11-24T08:53:13.184" v="96346"/>
          <ac:spMkLst>
            <pc:docMk/>
            <pc:sldMk cId="1005745348" sldId="686"/>
            <ac:spMk id="625" creationId="{8F3858ED-7E8A-B40B-B636-44432C6D5C5D}"/>
          </ac:spMkLst>
        </pc:spChg>
        <pc:spChg chg="add del mod">
          <ac:chgData name="Steiner Andreas 6206 ED" userId="e6377c33-a923-4f14-8587-531c474c7b48" providerId="ADAL" clId="{6ECD27E6-B224-41CD-B4E0-E297462320DD}" dt="2023-11-24T08:53:15.277" v="96501"/>
          <ac:spMkLst>
            <pc:docMk/>
            <pc:sldMk cId="1005745348" sldId="686"/>
            <ac:spMk id="626" creationId="{7CE1D159-C872-4F24-1E29-3BE10E7BEC5A}"/>
          </ac:spMkLst>
        </pc:spChg>
        <pc:spChg chg="add del mod">
          <ac:chgData name="Steiner Andreas 6206 ED" userId="e6377c33-a923-4f14-8587-531c474c7b48" providerId="ADAL" clId="{6ECD27E6-B224-41CD-B4E0-E297462320DD}" dt="2023-11-24T08:53:17.240" v="96656"/>
          <ac:spMkLst>
            <pc:docMk/>
            <pc:sldMk cId="1005745348" sldId="686"/>
            <ac:spMk id="627" creationId="{946ED63E-B794-5489-5F1D-60520D86CD63}"/>
          </ac:spMkLst>
        </pc:spChg>
        <pc:spChg chg="add del mod">
          <ac:chgData name="Steiner Andreas 6206 ED" userId="e6377c33-a923-4f14-8587-531c474c7b48" providerId="ADAL" clId="{6ECD27E6-B224-41CD-B4E0-E297462320DD}" dt="2023-11-24T08:53:19.201" v="96811"/>
          <ac:spMkLst>
            <pc:docMk/>
            <pc:sldMk cId="1005745348" sldId="686"/>
            <ac:spMk id="628" creationId="{6EE297E5-7610-444B-9058-4DCC9A23A215}"/>
          </ac:spMkLst>
        </pc:spChg>
        <pc:spChg chg="add del mod">
          <ac:chgData name="Steiner Andreas 6206 ED" userId="e6377c33-a923-4f14-8587-531c474c7b48" providerId="ADAL" clId="{6ECD27E6-B224-41CD-B4E0-E297462320DD}" dt="2023-11-24T08:53:21.166" v="96966"/>
          <ac:spMkLst>
            <pc:docMk/>
            <pc:sldMk cId="1005745348" sldId="686"/>
            <ac:spMk id="629" creationId="{90F4E278-06F7-277C-D5C4-0A0CB4613F9A}"/>
          </ac:spMkLst>
        </pc:spChg>
        <pc:spChg chg="add del mod">
          <ac:chgData name="Steiner Andreas 6206 ED" userId="e6377c33-a923-4f14-8587-531c474c7b48" providerId="ADAL" clId="{6ECD27E6-B224-41CD-B4E0-E297462320DD}" dt="2023-11-24T08:53:23.128" v="97121"/>
          <ac:spMkLst>
            <pc:docMk/>
            <pc:sldMk cId="1005745348" sldId="686"/>
            <ac:spMk id="630" creationId="{6CE65E2D-0017-9A33-8A62-B597338F01C6}"/>
          </ac:spMkLst>
        </pc:spChg>
        <pc:spChg chg="add del mod">
          <ac:chgData name="Steiner Andreas 6206 ED" userId="e6377c33-a923-4f14-8587-531c474c7b48" providerId="ADAL" clId="{6ECD27E6-B224-41CD-B4E0-E297462320DD}" dt="2023-11-24T08:53:25.240" v="97276"/>
          <ac:spMkLst>
            <pc:docMk/>
            <pc:sldMk cId="1005745348" sldId="686"/>
            <ac:spMk id="631" creationId="{C0ABA0AC-3605-7A45-BC92-626F23477BD6}"/>
          </ac:spMkLst>
        </pc:spChg>
        <pc:spChg chg="add del mod">
          <ac:chgData name="Steiner Andreas 6206 ED" userId="e6377c33-a923-4f14-8587-531c474c7b48" providerId="ADAL" clId="{6ECD27E6-B224-41CD-B4E0-E297462320DD}" dt="2023-11-24T08:53:27.232" v="97431"/>
          <ac:spMkLst>
            <pc:docMk/>
            <pc:sldMk cId="1005745348" sldId="686"/>
            <ac:spMk id="632" creationId="{AF8E5DC8-963A-7D64-0B5B-8B541DCA3208}"/>
          </ac:spMkLst>
        </pc:spChg>
        <pc:spChg chg="add del mod">
          <ac:chgData name="Steiner Andreas 6206 ED" userId="e6377c33-a923-4f14-8587-531c474c7b48" providerId="ADAL" clId="{6ECD27E6-B224-41CD-B4E0-E297462320DD}" dt="2023-11-24T08:53:29.121" v="97586"/>
          <ac:spMkLst>
            <pc:docMk/>
            <pc:sldMk cId="1005745348" sldId="686"/>
            <ac:spMk id="633" creationId="{FBFB16C8-3A4E-8C31-A4C3-A83911415438}"/>
          </ac:spMkLst>
        </pc:spChg>
        <pc:spChg chg="add del mod">
          <ac:chgData name="Steiner Andreas 6206 ED" userId="e6377c33-a923-4f14-8587-531c474c7b48" providerId="ADAL" clId="{6ECD27E6-B224-41CD-B4E0-E297462320DD}" dt="2023-11-24T08:53:31.019" v="97741"/>
          <ac:spMkLst>
            <pc:docMk/>
            <pc:sldMk cId="1005745348" sldId="686"/>
            <ac:spMk id="634" creationId="{ABEC69A7-D1B6-0E0B-5D95-F41C584DDA84}"/>
          </ac:spMkLst>
        </pc:spChg>
        <pc:spChg chg="add del mod">
          <ac:chgData name="Steiner Andreas 6206 ED" userId="e6377c33-a923-4f14-8587-531c474c7b48" providerId="ADAL" clId="{6ECD27E6-B224-41CD-B4E0-E297462320DD}" dt="2023-11-24T08:53:32.955" v="97896"/>
          <ac:spMkLst>
            <pc:docMk/>
            <pc:sldMk cId="1005745348" sldId="686"/>
            <ac:spMk id="635" creationId="{E75709C3-67D2-EF6E-AB57-A7D2A1282EE4}"/>
          </ac:spMkLst>
        </pc:spChg>
        <pc:spChg chg="add del mod">
          <ac:chgData name="Steiner Andreas 6206 ED" userId="e6377c33-a923-4f14-8587-531c474c7b48" providerId="ADAL" clId="{6ECD27E6-B224-41CD-B4E0-E297462320DD}" dt="2023-11-24T08:53:34.886" v="98051"/>
          <ac:spMkLst>
            <pc:docMk/>
            <pc:sldMk cId="1005745348" sldId="686"/>
            <ac:spMk id="636" creationId="{2C370555-674A-0A5A-0351-9D1905692B15}"/>
          </ac:spMkLst>
        </pc:spChg>
        <pc:spChg chg="add del mod">
          <ac:chgData name="Steiner Andreas 6206 ED" userId="e6377c33-a923-4f14-8587-531c474c7b48" providerId="ADAL" clId="{6ECD27E6-B224-41CD-B4E0-E297462320DD}" dt="2023-11-24T08:53:36.982" v="98206"/>
          <ac:spMkLst>
            <pc:docMk/>
            <pc:sldMk cId="1005745348" sldId="686"/>
            <ac:spMk id="637" creationId="{92739B4F-8049-1F77-83AD-27317A738DD9}"/>
          </ac:spMkLst>
        </pc:spChg>
        <pc:spChg chg="add del mod">
          <ac:chgData name="Steiner Andreas 6206 ED" userId="e6377c33-a923-4f14-8587-531c474c7b48" providerId="ADAL" clId="{6ECD27E6-B224-41CD-B4E0-E297462320DD}" dt="2023-11-24T08:53:38.896" v="98361"/>
          <ac:spMkLst>
            <pc:docMk/>
            <pc:sldMk cId="1005745348" sldId="686"/>
            <ac:spMk id="638" creationId="{6305EC30-AC71-7D5F-77D0-6EFAD80C36EF}"/>
          </ac:spMkLst>
        </pc:spChg>
        <pc:spChg chg="add del mod">
          <ac:chgData name="Steiner Andreas 6206 ED" userId="e6377c33-a923-4f14-8587-531c474c7b48" providerId="ADAL" clId="{6ECD27E6-B224-41CD-B4E0-E297462320DD}" dt="2023-11-24T08:53:40.857" v="98516"/>
          <ac:spMkLst>
            <pc:docMk/>
            <pc:sldMk cId="1005745348" sldId="686"/>
            <ac:spMk id="639" creationId="{A5D16D05-7C45-C241-20F2-45D23BD35BDE}"/>
          </ac:spMkLst>
        </pc:spChg>
        <pc:spChg chg="add del mod">
          <ac:chgData name="Steiner Andreas 6206 ED" userId="e6377c33-a923-4f14-8587-531c474c7b48" providerId="ADAL" clId="{6ECD27E6-B224-41CD-B4E0-E297462320DD}" dt="2023-11-24T08:53:42.797" v="98671"/>
          <ac:spMkLst>
            <pc:docMk/>
            <pc:sldMk cId="1005745348" sldId="686"/>
            <ac:spMk id="640" creationId="{AEBCFC7D-11CB-9A72-7CA9-0D8B0952F79F}"/>
          </ac:spMkLst>
        </pc:spChg>
        <pc:spChg chg="add del mod">
          <ac:chgData name="Steiner Andreas 6206 ED" userId="e6377c33-a923-4f14-8587-531c474c7b48" providerId="ADAL" clId="{6ECD27E6-B224-41CD-B4E0-E297462320DD}" dt="2023-11-24T08:53:44.749" v="98826"/>
          <ac:spMkLst>
            <pc:docMk/>
            <pc:sldMk cId="1005745348" sldId="686"/>
            <ac:spMk id="641" creationId="{08966EE3-6CA8-D8BD-18EC-F2981CFC0424}"/>
          </ac:spMkLst>
        </pc:spChg>
        <pc:spChg chg="add del mod">
          <ac:chgData name="Steiner Andreas 6206 ED" userId="e6377c33-a923-4f14-8587-531c474c7b48" providerId="ADAL" clId="{6ECD27E6-B224-41CD-B4E0-E297462320DD}" dt="2023-11-24T08:53:46.680" v="98981"/>
          <ac:spMkLst>
            <pc:docMk/>
            <pc:sldMk cId="1005745348" sldId="686"/>
            <ac:spMk id="642" creationId="{345DB571-A47F-7BD7-CDDA-09464D0CD507}"/>
          </ac:spMkLst>
        </pc:spChg>
        <pc:spChg chg="add del mod">
          <ac:chgData name="Steiner Andreas 6206 ED" userId="e6377c33-a923-4f14-8587-531c474c7b48" providerId="ADAL" clId="{6ECD27E6-B224-41CD-B4E0-E297462320DD}" dt="2023-11-24T08:53:48.744" v="99136"/>
          <ac:spMkLst>
            <pc:docMk/>
            <pc:sldMk cId="1005745348" sldId="686"/>
            <ac:spMk id="643" creationId="{58644E6B-5F75-3491-BB5E-1AA4A33B26E9}"/>
          </ac:spMkLst>
        </pc:spChg>
        <pc:spChg chg="add del mod">
          <ac:chgData name="Steiner Andreas 6206 ED" userId="e6377c33-a923-4f14-8587-531c474c7b48" providerId="ADAL" clId="{6ECD27E6-B224-41CD-B4E0-E297462320DD}" dt="2023-11-24T08:53:50.698" v="99291"/>
          <ac:spMkLst>
            <pc:docMk/>
            <pc:sldMk cId="1005745348" sldId="686"/>
            <ac:spMk id="644" creationId="{2B092436-2A9E-2A8F-34AE-9B7FB881AF7C}"/>
          </ac:spMkLst>
        </pc:spChg>
        <pc:spChg chg="add del mod">
          <ac:chgData name="Steiner Andreas 6206 ED" userId="e6377c33-a923-4f14-8587-531c474c7b48" providerId="ADAL" clId="{6ECD27E6-B224-41CD-B4E0-E297462320DD}" dt="2023-11-24T08:53:52.680" v="99446"/>
          <ac:spMkLst>
            <pc:docMk/>
            <pc:sldMk cId="1005745348" sldId="686"/>
            <ac:spMk id="645" creationId="{69453B15-C03F-CA79-AA62-3ED85AD530FF}"/>
          </ac:spMkLst>
        </pc:spChg>
        <pc:spChg chg="add del mod">
          <ac:chgData name="Steiner Andreas 6206 ED" userId="e6377c33-a923-4f14-8587-531c474c7b48" providerId="ADAL" clId="{6ECD27E6-B224-41CD-B4E0-E297462320DD}" dt="2023-11-24T08:53:54.645" v="99601"/>
          <ac:spMkLst>
            <pc:docMk/>
            <pc:sldMk cId="1005745348" sldId="686"/>
            <ac:spMk id="646" creationId="{B18F3BB6-D8B4-4193-E331-7AD0D855F9B4}"/>
          </ac:spMkLst>
        </pc:spChg>
        <pc:spChg chg="add del mod">
          <ac:chgData name="Steiner Andreas 6206 ED" userId="e6377c33-a923-4f14-8587-531c474c7b48" providerId="ADAL" clId="{6ECD27E6-B224-41CD-B4E0-E297462320DD}" dt="2023-11-24T08:53:56.572" v="99756"/>
          <ac:spMkLst>
            <pc:docMk/>
            <pc:sldMk cId="1005745348" sldId="686"/>
            <ac:spMk id="647" creationId="{E60BABC9-67D7-9E5F-D44E-643EC5C461FD}"/>
          </ac:spMkLst>
        </pc:spChg>
        <pc:spChg chg="add del mod">
          <ac:chgData name="Steiner Andreas 6206 ED" userId="e6377c33-a923-4f14-8587-531c474c7b48" providerId="ADAL" clId="{6ECD27E6-B224-41CD-B4E0-E297462320DD}" dt="2023-11-24T08:53:58.643" v="99911"/>
          <ac:spMkLst>
            <pc:docMk/>
            <pc:sldMk cId="1005745348" sldId="686"/>
            <ac:spMk id="648" creationId="{1319E241-30DF-1704-F2ED-531E2F90CC70}"/>
          </ac:spMkLst>
        </pc:spChg>
        <pc:spChg chg="add del mod">
          <ac:chgData name="Steiner Andreas 6206 ED" userId="e6377c33-a923-4f14-8587-531c474c7b48" providerId="ADAL" clId="{6ECD27E6-B224-41CD-B4E0-E297462320DD}" dt="2023-11-24T08:54:00.752" v="100066"/>
          <ac:spMkLst>
            <pc:docMk/>
            <pc:sldMk cId="1005745348" sldId="686"/>
            <ac:spMk id="649" creationId="{BE5FD47F-54E6-9FC6-5FD4-370F21288E76}"/>
          </ac:spMkLst>
        </pc:spChg>
        <pc:spChg chg="add del mod">
          <ac:chgData name="Steiner Andreas 6206 ED" userId="e6377c33-a923-4f14-8587-531c474c7b48" providerId="ADAL" clId="{6ECD27E6-B224-41CD-B4E0-E297462320DD}" dt="2023-11-24T08:54:02.739" v="100221"/>
          <ac:spMkLst>
            <pc:docMk/>
            <pc:sldMk cId="1005745348" sldId="686"/>
            <ac:spMk id="650" creationId="{FB317505-56BE-51AC-C554-217FB83575EE}"/>
          </ac:spMkLst>
        </pc:spChg>
        <pc:spChg chg="add del mod">
          <ac:chgData name="Steiner Andreas 6206 ED" userId="e6377c33-a923-4f14-8587-531c474c7b48" providerId="ADAL" clId="{6ECD27E6-B224-41CD-B4E0-E297462320DD}" dt="2023-11-24T08:54:04.692" v="100376"/>
          <ac:spMkLst>
            <pc:docMk/>
            <pc:sldMk cId="1005745348" sldId="686"/>
            <ac:spMk id="651" creationId="{3DEE4D2E-8348-B83A-9D24-63BADDC0C946}"/>
          </ac:spMkLst>
        </pc:spChg>
        <pc:spChg chg="add del mod">
          <ac:chgData name="Steiner Andreas 6206 ED" userId="e6377c33-a923-4f14-8587-531c474c7b48" providerId="ADAL" clId="{6ECD27E6-B224-41CD-B4E0-E297462320DD}" dt="2023-11-24T08:54:06.668" v="100531"/>
          <ac:spMkLst>
            <pc:docMk/>
            <pc:sldMk cId="1005745348" sldId="686"/>
            <ac:spMk id="652" creationId="{A31C850C-F1B6-6143-2E2E-768FC4389082}"/>
          </ac:spMkLst>
        </pc:spChg>
        <pc:spChg chg="add del mod">
          <ac:chgData name="Steiner Andreas 6206 ED" userId="e6377c33-a923-4f14-8587-531c474c7b48" providerId="ADAL" clId="{6ECD27E6-B224-41CD-B4E0-E297462320DD}" dt="2023-11-24T08:54:08.643" v="100686"/>
          <ac:spMkLst>
            <pc:docMk/>
            <pc:sldMk cId="1005745348" sldId="686"/>
            <ac:spMk id="653" creationId="{05C92FC3-3C4C-8C7A-DD50-0FD1C737B6FD}"/>
          </ac:spMkLst>
        </pc:spChg>
        <pc:spChg chg="add del mod">
          <ac:chgData name="Steiner Andreas 6206 ED" userId="e6377c33-a923-4f14-8587-531c474c7b48" providerId="ADAL" clId="{6ECD27E6-B224-41CD-B4E0-E297462320DD}" dt="2023-11-24T08:54:10.790" v="100841"/>
          <ac:spMkLst>
            <pc:docMk/>
            <pc:sldMk cId="1005745348" sldId="686"/>
            <ac:spMk id="654" creationId="{14E0C3A8-CD8B-6BB2-2A58-C647EB535B02}"/>
          </ac:spMkLst>
        </pc:spChg>
        <pc:spChg chg="add del mod">
          <ac:chgData name="Steiner Andreas 6206 ED" userId="e6377c33-a923-4f14-8587-531c474c7b48" providerId="ADAL" clId="{6ECD27E6-B224-41CD-B4E0-E297462320DD}" dt="2023-11-24T08:54:12.713" v="100996"/>
          <ac:spMkLst>
            <pc:docMk/>
            <pc:sldMk cId="1005745348" sldId="686"/>
            <ac:spMk id="655" creationId="{AE208AC3-CE8F-9A51-F783-C9E9E808F942}"/>
          </ac:spMkLst>
        </pc:spChg>
        <pc:spChg chg="add del mod">
          <ac:chgData name="Steiner Andreas 6206 ED" userId="e6377c33-a923-4f14-8587-531c474c7b48" providerId="ADAL" clId="{6ECD27E6-B224-41CD-B4E0-E297462320DD}" dt="2023-11-24T08:54:14.684" v="101151"/>
          <ac:spMkLst>
            <pc:docMk/>
            <pc:sldMk cId="1005745348" sldId="686"/>
            <ac:spMk id="656" creationId="{35B8E886-80D2-DE66-DB0B-042372FD4375}"/>
          </ac:spMkLst>
        </pc:spChg>
        <pc:spChg chg="add del mod">
          <ac:chgData name="Steiner Andreas 6206 ED" userId="e6377c33-a923-4f14-8587-531c474c7b48" providerId="ADAL" clId="{6ECD27E6-B224-41CD-B4E0-E297462320DD}" dt="2023-11-24T08:54:16.562" v="101306"/>
          <ac:spMkLst>
            <pc:docMk/>
            <pc:sldMk cId="1005745348" sldId="686"/>
            <ac:spMk id="657" creationId="{4E25D295-26AC-BBC2-C4F7-712C1AC5E9A2}"/>
          </ac:spMkLst>
        </pc:spChg>
        <pc:spChg chg="add del mod">
          <ac:chgData name="Steiner Andreas 6206 ED" userId="e6377c33-a923-4f14-8587-531c474c7b48" providerId="ADAL" clId="{6ECD27E6-B224-41CD-B4E0-E297462320DD}" dt="2023-11-24T08:54:18.478" v="101461"/>
          <ac:spMkLst>
            <pc:docMk/>
            <pc:sldMk cId="1005745348" sldId="686"/>
            <ac:spMk id="658" creationId="{09C42CCB-A380-09D7-5074-D6F125AA36DB}"/>
          </ac:spMkLst>
        </pc:spChg>
        <pc:spChg chg="add del mod">
          <ac:chgData name="Steiner Andreas 6206 ED" userId="e6377c33-a923-4f14-8587-531c474c7b48" providerId="ADAL" clId="{6ECD27E6-B224-41CD-B4E0-E297462320DD}" dt="2023-11-24T08:54:20.441" v="101616"/>
          <ac:spMkLst>
            <pc:docMk/>
            <pc:sldMk cId="1005745348" sldId="686"/>
            <ac:spMk id="659" creationId="{287983D4-BB4B-88AF-22A3-9F6B86F446E1}"/>
          </ac:spMkLst>
        </pc:spChg>
        <pc:spChg chg="add del mod">
          <ac:chgData name="Steiner Andreas 6206 ED" userId="e6377c33-a923-4f14-8587-531c474c7b48" providerId="ADAL" clId="{6ECD27E6-B224-41CD-B4E0-E297462320DD}" dt="2023-11-24T08:54:22.553" v="101771"/>
          <ac:spMkLst>
            <pc:docMk/>
            <pc:sldMk cId="1005745348" sldId="686"/>
            <ac:spMk id="660" creationId="{99F63918-617C-A0DB-93FD-3F0471C5D9D2}"/>
          </ac:spMkLst>
        </pc:spChg>
        <pc:spChg chg="add del mod">
          <ac:chgData name="Steiner Andreas 6206 ED" userId="e6377c33-a923-4f14-8587-531c474c7b48" providerId="ADAL" clId="{6ECD27E6-B224-41CD-B4E0-E297462320DD}" dt="2023-11-24T08:54:24.513" v="101926"/>
          <ac:spMkLst>
            <pc:docMk/>
            <pc:sldMk cId="1005745348" sldId="686"/>
            <ac:spMk id="661" creationId="{51B5126A-4C3C-74C0-52B5-34CD57AD5F58}"/>
          </ac:spMkLst>
        </pc:spChg>
        <pc:spChg chg="add del mod">
          <ac:chgData name="Steiner Andreas 6206 ED" userId="e6377c33-a923-4f14-8587-531c474c7b48" providerId="ADAL" clId="{6ECD27E6-B224-41CD-B4E0-E297462320DD}" dt="2023-11-24T08:54:26.463" v="102081"/>
          <ac:spMkLst>
            <pc:docMk/>
            <pc:sldMk cId="1005745348" sldId="686"/>
            <ac:spMk id="662" creationId="{98BEA56B-E8F4-4871-32A1-CE273EF86AC6}"/>
          </ac:spMkLst>
        </pc:spChg>
        <pc:spChg chg="add del mod">
          <ac:chgData name="Steiner Andreas 6206 ED" userId="e6377c33-a923-4f14-8587-531c474c7b48" providerId="ADAL" clId="{6ECD27E6-B224-41CD-B4E0-E297462320DD}" dt="2023-11-24T08:54:28.423" v="102236"/>
          <ac:spMkLst>
            <pc:docMk/>
            <pc:sldMk cId="1005745348" sldId="686"/>
            <ac:spMk id="663" creationId="{69AA9E2D-4885-34A9-7901-D568466E6622}"/>
          </ac:spMkLst>
        </pc:spChg>
        <pc:spChg chg="add del mod">
          <ac:chgData name="Steiner Andreas 6206 ED" userId="e6377c33-a923-4f14-8587-531c474c7b48" providerId="ADAL" clId="{6ECD27E6-B224-41CD-B4E0-E297462320DD}" dt="2023-11-24T08:54:30.351" v="102391"/>
          <ac:spMkLst>
            <pc:docMk/>
            <pc:sldMk cId="1005745348" sldId="686"/>
            <ac:spMk id="664" creationId="{7D251C4D-D42D-FF9D-3EB8-350DC8BE907C}"/>
          </ac:spMkLst>
        </pc:spChg>
        <pc:spChg chg="add del mod">
          <ac:chgData name="Steiner Andreas 6206 ED" userId="e6377c33-a923-4f14-8587-531c474c7b48" providerId="ADAL" clId="{6ECD27E6-B224-41CD-B4E0-E297462320DD}" dt="2023-11-24T08:54:32.507" v="102546"/>
          <ac:spMkLst>
            <pc:docMk/>
            <pc:sldMk cId="1005745348" sldId="686"/>
            <ac:spMk id="665" creationId="{90A7D447-6EA0-C880-3D52-E8B94492D4B7}"/>
          </ac:spMkLst>
        </pc:spChg>
        <pc:spChg chg="add del mod">
          <ac:chgData name="Steiner Andreas 6206 ED" userId="e6377c33-a923-4f14-8587-531c474c7b48" providerId="ADAL" clId="{6ECD27E6-B224-41CD-B4E0-E297462320DD}" dt="2023-11-24T08:54:34.483" v="102701"/>
          <ac:spMkLst>
            <pc:docMk/>
            <pc:sldMk cId="1005745348" sldId="686"/>
            <ac:spMk id="666" creationId="{19E0ED42-1C1D-AA8B-6518-5ADE7E655F69}"/>
          </ac:spMkLst>
        </pc:spChg>
        <pc:spChg chg="add del mod">
          <ac:chgData name="Steiner Andreas 6206 ED" userId="e6377c33-a923-4f14-8587-531c474c7b48" providerId="ADAL" clId="{6ECD27E6-B224-41CD-B4E0-E297462320DD}" dt="2023-11-24T08:54:36.415" v="102856"/>
          <ac:spMkLst>
            <pc:docMk/>
            <pc:sldMk cId="1005745348" sldId="686"/>
            <ac:spMk id="667" creationId="{4D00AD3B-3AFD-0555-7F1A-B3D92607FF85}"/>
          </ac:spMkLst>
        </pc:spChg>
        <pc:spChg chg="add del mod">
          <ac:chgData name="Steiner Andreas 6206 ED" userId="e6377c33-a923-4f14-8587-531c474c7b48" providerId="ADAL" clId="{6ECD27E6-B224-41CD-B4E0-E297462320DD}" dt="2023-11-24T08:54:38.626" v="103011"/>
          <ac:spMkLst>
            <pc:docMk/>
            <pc:sldMk cId="1005745348" sldId="686"/>
            <ac:spMk id="668" creationId="{CD9A17C2-517F-A584-2AC7-172F3198DAC1}"/>
          </ac:spMkLst>
        </pc:spChg>
        <pc:spChg chg="add del mod">
          <ac:chgData name="Steiner Andreas 6206 ED" userId="e6377c33-a923-4f14-8587-531c474c7b48" providerId="ADAL" clId="{6ECD27E6-B224-41CD-B4E0-E297462320DD}" dt="2023-11-24T08:54:40.790" v="103166"/>
          <ac:spMkLst>
            <pc:docMk/>
            <pc:sldMk cId="1005745348" sldId="686"/>
            <ac:spMk id="669" creationId="{B59EB2BF-F6E8-EBAA-5F54-B045CD1D670B}"/>
          </ac:spMkLst>
        </pc:spChg>
        <pc:spChg chg="add del mod">
          <ac:chgData name="Steiner Andreas 6206 ED" userId="e6377c33-a923-4f14-8587-531c474c7b48" providerId="ADAL" clId="{6ECD27E6-B224-41CD-B4E0-E297462320DD}" dt="2023-11-24T08:54:42.699" v="103321"/>
          <ac:spMkLst>
            <pc:docMk/>
            <pc:sldMk cId="1005745348" sldId="686"/>
            <ac:spMk id="670" creationId="{2A9E3718-5A8A-75BA-7FC1-85C358E6BF55}"/>
          </ac:spMkLst>
        </pc:spChg>
        <pc:spChg chg="add del mod">
          <ac:chgData name="Steiner Andreas 6206 ED" userId="e6377c33-a923-4f14-8587-531c474c7b48" providerId="ADAL" clId="{6ECD27E6-B224-41CD-B4E0-E297462320DD}" dt="2023-11-24T08:54:44.968" v="103476"/>
          <ac:spMkLst>
            <pc:docMk/>
            <pc:sldMk cId="1005745348" sldId="686"/>
            <ac:spMk id="671" creationId="{68D81CB6-026B-9078-19A4-634DA22E849F}"/>
          </ac:spMkLst>
        </pc:spChg>
        <pc:spChg chg="add del mod">
          <ac:chgData name="Steiner Andreas 6206 ED" userId="e6377c33-a923-4f14-8587-531c474c7b48" providerId="ADAL" clId="{6ECD27E6-B224-41CD-B4E0-E297462320DD}" dt="2023-11-24T08:54:47.206" v="103631"/>
          <ac:spMkLst>
            <pc:docMk/>
            <pc:sldMk cId="1005745348" sldId="686"/>
            <ac:spMk id="672" creationId="{98DEF25B-1866-057F-0F0F-4AE1CFF333E1}"/>
          </ac:spMkLst>
        </pc:spChg>
        <pc:spChg chg="add del mod">
          <ac:chgData name="Steiner Andreas 6206 ED" userId="e6377c33-a923-4f14-8587-531c474c7b48" providerId="ADAL" clId="{6ECD27E6-B224-41CD-B4E0-E297462320DD}" dt="2023-11-24T08:54:49.331" v="103786"/>
          <ac:spMkLst>
            <pc:docMk/>
            <pc:sldMk cId="1005745348" sldId="686"/>
            <ac:spMk id="673" creationId="{33E45079-A9B9-EF40-4DE8-20617739AB61}"/>
          </ac:spMkLst>
        </pc:spChg>
        <pc:spChg chg="add del mod">
          <ac:chgData name="Steiner Andreas 6206 ED" userId="e6377c33-a923-4f14-8587-531c474c7b48" providerId="ADAL" clId="{6ECD27E6-B224-41CD-B4E0-E297462320DD}" dt="2023-11-24T08:54:51.689" v="103941"/>
          <ac:spMkLst>
            <pc:docMk/>
            <pc:sldMk cId="1005745348" sldId="686"/>
            <ac:spMk id="674" creationId="{03FD6449-44A7-37E7-F3F9-3EBDF0BC8DF2}"/>
          </ac:spMkLst>
        </pc:spChg>
        <pc:spChg chg="add del mod">
          <ac:chgData name="Steiner Andreas 6206 ED" userId="e6377c33-a923-4f14-8587-531c474c7b48" providerId="ADAL" clId="{6ECD27E6-B224-41CD-B4E0-E297462320DD}" dt="2023-11-24T08:54:53.753" v="104096"/>
          <ac:spMkLst>
            <pc:docMk/>
            <pc:sldMk cId="1005745348" sldId="686"/>
            <ac:spMk id="675" creationId="{B582F751-A501-7C86-651B-A7BF1360331C}"/>
          </ac:spMkLst>
        </pc:spChg>
        <pc:spChg chg="add del mod">
          <ac:chgData name="Steiner Andreas 6206 ED" userId="e6377c33-a923-4f14-8587-531c474c7b48" providerId="ADAL" clId="{6ECD27E6-B224-41CD-B4E0-E297462320DD}" dt="2023-11-24T08:54:55.879" v="104251"/>
          <ac:spMkLst>
            <pc:docMk/>
            <pc:sldMk cId="1005745348" sldId="686"/>
            <ac:spMk id="676" creationId="{3A45A17D-B0B0-6420-756A-DD68AE0E6072}"/>
          </ac:spMkLst>
        </pc:spChg>
        <pc:spChg chg="add del mod">
          <ac:chgData name="Steiner Andreas 6206 ED" userId="e6377c33-a923-4f14-8587-531c474c7b48" providerId="ADAL" clId="{6ECD27E6-B224-41CD-B4E0-E297462320DD}" dt="2023-11-24T08:54:57.948" v="104406"/>
          <ac:spMkLst>
            <pc:docMk/>
            <pc:sldMk cId="1005745348" sldId="686"/>
            <ac:spMk id="677" creationId="{9EA17221-2A8E-2671-D329-194A2FF1EF31}"/>
          </ac:spMkLst>
        </pc:spChg>
        <pc:spChg chg="add del mod">
          <ac:chgData name="Steiner Andreas 6206 ED" userId="e6377c33-a923-4f14-8587-531c474c7b48" providerId="ADAL" clId="{6ECD27E6-B224-41CD-B4E0-E297462320DD}" dt="2023-11-24T08:54:59.963" v="104561"/>
          <ac:spMkLst>
            <pc:docMk/>
            <pc:sldMk cId="1005745348" sldId="686"/>
            <ac:spMk id="678" creationId="{01307B0B-292F-D316-A3E7-8998A97E333E}"/>
          </ac:spMkLst>
        </pc:spChg>
        <pc:spChg chg="add del mod">
          <ac:chgData name="Steiner Andreas 6206 ED" userId="e6377c33-a923-4f14-8587-531c474c7b48" providerId="ADAL" clId="{6ECD27E6-B224-41CD-B4E0-E297462320DD}" dt="2023-11-24T08:55:01.912" v="104716"/>
          <ac:spMkLst>
            <pc:docMk/>
            <pc:sldMk cId="1005745348" sldId="686"/>
            <ac:spMk id="679" creationId="{12CAF36B-1EE0-1B7C-0F47-F54A34299E68}"/>
          </ac:spMkLst>
        </pc:spChg>
        <pc:spChg chg="add del mod">
          <ac:chgData name="Steiner Andreas 6206 ED" userId="e6377c33-a923-4f14-8587-531c474c7b48" providerId="ADAL" clId="{6ECD27E6-B224-41CD-B4E0-E297462320DD}" dt="2023-11-24T08:55:03.871" v="104871"/>
          <ac:spMkLst>
            <pc:docMk/>
            <pc:sldMk cId="1005745348" sldId="686"/>
            <ac:spMk id="680" creationId="{88ABB78A-AAE3-536A-4656-088820FAD0C6}"/>
          </ac:spMkLst>
        </pc:spChg>
        <pc:spChg chg="add del mod">
          <ac:chgData name="Steiner Andreas 6206 ED" userId="e6377c33-a923-4f14-8587-531c474c7b48" providerId="ADAL" clId="{6ECD27E6-B224-41CD-B4E0-E297462320DD}" dt="2023-11-24T08:55:05.994" v="105026"/>
          <ac:spMkLst>
            <pc:docMk/>
            <pc:sldMk cId="1005745348" sldId="686"/>
            <ac:spMk id="681" creationId="{1A413B03-2470-6CFE-600F-B3487F037FCE}"/>
          </ac:spMkLst>
        </pc:spChg>
        <pc:spChg chg="add del mod">
          <ac:chgData name="Steiner Andreas 6206 ED" userId="e6377c33-a923-4f14-8587-531c474c7b48" providerId="ADAL" clId="{6ECD27E6-B224-41CD-B4E0-E297462320DD}" dt="2023-11-24T08:55:08.094" v="105181"/>
          <ac:spMkLst>
            <pc:docMk/>
            <pc:sldMk cId="1005745348" sldId="686"/>
            <ac:spMk id="682" creationId="{BEF4BC10-6E2F-7FAF-6AA5-057E512748CE}"/>
          </ac:spMkLst>
        </pc:spChg>
        <pc:spChg chg="add del mod">
          <ac:chgData name="Steiner Andreas 6206 ED" userId="e6377c33-a923-4f14-8587-531c474c7b48" providerId="ADAL" clId="{6ECD27E6-B224-41CD-B4E0-E297462320DD}" dt="2023-11-24T08:55:10.076" v="105336"/>
          <ac:spMkLst>
            <pc:docMk/>
            <pc:sldMk cId="1005745348" sldId="686"/>
            <ac:spMk id="683" creationId="{521E14C4-9E85-F81E-57A5-602BA59BC3DD}"/>
          </ac:spMkLst>
        </pc:spChg>
        <pc:spChg chg="add del mod">
          <ac:chgData name="Steiner Andreas 6206 ED" userId="e6377c33-a923-4f14-8587-531c474c7b48" providerId="ADAL" clId="{6ECD27E6-B224-41CD-B4E0-E297462320DD}" dt="2023-11-24T08:55:12.068" v="105491"/>
          <ac:spMkLst>
            <pc:docMk/>
            <pc:sldMk cId="1005745348" sldId="686"/>
            <ac:spMk id="684" creationId="{253FEE7C-17A9-CB26-199F-BCA07BF9F2AF}"/>
          </ac:spMkLst>
        </pc:spChg>
        <pc:spChg chg="add del mod">
          <ac:chgData name="Steiner Andreas 6206 ED" userId="e6377c33-a923-4f14-8587-531c474c7b48" providerId="ADAL" clId="{6ECD27E6-B224-41CD-B4E0-E297462320DD}" dt="2023-11-24T08:55:14.098" v="105646"/>
          <ac:spMkLst>
            <pc:docMk/>
            <pc:sldMk cId="1005745348" sldId="686"/>
            <ac:spMk id="685" creationId="{2536C505-4041-B157-21F6-1B08F622FB39}"/>
          </ac:spMkLst>
        </pc:spChg>
        <pc:spChg chg="add del mod">
          <ac:chgData name="Steiner Andreas 6206 ED" userId="e6377c33-a923-4f14-8587-531c474c7b48" providerId="ADAL" clId="{6ECD27E6-B224-41CD-B4E0-E297462320DD}" dt="2023-11-24T08:55:16.190" v="105801"/>
          <ac:spMkLst>
            <pc:docMk/>
            <pc:sldMk cId="1005745348" sldId="686"/>
            <ac:spMk id="686" creationId="{553E52BC-95AA-E9D7-F24E-BC19A4AFFFF7}"/>
          </ac:spMkLst>
        </pc:spChg>
        <pc:spChg chg="add del mod">
          <ac:chgData name="Steiner Andreas 6206 ED" userId="e6377c33-a923-4f14-8587-531c474c7b48" providerId="ADAL" clId="{6ECD27E6-B224-41CD-B4E0-E297462320DD}" dt="2023-11-24T08:55:18.231" v="105956"/>
          <ac:spMkLst>
            <pc:docMk/>
            <pc:sldMk cId="1005745348" sldId="686"/>
            <ac:spMk id="687" creationId="{1F5B482F-1761-77CE-D423-B704240E6B53}"/>
          </ac:spMkLst>
        </pc:spChg>
        <pc:spChg chg="add del mod">
          <ac:chgData name="Steiner Andreas 6206 ED" userId="e6377c33-a923-4f14-8587-531c474c7b48" providerId="ADAL" clId="{6ECD27E6-B224-41CD-B4E0-E297462320DD}" dt="2023-11-24T08:55:20.249" v="106111"/>
          <ac:spMkLst>
            <pc:docMk/>
            <pc:sldMk cId="1005745348" sldId="686"/>
            <ac:spMk id="688" creationId="{A69FFAA7-C9E2-9C39-C9D4-6FC145458944}"/>
          </ac:spMkLst>
        </pc:spChg>
        <pc:spChg chg="add del mod">
          <ac:chgData name="Steiner Andreas 6206 ED" userId="e6377c33-a923-4f14-8587-531c474c7b48" providerId="ADAL" clId="{6ECD27E6-B224-41CD-B4E0-E297462320DD}" dt="2023-11-24T08:55:22.186" v="106266"/>
          <ac:spMkLst>
            <pc:docMk/>
            <pc:sldMk cId="1005745348" sldId="686"/>
            <ac:spMk id="689" creationId="{EBDC49F4-9354-9471-76F8-9F41D391013C}"/>
          </ac:spMkLst>
        </pc:spChg>
        <pc:spChg chg="add del mod">
          <ac:chgData name="Steiner Andreas 6206 ED" userId="e6377c33-a923-4f14-8587-531c474c7b48" providerId="ADAL" clId="{6ECD27E6-B224-41CD-B4E0-E297462320DD}" dt="2023-11-24T08:55:24.199" v="106421"/>
          <ac:spMkLst>
            <pc:docMk/>
            <pc:sldMk cId="1005745348" sldId="686"/>
            <ac:spMk id="690" creationId="{F139EF0B-89AF-06C6-27A7-869C9F531C2F}"/>
          </ac:spMkLst>
        </pc:spChg>
        <pc:spChg chg="add del mod">
          <ac:chgData name="Steiner Andreas 6206 ED" userId="e6377c33-a923-4f14-8587-531c474c7b48" providerId="ADAL" clId="{6ECD27E6-B224-41CD-B4E0-E297462320DD}" dt="2023-11-24T08:55:26.165" v="106576"/>
          <ac:spMkLst>
            <pc:docMk/>
            <pc:sldMk cId="1005745348" sldId="686"/>
            <ac:spMk id="691" creationId="{18A29FEC-2CA7-4411-2915-649451BAD292}"/>
          </ac:spMkLst>
        </pc:spChg>
        <pc:spChg chg="add del mod">
          <ac:chgData name="Steiner Andreas 6206 ED" userId="e6377c33-a923-4f14-8587-531c474c7b48" providerId="ADAL" clId="{6ECD27E6-B224-41CD-B4E0-E297462320DD}" dt="2023-11-24T08:55:28.321" v="106731"/>
          <ac:spMkLst>
            <pc:docMk/>
            <pc:sldMk cId="1005745348" sldId="686"/>
            <ac:spMk id="692" creationId="{8B7DB6B2-1BFB-4ED6-1232-90135D196E3C}"/>
          </ac:spMkLst>
        </pc:spChg>
        <pc:spChg chg="add del mod">
          <ac:chgData name="Steiner Andreas 6206 ED" userId="e6377c33-a923-4f14-8587-531c474c7b48" providerId="ADAL" clId="{6ECD27E6-B224-41CD-B4E0-E297462320DD}" dt="2023-11-24T08:55:30.290" v="106886"/>
          <ac:spMkLst>
            <pc:docMk/>
            <pc:sldMk cId="1005745348" sldId="686"/>
            <ac:spMk id="693" creationId="{559D1202-8E3D-248B-2970-9FE58236C231}"/>
          </ac:spMkLst>
        </pc:spChg>
        <pc:spChg chg="add del mod">
          <ac:chgData name="Steiner Andreas 6206 ED" userId="e6377c33-a923-4f14-8587-531c474c7b48" providerId="ADAL" clId="{6ECD27E6-B224-41CD-B4E0-E297462320DD}" dt="2023-11-24T08:55:32.491" v="107041"/>
          <ac:spMkLst>
            <pc:docMk/>
            <pc:sldMk cId="1005745348" sldId="686"/>
            <ac:spMk id="694" creationId="{CF90B0E2-9672-8D12-F1B7-726092C8F7E6}"/>
          </ac:spMkLst>
        </pc:spChg>
        <pc:spChg chg="add del mod">
          <ac:chgData name="Steiner Andreas 6206 ED" userId="e6377c33-a923-4f14-8587-531c474c7b48" providerId="ADAL" clId="{6ECD27E6-B224-41CD-B4E0-E297462320DD}" dt="2023-11-24T08:55:34.388" v="107196"/>
          <ac:spMkLst>
            <pc:docMk/>
            <pc:sldMk cId="1005745348" sldId="686"/>
            <ac:spMk id="695" creationId="{D23864F8-026C-E1A5-8909-1E4B9F2DE307}"/>
          </ac:spMkLst>
        </pc:spChg>
        <pc:spChg chg="add del mod">
          <ac:chgData name="Steiner Andreas 6206 ED" userId="e6377c33-a923-4f14-8587-531c474c7b48" providerId="ADAL" clId="{6ECD27E6-B224-41CD-B4E0-E297462320DD}" dt="2023-11-24T08:55:36.320" v="107351"/>
          <ac:spMkLst>
            <pc:docMk/>
            <pc:sldMk cId="1005745348" sldId="686"/>
            <ac:spMk id="696" creationId="{EA06B7C0-C2C5-5E38-B763-C24CE30639B1}"/>
          </ac:spMkLst>
        </pc:spChg>
        <pc:spChg chg="add del mod">
          <ac:chgData name="Steiner Andreas 6206 ED" userId="e6377c33-a923-4f14-8587-531c474c7b48" providerId="ADAL" clId="{6ECD27E6-B224-41CD-B4E0-E297462320DD}" dt="2023-11-24T08:55:38.344" v="107506"/>
          <ac:spMkLst>
            <pc:docMk/>
            <pc:sldMk cId="1005745348" sldId="686"/>
            <ac:spMk id="697" creationId="{BE592032-FF92-8A1F-5109-419E6F17C6BA}"/>
          </ac:spMkLst>
        </pc:spChg>
        <pc:spChg chg="add del mod">
          <ac:chgData name="Steiner Andreas 6206 ED" userId="e6377c33-a923-4f14-8587-531c474c7b48" providerId="ADAL" clId="{6ECD27E6-B224-41CD-B4E0-E297462320DD}" dt="2023-11-24T08:55:40.390" v="107661"/>
          <ac:spMkLst>
            <pc:docMk/>
            <pc:sldMk cId="1005745348" sldId="686"/>
            <ac:spMk id="698" creationId="{ABABD40A-9C3B-874F-7A62-67E9CCD435FD}"/>
          </ac:spMkLst>
        </pc:spChg>
        <pc:spChg chg="add del mod">
          <ac:chgData name="Steiner Andreas 6206 ED" userId="e6377c33-a923-4f14-8587-531c474c7b48" providerId="ADAL" clId="{6ECD27E6-B224-41CD-B4E0-E297462320DD}" dt="2023-11-24T08:55:42.277" v="107816"/>
          <ac:spMkLst>
            <pc:docMk/>
            <pc:sldMk cId="1005745348" sldId="686"/>
            <ac:spMk id="699" creationId="{01C908A9-7AB4-340E-1901-6AA7496623B4}"/>
          </ac:spMkLst>
        </pc:spChg>
        <pc:spChg chg="add del mod">
          <ac:chgData name="Steiner Andreas 6206 ED" userId="e6377c33-a923-4f14-8587-531c474c7b48" providerId="ADAL" clId="{6ECD27E6-B224-41CD-B4E0-E297462320DD}" dt="2023-11-24T08:55:44.251" v="107971"/>
          <ac:spMkLst>
            <pc:docMk/>
            <pc:sldMk cId="1005745348" sldId="686"/>
            <ac:spMk id="700" creationId="{5C28FFFB-771F-9A3B-CFB4-469ABFC94689}"/>
          </ac:spMkLst>
        </pc:spChg>
        <pc:spChg chg="add del mod">
          <ac:chgData name="Steiner Andreas 6206 ED" userId="e6377c33-a923-4f14-8587-531c474c7b48" providerId="ADAL" clId="{6ECD27E6-B224-41CD-B4E0-E297462320DD}" dt="2023-11-24T08:55:46.544" v="108126"/>
          <ac:spMkLst>
            <pc:docMk/>
            <pc:sldMk cId="1005745348" sldId="686"/>
            <ac:spMk id="701" creationId="{6457DE4E-543B-4275-9908-2A2C87165B3D}"/>
          </ac:spMkLst>
        </pc:spChg>
        <pc:spChg chg="add del mod">
          <ac:chgData name="Steiner Andreas 6206 ED" userId="e6377c33-a923-4f14-8587-531c474c7b48" providerId="ADAL" clId="{6ECD27E6-B224-41CD-B4E0-E297462320DD}" dt="2023-11-24T08:55:48.771" v="108281"/>
          <ac:spMkLst>
            <pc:docMk/>
            <pc:sldMk cId="1005745348" sldId="686"/>
            <ac:spMk id="702" creationId="{D2F9012B-7EA5-F2B8-D94E-9FB16FE51B08}"/>
          </ac:spMkLst>
        </pc:spChg>
        <pc:spChg chg="add del mod">
          <ac:chgData name="Steiner Andreas 6206 ED" userId="e6377c33-a923-4f14-8587-531c474c7b48" providerId="ADAL" clId="{6ECD27E6-B224-41CD-B4E0-E297462320DD}" dt="2023-11-24T08:55:51.204" v="108436"/>
          <ac:spMkLst>
            <pc:docMk/>
            <pc:sldMk cId="1005745348" sldId="686"/>
            <ac:spMk id="703" creationId="{C571A91B-A97F-9077-1F52-5FFFC52A6224}"/>
          </ac:spMkLst>
        </pc:spChg>
        <pc:spChg chg="add del mod">
          <ac:chgData name="Steiner Andreas 6206 ED" userId="e6377c33-a923-4f14-8587-531c474c7b48" providerId="ADAL" clId="{6ECD27E6-B224-41CD-B4E0-E297462320DD}" dt="2023-11-24T08:55:53.244" v="108591"/>
          <ac:spMkLst>
            <pc:docMk/>
            <pc:sldMk cId="1005745348" sldId="686"/>
            <ac:spMk id="704" creationId="{29BBFC9A-2E3E-95F8-7995-D8995F547FD7}"/>
          </ac:spMkLst>
        </pc:spChg>
        <pc:spChg chg="add del mod">
          <ac:chgData name="Steiner Andreas 6206 ED" userId="e6377c33-a923-4f14-8587-531c474c7b48" providerId="ADAL" clId="{6ECD27E6-B224-41CD-B4E0-E297462320DD}" dt="2023-11-24T08:55:55.385" v="108746"/>
          <ac:spMkLst>
            <pc:docMk/>
            <pc:sldMk cId="1005745348" sldId="686"/>
            <ac:spMk id="705" creationId="{4386C5AA-078E-FC4C-9E8F-1E2F9EB9EE86}"/>
          </ac:spMkLst>
        </pc:spChg>
        <pc:spChg chg="add del mod">
          <ac:chgData name="Steiner Andreas 6206 ED" userId="e6377c33-a923-4f14-8587-531c474c7b48" providerId="ADAL" clId="{6ECD27E6-B224-41CD-B4E0-E297462320DD}" dt="2023-11-24T08:55:57.393" v="108901"/>
          <ac:spMkLst>
            <pc:docMk/>
            <pc:sldMk cId="1005745348" sldId="686"/>
            <ac:spMk id="706" creationId="{561329DC-B32A-E509-122A-725BCD6399C4}"/>
          </ac:spMkLst>
        </pc:spChg>
        <pc:spChg chg="add del mod">
          <ac:chgData name="Steiner Andreas 6206 ED" userId="e6377c33-a923-4f14-8587-531c474c7b48" providerId="ADAL" clId="{6ECD27E6-B224-41CD-B4E0-E297462320DD}" dt="2023-11-24T08:55:59.488" v="109056"/>
          <ac:spMkLst>
            <pc:docMk/>
            <pc:sldMk cId="1005745348" sldId="686"/>
            <ac:spMk id="707" creationId="{D8610BC2-E7D3-D543-3D32-15C2684F942D}"/>
          </ac:spMkLst>
        </pc:spChg>
        <pc:spChg chg="add del mod">
          <ac:chgData name="Steiner Andreas 6206 ED" userId="e6377c33-a923-4f14-8587-531c474c7b48" providerId="ADAL" clId="{6ECD27E6-B224-41CD-B4E0-E297462320DD}" dt="2023-11-24T08:56:01.842" v="109211"/>
          <ac:spMkLst>
            <pc:docMk/>
            <pc:sldMk cId="1005745348" sldId="686"/>
            <ac:spMk id="708" creationId="{5095FC63-566D-EC3B-C27F-A3A2B4289CD5}"/>
          </ac:spMkLst>
        </pc:spChg>
        <pc:spChg chg="add del mod">
          <ac:chgData name="Steiner Andreas 6206 ED" userId="e6377c33-a923-4f14-8587-531c474c7b48" providerId="ADAL" clId="{6ECD27E6-B224-41CD-B4E0-E297462320DD}" dt="2023-11-24T08:56:04.105" v="109366"/>
          <ac:spMkLst>
            <pc:docMk/>
            <pc:sldMk cId="1005745348" sldId="686"/>
            <ac:spMk id="709" creationId="{E327E832-7200-8FD8-16AE-4A9C0CF49E9F}"/>
          </ac:spMkLst>
        </pc:spChg>
        <pc:spChg chg="add del mod">
          <ac:chgData name="Steiner Andreas 6206 ED" userId="e6377c33-a923-4f14-8587-531c474c7b48" providerId="ADAL" clId="{6ECD27E6-B224-41CD-B4E0-E297462320DD}" dt="2023-11-24T08:56:06.404" v="109521"/>
          <ac:spMkLst>
            <pc:docMk/>
            <pc:sldMk cId="1005745348" sldId="686"/>
            <ac:spMk id="710" creationId="{FBB868DC-6B9F-BC9A-8D2A-88F8B216791A}"/>
          </ac:spMkLst>
        </pc:spChg>
        <pc:spChg chg="add del mod">
          <ac:chgData name="Steiner Andreas 6206 ED" userId="e6377c33-a923-4f14-8587-531c474c7b48" providerId="ADAL" clId="{6ECD27E6-B224-41CD-B4E0-E297462320DD}" dt="2023-11-24T08:56:08.696" v="109676"/>
          <ac:spMkLst>
            <pc:docMk/>
            <pc:sldMk cId="1005745348" sldId="686"/>
            <ac:spMk id="711" creationId="{F9A30490-C902-5030-771D-38C472933879}"/>
          </ac:spMkLst>
        </pc:spChg>
        <pc:spChg chg="add del mod">
          <ac:chgData name="Steiner Andreas 6206 ED" userId="e6377c33-a923-4f14-8587-531c474c7b48" providerId="ADAL" clId="{6ECD27E6-B224-41CD-B4E0-E297462320DD}" dt="2023-11-24T08:56:10.740" v="109831"/>
          <ac:spMkLst>
            <pc:docMk/>
            <pc:sldMk cId="1005745348" sldId="686"/>
            <ac:spMk id="712" creationId="{43DF4AE0-5AE2-32D1-DF7C-4D811748BB58}"/>
          </ac:spMkLst>
        </pc:spChg>
        <pc:spChg chg="add del mod">
          <ac:chgData name="Steiner Andreas 6206 ED" userId="e6377c33-a923-4f14-8587-531c474c7b48" providerId="ADAL" clId="{6ECD27E6-B224-41CD-B4E0-E297462320DD}" dt="2023-11-24T08:56:12.851" v="109986"/>
          <ac:spMkLst>
            <pc:docMk/>
            <pc:sldMk cId="1005745348" sldId="686"/>
            <ac:spMk id="713" creationId="{518AF7EB-815B-A738-8636-2182BF5E272E}"/>
          </ac:spMkLst>
        </pc:spChg>
        <pc:spChg chg="add del mod">
          <ac:chgData name="Steiner Andreas 6206 ED" userId="e6377c33-a923-4f14-8587-531c474c7b48" providerId="ADAL" clId="{6ECD27E6-B224-41CD-B4E0-E297462320DD}" dt="2023-11-24T08:56:14.980" v="110141"/>
          <ac:spMkLst>
            <pc:docMk/>
            <pc:sldMk cId="1005745348" sldId="686"/>
            <ac:spMk id="714" creationId="{F7E4DF63-885E-A747-7006-BA2084F3AC1D}"/>
          </ac:spMkLst>
        </pc:spChg>
        <pc:spChg chg="add del mod">
          <ac:chgData name="Steiner Andreas 6206 ED" userId="e6377c33-a923-4f14-8587-531c474c7b48" providerId="ADAL" clId="{6ECD27E6-B224-41CD-B4E0-E297462320DD}" dt="2023-11-24T08:56:16.965" v="110296"/>
          <ac:spMkLst>
            <pc:docMk/>
            <pc:sldMk cId="1005745348" sldId="686"/>
            <ac:spMk id="715" creationId="{CE465571-5C4D-FC7F-5217-E94A7188659D}"/>
          </ac:spMkLst>
        </pc:spChg>
        <pc:spChg chg="add del mod">
          <ac:chgData name="Steiner Andreas 6206 ED" userId="e6377c33-a923-4f14-8587-531c474c7b48" providerId="ADAL" clId="{6ECD27E6-B224-41CD-B4E0-E297462320DD}" dt="2023-11-24T08:56:18.943" v="110451"/>
          <ac:spMkLst>
            <pc:docMk/>
            <pc:sldMk cId="1005745348" sldId="686"/>
            <ac:spMk id="716" creationId="{464AB9C2-FCC3-27CE-6110-3DDBEDB418CD}"/>
          </ac:spMkLst>
        </pc:spChg>
        <pc:spChg chg="add del mod">
          <ac:chgData name="Steiner Andreas 6206 ED" userId="e6377c33-a923-4f14-8587-531c474c7b48" providerId="ADAL" clId="{6ECD27E6-B224-41CD-B4E0-E297462320DD}" dt="2023-11-24T08:56:20.888" v="110606"/>
          <ac:spMkLst>
            <pc:docMk/>
            <pc:sldMk cId="1005745348" sldId="686"/>
            <ac:spMk id="717" creationId="{123912C4-69AD-2D0D-0721-596FC9DADBFA}"/>
          </ac:spMkLst>
        </pc:spChg>
        <pc:spChg chg="add del mod">
          <ac:chgData name="Steiner Andreas 6206 ED" userId="e6377c33-a923-4f14-8587-531c474c7b48" providerId="ADAL" clId="{6ECD27E6-B224-41CD-B4E0-E297462320DD}" dt="2023-11-24T08:56:23.014" v="110761"/>
          <ac:spMkLst>
            <pc:docMk/>
            <pc:sldMk cId="1005745348" sldId="686"/>
            <ac:spMk id="718" creationId="{6778DF03-928B-500F-8C3B-D3E5CA06B9D0}"/>
          </ac:spMkLst>
        </pc:spChg>
        <pc:spChg chg="add del mod">
          <ac:chgData name="Steiner Andreas 6206 ED" userId="e6377c33-a923-4f14-8587-531c474c7b48" providerId="ADAL" clId="{6ECD27E6-B224-41CD-B4E0-E297462320DD}" dt="2023-11-24T08:56:25.228" v="110916"/>
          <ac:spMkLst>
            <pc:docMk/>
            <pc:sldMk cId="1005745348" sldId="686"/>
            <ac:spMk id="719" creationId="{D80BEA9A-D5B6-6DDA-9564-87C6F0AF5145}"/>
          </ac:spMkLst>
        </pc:spChg>
        <pc:spChg chg="add del mod">
          <ac:chgData name="Steiner Andreas 6206 ED" userId="e6377c33-a923-4f14-8587-531c474c7b48" providerId="ADAL" clId="{6ECD27E6-B224-41CD-B4E0-E297462320DD}" dt="2023-11-24T08:56:27.248" v="111071"/>
          <ac:spMkLst>
            <pc:docMk/>
            <pc:sldMk cId="1005745348" sldId="686"/>
            <ac:spMk id="720" creationId="{83AB0395-42EE-7ED0-FA85-A4CB188C4BB6}"/>
          </ac:spMkLst>
        </pc:spChg>
        <pc:spChg chg="add del mod">
          <ac:chgData name="Steiner Andreas 6206 ED" userId="e6377c33-a923-4f14-8587-531c474c7b48" providerId="ADAL" clId="{6ECD27E6-B224-41CD-B4E0-E297462320DD}" dt="2023-11-24T08:56:29.276" v="111226"/>
          <ac:spMkLst>
            <pc:docMk/>
            <pc:sldMk cId="1005745348" sldId="686"/>
            <ac:spMk id="721" creationId="{78BC2BCD-7B49-0F08-11E8-CFA6EE6DC2F5}"/>
          </ac:spMkLst>
        </pc:spChg>
        <pc:spChg chg="add del mod">
          <ac:chgData name="Steiner Andreas 6206 ED" userId="e6377c33-a923-4f14-8587-531c474c7b48" providerId="ADAL" clId="{6ECD27E6-B224-41CD-B4E0-E297462320DD}" dt="2023-11-24T08:56:31.390" v="111381"/>
          <ac:spMkLst>
            <pc:docMk/>
            <pc:sldMk cId="1005745348" sldId="686"/>
            <ac:spMk id="722" creationId="{F14C9CC9-7434-DDBF-B992-60648C506B50}"/>
          </ac:spMkLst>
        </pc:spChg>
        <pc:spChg chg="add del mod">
          <ac:chgData name="Steiner Andreas 6206 ED" userId="e6377c33-a923-4f14-8587-531c474c7b48" providerId="ADAL" clId="{6ECD27E6-B224-41CD-B4E0-E297462320DD}" dt="2023-11-24T08:56:33.614" v="111536"/>
          <ac:spMkLst>
            <pc:docMk/>
            <pc:sldMk cId="1005745348" sldId="686"/>
            <ac:spMk id="723" creationId="{04BB9ADA-8FDE-C89A-C117-AE192EB147AE}"/>
          </ac:spMkLst>
        </pc:spChg>
        <pc:spChg chg="add del mod">
          <ac:chgData name="Steiner Andreas 6206 ED" userId="e6377c33-a923-4f14-8587-531c474c7b48" providerId="ADAL" clId="{6ECD27E6-B224-41CD-B4E0-E297462320DD}" dt="2023-11-24T08:56:35.794" v="111691"/>
          <ac:spMkLst>
            <pc:docMk/>
            <pc:sldMk cId="1005745348" sldId="686"/>
            <ac:spMk id="724" creationId="{CCDBD698-9313-90AA-DF16-004CD2FA3E18}"/>
          </ac:spMkLst>
        </pc:spChg>
        <pc:spChg chg="add del mod">
          <ac:chgData name="Steiner Andreas 6206 ED" userId="e6377c33-a923-4f14-8587-531c474c7b48" providerId="ADAL" clId="{6ECD27E6-B224-41CD-B4E0-E297462320DD}" dt="2023-11-24T08:56:37.864" v="111846"/>
          <ac:spMkLst>
            <pc:docMk/>
            <pc:sldMk cId="1005745348" sldId="686"/>
            <ac:spMk id="725" creationId="{269529BC-628C-B1FD-C608-660458E5CF28}"/>
          </ac:spMkLst>
        </pc:spChg>
        <pc:spChg chg="add del mod">
          <ac:chgData name="Steiner Andreas 6206 ED" userId="e6377c33-a923-4f14-8587-531c474c7b48" providerId="ADAL" clId="{6ECD27E6-B224-41CD-B4E0-E297462320DD}" dt="2023-11-24T08:56:40.021" v="112001"/>
          <ac:spMkLst>
            <pc:docMk/>
            <pc:sldMk cId="1005745348" sldId="686"/>
            <ac:spMk id="726" creationId="{30F3D1FD-E16F-1D8E-2690-B17573B3B622}"/>
          </ac:spMkLst>
        </pc:spChg>
        <pc:spChg chg="add del mod">
          <ac:chgData name="Steiner Andreas 6206 ED" userId="e6377c33-a923-4f14-8587-531c474c7b48" providerId="ADAL" clId="{6ECD27E6-B224-41CD-B4E0-E297462320DD}" dt="2023-11-24T08:56:41.972" v="112156"/>
          <ac:spMkLst>
            <pc:docMk/>
            <pc:sldMk cId="1005745348" sldId="686"/>
            <ac:spMk id="727" creationId="{5C56E8F9-B03B-BC7B-D51D-7C5A3719A5B1}"/>
          </ac:spMkLst>
        </pc:spChg>
        <pc:spChg chg="add del mod">
          <ac:chgData name="Steiner Andreas 6206 ED" userId="e6377c33-a923-4f14-8587-531c474c7b48" providerId="ADAL" clId="{6ECD27E6-B224-41CD-B4E0-E297462320DD}" dt="2023-11-24T08:56:43.966" v="112311"/>
          <ac:spMkLst>
            <pc:docMk/>
            <pc:sldMk cId="1005745348" sldId="686"/>
            <ac:spMk id="728" creationId="{74E57AD8-D018-8397-2179-C8400F2C7514}"/>
          </ac:spMkLst>
        </pc:spChg>
        <pc:spChg chg="add del mod">
          <ac:chgData name="Steiner Andreas 6206 ED" userId="e6377c33-a923-4f14-8587-531c474c7b48" providerId="ADAL" clId="{6ECD27E6-B224-41CD-B4E0-E297462320DD}" dt="2023-11-24T08:56:45.998" v="112466"/>
          <ac:spMkLst>
            <pc:docMk/>
            <pc:sldMk cId="1005745348" sldId="686"/>
            <ac:spMk id="729" creationId="{87F7E652-52A5-9F84-8378-C7EFD9DC4366}"/>
          </ac:spMkLst>
        </pc:spChg>
        <pc:spChg chg="add del mod">
          <ac:chgData name="Steiner Andreas 6206 ED" userId="e6377c33-a923-4f14-8587-531c474c7b48" providerId="ADAL" clId="{6ECD27E6-B224-41CD-B4E0-E297462320DD}" dt="2023-11-24T08:56:48.211" v="112621"/>
          <ac:spMkLst>
            <pc:docMk/>
            <pc:sldMk cId="1005745348" sldId="686"/>
            <ac:spMk id="730" creationId="{8C9DE3B8-C89C-B6FD-0FCC-7FDC98E6D1B8}"/>
          </ac:spMkLst>
        </pc:spChg>
        <pc:spChg chg="add del mod">
          <ac:chgData name="Steiner Andreas 6206 ED" userId="e6377c33-a923-4f14-8587-531c474c7b48" providerId="ADAL" clId="{6ECD27E6-B224-41CD-B4E0-E297462320DD}" dt="2023-11-24T08:56:50.267" v="112776"/>
          <ac:spMkLst>
            <pc:docMk/>
            <pc:sldMk cId="1005745348" sldId="686"/>
            <ac:spMk id="731" creationId="{2F11F6B3-B9BB-BC08-0AEE-221BBF1D1B14}"/>
          </ac:spMkLst>
        </pc:spChg>
        <pc:spChg chg="add del mod">
          <ac:chgData name="Steiner Andreas 6206 ED" userId="e6377c33-a923-4f14-8587-531c474c7b48" providerId="ADAL" clId="{6ECD27E6-B224-41CD-B4E0-E297462320DD}" dt="2023-11-24T08:56:52.197" v="112931"/>
          <ac:spMkLst>
            <pc:docMk/>
            <pc:sldMk cId="1005745348" sldId="686"/>
            <ac:spMk id="732" creationId="{79D91FCC-E44B-E6EA-115F-22BF4713B957}"/>
          </ac:spMkLst>
        </pc:spChg>
        <pc:spChg chg="add del mod">
          <ac:chgData name="Steiner Andreas 6206 ED" userId="e6377c33-a923-4f14-8587-531c474c7b48" providerId="ADAL" clId="{6ECD27E6-B224-41CD-B4E0-E297462320DD}" dt="2023-11-24T08:56:54.321" v="113086"/>
          <ac:spMkLst>
            <pc:docMk/>
            <pc:sldMk cId="1005745348" sldId="686"/>
            <ac:spMk id="733" creationId="{2FDB5E5F-6EB5-95C7-BB15-BA14050C8366}"/>
          </ac:spMkLst>
        </pc:spChg>
        <pc:spChg chg="add del mod">
          <ac:chgData name="Steiner Andreas 6206 ED" userId="e6377c33-a923-4f14-8587-531c474c7b48" providerId="ADAL" clId="{6ECD27E6-B224-41CD-B4E0-E297462320DD}" dt="2023-11-24T08:56:56.275" v="113241"/>
          <ac:spMkLst>
            <pc:docMk/>
            <pc:sldMk cId="1005745348" sldId="686"/>
            <ac:spMk id="734" creationId="{F7383F73-8E24-65C7-9AEF-EC94D4255FFD}"/>
          </ac:spMkLst>
        </pc:spChg>
        <pc:spChg chg="add del mod">
          <ac:chgData name="Steiner Andreas 6206 ED" userId="e6377c33-a923-4f14-8587-531c474c7b48" providerId="ADAL" clId="{6ECD27E6-B224-41CD-B4E0-E297462320DD}" dt="2023-11-24T08:56:58.384" v="113396"/>
          <ac:spMkLst>
            <pc:docMk/>
            <pc:sldMk cId="1005745348" sldId="686"/>
            <ac:spMk id="735" creationId="{D2DAA8EB-05D6-2CC2-60A5-9B4FF472533F}"/>
          </ac:spMkLst>
        </pc:spChg>
        <pc:spChg chg="add del mod">
          <ac:chgData name="Steiner Andreas 6206 ED" userId="e6377c33-a923-4f14-8587-531c474c7b48" providerId="ADAL" clId="{6ECD27E6-B224-41CD-B4E0-E297462320DD}" dt="2023-11-24T08:57:00.697" v="113551"/>
          <ac:spMkLst>
            <pc:docMk/>
            <pc:sldMk cId="1005745348" sldId="686"/>
            <ac:spMk id="736" creationId="{C7272C5E-280C-59ED-0269-0952EF71097F}"/>
          </ac:spMkLst>
        </pc:spChg>
        <pc:spChg chg="add del mod">
          <ac:chgData name="Steiner Andreas 6206 ED" userId="e6377c33-a923-4f14-8587-531c474c7b48" providerId="ADAL" clId="{6ECD27E6-B224-41CD-B4E0-E297462320DD}" dt="2023-11-24T08:57:03.060" v="113706"/>
          <ac:spMkLst>
            <pc:docMk/>
            <pc:sldMk cId="1005745348" sldId="686"/>
            <ac:spMk id="737" creationId="{3D16A953-DA80-692C-DF2C-66A34BC1CC1A}"/>
          </ac:spMkLst>
        </pc:spChg>
        <pc:spChg chg="add del mod">
          <ac:chgData name="Steiner Andreas 6206 ED" userId="e6377c33-a923-4f14-8587-531c474c7b48" providerId="ADAL" clId="{6ECD27E6-B224-41CD-B4E0-E297462320DD}" dt="2023-11-24T09:02:21.533" v="113861"/>
          <ac:spMkLst>
            <pc:docMk/>
            <pc:sldMk cId="1005745348" sldId="686"/>
            <ac:spMk id="738" creationId="{87A7B9EB-563C-6DB8-AE5C-E1DFF692B133}"/>
          </ac:spMkLst>
        </pc:spChg>
        <pc:spChg chg="add del mod">
          <ac:chgData name="Steiner Andreas 6206 ED" userId="e6377c33-a923-4f14-8587-531c474c7b48" providerId="ADAL" clId="{6ECD27E6-B224-41CD-B4E0-E297462320DD}" dt="2023-11-24T09:02:27.470" v="114016"/>
          <ac:spMkLst>
            <pc:docMk/>
            <pc:sldMk cId="1005745348" sldId="686"/>
            <ac:spMk id="739" creationId="{3385AA09-474B-5CCD-44B9-63C83A92D4FB}"/>
          </ac:spMkLst>
        </pc:spChg>
        <pc:spChg chg="add del mod">
          <ac:chgData name="Steiner Andreas 6206 ED" userId="e6377c33-a923-4f14-8587-531c474c7b48" providerId="ADAL" clId="{6ECD27E6-B224-41CD-B4E0-E297462320DD}" dt="2023-11-24T09:02:30.013" v="114171"/>
          <ac:spMkLst>
            <pc:docMk/>
            <pc:sldMk cId="1005745348" sldId="686"/>
            <ac:spMk id="740" creationId="{60162F3C-0F93-06D4-CB0A-714CF1A92726}"/>
          </ac:spMkLst>
        </pc:spChg>
        <pc:spChg chg="add del mod">
          <ac:chgData name="Steiner Andreas 6206 ED" userId="e6377c33-a923-4f14-8587-531c474c7b48" providerId="ADAL" clId="{6ECD27E6-B224-41CD-B4E0-E297462320DD}" dt="2023-11-24T09:02:33.198" v="114326"/>
          <ac:spMkLst>
            <pc:docMk/>
            <pc:sldMk cId="1005745348" sldId="686"/>
            <ac:spMk id="741" creationId="{5FC8A553-63A3-ADBE-6D5D-EC0BBD100710}"/>
          </ac:spMkLst>
        </pc:spChg>
        <pc:spChg chg="add del mod">
          <ac:chgData name="Steiner Andreas 6206 ED" userId="e6377c33-a923-4f14-8587-531c474c7b48" providerId="ADAL" clId="{6ECD27E6-B224-41CD-B4E0-E297462320DD}" dt="2023-11-24T09:02:36.698" v="114481"/>
          <ac:spMkLst>
            <pc:docMk/>
            <pc:sldMk cId="1005745348" sldId="686"/>
            <ac:spMk id="742" creationId="{DB727B06-38C7-4DF1-F075-9C5DAF31547A}"/>
          </ac:spMkLst>
        </pc:spChg>
        <pc:spChg chg="add del mod">
          <ac:chgData name="Steiner Andreas 6206 ED" userId="e6377c33-a923-4f14-8587-531c474c7b48" providerId="ADAL" clId="{6ECD27E6-B224-41CD-B4E0-E297462320DD}" dt="2023-11-24T11:31:22.493" v="114636"/>
          <ac:spMkLst>
            <pc:docMk/>
            <pc:sldMk cId="1005745348" sldId="686"/>
            <ac:spMk id="743" creationId="{F6BE75A7-A181-1DD1-016B-8594BF87B4D5}"/>
          </ac:spMkLst>
        </pc:spChg>
        <pc:spChg chg="add del mod">
          <ac:chgData name="Steiner Andreas 6206 ED" userId="e6377c33-a923-4f14-8587-531c474c7b48" providerId="ADAL" clId="{6ECD27E6-B224-41CD-B4E0-E297462320DD}" dt="2023-11-24T11:33:29.810" v="114791"/>
          <ac:spMkLst>
            <pc:docMk/>
            <pc:sldMk cId="1005745348" sldId="686"/>
            <ac:spMk id="744" creationId="{6B885C73-2DFD-D64B-BF50-A8AC2EB467F6}"/>
          </ac:spMkLst>
        </pc:spChg>
        <pc:spChg chg="add del mod">
          <ac:chgData name="Steiner Andreas 6206 ED" userId="e6377c33-a923-4f14-8587-531c474c7b48" providerId="ADAL" clId="{6ECD27E6-B224-41CD-B4E0-E297462320DD}" dt="2023-11-24T11:33:36.301" v="114946"/>
          <ac:spMkLst>
            <pc:docMk/>
            <pc:sldMk cId="1005745348" sldId="686"/>
            <ac:spMk id="745" creationId="{44FEC8B2-D57C-70CC-729F-7C81EA7A361D}"/>
          </ac:spMkLst>
        </pc:spChg>
        <pc:spChg chg="add del mod">
          <ac:chgData name="Steiner Andreas 6206 ED" userId="e6377c33-a923-4f14-8587-531c474c7b48" providerId="ADAL" clId="{6ECD27E6-B224-41CD-B4E0-E297462320DD}" dt="2023-11-24T11:33:39.399" v="115101"/>
          <ac:spMkLst>
            <pc:docMk/>
            <pc:sldMk cId="1005745348" sldId="686"/>
            <ac:spMk id="746" creationId="{E267303E-91F1-73E7-6017-C02B507408DB}"/>
          </ac:spMkLst>
        </pc:spChg>
        <pc:spChg chg="add del mod">
          <ac:chgData name="Steiner Andreas 6206 ED" userId="e6377c33-a923-4f14-8587-531c474c7b48" providerId="ADAL" clId="{6ECD27E6-B224-41CD-B4E0-E297462320DD}" dt="2023-11-24T11:33:42.979" v="115256"/>
          <ac:spMkLst>
            <pc:docMk/>
            <pc:sldMk cId="1005745348" sldId="686"/>
            <ac:spMk id="747" creationId="{89984D2E-E7DE-5C08-6F90-7BA059D17836}"/>
          </ac:spMkLst>
        </pc:spChg>
        <pc:spChg chg="add del mod">
          <ac:chgData name="Steiner Andreas 6206 ED" userId="e6377c33-a923-4f14-8587-531c474c7b48" providerId="ADAL" clId="{6ECD27E6-B224-41CD-B4E0-E297462320DD}" dt="2023-11-24T11:33:46.186" v="115411"/>
          <ac:spMkLst>
            <pc:docMk/>
            <pc:sldMk cId="1005745348" sldId="686"/>
            <ac:spMk id="748" creationId="{FD7B62C4-DEAF-1FEF-CDC4-21551FD7CCC3}"/>
          </ac:spMkLst>
        </pc:spChg>
        <pc:spChg chg="add del mod">
          <ac:chgData name="Steiner Andreas 6206 ED" userId="e6377c33-a923-4f14-8587-531c474c7b48" providerId="ADAL" clId="{6ECD27E6-B224-41CD-B4E0-E297462320DD}" dt="2023-11-24T11:33:49.264" v="115566"/>
          <ac:spMkLst>
            <pc:docMk/>
            <pc:sldMk cId="1005745348" sldId="686"/>
            <ac:spMk id="749" creationId="{7BBA985A-CECD-AAC4-5A05-051EE3538323}"/>
          </ac:spMkLst>
        </pc:spChg>
        <pc:spChg chg="add del mod">
          <ac:chgData name="Steiner Andreas 6206 ED" userId="e6377c33-a923-4f14-8587-531c474c7b48" providerId="ADAL" clId="{6ECD27E6-B224-41CD-B4E0-E297462320DD}" dt="2023-11-24T11:33:51.962" v="115721"/>
          <ac:spMkLst>
            <pc:docMk/>
            <pc:sldMk cId="1005745348" sldId="686"/>
            <ac:spMk id="750" creationId="{0E6A0D31-B7AA-DBE5-2263-98CE16DED25A}"/>
          </ac:spMkLst>
        </pc:spChg>
        <pc:spChg chg="add del mod">
          <ac:chgData name="Steiner Andreas 6206 ED" userId="e6377c33-a923-4f14-8587-531c474c7b48" providerId="ADAL" clId="{6ECD27E6-B224-41CD-B4E0-E297462320DD}" dt="2023-11-24T11:33:54.801" v="115876"/>
          <ac:spMkLst>
            <pc:docMk/>
            <pc:sldMk cId="1005745348" sldId="686"/>
            <ac:spMk id="751" creationId="{8B5F802C-677E-3576-55A9-C0450F4C9269}"/>
          </ac:spMkLst>
        </pc:spChg>
        <pc:spChg chg="add del mod">
          <ac:chgData name="Steiner Andreas 6206 ED" userId="e6377c33-a923-4f14-8587-531c474c7b48" providerId="ADAL" clId="{6ECD27E6-B224-41CD-B4E0-E297462320DD}" dt="2023-11-24T11:33:57.302" v="116031"/>
          <ac:spMkLst>
            <pc:docMk/>
            <pc:sldMk cId="1005745348" sldId="686"/>
            <ac:spMk id="752" creationId="{9A212592-9D93-2BE9-5833-BA59E094C622}"/>
          </ac:spMkLst>
        </pc:spChg>
        <pc:spChg chg="add del mod">
          <ac:chgData name="Steiner Andreas 6206 ED" userId="e6377c33-a923-4f14-8587-531c474c7b48" providerId="ADAL" clId="{6ECD27E6-B224-41CD-B4E0-E297462320DD}" dt="2023-11-24T11:33:59.667" v="116186"/>
          <ac:spMkLst>
            <pc:docMk/>
            <pc:sldMk cId="1005745348" sldId="686"/>
            <ac:spMk id="753" creationId="{0685FECF-5D23-35C1-73E9-F1844FBE9D9F}"/>
          </ac:spMkLst>
        </pc:spChg>
        <pc:spChg chg="add del mod">
          <ac:chgData name="Steiner Andreas 6206 ED" userId="e6377c33-a923-4f14-8587-531c474c7b48" providerId="ADAL" clId="{6ECD27E6-B224-41CD-B4E0-E297462320DD}" dt="2023-11-24T11:34:02.022" v="116341"/>
          <ac:spMkLst>
            <pc:docMk/>
            <pc:sldMk cId="1005745348" sldId="686"/>
            <ac:spMk id="754" creationId="{79DD450E-25BF-F2A8-2E43-60FA94D119B5}"/>
          </ac:spMkLst>
        </pc:spChg>
        <pc:spChg chg="add del mod">
          <ac:chgData name="Steiner Andreas 6206 ED" userId="e6377c33-a923-4f14-8587-531c474c7b48" providerId="ADAL" clId="{6ECD27E6-B224-41CD-B4E0-E297462320DD}" dt="2023-11-24T11:34:04.335" v="116496"/>
          <ac:spMkLst>
            <pc:docMk/>
            <pc:sldMk cId="1005745348" sldId="686"/>
            <ac:spMk id="755" creationId="{09838A5E-267B-795B-94AF-3DA0F251D1A7}"/>
          </ac:spMkLst>
        </pc:spChg>
        <pc:spChg chg="add del mod">
          <ac:chgData name="Steiner Andreas 6206 ED" userId="e6377c33-a923-4f14-8587-531c474c7b48" providerId="ADAL" clId="{6ECD27E6-B224-41CD-B4E0-E297462320DD}" dt="2023-11-24T11:34:06.814" v="116651"/>
          <ac:spMkLst>
            <pc:docMk/>
            <pc:sldMk cId="1005745348" sldId="686"/>
            <ac:spMk id="756" creationId="{0D510A0B-78B7-2E47-1F53-CBA9C6316749}"/>
          </ac:spMkLst>
        </pc:spChg>
        <pc:spChg chg="add del mod">
          <ac:chgData name="Steiner Andreas 6206 ED" userId="e6377c33-a923-4f14-8587-531c474c7b48" providerId="ADAL" clId="{6ECD27E6-B224-41CD-B4E0-E297462320DD}" dt="2023-11-24T11:34:09.413" v="116806"/>
          <ac:spMkLst>
            <pc:docMk/>
            <pc:sldMk cId="1005745348" sldId="686"/>
            <ac:spMk id="757" creationId="{DE8167E9-6BBE-EADE-F189-BEAD0F8C7C31}"/>
          </ac:spMkLst>
        </pc:spChg>
        <pc:spChg chg="add del mod">
          <ac:chgData name="Steiner Andreas 6206 ED" userId="e6377c33-a923-4f14-8587-531c474c7b48" providerId="ADAL" clId="{6ECD27E6-B224-41CD-B4E0-E297462320DD}" dt="2023-11-24T11:34:11.411" v="116961"/>
          <ac:spMkLst>
            <pc:docMk/>
            <pc:sldMk cId="1005745348" sldId="686"/>
            <ac:spMk id="758" creationId="{2663549B-66A2-463C-0909-BB25A87AEAAD}"/>
          </ac:spMkLst>
        </pc:spChg>
        <pc:spChg chg="add del mod">
          <ac:chgData name="Steiner Andreas 6206 ED" userId="e6377c33-a923-4f14-8587-531c474c7b48" providerId="ADAL" clId="{6ECD27E6-B224-41CD-B4E0-E297462320DD}" dt="2023-11-24T11:34:13.169" v="117116"/>
          <ac:spMkLst>
            <pc:docMk/>
            <pc:sldMk cId="1005745348" sldId="686"/>
            <ac:spMk id="759" creationId="{379011F2-39C9-58FC-494B-08CB8A848271}"/>
          </ac:spMkLst>
        </pc:spChg>
        <pc:spChg chg="add del mod">
          <ac:chgData name="Steiner Andreas 6206 ED" userId="e6377c33-a923-4f14-8587-531c474c7b48" providerId="ADAL" clId="{6ECD27E6-B224-41CD-B4E0-E297462320DD}" dt="2023-11-24T11:34:14.950" v="117271"/>
          <ac:spMkLst>
            <pc:docMk/>
            <pc:sldMk cId="1005745348" sldId="686"/>
            <ac:spMk id="760" creationId="{838C22ED-65D3-408D-4BA0-ADA2C233F99A}"/>
          </ac:spMkLst>
        </pc:spChg>
        <pc:spChg chg="add del mod">
          <ac:chgData name="Steiner Andreas 6206 ED" userId="e6377c33-a923-4f14-8587-531c474c7b48" providerId="ADAL" clId="{6ECD27E6-B224-41CD-B4E0-E297462320DD}" dt="2023-11-24T11:34:16.746" v="117426"/>
          <ac:spMkLst>
            <pc:docMk/>
            <pc:sldMk cId="1005745348" sldId="686"/>
            <ac:spMk id="761" creationId="{912E759B-5461-5789-6CAD-C67ECB16E0EA}"/>
          </ac:spMkLst>
        </pc:spChg>
        <pc:spChg chg="add del mod">
          <ac:chgData name="Steiner Andreas 6206 ED" userId="e6377c33-a923-4f14-8587-531c474c7b48" providerId="ADAL" clId="{6ECD27E6-B224-41CD-B4E0-E297462320DD}" dt="2023-11-24T11:34:18.556" v="117581"/>
          <ac:spMkLst>
            <pc:docMk/>
            <pc:sldMk cId="1005745348" sldId="686"/>
            <ac:spMk id="762" creationId="{529BD209-645D-6DF4-160F-B311EFB0BD02}"/>
          </ac:spMkLst>
        </pc:spChg>
        <pc:spChg chg="add del mod">
          <ac:chgData name="Steiner Andreas 6206 ED" userId="e6377c33-a923-4f14-8587-531c474c7b48" providerId="ADAL" clId="{6ECD27E6-B224-41CD-B4E0-E297462320DD}" dt="2023-11-24T11:34:20.659" v="117736"/>
          <ac:spMkLst>
            <pc:docMk/>
            <pc:sldMk cId="1005745348" sldId="686"/>
            <ac:spMk id="763" creationId="{76DBBE5D-FF2C-8543-E0B3-3E924ABEC233}"/>
          </ac:spMkLst>
        </pc:spChg>
        <pc:spChg chg="add del mod">
          <ac:chgData name="Steiner Andreas 6206 ED" userId="e6377c33-a923-4f14-8587-531c474c7b48" providerId="ADAL" clId="{6ECD27E6-B224-41CD-B4E0-E297462320DD}" dt="2023-11-24T11:34:22.595" v="117891"/>
          <ac:spMkLst>
            <pc:docMk/>
            <pc:sldMk cId="1005745348" sldId="686"/>
            <ac:spMk id="764" creationId="{D1F528D8-388E-D276-F12B-8849EC1DFAC8}"/>
          </ac:spMkLst>
        </pc:spChg>
        <pc:spChg chg="add del mod">
          <ac:chgData name="Steiner Andreas 6206 ED" userId="e6377c33-a923-4f14-8587-531c474c7b48" providerId="ADAL" clId="{6ECD27E6-B224-41CD-B4E0-E297462320DD}" dt="2023-11-24T11:34:24.708" v="118046"/>
          <ac:spMkLst>
            <pc:docMk/>
            <pc:sldMk cId="1005745348" sldId="686"/>
            <ac:spMk id="765" creationId="{13DF4BC5-33BA-9C63-E401-F8581EB8134A}"/>
          </ac:spMkLst>
        </pc:spChg>
        <pc:spChg chg="add del mod">
          <ac:chgData name="Steiner Andreas 6206 ED" userId="e6377c33-a923-4f14-8587-531c474c7b48" providerId="ADAL" clId="{6ECD27E6-B224-41CD-B4E0-E297462320DD}" dt="2023-11-24T11:34:27.223" v="118201"/>
          <ac:spMkLst>
            <pc:docMk/>
            <pc:sldMk cId="1005745348" sldId="686"/>
            <ac:spMk id="766" creationId="{8D1DD8B2-42E4-34BD-EA3C-A6E8C0772F32}"/>
          </ac:spMkLst>
        </pc:spChg>
        <pc:spChg chg="add del mod">
          <ac:chgData name="Steiner Andreas 6206 ED" userId="e6377c33-a923-4f14-8587-531c474c7b48" providerId="ADAL" clId="{6ECD27E6-B224-41CD-B4E0-E297462320DD}" dt="2023-11-24T11:34:29.307" v="118356"/>
          <ac:spMkLst>
            <pc:docMk/>
            <pc:sldMk cId="1005745348" sldId="686"/>
            <ac:spMk id="767" creationId="{0AA58527-0C5A-6FE3-7301-BEA4CCDB4E64}"/>
          </ac:spMkLst>
        </pc:spChg>
        <pc:spChg chg="add del mod">
          <ac:chgData name="Steiner Andreas 6206 ED" userId="e6377c33-a923-4f14-8587-531c474c7b48" providerId="ADAL" clId="{6ECD27E6-B224-41CD-B4E0-E297462320DD}" dt="2023-11-24T11:34:31.566" v="118511"/>
          <ac:spMkLst>
            <pc:docMk/>
            <pc:sldMk cId="1005745348" sldId="686"/>
            <ac:spMk id="768" creationId="{17E5ED25-13BE-1A1D-EB6B-29B83BE923E4}"/>
          </ac:spMkLst>
        </pc:spChg>
        <pc:spChg chg="add del mod">
          <ac:chgData name="Steiner Andreas 6206 ED" userId="e6377c33-a923-4f14-8587-531c474c7b48" providerId="ADAL" clId="{6ECD27E6-B224-41CD-B4E0-E297462320DD}" dt="2023-11-24T11:34:33.556" v="118666"/>
          <ac:spMkLst>
            <pc:docMk/>
            <pc:sldMk cId="1005745348" sldId="686"/>
            <ac:spMk id="769" creationId="{8F06BA17-EAFC-5BF3-7A05-8D6F9F87116E}"/>
          </ac:spMkLst>
        </pc:spChg>
        <pc:spChg chg="add del mod">
          <ac:chgData name="Steiner Andreas 6206 ED" userId="e6377c33-a923-4f14-8587-531c474c7b48" providerId="ADAL" clId="{6ECD27E6-B224-41CD-B4E0-E297462320DD}" dt="2023-11-24T11:34:35.542" v="118821"/>
          <ac:spMkLst>
            <pc:docMk/>
            <pc:sldMk cId="1005745348" sldId="686"/>
            <ac:spMk id="770" creationId="{4C4A8D6B-412D-0BDF-08B1-EE8992DB9BBE}"/>
          </ac:spMkLst>
        </pc:spChg>
        <pc:spChg chg="add del mod">
          <ac:chgData name="Steiner Andreas 6206 ED" userId="e6377c33-a923-4f14-8587-531c474c7b48" providerId="ADAL" clId="{6ECD27E6-B224-41CD-B4E0-E297462320DD}" dt="2023-11-24T11:34:37.634" v="118976"/>
          <ac:spMkLst>
            <pc:docMk/>
            <pc:sldMk cId="1005745348" sldId="686"/>
            <ac:spMk id="771" creationId="{832EE51B-F5D5-C0C4-F296-C9E526F602FA}"/>
          </ac:spMkLst>
        </pc:spChg>
        <pc:spChg chg="add del mod">
          <ac:chgData name="Steiner Andreas 6206 ED" userId="e6377c33-a923-4f14-8587-531c474c7b48" providerId="ADAL" clId="{6ECD27E6-B224-41CD-B4E0-E297462320DD}" dt="2023-11-24T11:34:39.591" v="119131"/>
          <ac:spMkLst>
            <pc:docMk/>
            <pc:sldMk cId="1005745348" sldId="686"/>
            <ac:spMk id="772" creationId="{06F9C836-1879-0151-67B0-90DB659AE259}"/>
          </ac:spMkLst>
        </pc:spChg>
        <pc:spChg chg="add del mod">
          <ac:chgData name="Steiner Andreas 6206 ED" userId="e6377c33-a923-4f14-8587-531c474c7b48" providerId="ADAL" clId="{6ECD27E6-B224-41CD-B4E0-E297462320DD}" dt="2023-11-24T11:34:41.721" v="119286"/>
          <ac:spMkLst>
            <pc:docMk/>
            <pc:sldMk cId="1005745348" sldId="686"/>
            <ac:spMk id="773" creationId="{BB0B52E3-CB6E-AA8C-F0BD-613E4809C56A}"/>
          </ac:spMkLst>
        </pc:spChg>
        <pc:spChg chg="add del mod">
          <ac:chgData name="Steiner Andreas 6206 ED" userId="e6377c33-a923-4f14-8587-531c474c7b48" providerId="ADAL" clId="{6ECD27E6-B224-41CD-B4E0-E297462320DD}" dt="2023-11-24T11:34:43.900" v="119441"/>
          <ac:spMkLst>
            <pc:docMk/>
            <pc:sldMk cId="1005745348" sldId="686"/>
            <ac:spMk id="774" creationId="{90644DE7-DB6D-74A0-E8B1-112E119EB928}"/>
          </ac:spMkLst>
        </pc:spChg>
        <pc:spChg chg="add del mod">
          <ac:chgData name="Steiner Andreas 6206 ED" userId="e6377c33-a923-4f14-8587-531c474c7b48" providerId="ADAL" clId="{6ECD27E6-B224-41CD-B4E0-E297462320DD}" dt="2023-11-24T11:34:45.904" v="119596"/>
          <ac:spMkLst>
            <pc:docMk/>
            <pc:sldMk cId="1005745348" sldId="686"/>
            <ac:spMk id="775" creationId="{26795583-6F4D-C7F9-93D2-9872159A9AC8}"/>
          </ac:spMkLst>
        </pc:spChg>
        <pc:spChg chg="add del mod">
          <ac:chgData name="Steiner Andreas 6206 ED" userId="e6377c33-a923-4f14-8587-531c474c7b48" providerId="ADAL" clId="{6ECD27E6-B224-41CD-B4E0-E297462320DD}" dt="2023-11-24T11:34:47.838" v="119751"/>
          <ac:spMkLst>
            <pc:docMk/>
            <pc:sldMk cId="1005745348" sldId="686"/>
            <ac:spMk id="776" creationId="{4D230A3B-E38F-49D2-A858-8C082AF9D796}"/>
          </ac:spMkLst>
        </pc:spChg>
        <pc:spChg chg="add del mod">
          <ac:chgData name="Steiner Andreas 6206 ED" userId="e6377c33-a923-4f14-8587-531c474c7b48" providerId="ADAL" clId="{6ECD27E6-B224-41CD-B4E0-E297462320DD}" dt="2023-11-24T11:34:50.028" v="119906"/>
          <ac:spMkLst>
            <pc:docMk/>
            <pc:sldMk cId="1005745348" sldId="686"/>
            <ac:spMk id="777" creationId="{D57A4F7F-FB13-C868-B92C-67A0A10BBB9F}"/>
          </ac:spMkLst>
        </pc:spChg>
        <pc:spChg chg="add del mod">
          <ac:chgData name="Steiner Andreas 6206 ED" userId="e6377c33-a923-4f14-8587-531c474c7b48" providerId="ADAL" clId="{6ECD27E6-B224-41CD-B4E0-E297462320DD}" dt="2023-11-24T11:34:52.106" v="120061"/>
          <ac:spMkLst>
            <pc:docMk/>
            <pc:sldMk cId="1005745348" sldId="686"/>
            <ac:spMk id="778" creationId="{E155E9F2-0BED-C4CA-2921-D701C0B5E68E}"/>
          </ac:spMkLst>
        </pc:spChg>
        <pc:spChg chg="add del mod">
          <ac:chgData name="Steiner Andreas 6206 ED" userId="e6377c33-a923-4f14-8587-531c474c7b48" providerId="ADAL" clId="{6ECD27E6-B224-41CD-B4E0-E297462320DD}" dt="2023-11-24T11:34:54.087" v="120216"/>
          <ac:spMkLst>
            <pc:docMk/>
            <pc:sldMk cId="1005745348" sldId="686"/>
            <ac:spMk id="779" creationId="{AE423E0C-926C-3701-06C5-F167995CB5ED}"/>
          </ac:spMkLst>
        </pc:spChg>
        <pc:spChg chg="add del mod">
          <ac:chgData name="Steiner Andreas 6206 ED" userId="e6377c33-a923-4f14-8587-531c474c7b48" providerId="ADAL" clId="{6ECD27E6-B224-41CD-B4E0-E297462320DD}" dt="2023-11-24T11:34:55.953" v="120371"/>
          <ac:spMkLst>
            <pc:docMk/>
            <pc:sldMk cId="1005745348" sldId="686"/>
            <ac:spMk id="780" creationId="{453A8527-6970-1517-00A1-5282B6757622}"/>
          </ac:spMkLst>
        </pc:spChg>
        <pc:spChg chg="add del mod">
          <ac:chgData name="Steiner Andreas 6206 ED" userId="e6377c33-a923-4f14-8587-531c474c7b48" providerId="ADAL" clId="{6ECD27E6-B224-41CD-B4E0-E297462320DD}" dt="2023-11-24T11:34:57.773" v="120526"/>
          <ac:spMkLst>
            <pc:docMk/>
            <pc:sldMk cId="1005745348" sldId="686"/>
            <ac:spMk id="781" creationId="{ACAE21A1-6F0A-D956-39AD-8CE88B7D744F}"/>
          </ac:spMkLst>
        </pc:spChg>
        <pc:spChg chg="add del mod">
          <ac:chgData name="Steiner Andreas 6206 ED" userId="e6377c33-a923-4f14-8587-531c474c7b48" providerId="ADAL" clId="{6ECD27E6-B224-41CD-B4E0-E297462320DD}" dt="2023-11-24T11:34:59.655" v="120681"/>
          <ac:spMkLst>
            <pc:docMk/>
            <pc:sldMk cId="1005745348" sldId="686"/>
            <ac:spMk id="782" creationId="{EE268BCC-2F25-C167-9BC3-B0A02318C17A}"/>
          </ac:spMkLst>
        </pc:spChg>
        <pc:spChg chg="add del mod">
          <ac:chgData name="Steiner Andreas 6206 ED" userId="e6377c33-a923-4f14-8587-531c474c7b48" providerId="ADAL" clId="{6ECD27E6-B224-41CD-B4E0-E297462320DD}" dt="2023-11-24T11:35:01.491" v="120836"/>
          <ac:spMkLst>
            <pc:docMk/>
            <pc:sldMk cId="1005745348" sldId="686"/>
            <ac:spMk id="783" creationId="{6AFFF218-3AB1-C296-36EE-4A68754BBB15}"/>
          </ac:spMkLst>
        </pc:spChg>
        <pc:spChg chg="add del mod">
          <ac:chgData name="Steiner Andreas 6206 ED" userId="e6377c33-a923-4f14-8587-531c474c7b48" providerId="ADAL" clId="{6ECD27E6-B224-41CD-B4E0-E297462320DD}" dt="2023-11-24T11:35:03.365" v="120991"/>
          <ac:spMkLst>
            <pc:docMk/>
            <pc:sldMk cId="1005745348" sldId="686"/>
            <ac:spMk id="784" creationId="{0EE5BF20-B0E0-34AC-5103-F73E2D011A20}"/>
          </ac:spMkLst>
        </pc:spChg>
        <pc:spChg chg="add del mod">
          <ac:chgData name="Steiner Andreas 6206 ED" userId="e6377c33-a923-4f14-8587-531c474c7b48" providerId="ADAL" clId="{6ECD27E6-B224-41CD-B4E0-E297462320DD}" dt="2023-11-24T11:35:05.262" v="121146"/>
          <ac:spMkLst>
            <pc:docMk/>
            <pc:sldMk cId="1005745348" sldId="686"/>
            <ac:spMk id="785" creationId="{D80E7019-0A54-75B8-24CB-91F0AF9B0D83}"/>
          </ac:spMkLst>
        </pc:spChg>
        <pc:spChg chg="add del mod">
          <ac:chgData name="Steiner Andreas 6206 ED" userId="e6377c33-a923-4f14-8587-531c474c7b48" providerId="ADAL" clId="{6ECD27E6-B224-41CD-B4E0-E297462320DD}" dt="2023-11-24T11:35:07.377" v="121301"/>
          <ac:spMkLst>
            <pc:docMk/>
            <pc:sldMk cId="1005745348" sldId="686"/>
            <ac:spMk id="786" creationId="{93484080-3F1A-4FFB-2A5D-B8FB10C32301}"/>
          </ac:spMkLst>
        </pc:spChg>
        <pc:spChg chg="add del mod">
          <ac:chgData name="Steiner Andreas 6206 ED" userId="e6377c33-a923-4f14-8587-531c474c7b48" providerId="ADAL" clId="{6ECD27E6-B224-41CD-B4E0-E297462320DD}" dt="2023-11-24T11:35:09.413" v="121456"/>
          <ac:spMkLst>
            <pc:docMk/>
            <pc:sldMk cId="1005745348" sldId="686"/>
            <ac:spMk id="787" creationId="{5041E952-9064-A88F-8A6B-4465B39120AE}"/>
          </ac:spMkLst>
        </pc:spChg>
        <pc:spChg chg="add del mod">
          <ac:chgData name="Steiner Andreas 6206 ED" userId="e6377c33-a923-4f14-8587-531c474c7b48" providerId="ADAL" clId="{6ECD27E6-B224-41CD-B4E0-E297462320DD}" dt="2023-11-24T11:35:11.368" v="121611"/>
          <ac:spMkLst>
            <pc:docMk/>
            <pc:sldMk cId="1005745348" sldId="686"/>
            <ac:spMk id="788" creationId="{0FDA9445-1F64-A647-5D35-F5B2FCE57F01}"/>
          </ac:spMkLst>
        </pc:spChg>
        <pc:spChg chg="add del mod">
          <ac:chgData name="Steiner Andreas 6206 ED" userId="e6377c33-a923-4f14-8587-531c474c7b48" providerId="ADAL" clId="{6ECD27E6-B224-41CD-B4E0-E297462320DD}" dt="2023-11-24T11:35:13.116" v="121766"/>
          <ac:spMkLst>
            <pc:docMk/>
            <pc:sldMk cId="1005745348" sldId="686"/>
            <ac:spMk id="789" creationId="{33E09226-3655-416C-80BE-18F44AA28275}"/>
          </ac:spMkLst>
        </pc:spChg>
        <pc:spChg chg="add del mod">
          <ac:chgData name="Steiner Andreas 6206 ED" userId="e6377c33-a923-4f14-8587-531c474c7b48" providerId="ADAL" clId="{6ECD27E6-B224-41CD-B4E0-E297462320DD}" dt="2023-11-24T11:35:15.061" v="121921"/>
          <ac:spMkLst>
            <pc:docMk/>
            <pc:sldMk cId="1005745348" sldId="686"/>
            <ac:spMk id="790" creationId="{08DC323C-5971-0C9A-F2D7-5CE771CD29EF}"/>
          </ac:spMkLst>
        </pc:spChg>
        <pc:spChg chg="add del mod">
          <ac:chgData name="Steiner Andreas 6206 ED" userId="e6377c33-a923-4f14-8587-531c474c7b48" providerId="ADAL" clId="{6ECD27E6-B224-41CD-B4E0-E297462320DD}" dt="2023-11-24T11:35:16.734" v="122076"/>
          <ac:spMkLst>
            <pc:docMk/>
            <pc:sldMk cId="1005745348" sldId="686"/>
            <ac:spMk id="791" creationId="{0E41348C-F239-6740-909D-EFB2B5B92637}"/>
          </ac:spMkLst>
        </pc:spChg>
        <pc:spChg chg="add del mod">
          <ac:chgData name="Steiner Andreas 6206 ED" userId="e6377c33-a923-4f14-8587-531c474c7b48" providerId="ADAL" clId="{6ECD27E6-B224-41CD-B4E0-E297462320DD}" dt="2023-11-24T11:35:18.451" v="122231"/>
          <ac:spMkLst>
            <pc:docMk/>
            <pc:sldMk cId="1005745348" sldId="686"/>
            <ac:spMk id="792" creationId="{B2DA2E17-254F-931B-888F-B7C25F5EA6AE}"/>
          </ac:spMkLst>
        </pc:spChg>
        <pc:spChg chg="add del mod">
          <ac:chgData name="Steiner Andreas 6206 ED" userId="e6377c33-a923-4f14-8587-531c474c7b48" providerId="ADAL" clId="{6ECD27E6-B224-41CD-B4E0-E297462320DD}" dt="2023-11-24T11:35:20.076" v="122386"/>
          <ac:spMkLst>
            <pc:docMk/>
            <pc:sldMk cId="1005745348" sldId="686"/>
            <ac:spMk id="793" creationId="{E45EA58C-681D-CBE7-F2EC-D6888E66A3D5}"/>
          </ac:spMkLst>
        </pc:spChg>
        <pc:spChg chg="add del mod">
          <ac:chgData name="Steiner Andreas 6206 ED" userId="e6377c33-a923-4f14-8587-531c474c7b48" providerId="ADAL" clId="{6ECD27E6-B224-41CD-B4E0-E297462320DD}" dt="2023-11-24T11:35:21.708" v="122541"/>
          <ac:spMkLst>
            <pc:docMk/>
            <pc:sldMk cId="1005745348" sldId="686"/>
            <ac:spMk id="794" creationId="{E1D2A9E7-FB9E-52B7-7ABB-E4869CC88F0E}"/>
          </ac:spMkLst>
        </pc:spChg>
        <pc:spChg chg="add del mod">
          <ac:chgData name="Steiner Andreas 6206 ED" userId="e6377c33-a923-4f14-8587-531c474c7b48" providerId="ADAL" clId="{6ECD27E6-B224-41CD-B4E0-E297462320DD}" dt="2023-11-24T11:35:23.416" v="122696"/>
          <ac:spMkLst>
            <pc:docMk/>
            <pc:sldMk cId="1005745348" sldId="686"/>
            <ac:spMk id="795" creationId="{37BABA7C-291D-13BA-E3F2-AF3F79C8C77E}"/>
          </ac:spMkLst>
        </pc:spChg>
        <pc:spChg chg="add del mod">
          <ac:chgData name="Steiner Andreas 6206 ED" userId="e6377c33-a923-4f14-8587-531c474c7b48" providerId="ADAL" clId="{6ECD27E6-B224-41CD-B4E0-E297462320DD}" dt="2023-11-24T11:35:25.438" v="122851"/>
          <ac:spMkLst>
            <pc:docMk/>
            <pc:sldMk cId="1005745348" sldId="686"/>
            <ac:spMk id="796" creationId="{8BC1E566-C218-3824-6AD9-6955DABC9948}"/>
          </ac:spMkLst>
        </pc:spChg>
        <pc:spChg chg="add del mod">
          <ac:chgData name="Steiner Andreas 6206 ED" userId="e6377c33-a923-4f14-8587-531c474c7b48" providerId="ADAL" clId="{6ECD27E6-B224-41CD-B4E0-E297462320DD}" dt="2023-11-24T11:35:27.464" v="123006"/>
          <ac:spMkLst>
            <pc:docMk/>
            <pc:sldMk cId="1005745348" sldId="686"/>
            <ac:spMk id="797" creationId="{F8E83440-86CD-0ABF-61F6-F2013E09D60E}"/>
          </ac:spMkLst>
        </pc:spChg>
        <pc:spChg chg="add del mod">
          <ac:chgData name="Steiner Andreas 6206 ED" userId="e6377c33-a923-4f14-8587-531c474c7b48" providerId="ADAL" clId="{6ECD27E6-B224-41CD-B4E0-E297462320DD}" dt="2023-11-24T11:35:29.342" v="123161"/>
          <ac:spMkLst>
            <pc:docMk/>
            <pc:sldMk cId="1005745348" sldId="686"/>
            <ac:spMk id="798" creationId="{C63F7E14-05A3-997B-A2F8-5A516A1E9FEF}"/>
          </ac:spMkLst>
        </pc:spChg>
        <pc:spChg chg="add del mod">
          <ac:chgData name="Steiner Andreas 6206 ED" userId="e6377c33-a923-4f14-8587-531c474c7b48" providerId="ADAL" clId="{6ECD27E6-B224-41CD-B4E0-E297462320DD}" dt="2023-11-24T11:35:31.088" v="123316"/>
          <ac:spMkLst>
            <pc:docMk/>
            <pc:sldMk cId="1005745348" sldId="686"/>
            <ac:spMk id="799" creationId="{11D6347E-40ED-833F-F345-F5C6D70CA77E}"/>
          </ac:spMkLst>
        </pc:spChg>
        <pc:spChg chg="add del mod">
          <ac:chgData name="Steiner Andreas 6206 ED" userId="e6377c33-a923-4f14-8587-531c474c7b48" providerId="ADAL" clId="{6ECD27E6-B224-41CD-B4E0-E297462320DD}" dt="2023-11-24T11:35:34.009" v="123471"/>
          <ac:spMkLst>
            <pc:docMk/>
            <pc:sldMk cId="1005745348" sldId="686"/>
            <ac:spMk id="800" creationId="{1E6CF358-347E-151F-5CF8-DC97CCB7728E}"/>
          </ac:spMkLst>
        </pc:spChg>
        <pc:spChg chg="add del mod">
          <ac:chgData name="Steiner Andreas 6206 ED" userId="e6377c33-a923-4f14-8587-531c474c7b48" providerId="ADAL" clId="{6ECD27E6-B224-41CD-B4E0-E297462320DD}" dt="2023-11-24T11:35:35.831" v="123626"/>
          <ac:spMkLst>
            <pc:docMk/>
            <pc:sldMk cId="1005745348" sldId="686"/>
            <ac:spMk id="801" creationId="{DB7A7D2A-5F18-BAEF-7F52-FDA36FC60D30}"/>
          </ac:spMkLst>
        </pc:spChg>
        <pc:spChg chg="add del mod">
          <ac:chgData name="Steiner Andreas 6206 ED" userId="e6377c33-a923-4f14-8587-531c474c7b48" providerId="ADAL" clId="{6ECD27E6-B224-41CD-B4E0-E297462320DD}" dt="2023-11-24T11:35:37.509" v="123781"/>
          <ac:spMkLst>
            <pc:docMk/>
            <pc:sldMk cId="1005745348" sldId="686"/>
            <ac:spMk id="802" creationId="{ABCBD7C8-76AB-4DC5-8809-FB839A9B20D5}"/>
          </ac:spMkLst>
        </pc:spChg>
        <pc:spChg chg="add del mod">
          <ac:chgData name="Steiner Andreas 6206 ED" userId="e6377c33-a923-4f14-8587-531c474c7b48" providerId="ADAL" clId="{6ECD27E6-B224-41CD-B4E0-E297462320DD}" dt="2023-11-24T11:35:39.144" v="123936"/>
          <ac:spMkLst>
            <pc:docMk/>
            <pc:sldMk cId="1005745348" sldId="686"/>
            <ac:spMk id="803" creationId="{0874C51B-DCA8-F63F-0DF7-C3D7E3DCD90A}"/>
          </ac:spMkLst>
        </pc:spChg>
        <pc:spChg chg="add del mod">
          <ac:chgData name="Steiner Andreas 6206 ED" userId="e6377c33-a923-4f14-8587-531c474c7b48" providerId="ADAL" clId="{6ECD27E6-B224-41CD-B4E0-E297462320DD}" dt="2023-11-24T11:35:40.845" v="124091"/>
          <ac:spMkLst>
            <pc:docMk/>
            <pc:sldMk cId="1005745348" sldId="686"/>
            <ac:spMk id="804" creationId="{54850FF9-AB9C-E0F0-1086-63E520A92998}"/>
          </ac:spMkLst>
        </pc:spChg>
        <pc:spChg chg="add del mod">
          <ac:chgData name="Steiner Andreas 6206 ED" userId="e6377c33-a923-4f14-8587-531c474c7b48" providerId="ADAL" clId="{6ECD27E6-B224-41CD-B4E0-E297462320DD}" dt="2023-11-24T11:35:42.448" v="124246"/>
          <ac:spMkLst>
            <pc:docMk/>
            <pc:sldMk cId="1005745348" sldId="686"/>
            <ac:spMk id="805" creationId="{97BC05EC-D658-49DA-ADDF-A0BF5868B08D}"/>
          </ac:spMkLst>
        </pc:spChg>
        <pc:spChg chg="add del mod">
          <ac:chgData name="Steiner Andreas 6206 ED" userId="e6377c33-a923-4f14-8587-531c474c7b48" providerId="ADAL" clId="{6ECD27E6-B224-41CD-B4E0-E297462320DD}" dt="2023-11-24T11:35:44.139" v="124401"/>
          <ac:spMkLst>
            <pc:docMk/>
            <pc:sldMk cId="1005745348" sldId="686"/>
            <ac:spMk id="806" creationId="{833F9FBA-5DCE-4FB0-5E64-32C01625FA6C}"/>
          </ac:spMkLst>
        </pc:spChg>
        <pc:spChg chg="add del mod">
          <ac:chgData name="Steiner Andreas 6206 ED" userId="e6377c33-a923-4f14-8587-531c474c7b48" providerId="ADAL" clId="{6ECD27E6-B224-41CD-B4E0-E297462320DD}" dt="2023-11-24T11:35:45.773" v="124556"/>
          <ac:spMkLst>
            <pc:docMk/>
            <pc:sldMk cId="1005745348" sldId="686"/>
            <ac:spMk id="807" creationId="{5B20436A-BA4B-7D75-23CA-7F914DB5C0FC}"/>
          </ac:spMkLst>
        </pc:spChg>
        <pc:spChg chg="add del mod">
          <ac:chgData name="Steiner Andreas 6206 ED" userId="e6377c33-a923-4f14-8587-531c474c7b48" providerId="ADAL" clId="{6ECD27E6-B224-41CD-B4E0-E297462320DD}" dt="2023-11-24T11:35:47.490" v="124711"/>
          <ac:spMkLst>
            <pc:docMk/>
            <pc:sldMk cId="1005745348" sldId="686"/>
            <ac:spMk id="808" creationId="{911CDB47-1667-4F35-870E-031021DA1BFF}"/>
          </ac:spMkLst>
        </pc:spChg>
        <pc:spChg chg="add del mod">
          <ac:chgData name="Steiner Andreas 6206 ED" userId="e6377c33-a923-4f14-8587-531c474c7b48" providerId="ADAL" clId="{6ECD27E6-B224-41CD-B4E0-E297462320DD}" dt="2023-11-24T11:35:49.265" v="124866"/>
          <ac:spMkLst>
            <pc:docMk/>
            <pc:sldMk cId="1005745348" sldId="686"/>
            <ac:spMk id="809" creationId="{A3FD20BE-B23B-D477-0340-1B1136299DE5}"/>
          </ac:spMkLst>
        </pc:spChg>
        <pc:spChg chg="add del mod">
          <ac:chgData name="Steiner Andreas 6206 ED" userId="e6377c33-a923-4f14-8587-531c474c7b48" providerId="ADAL" clId="{6ECD27E6-B224-41CD-B4E0-E297462320DD}" dt="2023-11-24T11:35:51.178" v="125021"/>
          <ac:spMkLst>
            <pc:docMk/>
            <pc:sldMk cId="1005745348" sldId="686"/>
            <ac:spMk id="810" creationId="{14D6469C-CCBB-FDB6-FC9A-3BDE3ED97D38}"/>
          </ac:spMkLst>
        </pc:spChg>
        <pc:spChg chg="add del mod">
          <ac:chgData name="Steiner Andreas 6206 ED" userId="e6377c33-a923-4f14-8587-531c474c7b48" providerId="ADAL" clId="{6ECD27E6-B224-41CD-B4E0-E297462320DD}" dt="2023-11-24T11:35:52.902" v="125176"/>
          <ac:spMkLst>
            <pc:docMk/>
            <pc:sldMk cId="1005745348" sldId="686"/>
            <ac:spMk id="811" creationId="{E93EB8D8-8997-568D-098F-C01D3E6E2A4D}"/>
          </ac:spMkLst>
        </pc:spChg>
        <pc:spChg chg="add del mod">
          <ac:chgData name="Steiner Andreas 6206 ED" userId="e6377c33-a923-4f14-8587-531c474c7b48" providerId="ADAL" clId="{6ECD27E6-B224-41CD-B4E0-E297462320DD}" dt="2023-11-24T11:35:54.914" v="125331"/>
          <ac:spMkLst>
            <pc:docMk/>
            <pc:sldMk cId="1005745348" sldId="686"/>
            <ac:spMk id="812" creationId="{D5AEB7AC-BB09-E922-01A7-DAAF58EF4A69}"/>
          </ac:spMkLst>
        </pc:spChg>
        <pc:spChg chg="add del mod">
          <ac:chgData name="Steiner Andreas 6206 ED" userId="e6377c33-a923-4f14-8587-531c474c7b48" providerId="ADAL" clId="{6ECD27E6-B224-41CD-B4E0-E297462320DD}" dt="2023-11-24T11:35:57.096" v="125486"/>
          <ac:spMkLst>
            <pc:docMk/>
            <pc:sldMk cId="1005745348" sldId="686"/>
            <ac:spMk id="813" creationId="{01F2D99F-2DF6-B090-77A0-8F13AE7346B3}"/>
          </ac:spMkLst>
        </pc:spChg>
        <pc:spChg chg="add del mod">
          <ac:chgData name="Steiner Andreas 6206 ED" userId="e6377c33-a923-4f14-8587-531c474c7b48" providerId="ADAL" clId="{6ECD27E6-B224-41CD-B4E0-E297462320DD}" dt="2023-11-24T11:35:58.878" v="125641"/>
          <ac:spMkLst>
            <pc:docMk/>
            <pc:sldMk cId="1005745348" sldId="686"/>
            <ac:spMk id="814" creationId="{CC78584A-F66F-85B8-73C0-0C0000BB44D6}"/>
          </ac:spMkLst>
        </pc:spChg>
        <pc:spChg chg="add del mod">
          <ac:chgData name="Steiner Andreas 6206 ED" userId="e6377c33-a923-4f14-8587-531c474c7b48" providerId="ADAL" clId="{6ECD27E6-B224-41CD-B4E0-E297462320DD}" dt="2023-11-24T11:36:00.612" v="125796"/>
          <ac:spMkLst>
            <pc:docMk/>
            <pc:sldMk cId="1005745348" sldId="686"/>
            <ac:spMk id="815" creationId="{27CC5FCE-7A34-19E1-C3C5-D139E6A94C01}"/>
          </ac:spMkLst>
        </pc:spChg>
        <pc:spChg chg="add del mod">
          <ac:chgData name="Steiner Andreas 6206 ED" userId="e6377c33-a923-4f14-8587-531c474c7b48" providerId="ADAL" clId="{6ECD27E6-B224-41CD-B4E0-E297462320DD}" dt="2023-11-24T11:36:02.343" v="125951"/>
          <ac:spMkLst>
            <pc:docMk/>
            <pc:sldMk cId="1005745348" sldId="686"/>
            <ac:spMk id="816" creationId="{F25AC6FE-29BC-1BAB-DA63-3308B3969EA7}"/>
          </ac:spMkLst>
        </pc:spChg>
        <pc:spChg chg="add del mod">
          <ac:chgData name="Steiner Andreas 6206 ED" userId="e6377c33-a923-4f14-8587-531c474c7b48" providerId="ADAL" clId="{6ECD27E6-B224-41CD-B4E0-E297462320DD}" dt="2023-11-24T11:36:04.094" v="126106"/>
          <ac:spMkLst>
            <pc:docMk/>
            <pc:sldMk cId="1005745348" sldId="686"/>
            <ac:spMk id="817" creationId="{D3C156E5-3CD5-5D3F-3DB5-21812DB89D9F}"/>
          </ac:spMkLst>
        </pc:spChg>
        <pc:spChg chg="add del mod">
          <ac:chgData name="Steiner Andreas 6206 ED" userId="e6377c33-a923-4f14-8587-531c474c7b48" providerId="ADAL" clId="{6ECD27E6-B224-41CD-B4E0-E297462320DD}" dt="2023-11-24T11:36:05.870" v="126261"/>
          <ac:spMkLst>
            <pc:docMk/>
            <pc:sldMk cId="1005745348" sldId="686"/>
            <ac:spMk id="818" creationId="{E80EDDD4-10C5-9664-340C-896A857443E2}"/>
          </ac:spMkLst>
        </pc:spChg>
        <pc:spChg chg="add del mod">
          <ac:chgData name="Steiner Andreas 6206 ED" userId="e6377c33-a923-4f14-8587-531c474c7b48" providerId="ADAL" clId="{6ECD27E6-B224-41CD-B4E0-E297462320DD}" dt="2023-11-24T11:36:07.557" v="126416"/>
          <ac:spMkLst>
            <pc:docMk/>
            <pc:sldMk cId="1005745348" sldId="686"/>
            <ac:spMk id="819" creationId="{5D28100A-EEC2-613E-0496-0749A9D307B4}"/>
          </ac:spMkLst>
        </pc:spChg>
        <pc:spChg chg="add del mod">
          <ac:chgData name="Steiner Andreas 6206 ED" userId="e6377c33-a923-4f14-8587-531c474c7b48" providerId="ADAL" clId="{6ECD27E6-B224-41CD-B4E0-E297462320DD}" dt="2023-11-24T11:36:09.402" v="126571"/>
          <ac:spMkLst>
            <pc:docMk/>
            <pc:sldMk cId="1005745348" sldId="686"/>
            <ac:spMk id="820" creationId="{978E0D0A-0BCF-09BF-1C3A-A429BE90C213}"/>
          </ac:spMkLst>
        </pc:spChg>
        <pc:spChg chg="add del mod">
          <ac:chgData name="Steiner Andreas 6206 ED" userId="e6377c33-a923-4f14-8587-531c474c7b48" providerId="ADAL" clId="{6ECD27E6-B224-41CD-B4E0-E297462320DD}" dt="2023-11-24T11:36:11.208" v="126726"/>
          <ac:spMkLst>
            <pc:docMk/>
            <pc:sldMk cId="1005745348" sldId="686"/>
            <ac:spMk id="821" creationId="{B5472C88-E376-872D-AC04-A700C63602CA}"/>
          </ac:spMkLst>
        </pc:spChg>
        <pc:spChg chg="add del mod">
          <ac:chgData name="Steiner Andreas 6206 ED" userId="e6377c33-a923-4f14-8587-531c474c7b48" providerId="ADAL" clId="{6ECD27E6-B224-41CD-B4E0-E297462320DD}" dt="2023-11-24T11:36:13.105" v="126881"/>
          <ac:spMkLst>
            <pc:docMk/>
            <pc:sldMk cId="1005745348" sldId="686"/>
            <ac:spMk id="822" creationId="{5C6978B4-C71A-EDCA-F0AB-D420B1C93185}"/>
          </ac:spMkLst>
        </pc:spChg>
        <pc:spChg chg="add del mod">
          <ac:chgData name="Steiner Andreas 6206 ED" userId="e6377c33-a923-4f14-8587-531c474c7b48" providerId="ADAL" clId="{6ECD27E6-B224-41CD-B4E0-E297462320DD}" dt="2023-11-24T11:36:15.006" v="127036"/>
          <ac:spMkLst>
            <pc:docMk/>
            <pc:sldMk cId="1005745348" sldId="686"/>
            <ac:spMk id="823" creationId="{80142854-0108-2DA7-C1A1-175C582A4139}"/>
          </ac:spMkLst>
        </pc:spChg>
        <pc:spChg chg="add del mod">
          <ac:chgData name="Steiner Andreas 6206 ED" userId="e6377c33-a923-4f14-8587-531c474c7b48" providerId="ADAL" clId="{6ECD27E6-B224-41CD-B4E0-E297462320DD}" dt="2023-11-24T11:36:17.526" v="127191"/>
          <ac:spMkLst>
            <pc:docMk/>
            <pc:sldMk cId="1005745348" sldId="686"/>
            <ac:spMk id="824" creationId="{3CE07244-834D-D088-94A9-29E7694FE7AD}"/>
          </ac:spMkLst>
        </pc:spChg>
        <pc:spChg chg="add del mod">
          <ac:chgData name="Steiner Andreas 6206 ED" userId="e6377c33-a923-4f14-8587-531c474c7b48" providerId="ADAL" clId="{6ECD27E6-B224-41CD-B4E0-E297462320DD}" dt="2023-11-24T11:36:20.127" v="127346"/>
          <ac:spMkLst>
            <pc:docMk/>
            <pc:sldMk cId="1005745348" sldId="686"/>
            <ac:spMk id="825" creationId="{CE02C1A0-3D8B-F6B4-1D03-3D01F966EE8D}"/>
          </ac:spMkLst>
        </pc:spChg>
        <pc:spChg chg="add del mod">
          <ac:chgData name="Steiner Andreas 6206 ED" userId="e6377c33-a923-4f14-8587-531c474c7b48" providerId="ADAL" clId="{6ECD27E6-B224-41CD-B4E0-E297462320DD}" dt="2023-11-24T11:36:22.472" v="127501"/>
          <ac:spMkLst>
            <pc:docMk/>
            <pc:sldMk cId="1005745348" sldId="686"/>
            <ac:spMk id="826" creationId="{79ACAC38-57B2-25F4-0DD3-B516FF025BD0}"/>
          </ac:spMkLst>
        </pc:spChg>
        <pc:spChg chg="add del mod">
          <ac:chgData name="Steiner Andreas 6206 ED" userId="e6377c33-a923-4f14-8587-531c474c7b48" providerId="ADAL" clId="{6ECD27E6-B224-41CD-B4E0-E297462320DD}" dt="2023-11-24T11:36:25.600" v="127656"/>
          <ac:spMkLst>
            <pc:docMk/>
            <pc:sldMk cId="1005745348" sldId="686"/>
            <ac:spMk id="827" creationId="{D8E3D1A4-5A83-0BB8-B6A9-C2C814784680}"/>
          </ac:spMkLst>
        </pc:spChg>
        <pc:spChg chg="add del mod">
          <ac:chgData name="Steiner Andreas 6206 ED" userId="e6377c33-a923-4f14-8587-531c474c7b48" providerId="ADAL" clId="{6ECD27E6-B224-41CD-B4E0-E297462320DD}" dt="2023-11-24T11:36:28.438" v="127811"/>
          <ac:spMkLst>
            <pc:docMk/>
            <pc:sldMk cId="1005745348" sldId="686"/>
            <ac:spMk id="828" creationId="{C944463A-1F75-CC8E-0B85-A36D5E2ACC68}"/>
          </ac:spMkLst>
        </pc:spChg>
        <pc:spChg chg="add del mod">
          <ac:chgData name="Steiner Andreas 6206 ED" userId="e6377c33-a923-4f14-8587-531c474c7b48" providerId="ADAL" clId="{6ECD27E6-B224-41CD-B4E0-E297462320DD}" dt="2023-11-24T11:36:31.101" v="127966"/>
          <ac:spMkLst>
            <pc:docMk/>
            <pc:sldMk cId="1005745348" sldId="686"/>
            <ac:spMk id="829" creationId="{5BA41D1F-697B-2A6B-B3D1-2D81E6DC01F6}"/>
          </ac:spMkLst>
        </pc:spChg>
        <pc:spChg chg="add del mod">
          <ac:chgData name="Steiner Andreas 6206 ED" userId="e6377c33-a923-4f14-8587-531c474c7b48" providerId="ADAL" clId="{6ECD27E6-B224-41CD-B4E0-E297462320DD}" dt="2023-11-24T11:36:33.368" v="128121"/>
          <ac:spMkLst>
            <pc:docMk/>
            <pc:sldMk cId="1005745348" sldId="686"/>
            <ac:spMk id="830" creationId="{ED4B5B19-C278-0B10-7315-FCA1C3EBB793}"/>
          </ac:spMkLst>
        </pc:spChg>
        <pc:spChg chg="add del mod">
          <ac:chgData name="Steiner Andreas 6206 ED" userId="e6377c33-a923-4f14-8587-531c474c7b48" providerId="ADAL" clId="{6ECD27E6-B224-41CD-B4E0-E297462320DD}" dt="2023-11-24T11:36:35.427" v="128276"/>
          <ac:spMkLst>
            <pc:docMk/>
            <pc:sldMk cId="1005745348" sldId="686"/>
            <ac:spMk id="831" creationId="{0AB6B0B0-F789-1582-6A7C-D603142E697F}"/>
          </ac:spMkLst>
        </pc:spChg>
        <pc:spChg chg="add del mod">
          <ac:chgData name="Steiner Andreas 6206 ED" userId="e6377c33-a923-4f14-8587-531c474c7b48" providerId="ADAL" clId="{6ECD27E6-B224-41CD-B4E0-E297462320DD}" dt="2023-11-24T11:36:37.527" v="128431"/>
          <ac:spMkLst>
            <pc:docMk/>
            <pc:sldMk cId="1005745348" sldId="686"/>
            <ac:spMk id="832" creationId="{FE5C400F-3B18-7185-1AA0-718BDF20F73F}"/>
          </ac:spMkLst>
        </pc:spChg>
        <pc:spChg chg="add del mod">
          <ac:chgData name="Steiner Andreas 6206 ED" userId="e6377c33-a923-4f14-8587-531c474c7b48" providerId="ADAL" clId="{6ECD27E6-B224-41CD-B4E0-E297462320DD}" dt="2023-11-24T11:36:39.744" v="128586"/>
          <ac:spMkLst>
            <pc:docMk/>
            <pc:sldMk cId="1005745348" sldId="686"/>
            <ac:spMk id="833" creationId="{3FC64BAB-6E28-0E8A-45F9-AF40F0EB29E5}"/>
          </ac:spMkLst>
        </pc:spChg>
        <pc:spChg chg="add del mod">
          <ac:chgData name="Steiner Andreas 6206 ED" userId="e6377c33-a923-4f14-8587-531c474c7b48" providerId="ADAL" clId="{6ECD27E6-B224-41CD-B4E0-E297462320DD}" dt="2023-11-24T11:36:42.297" v="128741"/>
          <ac:spMkLst>
            <pc:docMk/>
            <pc:sldMk cId="1005745348" sldId="686"/>
            <ac:spMk id="834" creationId="{F14AF91A-4891-3B59-D2E7-C60D0214A1CF}"/>
          </ac:spMkLst>
        </pc:spChg>
        <pc:spChg chg="add del mod">
          <ac:chgData name="Steiner Andreas 6206 ED" userId="e6377c33-a923-4f14-8587-531c474c7b48" providerId="ADAL" clId="{6ECD27E6-B224-41CD-B4E0-E297462320DD}" dt="2023-11-24T11:36:44.606" v="128896"/>
          <ac:spMkLst>
            <pc:docMk/>
            <pc:sldMk cId="1005745348" sldId="686"/>
            <ac:spMk id="835" creationId="{257EF04C-7EED-7C88-E33F-C70114A2814F}"/>
          </ac:spMkLst>
        </pc:spChg>
        <pc:spChg chg="add del mod">
          <ac:chgData name="Steiner Andreas 6206 ED" userId="e6377c33-a923-4f14-8587-531c474c7b48" providerId="ADAL" clId="{6ECD27E6-B224-41CD-B4E0-E297462320DD}" dt="2023-11-24T11:36:46.581" v="129051"/>
          <ac:spMkLst>
            <pc:docMk/>
            <pc:sldMk cId="1005745348" sldId="686"/>
            <ac:spMk id="836" creationId="{3CEC3AEF-702B-EBFF-4810-B676B2816D99}"/>
          </ac:spMkLst>
        </pc:spChg>
        <pc:spChg chg="add del mod">
          <ac:chgData name="Steiner Andreas 6206 ED" userId="e6377c33-a923-4f14-8587-531c474c7b48" providerId="ADAL" clId="{6ECD27E6-B224-41CD-B4E0-E297462320DD}" dt="2023-11-24T11:36:48.543" v="129206"/>
          <ac:spMkLst>
            <pc:docMk/>
            <pc:sldMk cId="1005745348" sldId="686"/>
            <ac:spMk id="837" creationId="{8749258B-F8CC-5AD5-0E4F-1419D142D8B4}"/>
          </ac:spMkLst>
        </pc:spChg>
        <pc:spChg chg="add del mod">
          <ac:chgData name="Steiner Andreas 6206 ED" userId="e6377c33-a923-4f14-8587-531c474c7b48" providerId="ADAL" clId="{6ECD27E6-B224-41CD-B4E0-E297462320DD}" dt="2023-11-24T11:36:50.518" v="129361"/>
          <ac:spMkLst>
            <pc:docMk/>
            <pc:sldMk cId="1005745348" sldId="686"/>
            <ac:spMk id="838" creationId="{8DC13D22-C0E2-1473-A479-1611A1053348}"/>
          </ac:spMkLst>
        </pc:spChg>
        <pc:spChg chg="add del mod">
          <ac:chgData name="Steiner Andreas 6206 ED" userId="e6377c33-a923-4f14-8587-531c474c7b48" providerId="ADAL" clId="{6ECD27E6-B224-41CD-B4E0-E297462320DD}" dt="2023-11-24T11:36:52.656" v="129516"/>
          <ac:spMkLst>
            <pc:docMk/>
            <pc:sldMk cId="1005745348" sldId="686"/>
            <ac:spMk id="839" creationId="{4620828C-28A3-29E0-4830-02B178086909}"/>
          </ac:spMkLst>
        </pc:spChg>
        <pc:spChg chg="add del mod">
          <ac:chgData name="Steiner Andreas 6206 ED" userId="e6377c33-a923-4f14-8587-531c474c7b48" providerId="ADAL" clId="{6ECD27E6-B224-41CD-B4E0-E297462320DD}" dt="2023-11-24T11:36:55.532" v="129671"/>
          <ac:spMkLst>
            <pc:docMk/>
            <pc:sldMk cId="1005745348" sldId="686"/>
            <ac:spMk id="840" creationId="{969CD874-90A9-5A5B-5C6E-462565293913}"/>
          </ac:spMkLst>
        </pc:spChg>
        <pc:spChg chg="add del mod">
          <ac:chgData name="Steiner Andreas 6206 ED" userId="e6377c33-a923-4f14-8587-531c474c7b48" providerId="ADAL" clId="{6ECD27E6-B224-41CD-B4E0-E297462320DD}" dt="2023-11-24T11:36:57.773" v="129826"/>
          <ac:spMkLst>
            <pc:docMk/>
            <pc:sldMk cId="1005745348" sldId="686"/>
            <ac:spMk id="841" creationId="{FD85A95A-0EB4-FDA3-DFF3-3A611CEC1ABF}"/>
          </ac:spMkLst>
        </pc:spChg>
        <pc:spChg chg="add del mod">
          <ac:chgData name="Steiner Andreas 6206 ED" userId="e6377c33-a923-4f14-8587-531c474c7b48" providerId="ADAL" clId="{6ECD27E6-B224-41CD-B4E0-E297462320DD}" dt="2023-11-24T11:37:00.131" v="129981"/>
          <ac:spMkLst>
            <pc:docMk/>
            <pc:sldMk cId="1005745348" sldId="686"/>
            <ac:spMk id="842" creationId="{70ED3822-BF20-6B37-A6E0-C15E6034198E}"/>
          </ac:spMkLst>
        </pc:spChg>
        <pc:spChg chg="add del mod">
          <ac:chgData name="Steiner Andreas 6206 ED" userId="e6377c33-a923-4f14-8587-531c474c7b48" providerId="ADAL" clId="{6ECD27E6-B224-41CD-B4E0-E297462320DD}" dt="2023-11-24T11:37:01.958" v="130136"/>
          <ac:spMkLst>
            <pc:docMk/>
            <pc:sldMk cId="1005745348" sldId="686"/>
            <ac:spMk id="843" creationId="{992B24CA-A38C-660D-D2E7-4272D5C5657D}"/>
          </ac:spMkLst>
        </pc:spChg>
        <pc:spChg chg="add del mod">
          <ac:chgData name="Steiner Andreas 6206 ED" userId="e6377c33-a923-4f14-8587-531c474c7b48" providerId="ADAL" clId="{6ECD27E6-B224-41CD-B4E0-E297462320DD}" dt="2023-11-24T11:37:03.696" v="130291"/>
          <ac:spMkLst>
            <pc:docMk/>
            <pc:sldMk cId="1005745348" sldId="686"/>
            <ac:spMk id="844" creationId="{3AFBD47F-1C5F-8B15-6C61-D8729A494675}"/>
          </ac:spMkLst>
        </pc:spChg>
        <pc:spChg chg="add del mod">
          <ac:chgData name="Steiner Andreas 6206 ED" userId="e6377c33-a923-4f14-8587-531c474c7b48" providerId="ADAL" clId="{6ECD27E6-B224-41CD-B4E0-E297462320DD}" dt="2023-11-24T11:37:05.583" v="130446"/>
          <ac:spMkLst>
            <pc:docMk/>
            <pc:sldMk cId="1005745348" sldId="686"/>
            <ac:spMk id="845" creationId="{53792D66-FBE7-61D4-5633-B4987983E6ED}"/>
          </ac:spMkLst>
        </pc:spChg>
        <pc:spChg chg="add del mod">
          <ac:chgData name="Steiner Andreas 6206 ED" userId="e6377c33-a923-4f14-8587-531c474c7b48" providerId="ADAL" clId="{6ECD27E6-B224-41CD-B4E0-E297462320DD}" dt="2023-11-24T11:37:07.339" v="130601"/>
          <ac:spMkLst>
            <pc:docMk/>
            <pc:sldMk cId="1005745348" sldId="686"/>
            <ac:spMk id="846" creationId="{7E443F95-1318-957E-52BF-C70C96933523}"/>
          </ac:spMkLst>
        </pc:spChg>
        <pc:spChg chg="add del mod">
          <ac:chgData name="Steiner Andreas 6206 ED" userId="e6377c33-a923-4f14-8587-531c474c7b48" providerId="ADAL" clId="{6ECD27E6-B224-41CD-B4E0-E297462320DD}" dt="2023-11-24T11:37:09.066" v="130756"/>
          <ac:spMkLst>
            <pc:docMk/>
            <pc:sldMk cId="1005745348" sldId="686"/>
            <ac:spMk id="847" creationId="{898F732B-9587-4D05-91A3-2EC56ADA98C7}"/>
          </ac:spMkLst>
        </pc:spChg>
        <pc:spChg chg="add del mod">
          <ac:chgData name="Steiner Andreas 6206 ED" userId="e6377c33-a923-4f14-8587-531c474c7b48" providerId="ADAL" clId="{6ECD27E6-B224-41CD-B4E0-E297462320DD}" dt="2023-11-24T11:37:10.720" v="130911"/>
          <ac:spMkLst>
            <pc:docMk/>
            <pc:sldMk cId="1005745348" sldId="686"/>
            <ac:spMk id="848" creationId="{757B2FE8-5F91-5D86-43E4-4A45F7D30386}"/>
          </ac:spMkLst>
        </pc:spChg>
        <pc:spChg chg="add del mod">
          <ac:chgData name="Steiner Andreas 6206 ED" userId="e6377c33-a923-4f14-8587-531c474c7b48" providerId="ADAL" clId="{6ECD27E6-B224-41CD-B4E0-E297462320DD}" dt="2023-11-24T11:37:12.426" v="131066"/>
          <ac:spMkLst>
            <pc:docMk/>
            <pc:sldMk cId="1005745348" sldId="686"/>
            <ac:spMk id="849" creationId="{3DD3ACF6-DB85-1D41-A4DF-58B397EF0CF6}"/>
          </ac:spMkLst>
        </pc:spChg>
        <pc:spChg chg="add del mod">
          <ac:chgData name="Steiner Andreas 6206 ED" userId="e6377c33-a923-4f14-8587-531c474c7b48" providerId="ADAL" clId="{6ECD27E6-B224-41CD-B4E0-E297462320DD}" dt="2023-11-24T11:37:14.107" v="131221"/>
          <ac:spMkLst>
            <pc:docMk/>
            <pc:sldMk cId="1005745348" sldId="686"/>
            <ac:spMk id="850" creationId="{F4905C53-2E43-69DE-D8FF-A676A3F090EF}"/>
          </ac:spMkLst>
        </pc:spChg>
        <pc:spChg chg="add del mod">
          <ac:chgData name="Steiner Andreas 6206 ED" userId="e6377c33-a923-4f14-8587-531c474c7b48" providerId="ADAL" clId="{6ECD27E6-B224-41CD-B4E0-E297462320DD}" dt="2023-11-24T11:37:16.126" v="131376"/>
          <ac:spMkLst>
            <pc:docMk/>
            <pc:sldMk cId="1005745348" sldId="686"/>
            <ac:spMk id="851" creationId="{0922BD33-1BFA-71F6-4297-A9AE332E1614}"/>
          </ac:spMkLst>
        </pc:spChg>
        <pc:spChg chg="add del mod">
          <ac:chgData name="Steiner Andreas 6206 ED" userId="e6377c33-a923-4f14-8587-531c474c7b48" providerId="ADAL" clId="{6ECD27E6-B224-41CD-B4E0-E297462320DD}" dt="2023-11-24T11:37:18.122" v="131531"/>
          <ac:spMkLst>
            <pc:docMk/>
            <pc:sldMk cId="1005745348" sldId="686"/>
            <ac:spMk id="852" creationId="{EFDA1C88-C338-EFD8-BE9E-5A260D544E20}"/>
          </ac:spMkLst>
        </pc:spChg>
        <pc:spChg chg="add del mod">
          <ac:chgData name="Steiner Andreas 6206 ED" userId="e6377c33-a923-4f14-8587-531c474c7b48" providerId="ADAL" clId="{6ECD27E6-B224-41CD-B4E0-E297462320DD}" dt="2023-11-24T11:37:20.013" v="131686"/>
          <ac:spMkLst>
            <pc:docMk/>
            <pc:sldMk cId="1005745348" sldId="686"/>
            <ac:spMk id="853" creationId="{203724CF-4B8B-319C-29B9-D3DE254DA046}"/>
          </ac:spMkLst>
        </pc:spChg>
        <pc:spChg chg="add del mod">
          <ac:chgData name="Steiner Andreas 6206 ED" userId="e6377c33-a923-4f14-8587-531c474c7b48" providerId="ADAL" clId="{6ECD27E6-B224-41CD-B4E0-E297462320DD}" dt="2023-11-24T11:37:21.924" v="131841"/>
          <ac:spMkLst>
            <pc:docMk/>
            <pc:sldMk cId="1005745348" sldId="686"/>
            <ac:spMk id="854" creationId="{4D5EF899-252D-9E13-4514-57AD4766AC9A}"/>
          </ac:spMkLst>
        </pc:spChg>
        <pc:spChg chg="add del mod">
          <ac:chgData name="Steiner Andreas 6206 ED" userId="e6377c33-a923-4f14-8587-531c474c7b48" providerId="ADAL" clId="{6ECD27E6-B224-41CD-B4E0-E297462320DD}" dt="2023-11-24T11:37:23.700" v="131996"/>
          <ac:spMkLst>
            <pc:docMk/>
            <pc:sldMk cId="1005745348" sldId="686"/>
            <ac:spMk id="855" creationId="{CD257CC0-D863-E170-DE80-6347942974AF}"/>
          </ac:spMkLst>
        </pc:spChg>
        <pc:spChg chg="add del mod">
          <ac:chgData name="Steiner Andreas 6206 ED" userId="e6377c33-a923-4f14-8587-531c474c7b48" providerId="ADAL" clId="{6ECD27E6-B224-41CD-B4E0-E297462320DD}" dt="2023-11-24T11:37:25.402" v="132151"/>
          <ac:spMkLst>
            <pc:docMk/>
            <pc:sldMk cId="1005745348" sldId="686"/>
            <ac:spMk id="856" creationId="{85785791-D4BB-76AF-3115-AC853813426F}"/>
          </ac:spMkLst>
        </pc:spChg>
        <pc:spChg chg="add del mod">
          <ac:chgData name="Steiner Andreas 6206 ED" userId="e6377c33-a923-4f14-8587-531c474c7b48" providerId="ADAL" clId="{6ECD27E6-B224-41CD-B4E0-E297462320DD}" dt="2023-11-24T11:37:27.375" v="132306"/>
          <ac:spMkLst>
            <pc:docMk/>
            <pc:sldMk cId="1005745348" sldId="686"/>
            <ac:spMk id="857" creationId="{7DFBD35C-89CC-E7BB-1FB8-21395E7C8E4D}"/>
          </ac:spMkLst>
        </pc:spChg>
        <pc:spChg chg="add del mod">
          <ac:chgData name="Steiner Andreas 6206 ED" userId="e6377c33-a923-4f14-8587-531c474c7b48" providerId="ADAL" clId="{6ECD27E6-B224-41CD-B4E0-E297462320DD}" dt="2023-11-24T11:37:30.050" v="132461"/>
          <ac:spMkLst>
            <pc:docMk/>
            <pc:sldMk cId="1005745348" sldId="686"/>
            <ac:spMk id="858" creationId="{BAB3BC64-FFDA-B775-1957-B765D9BA5920}"/>
          </ac:spMkLst>
        </pc:spChg>
        <pc:spChg chg="add del mod">
          <ac:chgData name="Steiner Andreas 6206 ED" userId="e6377c33-a923-4f14-8587-531c474c7b48" providerId="ADAL" clId="{6ECD27E6-B224-41CD-B4E0-E297462320DD}" dt="2023-11-24T11:37:32.673" v="132616"/>
          <ac:spMkLst>
            <pc:docMk/>
            <pc:sldMk cId="1005745348" sldId="686"/>
            <ac:spMk id="859" creationId="{2EED74B0-5CD7-7EE6-1AFE-B8B20B798A25}"/>
          </ac:spMkLst>
        </pc:spChg>
        <pc:spChg chg="add del mod">
          <ac:chgData name="Steiner Andreas 6206 ED" userId="e6377c33-a923-4f14-8587-531c474c7b48" providerId="ADAL" clId="{6ECD27E6-B224-41CD-B4E0-E297462320DD}" dt="2023-11-24T11:37:35.551" v="132771"/>
          <ac:spMkLst>
            <pc:docMk/>
            <pc:sldMk cId="1005745348" sldId="686"/>
            <ac:spMk id="860" creationId="{117E6733-4676-BD87-75D1-29DAC2C2F61D}"/>
          </ac:spMkLst>
        </pc:spChg>
        <pc:spChg chg="add del mod">
          <ac:chgData name="Steiner Andreas 6206 ED" userId="e6377c33-a923-4f14-8587-531c474c7b48" providerId="ADAL" clId="{6ECD27E6-B224-41CD-B4E0-E297462320DD}" dt="2023-11-24T11:37:38.259" v="132926"/>
          <ac:spMkLst>
            <pc:docMk/>
            <pc:sldMk cId="1005745348" sldId="686"/>
            <ac:spMk id="861" creationId="{51FF5E36-B1C2-CF93-53A6-78C449C6C414}"/>
          </ac:spMkLst>
        </pc:spChg>
        <pc:spChg chg="add del mod">
          <ac:chgData name="Steiner Andreas 6206 ED" userId="e6377c33-a923-4f14-8587-531c474c7b48" providerId="ADAL" clId="{6ECD27E6-B224-41CD-B4E0-E297462320DD}" dt="2023-11-24T11:37:40.819" v="133081"/>
          <ac:spMkLst>
            <pc:docMk/>
            <pc:sldMk cId="1005745348" sldId="686"/>
            <ac:spMk id="862" creationId="{4AFF7E33-D5C3-FA77-309D-FB7B64812713}"/>
          </ac:spMkLst>
        </pc:spChg>
        <pc:spChg chg="add del mod">
          <ac:chgData name="Steiner Andreas 6206 ED" userId="e6377c33-a923-4f14-8587-531c474c7b48" providerId="ADAL" clId="{6ECD27E6-B224-41CD-B4E0-E297462320DD}" dt="2023-11-24T11:37:43.789" v="133236"/>
          <ac:spMkLst>
            <pc:docMk/>
            <pc:sldMk cId="1005745348" sldId="686"/>
            <ac:spMk id="863" creationId="{CBD35F9A-1246-A84E-D690-9D0D99C59EFB}"/>
          </ac:spMkLst>
        </pc:spChg>
        <pc:spChg chg="add del mod">
          <ac:chgData name="Steiner Andreas 6206 ED" userId="e6377c33-a923-4f14-8587-531c474c7b48" providerId="ADAL" clId="{6ECD27E6-B224-41CD-B4E0-E297462320DD}" dt="2023-11-24T11:37:47.943" v="133391"/>
          <ac:spMkLst>
            <pc:docMk/>
            <pc:sldMk cId="1005745348" sldId="686"/>
            <ac:spMk id="864" creationId="{CDAEEE48-8B82-A1CC-CA96-16BF1785F31F}"/>
          </ac:spMkLst>
        </pc:spChg>
        <pc:spChg chg="add del mod">
          <ac:chgData name="Steiner Andreas 6206 ED" userId="e6377c33-a923-4f14-8587-531c474c7b48" providerId="ADAL" clId="{6ECD27E6-B224-41CD-B4E0-E297462320DD}" dt="2023-11-24T11:37:51.119" v="133546"/>
          <ac:spMkLst>
            <pc:docMk/>
            <pc:sldMk cId="1005745348" sldId="686"/>
            <ac:spMk id="865" creationId="{FCFB06A3-EE01-FD74-C2D9-C4145E70B411}"/>
          </ac:spMkLst>
        </pc:spChg>
        <pc:spChg chg="add del mod">
          <ac:chgData name="Steiner Andreas 6206 ED" userId="e6377c33-a923-4f14-8587-531c474c7b48" providerId="ADAL" clId="{6ECD27E6-B224-41CD-B4E0-E297462320DD}" dt="2023-11-24T11:37:54.050" v="133701"/>
          <ac:spMkLst>
            <pc:docMk/>
            <pc:sldMk cId="1005745348" sldId="686"/>
            <ac:spMk id="866" creationId="{3EBF31B9-9FF9-8217-85C5-DFB66B12CAC8}"/>
          </ac:spMkLst>
        </pc:spChg>
        <pc:spChg chg="add del mod">
          <ac:chgData name="Steiner Andreas 6206 ED" userId="e6377c33-a923-4f14-8587-531c474c7b48" providerId="ADAL" clId="{6ECD27E6-B224-41CD-B4E0-E297462320DD}" dt="2023-11-24T11:37:56.394" v="133856"/>
          <ac:spMkLst>
            <pc:docMk/>
            <pc:sldMk cId="1005745348" sldId="686"/>
            <ac:spMk id="867" creationId="{4E5BA6FF-8200-57A4-B9D7-77179735AFC8}"/>
          </ac:spMkLst>
        </pc:spChg>
        <pc:spChg chg="add del mod">
          <ac:chgData name="Steiner Andreas 6206 ED" userId="e6377c33-a923-4f14-8587-531c474c7b48" providerId="ADAL" clId="{6ECD27E6-B224-41CD-B4E0-E297462320DD}" dt="2023-11-24T11:37:58.990" v="134011"/>
          <ac:spMkLst>
            <pc:docMk/>
            <pc:sldMk cId="1005745348" sldId="686"/>
            <ac:spMk id="868" creationId="{A7E24D66-CF66-241A-9FE7-68F5D21CC890}"/>
          </ac:spMkLst>
        </pc:spChg>
        <pc:spChg chg="add del mod">
          <ac:chgData name="Steiner Andreas 6206 ED" userId="e6377c33-a923-4f14-8587-531c474c7b48" providerId="ADAL" clId="{6ECD27E6-B224-41CD-B4E0-E297462320DD}" dt="2023-11-24T11:38:01.268" v="134166"/>
          <ac:spMkLst>
            <pc:docMk/>
            <pc:sldMk cId="1005745348" sldId="686"/>
            <ac:spMk id="869" creationId="{F0114E0C-FA25-5F84-AA6F-4B1483DB6E2D}"/>
          </ac:spMkLst>
        </pc:spChg>
        <pc:spChg chg="add del mod">
          <ac:chgData name="Steiner Andreas 6206 ED" userId="e6377c33-a923-4f14-8587-531c474c7b48" providerId="ADAL" clId="{6ECD27E6-B224-41CD-B4E0-E297462320DD}" dt="2023-11-24T11:38:03.811" v="134321"/>
          <ac:spMkLst>
            <pc:docMk/>
            <pc:sldMk cId="1005745348" sldId="686"/>
            <ac:spMk id="870" creationId="{DD5CE37F-051B-B505-81F4-40E628640B1D}"/>
          </ac:spMkLst>
        </pc:spChg>
        <pc:spChg chg="add del mod">
          <ac:chgData name="Steiner Andreas 6206 ED" userId="e6377c33-a923-4f14-8587-531c474c7b48" providerId="ADAL" clId="{6ECD27E6-B224-41CD-B4E0-E297462320DD}" dt="2023-11-24T11:38:06.146" v="134476"/>
          <ac:spMkLst>
            <pc:docMk/>
            <pc:sldMk cId="1005745348" sldId="686"/>
            <ac:spMk id="871" creationId="{9E41628A-E71E-A502-70B0-D6992F42547F}"/>
          </ac:spMkLst>
        </pc:spChg>
        <pc:spChg chg="add del mod">
          <ac:chgData name="Steiner Andreas 6206 ED" userId="e6377c33-a923-4f14-8587-531c474c7b48" providerId="ADAL" clId="{6ECD27E6-B224-41CD-B4E0-E297462320DD}" dt="2023-11-24T11:38:08.915" v="134631"/>
          <ac:spMkLst>
            <pc:docMk/>
            <pc:sldMk cId="1005745348" sldId="686"/>
            <ac:spMk id="872" creationId="{71FE1510-0A73-0A18-71F6-C8B5D4703B67}"/>
          </ac:spMkLst>
        </pc:spChg>
        <pc:spChg chg="add del mod">
          <ac:chgData name="Steiner Andreas 6206 ED" userId="e6377c33-a923-4f14-8587-531c474c7b48" providerId="ADAL" clId="{6ECD27E6-B224-41CD-B4E0-E297462320DD}" dt="2023-11-24T11:38:11.892" v="134786"/>
          <ac:spMkLst>
            <pc:docMk/>
            <pc:sldMk cId="1005745348" sldId="686"/>
            <ac:spMk id="873" creationId="{495513B7-CD7F-34E2-9339-28D17F71E527}"/>
          </ac:spMkLst>
        </pc:spChg>
        <pc:spChg chg="add del mod">
          <ac:chgData name="Steiner Andreas 6206 ED" userId="e6377c33-a923-4f14-8587-531c474c7b48" providerId="ADAL" clId="{6ECD27E6-B224-41CD-B4E0-E297462320DD}" dt="2023-11-24T11:38:14.114" v="134941"/>
          <ac:spMkLst>
            <pc:docMk/>
            <pc:sldMk cId="1005745348" sldId="686"/>
            <ac:spMk id="874" creationId="{C0A99665-8B82-7286-B8A2-F34425B7484C}"/>
          </ac:spMkLst>
        </pc:spChg>
        <pc:spChg chg="add del mod">
          <ac:chgData name="Steiner Andreas 6206 ED" userId="e6377c33-a923-4f14-8587-531c474c7b48" providerId="ADAL" clId="{6ECD27E6-B224-41CD-B4E0-E297462320DD}" dt="2023-11-24T11:38:16.610" v="135096"/>
          <ac:spMkLst>
            <pc:docMk/>
            <pc:sldMk cId="1005745348" sldId="686"/>
            <ac:spMk id="875" creationId="{ACF81ADB-E490-2F3C-0F02-982249E5A7F0}"/>
          </ac:spMkLst>
        </pc:spChg>
        <pc:spChg chg="add del mod">
          <ac:chgData name="Steiner Andreas 6206 ED" userId="e6377c33-a923-4f14-8587-531c474c7b48" providerId="ADAL" clId="{6ECD27E6-B224-41CD-B4E0-E297462320DD}" dt="2023-11-24T11:38:19.357" v="135251"/>
          <ac:spMkLst>
            <pc:docMk/>
            <pc:sldMk cId="1005745348" sldId="686"/>
            <ac:spMk id="876" creationId="{0F9BD211-67D4-4B55-A15B-62B98B21EA49}"/>
          </ac:spMkLst>
        </pc:spChg>
        <pc:spChg chg="add del mod">
          <ac:chgData name="Steiner Andreas 6206 ED" userId="e6377c33-a923-4f14-8587-531c474c7b48" providerId="ADAL" clId="{6ECD27E6-B224-41CD-B4E0-E297462320DD}" dt="2023-11-24T11:38:21.974" v="135406"/>
          <ac:spMkLst>
            <pc:docMk/>
            <pc:sldMk cId="1005745348" sldId="686"/>
            <ac:spMk id="877" creationId="{C40FAB9E-28B0-9495-2D98-3932973C5BC5}"/>
          </ac:spMkLst>
        </pc:spChg>
        <pc:spChg chg="add del mod">
          <ac:chgData name="Steiner Andreas 6206 ED" userId="e6377c33-a923-4f14-8587-531c474c7b48" providerId="ADAL" clId="{6ECD27E6-B224-41CD-B4E0-E297462320DD}" dt="2023-11-24T11:38:24.834" v="135561"/>
          <ac:spMkLst>
            <pc:docMk/>
            <pc:sldMk cId="1005745348" sldId="686"/>
            <ac:spMk id="878" creationId="{75C9DDAF-0251-EA72-5C8E-42CC0F234F12}"/>
          </ac:spMkLst>
        </pc:spChg>
        <pc:spChg chg="add del mod">
          <ac:chgData name="Steiner Andreas 6206 ED" userId="e6377c33-a923-4f14-8587-531c474c7b48" providerId="ADAL" clId="{6ECD27E6-B224-41CD-B4E0-E297462320DD}" dt="2023-11-24T11:38:27.601" v="135716"/>
          <ac:spMkLst>
            <pc:docMk/>
            <pc:sldMk cId="1005745348" sldId="686"/>
            <ac:spMk id="879" creationId="{1F2BEFC1-F740-A877-8FCF-38C5C41CA34F}"/>
          </ac:spMkLst>
        </pc:spChg>
        <pc:spChg chg="add del mod">
          <ac:chgData name="Steiner Andreas 6206 ED" userId="e6377c33-a923-4f14-8587-531c474c7b48" providerId="ADAL" clId="{6ECD27E6-B224-41CD-B4E0-E297462320DD}" dt="2023-11-24T11:38:30.269" v="135871"/>
          <ac:spMkLst>
            <pc:docMk/>
            <pc:sldMk cId="1005745348" sldId="686"/>
            <ac:spMk id="880" creationId="{0AD8B24D-E12B-4FD2-AB9D-40878D7B7094}"/>
          </ac:spMkLst>
        </pc:spChg>
        <pc:spChg chg="add del mod">
          <ac:chgData name="Steiner Andreas 6206 ED" userId="e6377c33-a923-4f14-8587-531c474c7b48" providerId="ADAL" clId="{6ECD27E6-B224-41CD-B4E0-E297462320DD}" dt="2023-11-24T11:38:32.601" v="136026"/>
          <ac:spMkLst>
            <pc:docMk/>
            <pc:sldMk cId="1005745348" sldId="686"/>
            <ac:spMk id="881" creationId="{6DFB0836-D9C1-4F1A-5FEA-08FD2DBF8ECD}"/>
          </ac:spMkLst>
        </pc:spChg>
        <pc:spChg chg="add del mod">
          <ac:chgData name="Steiner Andreas 6206 ED" userId="e6377c33-a923-4f14-8587-531c474c7b48" providerId="ADAL" clId="{6ECD27E6-B224-41CD-B4E0-E297462320DD}" dt="2023-11-24T11:38:35.099" v="136181"/>
          <ac:spMkLst>
            <pc:docMk/>
            <pc:sldMk cId="1005745348" sldId="686"/>
            <ac:spMk id="882" creationId="{9662904B-44B3-71E7-6E56-8EEF44AEACF0}"/>
          </ac:spMkLst>
        </pc:spChg>
        <pc:spChg chg="add del mod">
          <ac:chgData name="Steiner Andreas 6206 ED" userId="e6377c33-a923-4f14-8587-531c474c7b48" providerId="ADAL" clId="{6ECD27E6-B224-41CD-B4E0-E297462320DD}" dt="2023-11-24T11:38:37.814" v="136336"/>
          <ac:spMkLst>
            <pc:docMk/>
            <pc:sldMk cId="1005745348" sldId="686"/>
            <ac:spMk id="883" creationId="{619F24A4-6DFF-72AD-DE59-376C2BB65141}"/>
          </ac:spMkLst>
        </pc:spChg>
        <pc:spChg chg="add del mod">
          <ac:chgData name="Steiner Andreas 6206 ED" userId="e6377c33-a923-4f14-8587-531c474c7b48" providerId="ADAL" clId="{6ECD27E6-B224-41CD-B4E0-E297462320DD}" dt="2023-11-24T11:38:40.505" v="136491"/>
          <ac:spMkLst>
            <pc:docMk/>
            <pc:sldMk cId="1005745348" sldId="686"/>
            <ac:spMk id="884" creationId="{D8FFA64C-6088-F406-E294-0854ED83DF77}"/>
          </ac:spMkLst>
        </pc:spChg>
        <pc:spChg chg="add del mod">
          <ac:chgData name="Steiner Andreas 6206 ED" userId="e6377c33-a923-4f14-8587-531c474c7b48" providerId="ADAL" clId="{6ECD27E6-B224-41CD-B4E0-E297462320DD}" dt="2023-11-24T11:38:42.909" v="136646"/>
          <ac:spMkLst>
            <pc:docMk/>
            <pc:sldMk cId="1005745348" sldId="686"/>
            <ac:spMk id="885" creationId="{2ED3671F-C142-A72F-07C7-6D0DA2E101AE}"/>
          </ac:spMkLst>
        </pc:spChg>
        <pc:spChg chg="add del mod">
          <ac:chgData name="Steiner Andreas 6206 ED" userId="e6377c33-a923-4f14-8587-531c474c7b48" providerId="ADAL" clId="{6ECD27E6-B224-41CD-B4E0-E297462320DD}" dt="2023-11-24T11:38:45.272" v="136801"/>
          <ac:spMkLst>
            <pc:docMk/>
            <pc:sldMk cId="1005745348" sldId="686"/>
            <ac:spMk id="886" creationId="{427CAC2B-C593-2E81-6F11-C59687551BB8}"/>
          </ac:spMkLst>
        </pc:spChg>
        <pc:spChg chg="add del mod">
          <ac:chgData name="Steiner Andreas 6206 ED" userId="e6377c33-a923-4f14-8587-531c474c7b48" providerId="ADAL" clId="{6ECD27E6-B224-41CD-B4E0-E297462320DD}" dt="2023-11-24T11:38:47.654" v="136956"/>
          <ac:spMkLst>
            <pc:docMk/>
            <pc:sldMk cId="1005745348" sldId="686"/>
            <ac:spMk id="887" creationId="{99987DAC-2F21-431B-4EEB-A1F8C505B071}"/>
          </ac:spMkLst>
        </pc:spChg>
        <pc:spChg chg="add del mod">
          <ac:chgData name="Steiner Andreas 6206 ED" userId="e6377c33-a923-4f14-8587-531c474c7b48" providerId="ADAL" clId="{6ECD27E6-B224-41CD-B4E0-E297462320DD}" dt="2023-11-24T11:38:50.666" v="137111"/>
          <ac:spMkLst>
            <pc:docMk/>
            <pc:sldMk cId="1005745348" sldId="686"/>
            <ac:spMk id="888" creationId="{133DDBF5-028A-9D6E-6A6D-EB102257C2BF}"/>
          </ac:spMkLst>
        </pc:spChg>
        <pc:spChg chg="add del mod">
          <ac:chgData name="Steiner Andreas 6206 ED" userId="e6377c33-a923-4f14-8587-531c474c7b48" providerId="ADAL" clId="{6ECD27E6-B224-41CD-B4E0-E297462320DD}" dt="2023-11-24T11:38:53.084" v="137266"/>
          <ac:spMkLst>
            <pc:docMk/>
            <pc:sldMk cId="1005745348" sldId="686"/>
            <ac:spMk id="889" creationId="{13669662-68E9-87E2-FA41-CC78DDFDC66F}"/>
          </ac:spMkLst>
        </pc:spChg>
        <pc:spChg chg="add del mod">
          <ac:chgData name="Steiner Andreas 6206 ED" userId="e6377c33-a923-4f14-8587-531c474c7b48" providerId="ADAL" clId="{6ECD27E6-B224-41CD-B4E0-E297462320DD}" dt="2023-11-24T11:38:55.568" v="137421"/>
          <ac:spMkLst>
            <pc:docMk/>
            <pc:sldMk cId="1005745348" sldId="686"/>
            <ac:spMk id="890" creationId="{9B028EA9-9D6C-C09F-4A6A-999D6EFD1B1C}"/>
          </ac:spMkLst>
        </pc:spChg>
        <pc:spChg chg="add del mod">
          <ac:chgData name="Steiner Andreas 6206 ED" userId="e6377c33-a923-4f14-8587-531c474c7b48" providerId="ADAL" clId="{6ECD27E6-B224-41CD-B4E0-E297462320DD}" dt="2023-11-24T11:38:58.176" v="137576"/>
          <ac:spMkLst>
            <pc:docMk/>
            <pc:sldMk cId="1005745348" sldId="686"/>
            <ac:spMk id="891" creationId="{CE75B41A-4CD6-FE12-3194-F96E017E8925}"/>
          </ac:spMkLst>
        </pc:spChg>
        <pc:spChg chg="add del mod">
          <ac:chgData name="Steiner Andreas 6206 ED" userId="e6377c33-a923-4f14-8587-531c474c7b48" providerId="ADAL" clId="{6ECD27E6-B224-41CD-B4E0-E297462320DD}" dt="2023-11-24T11:39:00.407" v="137731"/>
          <ac:spMkLst>
            <pc:docMk/>
            <pc:sldMk cId="1005745348" sldId="686"/>
            <ac:spMk id="892" creationId="{49741092-034A-4F45-67AD-92AFE7D56099}"/>
          </ac:spMkLst>
        </pc:spChg>
        <pc:spChg chg="add del mod">
          <ac:chgData name="Steiner Andreas 6206 ED" userId="e6377c33-a923-4f14-8587-531c474c7b48" providerId="ADAL" clId="{6ECD27E6-B224-41CD-B4E0-E297462320DD}" dt="2023-11-24T11:39:03.406" v="137886"/>
          <ac:spMkLst>
            <pc:docMk/>
            <pc:sldMk cId="1005745348" sldId="686"/>
            <ac:spMk id="893" creationId="{677DB413-E5E5-6256-CA31-5E532A778064}"/>
          </ac:spMkLst>
        </pc:spChg>
        <pc:spChg chg="add del mod">
          <ac:chgData name="Steiner Andreas 6206 ED" userId="e6377c33-a923-4f14-8587-531c474c7b48" providerId="ADAL" clId="{6ECD27E6-B224-41CD-B4E0-E297462320DD}" dt="2023-11-24T11:39:06.113" v="138041"/>
          <ac:spMkLst>
            <pc:docMk/>
            <pc:sldMk cId="1005745348" sldId="686"/>
            <ac:spMk id="894" creationId="{9D632C39-6EA5-5B79-5B88-AB3EA06BE2C5}"/>
          </ac:spMkLst>
        </pc:spChg>
        <pc:spChg chg="add del mod">
          <ac:chgData name="Steiner Andreas 6206 ED" userId="e6377c33-a923-4f14-8587-531c474c7b48" providerId="ADAL" clId="{6ECD27E6-B224-41CD-B4E0-E297462320DD}" dt="2023-11-24T11:39:08.618" v="138196"/>
          <ac:spMkLst>
            <pc:docMk/>
            <pc:sldMk cId="1005745348" sldId="686"/>
            <ac:spMk id="895" creationId="{36350BA2-E22A-C41C-E421-24E71A40E1A4}"/>
          </ac:spMkLst>
        </pc:spChg>
        <pc:spChg chg="add del mod">
          <ac:chgData name="Steiner Andreas 6206 ED" userId="e6377c33-a923-4f14-8587-531c474c7b48" providerId="ADAL" clId="{6ECD27E6-B224-41CD-B4E0-E297462320DD}" dt="2023-11-24T11:39:10.967" v="138351"/>
          <ac:spMkLst>
            <pc:docMk/>
            <pc:sldMk cId="1005745348" sldId="686"/>
            <ac:spMk id="896" creationId="{1257E85B-B133-529A-B801-B3B51481BD70}"/>
          </ac:spMkLst>
        </pc:spChg>
        <pc:spChg chg="add del mod">
          <ac:chgData name="Steiner Andreas 6206 ED" userId="e6377c33-a923-4f14-8587-531c474c7b48" providerId="ADAL" clId="{6ECD27E6-B224-41CD-B4E0-E297462320DD}" dt="2023-11-24T11:39:13.421" v="138506"/>
          <ac:spMkLst>
            <pc:docMk/>
            <pc:sldMk cId="1005745348" sldId="686"/>
            <ac:spMk id="897" creationId="{E740BB80-598F-18C0-796A-67B1FD511646}"/>
          </ac:spMkLst>
        </pc:spChg>
        <pc:spChg chg="add del mod">
          <ac:chgData name="Steiner Andreas 6206 ED" userId="e6377c33-a923-4f14-8587-531c474c7b48" providerId="ADAL" clId="{6ECD27E6-B224-41CD-B4E0-E297462320DD}" dt="2023-11-24T11:39:16.120" v="138661"/>
          <ac:spMkLst>
            <pc:docMk/>
            <pc:sldMk cId="1005745348" sldId="686"/>
            <ac:spMk id="898" creationId="{7990390C-F458-1745-9327-4592FB121DA4}"/>
          </ac:spMkLst>
        </pc:spChg>
        <pc:spChg chg="add del mod">
          <ac:chgData name="Steiner Andreas 6206 ED" userId="e6377c33-a923-4f14-8587-531c474c7b48" providerId="ADAL" clId="{6ECD27E6-B224-41CD-B4E0-E297462320DD}" dt="2023-11-24T11:39:18.971" v="138816"/>
          <ac:spMkLst>
            <pc:docMk/>
            <pc:sldMk cId="1005745348" sldId="686"/>
            <ac:spMk id="899" creationId="{7F05A425-EB84-25C3-153C-FFE906598B60}"/>
          </ac:spMkLst>
        </pc:spChg>
        <pc:spChg chg="add del mod">
          <ac:chgData name="Steiner Andreas 6206 ED" userId="e6377c33-a923-4f14-8587-531c474c7b48" providerId="ADAL" clId="{6ECD27E6-B224-41CD-B4E0-E297462320DD}" dt="2023-11-24T11:39:21.620" v="138971"/>
          <ac:spMkLst>
            <pc:docMk/>
            <pc:sldMk cId="1005745348" sldId="686"/>
            <ac:spMk id="900" creationId="{1921D966-2536-0A18-F4CE-BF8811290B04}"/>
          </ac:spMkLst>
        </pc:spChg>
        <pc:spChg chg="add del mod">
          <ac:chgData name="Steiner Andreas 6206 ED" userId="e6377c33-a923-4f14-8587-531c474c7b48" providerId="ADAL" clId="{6ECD27E6-B224-41CD-B4E0-E297462320DD}" dt="2023-11-24T11:39:24.188" v="139126"/>
          <ac:spMkLst>
            <pc:docMk/>
            <pc:sldMk cId="1005745348" sldId="686"/>
            <ac:spMk id="901" creationId="{C89C452F-A039-3226-D745-0818731F4A3A}"/>
          </ac:spMkLst>
        </pc:spChg>
        <pc:spChg chg="add del mod">
          <ac:chgData name="Steiner Andreas 6206 ED" userId="e6377c33-a923-4f14-8587-531c474c7b48" providerId="ADAL" clId="{6ECD27E6-B224-41CD-B4E0-E297462320DD}" dt="2023-11-24T11:39:26.955" v="139281"/>
          <ac:spMkLst>
            <pc:docMk/>
            <pc:sldMk cId="1005745348" sldId="686"/>
            <ac:spMk id="902" creationId="{0309D04F-11F5-4536-41E8-419A1FB07E64}"/>
          </ac:spMkLst>
        </pc:spChg>
        <pc:spChg chg="add del mod">
          <ac:chgData name="Steiner Andreas 6206 ED" userId="e6377c33-a923-4f14-8587-531c474c7b48" providerId="ADAL" clId="{6ECD27E6-B224-41CD-B4E0-E297462320DD}" dt="2023-11-24T11:39:29.592" v="139436"/>
          <ac:spMkLst>
            <pc:docMk/>
            <pc:sldMk cId="1005745348" sldId="686"/>
            <ac:spMk id="903" creationId="{83C0DD32-3985-FF25-F972-324D7D0F5B55}"/>
          </ac:spMkLst>
        </pc:spChg>
        <pc:spChg chg="add del mod">
          <ac:chgData name="Steiner Andreas 6206 ED" userId="e6377c33-a923-4f14-8587-531c474c7b48" providerId="ADAL" clId="{6ECD27E6-B224-41CD-B4E0-E297462320DD}" dt="2023-11-24T11:39:32.604" v="139591"/>
          <ac:spMkLst>
            <pc:docMk/>
            <pc:sldMk cId="1005745348" sldId="686"/>
            <ac:spMk id="904" creationId="{1BA5FC50-0CEF-FD27-C309-473FC63C4B64}"/>
          </ac:spMkLst>
        </pc:spChg>
        <pc:spChg chg="add del mod">
          <ac:chgData name="Steiner Andreas 6206 ED" userId="e6377c33-a923-4f14-8587-531c474c7b48" providerId="ADAL" clId="{6ECD27E6-B224-41CD-B4E0-E297462320DD}" dt="2023-11-24T11:39:35.322" v="139746"/>
          <ac:spMkLst>
            <pc:docMk/>
            <pc:sldMk cId="1005745348" sldId="686"/>
            <ac:spMk id="905" creationId="{6720E684-6EE1-1B94-442F-143E3F166F31}"/>
          </ac:spMkLst>
        </pc:spChg>
        <pc:spChg chg="add del mod">
          <ac:chgData name="Steiner Andreas 6206 ED" userId="e6377c33-a923-4f14-8587-531c474c7b48" providerId="ADAL" clId="{6ECD27E6-B224-41CD-B4E0-E297462320DD}" dt="2023-11-24T11:39:38.254" v="139901"/>
          <ac:spMkLst>
            <pc:docMk/>
            <pc:sldMk cId="1005745348" sldId="686"/>
            <ac:spMk id="906" creationId="{276683CE-788E-3034-15D1-3AD8967B7C9A}"/>
          </ac:spMkLst>
        </pc:spChg>
        <pc:spChg chg="add del mod">
          <ac:chgData name="Steiner Andreas 6206 ED" userId="e6377c33-a923-4f14-8587-531c474c7b48" providerId="ADAL" clId="{6ECD27E6-B224-41CD-B4E0-E297462320DD}" dt="2023-11-24T11:39:40.926" v="140056"/>
          <ac:spMkLst>
            <pc:docMk/>
            <pc:sldMk cId="1005745348" sldId="686"/>
            <ac:spMk id="907" creationId="{93034087-003F-C5C6-52BE-F691B3069E32}"/>
          </ac:spMkLst>
        </pc:spChg>
        <pc:spChg chg="add del mod">
          <ac:chgData name="Steiner Andreas 6206 ED" userId="e6377c33-a923-4f14-8587-531c474c7b48" providerId="ADAL" clId="{6ECD27E6-B224-41CD-B4E0-E297462320DD}" dt="2023-11-24T11:39:43.519" v="140211"/>
          <ac:spMkLst>
            <pc:docMk/>
            <pc:sldMk cId="1005745348" sldId="686"/>
            <ac:spMk id="908" creationId="{666AC01A-A75C-A312-A66B-237572E0A92C}"/>
          </ac:spMkLst>
        </pc:spChg>
        <pc:spChg chg="add del mod">
          <ac:chgData name="Steiner Andreas 6206 ED" userId="e6377c33-a923-4f14-8587-531c474c7b48" providerId="ADAL" clId="{6ECD27E6-B224-41CD-B4E0-E297462320DD}" dt="2023-11-24T11:39:46.121" v="140366"/>
          <ac:spMkLst>
            <pc:docMk/>
            <pc:sldMk cId="1005745348" sldId="686"/>
            <ac:spMk id="909" creationId="{67B45E02-729B-D1D6-8AA9-2CAD38510BF5}"/>
          </ac:spMkLst>
        </pc:spChg>
        <pc:spChg chg="add del mod">
          <ac:chgData name="Steiner Andreas 6206 ED" userId="e6377c33-a923-4f14-8587-531c474c7b48" providerId="ADAL" clId="{6ECD27E6-B224-41CD-B4E0-E297462320DD}" dt="2023-11-24T11:39:48.553" v="140521"/>
          <ac:spMkLst>
            <pc:docMk/>
            <pc:sldMk cId="1005745348" sldId="686"/>
            <ac:spMk id="910" creationId="{999F7D34-A075-45D4-C56D-BA9A62107B4A}"/>
          </ac:spMkLst>
        </pc:spChg>
        <pc:spChg chg="add del mod">
          <ac:chgData name="Steiner Andreas 6206 ED" userId="e6377c33-a923-4f14-8587-531c474c7b48" providerId="ADAL" clId="{6ECD27E6-B224-41CD-B4E0-E297462320DD}" dt="2023-11-24T11:39:51.556" v="140676"/>
          <ac:spMkLst>
            <pc:docMk/>
            <pc:sldMk cId="1005745348" sldId="686"/>
            <ac:spMk id="911" creationId="{93C0B5F2-5DFC-EE9C-8F45-8F661ADE7723}"/>
          </ac:spMkLst>
        </pc:spChg>
        <pc:spChg chg="add del mod">
          <ac:chgData name="Steiner Andreas 6206 ED" userId="e6377c33-a923-4f14-8587-531c474c7b48" providerId="ADAL" clId="{6ECD27E6-B224-41CD-B4E0-E297462320DD}" dt="2023-11-24T11:39:54.439" v="140831"/>
          <ac:spMkLst>
            <pc:docMk/>
            <pc:sldMk cId="1005745348" sldId="686"/>
            <ac:spMk id="912" creationId="{C949CD4F-5E82-EAF3-6538-6A84D850DFF7}"/>
          </ac:spMkLst>
        </pc:spChg>
        <pc:spChg chg="add del mod">
          <ac:chgData name="Steiner Andreas 6206 ED" userId="e6377c33-a923-4f14-8587-531c474c7b48" providerId="ADAL" clId="{6ECD27E6-B224-41CD-B4E0-E297462320DD}" dt="2023-11-24T11:39:56.948" v="140986"/>
          <ac:spMkLst>
            <pc:docMk/>
            <pc:sldMk cId="1005745348" sldId="686"/>
            <ac:spMk id="913" creationId="{951B4CC7-A61C-5980-E620-FBAE9C8BF1F6}"/>
          </ac:spMkLst>
        </pc:spChg>
        <pc:spChg chg="add del mod">
          <ac:chgData name="Steiner Andreas 6206 ED" userId="e6377c33-a923-4f14-8587-531c474c7b48" providerId="ADAL" clId="{6ECD27E6-B224-41CD-B4E0-E297462320DD}" dt="2023-11-24T11:39:59.317" v="141141"/>
          <ac:spMkLst>
            <pc:docMk/>
            <pc:sldMk cId="1005745348" sldId="686"/>
            <ac:spMk id="914" creationId="{5504CEB6-345E-8FD5-C4D8-B9E7664642A8}"/>
          </ac:spMkLst>
        </pc:spChg>
        <pc:spChg chg="add del mod">
          <ac:chgData name="Steiner Andreas 6206 ED" userId="e6377c33-a923-4f14-8587-531c474c7b48" providerId="ADAL" clId="{6ECD27E6-B224-41CD-B4E0-E297462320DD}" dt="2023-11-24T11:40:02.066" v="141296"/>
          <ac:spMkLst>
            <pc:docMk/>
            <pc:sldMk cId="1005745348" sldId="686"/>
            <ac:spMk id="915" creationId="{A318AA46-B6A5-5D1D-84D3-0371E2177520}"/>
          </ac:spMkLst>
        </pc:spChg>
        <pc:spChg chg="add del mod">
          <ac:chgData name="Steiner Andreas 6206 ED" userId="e6377c33-a923-4f14-8587-531c474c7b48" providerId="ADAL" clId="{6ECD27E6-B224-41CD-B4E0-E297462320DD}" dt="2023-11-24T11:40:04.914" v="141451"/>
          <ac:spMkLst>
            <pc:docMk/>
            <pc:sldMk cId="1005745348" sldId="686"/>
            <ac:spMk id="916" creationId="{DEB47271-9F64-BAC8-B7A4-1125A3979A2A}"/>
          </ac:spMkLst>
        </pc:spChg>
        <pc:spChg chg="add del mod">
          <ac:chgData name="Steiner Andreas 6206 ED" userId="e6377c33-a923-4f14-8587-531c474c7b48" providerId="ADAL" clId="{6ECD27E6-B224-41CD-B4E0-E297462320DD}" dt="2023-11-24T11:40:07.685" v="141606"/>
          <ac:spMkLst>
            <pc:docMk/>
            <pc:sldMk cId="1005745348" sldId="686"/>
            <ac:spMk id="917" creationId="{E7DF3099-8719-7C75-4A55-A97862CF8B8B}"/>
          </ac:spMkLst>
        </pc:spChg>
        <pc:spChg chg="add del mod">
          <ac:chgData name="Steiner Andreas 6206 ED" userId="e6377c33-a923-4f14-8587-531c474c7b48" providerId="ADAL" clId="{6ECD27E6-B224-41CD-B4E0-E297462320DD}" dt="2023-11-24T11:40:10.110" v="141761"/>
          <ac:spMkLst>
            <pc:docMk/>
            <pc:sldMk cId="1005745348" sldId="686"/>
            <ac:spMk id="918" creationId="{982296FA-DEA2-379B-854C-D105CEBFEF1D}"/>
          </ac:spMkLst>
        </pc:spChg>
        <pc:spChg chg="add del mod">
          <ac:chgData name="Steiner Andreas 6206 ED" userId="e6377c33-a923-4f14-8587-531c474c7b48" providerId="ADAL" clId="{6ECD27E6-B224-41CD-B4E0-E297462320DD}" dt="2023-11-24T11:40:12.593" v="141916"/>
          <ac:spMkLst>
            <pc:docMk/>
            <pc:sldMk cId="1005745348" sldId="686"/>
            <ac:spMk id="919" creationId="{76488B59-79A7-7BE0-4DE8-C3B9E4FDCA5A}"/>
          </ac:spMkLst>
        </pc:spChg>
        <pc:spChg chg="add del mod">
          <ac:chgData name="Steiner Andreas 6206 ED" userId="e6377c33-a923-4f14-8587-531c474c7b48" providerId="ADAL" clId="{6ECD27E6-B224-41CD-B4E0-E297462320DD}" dt="2023-11-24T11:40:16.306" v="142071"/>
          <ac:spMkLst>
            <pc:docMk/>
            <pc:sldMk cId="1005745348" sldId="686"/>
            <ac:spMk id="920" creationId="{9E9963B2-E6FC-39D5-D685-E7746BE21C61}"/>
          </ac:spMkLst>
        </pc:spChg>
        <pc:spChg chg="add del mod">
          <ac:chgData name="Steiner Andreas 6206 ED" userId="e6377c33-a923-4f14-8587-531c474c7b48" providerId="ADAL" clId="{6ECD27E6-B224-41CD-B4E0-E297462320DD}" dt="2023-11-24T11:40:19.682" v="142226"/>
          <ac:spMkLst>
            <pc:docMk/>
            <pc:sldMk cId="1005745348" sldId="686"/>
            <ac:spMk id="921" creationId="{B5679F51-C0FD-5074-D087-FEB01B00E9EC}"/>
          </ac:spMkLst>
        </pc:spChg>
        <pc:spChg chg="add del mod">
          <ac:chgData name="Steiner Andreas 6206 ED" userId="e6377c33-a923-4f14-8587-531c474c7b48" providerId="ADAL" clId="{6ECD27E6-B224-41CD-B4E0-E297462320DD}" dt="2023-11-24T11:40:22.496" v="142381"/>
          <ac:spMkLst>
            <pc:docMk/>
            <pc:sldMk cId="1005745348" sldId="686"/>
            <ac:spMk id="922" creationId="{9F8F8EB4-76BC-44E8-88CC-44A5DEAF17B4}"/>
          </ac:spMkLst>
        </pc:spChg>
        <pc:spChg chg="add del mod">
          <ac:chgData name="Steiner Andreas 6206 ED" userId="e6377c33-a923-4f14-8587-531c474c7b48" providerId="ADAL" clId="{6ECD27E6-B224-41CD-B4E0-E297462320DD}" dt="2023-11-24T11:40:25.172" v="142536"/>
          <ac:spMkLst>
            <pc:docMk/>
            <pc:sldMk cId="1005745348" sldId="686"/>
            <ac:spMk id="923" creationId="{72FA6F05-957B-BE40-2336-E5796BB60301}"/>
          </ac:spMkLst>
        </pc:spChg>
        <pc:spChg chg="add del mod">
          <ac:chgData name="Steiner Andreas 6206 ED" userId="e6377c33-a923-4f14-8587-531c474c7b48" providerId="ADAL" clId="{6ECD27E6-B224-41CD-B4E0-E297462320DD}" dt="2023-11-24T11:40:28.280" v="142691"/>
          <ac:spMkLst>
            <pc:docMk/>
            <pc:sldMk cId="1005745348" sldId="686"/>
            <ac:spMk id="924" creationId="{CAA906F8-FF15-2003-63CA-EE5F078DDFD7}"/>
          </ac:spMkLst>
        </pc:spChg>
        <pc:spChg chg="add del mod">
          <ac:chgData name="Steiner Andreas 6206 ED" userId="e6377c33-a923-4f14-8587-531c474c7b48" providerId="ADAL" clId="{6ECD27E6-B224-41CD-B4E0-E297462320DD}" dt="2023-11-24T11:40:30.965" v="142846"/>
          <ac:spMkLst>
            <pc:docMk/>
            <pc:sldMk cId="1005745348" sldId="686"/>
            <ac:spMk id="925" creationId="{52AC3A1F-1986-FACE-24CE-3935F93AAFF8}"/>
          </ac:spMkLst>
        </pc:spChg>
        <pc:spChg chg="add del mod">
          <ac:chgData name="Steiner Andreas 6206 ED" userId="e6377c33-a923-4f14-8587-531c474c7b48" providerId="ADAL" clId="{6ECD27E6-B224-41CD-B4E0-E297462320DD}" dt="2023-11-24T11:40:33.522" v="143001"/>
          <ac:spMkLst>
            <pc:docMk/>
            <pc:sldMk cId="1005745348" sldId="686"/>
            <ac:spMk id="926" creationId="{8A8E625A-48C7-72A4-A84D-C74A5354A7A6}"/>
          </ac:spMkLst>
        </pc:spChg>
        <pc:spChg chg="add del mod">
          <ac:chgData name="Steiner Andreas 6206 ED" userId="e6377c33-a923-4f14-8587-531c474c7b48" providerId="ADAL" clId="{6ECD27E6-B224-41CD-B4E0-E297462320DD}" dt="2023-11-24T11:40:36.215" v="143156"/>
          <ac:spMkLst>
            <pc:docMk/>
            <pc:sldMk cId="1005745348" sldId="686"/>
            <ac:spMk id="927" creationId="{144A6BB4-30DB-5B01-094F-2EE56651408F}"/>
          </ac:spMkLst>
        </pc:spChg>
        <pc:spChg chg="add del mod">
          <ac:chgData name="Steiner Andreas 6206 ED" userId="e6377c33-a923-4f14-8587-531c474c7b48" providerId="ADAL" clId="{6ECD27E6-B224-41CD-B4E0-E297462320DD}" dt="2023-11-24T11:40:39.262" v="143311"/>
          <ac:spMkLst>
            <pc:docMk/>
            <pc:sldMk cId="1005745348" sldId="686"/>
            <ac:spMk id="928" creationId="{D6373345-C310-A57A-60B2-081C02AAA8A9}"/>
          </ac:spMkLst>
        </pc:spChg>
        <pc:spChg chg="add del mod">
          <ac:chgData name="Steiner Andreas 6206 ED" userId="e6377c33-a923-4f14-8587-531c474c7b48" providerId="ADAL" clId="{6ECD27E6-B224-41CD-B4E0-E297462320DD}" dt="2023-11-24T11:40:42.255" v="143466"/>
          <ac:spMkLst>
            <pc:docMk/>
            <pc:sldMk cId="1005745348" sldId="686"/>
            <ac:spMk id="929" creationId="{2F209DFD-20D7-6F47-421F-9D771FCB8EFC}"/>
          </ac:spMkLst>
        </pc:spChg>
        <pc:spChg chg="add del mod">
          <ac:chgData name="Steiner Andreas 6206 ED" userId="e6377c33-a923-4f14-8587-531c474c7b48" providerId="ADAL" clId="{6ECD27E6-B224-41CD-B4E0-E297462320DD}" dt="2023-11-24T11:40:44.935" v="143621"/>
          <ac:spMkLst>
            <pc:docMk/>
            <pc:sldMk cId="1005745348" sldId="686"/>
            <ac:spMk id="930" creationId="{A60D878B-2E69-61FE-B8BD-FF3BF6873EA3}"/>
          </ac:spMkLst>
        </pc:spChg>
        <pc:spChg chg="add del mod">
          <ac:chgData name="Steiner Andreas 6206 ED" userId="e6377c33-a923-4f14-8587-531c474c7b48" providerId="ADAL" clId="{6ECD27E6-B224-41CD-B4E0-E297462320DD}" dt="2023-11-24T11:40:47.689" v="143776"/>
          <ac:spMkLst>
            <pc:docMk/>
            <pc:sldMk cId="1005745348" sldId="686"/>
            <ac:spMk id="931" creationId="{5E60DF32-046A-7DE6-6115-8FA76743609E}"/>
          </ac:spMkLst>
        </pc:spChg>
        <pc:spChg chg="add del mod">
          <ac:chgData name="Steiner Andreas 6206 ED" userId="e6377c33-a923-4f14-8587-531c474c7b48" providerId="ADAL" clId="{6ECD27E6-B224-41CD-B4E0-E297462320DD}" dt="2023-11-24T11:40:50.438" v="143931"/>
          <ac:spMkLst>
            <pc:docMk/>
            <pc:sldMk cId="1005745348" sldId="686"/>
            <ac:spMk id="932" creationId="{1B2E6115-B61D-243D-3EEA-89C1E27A2A84}"/>
          </ac:spMkLst>
        </pc:spChg>
        <pc:spChg chg="add del mod">
          <ac:chgData name="Steiner Andreas 6206 ED" userId="e6377c33-a923-4f14-8587-531c474c7b48" providerId="ADAL" clId="{6ECD27E6-B224-41CD-B4E0-E297462320DD}" dt="2023-11-24T11:40:53.315" v="144086"/>
          <ac:spMkLst>
            <pc:docMk/>
            <pc:sldMk cId="1005745348" sldId="686"/>
            <ac:spMk id="933" creationId="{C9EA5595-3B30-0C2B-E9A3-9AC676E3028F}"/>
          </ac:spMkLst>
        </pc:spChg>
        <pc:spChg chg="add del mod">
          <ac:chgData name="Steiner Andreas 6206 ED" userId="e6377c33-a923-4f14-8587-531c474c7b48" providerId="ADAL" clId="{6ECD27E6-B224-41CD-B4E0-E297462320DD}" dt="2023-11-24T11:40:55.986" v="144241"/>
          <ac:spMkLst>
            <pc:docMk/>
            <pc:sldMk cId="1005745348" sldId="686"/>
            <ac:spMk id="934" creationId="{52C4D397-0CB6-18C1-BAEA-0261914E83D5}"/>
          </ac:spMkLst>
        </pc:spChg>
        <pc:spChg chg="add del mod">
          <ac:chgData name="Steiner Andreas 6206 ED" userId="e6377c33-a923-4f14-8587-531c474c7b48" providerId="ADAL" clId="{6ECD27E6-B224-41CD-B4E0-E297462320DD}" dt="2023-11-24T11:40:58.560" v="144396"/>
          <ac:spMkLst>
            <pc:docMk/>
            <pc:sldMk cId="1005745348" sldId="686"/>
            <ac:spMk id="935" creationId="{3CFAAE50-C2D8-FAA9-52E1-30ADC3D72997}"/>
          </ac:spMkLst>
        </pc:spChg>
        <pc:spChg chg="add del mod">
          <ac:chgData name="Steiner Andreas 6206 ED" userId="e6377c33-a923-4f14-8587-531c474c7b48" providerId="ADAL" clId="{6ECD27E6-B224-41CD-B4E0-E297462320DD}" dt="2023-11-24T11:41:01.147" v="144551"/>
          <ac:spMkLst>
            <pc:docMk/>
            <pc:sldMk cId="1005745348" sldId="686"/>
            <ac:spMk id="936" creationId="{3372D6E0-B339-9542-EAA1-1DD526397C30}"/>
          </ac:spMkLst>
        </pc:spChg>
        <pc:spChg chg="add del mod">
          <ac:chgData name="Steiner Andreas 6206 ED" userId="e6377c33-a923-4f14-8587-531c474c7b48" providerId="ADAL" clId="{6ECD27E6-B224-41CD-B4E0-E297462320DD}" dt="2023-11-24T11:41:03.792" v="144706"/>
          <ac:spMkLst>
            <pc:docMk/>
            <pc:sldMk cId="1005745348" sldId="686"/>
            <ac:spMk id="937" creationId="{C58C9B6A-FCB8-56D7-9353-7F8B158B6715}"/>
          </ac:spMkLst>
        </pc:spChg>
        <pc:spChg chg="add del mod">
          <ac:chgData name="Steiner Andreas 6206 ED" userId="e6377c33-a923-4f14-8587-531c474c7b48" providerId="ADAL" clId="{6ECD27E6-B224-41CD-B4E0-E297462320DD}" dt="2023-11-24T11:41:06.945" v="144861"/>
          <ac:spMkLst>
            <pc:docMk/>
            <pc:sldMk cId="1005745348" sldId="686"/>
            <ac:spMk id="938" creationId="{541AF2BD-BCA1-CD94-EF22-C7815BE3F005}"/>
          </ac:spMkLst>
        </pc:spChg>
        <pc:spChg chg="add del mod">
          <ac:chgData name="Steiner Andreas 6206 ED" userId="e6377c33-a923-4f14-8587-531c474c7b48" providerId="ADAL" clId="{6ECD27E6-B224-41CD-B4E0-E297462320DD}" dt="2023-11-24T11:41:10.082" v="145016"/>
          <ac:spMkLst>
            <pc:docMk/>
            <pc:sldMk cId="1005745348" sldId="686"/>
            <ac:spMk id="939" creationId="{8AC8B923-0EC1-9E45-D753-E55A11C08D62}"/>
          </ac:spMkLst>
        </pc:spChg>
        <pc:spChg chg="add del mod">
          <ac:chgData name="Steiner Andreas 6206 ED" userId="e6377c33-a923-4f14-8587-531c474c7b48" providerId="ADAL" clId="{6ECD27E6-B224-41CD-B4E0-E297462320DD}" dt="2023-11-24T11:41:12.917" v="145171"/>
          <ac:spMkLst>
            <pc:docMk/>
            <pc:sldMk cId="1005745348" sldId="686"/>
            <ac:spMk id="940" creationId="{25E817ED-AF94-2DF4-3412-C055A3377704}"/>
          </ac:spMkLst>
        </pc:spChg>
        <pc:spChg chg="add del mod">
          <ac:chgData name="Steiner Andreas 6206 ED" userId="e6377c33-a923-4f14-8587-531c474c7b48" providerId="ADAL" clId="{6ECD27E6-B224-41CD-B4E0-E297462320DD}" dt="2023-11-24T11:41:15.932" v="145326"/>
          <ac:spMkLst>
            <pc:docMk/>
            <pc:sldMk cId="1005745348" sldId="686"/>
            <ac:spMk id="941" creationId="{1A6B7CFF-AB8F-1D2F-3498-C3890372ECF8}"/>
          </ac:spMkLst>
        </pc:spChg>
        <pc:spChg chg="add del mod">
          <ac:chgData name="Steiner Andreas 6206 ED" userId="e6377c33-a923-4f14-8587-531c474c7b48" providerId="ADAL" clId="{6ECD27E6-B224-41CD-B4E0-E297462320DD}" dt="2023-11-24T11:41:19.170" v="145481"/>
          <ac:spMkLst>
            <pc:docMk/>
            <pc:sldMk cId="1005745348" sldId="686"/>
            <ac:spMk id="942" creationId="{009F6672-7CD9-FF25-920A-E1B1752171AD}"/>
          </ac:spMkLst>
        </pc:spChg>
        <pc:spChg chg="add del mod">
          <ac:chgData name="Steiner Andreas 6206 ED" userId="e6377c33-a923-4f14-8587-531c474c7b48" providerId="ADAL" clId="{6ECD27E6-B224-41CD-B4E0-E297462320DD}" dt="2023-11-24T11:41:21.705" v="145636"/>
          <ac:spMkLst>
            <pc:docMk/>
            <pc:sldMk cId="1005745348" sldId="686"/>
            <ac:spMk id="943" creationId="{0D8C10B2-5FC0-EAD3-A1E0-D18F285F4796}"/>
          </ac:spMkLst>
        </pc:spChg>
        <pc:spChg chg="add del mod">
          <ac:chgData name="Steiner Andreas 6206 ED" userId="e6377c33-a923-4f14-8587-531c474c7b48" providerId="ADAL" clId="{6ECD27E6-B224-41CD-B4E0-E297462320DD}" dt="2023-11-24T11:41:25.597" v="145791"/>
          <ac:spMkLst>
            <pc:docMk/>
            <pc:sldMk cId="1005745348" sldId="686"/>
            <ac:spMk id="944" creationId="{54B6AFDB-B7C0-962D-9673-E56CBB031B54}"/>
          </ac:spMkLst>
        </pc:spChg>
        <pc:spChg chg="add del mod">
          <ac:chgData name="Steiner Andreas 6206 ED" userId="e6377c33-a923-4f14-8587-531c474c7b48" providerId="ADAL" clId="{6ECD27E6-B224-41CD-B4E0-E297462320DD}" dt="2023-11-24T11:41:28.577" v="145946"/>
          <ac:spMkLst>
            <pc:docMk/>
            <pc:sldMk cId="1005745348" sldId="686"/>
            <ac:spMk id="945" creationId="{CE9FA512-CE40-CF6B-159C-1E7D5B9A4DE5}"/>
          </ac:spMkLst>
        </pc:spChg>
        <pc:spChg chg="add del mod">
          <ac:chgData name="Steiner Andreas 6206 ED" userId="e6377c33-a923-4f14-8587-531c474c7b48" providerId="ADAL" clId="{6ECD27E6-B224-41CD-B4E0-E297462320DD}" dt="2023-11-24T11:41:31.314" v="146101"/>
          <ac:spMkLst>
            <pc:docMk/>
            <pc:sldMk cId="1005745348" sldId="686"/>
            <ac:spMk id="946" creationId="{FE4CDF82-DEAB-EF25-94C4-DC67AD83E2F4}"/>
          </ac:spMkLst>
        </pc:spChg>
        <pc:spChg chg="add del mod">
          <ac:chgData name="Steiner Andreas 6206 ED" userId="e6377c33-a923-4f14-8587-531c474c7b48" providerId="ADAL" clId="{6ECD27E6-B224-41CD-B4E0-E297462320DD}" dt="2023-11-24T11:41:33.493" v="146256"/>
          <ac:spMkLst>
            <pc:docMk/>
            <pc:sldMk cId="1005745348" sldId="686"/>
            <ac:spMk id="947" creationId="{43BA0007-ADA1-01FC-BFD0-B174B7687525}"/>
          </ac:spMkLst>
        </pc:spChg>
        <pc:spChg chg="add del mod">
          <ac:chgData name="Steiner Andreas 6206 ED" userId="e6377c33-a923-4f14-8587-531c474c7b48" providerId="ADAL" clId="{6ECD27E6-B224-41CD-B4E0-E297462320DD}" dt="2023-11-24T11:41:35.628" v="146411"/>
          <ac:spMkLst>
            <pc:docMk/>
            <pc:sldMk cId="1005745348" sldId="686"/>
            <ac:spMk id="948" creationId="{50DBB0A3-93DE-6D3E-D71B-68A6C37729EB}"/>
          </ac:spMkLst>
        </pc:spChg>
        <pc:spChg chg="add del mod">
          <ac:chgData name="Steiner Andreas 6206 ED" userId="e6377c33-a923-4f14-8587-531c474c7b48" providerId="ADAL" clId="{6ECD27E6-B224-41CD-B4E0-E297462320DD}" dt="2023-11-24T11:41:37.834" v="146566"/>
          <ac:spMkLst>
            <pc:docMk/>
            <pc:sldMk cId="1005745348" sldId="686"/>
            <ac:spMk id="949" creationId="{E8362848-0AAF-2C57-CD3F-9BCC11838D97}"/>
          </ac:spMkLst>
        </pc:spChg>
        <pc:spChg chg="add del mod">
          <ac:chgData name="Steiner Andreas 6206 ED" userId="e6377c33-a923-4f14-8587-531c474c7b48" providerId="ADAL" clId="{6ECD27E6-B224-41CD-B4E0-E297462320DD}" dt="2023-11-24T11:41:40.584" v="146721"/>
          <ac:spMkLst>
            <pc:docMk/>
            <pc:sldMk cId="1005745348" sldId="686"/>
            <ac:spMk id="950" creationId="{E3950ADE-8A58-99AC-8679-AF044AE6F2A5}"/>
          </ac:spMkLst>
        </pc:spChg>
        <pc:spChg chg="add del mod">
          <ac:chgData name="Steiner Andreas 6206 ED" userId="e6377c33-a923-4f14-8587-531c474c7b48" providerId="ADAL" clId="{6ECD27E6-B224-41CD-B4E0-E297462320DD}" dt="2023-11-24T11:41:42.763" v="146876"/>
          <ac:spMkLst>
            <pc:docMk/>
            <pc:sldMk cId="1005745348" sldId="686"/>
            <ac:spMk id="951" creationId="{F6080BC2-BE15-32F5-2F66-505DF6DE7E31}"/>
          </ac:spMkLst>
        </pc:spChg>
        <pc:spChg chg="add del mod">
          <ac:chgData name="Steiner Andreas 6206 ED" userId="e6377c33-a923-4f14-8587-531c474c7b48" providerId="ADAL" clId="{6ECD27E6-B224-41CD-B4E0-E297462320DD}" dt="2023-11-24T11:41:44.837" v="147031"/>
          <ac:spMkLst>
            <pc:docMk/>
            <pc:sldMk cId="1005745348" sldId="686"/>
            <ac:spMk id="952" creationId="{8BBD9391-A5C9-29AD-CC2F-ACB69D379FFB}"/>
          </ac:spMkLst>
        </pc:spChg>
        <pc:spChg chg="add del mod">
          <ac:chgData name="Steiner Andreas 6206 ED" userId="e6377c33-a923-4f14-8587-531c474c7b48" providerId="ADAL" clId="{6ECD27E6-B224-41CD-B4E0-E297462320DD}" dt="2023-11-24T11:41:47.334" v="147186"/>
          <ac:spMkLst>
            <pc:docMk/>
            <pc:sldMk cId="1005745348" sldId="686"/>
            <ac:spMk id="953" creationId="{9AFD19DB-C709-FAB3-A9C1-E8E6648A6F0F}"/>
          </ac:spMkLst>
        </pc:spChg>
        <pc:spChg chg="add del mod">
          <ac:chgData name="Steiner Andreas 6206 ED" userId="e6377c33-a923-4f14-8587-531c474c7b48" providerId="ADAL" clId="{6ECD27E6-B224-41CD-B4E0-E297462320DD}" dt="2023-11-24T11:41:49.437" v="147341"/>
          <ac:spMkLst>
            <pc:docMk/>
            <pc:sldMk cId="1005745348" sldId="686"/>
            <ac:spMk id="954" creationId="{B839D313-7095-67F5-088E-948BAC29225D}"/>
          </ac:spMkLst>
        </pc:spChg>
        <pc:spChg chg="add del mod">
          <ac:chgData name="Steiner Andreas 6206 ED" userId="e6377c33-a923-4f14-8587-531c474c7b48" providerId="ADAL" clId="{6ECD27E6-B224-41CD-B4E0-E297462320DD}" dt="2023-11-24T11:41:51.771" v="147496"/>
          <ac:spMkLst>
            <pc:docMk/>
            <pc:sldMk cId="1005745348" sldId="686"/>
            <ac:spMk id="955" creationId="{DE37C186-4C3E-1A44-3680-A6CA4B3AEF24}"/>
          </ac:spMkLst>
        </pc:spChg>
        <pc:spChg chg="add del mod">
          <ac:chgData name="Steiner Andreas 6206 ED" userId="e6377c33-a923-4f14-8587-531c474c7b48" providerId="ADAL" clId="{6ECD27E6-B224-41CD-B4E0-E297462320DD}" dt="2023-11-24T11:41:54.202" v="147651"/>
          <ac:spMkLst>
            <pc:docMk/>
            <pc:sldMk cId="1005745348" sldId="686"/>
            <ac:spMk id="956" creationId="{6CDDFEAE-6477-1ED9-5AE5-D70287F70770}"/>
          </ac:spMkLst>
        </pc:spChg>
        <pc:spChg chg="add del mod">
          <ac:chgData name="Steiner Andreas 6206 ED" userId="e6377c33-a923-4f14-8587-531c474c7b48" providerId="ADAL" clId="{6ECD27E6-B224-41CD-B4E0-E297462320DD}" dt="2023-11-24T11:41:57.277" v="147806"/>
          <ac:spMkLst>
            <pc:docMk/>
            <pc:sldMk cId="1005745348" sldId="686"/>
            <ac:spMk id="957" creationId="{0671AF1D-7897-481B-B59B-689EE0B6C89F}"/>
          </ac:spMkLst>
        </pc:spChg>
        <pc:spChg chg="add del mod">
          <ac:chgData name="Steiner Andreas 6206 ED" userId="e6377c33-a923-4f14-8587-531c474c7b48" providerId="ADAL" clId="{6ECD27E6-B224-41CD-B4E0-E297462320DD}" dt="2023-11-24T11:42:00.636" v="147961"/>
          <ac:spMkLst>
            <pc:docMk/>
            <pc:sldMk cId="1005745348" sldId="686"/>
            <ac:spMk id="958" creationId="{75DA1EC4-AC4B-C5C4-34FF-3F2269E86BD4}"/>
          </ac:spMkLst>
        </pc:spChg>
        <pc:spChg chg="add del mod">
          <ac:chgData name="Steiner Andreas 6206 ED" userId="e6377c33-a923-4f14-8587-531c474c7b48" providerId="ADAL" clId="{6ECD27E6-B224-41CD-B4E0-E297462320DD}" dt="2023-11-24T11:42:03.984" v="148116"/>
          <ac:spMkLst>
            <pc:docMk/>
            <pc:sldMk cId="1005745348" sldId="686"/>
            <ac:spMk id="959" creationId="{5ECE48A3-0D7E-E596-9842-A8DB65833C8B}"/>
          </ac:spMkLst>
        </pc:spChg>
        <pc:spChg chg="add del mod">
          <ac:chgData name="Steiner Andreas 6206 ED" userId="e6377c33-a923-4f14-8587-531c474c7b48" providerId="ADAL" clId="{6ECD27E6-B224-41CD-B4E0-E297462320DD}" dt="2023-11-24T11:42:06.480" v="148271"/>
          <ac:spMkLst>
            <pc:docMk/>
            <pc:sldMk cId="1005745348" sldId="686"/>
            <ac:spMk id="960" creationId="{7923B9BA-F915-ABAC-5964-E4D1B1FF9B86}"/>
          </ac:spMkLst>
        </pc:spChg>
        <pc:spChg chg="add del mod">
          <ac:chgData name="Steiner Andreas 6206 ED" userId="e6377c33-a923-4f14-8587-531c474c7b48" providerId="ADAL" clId="{6ECD27E6-B224-41CD-B4E0-E297462320DD}" dt="2023-11-24T11:42:08.747" v="148426"/>
          <ac:spMkLst>
            <pc:docMk/>
            <pc:sldMk cId="1005745348" sldId="686"/>
            <ac:spMk id="961" creationId="{942DE36B-D141-F6E1-434C-1D43E11F0012}"/>
          </ac:spMkLst>
        </pc:spChg>
        <pc:spChg chg="add del mod">
          <ac:chgData name="Steiner Andreas 6206 ED" userId="e6377c33-a923-4f14-8587-531c474c7b48" providerId="ADAL" clId="{6ECD27E6-B224-41CD-B4E0-E297462320DD}" dt="2023-11-24T11:42:11.318" v="148581"/>
          <ac:spMkLst>
            <pc:docMk/>
            <pc:sldMk cId="1005745348" sldId="686"/>
            <ac:spMk id="962" creationId="{616EC0E4-39FE-AEC2-D2F8-E53763F2FED2}"/>
          </ac:spMkLst>
        </pc:spChg>
        <pc:spChg chg="add del mod">
          <ac:chgData name="Steiner Andreas 6206 ED" userId="e6377c33-a923-4f14-8587-531c474c7b48" providerId="ADAL" clId="{6ECD27E6-B224-41CD-B4E0-E297462320DD}" dt="2023-11-24T11:42:13.935" v="148736"/>
          <ac:spMkLst>
            <pc:docMk/>
            <pc:sldMk cId="1005745348" sldId="686"/>
            <ac:spMk id="963" creationId="{0880E232-3C30-92B6-452D-693A8C04220E}"/>
          </ac:spMkLst>
        </pc:spChg>
        <pc:spChg chg="add del mod">
          <ac:chgData name="Steiner Andreas 6206 ED" userId="e6377c33-a923-4f14-8587-531c474c7b48" providerId="ADAL" clId="{6ECD27E6-B224-41CD-B4E0-E297462320DD}" dt="2023-11-24T11:42:16.258" v="148891"/>
          <ac:spMkLst>
            <pc:docMk/>
            <pc:sldMk cId="1005745348" sldId="686"/>
            <ac:spMk id="964" creationId="{A1125FA5-349E-D5CD-F73A-4DA2005A93DC}"/>
          </ac:spMkLst>
        </pc:spChg>
        <pc:spChg chg="add del mod">
          <ac:chgData name="Steiner Andreas 6206 ED" userId="e6377c33-a923-4f14-8587-531c474c7b48" providerId="ADAL" clId="{6ECD27E6-B224-41CD-B4E0-E297462320DD}" dt="2023-11-24T11:42:18.360" v="149046"/>
          <ac:spMkLst>
            <pc:docMk/>
            <pc:sldMk cId="1005745348" sldId="686"/>
            <ac:spMk id="965" creationId="{7530CAED-8B03-107F-0186-39427A3AF858}"/>
          </ac:spMkLst>
        </pc:spChg>
        <pc:spChg chg="add del mod">
          <ac:chgData name="Steiner Andreas 6206 ED" userId="e6377c33-a923-4f14-8587-531c474c7b48" providerId="ADAL" clId="{6ECD27E6-B224-41CD-B4E0-E297462320DD}" dt="2023-11-24T11:42:20.414" v="149201"/>
          <ac:spMkLst>
            <pc:docMk/>
            <pc:sldMk cId="1005745348" sldId="686"/>
            <ac:spMk id="966" creationId="{F02D2E4A-C3AD-7B6F-CBEA-7043D00A65C5}"/>
          </ac:spMkLst>
        </pc:spChg>
        <pc:spChg chg="add del mod">
          <ac:chgData name="Steiner Andreas 6206 ED" userId="e6377c33-a923-4f14-8587-531c474c7b48" providerId="ADAL" clId="{6ECD27E6-B224-41CD-B4E0-E297462320DD}" dt="2023-11-24T11:42:22.489" v="149356"/>
          <ac:spMkLst>
            <pc:docMk/>
            <pc:sldMk cId="1005745348" sldId="686"/>
            <ac:spMk id="967" creationId="{44637F8B-A7BA-DD4C-3222-FDBAFEF49795}"/>
          </ac:spMkLst>
        </pc:spChg>
        <pc:spChg chg="add del mod">
          <ac:chgData name="Steiner Andreas 6206 ED" userId="e6377c33-a923-4f14-8587-531c474c7b48" providerId="ADAL" clId="{6ECD27E6-B224-41CD-B4E0-E297462320DD}" dt="2023-11-24T11:42:24.428" v="149511"/>
          <ac:spMkLst>
            <pc:docMk/>
            <pc:sldMk cId="1005745348" sldId="686"/>
            <ac:spMk id="968" creationId="{7BE82C96-B6E8-DA3E-0BB0-CCEC539A11F7}"/>
          </ac:spMkLst>
        </pc:spChg>
        <pc:spChg chg="add del mod">
          <ac:chgData name="Steiner Andreas 6206 ED" userId="e6377c33-a923-4f14-8587-531c474c7b48" providerId="ADAL" clId="{6ECD27E6-B224-41CD-B4E0-E297462320DD}" dt="2023-11-24T11:42:26.366" v="149666"/>
          <ac:spMkLst>
            <pc:docMk/>
            <pc:sldMk cId="1005745348" sldId="686"/>
            <ac:spMk id="969" creationId="{E4CDC22E-B586-BBBD-7B1F-057983DE970E}"/>
          </ac:spMkLst>
        </pc:spChg>
        <pc:spChg chg="add del mod">
          <ac:chgData name="Steiner Andreas 6206 ED" userId="e6377c33-a923-4f14-8587-531c474c7b48" providerId="ADAL" clId="{6ECD27E6-B224-41CD-B4E0-E297462320DD}" dt="2023-11-24T11:42:29.447" v="149821"/>
          <ac:spMkLst>
            <pc:docMk/>
            <pc:sldMk cId="1005745348" sldId="686"/>
            <ac:spMk id="970" creationId="{15BB5769-E78F-7666-551E-DAF67E1E7B3E}"/>
          </ac:spMkLst>
        </pc:spChg>
        <pc:spChg chg="add del mod">
          <ac:chgData name="Steiner Andreas 6206 ED" userId="e6377c33-a923-4f14-8587-531c474c7b48" providerId="ADAL" clId="{6ECD27E6-B224-41CD-B4E0-E297462320DD}" dt="2023-11-24T11:42:32.416" v="149976"/>
          <ac:spMkLst>
            <pc:docMk/>
            <pc:sldMk cId="1005745348" sldId="686"/>
            <ac:spMk id="971" creationId="{B5E3843F-F51C-7ADA-D3BC-00EA3DF2B4C3}"/>
          </ac:spMkLst>
        </pc:spChg>
        <pc:spChg chg="add del mod">
          <ac:chgData name="Steiner Andreas 6206 ED" userId="e6377c33-a923-4f14-8587-531c474c7b48" providerId="ADAL" clId="{6ECD27E6-B224-41CD-B4E0-E297462320DD}" dt="2023-11-24T11:42:35.711" v="150131"/>
          <ac:spMkLst>
            <pc:docMk/>
            <pc:sldMk cId="1005745348" sldId="686"/>
            <ac:spMk id="972" creationId="{26BC1F72-AB4B-C27F-8944-B3C181F10AED}"/>
          </ac:spMkLst>
        </pc:spChg>
        <pc:spChg chg="add del mod">
          <ac:chgData name="Steiner Andreas 6206 ED" userId="e6377c33-a923-4f14-8587-531c474c7b48" providerId="ADAL" clId="{6ECD27E6-B224-41CD-B4E0-E297462320DD}" dt="2023-11-24T11:42:38.017" v="150286"/>
          <ac:spMkLst>
            <pc:docMk/>
            <pc:sldMk cId="1005745348" sldId="686"/>
            <ac:spMk id="973" creationId="{D359CF76-A520-2DFC-86DA-27289C0DFAE5}"/>
          </ac:spMkLst>
        </pc:spChg>
        <pc:spChg chg="add del mod">
          <ac:chgData name="Steiner Andreas 6206 ED" userId="e6377c33-a923-4f14-8587-531c474c7b48" providerId="ADAL" clId="{6ECD27E6-B224-41CD-B4E0-E297462320DD}" dt="2023-11-24T11:42:40.115" v="150441"/>
          <ac:spMkLst>
            <pc:docMk/>
            <pc:sldMk cId="1005745348" sldId="686"/>
            <ac:spMk id="974" creationId="{3BD1A29C-D647-D390-0E71-F643844702D4}"/>
          </ac:spMkLst>
        </pc:spChg>
        <pc:spChg chg="add del mod">
          <ac:chgData name="Steiner Andreas 6206 ED" userId="e6377c33-a923-4f14-8587-531c474c7b48" providerId="ADAL" clId="{6ECD27E6-B224-41CD-B4E0-E297462320DD}" dt="2023-11-24T11:42:42.178" v="150596"/>
          <ac:spMkLst>
            <pc:docMk/>
            <pc:sldMk cId="1005745348" sldId="686"/>
            <ac:spMk id="975" creationId="{F6671589-A190-4D0D-855F-5A2E2E27B499}"/>
          </ac:spMkLst>
        </pc:spChg>
        <pc:spChg chg="add del mod">
          <ac:chgData name="Steiner Andreas 6206 ED" userId="e6377c33-a923-4f14-8587-531c474c7b48" providerId="ADAL" clId="{6ECD27E6-B224-41CD-B4E0-E297462320DD}" dt="2023-11-24T11:42:44.275" v="150751"/>
          <ac:spMkLst>
            <pc:docMk/>
            <pc:sldMk cId="1005745348" sldId="686"/>
            <ac:spMk id="976" creationId="{538B1FE1-AB5D-7A58-3149-DC3B5D3B2BCF}"/>
          </ac:spMkLst>
        </pc:spChg>
        <pc:spChg chg="add del mod">
          <ac:chgData name="Steiner Andreas 6206 ED" userId="e6377c33-a923-4f14-8587-531c474c7b48" providerId="ADAL" clId="{6ECD27E6-B224-41CD-B4E0-E297462320DD}" dt="2023-11-24T11:42:46.508" v="150906"/>
          <ac:spMkLst>
            <pc:docMk/>
            <pc:sldMk cId="1005745348" sldId="686"/>
            <ac:spMk id="977" creationId="{8E5173A0-3F54-98A9-A818-CC5672ADA13D}"/>
          </ac:spMkLst>
        </pc:spChg>
        <pc:spChg chg="add del mod">
          <ac:chgData name="Steiner Andreas 6206 ED" userId="e6377c33-a923-4f14-8587-531c474c7b48" providerId="ADAL" clId="{6ECD27E6-B224-41CD-B4E0-E297462320DD}" dt="2023-11-24T11:42:48.754" v="151061"/>
          <ac:spMkLst>
            <pc:docMk/>
            <pc:sldMk cId="1005745348" sldId="686"/>
            <ac:spMk id="978" creationId="{625DBF46-0886-EC23-AD74-D2CCCACBF091}"/>
          </ac:spMkLst>
        </pc:spChg>
        <pc:spChg chg="add del mod">
          <ac:chgData name="Steiner Andreas 6206 ED" userId="e6377c33-a923-4f14-8587-531c474c7b48" providerId="ADAL" clId="{6ECD27E6-B224-41CD-B4E0-E297462320DD}" dt="2023-11-24T11:42:50.988" v="151216"/>
          <ac:spMkLst>
            <pc:docMk/>
            <pc:sldMk cId="1005745348" sldId="686"/>
            <ac:spMk id="979" creationId="{225DDCA8-F26E-BDAC-01D5-27B333B424F4}"/>
          </ac:spMkLst>
        </pc:spChg>
        <pc:spChg chg="add del mod">
          <ac:chgData name="Steiner Andreas 6206 ED" userId="e6377c33-a923-4f14-8587-531c474c7b48" providerId="ADAL" clId="{6ECD27E6-B224-41CD-B4E0-E297462320DD}" dt="2023-11-24T11:42:53.344" v="151371"/>
          <ac:spMkLst>
            <pc:docMk/>
            <pc:sldMk cId="1005745348" sldId="686"/>
            <ac:spMk id="980" creationId="{9AF42EB1-1C4B-6A94-B47B-B7096F90DFBC}"/>
          </ac:spMkLst>
        </pc:spChg>
        <pc:spChg chg="add del mod">
          <ac:chgData name="Steiner Andreas 6206 ED" userId="e6377c33-a923-4f14-8587-531c474c7b48" providerId="ADAL" clId="{6ECD27E6-B224-41CD-B4E0-E297462320DD}" dt="2023-11-24T11:42:55.575" v="151526"/>
          <ac:spMkLst>
            <pc:docMk/>
            <pc:sldMk cId="1005745348" sldId="686"/>
            <ac:spMk id="981" creationId="{0169E4B5-0191-89F1-66F5-F691ABCF8791}"/>
          </ac:spMkLst>
        </pc:spChg>
        <pc:spChg chg="add del mod">
          <ac:chgData name="Steiner Andreas 6206 ED" userId="e6377c33-a923-4f14-8587-531c474c7b48" providerId="ADAL" clId="{6ECD27E6-B224-41CD-B4E0-E297462320DD}" dt="2023-11-24T11:42:58.035" v="151681"/>
          <ac:spMkLst>
            <pc:docMk/>
            <pc:sldMk cId="1005745348" sldId="686"/>
            <ac:spMk id="982" creationId="{A0291274-03AC-EFCD-3A56-0324C7C5B7B7}"/>
          </ac:spMkLst>
        </pc:spChg>
        <pc:spChg chg="add del mod">
          <ac:chgData name="Steiner Andreas 6206 ED" userId="e6377c33-a923-4f14-8587-531c474c7b48" providerId="ADAL" clId="{6ECD27E6-B224-41CD-B4E0-E297462320DD}" dt="2023-11-24T11:43:01.760" v="151836"/>
          <ac:spMkLst>
            <pc:docMk/>
            <pc:sldMk cId="1005745348" sldId="686"/>
            <ac:spMk id="983" creationId="{69B47147-DCEE-CFBD-E198-EFB475B562DB}"/>
          </ac:spMkLst>
        </pc:spChg>
        <pc:spChg chg="add del mod">
          <ac:chgData name="Steiner Andreas 6206 ED" userId="e6377c33-a923-4f14-8587-531c474c7b48" providerId="ADAL" clId="{6ECD27E6-B224-41CD-B4E0-E297462320DD}" dt="2023-11-24T11:43:04.059" v="151991"/>
          <ac:spMkLst>
            <pc:docMk/>
            <pc:sldMk cId="1005745348" sldId="686"/>
            <ac:spMk id="984" creationId="{4D7C9ADF-A3EE-37D6-9841-996A0955CBDD}"/>
          </ac:spMkLst>
        </pc:spChg>
        <pc:spChg chg="add del mod">
          <ac:chgData name="Steiner Andreas 6206 ED" userId="e6377c33-a923-4f14-8587-531c474c7b48" providerId="ADAL" clId="{6ECD27E6-B224-41CD-B4E0-E297462320DD}" dt="2023-11-24T11:43:06.280" v="152146"/>
          <ac:spMkLst>
            <pc:docMk/>
            <pc:sldMk cId="1005745348" sldId="686"/>
            <ac:spMk id="985" creationId="{5A268399-61C7-FD82-74FA-40BD3F574A7B}"/>
          </ac:spMkLst>
        </pc:spChg>
        <pc:spChg chg="add del mod">
          <ac:chgData name="Steiner Andreas 6206 ED" userId="e6377c33-a923-4f14-8587-531c474c7b48" providerId="ADAL" clId="{6ECD27E6-B224-41CD-B4E0-E297462320DD}" dt="2023-11-24T11:43:08.392" v="152301"/>
          <ac:spMkLst>
            <pc:docMk/>
            <pc:sldMk cId="1005745348" sldId="686"/>
            <ac:spMk id="986" creationId="{1B5E1C60-5FFF-95FE-810D-BFDF7FADD972}"/>
          </ac:spMkLst>
        </pc:spChg>
        <pc:spChg chg="add del mod">
          <ac:chgData name="Steiner Andreas 6206 ED" userId="e6377c33-a923-4f14-8587-531c474c7b48" providerId="ADAL" clId="{6ECD27E6-B224-41CD-B4E0-E297462320DD}" dt="2023-11-24T11:43:10.548" v="152456"/>
          <ac:spMkLst>
            <pc:docMk/>
            <pc:sldMk cId="1005745348" sldId="686"/>
            <ac:spMk id="987" creationId="{A6B5E9C0-78AA-EEB0-C605-D9A6F8FB4B71}"/>
          </ac:spMkLst>
        </pc:spChg>
        <pc:spChg chg="add del mod">
          <ac:chgData name="Steiner Andreas 6206 ED" userId="e6377c33-a923-4f14-8587-531c474c7b48" providerId="ADAL" clId="{6ECD27E6-B224-41CD-B4E0-E297462320DD}" dt="2023-11-24T11:43:12.763" v="152611"/>
          <ac:spMkLst>
            <pc:docMk/>
            <pc:sldMk cId="1005745348" sldId="686"/>
            <ac:spMk id="988" creationId="{E5633CC3-24FC-2D7B-8770-E03E26397076}"/>
          </ac:spMkLst>
        </pc:spChg>
        <pc:spChg chg="add del mod">
          <ac:chgData name="Steiner Andreas 6206 ED" userId="e6377c33-a923-4f14-8587-531c474c7b48" providerId="ADAL" clId="{6ECD27E6-B224-41CD-B4E0-E297462320DD}" dt="2023-11-24T11:43:15.073" v="152766"/>
          <ac:spMkLst>
            <pc:docMk/>
            <pc:sldMk cId="1005745348" sldId="686"/>
            <ac:spMk id="989" creationId="{501BD40E-2442-6C5C-7880-C41206EA4A46}"/>
          </ac:spMkLst>
        </pc:spChg>
        <pc:spChg chg="add del mod">
          <ac:chgData name="Steiner Andreas 6206 ED" userId="e6377c33-a923-4f14-8587-531c474c7b48" providerId="ADAL" clId="{6ECD27E6-B224-41CD-B4E0-E297462320DD}" dt="2023-11-24T11:43:18.126" v="152921"/>
          <ac:spMkLst>
            <pc:docMk/>
            <pc:sldMk cId="1005745348" sldId="686"/>
            <ac:spMk id="990" creationId="{CAEAA7C9-0C3D-2AEB-D230-85CBB0794998}"/>
          </ac:spMkLst>
        </pc:spChg>
        <pc:spChg chg="add del mod">
          <ac:chgData name="Steiner Andreas 6206 ED" userId="e6377c33-a923-4f14-8587-531c474c7b48" providerId="ADAL" clId="{6ECD27E6-B224-41CD-B4E0-E297462320DD}" dt="2023-11-24T11:43:22.300" v="153076"/>
          <ac:spMkLst>
            <pc:docMk/>
            <pc:sldMk cId="1005745348" sldId="686"/>
            <ac:spMk id="991" creationId="{AEC2CCE8-5D87-5427-4C18-204E3D592BD8}"/>
          </ac:spMkLst>
        </pc:spChg>
        <pc:spChg chg="add del mod">
          <ac:chgData name="Steiner Andreas 6206 ED" userId="e6377c33-a923-4f14-8587-531c474c7b48" providerId="ADAL" clId="{6ECD27E6-B224-41CD-B4E0-E297462320DD}" dt="2023-11-24T11:43:24.786" v="153231"/>
          <ac:spMkLst>
            <pc:docMk/>
            <pc:sldMk cId="1005745348" sldId="686"/>
            <ac:spMk id="992" creationId="{1F9863DE-C312-7027-2358-2004C9D8D422}"/>
          </ac:spMkLst>
        </pc:spChg>
        <pc:spChg chg="add del mod">
          <ac:chgData name="Steiner Andreas 6206 ED" userId="e6377c33-a923-4f14-8587-531c474c7b48" providerId="ADAL" clId="{6ECD27E6-B224-41CD-B4E0-E297462320DD}" dt="2023-11-24T11:43:27.063" v="153386"/>
          <ac:spMkLst>
            <pc:docMk/>
            <pc:sldMk cId="1005745348" sldId="686"/>
            <ac:spMk id="993" creationId="{1A4D44C6-7E20-4668-E2D2-1D4396FA596C}"/>
          </ac:spMkLst>
        </pc:spChg>
        <pc:spChg chg="add del mod">
          <ac:chgData name="Steiner Andreas 6206 ED" userId="e6377c33-a923-4f14-8587-531c474c7b48" providerId="ADAL" clId="{6ECD27E6-B224-41CD-B4E0-E297462320DD}" dt="2023-11-24T11:43:29.323" v="153541"/>
          <ac:spMkLst>
            <pc:docMk/>
            <pc:sldMk cId="1005745348" sldId="686"/>
            <ac:spMk id="994" creationId="{4D171CDC-6F9B-3B8B-C36F-FC1AC003C25A}"/>
          </ac:spMkLst>
        </pc:spChg>
        <pc:spChg chg="add del mod">
          <ac:chgData name="Steiner Andreas 6206 ED" userId="e6377c33-a923-4f14-8587-531c474c7b48" providerId="ADAL" clId="{6ECD27E6-B224-41CD-B4E0-E297462320DD}" dt="2023-11-24T11:43:31.578" v="153696"/>
          <ac:spMkLst>
            <pc:docMk/>
            <pc:sldMk cId="1005745348" sldId="686"/>
            <ac:spMk id="995" creationId="{43C71CD4-A026-349B-FBCC-EA739C856C7B}"/>
          </ac:spMkLst>
        </pc:spChg>
        <pc:spChg chg="add del mod">
          <ac:chgData name="Steiner Andreas 6206 ED" userId="e6377c33-a923-4f14-8587-531c474c7b48" providerId="ADAL" clId="{6ECD27E6-B224-41CD-B4E0-E297462320DD}" dt="2023-11-24T11:43:34.278" v="153851"/>
          <ac:spMkLst>
            <pc:docMk/>
            <pc:sldMk cId="1005745348" sldId="686"/>
            <ac:spMk id="996" creationId="{5CB468E0-D6A2-3292-E496-E21284AD2DCB}"/>
          </ac:spMkLst>
        </pc:spChg>
        <pc:spChg chg="add del mod">
          <ac:chgData name="Steiner Andreas 6206 ED" userId="e6377c33-a923-4f14-8587-531c474c7b48" providerId="ADAL" clId="{6ECD27E6-B224-41CD-B4E0-E297462320DD}" dt="2023-11-24T11:43:36.462" v="154006"/>
          <ac:spMkLst>
            <pc:docMk/>
            <pc:sldMk cId="1005745348" sldId="686"/>
            <ac:spMk id="997" creationId="{EECFC35A-08D8-3F17-E5D6-2A7C09175BED}"/>
          </ac:spMkLst>
        </pc:spChg>
        <pc:spChg chg="add del mod">
          <ac:chgData name="Steiner Andreas 6206 ED" userId="e6377c33-a923-4f14-8587-531c474c7b48" providerId="ADAL" clId="{6ECD27E6-B224-41CD-B4E0-E297462320DD}" dt="2023-11-24T11:43:38.656" v="154161"/>
          <ac:spMkLst>
            <pc:docMk/>
            <pc:sldMk cId="1005745348" sldId="686"/>
            <ac:spMk id="998" creationId="{502F0F27-C38C-27B9-A2D0-AEF32891233D}"/>
          </ac:spMkLst>
        </pc:spChg>
        <pc:spChg chg="add del mod">
          <ac:chgData name="Steiner Andreas 6206 ED" userId="e6377c33-a923-4f14-8587-531c474c7b48" providerId="ADAL" clId="{6ECD27E6-B224-41CD-B4E0-E297462320DD}" dt="2023-11-24T11:43:40.955" v="154316"/>
          <ac:spMkLst>
            <pc:docMk/>
            <pc:sldMk cId="1005745348" sldId="686"/>
            <ac:spMk id="999" creationId="{10C6C54D-3E45-BB13-60A5-EFCD582941D6}"/>
          </ac:spMkLst>
        </pc:spChg>
        <pc:spChg chg="add del mod">
          <ac:chgData name="Steiner Andreas 6206 ED" userId="e6377c33-a923-4f14-8587-531c474c7b48" providerId="ADAL" clId="{6ECD27E6-B224-41CD-B4E0-E297462320DD}" dt="2023-11-24T11:43:43.933" v="154471"/>
          <ac:spMkLst>
            <pc:docMk/>
            <pc:sldMk cId="1005745348" sldId="686"/>
            <ac:spMk id="1000" creationId="{A7AB6540-B0C8-0DC7-F144-1457A5B7EF9D}"/>
          </ac:spMkLst>
        </pc:spChg>
        <pc:spChg chg="add del mod">
          <ac:chgData name="Steiner Andreas 6206 ED" userId="e6377c33-a923-4f14-8587-531c474c7b48" providerId="ADAL" clId="{6ECD27E6-B224-41CD-B4E0-E297462320DD}" dt="2023-11-24T11:43:46.284" v="154626"/>
          <ac:spMkLst>
            <pc:docMk/>
            <pc:sldMk cId="1005745348" sldId="686"/>
            <ac:spMk id="1001" creationId="{F0685F43-9539-174C-57D1-E4320EFBB295}"/>
          </ac:spMkLst>
        </pc:spChg>
        <pc:spChg chg="add del mod">
          <ac:chgData name="Steiner Andreas 6206 ED" userId="e6377c33-a923-4f14-8587-531c474c7b48" providerId="ADAL" clId="{6ECD27E6-B224-41CD-B4E0-E297462320DD}" dt="2023-11-24T11:43:48.586" v="154781"/>
          <ac:spMkLst>
            <pc:docMk/>
            <pc:sldMk cId="1005745348" sldId="686"/>
            <ac:spMk id="1002" creationId="{F73CCD47-1469-6E2E-39DA-529026DA6EFA}"/>
          </ac:spMkLst>
        </pc:spChg>
        <pc:spChg chg="add del mod">
          <ac:chgData name="Steiner Andreas 6206 ED" userId="e6377c33-a923-4f14-8587-531c474c7b48" providerId="ADAL" clId="{6ECD27E6-B224-41CD-B4E0-E297462320DD}" dt="2023-11-24T11:43:50.647" v="154936"/>
          <ac:spMkLst>
            <pc:docMk/>
            <pc:sldMk cId="1005745348" sldId="686"/>
            <ac:spMk id="1003" creationId="{152D536F-FFAD-3076-A80E-F976D5850724}"/>
          </ac:spMkLst>
        </pc:spChg>
        <pc:spChg chg="add del mod">
          <ac:chgData name="Steiner Andreas 6206 ED" userId="e6377c33-a923-4f14-8587-531c474c7b48" providerId="ADAL" clId="{6ECD27E6-B224-41CD-B4E0-E297462320DD}" dt="2023-11-24T11:43:52.823" v="155091"/>
          <ac:spMkLst>
            <pc:docMk/>
            <pc:sldMk cId="1005745348" sldId="686"/>
            <ac:spMk id="1004" creationId="{1988745C-8E9F-D018-3AFA-576B493A74FF}"/>
          </ac:spMkLst>
        </pc:spChg>
        <pc:spChg chg="add del mod">
          <ac:chgData name="Steiner Andreas 6206 ED" userId="e6377c33-a923-4f14-8587-531c474c7b48" providerId="ADAL" clId="{6ECD27E6-B224-41CD-B4E0-E297462320DD}" dt="2023-11-24T11:43:55.823" v="155246"/>
          <ac:spMkLst>
            <pc:docMk/>
            <pc:sldMk cId="1005745348" sldId="686"/>
            <ac:spMk id="1005" creationId="{443D2B12-725E-0B39-0BAC-9E717F61A728}"/>
          </ac:spMkLst>
        </pc:spChg>
        <pc:spChg chg="add del mod">
          <ac:chgData name="Steiner Andreas 6206 ED" userId="e6377c33-a923-4f14-8587-531c474c7b48" providerId="ADAL" clId="{6ECD27E6-B224-41CD-B4E0-E297462320DD}" dt="2023-11-24T11:43:58.181" v="155401"/>
          <ac:spMkLst>
            <pc:docMk/>
            <pc:sldMk cId="1005745348" sldId="686"/>
            <ac:spMk id="1006" creationId="{2E43D822-084A-269C-A0F0-48D258CF25B7}"/>
          </ac:spMkLst>
        </pc:spChg>
        <pc:spChg chg="add del mod">
          <ac:chgData name="Steiner Andreas 6206 ED" userId="e6377c33-a923-4f14-8587-531c474c7b48" providerId="ADAL" clId="{6ECD27E6-B224-41CD-B4E0-E297462320DD}" dt="2023-11-24T11:44:00.283" v="155556"/>
          <ac:spMkLst>
            <pc:docMk/>
            <pc:sldMk cId="1005745348" sldId="686"/>
            <ac:spMk id="1007" creationId="{BCFFD5F0-54F0-6A4F-1F3D-D22848143BA9}"/>
          </ac:spMkLst>
        </pc:spChg>
        <pc:spChg chg="add del mod">
          <ac:chgData name="Steiner Andreas 6206 ED" userId="e6377c33-a923-4f14-8587-531c474c7b48" providerId="ADAL" clId="{6ECD27E6-B224-41CD-B4E0-E297462320DD}" dt="2023-11-24T11:44:02.291" v="155711"/>
          <ac:spMkLst>
            <pc:docMk/>
            <pc:sldMk cId="1005745348" sldId="686"/>
            <ac:spMk id="1008" creationId="{98F4A64C-9D52-92B4-41D3-FC4B9253C403}"/>
          </ac:spMkLst>
        </pc:spChg>
        <pc:spChg chg="add del mod">
          <ac:chgData name="Steiner Andreas 6206 ED" userId="e6377c33-a923-4f14-8587-531c474c7b48" providerId="ADAL" clId="{6ECD27E6-B224-41CD-B4E0-E297462320DD}" dt="2023-11-24T11:44:04.338" v="155866"/>
          <ac:spMkLst>
            <pc:docMk/>
            <pc:sldMk cId="1005745348" sldId="686"/>
            <ac:spMk id="1009" creationId="{5DE8E844-B496-2B21-291A-97552266BCC7}"/>
          </ac:spMkLst>
        </pc:spChg>
        <pc:spChg chg="add del mod">
          <ac:chgData name="Steiner Andreas 6206 ED" userId="e6377c33-a923-4f14-8587-531c474c7b48" providerId="ADAL" clId="{6ECD27E6-B224-41CD-B4E0-E297462320DD}" dt="2023-11-24T11:44:06.346" v="156021"/>
          <ac:spMkLst>
            <pc:docMk/>
            <pc:sldMk cId="1005745348" sldId="686"/>
            <ac:spMk id="1010" creationId="{AF14824D-81B6-1D36-F390-E68A5C47A952}"/>
          </ac:spMkLst>
        </pc:spChg>
        <pc:spChg chg="add del mod">
          <ac:chgData name="Steiner Andreas 6206 ED" userId="e6377c33-a923-4f14-8587-531c474c7b48" providerId="ADAL" clId="{6ECD27E6-B224-41CD-B4E0-E297462320DD}" dt="2023-11-24T11:44:08.530" v="156176"/>
          <ac:spMkLst>
            <pc:docMk/>
            <pc:sldMk cId="1005745348" sldId="686"/>
            <ac:spMk id="1011" creationId="{D07DD0AB-FE4C-9EF5-5E79-5C6797832E61}"/>
          </ac:spMkLst>
        </pc:spChg>
        <pc:spChg chg="add del mod">
          <ac:chgData name="Steiner Andreas 6206 ED" userId="e6377c33-a923-4f14-8587-531c474c7b48" providerId="ADAL" clId="{6ECD27E6-B224-41CD-B4E0-E297462320DD}" dt="2023-11-24T11:44:10.576" v="156331"/>
          <ac:spMkLst>
            <pc:docMk/>
            <pc:sldMk cId="1005745348" sldId="686"/>
            <ac:spMk id="1012" creationId="{3B682C5F-6E11-E85C-C6DE-DEC04B48AFCC}"/>
          </ac:spMkLst>
        </pc:spChg>
        <pc:spChg chg="add del mod">
          <ac:chgData name="Steiner Andreas 6206 ED" userId="e6377c33-a923-4f14-8587-531c474c7b48" providerId="ADAL" clId="{6ECD27E6-B224-41CD-B4E0-E297462320DD}" dt="2023-11-24T11:44:12.592" v="156486"/>
          <ac:spMkLst>
            <pc:docMk/>
            <pc:sldMk cId="1005745348" sldId="686"/>
            <ac:spMk id="1013" creationId="{298C6A2A-65F8-A913-24DC-A18A7660D9D6}"/>
          </ac:spMkLst>
        </pc:spChg>
        <pc:spChg chg="add del mod">
          <ac:chgData name="Steiner Andreas 6206 ED" userId="e6377c33-a923-4f14-8587-531c474c7b48" providerId="ADAL" clId="{6ECD27E6-B224-41CD-B4E0-E297462320DD}" dt="2023-11-24T11:44:14.586" v="156641"/>
          <ac:spMkLst>
            <pc:docMk/>
            <pc:sldMk cId="1005745348" sldId="686"/>
            <ac:spMk id="1014" creationId="{3BBF9EFB-648D-1380-91D5-60F3122ED7BA}"/>
          </ac:spMkLst>
        </pc:spChg>
        <pc:spChg chg="add del mod">
          <ac:chgData name="Steiner Andreas 6206 ED" userId="e6377c33-a923-4f14-8587-531c474c7b48" providerId="ADAL" clId="{6ECD27E6-B224-41CD-B4E0-E297462320DD}" dt="2023-11-24T11:44:16.579" v="156796"/>
          <ac:spMkLst>
            <pc:docMk/>
            <pc:sldMk cId="1005745348" sldId="686"/>
            <ac:spMk id="1015" creationId="{3F8A69F1-D32E-4027-7A58-90F1362A2285}"/>
          </ac:spMkLst>
        </pc:spChg>
        <pc:spChg chg="add del mod">
          <ac:chgData name="Steiner Andreas 6206 ED" userId="e6377c33-a923-4f14-8587-531c474c7b48" providerId="ADAL" clId="{6ECD27E6-B224-41CD-B4E0-E297462320DD}" dt="2023-11-24T11:44:18.669" v="156951"/>
          <ac:spMkLst>
            <pc:docMk/>
            <pc:sldMk cId="1005745348" sldId="686"/>
            <ac:spMk id="1016" creationId="{6B813925-208B-21B1-B92C-85E388E19EB6}"/>
          </ac:spMkLst>
        </pc:spChg>
        <pc:spChg chg="add del mod">
          <ac:chgData name="Steiner Andreas 6206 ED" userId="e6377c33-a923-4f14-8587-531c474c7b48" providerId="ADAL" clId="{6ECD27E6-B224-41CD-B4E0-E297462320DD}" dt="2023-11-24T11:44:20.791" v="157106"/>
          <ac:spMkLst>
            <pc:docMk/>
            <pc:sldMk cId="1005745348" sldId="686"/>
            <ac:spMk id="1017" creationId="{AE1DA920-E5E5-4C95-1289-95D13795BD00}"/>
          </ac:spMkLst>
        </pc:spChg>
        <pc:spChg chg="add del mod">
          <ac:chgData name="Steiner Andreas 6206 ED" userId="e6377c33-a923-4f14-8587-531c474c7b48" providerId="ADAL" clId="{6ECD27E6-B224-41CD-B4E0-E297462320DD}" dt="2023-11-24T11:44:23.109" v="157261"/>
          <ac:spMkLst>
            <pc:docMk/>
            <pc:sldMk cId="1005745348" sldId="686"/>
            <ac:spMk id="1018" creationId="{31E9A673-E71A-3D72-7D17-AD28744EB7ED}"/>
          </ac:spMkLst>
        </pc:spChg>
        <pc:spChg chg="add del mod">
          <ac:chgData name="Steiner Andreas 6206 ED" userId="e6377c33-a923-4f14-8587-531c474c7b48" providerId="ADAL" clId="{6ECD27E6-B224-41CD-B4E0-E297462320DD}" dt="2023-11-24T11:44:25.274" v="157416"/>
          <ac:spMkLst>
            <pc:docMk/>
            <pc:sldMk cId="1005745348" sldId="686"/>
            <ac:spMk id="1019" creationId="{AE90D481-6475-F032-C65C-C836A4B6BBFE}"/>
          </ac:spMkLst>
        </pc:spChg>
        <pc:spChg chg="add del mod">
          <ac:chgData name="Steiner Andreas 6206 ED" userId="e6377c33-a923-4f14-8587-531c474c7b48" providerId="ADAL" clId="{6ECD27E6-B224-41CD-B4E0-E297462320DD}" dt="2023-11-24T11:44:30.668" v="157571"/>
          <ac:spMkLst>
            <pc:docMk/>
            <pc:sldMk cId="1005745348" sldId="686"/>
            <ac:spMk id="1020" creationId="{935B47DD-67DD-AC58-C1DC-EC60481EE694}"/>
          </ac:spMkLst>
        </pc:spChg>
        <pc:spChg chg="add mod">
          <ac:chgData name="Steiner Andreas 6206 ED" userId="e6377c33-a923-4f14-8587-531c474c7b48" providerId="ADAL" clId="{6ECD27E6-B224-41CD-B4E0-E297462320DD}" dt="2023-11-24T11:44:30.668" v="157572"/>
          <ac:spMkLst>
            <pc:docMk/>
            <pc:sldMk cId="1005745348" sldId="686"/>
            <ac:spMk id="1021" creationId="{05B66FB7-E4A7-3574-9F40-4406BCF6850C}"/>
          </ac:spMkLst>
        </pc:spChg>
      </pc:sldChg>
      <pc:sldChg chg="addSp delSp modSp mod">
        <pc:chgData name="Steiner Andreas 6206 ED" userId="e6377c33-a923-4f14-8587-531c474c7b48" providerId="ADAL" clId="{6ECD27E6-B224-41CD-B4E0-E297462320DD}" dt="2023-11-24T11:44:30.697" v="157580"/>
        <pc:sldMkLst>
          <pc:docMk/>
          <pc:sldMk cId="1396980745" sldId="687"/>
        </pc:sldMkLst>
        <pc:spChg chg="mod">
          <ac:chgData name="Steiner Andreas 6206 ED" userId="e6377c33-a923-4f14-8587-531c474c7b48" providerId="ADAL" clId="{6ECD27E6-B224-41CD-B4E0-E297462320DD}" dt="2023-11-24T11:44:30.695" v="157577" actId="20577"/>
          <ac:spMkLst>
            <pc:docMk/>
            <pc:sldMk cId="1396980745" sldId="687"/>
            <ac:spMk id="2" creationId="{74988848-A6D8-91B3-C36E-AB1B86743E6B}"/>
          </ac:spMkLst>
        </pc:spChg>
        <pc:spChg chg="del">
          <ac:chgData name="Steiner Andreas 6206 ED" userId="e6377c33-a923-4f14-8587-531c474c7b48" providerId="ADAL" clId="{6ECD27E6-B224-41CD-B4E0-E297462320DD}" dt="2023-11-23T19:49:53.529" v="86"/>
          <ac:spMkLst>
            <pc:docMk/>
            <pc:sldMk cId="1396980745" sldId="687"/>
            <ac:spMk id="4" creationId="{ED2C7508-AE2D-6EC9-BE88-748009D90BF9}"/>
          </ac:spMkLst>
        </pc:spChg>
        <pc:spChg chg="add del mod">
          <ac:chgData name="Steiner Andreas 6206 ED" userId="e6377c33-a923-4f14-8587-531c474c7b48" providerId="ADAL" clId="{6ECD27E6-B224-41CD-B4E0-E297462320DD}" dt="2023-11-23T19:49:54.452" v="254"/>
          <ac:spMkLst>
            <pc:docMk/>
            <pc:sldMk cId="1396980745" sldId="687"/>
            <ac:spMk id="5" creationId="{6147FF77-ED5E-1D80-AB80-CA62CCCD38BA}"/>
          </ac:spMkLst>
        </pc:spChg>
        <pc:spChg chg="add del mod">
          <ac:chgData name="Steiner Andreas 6206 ED" userId="e6377c33-a923-4f14-8587-531c474c7b48" providerId="ADAL" clId="{6ECD27E6-B224-41CD-B4E0-E297462320DD}" dt="2023-11-23T19:50:25.257" v="409"/>
          <ac:spMkLst>
            <pc:docMk/>
            <pc:sldMk cId="1396980745" sldId="687"/>
            <ac:spMk id="6" creationId="{25142BAA-93FD-E704-563F-0EB79026F222}"/>
          </ac:spMkLst>
        </pc:spChg>
        <pc:spChg chg="add del mod">
          <ac:chgData name="Steiner Andreas 6206 ED" userId="e6377c33-a923-4f14-8587-531c474c7b48" providerId="ADAL" clId="{6ECD27E6-B224-41CD-B4E0-E297462320DD}" dt="2023-11-23T19:50:35.058" v="564"/>
          <ac:spMkLst>
            <pc:docMk/>
            <pc:sldMk cId="1396980745" sldId="687"/>
            <ac:spMk id="7" creationId="{442C7D4F-EEAB-33F6-BE3E-82AE7EBC18EA}"/>
          </ac:spMkLst>
        </pc:spChg>
        <pc:spChg chg="add del mod">
          <ac:chgData name="Steiner Andreas 6206 ED" userId="e6377c33-a923-4f14-8587-531c474c7b48" providerId="ADAL" clId="{6ECD27E6-B224-41CD-B4E0-E297462320DD}" dt="2023-11-23T19:50:46.729" v="719"/>
          <ac:spMkLst>
            <pc:docMk/>
            <pc:sldMk cId="1396980745" sldId="687"/>
            <ac:spMk id="8" creationId="{8CA85DEA-CE52-5C77-823E-D5A9F38C71A0}"/>
          </ac:spMkLst>
        </pc:spChg>
        <pc:spChg chg="add del mod">
          <ac:chgData name="Steiner Andreas 6206 ED" userId="e6377c33-a923-4f14-8587-531c474c7b48" providerId="ADAL" clId="{6ECD27E6-B224-41CD-B4E0-E297462320DD}" dt="2023-11-23T19:50:58.435" v="874"/>
          <ac:spMkLst>
            <pc:docMk/>
            <pc:sldMk cId="1396980745" sldId="687"/>
            <ac:spMk id="9" creationId="{FF53BE02-E09B-2D6E-5B69-5DDE1273D3B8}"/>
          </ac:spMkLst>
        </pc:spChg>
        <pc:spChg chg="add del mod">
          <ac:chgData name="Steiner Andreas 6206 ED" userId="e6377c33-a923-4f14-8587-531c474c7b48" providerId="ADAL" clId="{6ECD27E6-B224-41CD-B4E0-E297462320DD}" dt="2023-11-23T19:51:09.114" v="1029"/>
          <ac:spMkLst>
            <pc:docMk/>
            <pc:sldMk cId="1396980745" sldId="687"/>
            <ac:spMk id="10" creationId="{9105E2F3-4A06-6511-2865-9B59D58747D6}"/>
          </ac:spMkLst>
        </pc:spChg>
        <pc:spChg chg="add del mod">
          <ac:chgData name="Steiner Andreas 6206 ED" userId="e6377c33-a923-4f14-8587-531c474c7b48" providerId="ADAL" clId="{6ECD27E6-B224-41CD-B4E0-E297462320DD}" dt="2023-11-23T19:51:20.100" v="1184"/>
          <ac:spMkLst>
            <pc:docMk/>
            <pc:sldMk cId="1396980745" sldId="687"/>
            <ac:spMk id="11" creationId="{D784F352-7B8E-8C23-D4C9-E1D75C52E296}"/>
          </ac:spMkLst>
        </pc:spChg>
        <pc:spChg chg="add del mod">
          <ac:chgData name="Steiner Andreas 6206 ED" userId="e6377c33-a923-4f14-8587-531c474c7b48" providerId="ADAL" clId="{6ECD27E6-B224-41CD-B4E0-E297462320DD}" dt="2023-11-23T19:51:31.580" v="1339"/>
          <ac:spMkLst>
            <pc:docMk/>
            <pc:sldMk cId="1396980745" sldId="687"/>
            <ac:spMk id="12" creationId="{00CE8675-8313-D037-FFE5-1E519D6BF5DA}"/>
          </ac:spMkLst>
        </pc:spChg>
        <pc:spChg chg="add del mod">
          <ac:chgData name="Steiner Andreas 6206 ED" userId="e6377c33-a923-4f14-8587-531c474c7b48" providerId="ADAL" clId="{6ECD27E6-B224-41CD-B4E0-E297462320DD}" dt="2023-11-23T19:51:42.244" v="1494"/>
          <ac:spMkLst>
            <pc:docMk/>
            <pc:sldMk cId="1396980745" sldId="687"/>
            <ac:spMk id="13" creationId="{E1D2F1E7-F179-DF3B-536B-736FB810F9DF}"/>
          </ac:spMkLst>
        </pc:spChg>
        <pc:spChg chg="add del mod">
          <ac:chgData name="Steiner Andreas 6206 ED" userId="e6377c33-a923-4f14-8587-531c474c7b48" providerId="ADAL" clId="{6ECD27E6-B224-41CD-B4E0-E297462320DD}" dt="2023-11-23T19:51:53.581" v="1649"/>
          <ac:spMkLst>
            <pc:docMk/>
            <pc:sldMk cId="1396980745" sldId="687"/>
            <ac:spMk id="14" creationId="{62D605A4-D686-A378-3A0F-4D4F34D53FCA}"/>
          </ac:spMkLst>
        </pc:spChg>
        <pc:spChg chg="add del mod">
          <ac:chgData name="Steiner Andreas 6206 ED" userId="e6377c33-a923-4f14-8587-531c474c7b48" providerId="ADAL" clId="{6ECD27E6-B224-41CD-B4E0-E297462320DD}" dt="2023-11-23T19:52:05.229" v="1804"/>
          <ac:spMkLst>
            <pc:docMk/>
            <pc:sldMk cId="1396980745" sldId="687"/>
            <ac:spMk id="15" creationId="{E307029A-6A1B-4E3F-78FA-8F4A1CDEAC49}"/>
          </ac:spMkLst>
        </pc:spChg>
        <pc:spChg chg="add del mod">
          <ac:chgData name="Steiner Andreas 6206 ED" userId="e6377c33-a923-4f14-8587-531c474c7b48" providerId="ADAL" clId="{6ECD27E6-B224-41CD-B4E0-E297462320DD}" dt="2023-11-23T19:52:16.933" v="1959"/>
          <ac:spMkLst>
            <pc:docMk/>
            <pc:sldMk cId="1396980745" sldId="687"/>
            <ac:spMk id="16" creationId="{D167B7A9-1229-AF1D-3B52-A814BA50F13C}"/>
          </ac:spMkLst>
        </pc:spChg>
        <pc:spChg chg="add del mod">
          <ac:chgData name="Steiner Andreas 6206 ED" userId="e6377c33-a923-4f14-8587-531c474c7b48" providerId="ADAL" clId="{6ECD27E6-B224-41CD-B4E0-E297462320DD}" dt="2023-11-23T19:52:28.627" v="2114"/>
          <ac:spMkLst>
            <pc:docMk/>
            <pc:sldMk cId="1396980745" sldId="687"/>
            <ac:spMk id="17" creationId="{B9EF49E3-B644-9F4A-F1AD-A939ADA8909E}"/>
          </ac:spMkLst>
        </pc:spChg>
        <pc:spChg chg="add del mod">
          <ac:chgData name="Steiner Andreas 6206 ED" userId="e6377c33-a923-4f14-8587-531c474c7b48" providerId="ADAL" clId="{6ECD27E6-B224-41CD-B4E0-E297462320DD}" dt="2023-11-23T19:52:40.312" v="2269"/>
          <ac:spMkLst>
            <pc:docMk/>
            <pc:sldMk cId="1396980745" sldId="687"/>
            <ac:spMk id="18" creationId="{8CFB63E2-F1AC-4084-84B9-00CCD35A374E}"/>
          </ac:spMkLst>
        </pc:spChg>
        <pc:spChg chg="add del mod">
          <ac:chgData name="Steiner Andreas 6206 ED" userId="e6377c33-a923-4f14-8587-531c474c7b48" providerId="ADAL" clId="{6ECD27E6-B224-41CD-B4E0-E297462320DD}" dt="2023-11-23T19:52:51.701" v="2424"/>
          <ac:spMkLst>
            <pc:docMk/>
            <pc:sldMk cId="1396980745" sldId="687"/>
            <ac:spMk id="19" creationId="{B417EC07-939D-399C-0CD9-85F8598B4C61}"/>
          </ac:spMkLst>
        </pc:spChg>
        <pc:spChg chg="add del mod">
          <ac:chgData name="Steiner Andreas 6206 ED" userId="e6377c33-a923-4f14-8587-531c474c7b48" providerId="ADAL" clId="{6ECD27E6-B224-41CD-B4E0-E297462320DD}" dt="2023-11-23T19:53:03.372" v="2579"/>
          <ac:spMkLst>
            <pc:docMk/>
            <pc:sldMk cId="1396980745" sldId="687"/>
            <ac:spMk id="20" creationId="{2666C803-42D2-CA7B-CA89-CBDD08E3BAFF}"/>
          </ac:spMkLst>
        </pc:spChg>
        <pc:spChg chg="add del mod">
          <ac:chgData name="Steiner Andreas 6206 ED" userId="e6377c33-a923-4f14-8587-531c474c7b48" providerId="ADAL" clId="{6ECD27E6-B224-41CD-B4E0-E297462320DD}" dt="2023-11-23T19:53:15.107" v="2734"/>
          <ac:spMkLst>
            <pc:docMk/>
            <pc:sldMk cId="1396980745" sldId="687"/>
            <ac:spMk id="21" creationId="{0FF1BB5B-A42B-392F-12D4-369EB867979D}"/>
          </ac:spMkLst>
        </pc:spChg>
        <pc:spChg chg="add del mod">
          <ac:chgData name="Steiner Andreas 6206 ED" userId="e6377c33-a923-4f14-8587-531c474c7b48" providerId="ADAL" clId="{6ECD27E6-B224-41CD-B4E0-E297462320DD}" dt="2023-11-23T19:53:26.790" v="2889"/>
          <ac:spMkLst>
            <pc:docMk/>
            <pc:sldMk cId="1396980745" sldId="687"/>
            <ac:spMk id="22" creationId="{7E4CB5F9-9CF4-BBC7-38E5-26692D7605C2}"/>
          </ac:spMkLst>
        </pc:spChg>
        <pc:spChg chg="add del mod">
          <ac:chgData name="Steiner Andreas 6206 ED" userId="e6377c33-a923-4f14-8587-531c474c7b48" providerId="ADAL" clId="{6ECD27E6-B224-41CD-B4E0-E297462320DD}" dt="2023-11-23T19:53:38.447" v="3044"/>
          <ac:spMkLst>
            <pc:docMk/>
            <pc:sldMk cId="1396980745" sldId="687"/>
            <ac:spMk id="23" creationId="{DC6E4209-700B-0730-7E93-0C8302098EC3}"/>
          </ac:spMkLst>
        </pc:spChg>
        <pc:spChg chg="add del mod">
          <ac:chgData name="Steiner Andreas 6206 ED" userId="e6377c33-a923-4f14-8587-531c474c7b48" providerId="ADAL" clId="{6ECD27E6-B224-41CD-B4E0-E297462320DD}" dt="2023-11-23T19:53:50.110" v="3199"/>
          <ac:spMkLst>
            <pc:docMk/>
            <pc:sldMk cId="1396980745" sldId="687"/>
            <ac:spMk id="24" creationId="{0586C37C-41D2-938C-5C1E-21E103607B70}"/>
          </ac:spMkLst>
        </pc:spChg>
        <pc:spChg chg="add del mod">
          <ac:chgData name="Steiner Andreas 6206 ED" userId="e6377c33-a923-4f14-8587-531c474c7b48" providerId="ADAL" clId="{6ECD27E6-B224-41CD-B4E0-E297462320DD}" dt="2023-11-23T19:54:01.784" v="3354"/>
          <ac:spMkLst>
            <pc:docMk/>
            <pc:sldMk cId="1396980745" sldId="687"/>
            <ac:spMk id="25" creationId="{62BC69EB-77E8-24B1-149D-A248D5500CF1}"/>
          </ac:spMkLst>
        </pc:spChg>
        <pc:spChg chg="add del mod">
          <ac:chgData name="Steiner Andreas 6206 ED" userId="e6377c33-a923-4f14-8587-531c474c7b48" providerId="ADAL" clId="{6ECD27E6-B224-41CD-B4E0-E297462320DD}" dt="2023-11-23T19:54:13.476" v="3509"/>
          <ac:spMkLst>
            <pc:docMk/>
            <pc:sldMk cId="1396980745" sldId="687"/>
            <ac:spMk id="26" creationId="{BAA671E9-B685-F18B-11C7-D7A168D874A8}"/>
          </ac:spMkLst>
        </pc:spChg>
        <pc:spChg chg="add del mod">
          <ac:chgData name="Steiner Andreas 6206 ED" userId="e6377c33-a923-4f14-8587-531c474c7b48" providerId="ADAL" clId="{6ECD27E6-B224-41CD-B4E0-E297462320DD}" dt="2023-11-23T19:54:25.139" v="3664"/>
          <ac:spMkLst>
            <pc:docMk/>
            <pc:sldMk cId="1396980745" sldId="687"/>
            <ac:spMk id="27" creationId="{C28A9D95-07E8-DDFC-AE69-39130B89FFCE}"/>
          </ac:spMkLst>
        </pc:spChg>
        <pc:spChg chg="add del mod">
          <ac:chgData name="Steiner Andreas 6206 ED" userId="e6377c33-a923-4f14-8587-531c474c7b48" providerId="ADAL" clId="{6ECD27E6-B224-41CD-B4E0-E297462320DD}" dt="2023-11-23T19:54:36.857" v="3819"/>
          <ac:spMkLst>
            <pc:docMk/>
            <pc:sldMk cId="1396980745" sldId="687"/>
            <ac:spMk id="28" creationId="{AD633B55-1919-CBFE-4D9C-FF2E913865C3}"/>
          </ac:spMkLst>
        </pc:spChg>
        <pc:spChg chg="add del mod">
          <ac:chgData name="Steiner Andreas 6206 ED" userId="e6377c33-a923-4f14-8587-531c474c7b48" providerId="ADAL" clId="{6ECD27E6-B224-41CD-B4E0-E297462320DD}" dt="2023-11-23T19:54:48.187" v="3974"/>
          <ac:spMkLst>
            <pc:docMk/>
            <pc:sldMk cId="1396980745" sldId="687"/>
            <ac:spMk id="29" creationId="{63AB967D-8419-835C-DC98-DA1E35642ACE}"/>
          </ac:spMkLst>
        </pc:spChg>
        <pc:spChg chg="add del mod">
          <ac:chgData name="Steiner Andreas 6206 ED" userId="e6377c33-a923-4f14-8587-531c474c7b48" providerId="ADAL" clId="{6ECD27E6-B224-41CD-B4E0-E297462320DD}" dt="2023-11-23T19:54:59.829" v="4129"/>
          <ac:spMkLst>
            <pc:docMk/>
            <pc:sldMk cId="1396980745" sldId="687"/>
            <ac:spMk id="30" creationId="{BDD20FF7-310A-79B8-C7D6-869E5C6582CC}"/>
          </ac:spMkLst>
        </pc:spChg>
        <pc:spChg chg="add del mod">
          <ac:chgData name="Steiner Andreas 6206 ED" userId="e6377c33-a923-4f14-8587-531c474c7b48" providerId="ADAL" clId="{6ECD27E6-B224-41CD-B4E0-E297462320DD}" dt="2023-11-23T19:55:11.565" v="4284"/>
          <ac:spMkLst>
            <pc:docMk/>
            <pc:sldMk cId="1396980745" sldId="687"/>
            <ac:spMk id="31" creationId="{6576C6E4-E7A9-1400-FC6D-962A8B4C2A77}"/>
          </ac:spMkLst>
        </pc:spChg>
        <pc:spChg chg="add del mod">
          <ac:chgData name="Steiner Andreas 6206 ED" userId="e6377c33-a923-4f14-8587-531c474c7b48" providerId="ADAL" clId="{6ECD27E6-B224-41CD-B4E0-E297462320DD}" dt="2023-11-23T19:55:23.240" v="4439"/>
          <ac:spMkLst>
            <pc:docMk/>
            <pc:sldMk cId="1396980745" sldId="687"/>
            <ac:spMk id="32" creationId="{642F6D84-94BE-68AC-CDC2-C625CC1207CF}"/>
          </ac:spMkLst>
        </pc:spChg>
        <pc:spChg chg="add del mod">
          <ac:chgData name="Steiner Andreas 6206 ED" userId="e6377c33-a923-4f14-8587-531c474c7b48" providerId="ADAL" clId="{6ECD27E6-B224-41CD-B4E0-E297462320DD}" dt="2023-11-23T19:55:34.886" v="4594"/>
          <ac:spMkLst>
            <pc:docMk/>
            <pc:sldMk cId="1396980745" sldId="687"/>
            <ac:spMk id="33" creationId="{A5BF1F36-DF29-458E-F791-B0EAC5D58177}"/>
          </ac:spMkLst>
        </pc:spChg>
        <pc:spChg chg="add del mod">
          <ac:chgData name="Steiner Andreas 6206 ED" userId="e6377c33-a923-4f14-8587-531c474c7b48" providerId="ADAL" clId="{6ECD27E6-B224-41CD-B4E0-E297462320DD}" dt="2023-11-23T19:55:46.218" v="4749"/>
          <ac:spMkLst>
            <pc:docMk/>
            <pc:sldMk cId="1396980745" sldId="687"/>
            <ac:spMk id="34" creationId="{175A0FF2-B7BD-2B46-3EDF-20AEF3775D6E}"/>
          </ac:spMkLst>
        </pc:spChg>
        <pc:spChg chg="add del mod">
          <ac:chgData name="Steiner Andreas 6206 ED" userId="e6377c33-a923-4f14-8587-531c474c7b48" providerId="ADAL" clId="{6ECD27E6-B224-41CD-B4E0-E297462320DD}" dt="2023-11-23T19:55:57.885" v="4904"/>
          <ac:spMkLst>
            <pc:docMk/>
            <pc:sldMk cId="1396980745" sldId="687"/>
            <ac:spMk id="35" creationId="{6AADCC0B-5814-20A8-0CFE-4C54DCA4704C}"/>
          </ac:spMkLst>
        </pc:spChg>
        <pc:spChg chg="add del mod">
          <ac:chgData name="Steiner Andreas 6206 ED" userId="e6377c33-a923-4f14-8587-531c474c7b48" providerId="ADAL" clId="{6ECD27E6-B224-41CD-B4E0-E297462320DD}" dt="2023-11-23T19:56:09.554" v="5059"/>
          <ac:spMkLst>
            <pc:docMk/>
            <pc:sldMk cId="1396980745" sldId="687"/>
            <ac:spMk id="36" creationId="{EC75152B-80E9-EFD4-9DE5-A8C17A9476AC}"/>
          </ac:spMkLst>
        </pc:spChg>
        <pc:spChg chg="add del mod">
          <ac:chgData name="Steiner Andreas 6206 ED" userId="e6377c33-a923-4f14-8587-531c474c7b48" providerId="ADAL" clId="{6ECD27E6-B224-41CD-B4E0-E297462320DD}" dt="2023-11-23T19:56:21.251" v="5214"/>
          <ac:spMkLst>
            <pc:docMk/>
            <pc:sldMk cId="1396980745" sldId="687"/>
            <ac:spMk id="37" creationId="{410AD4EB-038D-074E-4AE3-4ECA653124E1}"/>
          </ac:spMkLst>
        </pc:spChg>
        <pc:spChg chg="add del mod">
          <ac:chgData name="Steiner Andreas 6206 ED" userId="e6377c33-a923-4f14-8587-531c474c7b48" providerId="ADAL" clId="{6ECD27E6-B224-41CD-B4E0-E297462320DD}" dt="2023-11-23T19:56:32.936" v="5369"/>
          <ac:spMkLst>
            <pc:docMk/>
            <pc:sldMk cId="1396980745" sldId="687"/>
            <ac:spMk id="38" creationId="{C2373D62-F707-1063-E441-F10B3814184A}"/>
          </ac:spMkLst>
        </pc:spChg>
        <pc:spChg chg="add del mod">
          <ac:chgData name="Steiner Andreas 6206 ED" userId="e6377c33-a923-4f14-8587-531c474c7b48" providerId="ADAL" clId="{6ECD27E6-B224-41CD-B4E0-E297462320DD}" dt="2023-11-23T19:56:44.292" v="5524"/>
          <ac:spMkLst>
            <pc:docMk/>
            <pc:sldMk cId="1396980745" sldId="687"/>
            <ac:spMk id="39" creationId="{9C83C5C5-DFA7-F22E-23F0-92D468C24942}"/>
          </ac:spMkLst>
        </pc:spChg>
        <pc:spChg chg="add del mod">
          <ac:chgData name="Steiner Andreas 6206 ED" userId="e6377c33-a923-4f14-8587-531c474c7b48" providerId="ADAL" clId="{6ECD27E6-B224-41CD-B4E0-E297462320DD}" dt="2023-11-23T19:56:54.668" v="5679"/>
          <ac:spMkLst>
            <pc:docMk/>
            <pc:sldMk cId="1396980745" sldId="687"/>
            <ac:spMk id="40" creationId="{22A121AC-0F28-0829-F7E9-CC36E0559406}"/>
          </ac:spMkLst>
        </pc:spChg>
        <pc:spChg chg="add del mod">
          <ac:chgData name="Steiner Andreas 6206 ED" userId="e6377c33-a923-4f14-8587-531c474c7b48" providerId="ADAL" clId="{6ECD27E6-B224-41CD-B4E0-E297462320DD}" dt="2023-11-23T19:57:06.134" v="5834"/>
          <ac:spMkLst>
            <pc:docMk/>
            <pc:sldMk cId="1396980745" sldId="687"/>
            <ac:spMk id="41" creationId="{242A1B2D-5D8D-4242-7CEB-94E328442117}"/>
          </ac:spMkLst>
        </pc:spChg>
        <pc:spChg chg="add del mod">
          <ac:chgData name="Steiner Andreas 6206 ED" userId="e6377c33-a923-4f14-8587-531c474c7b48" providerId="ADAL" clId="{6ECD27E6-B224-41CD-B4E0-E297462320DD}" dt="2023-11-23T19:57:17.817" v="5989"/>
          <ac:spMkLst>
            <pc:docMk/>
            <pc:sldMk cId="1396980745" sldId="687"/>
            <ac:spMk id="42" creationId="{6339247E-968B-007E-0A3F-892035ABA63E}"/>
          </ac:spMkLst>
        </pc:spChg>
        <pc:spChg chg="add del mod">
          <ac:chgData name="Steiner Andreas 6206 ED" userId="e6377c33-a923-4f14-8587-531c474c7b48" providerId="ADAL" clId="{6ECD27E6-B224-41CD-B4E0-E297462320DD}" dt="2023-11-23T19:57:29.279" v="6144"/>
          <ac:spMkLst>
            <pc:docMk/>
            <pc:sldMk cId="1396980745" sldId="687"/>
            <ac:spMk id="43" creationId="{9C0E8FA5-932C-5CD5-0F53-EA57848CD8AC}"/>
          </ac:spMkLst>
        </pc:spChg>
        <pc:spChg chg="add del mod">
          <ac:chgData name="Steiner Andreas 6206 ED" userId="e6377c33-a923-4f14-8587-531c474c7b48" providerId="ADAL" clId="{6ECD27E6-B224-41CD-B4E0-E297462320DD}" dt="2023-11-23T19:57:40.906" v="6299"/>
          <ac:spMkLst>
            <pc:docMk/>
            <pc:sldMk cId="1396980745" sldId="687"/>
            <ac:spMk id="44" creationId="{7B57A3A7-97ED-AECF-D957-20AB4CFD262B}"/>
          </ac:spMkLst>
        </pc:spChg>
        <pc:spChg chg="add del mod">
          <ac:chgData name="Steiner Andreas 6206 ED" userId="e6377c33-a923-4f14-8587-531c474c7b48" providerId="ADAL" clId="{6ECD27E6-B224-41CD-B4E0-E297462320DD}" dt="2023-11-23T19:57:52.576" v="6454"/>
          <ac:spMkLst>
            <pc:docMk/>
            <pc:sldMk cId="1396980745" sldId="687"/>
            <ac:spMk id="45" creationId="{6B8A2698-5EE6-3726-7971-F18DDEE0FFEF}"/>
          </ac:spMkLst>
        </pc:spChg>
        <pc:spChg chg="add del mod">
          <ac:chgData name="Steiner Andreas 6206 ED" userId="e6377c33-a923-4f14-8587-531c474c7b48" providerId="ADAL" clId="{6ECD27E6-B224-41CD-B4E0-E297462320DD}" dt="2023-11-23T19:58:04.277" v="6609"/>
          <ac:spMkLst>
            <pc:docMk/>
            <pc:sldMk cId="1396980745" sldId="687"/>
            <ac:spMk id="46" creationId="{CE017BE3-4095-0C5A-604D-37B828A999B6}"/>
          </ac:spMkLst>
        </pc:spChg>
        <pc:spChg chg="add del mod">
          <ac:chgData name="Steiner Andreas 6206 ED" userId="e6377c33-a923-4f14-8587-531c474c7b48" providerId="ADAL" clId="{6ECD27E6-B224-41CD-B4E0-E297462320DD}" dt="2023-11-23T19:58:15.670" v="6764"/>
          <ac:spMkLst>
            <pc:docMk/>
            <pc:sldMk cId="1396980745" sldId="687"/>
            <ac:spMk id="47" creationId="{2B5B6660-CC15-DED3-9C8E-8A4EBEEBB2F9}"/>
          </ac:spMkLst>
        </pc:spChg>
        <pc:spChg chg="add del mod">
          <ac:chgData name="Steiner Andreas 6206 ED" userId="e6377c33-a923-4f14-8587-531c474c7b48" providerId="ADAL" clId="{6ECD27E6-B224-41CD-B4E0-E297462320DD}" dt="2023-11-23T19:58:27.793" v="6919"/>
          <ac:spMkLst>
            <pc:docMk/>
            <pc:sldMk cId="1396980745" sldId="687"/>
            <ac:spMk id="48" creationId="{28A98865-D97B-34E2-E11F-1E8150BA13F6}"/>
          </ac:spMkLst>
        </pc:spChg>
        <pc:spChg chg="add del mod">
          <ac:chgData name="Steiner Andreas 6206 ED" userId="e6377c33-a923-4f14-8587-531c474c7b48" providerId="ADAL" clId="{6ECD27E6-B224-41CD-B4E0-E297462320DD}" dt="2023-11-23T19:58:39.536" v="7074"/>
          <ac:spMkLst>
            <pc:docMk/>
            <pc:sldMk cId="1396980745" sldId="687"/>
            <ac:spMk id="49" creationId="{EAD793C4-138D-BC76-0395-0E2655A64D09}"/>
          </ac:spMkLst>
        </pc:spChg>
        <pc:spChg chg="add del mod">
          <ac:chgData name="Steiner Andreas 6206 ED" userId="e6377c33-a923-4f14-8587-531c474c7b48" providerId="ADAL" clId="{6ECD27E6-B224-41CD-B4E0-E297462320DD}" dt="2023-11-23T19:58:51.225" v="7229"/>
          <ac:spMkLst>
            <pc:docMk/>
            <pc:sldMk cId="1396980745" sldId="687"/>
            <ac:spMk id="50" creationId="{63EC53F1-4B5B-B155-92A0-A48D889A47FB}"/>
          </ac:spMkLst>
        </pc:spChg>
        <pc:spChg chg="add del mod">
          <ac:chgData name="Steiner Andreas 6206 ED" userId="e6377c33-a923-4f14-8587-531c474c7b48" providerId="ADAL" clId="{6ECD27E6-B224-41CD-B4E0-E297462320DD}" dt="2023-11-23T19:59:02.602" v="7384"/>
          <ac:spMkLst>
            <pc:docMk/>
            <pc:sldMk cId="1396980745" sldId="687"/>
            <ac:spMk id="51" creationId="{CC80F1D4-6729-46F1-E5C0-D4C76938E587}"/>
          </ac:spMkLst>
        </pc:spChg>
        <pc:spChg chg="add del mod">
          <ac:chgData name="Steiner Andreas 6206 ED" userId="e6377c33-a923-4f14-8587-531c474c7b48" providerId="ADAL" clId="{6ECD27E6-B224-41CD-B4E0-E297462320DD}" dt="2023-11-24T08:31:41.484" v="7539"/>
          <ac:spMkLst>
            <pc:docMk/>
            <pc:sldMk cId="1396980745" sldId="687"/>
            <ac:spMk id="52" creationId="{FD59CF62-B9B5-646D-DB27-D6F782405BA5}"/>
          </ac:spMkLst>
        </pc:spChg>
        <pc:spChg chg="add del mod">
          <ac:chgData name="Steiner Andreas 6206 ED" userId="e6377c33-a923-4f14-8587-531c474c7b48" providerId="ADAL" clId="{6ECD27E6-B224-41CD-B4E0-E297462320DD}" dt="2023-11-24T08:31:45.165" v="7694"/>
          <ac:spMkLst>
            <pc:docMk/>
            <pc:sldMk cId="1396980745" sldId="687"/>
            <ac:spMk id="53" creationId="{A7CA3F54-C480-382C-6E66-0D8C51C576FD}"/>
          </ac:spMkLst>
        </pc:spChg>
        <pc:spChg chg="add del mod">
          <ac:chgData name="Steiner Andreas 6206 ED" userId="e6377c33-a923-4f14-8587-531c474c7b48" providerId="ADAL" clId="{6ECD27E6-B224-41CD-B4E0-E297462320DD}" dt="2023-11-24T08:31:47.016" v="7849"/>
          <ac:spMkLst>
            <pc:docMk/>
            <pc:sldMk cId="1396980745" sldId="687"/>
            <ac:spMk id="54" creationId="{36A1FF61-89DE-56CD-BF7D-547B771275CD}"/>
          </ac:spMkLst>
        </pc:spChg>
        <pc:spChg chg="add del mod">
          <ac:chgData name="Steiner Andreas 6206 ED" userId="e6377c33-a923-4f14-8587-531c474c7b48" providerId="ADAL" clId="{6ECD27E6-B224-41CD-B4E0-E297462320DD}" dt="2023-11-24T08:31:48.878" v="8004"/>
          <ac:spMkLst>
            <pc:docMk/>
            <pc:sldMk cId="1396980745" sldId="687"/>
            <ac:spMk id="55" creationId="{4FF2EB7F-A9CF-0E0E-9CFC-78378DB0A0DE}"/>
          </ac:spMkLst>
        </pc:spChg>
        <pc:spChg chg="add del mod">
          <ac:chgData name="Steiner Andreas 6206 ED" userId="e6377c33-a923-4f14-8587-531c474c7b48" providerId="ADAL" clId="{6ECD27E6-B224-41CD-B4E0-E297462320DD}" dt="2023-11-24T08:31:50.749" v="8159"/>
          <ac:spMkLst>
            <pc:docMk/>
            <pc:sldMk cId="1396980745" sldId="687"/>
            <ac:spMk id="56" creationId="{E77F9B28-E673-7947-B41D-FFCCEB2B2ED1}"/>
          </ac:spMkLst>
        </pc:spChg>
        <pc:spChg chg="add del mod">
          <ac:chgData name="Steiner Andreas 6206 ED" userId="e6377c33-a923-4f14-8587-531c474c7b48" providerId="ADAL" clId="{6ECD27E6-B224-41CD-B4E0-E297462320DD}" dt="2023-11-24T08:31:52.534" v="8314"/>
          <ac:spMkLst>
            <pc:docMk/>
            <pc:sldMk cId="1396980745" sldId="687"/>
            <ac:spMk id="57" creationId="{B3041CBA-4CB1-2F91-9B94-4AB6C07D7B64}"/>
          </ac:spMkLst>
        </pc:spChg>
        <pc:spChg chg="add del mod">
          <ac:chgData name="Steiner Andreas 6206 ED" userId="e6377c33-a923-4f14-8587-531c474c7b48" providerId="ADAL" clId="{6ECD27E6-B224-41CD-B4E0-E297462320DD}" dt="2023-11-24T08:31:54.345" v="8469"/>
          <ac:spMkLst>
            <pc:docMk/>
            <pc:sldMk cId="1396980745" sldId="687"/>
            <ac:spMk id="58" creationId="{2038D004-B44D-228C-1912-D30D6F4C365E}"/>
          </ac:spMkLst>
        </pc:spChg>
        <pc:spChg chg="add del mod">
          <ac:chgData name="Steiner Andreas 6206 ED" userId="e6377c33-a923-4f14-8587-531c474c7b48" providerId="ADAL" clId="{6ECD27E6-B224-41CD-B4E0-E297462320DD}" dt="2023-11-24T08:31:56.187" v="8624"/>
          <ac:spMkLst>
            <pc:docMk/>
            <pc:sldMk cId="1396980745" sldId="687"/>
            <ac:spMk id="59" creationId="{08451E51-82B1-E9BD-55DF-458E3AB82EAA}"/>
          </ac:spMkLst>
        </pc:spChg>
        <pc:spChg chg="add del mod">
          <ac:chgData name="Steiner Andreas 6206 ED" userId="e6377c33-a923-4f14-8587-531c474c7b48" providerId="ADAL" clId="{6ECD27E6-B224-41CD-B4E0-E297462320DD}" dt="2023-11-24T08:31:58.071" v="8779"/>
          <ac:spMkLst>
            <pc:docMk/>
            <pc:sldMk cId="1396980745" sldId="687"/>
            <ac:spMk id="60" creationId="{71C3D318-B4FA-1C5C-8F42-9EE93F6E5919}"/>
          </ac:spMkLst>
        </pc:spChg>
        <pc:spChg chg="add del mod">
          <ac:chgData name="Steiner Andreas 6206 ED" userId="e6377c33-a923-4f14-8587-531c474c7b48" providerId="ADAL" clId="{6ECD27E6-B224-41CD-B4E0-E297462320DD}" dt="2023-11-24T08:32:00.791" v="8934"/>
          <ac:spMkLst>
            <pc:docMk/>
            <pc:sldMk cId="1396980745" sldId="687"/>
            <ac:spMk id="61" creationId="{0AA16EC1-C481-2CA1-1794-7B9617BBCD11}"/>
          </ac:spMkLst>
        </pc:spChg>
        <pc:spChg chg="add del mod">
          <ac:chgData name="Steiner Andreas 6206 ED" userId="e6377c33-a923-4f14-8587-531c474c7b48" providerId="ADAL" clId="{6ECD27E6-B224-41CD-B4E0-E297462320DD}" dt="2023-11-24T08:32:03.113" v="9089"/>
          <ac:spMkLst>
            <pc:docMk/>
            <pc:sldMk cId="1396980745" sldId="687"/>
            <ac:spMk id="62" creationId="{036F46A7-DB70-AEC7-4AE0-C118E66B5BBD}"/>
          </ac:spMkLst>
        </pc:spChg>
        <pc:spChg chg="add del mod">
          <ac:chgData name="Steiner Andreas 6206 ED" userId="e6377c33-a923-4f14-8587-531c474c7b48" providerId="ADAL" clId="{6ECD27E6-B224-41CD-B4E0-E297462320DD}" dt="2023-11-24T08:32:05.161" v="9244"/>
          <ac:spMkLst>
            <pc:docMk/>
            <pc:sldMk cId="1396980745" sldId="687"/>
            <ac:spMk id="63" creationId="{50BE27C3-BAF1-1AF9-B7C7-021F0A844A89}"/>
          </ac:spMkLst>
        </pc:spChg>
        <pc:spChg chg="add del mod">
          <ac:chgData name="Steiner Andreas 6206 ED" userId="e6377c33-a923-4f14-8587-531c474c7b48" providerId="ADAL" clId="{6ECD27E6-B224-41CD-B4E0-E297462320DD}" dt="2023-11-24T08:32:07.102" v="9399"/>
          <ac:spMkLst>
            <pc:docMk/>
            <pc:sldMk cId="1396980745" sldId="687"/>
            <ac:spMk id="64" creationId="{96F9F8D3-A070-6630-8908-5BCEE5D31B33}"/>
          </ac:spMkLst>
        </pc:spChg>
        <pc:spChg chg="add del mod">
          <ac:chgData name="Steiner Andreas 6206 ED" userId="e6377c33-a923-4f14-8587-531c474c7b48" providerId="ADAL" clId="{6ECD27E6-B224-41CD-B4E0-E297462320DD}" dt="2023-11-24T08:32:09.435" v="9554"/>
          <ac:spMkLst>
            <pc:docMk/>
            <pc:sldMk cId="1396980745" sldId="687"/>
            <ac:spMk id="65" creationId="{67E2C7EA-7159-B6F9-3594-43E0D36926D8}"/>
          </ac:spMkLst>
        </pc:spChg>
        <pc:spChg chg="add del mod">
          <ac:chgData name="Steiner Andreas 6206 ED" userId="e6377c33-a923-4f14-8587-531c474c7b48" providerId="ADAL" clId="{6ECD27E6-B224-41CD-B4E0-E297462320DD}" dt="2023-11-24T08:32:11.741" v="9709"/>
          <ac:spMkLst>
            <pc:docMk/>
            <pc:sldMk cId="1396980745" sldId="687"/>
            <ac:spMk id="66" creationId="{6C951992-ECDA-1E83-EEC7-DB61164E17D7}"/>
          </ac:spMkLst>
        </pc:spChg>
        <pc:spChg chg="add del mod">
          <ac:chgData name="Steiner Andreas 6206 ED" userId="e6377c33-a923-4f14-8587-531c474c7b48" providerId="ADAL" clId="{6ECD27E6-B224-41CD-B4E0-E297462320DD}" dt="2023-11-24T08:32:13.900" v="9864"/>
          <ac:spMkLst>
            <pc:docMk/>
            <pc:sldMk cId="1396980745" sldId="687"/>
            <ac:spMk id="67" creationId="{EF72FE79-37E1-F483-7B47-31214A827D9B}"/>
          </ac:spMkLst>
        </pc:spChg>
        <pc:spChg chg="add del mod">
          <ac:chgData name="Steiner Andreas 6206 ED" userId="e6377c33-a923-4f14-8587-531c474c7b48" providerId="ADAL" clId="{6ECD27E6-B224-41CD-B4E0-E297462320DD}" dt="2023-11-24T08:32:15.840" v="10019"/>
          <ac:spMkLst>
            <pc:docMk/>
            <pc:sldMk cId="1396980745" sldId="687"/>
            <ac:spMk id="68" creationId="{FDB56639-ECB5-E1AB-3820-E654E1BC3DE4}"/>
          </ac:spMkLst>
        </pc:spChg>
        <pc:spChg chg="add del mod">
          <ac:chgData name="Steiner Andreas 6206 ED" userId="e6377c33-a923-4f14-8587-531c474c7b48" providerId="ADAL" clId="{6ECD27E6-B224-41CD-B4E0-E297462320DD}" dt="2023-11-24T08:32:17.837" v="10174"/>
          <ac:spMkLst>
            <pc:docMk/>
            <pc:sldMk cId="1396980745" sldId="687"/>
            <ac:spMk id="69" creationId="{01F58909-E88C-2D60-8D39-356BC3E48048}"/>
          </ac:spMkLst>
        </pc:spChg>
        <pc:spChg chg="add del mod">
          <ac:chgData name="Steiner Andreas 6206 ED" userId="e6377c33-a923-4f14-8587-531c474c7b48" providerId="ADAL" clId="{6ECD27E6-B224-41CD-B4E0-E297462320DD}" dt="2023-11-24T08:32:19.792" v="10329"/>
          <ac:spMkLst>
            <pc:docMk/>
            <pc:sldMk cId="1396980745" sldId="687"/>
            <ac:spMk id="70" creationId="{1881C24F-C34C-47AE-ECA2-E36F06E238AA}"/>
          </ac:spMkLst>
        </pc:spChg>
        <pc:spChg chg="add del mod">
          <ac:chgData name="Steiner Andreas 6206 ED" userId="e6377c33-a923-4f14-8587-531c474c7b48" providerId="ADAL" clId="{6ECD27E6-B224-41CD-B4E0-E297462320DD}" dt="2023-11-24T08:32:21.754" v="10484"/>
          <ac:spMkLst>
            <pc:docMk/>
            <pc:sldMk cId="1396980745" sldId="687"/>
            <ac:spMk id="71" creationId="{5AFFEAA8-EC8B-6DD6-8170-02C338C4615D}"/>
          </ac:spMkLst>
        </pc:spChg>
        <pc:spChg chg="add del mod">
          <ac:chgData name="Steiner Andreas 6206 ED" userId="e6377c33-a923-4f14-8587-531c474c7b48" providerId="ADAL" clId="{6ECD27E6-B224-41CD-B4E0-E297462320DD}" dt="2023-11-24T08:32:23.912" v="10639"/>
          <ac:spMkLst>
            <pc:docMk/>
            <pc:sldMk cId="1396980745" sldId="687"/>
            <ac:spMk id="72" creationId="{152280BC-63CC-AEAA-AF2C-58B40F6045C9}"/>
          </ac:spMkLst>
        </pc:spChg>
        <pc:spChg chg="add del mod">
          <ac:chgData name="Steiner Andreas 6206 ED" userId="e6377c33-a923-4f14-8587-531c474c7b48" providerId="ADAL" clId="{6ECD27E6-B224-41CD-B4E0-E297462320DD}" dt="2023-11-24T08:32:25.880" v="10794"/>
          <ac:spMkLst>
            <pc:docMk/>
            <pc:sldMk cId="1396980745" sldId="687"/>
            <ac:spMk id="73" creationId="{0064BC09-2A49-1C38-37CB-0C89EF2A0B31}"/>
          </ac:spMkLst>
        </pc:spChg>
        <pc:spChg chg="add del mod">
          <ac:chgData name="Steiner Andreas 6206 ED" userId="e6377c33-a923-4f14-8587-531c474c7b48" providerId="ADAL" clId="{6ECD27E6-B224-41CD-B4E0-E297462320DD}" dt="2023-11-24T08:32:27.864" v="10949"/>
          <ac:spMkLst>
            <pc:docMk/>
            <pc:sldMk cId="1396980745" sldId="687"/>
            <ac:spMk id="74" creationId="{BE75919C-3249-6FF8-19BA-7BB19D2D82E5}"/>
          </ac:spMkLst>
        </pc:spChg>
        <pc:spChg chg="add del mod">
          <ac:chgData name="Steiner Andreas 6206 ED" userId="e6377c33-a923-4f14-8587-531c474c7b48" providerId="ADAL" clId="{6ECD27E6-B224-41CD-B4E0-E297462320DD}" dt="2023-11-24T08:32:29.777" v="11104"/>
          <ac:spMkLst>
            <pc:docMk/>
            <pc:sldMk cId="1396980745" sldId="687"/>
            <ac:spMk id="75" creationId="{C344D551-79F0-A6BE-71F6-1AD9870A8D5D}"/>
          </ac:spMkLst>
        </pc:spChg>
        <pc:spChg chg="add del mod">
          <ac:chgData name="Steiner Andreas 6206 ED" userId="e6377c33-a923-4f14-8587-531c474c7b48" providerId="ADAL" clId="{6ECD27E6-B224-41CD-B4E0-E297462320DD}" dt="2023-11-24T08:32:31.895" v="11259"/>
          <ac:spMkLst>
            <pc:docMk/>
            <pc:sldMk cId="1396980745" sldId="687"/>
            <ac:spMk id="76" creationId="{5D54D203-6216-6D73-3BE7-6CA711B17384}"/>
          </ac:spMkLst>
        </pc:spChg>
        <pc:spChg chg="add del mod">
          <ac:chgData name="Steiner Andreas 6206 ED" userId="e6377c33-a923-4f14-8587-531c474c7b48" providerId="ADAL" clId="{6ECD27E6-B224-41CD-B4E0-E297462320DD}" dt="2023-11-24T08:32:34.233" v="11414"/>
          <ac:spMkLst>
            <pc:docMk/>
            <pc:sldMk cId="1396980745" sldId="687"/>
            <ac:spMk id="77" creationId="{1E4694F2-95C8-2114-F928-5FF8837418E5}"/>
          </ac:spMkLst>
        </pc:spChg>
        <pc:spChg chg="add del mod">
          <ac:chgData name="Steiner Andreas 6206 ED" userId="e6377c33-a923-4f14-8587-531c474c7b48" providerId="ADAL" clId="{6ECD27E6-B224-41CD-B4E0-E297462320DD}" dt="2023-11-24T08:32:36.619" v="11569"/>
          <ac:spMkLst>
            <pc:docMk/>
            <pc:sldMk cId="1396980745" sldId="687"/>
            <ac:spMk id="78" creationId="{7FD21E07-E51A-BDCA-4DD3-E6A33D2FCE95}"/>
          </ac:spMkLst>
        </pc:spChg>
        <pc:spChg chg="add del mod">
          <ac:chgData name="Steiner Andreas 6206 ED" userId="e6377c33-a923-4f14-8587-531c474c7b48" providerId="ADAL" clId="{6ECD27E6-B224-41CD-B4E0-E297462320DD}" dt="2023-11-24T08:32:38.548" v="11724"/>
          <ac:spMkLst>
            <pc:docMk/>
            <pc:sldMk cId="1396980745" sldId="687"/>
            <ac:spMk id="79" creationId="{F9745C8B-467C-9D2D-3EEE-61663B21C164}"/>
          </ac:spMkLst>
        </pc:spChg>
        <pc:spChg chg="add del mod">
          <ac:chgData name="Steiner Andreas 6206 ED" userId="e6377c33-a923-4f14-8587-531c474c7b48" providerId="ADAL" clId="{6ECD27E6-B224-41CD-B4E0-E297462320DD}" dt="2023-11-24T08:32:40.653" v="11879"/>
          <ac:spMkLst>
            <pc:docMk/>
            <pc:sldMk cId="1396980745" sldId="687"/>
            <ac:spMk id="80" creationId="{2DF34A2B-A938-2033-E156-0F977516BF5A}"/>
          </ac:spMkLst>
        </pc:spChg>
        <pc:spChg chg="add del mod">
          <ac:chgData name="Steiner Andreas 6206 ED" userId="e6377c33-a923-4f14-8587-531c474c7b48" providerId="ADAL" clId="{6ECD27E6-B224-41CD-B4E0-E297462320DD}" dt="2023-11-24T08:32:42.798" v="12034"/>
          <ac:spMkLst>
            <pc:docMk/>
            <pc:sldMk cId="1396980745" sldId="687"/>
            <ac:spMk id="81" creationId="{FA1AE4FE-33CC-2C70-A6E8-FD3B5852F32A}"/>
          </ac:spMkLst>
        </pc:spChg>
        <pc:spChg chg="add del mod">
          <ac:chgData name="Steiner Andreas 6206 ED" userId="e6377c33-a923-4f14-8587-531c474c7b48" providerId="ADAL" clId="{6ECD27E6-B224-41CD-B4E0-E297462320DD}" dt="2023-11-24T08:32:44.948" v="12189"/>
          <ac:spMkLst>
            <pc:docMk/>
            <pc:sldMk cId="1396980745" sldId="687"/>
            <ac:spMk id="82" creationId="{4DF46A5D-4EE1-0663-C584-B56951E83E92}"/>
          </ac:spMkLst>
        </pc:spChg>
        <pc:spChg chg="add del mod">
          <ac:chgData name="Steiner Andreas 6206 ED" userId="e6377c33-a923-4f14-8587-531c474c7b48" providerId="ADAL" clId="{6ECD27E6-B224-41CD-B4E0-E297462320DD}" dt="2023-11-24T08:32:47.136" v="12344"/>
          <ac:spMkLst>
            <pc:docMk/>
            <pc:sldMk cId="1396980745" sldId="687"/>
            <ac:spMk id="83" creationId="{A24FC61C-5EA0-770F-57A8-C33F40C1A324}"/>
          </ac:spMkLst>
        </pc:spChg>
        <pc:spChg chg="add del mod">
          <ac:chgData name="Steiner Andreas 6206 ED" userId="e6377c33-a923-4f14-8587-531c474c7b48" providerId="ADAL" clId="{6ECD27E6-B224-41CD-B4E0-E297462320DD}" dt="2023-11-24T08:32:49.187" v="12499"/>
          <ac:spMkLst>
            <pc:docMk/>
            <pc:sldMk cId="1396980745" sldId="687"/>
            <ac:spMk id="84" creationId="{1BEEC932-8792-DDEA-4172-BCC5B3EE0D19}"/>
          </ac:spMkLst>
        </pc:spChg>
        <pc:spChg chg="add del mod">
          <ac:chgData name="Steiner Andreas 6206 ED" userId="e6377c33-a923-4f14-8587-531c474c7b48" providerId="ADAL" clId="{6ECD27E6-B224-41CD-B4E0-E297462320DD}" dt="2023-11-24T08:32:51.129" v="12654"/>
          <ac:spMkLst>
            <pc:docMk/>
            <pc:sldMk cId="1396980745" sldId="687"/>
            <ac:spMk id="85" creationId="{02944DED-097B-1519-EEA1-ED4CF12483D0}"/>
          </ac:spMkLst>
        </pc:spChg>
        <pc:spChg chg="add del mod">
          <ac:chgData name="Steiner Andreas 6206 ED" userId="e6377c33-a923-4f14-8587-531c474c7b48" providerId="ADAL" clId="{6ECD27E6-B224-41CD-B4E0-E297462320DD}" dt="2023-11-24T08:32:53.149" v="12809"/>
          <ac:spMkLst>
            <pc:docMk/>
            <pc:sldMk cId="1396980745" sldId="687"/>
            <ac:spMk id="86" creationId="{67C6E7CF-1856-9D65-11E0-9B3A4979EDF4}"/>
          </ac:spMkLst>
        </pc:spChg>
        <pc:spChg chg="add del mod">
          <ac:chgData name="Steiner Andreas 6206 ED" userId="e6377c33-a923-4f14-8587-531c474c7b48" providerId="ADAL" clId="{6ECD27E6-B224-41CD-B4E0-E297462320DD}" dt="2023-11-24T08:32:55.140" v="12964"/>
          <ac:spMkLst>
            <pc:docMk/>
            <pc:sldMk cId="1396980745" sldId="687"/>
            <ac:spMk id="87" creationId="{CE695CC6-81EB-38EB-DA7C-098AFD475199}"/>
          </ac:spMkLst>
        </pc:spChg>
        <pc:spChg chg="add del mod">
          <ac:chgData name="Steiner Andreas 6206 ED" userId="e6377c33-a923-4f14-8587-531c474c7b48" providerId="ADAL" clId="{6ECD27E6-B224-41CD-B4E0-E297462320DD}" dt="2023-11-24T08:32:57.062" v="13119"/>
          <ac:spMkLst>
            <pc:docMk/>
            <pc:sldMk cId="1396980745" sldId="687"/>
            <ac:spMk id="88" creationId="{BFDA6257-D02A-49E6-EE49-AA081A414417}"/>
          </ac:spMkLst>
        </pc:spChg>
        <pc:spChg chg="add del mod">
          <ac:chgData name="Steiner Andreas 6206 ED" userId="e6377c33-a923-4f14-8587-531c474c7b48" providerId="ADAL" clId="{6ECD27E6-B224-41CD-B4E0-E297462320DD}" dt="2023-11-24T08:32:59.168" v="13274"/>
          <ac:spMkLst>
            <pc:docMk/>
            <pc:sldMk cId="1396980745" sldId="687"/>
            <ac:spMk id="89" creationId="{2BEC9FEB-4AF4-E319-39EC-97875BD2C035}"/>
          </ac:spMkLst>
        </pc:spChg>
        <pc:spChg chg="add del mod">
          <ac:chgData name="Steiner Andreas 6206 ED" userId="e6377c33-a923-4f14-8587-531c474c7b48" providerId="ADAL" clId="{6ECD27E6-B224-41CD-B4E0-E297462320DD}" dt="2023-11-24T08:33:01.302" v="13429"/>
          <ac:spMkLst>
            <pc:docMk/>
            <pc:sldMk cId="1396980745" sldId="687"/>
            <ac:spMk id="90" creationId="{57BEA2FF-12BB-D4FF-F223-FEEE39119BE4}"/>
          </ac:spMkLst>
        </pc:spChg>
        <pc:spChg chg="add del mod">
          <ac:chgData name="Steiner Andreas 6206 ED" userId="e6377c33-a923-4f14-8587-531c474c7b48" providerId="ADAL" clId="{6ECD27E6-B224-41CD-B4E0-E297462320DD}" dt="2023-11-24T08:33:03.644" v="13584"/>
          <ac:spMkLst>
            <pc:docMk/>
            <pc:sldMk cId="1396980745" sldId="687"/>
            <ac:spMk id="91" creationId="{5826B549-B7C4-70DE-7E09-D74879FB57A7}"/>
          </ac:spMkLst>
        </pc:spChg>
        <pc:spChg chg="add del mod">
          <ac:chgData name="Steiner Andreas 6206 ED" userId="e6377c33-a923-4f14-8587-531c474c7b48" providerId="ADAL" clId="{6ECD27E6-B224-41CD-B4E0-E297462320DD}" dt="2023-11-24T08:33:05.975" v="13739"/>
          <ac:spMkLst>
            <pc:docMk/>
            <pc:sldMk cId="1396980745" sldId="687"/>
            <ac:spMk id="92" creationId="{34FA433F-7C29-1719-D32B-F449A9B88B86}"/>
          </ac:spMkLst>
        </pc:spChg>
        <pc:spChg chg="add del mod">
          <ac:chgData name="Steiner Andreas 6206 ED" userId="e6377c33-a923-4f14-8587-531c474c7b48" providerId="ADAL" clId="{6ECD27E6-B224-41CD-B4E0-E297462320DD}" dt="2023-11-24T08:33:08.206" v="13894"/>
          <ac:spMkLst>
            <pc:docMk/>
            <pc:sldMk cId="1396980745" sldId="687"/>
            <ac:spMk id="93" creationId="{F3065F9B-306C-9C01-C054-87EBC10FAA7D}"/>
          </ac:spMkLst>
        </pc:spChg>
        <pc:spChg chg="add del mod">
          <ac:chgData name="Steiner Andreas 6206 ED" userId="e6377c33-a923-4f14-8587-531c474c7b48" providerId="ADAL" clId="{6ECD27E6-B224-41CD-B4E0-E297462320DD}" dt="2023-11-24T08:33:10.630" v="14049"/>
          <ac:spMkLst>
            <pc:docMk/>
            <pc:sldMk cId="1396980745" sldId="687"/>
            <ac:spMk id="94" creationId="{2E1325AF-3CA8-E6C3-24A8-240ED8689B36}"/>
          </ac:spMkLst>
        </pc:spChg>
        <pc:spChg chg="add del mod">
          <ac:chgData name="Steiner Andreas 6206 ED" userId="e6377c33-a923-4f14-8587-531c474c7b48" providerId="ADAL" clId="{6ECD27E6-B224-41CD-B4E0-E297462320DD}" dt="2023-11-24T08:33:12.624" v="14204"/>
          <ac:spMkLst>
            <pc:docMk/>
            <pc:sldMk cId="1396980745" sldId="687"/>
            <ac:spMk id="95" creationId="{FF8AD533-9235-AABA-9104-5596BB9BFC13}"/>
          </ac:spMkLst>
        </pc:spChg>
        <pc:spChg chg="add del mod">
          <ac:chgData name="Steiner Andreas 6206 ED" userId="e6377c33-a923-4f14-8587-531c474c7b48" providerId="ADAL" clId="{6ECD27E6-B224-41CD-B4E0-E297462320DD}" dt="2023-11-24T08:33:14.521" v="14359"/>
          <ac:spMkLst>
            <pc:docMk/>
            <pc:sldMk cId="1396980745" sldId="687"/>
            <ac:spMk id="96" creationId="{7115AC19-D858-6DA1-DCCE-738D3DB08991}"/>
          </ac:spMkLst>
        </pc:spChg>
        <pc:spChg chg="add del mod">
          <ac:chgData name="Steiner Andreas 6206 ED" userId="e6377c33-a923-4f14-8587-531c474c7b48" providerId="ADAL" clId="{6ECD27E6-B224-41CD-B4E0-E297462320DD}" dt="2023-11-24T08:33:16.537" v="14514"/>
          <ac:spMkLst>
            <pc:docMk/>
            <pc:sldMk cId="1396980745" sldId="687"/>
            <ac:spMk id="97" creationId="{E31C1026-5044-AF8D-1425-D5743C7EF94E}"/>
          </ac:spMkLst>
        </pc:spChg>
        <pc:spChg chg="add del mod">
          <ac:chgData name="Steiner Andreas 6206 ED" userId="e6377c33-a923-4f14-8587-531c474c7b48" providerId="ADAL" clId="{6ECD27E6-B224-41CD-B4E0-E297462320DD}" dt="2023-11-24T08:33:18.842" v="14669"/>
          <ac:spMkLst>
            <pc:docMk/>
            <pc:sldMk cId="1396980745" sldId="687"/>
            <ac:spMk id="98" creationId="{555FFDA2-98ED-DFB3-F4C8-9A749F7C3E82}"/>
          </ac:spMkLst>
        </pc:spChg>
        <pc:spChg chg="add del mod">
          <ac:chgData name="Steiner Andreas 6206 ED" userId="e6377c33-a923-4f14-8587-531c474c7b48" providerId="ADAL" clId="{6ECD27E6-B224-41CD-B4E0-E297462320DD}" dt="2023-11-24T08:33:21.207" v="14824"/>
          <ac:spMkLst>
            <pc:docMk/>
            <pc:sldMk cId="1396980745" sldId="687"/>
            <ac:spMk id="99" creationId="{5898CDEA-ACEF-D1A5-AF6D-2997085828DA}"/>
          </ac:spMkLst>
        </pc:spChg>
        <pc:spChg chg="add del mod">
          <ac:chgData name="Steiner Andreas 6206 ED" userId="e6377c33-a923-4f14-8587-531c474c7b48" providerId="ADAL" clId="{6ECD27E6-B224-41CD-B4E0-E297462320DD}" dt="2023-11-24T08:33:23.577" v="14979"/>
          <ac:spMkLst>
            <pc:docMk/>
            <pc:sldMk cId="1396980745" sldId="687"/>
            <ac:spMk id="100" creationId="{232CBC26-1A3C-2DBF-FB3E-55043543CA1D}"/>
          </ac:spMkLst>
        </pc:spChg>
        <pc:spChg chg="add del mod">
          <ac:chgData name="Steiner Andreas 6206 ED" userId="e6377c33-a923-4f14-8587-531c474c7b48" providerId="ADAL" clId="{6ECD27E6-B224-41CD-B4E0-E297462320DD}" dt="2023-11-24T08:33:25.987" v="15134"/>
          <ac:spMkLst>
            <pc:docMk/>
            <pc:sldMk cId="1396980745" sldId="687"/>
            <ac:spMk id="101" creationId="{1F691C0A-2950-7EE3-9F7D-9BB820EB7F85}"/>
          </ac:spMkLst>
        </pc:spChg>
        <pc:spChg chg="add del mod">
          <ac:chgData name="Steiner Andreas 6206 ED" userId="e6377c33-a923-4f14-8587-531c474c7b48" providerId="ADAL" clId="{6ECD27E6-B224-41CD-B4E0-E297462320DD}" dt="2023-11-24T08:33:28.276" v="15289"/>
          <ac:spMkLst>
            <pc:docMk/>
            <pc:sldMk cId="1396980745" sldId="687"/>
            <ac:spMk id="102" creationId="{8887D491-7B40-6279-64DE-A6490E9175CC}"/>
          </ac:spMkLst>
        </pc:spChg>
        <pc:spChg chg="add del mod">
          <ac:chgData name="Steiner Andreas 6206 ED" userId="e6377c33-a923-4f14-8587-531c474c7b48" providerId="ADAL" clId="{6ECD27E6-B224-41CD-B4E0-E297462320DD}" dt="2023-11-24T08:33:30.732" v="15444"/>
          <ac:spMkLst>
            <pc:docMk/>
            <pc:sldMk cId="1396980745" sldId="687"/>
            <ac:spMk id="103" creationId="{6BD1B6F0-715A-0C5B-20F2-2326E9EEAE9B}"/>
          </ac:spMkLst>
        </pc:spChg>
        <pc:spChg chg="add del mod">
          <ac:chgData name="Steiner Andreas 6206 ED" userId="e6377c33-a923-4f14-8587-531c474c7b48" providerId="ADAL" clId="{6ECD27E6-B224-41CD-B4E0-E297462320DD}" dt="2023-11-24T08:33:33.527" v="15599"/>
          <ac:spMkLst>
            <pc:docMk/>
            <pc:sldMk cId="1396980745" sldId="687"/>
            <ac:spMk id="104" creationId="{CE24E79D-DC2D-EF80-8276-D72D8D38AAEC}"/>
          </ac:spMkLst>
        </pc:spChg>
        <pc:spChg chg="add del mod">
          <ac:chgData name="Steiner Andreas 6206 ED" userId="e6377c33-a923-4f14-8587-531c474c7b48" providerId="ADAL" clId="{6ECD27E6-B224-41CD-B4E0-E297462320DD}" dt="2023-11-24T08:33:35.815" v="15754"/>
          <ac:spMkLst>
            <pc:docMk/>
            <pc:sldMk cId="1396980745" sldId="687"/>
            <ac:spMk id="105" creationId="{FA8A5A27-85EB-06D7-3A22-9DA47802DC7A}"/>
          </ac:spMkLst>
        </pc:spChg>
        <pc:spChg chg="add del mod">
          <ac:chgData name="Steiner Andreas 6206 ED" userId="e6377c33-a923-4f14-8587-531c474c7b48" providerId="ADAL" clId="{6ECD27E6-B224-41CD-B4E0-E297462320DD}" dt="2023-11-24T08:33:37.933" v="15909"/>
          <ac:spMkLst>
            <pc:docMk/>
            <pc:sldMk cId="1396980745" sldId="687"/>
            <ac:spMk id="106" creationId="{8060D17A-3279-D468-5989-0889A0C29798}"/>
          </ac:spMkLst>
        </pc:spChg>
        <pc:spChg chg="add del mod">
          <ac:chgData name="Steiner Andreas 6206 ED" userId="e6377c33-a923-4f14-8587-531c474c7b48" providerId="ADAL" clId="{6ECD27E6-B224-41CD-B4E0-E297462320DD}" dt="2023-11-24T08:33:40.257" v="16064"/>
          <ac:spMkLst>
            <pc:docMk/>
            <pc:sldMk cId="1396980745" sldId="687"/>
            <ac:spMk id="107" creationId="{CE02F47F-D3E8-0316-7DC9-BA206BFBC018}"/>
          </ac:spMkLst>
        </pc:spChg>
        <pc:spChg chg="add del mod">
          <ac:chgData name="Steiner Andreas 6206 ED" userId="e6377c33-a923-4f14-8587-531c474c7b48" providerId="ADAL" clId="{6ECD27E6-B224-41CD-B4E0-E297462320DD}" dt="2023-11-24T08:33:42.891" v="16219"/>
          <ac:spMkLst>
            <pc:docMk/>
            <pc:sldMk cId="1396980745" sldId="687"/>
            <ac:spMk id="108" creationId="{83F7091C-205E-08B0-1BA3-4294C71E6184}"/>
          </ac:spMkLst>
        </pc:spChg>
        <pc:spChg chg="add del mod">
          <ac:chgData name="Steiner Andreas 6206 ED" userId="e6377c33-a923-4f14-8587-531c474c7b48" providerId="ADAL" clId="{6ECD27E6-B224-41CD-B4E0-E297462320DD}" dt="2023-11-24T08:33:45.442" v="16374"/>
          <ac:spMkLst>
            <pc:docMk/>
            <pc:sldMk cId="1396980745" sldId="687"/>
            <ac:spMk id="109" creationId="{F6D3F5E3-9E73-7A6C-23C7-7A0145E55EC5}"/>
          </ac:spMkLst>
        </pc:spChg>
        <pc:spChg chg="add del mod">
          <ac:chgData name="Steiner Andreas 6206 ED" userId="e6377c33-a923-4f14-8587-531c474c7b48" providerId="ADAL" clId="{6ECD27E6-B224-41CD-B4E0-E297462320DD}" dt="2023-11-24T08:33:47.650" v="16529"/>
          <ac:spMkLst>
            <pc:docMk/>
            <pc:sldMk cId="1396980745" sldId="687"/>
            <ac:spMk id="110" creationId="{A23290A6-14CA-13C1-DE1D-F067728392B0}"/>
          </ac:spMkLst>
        </pc:spChg>
        <pc:spChg chg="add del mod">
          <ac:chgData name="Steiner Andreas 6206 ED" userId="e6377c33-a923-4f14-8587-531c474c7b48" providerId="ADAL" clId="{6ECD27E6-B224-41CD-B4E0-E297462320DD}" dt="2023-11-24T08:33:50.387" v="16684"/>
          <ac:spMkLst>
            <pc:docMk/>
            <pc:sldMk cId="1396980745" sldId="687"/>
            <ac:spMk id="111" creationId="{AAAFE501-E7B2-4233-5A35-8BC14429B117}"/>
          </ac:spMkLst>
        </pc:spChg>
        <pc:spChg chg="add del mod">
          <ac:chgData name="Steiner Andreas 6206 ED" userId="e6377c33-a923-4f14-8587-531c474c7b48" providerId="ADAL" clId="{6ECD27E6-B224-41CD-B4E0-E297462320DD}" dt="2023-11-24T08:33:52.779" v="16839"/>
          <ac:spMkLst>
            <pc:docMk/>
            <pc:sldMk cId="1396980745" sldId="687"/>
            <ac:spMk id="112" creationId="{EFA20511-6DD5-9DA6-37EF-4B00EAF18B04}"/>
          </ac:spMkLst>
        </pc:spChg>
        <pc:spChg chg="add del mod">
          <ac:chgData name="Steiner Andreas 6206 ED" userId="e6377c33-a923-4f14-8587-531c474c7b48" providerId="ADAL" clId="{6ECD27E6-B224-41CD-B4E0-E297462320DD}" dt="2023-11-24T08:33:54.941" v="16994"/>
          <ac:spMkLst>
            <pc:docMk/>
            <pc:sldMk cId="1396980745" sldId="687"/>
            <ac:spMk id="113" creationId="{0EDD2447-02B3-4BF6-BDF6-44936BC46561}"/>
          </ac:spMkLst>
        </pc:spChg>
        <pc:spChg chg="add del mod">
          <ac:chgData name="Steiner Andreas 6206 ED" userId="e6377c33-a923-4f14-8587-531c474c7b48" providerId="ADAL" clId="{6ECD27E6-B224-41CD-B4E0-E297462320DD}" dt="2023-11-24T08:33:57.318" v="17149"/>
          <ac:spMkLst>
            <pc:docMk/>
            <pc:sldMk cId="1396980745" sldId="687"/>
            <ac:spMk id="114" creationId="{F8806DD4-6D24-2A78-3444-5D58F1FD12C9}"/>
          </ac:spMkLst>
        </pc:spChg>
        <pc:spChg chg="add del mod">
          <ac:chgData name="Steiner Andreas 6206 ED" userId="e6377c33-a923-4f14-8587-531c474c7b48" providerId="ADAL" clId="{6ECD27E6-B224-41CD-B4E0-E297462320DD}" dt="2023-11-24T08:33:59.759" v="17304"/>
          <ac:spMkLst>
            <pc:docMk/>
            <pc:sldMk cId="1396980745" sldId="687"/>
            <ac:spMk id="115" creationId="{4C0AE441-92B4-987C-63E0-8486479B73CF}"/>
          </ac:spMkLst>
        </pc:spChg>
        <pc:spChg chg="add del mod">
          <ac:chgData name="Steiner Andreas 6206 ED" userId="e6377c33-a923-4f14-8587-531c474c7b48" providerId="ADAL" clId="{6ECD27E6-B224-41CD-B4E0-E297462320DD}" dt="2023-11-24T08:34:01.708" v="17459"/>
          <ac:spMkLst>
            <pc:docMk/>
            <pc:sldMk cId="1396980745" sldId="687"/>
            <ac:spMk id="116" creationId="{39798C1B-1D3C-DCC0-C61C-DDC6FD7F437C}"/>
          </ac:spMkLst>
        </pc:spChg>
        <pc:spChg chg="add del mod">
          <ac:chgData name="Steiner Andreas 6206 ED" userId="e6377c33-a923-4f14-8587-531c474c7b48" providerId="ADAL" clId="{6ECD27E6-B224-41CD-B4E0-E297462320DD}" dt="2023-11-24T08:34:04.130" v="17614"/>
          <ac:spMkLst>
            <pc:docMk/>
            <pc:sldMk cId="1396980745" sldId="687"/>
            <ac:spMk id="117" creationId="{C836ADDD-DA71-6DBE-B49B-103FCC41447E}"/>
          </ac:spMkLst>
        </pc:spChg>
        <pc:spChg chg="add del mod">
          <ac:chgData name="Steiner Andreas 6206 ED" userId="e6377c33-a923-4f14-8587-531c474c7b48" providerId="ADAL" clId="{6ECD27E6-B224-41CD-B4E0-E297462320DD}" dt="2023-11-24T08:34:05.984" v="17769"/>
          <ac:spMkLst>
            <pc:docMk/>
            <pc:sldMk cId="1396980745" sldId="687"/>
            <ac:spMk id="118" creationId="{AFFA5E72-ADAC-225C-AEBF-3AB4799EB5AC}"/>
          </ac:spMkLst>
        </pc:spChg>
        <pc:spChg chg="add del mod">
          <ac:chgData name="Steiner Andreas 6206 ED" userId="e6377c33-a923-4f14-8587-531c474c7b48" providerId="ADAL" clId="{6ECD27E6-B224-41CD-B4E0-E297462320DD}" dt="2023-11-24T08:34:08.095" v="17924"/>
          <ac:spMkLst>
            <pc:docMk/>
            <pc:sldMk cId="1396980745" sldId="687"/>
            <ac:spMk id="119" creationId="{815771AC-40B0-0DDB-BCFE-B86DB502318E}"/>
          </ac:spMkLst>
        </pc:spChg>
        <pc:spChg chg="add del mod">
          <ac:chgData name="Steiner Andreas 6206 ED" userId="e6377c33-a923-4f14-8587-531c474c7b48" providerId="ADAL" clId="{6ECD27E6-B224-41CD-B4E0-E297462320DD}" dt="2023-11-24T08:34:10.042" v="18079"/>
          <ac:spMkLst>
            <pc:docMk/>
            <pc:sldMk cId="1396980745" sldId="687"/>
            <ac:spMk id="120" creationId="{BE9FB684-77EA-E677-DD0A-CA2CC32110DC}"/>
          </ac:spMkLst>
        </pc:spChg>
        <pc:spChg chg="add del mod">
          <ac:chgData name="Steiner Andreas 6206 ED" userId="e6377c33-a923-4f14-8587-531c474c7b48" providerId="ADAL" clId="{6ECD27E6-B224-41CD-B4E0-E297462320DD}" dt="2023-11-24T08:34:12.146" v="18234"/>
          <ac:spMkLst>
            <pc:docMk/>
            <pc:sldMk cId="1396980745" sldId="687"/>
            <ac:spMk id="121" creationId="{29483F1C-4BAC-0578-BA08-4B3BD9229C55}"/>
          </ac:spMkLst>
        </pc:spChg>
        <pc:spChg chg="add del mod">
          <ac:chgData name="Steiner Andreas 6206 ED" userId="e6377c33-a923-4f14-8587-531c474c7b48" providerId="ADAL" clId="{6ECD27E6-B224-41CD-B4E0-E297462320DD}" dt="2023-11-24T08:34:14.450" v="18389"/>
          <ac:spMkLst>
            <pc:docMk/>
            <pc:sldMk cId="1396980745" sldId="687"/>
            <ac:spMk id="122" creationId="{1D635001-B5A2-EEEB-2DC8-73A880C26612}"/>
          </ac:spMkLst>
        </pc:spChg>
        <pc:spChg chg="add del mod">
          <ac:chgData name="Steiner Andreas 6206 ED" userId="e6377c33-a923-4f14-8587-531c474c7b48" providerId="ADAL" clId="{6ECD27E6-B224-41CD-B4E0-E297462320DD}" dt="2023-11-24T08:34:16.497" v="18544"/>
          <ac:spMkLst>
            <pc:docMk/>
            <pc:sldMk cId="1396980745" sldId="687"/>
            <ac:spMk id="123" creationId="{1F3D9057-8FFA-C689-01FE-EC6D923ABC2C}"/>
          </ac:spMkLst>
        </pc:spChg>
        <pc:spChg chg="add del mod">
          <ac:chgData name="Steiner Andreas 6206 ED" userId="e6377c33-a923-4f14-8587-531c474c7b48" providerId="ADAL" clId="{6ECD27E6-B224-41CD-B4E0-E297462320DD}" dt="2023-11-24T08:34:18.726" v="18699"/>
          <ac:spMkLst>
            <pc:docMk/>
            <pc:sldMk cId="1396980745" sldId="687"/>
            <ac:spMk id="124" creationId="{24A701B0-B652-E80C-0306-3B79442144D9}"/>
          </ac:spMkLst>
        </pc:spChg>
        <pc:spChg chg="add del mod">
          <ac:chgData name="Steiner Andreas 6206 ED" userId="e6377c33-a923-4f14-8587-531c474c7b48" providerId="ADAL" clId="{6ECD27E6-B224-41CD-B4E0-E297462320DD}" dt="2023-11-24T08:34:20.803" v="18854"/>
          <ac:spMkLst>
            <pc:docMk/>
            <pc:sldMk cId="1396980745" sldId="687"/>
            <ac:spMk id="125" creationId="{5330A4C3-16B0-5EF3-57BA-96E335C7FB50}"/>
          </ac:spMkLst>
        </pc:spChg>
        <pc:spChg chg="add del mod">
          <ac:chgData name="Steiner Andreas 6206 ED" userId="e6377c33-a923-4f14-8587-531c474c7b48" providerId="ADAL" clId="{6ECD27E6-B224-41CD-B4E0-E297462320DD}" dt="2023-11-24T08:34:22.914" v="19009"/>
          <ac:spMkLst>
            <pc:docMk/>
            <pc:sldMk cId="1396980745" sldId="687"/>
            <ac:spMk id="126" creationId="{9D5E337D-45B9-C84C-0F99-3BCAA4D4BACB}"/>
          </ac:spMkLst>
        </pc:spChg>
        <pc:spChg chg="add del mod">
          <ac:chgData name="Steiner Andreas 6206 ED" userId="e6377c33-a923-4f14-8587-531c474c7b48" providerId="ADAL" clId="{6ECD27E6-B224-41CD-B4E0-E297462320DD}" dt="2023-11-24T08:34:26.192" v="19164"/>
          <ac:spMkLst>
            <pc:docMk/>
            <pc:sldMk cId="1396980745" sldId="687"/>
            <ac:spMk id="127" creationId="{1C2F23D0-A613-5A10-F48C-3F386EFAC18D}"/>
          </ac:spMkLst>
        </pc:spChg>
        <pc:spChg chg="add del mod">
          <ac:chgData name="Steiner Andreas 6206 ED" userId="e6377c33-a923-4f14-8587-531c474c7b48" providerId="ADAL" clId="{6ECD27E6-B224-41CD-B4E0-E297462320DD}" dt="2023-11-24T08:34:28.846" v="19319"/>
          <ac:spMkLst>
            <pc:docMk/>
            <pc:sldMk cId="1396980745" sldId="687"/>
            <ac:spMk id="128" creationId="{4D6A138B-0262-FCD2-BAD5-0CCE6716372E}"/>
          </ac:spMkLst>
        </pc:spChg>
        <pc:spChg chg="add del mod">
          <ac:chgData name="Steiner Andreas 6206 ED" userId="e6377c33-a923-4f14-8587-531c474c7b48" providerId="ADAL" clId="{6ECD27E6-B224-41CD-B4E0-E297462320DD}" dt="2023-11-24T08:34:31.477" v="19474"/>
          <ac:spMkLst>
            <pc:docMk/>
            <pc:sldMk cId="1396980745" sldId="687"/>
            <ac:spMk id="129" creationId="{C153B2EB-D5E3-05D2-C576-94DC4196397E}"/>
          </ac:spMkLst>
        </pc:spChg>
        <pc:spChg chg="add del mod">
          <ac:chgData name="Steiner Andreas 6206 ED" userId="e6377c33-a923-4f14-8587-531c474c7b48" providerId="ADAL" clId="{6ECD27E6-B224-41CD-B4E0-E297462320DD}" dt="2023-11-24T08:34:33.662" v="19629"/>
          <ac:spMkLst>
            <pc:docMk/>
            <pc:sldMk cId="1396980745" sldId="687"/>
            <ac:spMk id="130" creationId="{7594AD19-4EED-AE62-321D-BCBDB81D3E69}"/>
          </ac:spMkLst>
        </pc:spChg>
        <pc:spChg chg="add del mod">
          <ac:chgData name="Steiner Andreas 6206 ED" userId="e6377c33-a923-4f14-8587-531c474c7b48" providerId="ADAL" clId="{6ECD27E6-B224-41CD-B4E0-E297462320DD}" dt="2023-11-24T08:34:35.926" v="19784"/>
          <ac:spMkLst>
            <pc:docMk/>
            <pc:sldMk cId="1396980745" sldId="687"/>
            <ac:spMk id="131" creationId="{3DE4BA92-1E81-40E9-94DD-58DA377570B6}"/>
          </ac:spMkLst>
        </pc:spChg>
        <pc:spChg chg="add del mod">
          <ac:chgData name="Steiner Andreas 6206 ED" userId="e6377c33-a923-4f14-8587-531c474c7b48" providerId="ADAL" clId="{6ECD27E6-B224-41CD-B4E0-E297462320DD}" dt="2023-11-24T08:34:38.176" v="19939"/>
          <ac:spMkLst>
            <pc:docMk/>
            <pc:sldMk cId="1396980745" sldId="687"/>
            <ac:spMk id="132" creationId="{6004F42E-58E3-E466-8D3C-5F56603B689D}"/>
          </ac:spMkLst>
        </pc:spChg>
        <pc:spChg chg="add del mod">
          <ac:chgData name="Steiner Andreas 6206 ED" userId="e6377c33-a923-4f14-8587-531c474c7b48" providerId="ADAL" clId="{6ECD27E6-B224-41CD-B4E0-E297462320DD}" dt="2023-11-24T08:34:40.451" v="20094"/>
          <ac:spMkLst>
            <pc:docMk/>
            <pc:sldMk cId="1396980745" sldId="687"/>
            <ac:spMk id="133" creationId="{B75AE2F2-CDA4-F218-DE7C-956AFFDAE58D}"/>
          </ac:spMkLst>
        </pc:spChg>
        <pc:spChg chg="add del mod">
          <ac:chgData name="Steiner Andreas 6206 ED" userId="e6377c33-a923-4f14-8587-531c474c7b48" providerId="ADAL" clId="{6ECD27E6-B224-41CD-B4E0-E297462320DD}" dt="2023-11-24T08:34:43.219" v="20249"/>
          <ac:spMkLst>
            <pc:docMk/>
            <pc:sldMk cId="1396980745" sldId="687"/>
            <ac:spMk id="134" creationId="{DB4AC885-10A7-27A6-8AA8-ACE8736F0670}"/>
          </ac:spMkLst>
        </pc:spChg>
        <pc:spChg chg="add del mod">
          <ac:chgData name="Steiner Andreas 6206 ED" userId="e6377c33-a923-4f14-8587-531c474c7b48" providerId="ADAL" clId="{6ECD27E6-B224-41CD-B4E0-E297462320DD}" dt="2023-11-24T08:34:45.541" v="20404"/>
          <ac:spMkLst>
            <pc:docMk/>
            <pc:sldMk cId="1396980745" sldId="687"/>
            <ac:spMk id="135" creationId="{6A4C61BB-2C47-FFDB-58DB-D035DCAD31CC}"/>
          </ac:spMkLst>
        </pc:spChg>
        <pc:spChg chg="add del mod">
          <ac:chgData name="Steiner Andreas 6206 ED" userId="e6377c33-a923-4f14-8587-531c474c7b48" providerId="ADAL" clId="{6ECD27E6-B224-41CD-B4E0-E297462320DD}" dt="2023-11-24T08:34:47.798" v="20559"/>
          <ac:spMkLst>
            <pc:docMk/>
            <pc:sldMk cId="1396980745" sldId="687"/>
            <ac:spMk id="136" creationId="{1DE124DB-CB4B-8296-B262-87EFA137849D}"/>
          </ac:spMkLst>
        </pc:spChg>
        <pc:spChg chg="add del mod">
          <ac:chgData name="Steiner Andreas 6206 ED" userId="e6377c33-a923-4f14-8587-531c474c7b48" providerId="ADAL" clId="{6ECD27E6-B224-41CD-B4E0-E297462320DD}" dt="2023-11-24T08:34:50.213" v="20714"/>
          <ac:spMkLst>
            <pc:docMk/>
            <pc:sldMk cId="1396980745" sldId="687"/>
            <ac:spMk id="137" creationId="{62657C2C-AC1E-0D68-01EF-FA0F5D884AFD}"/>
          </ac:spMkLst>
        </pc:spChg>
        <pc:spChg chg="add del mod">
          <ac:chgData name="Steiner Andreas 6206 ED" userId="e6377c33-a923-4f14-8587-531c474c7b48" providerId="ADAL" clId="{6ECD27E6-B224-41CD-B4E0-E297462320DD}" dt="2023-11-24T08:34:52.781" v="20869"/>
          <ac:spMkLst>
            <pc:docMk/>
            <pc:sldMk cId="1396980745" sldId="687"/>
            <ac:spMk id="138" creationId="{50A47358-7A99-3A20-8BC9-21B61D1B6B86}"/>
          </ac:spMkLst>
        </pc:spChg>
        <pc:spChg chg="add del mod">
          <ac:chgData name="Steiner Andreas 6206 ED" userId="e6377c33-a923-4f14-8587-531c474c7b48" providerId="ADAL" clId="{6ECD27E6-B224-41CD-B4E0-E297462320DD}" dt="2023-11-24T08:34:55.268" v="21024"/>
          <ac:spMkLst>
            <pc:docMk/>
            <pc:sldMk cId="1396980745" sldId="687"/>
            <ac:spMk id="139" creationId="{E88CF610-A7E4-B23F-B9C8-FF6419863253}"/>
          </ac:spMkLst>
        </pc:spChg>
        <pc:spChg chg="add del mod">
          <ac:chgData name="Steiner Andreas 6206 ED" userId="e6377c33-a923-4f14-8587-531c474c7b48" providerId="ADAL" clId="{6ECD27E6-B224-41CD-B4E0-E297462320DD}" dt="2023-11-24T08:34:57.560" v="21179"/>
          <ac:spMkLst>
            <pc:docMk/>
            <pc:sldMk cId="1396980745" sldId="687"/>
            <ac:spMk id="140" creationId="{6E482390-32B7-0913-F90A-D008C954FBF8}"/>
          </ac:spMkLst>
        </pc:spChg>
        <pc:spChg chg="add del mod">
          <ac:chgData name="Steiner Andreas 6206 ED" userId="e6377c33-a923-4f14-8587-531c474c7b48" providerId="ADAL" clId="{6ECD27E6-B224-41CD-B4E0-E297462320DD}" dt="2023-11-24T08:35:00.101" v="21334"/>
          <ac:spMkLst>
            <pc:docMk/>
            <pc:sldMk cId="1396980745" sldId="687"/>
            <ac:spMk id="141" creationId="{EB632285-0B25-8409-96A5-C238C38EE1B3}"/>
          </ac:spMkLst>
        </pc:spChg>
        <pc:spChg chg="add del mod">
          <ac:chgData name="Steiner Andreas 6206 ED" userId="e6377c33-a923-4f14-8587-531c474c7b48" providerId="ADAL" clId="{6ECD27E6-B224-41CD-B4E0-E297462320DD}" dt="2023-11-24T08:35:02.760" v="21489"/>
          <ac:spMkLst>
            <pc:docMk/>
            <pc:sldMk cId="1396980745" sldId="687"/>
            <ac:spMk id="142" creationId="{FBA426E5-EA4D-EFB6-9D1C-8FE2D07F06F1}"/>
          </ac:spMkLst>
        </pc:spChg>
        <pc:spChg chg="add del mod">
          <ac:chgData name="Steiner Andreas 6206 ED" userId="e6377c33-a923-4f14-8587-531c474c7b48" providerId="ADAL" clId="{6ECD27E6-B224-41CD-B4E0-E297462320DD}" dt="2023-11-24T08:35:05.231" v="21644"/>
          <ac:spMkLst>
            <pc:docMk/>
            <pc:sldMk cId="1396980745" sldId="687"/>
            <ac:spMk id="143" creationId="{186C14B8-0A0B-3E9B-FCA6-A708F30879B4}"/>
          </ac:spMkLst>
        </pc:spChg>
        <pc:spChg chg="add del mod">
          <ac:chgData name="Steiner Andreas 6206 ED" userId="e6377c33-a923-4f14-8587-531c474c7b48" providerId="ADAL" clId="{6ECD27E6-B224-41CD-B4E0-E297462320DD}" dt="2023-11-24T08:35:07.747" v="21799"/>
          <ac:spMkLst>
            <pc:docMk/>
            <pc:sldMk cId="1396980745" sldId="687"/>
            <ac:spMk id="144" creationId="{F2877D29-C982-6E9A-D74B-B25D8514FF6F}"/>
          </ac:spMkLst>
        </pc:spChg>
        <pc:spChg chg="add del mod">
          <ac:chgData name="Steiner Andreas 6206 ED" userId="e6377c33-a923-4f14-8587-531c474c7b48" providerId="ADAL" clId="{6ECD27E6-B224-41CD-B4E0-E297462320DD}" dt="2023-11-24T08:35:10.267" v="21954"/>
          <ac:spMkLst>
            <pc:docMk/>
            <pc:sldMk cId="1396980745" sldId="687"/>
            <ac:spMk id="145" creationId="{7F6388FE-8032-61AC-77A5-5492BD95B98E}"/>
          </ac:spMkLst>
        </pc:spChg>
        <pc:spChg chg="add del mod">
          <ac:chgData name="Steiner Andreas 6206 ED" userId="e6377c33-a923-4f14-8587-531c474c7b48" providerId="ADAL" clId="{6ECD27E6-B224-41CD-B4E0-E297462320DD}" dt="2023-11-24T08:35:12.689" v="22109"/>
          <ac:spMkLst>
            <pc:docMk/>
            <pc:sldMk cId="1396980745" sldId="687"/>
            <ac:spMk id="146" creationId="{EF811D0C-830E-741E-0DD6-F9D652B8DEC3}"/>
          </ac:spMkLst>
        </pc:spChg>
        <pc:spChg chg="add del mod">
          <ac:chgData name="Steiner Andreas 6206 ED" userId="e6377c33-a923-4f14-8587-531c474c7b48" providerId="ADAL" clId="{6ECD27E6-B224-41CD-B4E0-E297462320DD}" dt="2023-11-24T08:35:14.774" v="22264"/>
          <ac:spMkLst>
            <pc:docMk/>
            <pc:sldMk cId="1396980745" sldId="687"/>
            <ac:spMk id="147" creationId="{50369A30-94A3-ED4C-958F-3A37862E6AD9}"/>
          </ac:spMkLst>
        </pc:spChg>
        <pc:spChg chg="add del mod">
          <ac:chgData name="Steiner Andreas 6206 ED" userId="e6377c33-a923-4f14-8587-531c474c7b48" providerId="ADAL" clId="{6ECD27E6-B224-41CD-B4E0-E297462320DD}" dt="2023-11-24T08:35:17.165" v="22419"/>
          <ac:spMkLst>
            <pc:docMk/>
            <pc:sldMk cId="1396980745" sldId="687"/>
            <ac:spMk id="148" creationId="{514F0F58-6A71-9CC9-3239-97623B3EF33B}"/>
          </ac:spMkLst>
        </pc:spChg>
        <pc:spChg chg="add del mod">
          <ac:chgData name="Steiner Andreas 6206 ED" userId="e6377c33-a923-4f14-8587-531c474c7b48" providerId="ADAL" clId="{6ECD27E6-B224-41CD-B4E0-E297462320DD}" dt="2023-11-24T08:35:19.604" v="22574"/>
          <ac:spMkLst>
            <pc:docMk/>
            <pc:sldMk cId="1396980745" sldId="687"/>
            <ac:spMk id="149" creationId="{1D88D4B5-7312-17A4-7337-A1922AFBC069}"/>
          </ac:spMkLst>
        </pc:spChg>
        <pc:spChg chg="add del mod">
          <ac:chgData name="Steiner Andreas 6206 ED" userId="e6377c33-a923-4f14-8587-531c474c7b48" providerId="ADAL" clId="{6ECD27E6-B224-41CD-B4E0-E297462320DD}" dt="2023-11-24T08:35:22.038" v="22729"/>
          <ac:spMkLst>
            <pc:docMk/>
            <pc:sldMk cId="1396980745" sldId="687"/>
            <ac:spMk id="150" creationId="{2FBC063D-7FA7-82DA-378B-E748FB482ACF}"/>
          </ac:spMkLst>
        </pc:spChg>
        <pc:spChg chg="add del mod">
          <ac:chgData name="Steiner Andreas 6206 ED" userId="e6377c33-a923-4f14-8587-531c474c7b48" providerId="ADAL" clId="{6ECD27E6-B224-41CD-B4E0-E297462320DD}" dt="2023-11-24T08:35:24.352" v="22884"/>
          <ac:spMkLst>
            <pc:docMk/>
            <pc:sldMk cId="1396980745" sldId="687"/>
            <ac:spMk id="151" creationId="{26A775A7-A989-A775-8E1D-BABDAD3525B1}"/>
          </ac:spMkLst>
        </pc:spChg>
        <pc:spChg chg="add del mod">
          <ac:chgData name="Steiner Andreas 6206 ED" userId="e6377c33-a923-4f14-8587-531c474c7b48" providerId="ADAL" clId="{6ECD27E6-B224-41CD-B4E0-E297462320DD}" dt="2023-11-24T08:35:27.014" v="23039"/>
          <ac:spMkLst>
            <pc:docMk/>
            <pc:sldMk cId="1396980745" sldId="687"/>
            <ac:spMk id="152" creationId="{939B9027-A4D4-6D1F-97C7-402C7ABD8252}"/>
          </ac:spMkLst>
        </pc:spChg>
        <pc:spChg chg="add del mod">
          <ac:chgData name="Steiner Andreas 6206 ED" userId="e6377c33-a923-4f14-8587-531c474c7b48" providerId="ADAL" clId="{6ECD27E6-B224-41CD-B4E0-E297462320DD}" dt="2023-11-24T08:35:29.736" v="23194"/>
          <ac:spMkLst>
            <pc:docMk/>
            <pc:sldMk cId="1396980745" sldId="687"/>
            <ac:spMk id="153" creationId="{B62BDB62-E65D-F1F6-E898-786A18FD9524}"/>
          </ac:spMkLst>
        </pc:spChg>
        <pc:spChg chg="add del mod">
          <ac:chgData name="Steiner Andreas 6206 ED" userId="e6377c33-a923-4f14-8587-531c474c7b48" providerId="ADAL" clId="{6ECD27E6-B224-41CD-B4E0-E297462320DD}" dt="2023-11-24T08:35:32.084" v="23349"/>
          <ac:spMkLst>
            <pc:docMk/>
            <pc:sldMk cId="1396980745" sldId="687"/>
            <ac:spMk id="154" creationId="{942EF823-CEEF-91F5-3951-0A38342B1724}"/>
          </ac:spMkLst>
        </pc:spChg>
        <pc:spChg chg="add del mod">
          <ac:chgData name="Steiner Andreas 6206 ED" userId="e6377c33-a923-4f14-8587-531c474c7b48" providerId="ADAL" clId="{6ECD27E6-B224-41CD-B4E0-E297462320DD}" dt="2023-11-24T08:35:34.488" v="23504"/>
          <ac:spMkLst>
            <pc:docMk/>
            <pc:sldMk cId="1396980745" sldId="687"/>
            <ac:spMk id="155" creationId="{1737F6FA-113F-9FEB-3E33-007671E3F4EB}"/>
          </ac:spMkLst>
        </pc:spChg>
        <pc:spChg chg="add del mod">
          <ac:chgData name="Steiner Andreas 6206 ED" userId="e6377c33-a923-4f14-8587-531c474c7b48" providerId="ADAL" clId="{6ECD27E6-B224-41CD-B4E0-E297462320DD}" dt="2023-11-24T08:35:36.807" v="23659"/>
          <ac:spMkLst>
            <pc:docMk/>
            <pc:sldMk cId="1396980745" sldId="687"/>
            <ac:spMk id="156" creationId="{EB3E23DB-CB0C-1958-BA81-F649A2DC92D6}"/>
          </ac:spMkLst>
        </pc:spChg>
        <pc:spChg chg="add del mod">
          <ac:chgData name="Steiner Andreas 6206 ED" userId="e6377c33-a923-4f14-8587-531c474c7b48" providerId="ADAL" clId="{6ECD27E6-B224-41CD-B4E0-E297462320DD}" dt="2023-11-24T08:35:39.212" v="23814"/>
          <ac:spMkLst>
            <pc:docMk/>
            <pc:sldMk cId="1396980745" sldId="687"/>
            <ac:spMk id="157" creationId="{2910C9DC-D43A-5B86-07E7-698B3C94CCA3}"/>
          </ac:spMkLst>
        </pc:spChg>
        <pc:spChg chg="add del mod">
          <ac:chgData name="Steiner Andreas 6206 ED" userId="e6377c33-a923-4f14-8587-531c474c7b48" providerId="ADAL" clId="{6ECD27E6-B224-41CD-B4E0-E297462320DD}" dt="2023-11-24T08:35:41.881" v="23969"/>
          <ac:spMkLst>
            <pc:docMk/>
            <pc:sldMk cId="1396980745" sldId="687"/>
            <ac:spMk id="158" creationId="{3EDAEF7D-7348-6A30-BC68-4A4538B960F9}"/>
          </ac:spMkLst>
        </pc:spChg>
        <pc:spChg chg="add del mod">
          <ac:chgData name="Steiner Andreas 6206 ED" userId="e6377c33-a923-4f14-8587-531c474c7b48" providerId="ADAL" clId="{6ECD27E6-B224-41CD-B4E0-E297462320DD}" dt="2023-11-24T08:35:44.346" v="24124"/>
          <ac:spMkLst>
            <pc:docMk/>
            <pc:sldMk cId="1396980745" sldId="687"/>
            <ac:spMk id="159" creationId="{A433C806-9DBA-8375-BA11-07D00BCC6923}"/>
          </ac:spMkLst>
        </pc:spChg>
        <pc:spChg chg="add del mod">
          <ac:chgData name="Steiner Andreas 6206 ED" userId="e6377c33-a923-4f14-8587-531c474c7b48" providerId="ADAL" clId="{6ECD27E6-B224-41CD-B4E0-E297462320DD}" dt="2023-11-24T08:35:46.617" v="24279"/>
          <ac:spMkLst>
            <pc:docMk/>
            <pc:sldMk cId="1396980745" sldId="687"/>
            <ac:spMk id="160" creationId="{F9DE0377-A63E-B60F-D4BC-E628BB07650D}"/>
          </ac:spMkLst>
        </pc:spChg>
        <pc:spChg chg="add del mod">
          <ac:chgData name="Steiner Andreas 6206 ED" userId="e6377c33-a923-4f14-8587-531c474c7b48" providerId="ADAL" clId="{6ECD27E6-B224-41CD-B4E0-E297462320DD}" dt="2023-11-24T08:35:48.847" v="24434"/>
          <ac:spMkLst>
            <pc:docMk/>
            <pc:sldMk cId="1396980745" sldId="687"/>
            <ac:spMk id="161" creationId="{4FE5C893-7456-582A-2DBE-D6DB1C22EAE8}"/>
          </ac:spMkLst>
        </pc:spChg>
        <pc:spChg chg="add del mod">
          <ac:chgData name="Steiner Andreas 6206 ED" userId="e6377c33-a923-4f14-8587-531c474c7b48" providerId="ADAL" clId="{6ECD27E6-B224-41CD-B4E0-E297462320DD}" dt="2023-11-24T08:35:51.144" v="24589"/>
          <ac:spMkLst>
            <pc:docMk/>
            <pc:sldMk cId="1396980745" sldId="687"/>
            <ac:spMk id="162" creationId="{50A34A89-5364-8265-B53B-4B94997E9AD9}"/>
          </ac:spMkLst>
        </pc:spChg>
        <pc:spChg chg="add del mod">
          <ac:chgData name="Steiner Andreas 6206 ED" userId="e6377c33-a923-4f14-8587-531c474c7b48" providerId="ADAL" clId="{6ECD27E6-B224-41CD-B4E0-E297462320DD}" dt="2023-11-24T08:35:54.038" v="24744"/>
          <ac:spMkLst>
            <pc:docMk/>
            <pc:sldMk cId="1396980745" sldId="687"/>
            <ac:spMk id="163" creationId="{79BDC9F1-ABC3-9BB7-670A-1954AC456134}"/>
          </ac:spMkLst>
        </pc:spChg>
        <pc:spChg chg="add del mod">
          <ac:chgData name="Steiner Andreas 6206 ED" userId="e6377c33-a923-4f14-8587-531c474c7b48" providerId="ADAL" clId="{6ECD27E6-B224-41CD-B4E0-E297462320DD}" dt="2023-11-24T08:35:56.533" v="24899"/>
          <ac:spMkLst>
            <pc:docMk/>
            <pc:sldMk cId="1396980745" sldId="687"/>
            <ac:spMk id="164" creationId="{D34B306D-CE5E-4DF7-599C-9DA93851CAB9}"/>
          </ac:spMkLst>
        </pc:spChg>
        <pc:spChg chg="add del mod">
          <ac:chgData name="Steiner Andreas 6206 ED" userId="e6377c33-a923-4f14-8587-531c474c7b48" providerId="ADAL" clId="{6ECD27E6-B224-41CD-B4E0-E297462320DD}" dt="2023-11-24T08:35:59.078" v="25054"/>
          <ac:spMkLst>
            <pc:docMk/>
            <pc:sldMk cId="1396980745" sldId="687"/>
            <ac:spMk id="165" creationId="{05789B67-7163-85E8-7795-B75589BA35C4}"/>
          </ac:spMkLst>
        </pc:spChg>
        <pc:spChg chg="add del mod">
          <ac:chgData name="Steiner Andreas 6206 ED" userId="e6377c33-a923-4f14-8587-531c474c7b48" providerId="ADAL" clId="{6ECD27E6-B224-41CD-B4E0-E297462320DD}" dt="2023-11-24T08:36:01.569" v="25209"/>
          <ac:spMkLst>
            <pc:docMk/>
            <pc:sldMk cId="1396980745" sldId="687"/>
            <ac:spMk id="166" creationId="{34F2B9BE-25B4-4CFC-75DE-0D28E2329F44}"/>
          </ac:spMkLst>
        </pc:spChg>
        <pc:spChg chg="add del mod">
          <ac:chgData name="Steiner Andreas 6206 ED" userId="e6377c33-a923-4f14-8587-531c474c7b48" providerId="ADAL" clId="{6ECD27E6-B224-41CD-B4E0-E297462320DD}" dt="2023-11-24T08:36:04.141" v="25364"/>
          <ac:spMkLst>
            <pc:docMk/>
            <pc:sldMk cId="1396980745" sldId="687"/>
            <ac:spMk id="167" creationId="{3F1DA51A-3145-4C99-329B-17E954122E63}"/>
          </ac:spMkLst>
        </pc:spChg>
        <pc:spChg chg="add del mod">
          <ac:chgData name="Steiner Andreas 6206 ED" userId="e6377c33-a923-4f14-8587-531c474c7b48" providerId="ADAL" clId="{6ECD27E6-B224-41CD-B4E0-E297462320DD}" dt="2023-11-24T08:36:06.677" v="25519"/>
          <ac:spMkLst>
            <pc:docMk/>
            <pc:sldMk cId="1396980745" sldId="687"/>
            <ac:spMk id="168" creationId="{E9A45BAB-FDA7-AA03-E29C-E95BCA21E34A}"/>
          </ac:spMkLst>
        </pc:spChg>
        <pc:spChg chg="add del mod">
          <ac:chgData name="Steiner Andreas 6206 ED" userId="e6377c33-a923-4f14-8587-531c474c7b48" providerId="ADAL" clId="{6ECD27E6-B224-41CD-B4E0-E297462320DD}" dt="2023-11-24T08:36:09.195" v="25674"/>
          <ac:spMkLst>
            <pc:docMk/>
            <pc:sldMk cId="1396980745" sldId="687"/>
            <ac:spMk id="169" creationId="{B92025BD-A672-7514-FF5B-647FED08AF09}"/>
          </ac:spMkLst>
        </pc:spChg>
        <pc:spChg chg="add del mod">
          <ac:chgData name="Steiner Andreas 6206 ED" userId="e6377c33-a923-4f14-8587-531c474c7b48" providerId="ADAL" clId="{6ECD27E6-B224-41CD-B4E0-E297462320DD}" dt="2023-11-24T08:36:11.733" v="25829"/>
          <ac:spMkLst>
            <pc:docMk/>
            <pc:sldMk cId="1396980745" sldId="687"/>
            <ac:spMk id="170" creationId="{5D1CED48-56B8-AC75-B581-ED9425D90C60}"/>
          </ac:spMkLst>
        </pc:spChg>
        <pc:spChg chg="add del mod">
          <ac:chgData name="Steiner Andreas 6206 ED" userId="e6377c33-a923-4f14-8587-531c474c7b48" providerId="ADAL" clId="{6ECD27E6-B224-41CD-B4E0-E297462320DD}" dt="2023-11-24T08:36:14.116" v="25984"/>
          <ac:spMkLst>
            <pc:docMk/>
            <pc:sldMk cId="1396980745" sldId="687"/>
            <ac:spMk id="171" creationId="{8328D1B4-E034-0307-C66F-FEF9272FB6E7}"/>
          </ac:spMkLst>
        </pc:spChg>
        <pc:spChg chg="add del mod">
          <ac:chgData name="Steiner Andreas 6206 ED" userId="e6377c33-a923-4f14-8587-531c474c7b48" providerId="ADAL" clId="{6ECD27E6-B224-41CD-B4E0-E297462320DD}" dt="2023-11-24T08:36:16.924" v="26139"/>
          <ac:spMkLst>
            <pc:docMk/>
            <pc:sldMk cId="1396980745" sldId="687"/>
            <ac:spMk id="172" creationId="{1D763821-F029-C300-F18C-EED0ED264E8D}"/>
          </ac:spMkLst>
        </pc:spChg>
        <pc:spChg chg="add del mod">
          <ac:chgData name="Steiner Andreas 6206 ED" userId="e6377c33-a923-4f14-8587-531c474c7b48" providerId="ADAL" clId="{6ECD27E6-B224-41CD-B4E0-E297462320DD}" dt="2023-11-24T08:36:19.357" v="26294"/>
          <ac:spMkLst>
            <pc:docMk/>
            <pc:sldMk cId="1396980745" sldId="687"/>
            <ac:spMk id="173" creationId="{B6A29EDA-2D5E-866A-656B-F871D39064DB}"/>
          </ac:spMkLst>
        </pc:spChg>
        <pc:spChg chg="add del mod">
          <ac:chgData name="Steiner Andreas 6206 ED" userId="e6377c33-a923-4f14-8587-531c474c7b48" providerId="ADAL" clId="{6ECD27E6-B224-41CD-B4E0-E297462320DD}" dt="2023-11-24T08:36:21.600" v="26449"/>
          <ac:spMkLst>
            <pc:docMk/>
            <pc:sldMk cId="1396980745" sldId="687"/>
            <ac:spMk id="174" creationId="{2F36B225-65B1-D304-7BEC-C97BC13D63B8}"/>
          </ac:spMkLst>
        </pc:spChg>
        <pc:spChg chg="add del mod">
          <ac:chgData name="Steiner Andreas 6206 ED" userId="e6377c33-a923-4f14-8587-531c474c7b48" providerId="ADAL" clId="{6ECD27E6-B224-41CD-B4E0-E297462320DD}" dt="2023-11-24T08:36:24.109" v="26604"/>
          <ac:spMkLst>
            <pc:docMk/>
            <pc:sldMk cId="1396980745" sldId="687"/>
            <ac:spMk id="175" creationId="{287E97C0-2C81-0AE7-BDEA-8588A8F5FCD6}"/>
          </ac:spMkLst>
        </pc:spChg>
        <pc:spChg chg="add del mod">
          <ac:chgData name="Steiner Andreas 6206 ED" userId="e6377c33-a923-4f14-8587-531c474c7b48" providerId="ADAL" clId="{6ECD27E6-B224-41CD-B4E0-E297462320DD}" dt="2023-11-24T08:36:26.630" v="26759"/>
          <ac:spMkLst>
            <pc:docMk/>
            <pc:sldMk cId="1396980745" sldId="687"/>
            <ac:spMk id="176" creationId="{2913E454-FD38-F026-CFC5-0A685CA9A4F3}"/>
          </ac:spMkLst>
        </pc:spChg>
        <pc:spChg chg="add del mod">
          <ac:chgData name="Steiner Andreas 6206 ED" userId="e6377c33-a923-4f14-8587-531c474c7b48" providerId="ADAL" clId="{6ECD27E6-B224-41CD-B4E0-E297462320DD}" dt="2023-11-24T08:36:29.548" v="26914"/>
          <ac:spMkLst>
            <pc:docMk/>
            <pc:sldMk cId="1396980745" sldId="687"/>
            <ac:spMk id="177" creationId="{F902BDE3-F2E1-EE22-55E2-91AD8DA86583}"/>
          </ac:spMkLst>
        </pc:spChg>
        <pc:spChg chg="add del mod">
          <ac:chgData name="Steiner Andreas 6206 ED" userId="e6377c33-a923-4f14-8587-531c474c7b48" providerId="ADAL" clId="{6ECD27E6-B224-41CD-B4E0-E297462320DD}" dt="2023-11-24T08:36:32.243" v="27069"/>
          <ac:spMkLst>
            <pc:docMk/>
            <pc:sldMk cId="1396980745" sldId="687"/>
            <ac:spMk id="178" creationId="{7C52E619-54F2-7C2E-A054-F35EE6F1F937}"/>
          </ac:spMkLst>
        </pc:spChg>
        <pc:spChg chg="add del mod">
          <ac:chgData name="Steiner Andreas 6206 ED" userId="e6377c33-a923-4f14-8587-531c474c7b48" providerId="ADAL" clId="{6ECD27E6-B224-41CD-B4E0-E297462320DD}" dt="2023-11-24T08:36:34.781" v="27224"/>
          <ac:spMkLst>
            <pc:docMk/>
            <pc:sldMk cId="1396980745" sldId="687"/>
            <ac:spMk id="179" creationId="{8ABB6B0B-325C-C7D3-3BE0-E434A5FBF7B5}"/>
          </ac:spMkLst>
        </pc:spChg>
        <pc:spChg chg="add del mod">
          <ac:chgData name="Steiner Andreas 6206 ED" userId="e6377c33-a923-4f14-8587-531c474c7b48" providerId="ADAL" clId="{6ECD27E6-B224-41CD-B4E0-E297462320DD}" dt="2023-11-24T08:36:37.310" v="27379"/>
          <ac:spMkLst>
            <pc:docMk/>
            <pc:sldMk cId="1396980745" sldId="687"/>
            <ac:spMk id="180" creationId="{297F2C0A-66AD-D860-86D9-FFFB9652C821}"/>
          </ac:spMkLst>
        </pc:spChg>
        <pc:spChg chg="add del mod">
          <ac:chgData name="Steiner Andreas 6206 ED" userId="e6377c33-a923-4f14-8587-531c474c7b48" providerId="ADAL" clId="{6ECD27E6-B224-41CD-B4E0-E297462320DD}" dt="2023-11-24T08:36:39.883" v="27534"/>
          <ac:spMkLst>
            <pc:docMk/>
            <pc:sldMk cId="1396980745" sldId="687"/>
            <ac:spMk id="181" creationId="{F8587A29-D212-CDB1-1FB6-919D5EB781D0}"/>
          </ac:spMkLst>
        </pc:spChg>
        <pc:spChg chg="add del mod">
          <ac:chgData name="Steiner Andreas 6206 ED" userId="e6377c33-a923-4f14-8587-531c474c7b48" providerId="ADAL" clId="{6ECD27E6-B224-41CD-B4E0-E297462320DD}" dt="2023-11-24T08:36:42.674" v="27689"/>
          <ac:spMkLst>
            <pc:docMk/>
            <pc:sldMk cId="1396980745" sldId="687"/>
            <ac:spMk id="182" creationId="{52F9F458-85A7-4C9E-9CA8-EED6A0BBC869}"/>
          </ac:spMkLst>
        </pc:spChg>
        <pc:spChg chg="add del mod">
          <ac:chgData name="Steiner Andreas 6206 ED" userId="e6377c33-a923-4f14-8587-531c474c7b48" providerId="ADAL" clId="{6ECD27E6-B224-41CD-B4E0-E297462320DD}" dt="2023-11-24T08:36:45.184" v="27844"/>
          <ac:spMkLst>
            <pc:docMk/>
            <pc:sldMk cId="1396980745" sldId="687"/>
            <ac:spMk id="183" creationId="{42EBFF62-A25B-5521-4608-87DF0C6D8783}"/>
          </ac:spMkLst>
        </pc:spChg>
        <pc:spChg chg="add del mod">
          <ac:chgData name="Steiner Andreas 6206 ED" userId="e6377c33-a923-4f14-8587-531c474c7b48" providerId="ADAL" clId="{6ECD27E6-B224-41CD-B4E0-E297462320DD}" dt="2023-11-24T08:36:47.591" v="27999"/>
          <ac:spMkLst>
            <pc:docMk/>
            <pc:sldMk cId="1396980745" sldId="687"/>
            <ac:spMk id="184" creationId="{DD3E447D-26C1-89CB-11C6-8856E795299B}"/>
          </ac:spMkLst>
        </pc:spChg>
        <pc:spChg chg="add del mod">
          <ac:chgData name="Steiner Andreas 6206 ED" userId="e6377c33-a923-4f14-8587-531c474c7b48" providerId="ADAL" clId="{6ECD27E6-B224-41CD-B4E0-E297462320DD}" dt="2023-11-24T08:36:50.050" v="28154"/>
          <ac:spMkLst>
            <pc:docMk/>
            <pc:sldMk cId="1396980745" sldId="687"/>
            <ac:spMk id="185" creationId="{E5375E06-7651-D173-BC48-87F01C7B5E30}"/>
          </ac:spMkLst>
        </pc:spChg>
        <pc:spChg chg="add del mod">
          <ac:chgData name="Steiner Andreas 6206 ED" userId="e6377c33-a923-4f14-8587-531c474c7b48" providerId="ADAL" clId="{6ECD27E6-B224-41CD-B4E0-E297462320DD}" dt="2023-11-24T08:36:53.092" v="28309"/>
          <ac:spMkLst>
            <pc:docMk/>
            <pc:sldMk cId="1396980745" sldId="687"/>
            <ac:spMk id="186" creationId="{4135951B-7512-B50B-66C4-8BCE2BB0F6FF}"/>
          </ac:spMkLst>
        </pc:spChg>
        <pc:spChg chg="add del mod">
          <ac:chgData name="Steiner Andreas 6206 ED" userId="e6377c33-a923-4f14-8587-531c474c7b48" providerId="ADAL" clId="{6ECD27E6-B224-41CD-B4E0-E297462320DD}" dt="2023-11-24T08:36:56.162" v="28464"/>
          <ac:spMkLst>
            <pc:docMk/>
            <pc:sldMk cId="1396980745" sldId="687"/>
            <ac:spMk id="187" creationId="{72C3118C-9040-8776-EC34-96EC137F1556}"/>
          </ac:spMkLst>
        </pc:spChg>
        <pc:spChg chg="add del mod">
          <ac:chgData name="Steiner Andreas 6206 ED" userId="e6377c33-a923-4f14-8587-531c474c7b48" providerId="ADAL" clId="{6ECD27E6-B224-41CD-B4E0-E297462320DD}" dt="2023-11-24T08:36:58.974" v="28619"/>
          <ac:spMkLst>
            <pc:docMk/>
            <pc:sldMk cId="1396980745" sldId="687"/>
            <ac:spMk id="188" creationId="{C03D3D18-A738-93E8-C057-133CD4591E41}"/>
          </ac:spMkLst>
        </pc:spChg>
        <pc:spChg chg="add del mod">
          <ac:chgData name="Steiner Andreas 6206 ED" userId="e6377c33-a923-4f14-8587-531c474c7b48" providerId="ADAL" clId="{6ECD27E6-B224-41CD-B4E0-E297462320DD}" dt="2023-11-24T08:37:01.690" v="28774"/>
          <ac:spMkLst>
            <pc:docMk/>
            <pc:sldMk cId="1396980745" sldId="687"/>
            <ac:spMk id="189" creationId="{4439EAEF-AB85-BFC9-9130-4F9908FF58B1}"/>
          </ac:spMkLst>
        </pc:spChg>
        <pc:spChg chg="add del mod">
          <ac:chgData name="Steiner Andreas 6206 ED" userId="e6377c33-a923-4f14-8587-531c474c7b48" providerId="ADAL" clId="{6ECD27E6-B224-41CD-B4E0-E297462320DD}" dt="2023-11-24T08:37:04.456" v="28929"/>
          <ac:spMkLst>
            <pc:docMk/>
            <pc:sldMk cId="1396980745" sldId="687"/>
            <ac:spMk id="190" creationId="{D3ADB7A4-4CA1-97F4-88B6-8A66877B9169}"/>
          </ac:spMkLst>
        </pc:spChg>
        <pc:spChg chg="add del mod">
          <ac:chgData name="Steiner Andreas 6206 ED" userId="e6377c33-a923-4f14-8587-531c474c7b48" providerId="ADAL" clId="{6ECD27E6-B224-41CD-B4E0-E297462320DD}" dt="2023-11-24T08:37:07.307" v="29084"/>
          <ac:spMkLst>
            <pc:docMk/>
            <pc:sldMk cId="1396980745" sldId="687"/>
            <ac:spMk id="191" creationId="{03C8C918-1E0C-771C-EC40-0AA817E96CC6}"/>
          </ac:spMkLst>
        </pc:spChg>
        <pc:spChg chg="add del mod">
          <ac:chgData name="Steiner Andreas 6206 ED" userId="e6377c33-a923-4f14-8587-531c474c7b48" providerId="ADAL" clId="{6ECD27E6-B224-41CD-B4E0-E297462320DD}" dt="2023-11-24T08:37:09.841" v="29239"/>
          <ac:spMkLst>
            <pc:docMk/>
            <pc:sldMk cId="1396980745" sldId="687"/>
            <ac:spMk id="192" creationId="{4CB624CF-73A0-1E3B-9B03-933FBB58C139}"/>
          </ac:spMkLst>
        </pc:spChg>
        <pc:spChg chg="add del mod">
          <ac:chgData name="Steiner Andreas 6206 ED" userId="e6377c33-a923-4f14-8587-531c474c7b48" providerId="ADAL" clId="{6ECD27E6-B224-41CD-B4E0-E297462320DD}" dt="2023-11-24T08:37:12.609" v="29394"/>
          <ac:spMkLst>
            <pc:docMk/>
            <pc:sldMk cId="1396980745" sldId="687"/>
            <ac:spMk id="193" creationId="{799DDDA5-FDC5-6338-1D56-13CC59E761C5}"/>
          </ac:spMkLst>
        </pc:spChg>
        <pc:spChg chg="add del mod">
          <ac:chgData name="Steiner Andreas 6206 ED" userId="e6377c33-a923-4f14-8587-531c474c7b48" providerId="ADAL" clId="{6ECD27E6-B224-41CD-B4E0-E297462320DD}" dt="2023-11-24T08:37:15.927" v="29549"/>
          <ac:spMkLst>
            <pc:docMk/>
            <pc:sldMk cId="1396980745" sldId="687"/>
            <ac:spMk id="194" creationId="{D418A1DC-B04E-FCFE-8FDC-6660D93AD14E}"/>
          </ac:spMkLst>
        </pc:spChg>
        <pc:spChg chg="add del mod">
          <ac:chgData name="Steiner Andreas 6206 ED" userId="e6377c33-a923-4f14-8587-531c474c7b48" providerId="ADAL" clId="{6ECD27E6-B224-41CD-B4E0-E297462320DD}" dt="2023-11-24T08:37:18.680" v="29704"/>
          <ac:spMkLst>
            <pc:docMk/>
            <pc:sldMk cId="1396980745" sldId="687"/>
            <ac:spMk id="195" creationId="{02C979C4-C10F-BBDB-5142-AD6F4C70684C}"/>
          </ac:spMkLst>
        </pc:spChg>
        <pc:spChg chg="add del mod">
          <ac:chgData name="Steiner Andreas 6206 ED" userId="e6377c33-a923-4f14-8587-531c474c7b48" providerId="ADAL" clId="{6ECD27E6-B224-41CD-B4E0-E297462320DD}" dt="2023-11-24T08:37:21.177" v="29859"/>
          <ac:spMkLst>
            <pc:docMk/>
            <pc:sldMk cId="1396980745" sldId="687"/>
            <ac:spMk id="196" creationId="{3A75C37A-50CF-149E-5358-FEEF421EB273}"/>
          </ac:spMkLst>
        </pc:spChg>
        <pc:spChg chg="add del mod">
          <ac:chgData name="Steiner Andreas 6206 ED" userId="e6377c33-a923-4f14-8587-531c474c7b48" providerId="ADAL" clId="{6ECD27E6-B224-41CD-B4E0-E297462320DD}" dt="2023-11-24T08:37:24.029" v="30014"/>
          <ac:spMkLst>
            <pc:docMk/>
            <pc:sldMk cId="1396980745" sldId="687"/>
            <ac:spMk id="197" creationId="{33FB9AED-CFA1-3242-5336-A6504F3704D6}"/>
          </ac:spMkLst>
        </pc:spChg>
        <pc:spChg chg="add del mod">
          <ac:chgData name="Steiner Andreas 6206 ED" userId="e6377c33-a923-4f14-8587-531c474c7b48" providerId="ADAL" clId="{6ECD27E6-B224-41CD-B4E0-E297462320DD}" dt="2023-11-24T08:37:26.537" v="30169"/>
          <ac:spMkLst>
            <pc:docMk/>
            <pc:sldMk cId="1396980745" sldId="687"/>
            <ac:spMk id="198" creationId="{68E1EC2A-2E66-2A8F-60CC-4066920CDD16}"/>
          </ac:spMkLst>
        </pc:spChg>
        <pc:spChg chg="add del mod">
          <ac:chgData name="Steiner Andreas 6206 ED" userId="e6377c33-a923-4f14-8587-531c474c7b48" providerId="ADAL" clId="{6ECD27E6-B224-41CD-B4E0-E297462320DD}" dt="2023-11-24T08:37:29.745" v="30324"/>
          <ac:spMkLst>
            <pc:docMk/>
            <pc:sldMk cId="1396980745" sldId="687"/>
            <ac:spMk id="199" creationId="{F5BEA470-94E1-CC45-0D9D-B2821BE8745A}"/>
          </ac:spMkLst>
        </pc:spChg>
        <pc:spChg chg="add del mod">
          <ac:chgData name="Steiner Andreas 6206 ED" userId="e6377c33-a923-4f14-8587-531c474c7b48" providerId="ADAL" clId="{6ECD27E6-B224-41CD-B4E0-E297462320DD}" dt="2023-11-24T08:37:32.726" v="30479"/>
          <ac:spMkLst>
            <pc:docMk/>
            <pc:sldMk cId="1396980745" sldId="687"/>
            <ac:spMk id="200" creationId="{106A3CFE-3B4F-A67A-5F1A-17D1005A474C}"/>
          </ac:spMkLst>
        </pc:spChg>
        <pc:spChg chg="add del mod">
          <ac:chgData name="Steiner Andreas 6206 ED" userId="e6377c33-a923-4f14-8587-531c474c7b48" providerId="ADAL" clId="{6ECD27E6-B224-41CD-B4E0-E297462320DD}" dt="2023-11-24T08:37:35.304" v="30634"/>
          <ac:spMkLst>
            <pc:docMk/>
            <pc:sldMk cId="1396980745" sldId="687"/>
            <ac:spMk id="201" creationId="{B261B9FE-987F-8696-CC9E-91A9C5A4378B}"/>
          </ac:spMkLst>
        </pc:spChg>
        <pc:spChg chg="add del mod">
          <ac:chgData name="Steiner Andreas 6206 ED" userId="e6377c33-a923-4f14-8587-531c474c7b48" providerId="ADAL" clId="{6ECD27E6-B224-41CD-B4E0-E297462320DD}" dt="2023-11-24T08:37:37.979" v="30789"/>
          <ac:spMkLst>
            <pc:docMk/>
            <pc:sldMk cId="1396980745" sldId="687"/>
            <ac:spMk id="202" creationId="{02933E49-F94D-355A-8993-7C2374D245DC}"/>
          </ac:spMkLst>
        </pc:spChg>
        <pc:spChg chg="add del mod">
          <ac:chgData name="Steiner Andreas 6206 ED" userId="e6377c33-a923-4f14-8587-531c474c7b48" providerId="ADAL" clId="{6ECD27E6-B224-41CD-B4E0-E297462320DD}" dt="2023-11-24T08:37:41.745" v="30944"/>
          <ac:spMkLst>
            <pc:docMk/>
            <pc:sldMk cId="1396980745" sldId="687"/>
            <ac:spMk id="203" creationId="{5B1AECDB-06C1-EF9B-42B9-A7923EF8158F}"/>
          </ac:spMkLst>
        </pc:spChg>
        <pc:spChg chg="add del mod">
          <ac:chgData name="Steiner Andreas 6206 ED" userId="e6377c33-a923-4f14-8587-531c474c7b48" providerId="ADAL" clId="{6ECD27E6-B224-41CD-B4E0-E297462320DD}" dt="2023-11-24T08:37:44.922" v="31099"/>
          <ac:spMkLst>
            <pc:docMk/>
            <pc:sldMk cId="1396980745" sldId="687"/>
            <ac:spMk id="204" creationId="{676551E6-16A8-73C1-1C9C-1B18087504F7}"/>
          </ac:spMkLst>
        </pc:spChg>
        <pc:spChg chg="add del mod">
          <ac:chgData name="Steiner Andreas 6206 ED" userId="e6377c33-a923-4f14-8587-531c474c7b48" providerId="ADAL" clId="{6ECD27E6-B224-41CD-B4E0-E297462320DD}" dt="2023-11-24T08:37:47.693" v="31254"/>
          <ac:spMkLst>
            <pc:docMk/>
            <pc:sldMk cId="1396980745" sldId="687"/>
            <ac:spMk id="205" creationId="{D2B896C0-1D2B-E1E4-D198-2E4DDC031847}"/>
          </ac:spMkLst>
        </pc:spChg>
        <pc:spChg chg="add del mod">
          <ac:chgData name="Steiner Andreas 6206 ED" userId="e6377c33-a923-4f14-8587-531c474c7b48" providerId="ADAL" clId="{6ECD27E6-B224-41CD-B4E0-E297462320DD}" dt="2023-11-24T08:37:50.468" v="31409"/>
          <ac:spMkLst>
            <pc:docMk/>
            <pc:sldMk cId="1396980745" sldId="687"/>
            <ac:spMk id="206" creationId="{D40DDE36-2934-B033-F1CB-8B4BA6B4614E}"/>
          </ac:spMkLst>
        </pc:spChg>
        <pc:spChg chg="add del mod">
          <ac:chgData name="Steiner Andreas 6206 ED" userId="e6377c33-a923-4f14-8587-531c474c7b48" providerId="ADAL" clId="{6ECD27E6-B224-41CD-B4E0-E297462320DD}" dt="2023-11-24T08:37:53.066" v="31564"/>
          <ac:spMkLst>
            <pc:docMk/>
            <pc:sldMk cId="1396980745" sldId="687"/>
            <ac:spMk id="207" creationId="{EFA00727-4324-4534-7447-75DB0C336C83}"/>
          </ac:spMkLst>
        </pc:spChg>
        <pc:spChg chg="add del mod">
          <ac:chgData name="Steiner Andreas 6206 ED" userId="e6377c33-a923-4f14-8587-531c474c7b48" providerId="ADAL" clId="{6ECD27E6-B224-41CD-B4E0-E297462320DD}" dt="2023-11-24T08:37:57.152" v="31719"/>
          <ac:spMkLst>
            <pc:docMk/>
            <pc:sldMk cId="1396980745" sldId="687"/>
            <ac:spMk id="208" creationId="{345F0444-972F-0511-CE7E-AA397482690E}"/>
          </ac:spMkLst>
        </pc:spChg>
        <pc:spChg chg="add del mod">
          <ac:chgData name="Steiner Andreas 6206 ED" userId="e6377c33-a923-4f14-8587-531c474c7b48" providerId="ADAL" clId="{6ECD27E6-B224-41CD-B4E0-E297462320DD}" dt="2023-11-24T08:37:59.941" v="31874"/>
          <ac:spMkLst>
            <pc:docMk/>
            <pc:sldMk cId="1396980745" sldId="687"/>
            <ac:spMk id="209" creationId="{3E3CF534-39B5-EA3B-DA15-D6C0B466D35B}"/>
          </ac:spMkLst>
        </pc:spChg>
        <pc:spChg chg="add del mod">
          <ac:chgData name="Steiner Andreas 6206 ED" userId="e6377c33-a923-4f14-8587-531c474c7b48" providerId="ADAL" clId="{6ECD27E6-B224-41CD-B4E0-E297462320DD}" dt="2023-11-24T08:38:02.921" v="32029"/>
          <ac:spMkLst>
            <pc:docMk/>
            <pc:sldMk cId="1396980745" sldId="687"/>
            <ac:spMk id="210" creationId="{11A8E154-1905-0A0D-800C-EE35580D0022}"/>
          </ac:spMkLst>
        </pc:spChg>
        <pc:spChg chg="add del mod">
          <ac:chgData name="Steiner Andreas 6206 ED" userId="e6377c33-a923-4f14-8587-531c474c7b48" providerId="ADAL" clId="{6ECD27E6-B224-41CD-B4E0-E297462320DD}" dt="2023-11-24T08:38:05.800" v="32184"/>
          <ac:spMkLst>
            <pc:docMk/>
            <pc:sldMk cId="1396980745" sldId="687"/>
            <ac:spMk id="211" creationId="{2E96073D-DD03-8043-0704-00992C4A0A14}"/>
          </ac:spMkLst>
        </pc:spChg>
        <pc:spChg chg="add del mod">
          <ac:chgData name="Steiner Andreas 6206 ED" userId="e6377c33-a923-4f14-8587-531c474c7b48" providerId="ADAL" clId="{6ECD27E6-B224-41CD-B4E0-E297462320DD}" dt="2023-11-24T08:38:08.942" v="32339"/>
          <ac:spMkLst>
            <pc:docMk/>
            <pc:sldMk cId="1396980745" sldId="687"/>
            <ac:spMk id="212" creationId="{E2567F1C-F954-BB49-FDE4-CF064FE7A7A1}"/>
          </ac:spMkLst>
        </pc:spChg>
        <pc:spChg chg="add del mod">
          <ac:chgData name="Steiner Andreas 6206 ED" userId="e6377c33-a923-4f14-8587-531c474c7b48" providerId="ADAL" clId="{6ECD27E6-B224-41CD-B4E0-E297462320DD}" dt="2023-11-24T08:38:11.692" v="32494"/>
          <ac:spMkLst>
            <pc:docMk/>
            <pc:sldMk cId="1396980745" sldId="687"/>
            <ac:spMk id="213" creationId="{741B041D-8CBF-5BA7-E5CD-C0E56DCC27C2}"/>
          </ac:spMkLst>
        </pc:spChg>
        <pc:spChg chg="add del mod">
          <ac:chgData name="Steiner Andreas 6206 ED" userId="e6377c33-a923-4f14-8587-531c474c7b48" providerId="ADAL" clId="{6ECD27E6-B224-41CD-B4E0-E297462320DD}" dt="2023-11-24T08:38:14.344" v="32649"/>
          <ac:spMkLst>
            <pc:docMk/>
            <pc:sldMk cId="1396980745" sldId="687"/>
            <ac:spMk id="214" creationId="{24188675-89CE-ABCF-0FEE-D93EAF62510B}"/>
          </ac:spMkLst>
        </pc:spChg>
        <pc:spChg chg="add del mod">
          <ac:chgData name="Steiner Andreas 6206 ED" userId="e6377c33-a923-4f14-8587-531c474c7b48" providerId="ADAL" clId="{6ECD27E6-B224-41CD-B4E0-E297462320DD}" dt="2023-11-24T08:38:17.010" v="32804"/>
          <ac:spMkLst>
            <pc:docMk/>
            <pc:sldMk cId="1396980745" sldId="687"/>
            <ac:spMk id="215" creationId="{47BEFF01-95F4-4187-547F-D8F10413D69D}"/>
          </ac:spMkLst>
        </pc:spChg>
        <pc:spChg chg="add del mod">
          <ac:chgData name="Steiner Andreas 6206 ED" userId="e6377c33-a923-4f14-8587-531c474c7b48" providerId="ADAL" clId="{6ECD27E6-B224-41CD-B4E0-E297462320DD}" dt="2023-11-24T08:38:20.048" v="32959"/>
          <ac:spMkLst>
            <pc:docMk/>
            <pc:sldMk cId="1396980745" sldId="687"/>
            <ac:spMk id="216" creationId="{3B6A7286-9473-2103-DE45-2E4518A5F643}"/>
          </ac:spMkLst>
        </pc:spChg>
        <pc:spChg chg="add del mod">
          <ac:chgData name="Steiner Andreas 6206 ED" userId="e6377c33-a923-4f14-8587-531c474c7b48" providerId="ADAL" clId="{6ECD27E6-B224-41CD-B4E0-E297462320DD}" dt="2023-11-24T08:38:22.872" v="33114"/>
          <ac:spMkLst>
            <pc:docMk/>
            <pc:sldMk cId="1396980745" sldId="687"/>
            <ac:spMk id="217" creationId="{7A8AE9DD-8789-CB07-8DCA-2566984F3D90}"/>
          </ac:spMkLst>
        </pc:spChg>
        <pc:spChg chg="add del mod">
          <ac:chgData name="Steiner Andreas 6206 ED" userId="e6377c33-a923-4f14-8587-531c474c7b48" providerId="ADAL" clId="{6ECD27E6-B224-41CD-B4E0-E297462320DD}" dt="2023-11-24T08:38:25.648" v="33269"/>
          <ac:spMkLst>
            <pc:docMk/>
            <pc:sldMk cId="1396980745" sldId="687"/>
            <ac:spMk id="218" creationId="{A8ADCAAA-C98C-968A-ECE6-1B70970B8CC4}"/>
          </ac:spMkLst>
        </pc:spChg>
        <pc:spChg chg="add del mod">
          <ac:chgData name="Steiner Andreas 6206 ED" userId="e6377c33-a923-4f14-8587-531c474c7b48" providerId="ADAL" clId="{6ECD27E6-B224-41CD-B4E0-E297462320DD}" dt="2023-11-24T08:38:29.213" v="33424"/>
          <ac:spMkLst>
            <pc:docMk/>
            <pc:sldMk cId="1396980745" sldId="687"/>
            <ac:spMk id="219" creationId="{9DC09827-E77A-7C27-A48A-63A83E66D39C}"/>
          </ac:spMkLst>
        </pc:spChg>
        <pc:spChg chg="add del mod">
          <ac:chgData name="Steiner Andreas 6206 ED" userId="e6377c33-a923-4f14-8587-531c474c7b48" providerId="ADAL" clId="{6ECD27E6-B224-41CD-B4E0-E297462320DD}" dt="2023-11-24T08:38:32.388" v="33579"/>
          <ac:spMkLst>
            <pc:docMk/>
            <pc:sldMk cId="1396980745" sldId="687"/>
            <ac:spMk id="220" creationId="{12861FC8-18F0-478C-4CC4-D3F7393F9E92}"/>
          </ac:spMkLst>
        </pc:spChg>
        <pc:spChg chg="add del mod">
          <ac:chgData name="Steiner Andreas 6206 ED" userId="e6377c33-a923-4f14-8587-531c474c7b48" providerId="ADAL" clId="{6ECD27E6-B224-41CD-B4E0-E297462320DD}" dt="2023-11-24T08:38:35.097" v="33734"/>
          <ac:spMkLst>
            <pc:docMk/>
            <pc:sldMk cId="1396980745" sldId="687"/>
            <ac:spMk id="221" creationId="{5155C9E4-0C8A-257A-BFFC-89FD738C00C0}"/>
          </ac:spMkLst>
        </pc:spChg>
        <pc:spChg chg="add del mod">
          <ac:chgData name="Steiner Andreas 6206 ED" userId="e6377c33-a923-4f14-8587-531c474c7b48" providerId="ADAL" clId="{6ECD27E6-B224-41CD-B4E0-E297462320DD}" dt="2023-11-24T08:38:37.762" v="33889"/>
          <ac:spMkLst>
            <pc:docMk/>
            <pc:sldMk cId="1396980745" sldId="687"/>
            <ac:spMk id="222" creationId="{FE2BF614-BDF9-0EB4-C5A4-541B2A0EEFAE}"/>
          </ac:spMkLst>
        </pc:spChg>
        <pc:spChg chg="add del mod">
          <ac:chgData name="Steiner Andreas 6206 ED" userId="e6377c33-a923-4f14-8587-531c474c7b48" providerId="ADAL" clId="{6ECD27E6-B224-41CD-B4E0-E297462320DD}" dt="2023-11-24T08:38:40.296" v="34044"/>
          <ac:spMkLst>
            <pc:docMk/>
            <pc:sldMk cId="1396980745" sldId="687"/>
            <ac:spMk id="223" creationId="{CB7A5940-C07B-FE1A-E095-1FF0F7B46264}"/>
          </ac:spMkLst>
        </pc:spChg>
        <pc:spChg chg="add del mod">
          <ac:chgData name="Steiner Andreas 6206 ED" userId="e6377c33-a923-4f14-8587-531c474c7b48" providerId="ADAL" clId="{6ECD27E6-B224-41CD-B4E0-E297462320DD}" dt="2023-11-24T08:38:42.764" v="34199"/>
          <ac:spMkLst>
            <pc:docMk/>
            <pc:sldMk cId="1396980745" sldId="687"/>
            <ac:spMk id="224" creationId="{29471D9B-B906-7A57-5620-0A9B83C071DF}"/>
          </ac:spMkLst>
        </pc:spChg>
        <pc:spChg chg="add del mod">
          <ac:chgData name="Steiner Andreas 6206 ED" userId="e6377c33-a923-4f14-8587-531c474c7b48" providerId="ADAL" clId="{6ECD27E6-B224-41CD-B4E0-E297462320DD}" dt="2023-11-24T08:38:46.813" v="34354"/>
          <ac:spMkLst>
            <pc:docMk/>
            <pc:sldMk cId="1396980745" sldId="687"/>
            <ac:spMk id="225" creationId="{CFC0AD54-4DBE-04AC-DFC0-EF8295860605}"/>
          </ac:spMkLst>
        </pc:spChg>
        <pc:spChg chg="add del mod">
          <ac:chgData name="Steiner Andreas 6206 ED" userId="e6377c33-a923-4f14-8587-531c474c7b48" providerId="ADAL" clId="{6ECD27E6-B224-41CD-B4E0-E297462320DD}" dt="2023-11-24T08:38:49.529" v="34509"/>
          <ac:spMkLst>
            <pc:docMk/>
            <pc:sldMk cId="1396980745" sldId="687"/>
            <ac:spMk id="226" creationId="{7FFA4BA3-B627-9C5C-7E8B-DC964F5113B3}"/>
          </ac:spMkLst>
        </pc:spChg>
        <pc:spChg chg="add del mod">
          <ac:chgData name="Steiner Andreas 6206 ED" userId="e6377c33-a923-4f14-8587-531c474c7b48" providerId="ADAL" clId="{6ECD27E6-B224-41CD-B4E0-E297462320DD}" dt="2023-11-24T08:38:52.312" v="34664"/>
          <ac:spMkLst>
            <pc:docMk/>
            <pc:sldMk cId="1396980745" sldId="687"/>
            <ac:spMk id="227" creationId="{F3E4B471-306A-843D-E532-ED2B280357F7}"/>
          </ac:spMkLst>
        </pc:spChg>
        <pc:spChg chg="add del mod">
          <ac:chgData name="Steiner Andreas 6206 ED" userId="e6377c33-a923-4f14-8587-531c474c7b48" providerId="ADAL" clId="{6ECD27E6-B224-41CD-B4E0-E297462320DD}" dt="2023-11-24T08:38:55.331" v="34819"/>
          <ac:spMkLst>
            <pc:docMk/>
            <pc:sldMk cId="1396980745" sldId="687"/>
            <ac:spMk id="228" creationId="{1F0F6ACA-6C24-958C-1F65-B5E98BED0CA0}"/>
          </ac:spMkLst>
        </pc:spChg>
        <pc:spChg chg="add del mod">
          <ac:chgData name="Steiner Andreas 6206 ED" userId="e6377c33-a923-4f14-8587-531c474c7b48" providerId="ADAL" clId="{6ECD27E6-B224-41CD-B4E0-E297462320DD}" dt="2023-11-24T08:38:58.503" v="34974"/>
          <ac:spMkLst>
            <pc:docMk/>
            <pc:sldMk cId="1396980745" sldId="687"/>
            <ac:spMk id="229" creationId="{2B09A231-2986-A42A-1881-B7380D8073CE}"/>
          </ac:spMkLst>
        </pc:spChg>
        <pc:spChg chg="add del mod">
          <ac:chgData name="Steiner Andreas 6206 ED" userId="e6377c33-a923-4f14-8587-531c474c7b48" providerId="ADAL" clId="{6ECD27E6-B224-41CD-B4E0-E297462320DD}" dt="2023-11-24T08:39:01.926" v="35129"/>
          <ac:spMkLst>
            <pc:docMk/>
            <pc:sldMk cId="1396980745" sldId="687"/>
            <ac:spMk id="230" creationId="{340A9213-7E81-FB02-C1D2-0A81C3D95F04}"/>
          </ac:spMkLst>
        </pc:spChg>
        <pc:spChg chg="add del mod">
          <ac:chgData name="Steiner Andreas 6206 ED" userId="e6377c33-a923-4f14-8587-531c474c7b48" providerId="ADAL" clId="{6ECD27E6-B224-41CD-B4E0-E297462320DD}" dt="2023-11-24T08:39:05.153" v="35284"/>
          <ac:spMkLst>
            <pc:docMk/>
            <pc:sldMk cId="1396980745" sldId="687"/>
            <ac:spMk id="231" creationId="{72005E53-12A1-0A0B-4F46-BF353C3C7CEE}"/>
          </ac:spMkLst>
        </pc:spChg>
        <pc:spChg chg="add del mod">
          <ac:chgData name="Steiner Andreas 6206 ED" userId="e6377c33-a923-4f14-8587-531c474c7b48" providerId="ADAL" clId="{6ECD27E6-B224-41CD-B4E0-E297462320DD}" dt="2023-11-24T08:39:07.996" v="35439"/>
          <ac:spMkLst>
            <pc:docMk/>
            <pc:sldMk cId="1396980745" sldId="687"/>
            <ac:spMk id="232" creationId="{9D6E0A99-F013-AED0-B529-3FDF7D50110F}"/>
          </ac:spMkLst>
        </pc:spChg>
        <pc:spChg chg="add del mod">
          <ac:chgData name="Steiner Andreas 6206 ED" userId="e6377c33-a923-4f14-8587-531c474c7b48" providerId="ADAL" clId="{6ECD27E6-B224-41CD-B4E0-E297462320DD}" dt="2023-11-24T08:39:12.686" v="35594"/>
          <ac:spMkLst>
            <pc:docMk/>
            <pc:sldMk cId="1396980745" sldId="687"/>
            <ac:spMk id="233" creationId="{5174C730-FE73-717D-4686-02DB48E4357A}"/>
          </ac:spMkLst>
        </pc:spChg>
        <pc:spChg chg="add del mod">
          <ac:chgData name="Steiner Andreas 6206 ED" userId="e6377c33-a923-4f14-8587-531c474c7b48" providerId="ADAL" clId="{6ECD27E6-B224-41CD-B4E0-E297462320DD}" dt="2023-11-24T08:39:15.356" v="35749"/>
          <ac:spMkLst>
            <pc:docMk/>
            <pc:sldMk cId="1396980745" sldId="687"/>
            <ac:spMk id="234" creationId="{B359F084-DA11-A1F8-77D9-9012046C794E}"/>
          </ac:spMkLst>
        </pc:spChg>
        <pc:spChg chg="add del mod">
          <ac:chgData name="Steiner Andreas 6206 ED" userId="e6377c33-a923-4f14-8587-531c474c7b48" providerId="ADAL" clId="{6ECD27E6-B224-41CD-B4E0-E297462320DD}" dt="2023-11-24T08:39:17.956" v="35904"/>
          <ac:spMkLst>
            <pc:docMk/>
            <pc:sldMk cId="1396980745" sldId="687"/>
            <ac:spMk id="235" creationId="{81A868C8-7E9A-7721-5750-A67ABC91D55E}"/>
          </ac:spMkLst>
        </pc:spChg>
        <pc:spChg chg="add del mod">
          <ac:chgData name="Steiner Andreas 6206 ED" userId="e6377c33-a923-4f14-8587-531c474c7b48" providerId="ADAL" clId="{6ECD27E6-B224-41CD-B4E0-E297462320DD}" dt="2023-11-24T08:39:20.620" v="36059"/>
          <ac:spMkLst>
            <pc:docMk/>
            <pc:sldMk cId="1396980745" sldId="687"/>
            <ac:spMk id="236" creationId="{4EF20941-6FAE-89B8-3830-A7A40CA70CA4}"/>
          </ac:spMkLst>
        </pc:spChg>
        <pc:spChg chg="add del mod">
          <ac:chgData name="Steiner Andreas 6206 ED" userId="e6377c33-a923-4f14-8587-531c474c7b48" providerId="ADAL" clId="{6ECD27E6-B224-41CD-B4E0-E297462320DD}" dt="2023-11-24T08:39:23.802" v="36214"/>
          <ac:spMkLst>
            <pc:docMk/>
            <pc:sldMk cId="1396980745" sldId="687"/>
            <ac:spMk id="237" creationId="{6929D5D5-CC40-AF1D-3EBB-EFE567BB403A}"/>
          </ac:spMkLst>
        </pc:spChg>
        <pc:spChg chg="add del mod">
          <ac:chgData name="Steiner Andreas 6206 ED" userId="e6377c33-a923-4f14-8587-531c474c7b48" providerId="ADAL" clId="{6ECD27E6-B224-41CD-B4E0-E297462320DD}" dt="2023-11-24T08:39:26.526" v="36369"/>
          <ac:spMkLst>
            <pc:docMk/>
            <pc:sldMk cId="1396980745" sldId="687"/>
            <ac:spMk id="238" creationId="{49494D1E-C439-6E4E-84A6-788355D81B47}"/>
          </ac:spMkLst>
        </pc:spChg>
        <pc:spChg chg="add del mod">
          <ac:chgData name="Steiner Andreas 6206 ED" userId="e6377c33-a923-4f14-8587-531c474c7b48" providerId="ADAL" clId="{6ECD27E6-B224-41CD-B4E0-E297462320DD}" dt="2023-11-24T08:39:29.272" v="36524"/>
          <ac:spMkLst>
            <pc:docMk/>
            <pc:sldMk cId="1396980745" sldId="687"/>
            <ac:spMk id="239" creationId="{42D52D6F-C940-2448-79C0-FAAD9C414BCE}"/>
          </ac:spMkLst>
        </pc:spChg>
        <pc:spChg chg="add del mod">
          <ac:chgData name="Steiner Andreas 6206 ED" userId="e6377c33-a923-4f14-8587-531c474c7b48" providerId="ADAL" clId="{6ECD27E6-B224-41CD-B4E0-E297462320DD}" dt="2023-11-24T08:39:31.867" v="36679"/>
          <ac:spMkLst>
            <pc:docMk/>
            <pc:sldMk cId="1396980745" sldId="687"/>
            <ac:spMk id="240" creationId="{6157BDB2-9CBA-4876-454D-1C5B500B4462}"/>
          </ac:spMkLst>
        </pc:spChg>
        <pc:spChg chg="add del mod">
          <ac:chgData name="Steiner Andreas 6206 ED" userId="e6377c33-a923-4f14-8587-531c474c7b48" providerId="ADAL" clId="{6ECD27E6-B224-41CD-B4E0-E297462320DD}" dt="2023-11-24T08:39:34.364" v="36834"/>
          <ac:spMkLst>
            <pc:docMk/>
            <pc:sldMk cId="1396980745" sldId="687"/>
            <ac:spMk id="241" creationId="{1FBA5BBD-2161-FC0C-A292-6645000F2695}"/>
          </ac:spMkLst>
        </pc:spChg>
        <pc:spChg chg="add del mod">
          <ac:chgData name="Steiner Andreas 6206 ED" userId="e6377c33-a923-4f14-8587-531c474c7b48" providerId="ADAL" clId="{6ECD27E6-B224-41CD-B4E0-E297462320DD}" dt="2023-11-24T08:39:37.265" v="36989"/>
          <ac:spMkLst>
            <pc:docMk/>
            <pc:sldMk cId="1396980745" sldId="687"/>
            <ac:spMk id="242" creationId="{5D4EDCA3-FA09-1FE7-5D03-AB568E7AF047}"/>
          </ac:spMkLst>
        </pc:spChg>
        <pc:spChg chg="add del mod">
          <ac:chgData name="Steiner Andreas 6206 ED" userId="e6377c33-a923-4f14-8587-531c474c7b48" providerId="ADAL" clId="{6ECD27E6-B224-41CD-B4E0-E297462320DD}" dt="2023-11-24T08:39:39.885" v="37144"/>
          <ac:spMkLst>
            <pc:docMk/>
            <pc:sldMk cId="1396980745" sldId="687"/>
            <ac:spMk id="243" creationId="{BDAC6EE2-FEE1-9B0A-A838-AE9FA9190D62}"/>
          </ac:spMkLst>
        </pc:spChg>
        <pc:spChg chg="add del mod">
          <ac:chgData name="Steiner Andreas 6206 ED" userId="e6377c33-a923-4f14-8587-531c474c7b48" providerId="ADAL" clId="{6ECD27E6-B224-41CD-B4E0-E297462320DD}" dt="2023-11-24T08:39:42.387" v="37299"/>
          <ac:spMkLst>
            <pc:docMk/>
            <pc:sldMk cId="1396980745" sldId="687"/>
            <ac:spMk id="244" creationId="{1D9AC177-D152-486E-A43F-A770DAF3C2C0}"/>
          </ac:spMkLst>
        </pc:spChg>
        <pc:spChg chg="add del mod">
          <ac:chgData name="Steiner Andreas 6206 ED" userId="e6377c33-a923-4f14-8587-531c474c7b48" providerId="ADAL" clId="{6ECD27E6-B224-41CD-B4E0-E297462320DD}" dt="2023-11-24T08:39:44.916" v="37454"/>
          <ac:spMkLst>
            <pc:docMk/>
            <pc:sldMk cId="1396980745" sldId="687"/>
            <ac:spMk id="245" creationId="{36E9AC91-324A-828C-916B-59CF89BCDBBB}"/>
          </ac:spMkLst>
        </pc:spChg>
        <pc:spChg chg="add del mod">
          <ac:chgData name="Steiner Andreas 6206 ED" userId="e6377c33-a923-4f14-8587-531c474c7b48" providerId="ADAL" clId="{6ECD27E6-B224-41CD-B4E0-E297462320DD}" dt="2023-11-24T08:39:47.868" v="37609"/>
          <ac:spMkLst>
            <pc:docMk/>
            <pc:sldMk cId="1396980745" sldId="687"/>
            <ac:spMk id="246" creationId="{B95118F2-F6FD-7F29-EDF9-0FB3472439D3}"/>
          </ac:spMkLst>
        </pc:spChg>
        <pc:spChg chg="add del mod">
          <ac:chgData name="Steiner Andreas 6206 ED" userId="e6377c33-a923-4f14-8587-531c474c7b48" providerId="ADAL" clId="{6ECD27E6-B224-41CD-B4E0-E297462320DD}" dt="2023-11-24T08:39:50.642" v="37764"/>
          <ac:spMkLst>
            <pc:docMk/>
            <pc:sldMk cId="1396980745" sldId="687"/>
            <ac:spMk id="247" creationId="{5576A75B-82E5-3219-8DCC-EEAAC9EE24F4}"/>
          </ac:spMkLst>
        </pc:spChg>
        <pc:spChg chg="add del mod">
          <ac:chgData name="Steiner Andreas 6206 ED" userId="e6377c33-a923-4f14-8587-531c474c7b48" providerId="ADAL" clId="{6ECD27E6-B224-41CD-B4E0-E297462320DD}" dt="2023-11-24T08:39:53.263" v="37919"/>
          <ac:spMkLst>
            <pc:docMk/>
            <pc:sldMk cId="1396980745" sldId="687"/>
            <ac:spMk id="248" creationId="{F58337BE-9B9F-739A-6588-3D7B3655AACF}"/>
          </ac:spMkLst>
        </pc:spChg>
        <pc:spChg chg="add del mod">
          <ac:chgData name="Steiner Andreas 6206 ED" userId="e6377c33-a923-4f14-8587-531c474c7b48" providerId="ADAL" clId="{6ECD27E6-B224-41CD-B4E0-E297462320DD}" dt="2023-11-24T08:39:56.219" v="38074"/>
          <ac:spMkLst>
            <pc:docMk/>
            <pc:sldMk cId="1396980745" sldId="687"/>
            <ac:spMk id="249" creationId="{E004674F-8A60-7EE7-4300-E81AA74A3437}"/>
          </ac:spMkLst>
        </pc:spChg>
        <pc:spChg chg="add del mod">
          <ac:chgData name="Steiner Andreas 6206 ED" userId="e6377c33-a923-4f14-8587-531c474c7b48" providerId="ADAL" clId="{6ECD27E6-B224-41CD-B4E0-E297462320DD}" dt="2023-11-24T08:39:59.351" v="38229"/>
          <ac:spMkLst>
            <pc:docMk/>
            <pc:sldMk cId="1396980745" sldId="687"/>
            <ac:spMk id="250" creationId="{2879F962-5614-B600-71C4-84CA6CD55329}"/>
          </ac:spMkLst>
        </pc:spChg>
        <pc:spChg chg="add del mod">
          <ac:chgData name="Steiner Andreas 6206 ED" userId="e6377c33-a923-4f14-8587-531c474c7b48" providerId="ADAL" clId="{6ECD27E6-B224-41CD-B4E0-E297462320DD}" dt="2023-11-24T08:40:02.703" v="38384"/>
          <ac:spMkLst>
            <pc:docMk/>
            <pc:sldMk cId="1396980745" sldId="687"/>
            <ac:spMk id="251" creationId="{3465A213-18D4-C43A-B021-8BC85F9B8E25}"/>
          </ac:spMkLst>
        </pc:spChg>
        <pc:spChg chg="add del mod">
          <ac:chgData name="Steiner Andreas 6206 ED" userId="e6377c33-a923-4f14-8587-531c474c7b48" providerId="ADAL" clId="{6ECD27E6-B224-41CD-B4E0-E297462320DD}" dt="2023-11-24T08:40:05.464" v="38539"/>
          <ac:spMkLst>
            <pc:docMk/>
            <pc:sldMk cId="1396980745" sldId="687"/>
            <ac:spMk id="252" creationId="{3B08FC2F-0D74-9C39-4644-DE7B1D3656B4}"/>
          </ac:spMkLst>
        </pc:spChg>
        <pc:spChg chg="add del mod">
          <ac:chgData name="Steiner Andreas 6206 ED" userId="e6377c33-a923-4f14-8587-531c474c7b48" providerId="ADAL" clId="{6ECD27E6-B224-41CD-B4E0-E297462320DD}" dt="2023-11-24T08:40:08.006" v="38694"/>
          <ac:spMkLst>
            <pc:docMk/>
            <pc:sldMk cId="1396980745" sldId="687"/>
            <ac:spMk id="253" creationId="{CEEDCA1C-76F4-16AA-C9B4-ECA2C9F590B5}"/>
          </ac:spMkLst>
        </pc:spChg>
        <pc:spChg chg="add del mod">
          <ac:chgData name="Steiner Andreas 6206 ED" userId="e6377c33-a923-4f14-8587-531c474c7b48" providerId="ADAL" clId="{6ECD27E6-B224-41CD-B4E0-E297462320DD}" dt="2023-11-24T08:40:10.706" v="38849"/>
          <ac:spMkLst>
            <pc:docMk/>
            <pc:sldMk cId="1396980745" sldId="687"/>
            <ac:spMk id="254" creationId="{E1B63A42-6B07-4892-1B6A-D6DAD4D5707F}"/>
          </ac:spMkLst>
        </pc:spChg>
        <pc:spChg chg="add del mod">
          <ac:chgData name="Steiner Andreas 6206 ED" userId="e6377c33-a923-4f14-8587-531c474c7b48" providerId="ADAL" clId="{6ECD27E6-B224-41CD-B4E0-E297462320DD}" dt="2023-11-24T08:40:13.876" v="39004"/>
          <ac:spMkLst>
            <pc:docMk/>
            <pc:sldMk cId="1396980745" sldId="687"/>
            <ac:spMk id="255" creationId="{2220399F-9700-89BD-1A72-22EAD4EF769A}"/>
          </ac:spMkLst>
        </pc:spChg>
        <pc:spChg chg="add del mod">
          <ac:chgData name="Steiner Andreas 6206 ED" userId="e6377c33-a923-4f14-8587-531c474c7b48" providerId="ADAL" clId="{6ECD27E6-B224-41CD-B4E0-E297462320DD}" dt="2023-11-24T08:40:16.578" v="39159"/>
          <ac:spMkLst>
            <pc:docMk/>
            <pc:sldMk cId="1396980745" sldId="687"/>
            <ac:spMk id="256" creationId="{EDE9D143-D546-C986-65F8-9EBB8F128C81}"/>
          </ac:spMkLst>
        </pc:spChg>
        <pc:spChg chg="add del mod">
          <ac:chgData name="Steiner Andreas 6206 ED" userId="e6377c33-a923-4f14-8587-531c474c7b48" providerId="ADAL" clId="{6ECD27E6-B224-41CD-B4E0-E297462320DD}" dt="2023-11-24T08:40:19.091" v="39314"/>
          <ac:spMkLst>
            <pc:docMk/>
            <pc:sldMk cId="1396980745" sldId="687"/>
            <ac:spMk id="257" creationId="{E49854D6-5095-56D4-6514-8B1AE1607356}"/>
          </ac:spMkLst>
        </pc:spChg>
        <pc:spChg chg="add del mod">
          <ac:chgData name="Steiner Andreas 6206 ED" userId="e6377c33-a923-4f14-8587-531c474c7b48" providerId="ADAL" clId="{6ECD27E6-B224-41CD-B4E0-E297462320DD}" dt="2023-11-24T08:40:21.514" v="39469"/>
          <ac:spMkLst>
            <pc:docMk/>
            <pc:sldMk cId="1396980745" sldId="687"/>
            <ac:spMk id="258" creationId="{3BDA0DA2-26F9-7424-2C5B-61FC7936A659}"/>
          </ac:spMkLst>
        </pc:spChg>
        <pc:spChg chg="add del mod">
          <ac:chgData name="Steiner Andreas 6206 ED" userId="e6377c33-a923-4f14-8587-531c474c7b48" providerId="ADAL" clId="{6ECD27E6-B224-41CD-B4E0-E297462320DD}" dt="2023-11-24T08:40:24.187" v="39624"/>
          <ac:spMkLst>
            <pc:docMk/>
            <pc:sldMk cId="1396980745" sldId="687"/>
            <ac:spMk id="259" creationId="{6BEBA6EF-9FB2-B55D-F08C-EDE3467B5603}"/>
          </ac:spMkLst>
        </pc:spChg>
        <pc:spChg chg="add del mod">
          <ac:chgData name="Steiner Andreas 6206 ED" userId="e6377c33-a923-4f14-8587-531c474c7b48" providerId="ADAL" clId="{6ECD27E6-B224-41CD-B4E0-E297462320DD}" dt="2023-11-24T08:40:27.117" v="39779"/>
          <ac:spMkLst>
            <pc:docMk/>
            <pc:sldMk cId="1396980745" sldId="687"/>
            <ac:spMk id="260" creationId="{F335C11C-14C0-5173-4F62-853E0D065E71}"/>
          </ac:spMkLst>
        </pc:spChg>
        <pc:spChg chg="add del mod">
          <ac:chgData name="Steiner Andreas 6206 ED" userId="e6377c33-a923-4f14-8587-531c474c7b48" providerId="ADAL" clId="{6ECD27E6-B224-41CD-B4E0-E297462320DD}" dt="2023-11-24T08:40:29.748" v="39934"/>
          <ac:spMkLst>
            <pc:docMk/>
            <pc:sldMk cId="1396980745" sldId="687"/>
            <ac:spMk id="261" creationId="{3ECD20A4-4C55-E3FB-EF8C-85E3EE72F1E3}"/>
          </ac:spMkLst>
        </pc:spChg>
        <pc:spChg chg="add del mod">
          <ac:chgData name="Steiner Andreas 6206 ED" userId="e6377c33-a923-4f14-8587-531c474c7b48" providerId="ADAL" clId="{6ECD27E6-B224-41CD-B4E0-E297462320DD}" dt="2023-11-24T08:40:32.320" v="40089"/>
          <ac:spMkLst>
            <pc:docMk/>
            <pc:sldMk cId="1396980745" sldId="687"/>
            <ac:spMk id="262" creationId="{D3D4F3D0-2E58-F112-6712-12F08B4B575F}"/>
          </ac:spMkLst>
        </pc:spChg>
        <pc:spChg chg="add del mod">
          <ac:chgData name="Steiner Andreas 6206 ED" userId="e6377c33-a923-4f14-8587-531c474c7b48" providerId="ADAL" clId="{6ECD27E6-B224-41CD-B4E0-E297462320DD}" dt="2023-11-24T08:40:34.897" v="40244"/>
          <ac:spMkLst>
            <pc:docMk/>
            <pc:sldMk cId="1396980745" sldId="687"/>
            <ac:spMk id="263" creationId="{6C6480DF-2E5C-6206-0827-EBC9E70778C4}"/>
          </ac:spMkLst>
        </pc:spChg>
        <pc:spChg chg="add del mod">
          <ac:chgData name="Steiner Andreas 6206 ED" userId="e6377c33-a923-4f14-8587-531c474c7b48" providerId="ADAL" clId="{6ECD27E6-B224-41CD-B4E0-E297462320DD}" dt="2023-11-24T08:40:38.314" v="40399"/>
          <ac:spMkLst>
            <pc:docMk/>
            <pc:sldMk cId="1396980745" sldId="687"/>
            <ac:spMk id="264" creationId="{949F39F3-955A-E404-B785-CB3325A3F17B}"/>
          </ac:spMkLst>
        </pc:spChg>
        <pc:spChg chg="add del mod">
          <ac:chgData name="Steiner Andreas 6206 ED" userId="e6377c33-a923-4f14-8587-531c474c7b48" providerId="ADAL" clId="{6ECD27E6-B224-41CD-B4E0-E297462320DD}" dt="2023-11-24T08:40:41.027" v="40554"/>
          <ac:spMkLst>
            <pc:docMk/>
            <pc:sldMk cId="1396980745" sldId="687"/>
            <ac:spMk id="265" creationId="{A3BC7EB4-DFD6-A0FB-4944-43E9EB89081C}"/>
          </ac:spMkLst>
        </pc:spChg>
        <pc:spChg chg="add del mod">
          <ac:chgData name="Steiner Andreas 6206 ED" userId="e6377c33-a923-4f14-8587-531c474c7b48" providerId="ADAL" clId="{6ECD27E6-B224-41CD-B4E0-E297462320DD}" dt="2023-11-24T08:40:43.800" v="40709"/>
          <ac:spMkLst>
            <pc:docMk/>
            <pc:sldMk cId="1396980745" sldId="687"/>
            <ac:spMk id="266" creationId="{C8527C8F-A76F-AE58-CCC6-BDD1C7A6F0DF}"/>
          </ac:spMkLst>
        </pc:spChg>
        <pc:spChg chg="add del mod">
          <ac:chgData name="Steiner Andreas 6206 ED" userId="e6377c33-a923-4f14-8587-531c474c7b48" providerId="ADAL" clId="{6ECD27E6-B224-41CD-B4E0-E297462320DD}" dt="2023-11-24T08:40:46.243" v="40864"/>
          <ac:spMkLst>
            <pc:docMk/>
            <pc:sldMk cId="1396980745" sldId="687"/>
            <ac:spMk id="267" creationId="{740D2891-F1F0-AC98-6F73-B6C915767FEC}"/>
          </ac:spMkLst>
        </pc:spChg>
        <pc:spChg chg="add del mod">
          <ac:chgData name="Steiner Andreas 6206 ED" userId="e6377c33-a923-4f14-8587-531c474c7b48" providerId="ADAL" clId="{6ECD27E6-B224-41CD-B4E0-E297462320DD}" dt="2023-11-24T08:40:49.056" v="41019"/>
          <ac:spMkLst>
            <pc:docMk/>
            <pc:sldMk cId="1396980745" sldId="687"/>
            <ac:spMk id="268" creationId="{6AA7E4F2-4E36-50F9-81BD-25F60D18B4EC}"/>
          </ac:spMkLst>
        </pc:spChg>
        <pc:spChg chg="add del mod">
          <ac:chgData name="Steiner Andreas 6206 ED" userId="e6377c33-a923-4f14-8587-531c474c7b48" providerId="ADAL" clId="{6ECD27E6-B224-41CD-B4E0-E297462320DD}" dt="2023-11-24T08:40:51.900" v="41174"/>
          <ac:spMkLst>
            <pc:docMk/>
            <pc:sldMk cId="1396980745" sldId="687"/>
            <ac:spMk id="269" creationId="{CB0808F3-2B73-5AE7-7572-F4F7E5960F30}"/>
          </ac:spMkLst>
        </pc:spChg>
        <pc:spChg chg="add del mod">
          <ac:chgData name="Steiner Andreas 6206 ED" userId="e6377c33-a923-4f14-8587-531c474c7b48" providerId="ADAL" clId="{6ECD27E6-B224-41CD-B4E0-E297462320DD}" dt="2023-11-24T08:40:54.427" v="41329"/>
          <ac:spMkLst>
            <pc:docMk/>
            <pc:sldMk cId="1396980745" sldId="687"/>
            <ac:spMk id="270" creationId="{B274B348-9C27-A4D9-3E55-4136683DD2CC}"/>
          </ac:spMkLst>
        </pc:spChg>
        <pc:spChg chg="add del mod">
          <ac:chgData name="Steiner Andreas 6206 ED" userId="e6377c33-a923-4f14-8587-531c474c7b48" providerId="ADAL" clId="{6ECD27E6-B224-41CD-B4E0-E297462320DD}" dt="2023-11-24T08:40:56.887" v="41484"/>
          <ac:spMkLst>
            <pc:docMk/>
            <pc:sldMk cId="1396980745" sldId="687"/>
            <ac:spMk id="271" creationId="{B152C942-277C-B4E8-0C77-DCAC39C66CA3}"/>
          </ac:spMkLst>
        </pc:spChg>
        <pc:spChg chg="add del mod">
          <ac:chgData name="Steiner Andreas 6206 ED" userId="e6377c33-a923-4f14-8587-531c474c7b48" providerId="ADAL" clId="{6ECD27E6-B224-41CD-B4E0-E297462320DD}" dt="2023-11-24T08:40:59.595" v="41639"/>
          <ac:spMkLst>
            <pc:docMk/>
            <pc:sldMk cId="1396980745" sldId="687"/>
            <ac:spMk id="272" creationId="{FF5DEA95-F0CF-4264-4571-440842E7D402}"/>
          </ac:spMkLst>
        </pc:spChg>
        <pc:spChg chg="add del mod">
          <ac:chgData name="Steiner Andreas 6206 ED" userId="e6377c33-a923-4f14-8587-531c474c7b48" providerId="ADAL" clId="{6ECD27E6-B224-41CD-B4E0-E297462320DD}" dt="2023-11-24T08:41:02.583" v="41794"/>
          <ac:spMkLst>
            <pc:docMk/>
            <pc:sldMk cId="1396980745" sldId="687"/>
            <ac:spMk id="273" creationId="{8CA39D94-ACA3-ED80-2718-B8E414C6F364}"/>
          </ac:spMkLst>
        </pc:spChg>
        <pc:spChg chg="add del mod">
          <ac:chgData name="Steiner Andreas 6206 ED" userId="e6377c33-a923-4f14-8587-531c474c7b48" providerId="ADAL" clId="{6ECD27E6-B224-41CD-B4E0-E297462320DD}" dt="2023-11-24T08:41:05.303" v="41949"/>
          <ac:spMkLst>
            <pc:docMk/>
            <pc:sldMk cId="1396980745" sldId="687"/>
            <ac:spMk id="274" creationId="{44DEDACA-2071-9FC1-3DC2-7236813EB90C}"/>
          </ac:spMkLst>
        </pc:spChg>
        <pc:spChg chg="add del mod">
          <ac:chgData name="Steiner Andreas 6206 ED" userId="e6377c33-a923-4f14-8587-531c474c7b48" providerId="ADAL" clId="{6ECD27E6-B224-41CD-B4E0-E297462320DD}" dt="2023-11-24T08:41:08.676" v="42104"/>
          <ac:spMkLst>
            <pc:docMk/>
            <pc:sldMk cId="1396980745" sldId="687"/>
            <ac:spMk id="275" creationId="{CE48C9CB-8A51-B94F-6F18-46A8756885DD}"/>
          </ac:spMkLst>
        </pc:spChg>
        <pc:spChg chg="add del mod">
          <ac:chgData name="Steiner Andreas 6206 ED" userId="e6377c33-a923-4f14-8587-531c474c7b48" providerId="ADAL" clId="{6ECD27E6-B224-41CD-B4E0-E297462320DD}" dt="2023-11-24T08:41:12.513" v="42259"/>
          <ac:spMkLst>
            <pc:docMk/>
            <pc:sldMk cId="1396980745" sldId="687"/>
            <ac:spMk id="276" creationId="{EA7AF8B4-E8FB-91A3-CF11-921251145F40}"/>
          </ac:spMkLst>
        </pc:spChg>
        <pc:spChg chg="add del mod">
          <ac:chgData name="Steiner Andreas 6206 ED" userId="e6377c33-a923-4f14-8587-531c474c7b48" providerId="ADAL" clId="{6ECD27E6-B224-41CD-B4E0-E297462320DD}" dt="2023-11-24T08:41:15.275" v="42414"/>
          <ac:spMkLst>
            <pc:docMk/>
            <pc:sldMk cId="1396980745" sldId="687"/>
            <ac:spMk id="277" creationId="{A5595247-0125-30F2-9E98-2D03612EA54D}"/>
          </ac:spMkLst>
        </pc:spChg>
        <pc:spChg chg="add del mod">
          <ac:chgData name="Steiner Andreas 6206 ED" userId="e6377c33-a923-4f14-8587-531c474c7b48" providerId="ADAL" clId="{6ECD27E6-B224-41CD-B4E0-E297462320DD}" dt="2023-11-24T08:41:17.413" v="42569"/>
          <ac:spMkLst>
            <pc:docMk/>
            <pc:sldMk cId="1396980745" sldId="687"/>
            <ac:spMk id="278" creationId="{BE31BCBD-12FD-62BF-7F01-C48FDE1FE7F6}"/>
          </ac:spMkLst>
        </pc:spChg>
        <pc:spChg chg="add del mod">
          <ac:chgData name="Steiner Andreas 6206 ED" userId="e6377c33-a923-4f14-8587-531c474c7b48" providerId="ADAL" clId="{6ECD27E6-B224-41CD-B4E0-E297462320DD}" dt="2023-11-24T08:41:19.847" v="42724"/>
          <ac:spMkLst>
            <pc:docMk/>
            <pc:sldMk cId="1396980745" sldId="687"/>
            <ac:spMk id="279" creationId="{51D29C1E-E721-252B-2737-82585E89DAED}"/>
          </ac:spMkLst>
        </pc:spChg>
        <pc:spChg chg="add del mod">
          <ac:chgData name="Steiner Andreas 6206 ED" userId="e6377c33-a923-4f14-8587-531c474c7b48" providerId="ADAL" clId="{6ECD27E6-B224-41CD-B4E0-E297462320DD}" dt="2023-11-24T08:41:22.173" v="42879"/>
          <ac:spMkLst>
            <pc:docMk/>
            <pc:sldMk cId="1396980745" sldId="687"/>
            <ac:spMk id="280" creationId="{A39D8679-2B3F-673D-6908-3D96CF80329F}"/>
          </ac:spMkLst>
        </pc:spChg>
        <pc:spChg chg="add del mod">
          <ac:chgData name="Steiner Andreas 6206 ED" userId="e6377c33-a923-4f14-8587-531c474c7b48" providerId="ADAL" clId="{6ECD27E6-B224-41CD-B4E0-E297462320DD}" dt="2023-11-24T08:41:24.316" v="43034"/>
          <ac:spMkLst>
            <pc:docMk/>
            <pc:sldMk cId="1396980745" sldId="687"/>
            <ac:spMk id="281" creationId="{5C7555FD-2580-0529-4DFB-01245AD1EBB8}"/>
          </ac:spMkLst>
        </pc:spChg>
        <pc:spChg chg="add del mod">
          <ac:chgData name="Steiner Andreas 6206 ED" userId="e6377c33-a923-4f14-8587-531c474c7b48" providerId="ADAL" clId="{6ECD27E6-B224-41CD-B4E0-E297462320DD}" dt="2023-11-24T08:41:26.838" v="43189"/>
          <ac:spMkLst>
            <pc:docMk/>
            <pc:sldMk cId="1396980745" sldId="687"/>
            <ac:spMk id="282" creationId="{70B467A2-75DE-AEDD-B0D1-2675889A293B}"/>
          </ac:spMkLst>
        </pc:spChg>
        <pc:spChg chg="add del mod">
          <ac:chgData name="Steiner Andreas 6206 ED" userId="e6377c33-a923-4f14-8587-531c474c7b48" providerId="ADAL" clId="{6ECD27E6-B224-41CD-B4E0-E297462320DD}" dt="2023-11-24T08:41:28.966" v="43344"/>
          <ac:spMkLst>
            <pc:docMk/>
            <pc:sldMk cId="1396980745" sldId="687"/>
            <ac:spMk id="283" creationId="{412628AD-68A5-BB35-8F07-736E2705AD3E}"/>
          </ac:spMkLst>
        </pc:spChg>
        <pc:spChg chg="add del mod">
          <ac:chgData name="Steiner Andreas 6206 ED" userId="e6377c33-a923-4f14-8587-531c474c7b48" providerId="ADAL" clId="{6ECD27E6-B224-41CD-B4E0-E297462320DD}" dt="2023-11-24T08:41:31.195" v="43499"/>
          <ac:spMkLst>
            <pc:docMk/>
            <pc:sldMk cId="1396980745" sldId="687"/>
            <ac:spMk id="284" creationId="{322B40F1-9897-188A-EE2E-44799AB9C488}"/>
          </ac:spMkLst>
        </pc:spChg>
        <pc:spChg chg="add del mod">
          <ac:chgData name="Steiner Andreas 6206 ED" userId="e6377c33-a923-4f14-8587-531c474c7b48" providerId="ADAL" clId="{6ECD27E6-B224-41CD-B4E0-E297462320DD}" dt="2023-11-24T08:41:35.614" v="43654"/>
          <ac:spMkLst>
            <pc:docMk/>
            <pc:sldMk cId="1396980745" sldId="687"/>
            <ac:spMk id="285" creationId="{9141509A-71A5-84B0-7D31-BCBCBCA28403}"/>
          </ac:spMkLst>
        </pc:spChg>
        <pc:spChg chg="add del mod">
          <ac:chgData name="Steiner Andreas 6206 ED" userId="e6377c33-a923-4f14-8587-531c474c7b48" providerId="ADAL" clId="{6ECD27E6-B224-41CD-B4E0-E297462320DD}" dt="2023-11-24T08:41:38.583" v="43809"/>
          <ac:spMkLst>
            <pc:docMk/>
            <pc:sldMk cId="1396980745" sldId="687"/>
            <ac:spMk id="286" creationId="{4D7A35D0-6301-51A2-5A17-20B6FA46CB03}"/>
          </ac:spMkLst>
        </pc:spChg>
        <pc:spChg chg="add del mod">
          <ac:chgData name="Steiner Andreas 6206 ED" userId="e6377c33-a923-4f14-8587-531c474c7b48" providerId="ADAL" clId="{6ECD27E6-B224-41CD-B4E0-E297462320DD}" dt="2023-11-24T08:41:40.824" v="43964"/>
          <ac:spMkLst>
            <pc:docMk/>
            <pc:sldMk cId="1396980745" sldId="687"/>
            <ac:spMk id="287" creationId="{02D647CB-EE4C-09F0-61C3-2674EFC2FEC8}"/>
          </ac:spMkLst>
        </pc:spChg>
        <pc:spChg chg="add del mod">
          <ac:chgData name="Steiner Andreas 6206 ED" userId="e6377c33-a923-4f14-8587-531c474c7b48" providerId="ADAL" clId="{6ECD27E6-B224-41CD-B4E0-E297462320DD}" dt="2023-11-24T08:41:43.220" v="44119"/>
          <ac:spMkLst>
            <pc:docMk/>
            <pc:sldMk cId="1396980745" sldId="687"/>
            <ac:spMk id="288" creationId="{DC153699-3F5D-BC44-770F-68D9DD810031}"/>
          </ac:spMkLst>
        </pc:spChg>
        <pc:spChg chg="add del mod">
          <ac:chgData name="Steiner Andreas 6206 ED" userId="e6377c33-a923-4f14-8587-531c474c7b48" providerId="ADAL" clId="{6ECD27E6-B224-41CD-B4E0-E297462320DD}" dt="2023-11-24T08:41:45.131" v="44274"/>
          <ac:spMkLst>
            <pc:docMk/>
            <pc:sldMk cId="1396980745" sldId="687"/>
            <ac:spMk id="289" creationId="{28173016-9AD1-09F9-11AD-6184349A6F92}"/>
          </ac:spMkLst>
        </pc:spChg>
        <pc:spChg chg="add del mod">
          <ac:chgData name="Steiner Andreas 6206 ED" userId="e6377c33-a923-4f14-8587-531c474c7b48" providerId="ADAL" clId="{6ECD27E6-B224-41CD-B4E0-E297462320DD}" dt="2023-11-24T08:41:47.045" v="44429"/>
          <ac:spMkLst>
            <pc:docMk/>
            <pc:sldMk cId="1396980745" sldId="687"/>
            <ac:spMk id="290" creationId="{33B5BB18-E1B7-69A4-BFE2-D8A020A04082}"/>
          </ac:spMkLst>
        </pc:spChg>
        <pc:spChg chg="add del mod">
          <ac:chgData name="Steiner Andreas 6206 ED" userId="e6377c33-a923-4f14-8587-531c474c7b48" providerId="ADAL" clId="{6ECD27E6-B224-41CD-B4E0-E297462320DD}" dt="2023-11-24T08:41:49.081" v="44584"/>
          <ac:spMkLst>
            <pc:docMk/>
            <pc:sldMk cId="1396980745" sldId="687"/>
            <ac:spMk id="291" creationId="{DCB27A4D-B03C-F11E-AA8B-9968972B78EA}"/>
          </ac:spMkLst>
        </pc:spChg>
        <pc:spChg chg="add del mod">
          <ac:chgData name="Steiner Andreas 6206 ED" userId="e6377c33-a923-4f14-8587-531c474c7b48" providerId="ADAL" clId="{6ECD27E6-B224-41CD-B4E0-E297462320DD}" dt="2023-11-24T08:41:50.941" v="44739"/>
          <ac:spMkLst>
            <pc:docMk/>
            <pc:sldMk cId="1396980745" sldId="687"/>
            <ac:spMk id="292" creationId="{A4DE6EC4-B17F-32F5-6A58-F0E148788539}"/>
          </ac:spMkLst>
        </pc:spChg>
        <pc:spChg chg="add del mod">
          <ac:chgData name="Steiner Andreas 6206 ED" userId="e6377c33-a923-4f14-8587-531c474c7b48" providerId="ADAL" clId="{6ECD27E6-B224-41CD-B4E0-E297462320DD}" dt="2023-11-24T08:41:53.280" v="44894"/>
          <ac:spMkLst>
            <pc:docMk/>
            <pc:sldMk cId="1396980745" sldId="687"/>
            <ac:spMk id="293" creationId="{8943BF87-2743-5A1E-8058-42FD759C748E}"/>
          </ac:spMkLst>
        </pc:spChg>
        <pc:spChg chg="add del mod">
          <ac:chgData name="Steiner Andreas 6206 ED" userId="e6377c33-a923-4f14-8587-531c474c7b48" providerId="ADAL" clId="{6ECD27E6-B224-41CD-B4E0-E297462320DD}" dt="2023-11-24T08:41:55.207" v="45049"/>
          <ac:spMkLst>
            <pc:docMk/>
            <pc:sldMk cId="1396980745" sldId="687"/>
            <ac:spMk id="294" creationId="{00C230A2-735A-1CD1-E7A0-FFCAF83BD434}"/>
          </ac:spMkLst>
        </pc:spChg>
        <pc:spChg chg="add del mod">
          <ac:chgData name="Steiner Andreas 6206 ED" userId="e6377c33-a923-4f14-8587-531c474c7b48" providerId="ADAL" clId="{6ECD27E6-B224-41CD-B4E0-E297462320DD}" dt="2023-11-24T08:41:57.478" v="45204"/>
          <ac:spMkLst>
            <pc:docMk/>
            <pc:sldMk cId="1396980745" sldId="687"/>
            <ac:spMk id="295" creationId="{8FFC3A28-7A1D-1BE6-BAD9-8480323F9ECC}"/>
          </ac:spMkLst>
        </pc:spChg>
        <pc:spChg chg="add del mod">
          <ac:chgData name="Steiner Andreas 6206 ED" userId="e6377c33-a923-4f14-8587-531c474c7b48" providerId="ADAL" clId="{6ECD27E6-B224-41CD-B4E0-E297462320DD}" dt="2023-11-24T08:41:59.644" v="45359"/>
          <ac:spMkLst>
            <pc:docMk/>
            <pc:sldMk cId="1396980745" sldId="687"/>
            <ac:spMk id="296" creationId="{1D01E73D-AC46-6C7C-7AA4-86654B7297DA}"/>
          </ac:spMkLst>
        </pc:spChg>
        <pc:spChg chg="add del mod">
          <ac:chgData name="Steiner Andreas 6206 ED" userId="e6377c33-a923-4f14-8587-531c474c7b48" providerId="ADAL" clId="{6ECD27E6-B224-41CD-B4E0-E297462320DD}" dt="2023-11-24T08:42:01.860" v="45514"/>
          <ac:spMkLst>
            <pc:docMk/>
            <pc:sldMk cId="1396980745" sldId="687"/>
            <ac:spMk id="297" creationId="{B5A15E28-2B4B-8CAE-C41D-0CAB021388D6}"/>
          </ac:spMkLst>
        </pc:spChg>
        <pc:spChg chg="add del mod">
          <ac:chgData name="Steiner Andreas 6206 ED" userId="e6377c33-a923-4f14-8587-531c474c7b48" providerId="ADAL" clId="{6ECD27E6-B224-41CD-B4E0-E297462320DD}" dt="2023-11-24T08:42:03.873" v="45669"/>
          <ac:spMkLst>
            <pc:docMk/>
            <pc:sldMk cId="1396980745" sldId="687"/>
            <ac:spMk id="298" creationId="{23EFCDDE-5D87-F6FA-C0DC-04B75DEE38F0}"/>
          </ac:spMkLst>
        </pc:spChg>
        <pc:spChg chg="add del mod">
          <ac:chgData name="Steiner Andreas 6206 ED" userId="e6377c33-a923-4f14-8587-531c474c7b48" providerId="ADAL" clId="{6ECD27E6-B224-41CD-B4E0-E297462320DD}" dt="2023-11-24T08:42:05.829" v="45824"/>
          <ac:spMkLst>
            <pc:docMk/>
            <pc:sldMk cId="1396980745" sldId="687"/>
            <ac:spMk id="299" creationId="{F8F01487-41BA-35B9-3B59-6B89216B744D}"/>
          </ac:spMkLst>
        </pc:spChg>
        <pc:spChg chg="add del mod">
          <ac:chgData name="Steiner Andreas 6206 ED" userId="e6377c33-a923-4f14-8587-531c474c7b48" providerId="ADAL" clId="{6ECD27E6-B224-41CD-B4E0-E297462320DD}" dt="2023-11-24T08:42:07.731" v="45979"/>
          <ac:spMkLst>
            <pc:docMk/>
            <pc:sldMk cId="1396980745" sldId="687"/>
            <ac:spMk id="300" creationId="{AAC60128-E985-3182-0B26-84FB76453959}"/>
          </ac:spMkLst>
        </pc:spChg>
        <pc:spChg chg="add del mod">
          <ac:chgData name="Steiner Andreas 6206 ED" userId="e6377c33-a923-4f14-8587-531c474c7b48" providerId="ADAL" clId="{6ECD27E6-B224-41CD-B4E0-E297462320DD}" dt="2023-11-24T08:42:09.622" v="46134"/>
          <ac:spMkLst>
            <pc:docMk/>
            <pc:sldMk cId="1396980745" sldId="687"/>
            <ac:spMk id="301" creationId="{6653DB3F-7F2D-CBEA-10C5-99710AEDEE2A}"/>
          </ac:spMkLst>
        </pc:spChg>
        <pc:spChg chg="add del mod">
          <ac:chgData name="Steiner Andreas 6206 ED" userId="e6377c33-a923-4f14-8587-531c474c7b48" providerId="ADAL" clId="{6ECD27E6-B224-41CD-B4E0-E297462320DD}" dt="2023-11-24T08:42:11.982" v="46289"/>
          <ac:spMkLst>
            <pc:docMk/>
            <pc:sldMk cId="1396980745" sldId="687"/>
            <ac:spMk id="302" creationId="{973B4050-3AD3-C8B2-8563-B29E3DDBA962}"/>
          </ac:spMkLst>
        </pc:spChg>
        <pc:spChg chg="add del mod">
          <ac:chgData name="Steiner Andreas 6206 ED" userId="e6377c33-a923-4f14-8587-531c474c7b48" providerId="ADAL" clId="{6ECD27E6-B224-41CD-B4E0-E297462320DD}" dt="2023-11-24T08:42:14.466" v="46444"/>
          <ac:spMkLst>
            <pc:docMk/>
            <pc:sldMk cId="1396980745" sldId="687"/>
            <ac:spMk id="303" creationId="{1BF67856-1D14-50CE-F286-0E6F3E417861}"/>
          </ac:spMkLst>
        </pc:spChg>
        <pc:spChg chg="add del mod">
          <ac:chgData name="Steiner Andreas 6206 ED" userId="e6377c33-a923-4f14-8587-531c474c7b48" providerId="ADAL" clId="{6ECD27E6-B224-41CD-B4E0-E297462320DD}" dt="2023-11-24T08:42:16.899" v="46599"/>
          <ac:spMkLst>
            <pc:docMk/>
            <pc:sldMk cId="1396980745" sldId="687"/>
            <ac:spMk id="304" creationId="{0D245116-9CF5-C54F-8E30-71497A0C8345}"/>
          </ac:spMkLst>
        </pc:spChg>
        <pc:spChg chg="add del mod">
          <ac:chgData name="Steiner Andreas 6206 ED" userId="e6377c33-a923-4f14-8587-531c474c7b48" providerId="ADAL" clId="{6ECD27E6-B224-41CD-B4E0-E297462320DD}" dt="2023-11-24T08:42:19.024" v="46754"/>
          <ac:spMkLst>
            <pc:docMk/>
            <pc:sldMk cId="1396980745" sldId="687"/>
            <ac:spMk id="305" creationId="{EC91D347-5800-20CB-9599-26C01540E8AE}"/>
          </ac:spMkLst>
        </pc:spChg>
        <pc:spChg chg="add del mod">
          <ac:chgData name="Steiner Andreas 6206 ED" userId="e6377c33-a923-4f14-8587-531c474c7b48" providerId="ADAL" clId="{6ECD27E6-B224-41CD-B4E0-E297462320DD}" dt="2023-11-24T08:42:21.349" v="46909"/>
          <ac:spMkLst>
            <pc:docMk/>
            <pc:sldMk cId="1396980745" sldId="687"/>
            <ac:spMk id="306" creationId="{C764E25A-E39A-853D-51D6-16BA12A74E93}"/>
          </ac:spMkLst>
        </pc:spChg>
        <pc:spChg chg="add del mod">
          <ac:chgData name="Steiner Andreas 6206 ED" userId="e6377c33-a923-4f14-8587-531c474c7b48" providerId="ADAL" clId="{6ECD27E6-B224-41CD-B4E0-E297462320DD}" dt="2023-11-24T08:42:23.980" v="47064"/>
          <ac:spMkLst>
            <pc:docMk/>
            <pc:sldMk cId="1396980745" sldId="687"/>
            <ac:spMk id="307" creationId="{0F1F1F7C-E71F-CE33-A49E-967DFFD8E360}"/>
          </ac:spMkLst>
        </pc:spChg>
        <pc:spChg chg="add del mod">
          <ac:chgData name="Steiner Andreas 6206 ED" userId="e6377c33-a923-4f14-8587-531c474c7b48" providerId="ADAL" clId="{6ECD27E6-B224-41CD-B4E0-E297462320DD}" dt="2023-11-24T08:42:25.963" v="47219"/>
          <ac:spMkLst>
            <pc:docMk/>
            <pc:sldMk cId="1396980745" sldId="687"/>
            <ac:spMk id="308" creationId="{068CFD37-63CE-12C3-9DE5-6296D33B31B5}"/>
          </ac:spMkLst>
        </pc:spChg>
        <pc:spChg chg="add del mod">
          <ac:chgData name="Steiner Andreas 6206 ED" userId="e6377c33-a923-4f14-8587-531c474c7b48" providerId="ADAL" clId="{6ECD27E6-B224-41CD-B4E0-E297462320DD}" dt="2023-11-24T08:42:27.864" v="47374"/>
          <ac:spMkLst>
            <pc:docMk/>
            <pc:sldMk cId="1396980745" sldId="687"/>
            <ac:spMk id="309" creationId="{163669E2-3424-71F2-A9C0-63320FB8BE41}"/>
          </ac:spMkLst>
        </pc:spChg>
        <pc:spChg chg="add del mod">
          <ac:chgData name="Steiner Andreas 6206 ED" userId="e6377c33-a923-4f14-8587-531c474c7b48" providerId="ADAL" clId="{6ECD27E6-B224-41CD-B4E0-E297462320DD}" dt="2023-11-24T08:42:29.630" v="47529"/>
          <ac:spMkLst>
            <pc:docMk/>
            <pc:sldMk cId="1396980745" sldId="687"/>
            <ac:spMk id="310" creationId="{1AD00F94-29AA-119C-7443-82EE90FEC2EF}"/>
          </ac:spMkLst>
        </pc:spChg>
        <pc:spChg chg="add del mod">
          <ac:chgData name="Steiner Andreas 6206 ED" userId="e6377c33-a923-4f14-8587-531c474c7b48" providerId="ADAL" clId="{6ECD27E6-B224-41CD-B4E0-E297462320DD}" dt="2023-11-24T08:42:31.520" v="47684"/>
          <ac:spMkLst>
            <pc:docMk/>
            <pc:sldMk cId="1396980745" sldId="687"/>
            <ac:spMk id="311" creationId="{32C06402-2B2D-BD45-5795-F8E1A858B75F}"/>
          </ac:spMkLst>
        </pc:spChg>
        <pc:spChg chg="add del mod">
          <ac:chgData name="Steiner Andreas 6206 ED" userId="e6377c33-a923-4f14-8587-531c474c7b48" providerId="ADAL" clId="{6ECD27E6-B224-41CD-B4E0-E297462320DD}" dt="2023-11-24T08:42:33.505" v="47839"/>
          <ac:spMkLst>
            <pc:docMk/>
            <pc:sldMk cId="1396980745" sldId="687"/>
            <ac:spMk id="312" creationId="{66889D19-512D-2A7E-3214-EEC43637DCC8}"/>
          </ac:spMkLst>
        </pc:spChg>
        <pc:spChg chg="add del mod">
          <ac:chgData name="Steiner Andreas 6206 ED" userId="e6377c33-a923-4f14-8587-531c474c7b48" providerId="ADAL" clId="{6ECD27E6-B224-41CD-B4E0-E297462320DD}" dt="2023-11-24T08:42:35.568" v="47994"/>
          <ac:spMkLst>
            <pc:docMk/>
            <pc:sldMk cId="1396980745" sldId="687"/>
            <ac:spMk id="313" creationId="{343F483E-6C61-5192-2366-DD66789A0086}"/>
          </ac:spMkLst>
        </pc:spChg>
        <pc:spChg chg="add del mod">
          <ac:chgData name="Steiner Andreas 6206 ED" userId="e6377c33-a923-4f14-8587-531c474c7b48" providerId="ADAL" clId="{6ECD27E6-B224-41CD-B4E0-E297462320DD}" dt="2023-11-24T08:42:37.453" v="48149"/>
          <ac:spMkLst>
            <pc:docMk/>
            <pc:sldMk cId="1396980745" sldId="687"/>
            <ac:spMk id="314" creationId="{15B772C1-3CAE-AEA9-A345-C00928A7C1B0}"/>
          </ac:spMkLst>
        </pc:spChg>
        <pc:spChg chg="add del mod">
          <ac:chgData name="Steiner Andreas 6206 ED" userId="e6377c33-a923-4f14-8587-531c474c7b48" providerId="ADAL" clId="{6ECD27E6-B224-41CD-B4E0-E297462320DD}" dt="2023-11-24T08:42:39.320" v="48304"/>
          <ac:spMkLst>
            <pc:docMk/>
            <pc:sldMk cId="1396980745" sldId="687"/>
            <ac:spMk id="315" creationId="{18BCEEEA-C572-E074-70AF-A7619343AC1E}"/>
          </ac:spMkLst>
        </pc:spChg>
        <pc:spChg chg="add del mod">
          <ac:chgData name="Steiner Andreas 6206 ED" userId="e6377c33-a923-4f14-8587-531c474c7b48" providerId="ADAL" clId="{6ECD27E6-B224-41CD-B4E0-E297462320DD}" dt="2023-11-24T08:42:41.438" v="48459"/>
          <ac:spMkLst>
            <pc:docMk/>
            <pc:sldMk cId="1396980745" sldId="687"/>
            <ac:spMk id="316" creationId="{C647B9F0-2460-5056-1F24-A214FCEEE5BC}"/>
          </ac:spMkLst>
        </pc:spChg>
        <pc:spChg chg="add del mod">
          <ac:chgData name="Steiner Andreas 6206 ED" userId="e6377c33-a923-4f14-8587-531c474c7b48" providerId="ADAL" clId="{6ECD27E6-B224-41CD-B4E0-E297462320DD}" dt="2023-11-24T08:42:43.547" v="48614"/>
          <ac:spMkLst>
            <pc:docMk/>
            <pc:sldMk cId="1396980745" sldId="687"/>
            <ac:spMk id="317" creationId="{80DAA6D6-7BC1-7019-641A-CEDC13CBAE3B}"/>
          </ac:spMkLst>
        </pc:spChg>
        <pc:spChg chg="add del mod">
          <ac:chgData name="Steiner Andreas 6206 ED" userId="e6377c33-a923-4f14-8587-531c474c7b48" providerId="ADAL" clId="{6ECD27E6-B224-41CD-B4E0-E297462320DD}" dt="2023-11-24T08:42:45.582" v="48769"/>
          <ac:spMkLst>
            <pc:docMk/>
            <pc:sldMk cId="1396980745" sldId="687"/>
            <ac:spMk id="318" creationId="{12F3EE5A-4440-DDE4-3346-9A4497FDCEA5}"/>
          </ac:spMkLst>
        </pc:spChg>
        <pc:spChg chg="add del mod">
          <ac:chgData name="Steiner Andreas 6206 ED" userId="e6377c33-a923-4f14-8587-531c474c7b48" providerId="ADAL" clId="{6ECD27E6-B224-41CD-B4E0-E297462320DD}" dt="2023-11-24T08:42:47.467" v="48924"/>
          <ac:spMkLst>
            <pc:docMk/>
            <pc:sldMk cId="1396980745" sldId="687"/>
            <ac:spMk id="319" creationId="{96E9D3F9-EBA1-32C1-C60C-746F31FE39F7}"/>
          </ac:spMkLst>
        </pc:spChg>
        <pc:spChg chg="add del mod">
          <ac:chgData name="Steiner Andreas 6206 ED" userId="e6377c33-a923-4f14-8587-531c474c7b48" providerId="ADAL" clId="{6ECD27E6-B224-41CD-B4E0-E297462320DD}" dt="2023-11-24T08:42:49.268" v="49079"/>
          <ac:spMkLst>
            <pc:docMk/>
            <pc:sldMk cId="1396980745" sldId="687"/>
            <ac:spMk id="320" creationId="{4958D18F-A530-53EE-1C61-B81BDE37ED14}"/>
          </ac:spMkLst>
        </pc:spChg>
        <pc:spChg chg="add del mod">
          <ac:chgData name="Steiner Andreas 6206 ED" userId="e6377c33-a923-4f14-8587-531c474c7b48" providerId="ADAL" clId="{6ECD27E6-B224-41CD-B4E0-E297462320DD}" dt="2023-11-24T08:42:51.144" v="49234"/>
          <ac:spMkLst>
            <pc:docMk/>
            <pc:sldMk cId="1396980745" sldId="687"/>
            <ac:spMk id="321" creationId="{8DFBD5FB-7731-C409-F79E-BC3AA64B47B1}"/>
          </ac:spMkLst>
        </pc:spChg>
        <pc:spChg chg="add del mod">
          <ac:chgData name="Steiner Andreas 6206 ED" userId="e6377c33-a923-4f14-8587-531c474c7b48" providerId="ADAL" clId="{6ECD27E6-B224-41CD-B4E0-E297462320DD}" dt="2023-11-24T08:42:53.241" v="49389"/>
          <ac:spMkLst>
            <pc:docMk/>
            <pc:sldMk cId="1396980745" sldId="687"/>
            <ac:spMk id="322" creationId="{71B2C70F-1654-AD2C-3B38-85427E46F841}"/>
          </ac:spMkLst>
        </pc:spChg>
        <pc:spChg chg="add del mod">
          <ac:chgData name="Steiner Andreas 6206 ED" userId="e6377c33-a923-4f14-8587-531c474c7b48" providerId="ADAL" clId="{6ECD27E6-B224-41CD-B4E0-E297462320DD}" dt="2023-11-24T08:42:55.839" v="49544"/>
          <ac:spMkLst>
            <pc:docMk/>
            <pc:sldMk cId="1396980745" sldId="687"/>
            <ac:spMk id="323" creationId="{840C2A36-E3F8-A304-B695-51F3DCE709E2}"/>
          </ac:spMkLst>
        </pc:spChg>
        <pc:spChg chg="add del mod">
          <ac:chgData name="Steiner Andreas 6206 ED" userId="e6377c33-a923-4f14-8587-531c474c7b48" providerId="ADAL" clId="{6ECD27E6-B224-41CD-B4E0-E297462320DD}" dt="2023-11-24T08:42:57.942" v="49699"/>
          <ac:spMkLst>
            <pc:docMk/>
            <pc:sldMk cId="1396980745" sldId="687"/>
            <ac:spMk id="324" creationId="{8D6FDDC0-9391-4024-E0DC-EE55F3D52964}"/>
          </ac:spMkLst>
        </pc:spChg>
        <pc:spChg chg="add del mod">
          <ac:chgData name="Steiner Andreas 6206 ED" userId="e6377c33-a923-4f14-8587-531c474c7b48" providerId="ADAL" clId="{6ECD27E6-B224-41CD-B4E0-E297462320DD}" dt="2023-11-24T08:42:59.867" v="49854"/>
          <ac:spMkLst>
            <pc:docMk/>
            <pc:sldMk cId="1396980745" sldId="687"/>
            <ac:spMk id="325" creationId="{C68AD670-188D-9524-CB83-87180E9385E6}"/>
          </ac:spMkLst>
        </pc:spChg>
        <pc:spChg chg="add del mod">
          <ac:chgData name="Steiner Andreas 6206 ED" userId="e6377c33-a923-4f14-8587-531c474c7b48" providerId="ADAL" clId="{6ECD27E6-B224-41CD-B4E0-E297462320DD}" dt="2023-11-24T08:43:01.862" v="50009"/>
          <ac:spMkLst>
            <pc:docMk/>
            <pc:sldMk cId="1396980745" sldId="687"/>
            <ac:spMk id="326" creationId="{FB749680-DF10-C933-7A14-0A05BA122431}"/>
          </ac:spMkLst>
        </pc:spChg>
        <pc:spChg chg="add del mod">
          <ac:chgData name="Steiner Andreas 6206 ED" userId="e6377c33-a923-4f14-8587-531c474c7b48" providerId="ADAL" clId="{6ECD27E6-B224-41CD-B4E0-E297462320DD}" dt="2023-11-24T08:43:03.849" v="50164"/>
          <ac:spMkLst>
            <pc:docMk/>
            <pc:sldMk cId="1396980745" sldId="687"/>
            <ac:spMk id="327" creationId="{3482DE59-2764-2A4B-5F92-A2D97F4F4517}"/>
          </ac:spMkLst>
        </pc:spChg>
        <pc:spChg chg="add del mod">
          <ac:chgData name="Steiner Andreas 6206 ED" userId="e6377c33-a923-4f14-8587-531c474c7b48" providerId="ADAL" clId="{6ECD27E6-B224-41CD-B4E0-E297462320DD}" dt="2023-11-24T08:43:05.731" v="50319"/>
          <ac:spMkLst>
            <pc:docMk/>
            <pc:sldMk cId="1396980745" sldId="687"/>
            <ac:spMk id="328" creationId="{9297552D-6EDE-BDA6-8D99-93B871ECCF64}"/>
          </ac:spMkLst>
        </pc:spChg>
        <pc:spChg chg="add del mod">
          <ac:chgData name="Steiner Andreas 6206 ED" userId="e6377c33-a923-4f14-8587-531c474c7b48" providerId="ADAL" clId="{6ECD27E6-B224-41CD-B4E0-E297462320DD}" dt="2023-11-24T08:43:07.930" v="50474"/>
          <ac:spMkLst>
            <pc:docMk/>
            <pc:sldMk cId="1396980745" sldId="687"/>
            <ac:spMk id="329" creationId="{272A5EE9-9F4F-0ADB-31B0-2C3FF1EFBF22}"/>
          </ac:spMkLst>
        </pc:spChg>
        <pc:spChg chg="add del mod">
          <ac:chgData name="Steiner Andreas 6206 ED" userId="e6377c33-a923-4f14-8587-531c474c7b48" providerId="ADAL" clId="{6ECD27E6-B224-41CD-B4E0-E297462320DD}" dt="2023-11-24T08:43:10.001" v="50629"/>
          <ac:spMkLst>
            <pc:docMk/>
            <pc:sldMk cId="1396980745" sldId="687"/>
            <ac:spMk id="330" creationId="{BEAB44D3-E7CB-D3BA-5596-9EE1F6182F4A}"/>
          </ac:spMkLst>
        </pc:spChg>
        <pc:spChg chg="add del mod">
          <ac:chgData name="Steiner Andreas 6206 ED" userId="e6377c33-a923-4f14-8587-531c474c7b48" providerId="ADAL" clId="{6ECD27E6-B224-41CD-B4E0-E297462320DD}" dt="2023-11-24T08:43:11.837" v="50784"/>
          <ac:spMkLst>
            <pc:docMk/>
            <pc:sldMk cId="1396980745" sldId="687"/>
            <ac:spMk id="331" creationId="{3CAE33C9-2F44-87B1-6EDF-3194AFD94565}"/>
          </ac:spMkLst>
        </pc:spChg>
        <pc:spChg chg="add del mod">
          <ac:chgData name="Steiner Andreas 6206 ED" userId="e6377c33-a923-4f14-8587-531c474c7b48" providerId="ADAL" clId="{6ECD27E6-B224-41CD-B4E0-E297462320DD}" dt="2023-11-24T08:43:13.893" v="50939"/>
          <ac:spMkLst>
            <pc:docMk/>
            <pc:sldMk cId="1396980745" sldId="687"/>
            <ac:spMk id="332" creationId="{9D175AC1-EC5F-B598-E65B-FE0505250D93}"/>
          </ac:spMkLst>
        </pc:spChg>
        <pc:spChg chg="add del mod">
          <ac:chgData name="Steiner Andreas 6206 ED" userId="e6377c33-a923-4f14-8587-531c474c7b48" providerId="ADAL" clId="{6ECD27E6-B224-41CD-B4E0-E297462320DD}" dt="2023-11-24T08:43:15.871" v="51094"/>
          <ac:spMkLst>
            <pc:docMk/>
            <pc:sldMk cId="1396980745" sldId="687"/>
            <ac:spMk id="333" creationId="{3F3C717A-7D05-A78F-0AD5-1BB677911298}"/>
          </ac:spMkLst>
        </pc:spChg>
        <pc:spChg chg="add del mod">
          <ac:chgData name="Steiner Andreas 6206 ED" userId="e6377c33-a923-4f14-8587-531c474c7b48" providerId="ADAL" clId="{6ECD27E6-B224-41CD-B4E0-E297462320DD}" dt="2023-11-24T08:43:17.950" v="51249"/>
          <ac:spMkLst>
            <pc:docMk/>
            <pc:sldMk cId="1396980745" sldId="687"/>
            <ac:spMk id="334" creationId="{281819B8-E164-6CB7-CC6D-D87E4CD3303B}"/>
          </ac:spMkLst>
        </pc:spChg>
        <pc:spChg chg="add del mod">
          <ac:chgData name="Steiner Andreas 6206 ED" userId="e6377c33-a923-4f14-8587-531c474c7b48" providerId="ADAL" clId="{6ECD27E6-B224-41CD-B4E0-E297462320DD}" dt="2023-11-24T08:43:19.938" v="51404"/>
          <ac:spMkLst>
            <pc:docMk/>
            <pc:sldMk cId="1396980745" sldId="687"/>
            <ac:spMk id="335" creationId="{AD9BB873-A4B5-F20D-6E79-BD1B82D31ABC}"/>
          </ac:spMkLst>
        </pc:spChg>
        <pc:spChg chg="add del mod">
          <ac:chgData name="Steiner Andreas 6206 ED" userId="e6377c33-a923-4f14-8587-531c474c7b48" providerId="ADAL" clId="{6ECD27E6-B224-41CD-B4E0-E297462320DD}" dt="2023-11-24T08:43:21.841" v="51559"/>
          <ac:spMkLst>
            <pc:docMk/>
            <pc:sldMk cId="1396980745" sldId="687"/>
            <ac:spMk id="336" creationId="{38EB57F2-47BC-70D4-BB97-5247B23BF985}"/>
          </ac:spMkLst>
        </pc:spChg>
        <pc:spChg chg="add del mod">
          <ac:chgData name="Steiner Andreas 6206 ED" userId="e6377c33-a923-4f14-8587-531c474c7b48" providerId="ADAL" clId="{6ECD27E6-B224-41CD-B4E0-E297462320DD}" dt="2023-11-24T08:43:23.776" v="51714"/>
          <ac:spMkLst>
            <pc:docMk/>
            <pc:sldMk cId="1396980745" sldId="687"/>
            <ac:spMk id="337" creationId="{E4853EA6-BEDB-E158-6549-B4920FBC2C64}"/>
          </ac:spMkLst>
        </pc:spChg>
        <pc:spChg chg="add del mod">
          <ac:chgData name="Steiner Andreas 6206 ED" userId="e6377c33-a923-4f14-8587-531c474c7b48" providerId="ADAL" clId="{6ECD27E6-B224-41CD-B4E0-E297462320DD}" dt="2023-11-24T08:43:25.669" v="51869"/>
          <ac:spMkLst>
            <pc:docMk/>
            <pc:sldMk cId="1396980745" sldId="687"/>
            <ac:spMk id="338" creationId="{0D1358B0-14E3-5906-57F2-008186A9FB8B}"/>
          </ac:spMkLst>
        </pc:spChg>
        <pc:spChg chg="add del mod">
          <ac:chgData name="Steiner Andreas 6206 ED" userId="e6377c33-a923-4f14-8587-531c474c7b48" providerId="ADAL" clId="{6ECD27E6-B224-41CD-B4E0-E297462320DD}" dt="2023-11-24T08:43:27.506" v="52024"/>
          <ac:spMkLst>
            <pc:docMk/>
            <pc:sldMk cId="1396980745" sldId="687"/>
            <ac:spMk id="339" creationId="{31A52B05-F45D-3196-66D6-8A8F74213AA2}"/>
          </ac:spMkLst>
        </pc:spChg>
        <pc:spChg chg="add del mod">
          <ac:chgData name="Steiner Andreas 6206 ED" userId="e6377c33-a923-4f14-8587-531c474c7b48" providerId="ADAL" clId="{6ECD27E6-B224-41CD-B4E0-E297462320DD}" dt="2023-11-24T08:43:29.301" v="52179"/>
          <ac:spMkLst>
            <pc:docMk/>
            <pc:sldMk cId="1396980745" sldId="687"/>
            <ac:spMk id="340" creationId="{97765541-B7DE-FC18-1092-38F056FAC3C9}"/>
          </ac:spMkLst>
        </pc:spChg>
        <pc:spChg chg="add del mod">
          <ac:chgData name="Steiner Andreas 6206 ED" userId="e6377c33-a923-4f14-8587-531c474c7b48" providerId="ADAL" clId="{6ECD27E6-B224-41CD-B4E0-E297462320DD}" dt="2023-11-24T08:43:31.983" v="52334"/>
          <ac:spMkLst>
            <pc:docMk/>
            <pc:sldMk cId="1396980745" sldId="687"/>
            <ac:spMk id="341" creationId="{7E9973FC-9E91-F51F-DC16-A2CDEA908943}"/>
          </ac:spMkLst>
        </pc:spChg>
        <pc:spChg chg="add del mod">
          <ac:chgData name="Steiner Andreas 6206 ED" userId="e6377c33-a923-4f14-8587-531c474c7b48" providerId="ADAL" clId="{6ECD27E6-B224-41CD-B4E0-E297462320DD}" dt="2023-11-24T08:43:34.507" v="52489"/>
          <ac:spMkLst>
            <pc:docMk/>
            <pc:sldMk cId="1396980745" sldId="687"/>
            <ac:spMk id="342" creationId="{4CD19BD2-02CD-BC6B-15F2-AA07AC37CBAC}"/>
          </ac:spMkLst>
        </pc:spChg>
        <pc:spChg chg="add del mod">
          <ac:chgData name="Steiner Andreas 6206 ED" userId="e6377c33-a923-4f14-8587-531c474c7b48" providerId="ADAL" clId="{6ECD27E6-B224-41CD-B4E0-E297462320DD}" dt="2023-11-24T08:43:36.594" v="52644"/>
          <ac:spMkLst>
            <pc:docMk/>
            <pc:sldMk cId="1396980745" sldId="687"/>
            <ac:spMk id="343" creationId="{6E3BAD1F-4C08-38D2-48FC-0C719F7A87C5}"/>
          </ac:spMkLst>
        </pc:spChg>
        <pc:spChg chg="add del mod">
          <ac:chgData name="Steiner Andreas 6206 ED" userId="e6377c33-a923-4f14-8587-531c474c7b48" providerId="ADAL" clId="{6ECD27E6-B224-41CD-B4E0-E297462320DD}" dt="2023-11-24T08:43:38.698" v="52799"/>
          <ac:spMkLst>
            <pc:docMk/>
            <pc:sldMk cId="1396980745" sldId="687"/>
            <ac:spMk id="344" creationId="{F091FCFC-B5D8-FF6B-FABF-D5C44875739B}"/>
          </ac:spMkLst>
        </pc:spChg>
        <pc:spChg chg="add del mod">
          <ac:chgData name="Steiner Andreas 6206 ED" userId="e6377c33-a923-4f14-8587-531c474c7b48" providerId="ADAL" clId="{6ECD27E6-B224-41CD-B4E0-E297462320DD}" dt="2023-11-24T08:43:40.812" v="52954"/>
          <ac:spMkLst>
            <pc:docMk/>
            <pc:sldMk cId="1396980745" sldId="687"/>
            <ac:spMk id="345" creationId="{B3170002-3606-B94F-5298-85B37BD67E1E}"/>
          </ac:spMkLst>
        </pc:spChg>
        <pc:spChg chg="add del mod">
          <ac:chgData name="Steiner Andreas 6206 ED" userId="e6377c33-a923-4f14-8587-531c474c7b48" providerId="ADAL" clId="{6ECD27E6-B224-41CD-B4E0-E297462320DD}" dt="2023-11-24T08:43:42.788" v="53109"/>
          <ac:spMkLst>
            <pc:docMk/>
            <pc:sldMk cId="1396980745" sldId="687"/>
            <ac:spMk id="346" creationId="{F7BCE9F1-94B6-BE31-5DB2-7A325C6FEF35}"/>
          </ac:spMkLst>
        </pc:spChg>
        <pc:spChg chg="add del mod">
          <ac:chgData name="Steiner Andreas 6206 ED" userId="e6377c33-a923-4f14-8587-531c474c7b48" providerId="ADAL" clId="{6ECD27E6-B224-41CD-B4E0-E297462320DD}" dt="2023-11-24T08:43:44.609" v="53264"/>
          <ac:spMkLst>
            <pc:docMk/>
            <pc:sldMk cId="1396980745" sldId="687"/>
            <ac:spMk id="347" creationId="{D31FF8E4-915D-8D53-D6DE-3B5E4C019A9F}"/>
          </ac:spMkLst>
        </pc:spChg>
        <pc:spChg chg="add del mod">
          <ac:chgData name="Steiner Andreas 6206 ED" userId="e6377c33-a923-4f14-8587-531c474c7b48" providerId="ADAL" clId="{6ECD27E6-B224-41CD-B4E0-E297462320DD}" dt="2023-11-24T08:43:46.393" v="53419"/>
          <ac:spMkLst>
            <pc:docMk/>
            <pc:sldMk cId="1396980745" sldId="687"/>
            <ac:spMk id="348" creationId="{8AFB08E9-D7E2-5EA5-1748-94337A664077}"/>
          </ac:spMkLst>
        </pc:spChg>
        <pc:spChg chg="add del mod">
          <ac:chgData name="Steiner Andreas 6206 ED" userId="e6377c33-a923-4f14-8587-531c474c7b48" providerId="ADAL" clId="{6ECD27E6-B224-41CD-B4E0-E297462320DD}" dt="2023-11-24T08:43:48.341" v="53574"/>
          <ac:spMkLst>
            <pc:docMk/>
            <pc:sldMk cId="1396980745" sldId="687"/>
            <ac:spMk id="349" creationId="{C8C2D7CB-3BF9-8A93-84E6-E7FBC16C05D0}"/>
          </ac:spMkLst>
        </pc:spChg>
        <pc:spChg chg="add del mod">
          <ac:chgData name="Steiner Andreas 6206 ED" userId="e6377c33-a923-4f14-8587-531c474c7b48" providerId="ADAL" clId="{6ECD27E6-B224-41CD-B4E0-E297462320DD}" dt="2023-11-24T08:43:50.306" v="53729"/>
          <ac:spMkLst>
            <pc:docMk/>
            <pc:sldMk cId="1396980745" sldId="687"/>
            <ac:spMk id="350" creationId="{3EEC17E5-D267-EC39-12E2-5EAC98F14D25}"/>
          </ac:spMkLst>
        </pc:spChg>
        <pc:spChg chg="add del mod">
          <ac:chgData name="Steiner Andreas 6206 ED" userId="e6377c33-a923-4f14-8587-531c474c7b48" providerId="ADAL" clId="{6ECD27E6-B224-41CD-B4E0-E297462320DD}" dt="2023-11-24T08:43:52.460" v="53884"/>
          <ac:spMkLst>
            <pc:docMk/>
            <pc:sldMk cId="1396980745" sldId="687"/>
            <ac:spMk id="351" creationId="{899844FE-B2D5-FE83-16D5-69E18FEC0E1A}"/>
          </ac:spMkLst>
        </pc:spChg>
        <pc:spChg chg="add del mod">
          <ac:chgData name="Steiner Andreas 6206 ED" userId="e6377c33-a923-4f14-8587-531c474c7b48" providerId="ADAL" clId="{6ECD27E6-B224-41CD-B4E0-E297462320DD}" dt="2023-11-24T08:43:55.118" v="54039"/>
          <ac:spMkLst>
            <pc:docMk/>
            <pc:sldMk cId="1396980745" sldId="687"/>
            <ac:spMk id="352" creationId="{E2961039-4C05-A6E6-D79C-CBD69E51C974}"/>
          </ac:spMkLst>
        </pc:spChg>
        <pc:spChg chg="add del mod">
          <ac:chgData name="Steiner Andreas 6206 ED" userId="e6377c33-a923-4f14-8587-531c474c7b48" providerId="ADAL" clId="{6ECD27E6-B224-41CD-B4E0-E297462320DD}" dt="2023-11-24T08:43:57.169" v="54194"/>
          <ac:spMkLst>
            <pc:docMk/>
            <pc:sldMk cId="1396980745" sldId="687"/>
            <ac:spMk id="353" creationId="{68E4642D-9D6B-A79C-62A7-D73E90478D33}"/>
          </ac:spMkLst>
        </pc:spChg>
        <pc:spChg chg="add del mod">
          <ac:chgData name="Steiner Andreas 6206 ED" userId="e6377c33-a923-4f14-8587-531c474c7b48" providerId="ADAL" clId="{6ECD27E6-B224-41CD-B4E0-E297462320DD}" dt="2023-11-24T08:43:59.338" v="54349"/>
          <ac:spMkLst>
            <pc:docMk/>
            <pc:sldMk cId="1396980745" sldId="687"/>
            <ac:spMk id="354" creationId="{9817A895-A936-BC0A-ED8A-F7A7901644C9}"/>
          </ac:spMkLst>
        </pc:spChg>
        <pc:spChg chg="add del mod">
          <ac:chgData name="Steiner Andreas 6206 ED" userId="e6377c33-a923-4f14-8587-531c474c7b48" providerId="ADAL" clId="{6ECD27E6-B224-41CD-B4E0-E297462320DD}" dt="2023-11-24T08:44:01.609" v="54504"/>
          <ac:spMkLst>
            <pc:docMk/>
            <pc:sldMk cId="1396980745" sldId="687"/>
            <ac:spMk id="355" creationId="{87C8E40F-60A4-8407-C9F6-CF98C68E9D8C}"/>
          </ac:spMkLst>
        </pc:spChg>
        <pc:spChg chg="add del mod">
          <ac:chgData name="Steiner Andreas 6206 ED" userId="e6377c33-a923-4f14-8587-531c474c7b48" providerId="ADAL" clId="{6ECD27E6-B224-41CD-B4E0-E297462320DD}" dt="2023-11-24T08:44:03.750" v="54659"/>
          <ac:spMkLst>
            <pc:docMk/>
            <pc:sldMk cId="1396980745" sldId="687"/>
            <ac:spMk id="356" creationId="{15ED2704-7E44-3A0C-69AC-6CF101B19224}"/>
          </ac:spMkLst>
        </pc:spChg>
        <pc:spChg chg="add del mod">
          <ac:chgData name="Steiner Andreas 6206 ED" userId="e6377c33-a923-4f14-8587-531c474c7b48" providerId="ADAL" clId="{6ECD27E6-B224-41CD-B4E0-E297462320DD}" dt="2023-11-24T08:44:05.845" v="54814"/>
          <ac:spMkLst>
            <pc:docMk/>
            <pc:sldMk cId="1396980745" sldId="687"/>
            <ac:spMk id="357" creationId="{D73DB6B4-3B5F-E6FA-5C8D-5079558403FE}"/>
          </ac:spMkLst>
        </pc:spChg>
        <pc:spChg chg="add del mod">
          <ac:chgData name="Steiner Andreas 6206 ED" userId="e6377c33-a923-4f14-8587-531c474c7b48" providerId="ADAL" clId="{6ECD27E6-B224-41CD-B4E0-E297462320DD}" dt="2023-11-24T08:44:07.825" v="54969"/>
          <ac:spMkLst>
            <pc:docMk/>
            <pc:sldMk cId="1396980745" sldId="687"/>
            <ac:spMk id="358" creationId="{31B2215C-D439-BFB6-B986-DD75FC4CCF68}"/>
          </ac:spMkLst>
        </pc:spChg>
        <pc:spChg chg="add del mod">
          <ac:chgData name="Steiner Andreas 6206 ED" userId="e6377c33-a923-4f14-8587-531c474c7b48" providerId="ADAL" clId="{6ECD27E6-B224-41CD-B4E0-E297462320DD}" dt="2023-11-24T08:44:09.811" v="55124"/>
          <ac:spMkLst>
            <pc:docMk/>
            <pc:sldMk cId="1396980745" sldId="687"/>
            <ac:spMk id="359" creationId="{FFB27BE7-A984-3263-0747-260ADFCFCA06}"/>
          </ac:spMkLst>
        </pc:spChg>
        <pc:spChg chg="add del mod">
          <ac:chgData name="Steiner Andreas 6206 ED" userId="e6377c33-a923-4f14-8587-531c474c7b48" providerId="ADAL" clId="{6ECD27E6-B224-41CD-B4E0-E297462320DD}" dt="2023-11-24T08:44:11.803" v="55279"/>
          <ac:spMkLst>
            <pc:docMk/>
            <pc:sldMk cId="1396980745" sldId="687"/>
            <ac:spMk id="360" creationId="{8EE86D72-3CFE-87F5-6E62-C5E502401154}"/>
          </ac:spMkLst>
        </pc:spChg>
        <pc:spChg chg="add del mod">
          <ac:chgData name="Steiner Andreas 6206 ED" userId="e6377c33-a923-4f14-8587-531c474c7b48" providerId="ADAL" clId="{6ECD27E6-B224-41CD-B4E0-E297462320DD}" dt="2023-11-24T08:44:13.961" v="55434"/>
          <ac:spMkLst>
            <pc:docMk/>
            <pc:sldMk cId="1396980745" sldId="687"/>
            <ac:spMk id="361" creationId="{4DF920C9-F6AD-8A0C-E480-A16497B685C7}"/>
          </ac:spMkLst>
        </pc:spChg>
        <pc:spChg chg="add del mod">
          <ac:chgData name="Steiner Andreas 6206 ED" userId="e6377c33-a923-4f14-8587-531c474c7b48" providerId="ADAL" clId="{6ECD27E6-B224-41CD-B4E0-E297462320DD}" dt="2023-11-24T08:44:16.048" v="55589"/>
          <ac:spMkLst>
            <pc:docMk/>
            <pc:sldMk cId="1396980745" sldId="687"/>
            <ac:spMk id="362" creationId="{D5C3D4DA-72EB-7E7D-4A00-44329AAD693E}"/>
          </ac:spMkLst>
        </pc:spChg>
        <pc:spChg chg="add del mod">
          <ac:chgData name="Steiner Andreas 6206 ED" userId="e6377c33-a923-4f14-8587-531c474c7b48" providerId="ADAL" clId="{6ECD27E6-B224-41CD-B4E0-E297462320DD}" dt="2023-11-24T08:44:18.498" v="55744"/>
          <ac:spMkLst>
            <pc:docMk/>
            <pc:sldMk cId="1396980745" sldId="687"/>
            <ac:spMk id="363" creationId="{9D01CFA6-6A15-7B07-C865-129B0F8221CA}"/>
          </ac:spMkLst>
        </pc:spChg>
        <pc:spChg chg="add del mod">
          <ac:chgData name="Steiner Andreas 6206 ED" userId="e6377c33-a923-4f14-8587-531c474c7b48" providerId="ADAL" clId="{6ECD27E6-B224-41CD-B4E0-E297462320DD}" dt="2023-11-24T08:44:21.342" v="55899"/>
          <ac:spMkLst>
            <pc:docMk/>
            <pc:sldMk cId="1396980745" sldId="687"/>
            <ac:spMk id="364" creationId="{CBD970B4-17F4-88E5-DFDB-A9DDD1975845}"/>
          </ac:spMkLst>
        </pc:spChg>
        <pc:spChg chg="add del mod">
          <ac:chgData name="Steiner Andreas 6206 ED" userId="e6377c33-a923-4f14-8587-531c474c7b48" providerId="ADAL" clId="{6ECD27E6-B224-41CD-B4E0-E297462320DD}" dt="2023-11-24T08:44:23.757" v="56054"/>
          <ac:spMkLst>
            <pc:docMk/>
            <pc:sldMk cId="1396980745" sldId="687"/>
            <ac:spMk id="365" creationId="{5520B855-EA2B-E90C-0C76-F59127FC202D}"/>
          </ac:spMkLst>
        </pc:spChg>
        <pc:spChg chg="add del mod">
          <ac:chgData name="Steiner Andreas 6206 ED" userId="e6377c33-a923-4f14-8587-531c474c7b48" providerId="ADAL" clId="{6ECD27E6-B224-41CD-B4E0-E297462320DD}" dt="2023-11-24T08:44:25.689" v="56209"/>
          <ac:spMkLst>
            <pc:docMk/>
            <pc:sldMk cId="1396980745" sldId="687"/>
            <ac:spMk id="366" creationId="{D832818F-0C2B-0277-0116-5E8D4D6A8F0E}"/>
          </ac:spMkLst>
        </pc:spChg>
        <pc:spChg chg="add del mod">
          <ac:chgData name="Steiner Andreas 6206 ED" userId="e6377c33-a923-4f14-8587-531c474c7b48" providerId="ADAL" clId="{6ECD27E6-B224-41CD-B4E0-E297462320DD}" dt="2023-11-24T08:44:27.871" v="56364"/>
          <ac:spMkLst>
            <pc:docMk/>
            <pc:sldMk cId="1396980745" sldId="687"/>
            <ac:spMk id="367" creationId="{2C23BE4B-A52C-FD0C-4920-D1C9F1E09660}"/>
          </ac:spMkLst>
        </pc:spChg>
        <pc:spChg chg="add del mod">
          <ac:chgData name="Steiner Andreas 6206 ED" userId="e6377c33-a923-4f14-8587-531c474c7b48" providerId="ADAL" clId="{6ECD27E6-B224-41CD-B4E0-E297462320DD}" dt="2023-11-24T08:44:29.881" v="56519"/>
          <ac:spMkLst>
            <pc:docMk/>
            <pc:sldMk cId="1396980745" sldId="687"/>
            <ac:spMk id="368" creationId="{3D7B0DDF-7BE5-B9EE-A24D-BB4CDF6EBDEF}"/>
          </ac:spMkLst>
        </pc:spChg>
        <pc:spChg chg="add del mod">
          <ac:chgData name="Steiner Andreas 6206 ED" userId="e6377c33-a923-4f14-8587-531c474c7b48" providerId="ADAL" clId="{6ECD27E6-B224-41CD-B4E0-E297462320DD}" dt="2023-11-24T08:44:31.860" v="56674"/>
          <ac:spMkLst>
            <pc:docMk/>
            <pc:sldMk cId="1396980745" sldId="687"/>
            <ac:spMk id="369" creationId="{CBFA792A-435A-3844-B6D9-FF25634F176A}"/>
          </ac:spMkLst>
        </pc:spChg>
        <pc:spChg chg="add del mod">
          <ac:chgData name="Steiner Andreas 6206 ED" userId="e6377c33-a923-4f14-8587-531c474c7b48" providerId="ADAL" clId="{6ECD27E6-B224-41CD-B4E0-E297462320DD}" dt="2023-11-24T08:44:33.819" v="56829"/>
          <ac:spMkLst>
            <pc:docMk/>
            <pc:sldMk cId="1396980745" sldId="687"/>
            <ac:spMk id="370" creationId="{EE418307-6F06-3AAE-E1E3-9D18339D60A1}"/>
          </ac:spMkLst>
        </pc:spChg>
        <pc:spChg chg="add del mod">
          <ac:chgData name="Steiner Andreas 6206 ED" userId="e6377c33-a923-4f14-8587-531c474c7b48" providerId="ADAL" clId="{6ECD27E6-B224-41CD-B4E0-E297462320DD}" dt="2023-11-24T08:44:36.218" v="56984"/>
          <ac:spMkLst>
            <pc:docMk/>
            <pc:sldMk cId="1396980745" sldId="687"/>
            <ac:spMk id="371" creationId="{411B6CEC-3DB6-BF39-9B27-ED23B8C9A78D}"/>
          </ac:spMkLst>
        </pc:spChg>
        <pc:spChg chg="add del mod">
          <ac:chgData name="Steiner Andreas 6206 ED" userId="e6377c33-a923-4f14-8587-531c474c7b48" providerId="ADAL" clId="{6ECD27E6-B224-41CD-B4E0-E297462320DD}" dt="2023-11-24T08:44:38.830" v="57139"/>
          <ac:spMkLst>
            <pc:docMk/>
            <pc:sldMk cId="1396980745" sldId="687"/>
            <ac:spMk id="372" creationId="{80C3601A-3BA9-FF53-FD30-5D2A0909060F}"/>
          </ac:spMkLst>
        </pc:spChg>
        <pc:spChg chg="add del mod">
          <ac:chgData name="Steiner Andreas 6206 ED" userId="e6377c33-a923-4f14-8587-531c474c7b48" providerId="ADAL" clId="{6ECD27E6-B224-41CD-B4E0-E297462320DD}" dt="2023-11-24T08:44:41.132" v="57294"/>
          <ac:spMkLst>
            <pc:docMk/>
            <pc:sldMk cId="1396980745" sldId="687"/>
            <ac:spMk id="373" creationId="{13D65069-7520-CA8D-C9F5-48D522EE6570}"/>
          </ac:spMkLst>
        </pc:spChg>
        <pc:spChg chg="add del mod">
          <ac:chgData name="Steiner Andreas 6206 ED" userId="e6377c33-a923-4f14-8587-531c474c7b48" providerId="ADAL" clId="{6ECD27E6-B224-41CD-B4E0-E297462320DD}" dt="2023-11-24T08:44:43.350" v="57449"/>
          <ac:spMkLst>
            <pc:docMk/>
            <pc:sldMk cId="1396980745" sldId="687"/>
            <ac:spMk id="374" creationId="{2671DBE6-E059-83D9-E9F2-E7EEEA229543}"/>
          </ac:spMkLst>
        </pc:spChg>
        <pc:spChg chg="add del mod">
          <ac:chgData name="Steiner Andreas 6206 ED" userId="e6377c33-a923-4f14-8587-531c474c7b48" providerId="ADAL" clId="{6ECD27E6-B224-41CD-B4E0-E297462320DD}" dt="2023-11-24T08:44:45.504" v="57604"/>
          <ac:spMkLst>
            <pc:docMk/>
            <pc:sldMk cId="1396980745" sldId="687"/>
            <ac:spMk id="375" creationId="{95A456BF-B5D8-6EA1-20C9-ECE286D2F3EF}"/>
          </ac:spMkLst>
        </pc:spChg>
        <pc:spChg chg="add del mod">
          <ac:chgData name="Steiner Andreas 6206 ED" userId="e6377c33-a923-4f14-8587-531c474c7b48" providerId="ADAL" clId="{6ECD27E6-B224-41CD-B4E0-E297462320DD}" dt="2023-11-24T08:44:48.250" v="57759"/>
          <ac:spMkLst>
            <pc:docMk/>
            <pc:sldMk cId="1396980745" sldId="687"/>
            <ac:spMk id="376" creationId="{887E5DA1-536D-F0EF-9FA7-C4E1D47EB770}"/>
          </ac:spMkLst>
        </pc:spChg>
        <pc:spChg chg="add del mod">
          <ac:chgData name="Steiner Andreas 6206 ED" userId="e6377c33-a923-4f14-8587-531c474c7b48" providerId="ADAL" clId="{6ECD27E6-B224-41CD-B4E0-E297462320DD}" dt="2023-11-24T08:44:50.510" v="57914"/>
          <ac:spMkLst>
            <pc:docMk/>
            <pc:sldMk cId="1396980745" sldId="687"/>
            <ac:spMk id="377" creationId="{7D6E096C-F485-D823-DA89-655D6FAF9A10}"/>
          </ac:spMkLst>
        </pc:spChg>
        <pc:spChg chg="add del mod">
          <ac:chgData name="Steiner Andreas 6206 ED" userId="e6377c33-a923-4f14-8587-531c474c7b48" providerId="ADAL" clId="{6ECD27E6-B224-41CD-B4E0-E297462320DD}" dt="2023-11-24T08:44:52.656" v="58069"/>
          <ac:spMkLst>
            <pc:docMk/>
            <pc:sldMk cId="1396980745" sldId="687"/>
            <ac:spMk id="378" creationId="{7404120B-1FA1-8FDD-B0B0-FDD73F9D4CD5}"/>
          </ac:spMkLst>
        </pc:spChg>
        <pc:spChg chg="add del mod">
          <ac:chgData name="Steiner Andreas 6206 ED" userId="e6377c33-a923-4f14-8587-531c474c7b48" providerId="ADAL" clId="{6ECD27E6-B224-41CD-B4E0-E297462320DD}" dt="2023-11-24T08:44:54.850" v="58224"/>
          <ac:spMkLst>
            <pc:docMk/>
            <pc:sldMk cId="1396980745" sldId="687"/>
            <ac:spMk id="379" creationId="{7ADC0A4F-39C8-AFB1-98D2-9A741C7A9270}"/>
          </ac:spMkLst>
        </pc:spChg>
        <pc:spChg chg="add del mod">
          <ac:chgData name="Steiner Andreas 6206 ED" userId="e6377c33-a923-4f14-8587-531c474c7b48" providerId="ADAL" clId="{6ECD27E6-B224-41CD-B4E0-E297462320DD}" dt="2023-11-24T08:44:56.869" v="58379"/>
          <ac:spMkLst>
            <pc:docMk/>
            <pc:sldMk cId="1396980745" sldId="687"/>
            <ac:spMk id="380" creationId="{F6D449C4-FA7A-89F5-74F2-2774871EA5AD}"/>
          </ac:spMkLst>
        </pc:spChg>
        <pc:spChg chg="add del mod">
          <ac:chgData name="Steiner Andreas 6206 ED" userId="e6377c33-a923-4f14-8587-531c474c7b48" providerId="ADAL" clId="{6ECD27E6-B224-41CD-B4E0-E297462320DD}" dt="2023-11-24T08:44:58.803" v="58534"/>
          <ac:spMkLst>
            <pc:docMk/>
            <pc:sldMk cId="1396980745" sldId="687"/>
            <ac:spMk id="381" creationId="{1D899925-1E5F-E0B9-3208-BAAF862597C3}"/>
          </ac:spMkLst>
        </pc:spChg>
        <pc:spChg chg="add del mod">
          <ac:chgData name="Steiner Andreas 6206 ED" userId="e6377c33-a923-4f14-8587-531c474c7b48" providerId="ADAL" clId="{6ECD27E6-B224-41CD-B4E0-E297462320DD}" dt="2023-11-24T08:45:00.967" v="58689"/>
          <ac:spMkLst>
            <pc:docMk/>
            <pc:sldMk cId="1396980745" sldId="687"/>
            <ac:spMk id="382" creationId="{497BBBE1-A73A-F4FA-48AF-040A22050C3D}"/>
          </ac:spMkLst>
        </pc:spChg>
        <pc:spChg chg="add del mod">
          <ac:chgData name="Steiner Andreas 6206 ED" userId="e6377c33-a923-4f14-8587-531c474c7b48" providerId="ADAL" clId="{6ECD27E6-B224-41CD-B4E0-E297462320DD}" dt="2023-11-24T08:45:02.885" v="58844"/>
          <ac:spMkLst>
            <pc:docMk/>
            <pc:sldMk cId="1396980745" sldId="687"/>
            <ac:spMk id="383" creationId="{0F6FA43D-E266-2B09-8254-4691B17201E0}"/>
          </ac:spMkLst>
        </pc:spChg>
        <pc:spChg chg="add del mod">
          <ac:chgData name="Steiner Andreas 6206 ED" userId="e6377c33-a923-4f14-8587-531c474c7b48" providerId="ADAL" clId="{6ECD27E6-B224-41CD-B4E0-E297462320DD}" dt="2023-11-24T08:45:04.735" v="58999"/>
          <ac:spMkLst>
            <pc:docMk/>
            <pc:sldMk cId="1396980745" sldId="687"/>
            <ac:spMk id="384" creationId="{5837B1DF-6AA4-9082-5098-6A8DD0448BC5}"/>
          </ac:spMkLst>
        </pc:spChg>
        <pc:spChg chg="add del mod">
          <ac:chgData name="Steiner Andreas 6206 ED" userId="e6377c33-a923-4f14-8587-531c474c7b48" providerId="ADAL" clId="{6ECD27E6-B224-41CD-B4E0-E297462320DD}" dt="2023-11-24T08:45:06.593" v="59154"/>
          <ac:spMkLst>
            <pc:docMk/>
            <pc:sldMk cId="1396980745" sldId="687"/>
            <ac:spMk id="385" creationId="{B987A7E5-FFC5-7B2C-A295-2460A9280408}"/>
          </ac:spMkLst>
        </pc:spChg>
        <pc:spChg chg="add del mod">
          <ac:chgData name="Steiner Andreas 6206 ED" userId="e6377c33-a923-4f14-8587-531c474c7b48" providerId="ADAL" clId="{6ECD27E6-B224-41CD-B4E0-E297462320DD}" dt="2023-11-24T08:45:08.427" v="59309"/>
          <ac:spMkLst>
            <pc:docMk/>
            <pc:sldMk cId="1396980745" sldId="687"/>
            <ac:spMk id="386" creationId="{FB720183-5EFF-AAFD-625A-3625D078735F}"/>
          </ac:spMkLst>
        </pc:spChg>
        <pc:spChg chg="add del mod">
          <ac:chgData name="Steiner Andreas 6206 ED" userId="e6377c33-a923-4f14-8587-531c474c7b48" providerId="ADAL" clId="{6ECD27E6-B224-41CD-B4E0-E297462320DD}" dt="2023-11-24T08:45:10.236" v="59464"/>
          <ac:spMkLst>
            <pc:docMk/>
            <pc:sldMk cId="1396980745" sldId="687"/>
            <ac:spMk id="387" creationId="{3ACBE7BA-EB43-5AD0-A142-835E50C87ACB}"/>
          </ac:spMkLst>
        </pc:spChg>
        <pc:spChg chg="add del mod">
          <ac:chgData name="Steiner Andreas 6206 ED" userId="e6377c33-a923-4f14-8587-531c474c7b48" providerId="ADAL" clId="{6ECD27E6-B224-41CD-B4E0-E297462320DD}" dt="2023-11-24T08:45:12.318" v="59619"/>
          <ac:spMkLst>
            <pc:docMk/>
            <pc:sldMk cId="1396980745" sldId="687"/>
            <ac:spMk id="388" creationId="{E88D8C5C-08DA-19C2-6036-06856199867D}"/>
          </ac:spMkLst>
        </pc:spChg>
        <pc:spChg chg="add del mod">
          <ac:chgData name="Steiner Andreas 6206 ED" userId="e6377c33-a923-4f14-8587-531c474c7b48" providerId="ADAL" clId="{6ECD27E6-B224-41CD-B4E0-E297462320DD}" dt="2023-11-24T08:45:14.253" v="59774"/>
          <ac:spMkLst>
            <pc:docMk/>
            <pc:sldMk cId="1396980745" sldId="687"/>
            <ac:spMk id="389" creationId="{B68EE8F8-B661-EC0E-93EE-9DEC730B77A5}"/>
          </ac:spMkLst>
        </pc:spChg>
        <pc:spChg chg="add del mod">
          <ac:chgData name="Steiner Andreas 6206 ED" userId="e6377c33-a923-4f14-8587-531c474c7b48" providerId="ADAL" clId="{6ECD27E6-B224-41CD-B4E0-E297462320DD}" dt="2023-11-24T08:45:16.325" v="59929"/>
          <ac:spMkLst>
            <pc:docMk/>
            <pc:sldMk cId="1396980745" sldId="687"/>
            <ac:spMk id="390" creationId="{67F5C967-3F9D-4D2C-3062-08F542E831B3}"/>
          </ac:spMkLst>
        </pc:spChg>
        <pc:spChg chg="add del mod">
          <ac:chgData name="Steiner Andreas 6206 ED" userId="e6377c33-a923-4f14-8587-531c474c7b48" providerId="ADAL" clId="{6ECD27E6-B224-41CD-B4E0-E297462320DD}" dt="2023-11-24T08:45:18.265" v="60084"/>
          <ac:spMkLst>
            <pc:docMk/>
            <pc:sldMk cId="1396980745" sldId="687"/>
            <ac:spMk id="391" creationId="{B2AD1AAC-175E-4FBE-074F-4CFD5C0FFB09}"/>
          </ac:spMkLst>
        </pc:spChg>
        <pc:spChg chg="add del mod">
          <ac:chgData name="Steiner Andreas 6206 ED" userId="e6377c33-a923-4f14-8587-531c474c7b48" providerId="ADAL" clId="{6ECD27E6-B224-41CD-B4E0-E297462320DD}" dt="2023-11-24T08:45:20.161" v="60239"/>
          <ac:spMkLst>
            <pc:docMk/>
            <pc:sldMk cId="1396980745" sldId="687"/>
            <ac:spMk id="392" creationId="{5FA6456F-8DFF-E2C3-904D-9B3CFDEE61B7}"/>
          </ac:spMkLst>
        </pc:spChg>
        <pc:spChg chg="add del mod">
          <ac:chgData name="Steiner Andreas 6206 ED" userId="e6377c33-a923-4f14-8587-531c474c7b48" providerId="ADAL" clId="{6ECD27E6-B224-41CD-B4E0-E297462320DD}" dt="2023-11-24T08:45:22.306" v="60394"/>
          <ac:spMkLst>
            <pc:docMk/>
            <pc:sldMk cId="1396980745" sldId="687"/>
            <ac:spMk id="393" creationId="{5DA3224B-F683-71EA-EC60-AB400C688528}"/>
          </ac:spMkLst>
        </pc:spChg>
        <pc:spChg chg="add del mod">
          <ac:chgData name="Steiner Andreas 6206 ED" userId="e6377c33-a923-4f14-8587-531c474c7b48" providerId="ADAL" clId="{6ECD27E6-B224-41CD-B4E0-E297462320DD}" dt="2023-11-24T08:45:24.511" v="60549"/>
          <ac:spMkLst>
            <pc:docMk/>
            <pc:sldMk cId="1396980745" sldId="687"/>
            <ac:spMk id="394" creationId="{489FE74C-6407-F122-D8CF-DAEDF695C5F4}"/>
          </ac:spMkLst>
        </pc:spChg>
        <pc:spChg chg="add del mod">
          <ac:chgData name="Steiner Andreas 6206 ED" userId="e6377c33-a923-4f14-8587-531c474c7b48" providerId="ADAL" clId="{6ECD27E6-B224-41CD-B4E0-E297462320DD}" dt="2023-11-24T08:45:26.470" v="60704"/>
          <ac:spMkLst>
            <pc:docMk/>
            <pc:sldMk cId="1396980745" sldId="687"/>
            <ac:spMk id="395" creationId="{AC747BF7-B5EE-1E4B-FA06-4FE7B42D566B}"/>
          </ac:spMkLst>
        </pc:spChg>
        <pc:spChg chg="add del mod">
          <ac:chgData name="Steiner Andreas 6206 ED" userId="e6377c33-a923-4f14-8587-531c474c7b48" providerId="ADAL" clId="{6ECD27E6-B224-41CD-B4E0-E297462320DD}" dt="2023-11-24T08:45:28.362" v="60859"/>
          <ac:spMkLst>
            <pc:docMk/>
            <pc:sldMk cId="1396980745" sldId="687"/>
            <ac:spMk id="396" creationId="{C9C8B8FC-F645-267E-14D8-3D1578AB8F13}"/>
          </ac:spMkLst>
        </pc:spChg>
        <pc:spChg chg="add del mod">
          <ac:chgData name="Steiner Andreas 6206 ED" userId="e6377c33-a923-4f14-8587-531c474c7b48" providerId="ADAL" clId="{6ECD27E6-B224-41CD-B4E0-E297462320DD}" dt="2023-11-24T08:45:30.186" v="61014"/>
          <ac:spMkLst>
            <pc:docMk/>
            <pc:sldMk cId="1396980745" sldId="687"/>
            <ac:spMk id="397" creationId="{ADEA4755-D266-D12E-867A-ECE8A62739A0}"/>
          </ac:spMkLst>
        </pc:spChg>
        <pc:spChg chg="add del mod">
          <ac:chgData name="Steiner Andreas 6206 ED" userId="e6377c33-a923-4f14-8587-531c474c7b48" providerId="ADAL" clId="{6ECD27E6-B224-41CD-B4E0-E297462320DD}" dt="2023-11-24T08:45:32.058" v="61169"/>
          <ac:spMkLst>
            <pc:docMk/>
            <pc:sldMk cId="1396980745" sldId="687"/>
            <ac:spMk id="398" creationId="{161A913A-D0AF-2AEA-E22C-526EC6031441}"/>
          </ac:spMkLst>
        </pc:spChg>
        <pc:spChg chg="add del mod">
          <ac:chgData name="Steiner Andreas 6206 ED" userId="e6377c33-a923-4f14-8587-531c474c7b48" providerId="ADAL" clId="{6ECD27E6-B224-41CD-B4E0-E297462320DD}" dt="2023-11-24T08:45:34.184" v="61324"/>
          <ac:spMkLst>
            <pc:docMk/>
            <pc:sldMk cId="1396980745" sldId="687"/>
            <ac:spMk id="399" creationId="{F8297921-0B56-7FDF-81D8-24E14BCFB1C6}"/>
          </ac:spMkLst>
        </pc:spChg>
        <pc:spChg chg="add del mod">
          <ac:chgData name="Steiner Andreas 6206 ED" userId="e6377c33-a923-4f14-8587-531c474c7b48" providerId="ADAL" clId="{6ECD27E6-B224-41CD-B4E0-E297462320DD}" dt="2023-11-24T08:45:36.239" v="61479"/>
          <ac:spMkLst>
            <pc:docMk/>
            <pc:sldMk cId="1396980745" sldId="687"/>
            <ac:spMk id="400" creationId="{552A1721-3BD5-DD3C-E81C-5F1911AE8852}"/>
          </ac:spMkLst>
        </pc:spChg>
        <pc:spChg chg="add del mod">
          <ac:chgData name="Steiner Andreas 6206 ED" userId="e6377c33-a923-4f14-8587-531c474c7b48" providerId="ADAL" clId="{6ECD27E6-B224-41CD-B4E0-E297462320DD}" dt="2023-11-24T08:45:38.128" v="61634"/>
          <ac:spMkLst>
            <pc:docMk/>
            <pc:sldMk cId="1396980745" sldId="687"/>
            <ac:spMk id="401" creationId="{6D451E37-9325-201D-BC31-5A65D457D3B2}"/>
          </ac:spMkLst>
        </pc:spChg>
        <pc:spChg chg="add del mod">
          <ac:chgData name="Steiner Andreas 6206 ED" userId="e6377c33-a923-4f14-8587-531c474c7b48" providerId="ADAL" clId="{6ECD27E6-B224-41CD-B4E0-E297462320DD}" dt="2023-11-24T08:45:40.007" v="61789"/>
          <ac:spMkLst>
            <pc:docMk/>
            <pc:sldMk cId="1396980745" sldId="687"/>
            <ac:spMk id="402" creationId="{28B29569-E57B-8831-6776-4A028A6580B2}"/>
          </ac:spMkLst>
        </pc:spChg>
        <pc:spChg chg="add del mod">
          <ac:chgData name="Steiner Andreas 6206 ED" userId="e6377c33-a923-4f14-8587-531c474c7b48" providerId="ADAL" clId="{6ECD27E6-B224-41CD-B4E0-E297462320DD}" dt="2023-11-24T08:45:42.015" v="61944"/>
          <ac:spMkLst>
            <pc:docMk/>
            <pc:sldMk cId="1396980745" sldId="687"/>
            <ac:spMk id="403" creationId="{004F2560-EBC5-683A-6391-B3F301BE7F64}"/>
          </ac:spMkLst>
        </pc:spChg>
        <pc:spChg chg="add del mod">
          <ac:chgData name="Steiner Andreas 6206 ED" userId="e6377c33-a923-4f14-8587-531c474c7b48" providerId="ADAL" clId="{6ECD27E6-B224-41CD-B4E0-E297462320DD}" dt="2023-11-24T08:45:44.001" v="62099"/>
          <ac:spMkLst>
            <pc:docMk/>
            <pc:sldMk cId="1396980745" sldId="687"/>
            <ac:spMk id="404" creationId="{89605178-0C08-799D-02C2-1CA59716A7DA}"/>
          </ac:spMkLst>
        </pc:spChg>
        <pc:spChg chg="add del mod">
          <ac:chgData name="Steiner Andreas 6206 ED" userId="e6377c33-a923-4f14-8587-531c474c7b48" providerId="ADAL" clId="{6ECD27E6-B224-41CD-B4E0-E297462320DD}" dt="2023-11-24T08:45:46.109" v="62254"/>
          <ac:spMkLst>
            <pc:docMk/>
            <pc:sldMk cId="1396980745" sldId="687"/>
            <ac:spMk id="405" creationId="{4A2A8276-A429-4EBD-3035-E846C68CFE5A}"/>
          </ac:spMkLst>
        </pc:spChg>
        <pc:spChg chg="add del mod">
          <ac:chgData name="Steiner Andreas 6206 ED" userId="e6377c33-a923-4f14-8587-531c474c7b48" providerId="ADAL" clId="{6ECD27E6-B224-41CD-B4E0-E297462320DD}" dt="2023-11-24T08:45:48.010" v="62409"/>
          <ac:spMkLst>
            <pc:docMk/>
            <pc:sldMk cId="1396980745" sldId="687"/>
            <ac:spMk id="406" creationId="{B8A039F3-EDC9-7C59-40B2-536DA95A4930}"/>
          </ac:spMkLst>
        </pc:spChg>
        <pc:spChg chg="add del mod">
          <ac:chgData name="Steiner Andreas 6206 ED" userId="e6377c33-a923-4f14-8587-531c474c7b48" providerId="ADAL" clId="{6ECD27E6-B224-41CD-B4E0-E297462320DD}" dt="2023-11-24T08:45:50.327" v="62564"/>
          <ac:spMkLst>
            <pc:docMk/>
            <pc:sldMk cId="1396980745" sldId="687"/>
            <ac:spMk id="407" creationId="{1F6ED6BD-8FFA-1A06-D77D-72D287C86744}"/>
          </ac:spMkLst>
        </pc:spChg>
        <pc:spChg chg="add del mod">
          <ac:chgData name="Steiner Andreas 6206 ED" userId="e6377c33-a923-4f14-8587-531c474c7b48" providerId="ADAL" clId="{6ECD27E6-B224-41CD-B4E0-E297462320DD}" dt="2023-11-24T08:45:52.358" v="62719"/>
          <ac:spMkLst>
            <pc:docMk/>
            <pc:sldMk cId="1396980745" sldId="687"/>
            <ac:spMk id="408" creationId="{E994D2E7-9877-B5E8-6D97-4E94488C5A96}"/>
          </ac:spMkLst>
        </pc:spChg>
        <pc:spChg chg="add del mod">
          <ac:chgData name="Steiner Andreas 6206 ED" userId="e6377c33-a923-4f14-8587-531c474c7b48" providerId="ADAL" clId="{6ECD27E6-B224-41CD-B4E0-E297462320DD}" dt="2023-11-24T08:45:54.380" v="62874"/>
          <ac:spMkLst>
            <pc:docMk/>
            <pc:sldMk cId="1396980745" sldId="687"/>
            <ac:spMk id="409" creationId="{3CC3583B-E152-3022-9EE3-3350977436CE}"/>
          </ac:spMkLst>
        </pc:spChg>
        <pc:spChg chg="add del mod">
          <ac:chgData name="Steiner Andreas 6206 ED" userId="e6377c33-a923-4f14-8587-531c474c7b48" providerId="ADAL" clId="{6ECD27E6-B224-41CD-B4E0-E297462320DD}" dt="2023-11-24T08:45:56.559" v="63029"/>
          <ac:spMkLst>
            <pc:docMk/>
            <pc:sldMk cId="1396980745" sldId="687"/>
            <ac:spMk id="410" creationId="{2BCB884D-69B3-0ACA-F551-6B3A82E9108F}"/>
          </ac:spMkLst>
        </pc:spChg>
        <pc:spChg chg="add del mod">
          <ac:chgData name="Steiner Andreas 6206 ED" userId="e6377c33-a923-4f14-8587-531c474c7b48" providerId="ADAL" clId="{6ECD27E6-B224-41CD-B4E0-E297462320DD}" dt="2023-11-24T08:45:58.593" v="63184"/>
          <ac:spMkLst>
            <pc:docMk/>
            <pc:sldMk cId="1396980745" sldId="687"/>
            <ac:spMk id="411" creationId="{9C2BEAA0-AFAB-7E14-2028-CF8BD8DA0BC6}"/>
          </ac:spMkLst>
        </pc:spChg>
        <pc:spChg chg="add del mod">
          <ac:chgData name="Steiner Andreas 6206 ED" userId="e6377c33-a923-4f14-8587-531c474c7b48" providerId="ADAL" clId="{6ECD27E6-B224-41CD-B4E0-E297462320DD}" dt="2023-11-24T08:46:00.677" v="63339"/>
          <ac:spMkLst>
            <pc:docMk/>
            <pc:sldMk cId="1396980745" sldId="687"/>
            <ac:spMk id="412" creationId="{E3035D34-1B46-2380-4E70-3BB62733379C}"/>
          </ac:spMkLst>
        </pc:spChg>
        <pc:spChg chg="add del mod">
          <ac:chgData name="Steiner Andreas 6206 ED" userId="e6377c33-a923-4f14-8587-531c474c7b48" providerId="ADAL" clId="{6ECD27E6-B224-41CD-B4E0-E297462320DD}" dt="2023-11-24T08:46:02.752" v="63494"/>
          <ac:spMkLst>
            <pc:docMk/>
            <pc:sldMk cId="1396980745" sldId="687"/>
            <ac:spMk id="413" creationId="{6FA630EC-F2AC-59F3-483E-4A5782EEE32C}"/>
          </ac:spMkLst>
        </pc:spChg>
        <pc:spChg chg="add del mod">
          <ac:chgData name="Steiner Andreas 6206 ED" userId="e6377c33-a923-4f14-8587-531c474c7b48" providerId="ADAL" clId="{6ECD27E6-B224-41CD-B4E0-E297462320DD}" dt="2023-11-24T08:46:05.133" v="63649"/>
          <ac:spMkLst>
            <pc:docMk/>
            <pc:sldMk cId="1396980745" sldId="687"/>
            <ac:spMk id="414" creationId="{8B0DCF61-3078-0CAA-CF78-8E17F8D88DBB}"/>
          </ac:spMkLst>
        </pc:spChg>
        <pc:spChg chg="add del mod">
          <ac:chgData name="Steiner Andreas 6206 ED" userId="e6377c33-a923-4f14-8587-531c474c7b48" providerId="ADAL" clId="{6ECD27E6-B224-41CD-B4E0-E297462320DD}" dt="2023-11-24T08:46:07.671" v="63804"/>
          <ac:spMkLst>
            <pc:docMk/>
            <pc:sldMk cId="1396980745" sldId="687"/>
            <ac:spMk id="415" creationId="{4129DF4F-34AD-9672-4F11-67EFBADB0198}"/>
          </ac:spMkLst>
        </pc:spChg>
        <pc:spChg chg="add del mod">
          <ac:chgData name="Steiner Andreas 6206 ED" userId="e6377c33-a923-4f14-8587-531c474c7b48" providerId="ADAL" clId="{6ECD27E6-B224-41CD-B4E0-E297462320DD}" dt="2023-11-24T08:46:09.868" v="63959"/>
          <ac:spMkLst>
            <pc:docMk/>
            <pc:sldMk cId="1396980745" sldId="687"/>
            <ac:spMk id="416" creationId="{837D3744-77CB-E276-C30F-E9B7DAE18D4C}"/>
          </ac:spMkLst>
        </pc:spChg>
        <pc:spChg chg="add del mod">
          <ac:chgData name="Steiner Andreas 6206 ED" userId="e6377c33-a923-4f14-8587-531c474c7b48" providerId="ADAL" clId="{6ECD27E6-B224-41CD-B4E0-E297462320DD}" dt="2023-11-24T08:46:12.053" v="64114"/>
          <ac:spMkLst>
            <pc:docMk/>
            <pc:sldMk cId="1396980745" sldId="687"/>
            <ac:spMk id="417" creationId="{90A5D64E-72F8-E7E6-F39F-E53313A89F8D}"/>
          </ac:spMkLst>
        </pc:spChg>
        <pc:spChg chg="add del mod">
          <ac:chgData name="Steiner Andreas 6206 ED" userId="e6377c33-a923-4f14-8587-531c474c7b48" providerId="ADAL" clId="{6ECD27E6-B224-41CD-B4E0-E297462320DD}" dt="2023-11-24T08:46:14.216" v="64269"/>
          <ac:spMkLst>
            <pc:docMk/>
            <pc:sldMk cId="1396980745" sldId="687"/>
            <ac:spMk id="418" creationId="{7A5AFD28-139C-85D5-18BE-DE9650B04282}"/>
          </ac:spMkLst>
        </pc:spChg>
        <pc:spChg chg="add del mod">
          <ac:chgData name="Steiner Andreas 6206 ED" userId="e6377c33-a923-4f14-8587-531c474c7b48" providerId="ADAL" clId="{6ECD27E6-B224-41CD-B4E0-E297462320DD}" dt="2023-11-24T08:46:16.439" v="64424"/>
          <ac:spMkLst>
            <pc:docMk/>
            <pc:sldMk cId="1396980745" sldId="687"/>
            <ac:spMk id="419" creationId="{04DDAA77-98B2-6198-7825-C02114D13E88}"/>
          </ac:spMkLst>
        </pc:spChg>
        <pc:spChg chg="add del mod">
          <ac:chgData name="Steiner Andreas 6206 ED" userId="e6377c33-a923-4f14-8587-531c474c7b48" providerId="ADAL" clId="{6ECD27E6-B224-41CD-B4E0-E297462320DD}" dt="2023-11-24T08:46:18.305" v="64579"/>
          <ac:spMkLst>
            <pc:docMk/>
            <pc:sldMk cId="1396980745" sldId="687"/>
            <ac:spMk id="420" creationId="{EDE8FACC-A440-7267-DAF4-1139AC4FA8CF}"/>
          </ac:spMkLst>
        </pc:spChg>
        <pc:spChg chg="add del mod">
          <ac:chgData name="Steiner Andreas 6206 ED" userId="e6377c33-a923-4f14-8587-531c474c7b48" providerId="ADAL" clId="{6ECD27E6-B224-41CD-B4E0-E297462320DD}" dt="2023-11-24T08:46:20.826" v="64734"/>
          <ac:spMkLst>
            <pc:docMk/>
            <pc:sldMk cId="1396980745" sldId="687"/>
            <ac:spMk id="421" creationId="{8EA17AA4-A72A-4EB2-D304-BA714315FF7D}"/>
          </ac:spMkLst>
        </pc:spChg>
        <pc:spChg chg="add del mod">
          <ac:chgData name="Steiner Andreas 6206 ED" userId="e6377c33-a923-4f14-8587-531c474c7b48" providerId="ADAL" clId="{6ECD27E6-B224-41CD-B4E0-E297462320DD}" dt="2023-11-24T08:46:23.076" v="64889"/>
          <ac:spMkLst>
            <pc:docMk/>
            <pc:sldMk cId="1396980745" sldId="687"/>
            <ac:spMk id="422" creationId="{0B4B8233-398E-9CF0-E89F-EA9BA31BCA62}"/>
          </ac:spMkLst>
        </pc:spChg>
        <pc:spChg chg="add del mod">
          <ac:chgData name="Steiner Andreas 6206 ED" userId="e6377c33-a923-4f14-8587-531c474c7b48" providerId="ADAL" clId="{6ECD27E6-B224-41CD-B4E0-E297462320DD}" dt="2023-11-24T08:46:25.345" v="65044"/>
          <ac:spMkLst>
            <pc:docMk/>
            <pc:sldMk cId="1396980745" sldId="687"/>
            <ac:spMk id="423" creationId="{116E9ED3-7437-B69B-AF0C-CA12E6059CC7}"/>
          </ac:spMkLst>
        </pc:spChg>
        <pc:spChg chg="add del mod">
          <ac:chgData name="Steiner Andreas 6206 ED" userId="e6377c33-a923-4f14-8587-531c474c7b48" providerId="ADAL" clId="{6ECD27E6-B224-41CD-B4E0-E297462320DD}" dt="2023-11-24T08:46:27.670" v="65199"/>
          <ac:spMkLst>
            <pc:docMk/>
            <pc:sldMk cId="1396980745" sldId="687"/>
            <ac:spMk id="424" creationId="{3B3E7355-5D1B-B3BE-8E73-0204750098F3}"/>
          </ac:spMkLst>
        </pc:spChg>
        <pc:spChg chg="add del mod">
          <ac:chgData name="Steiner Andreas 6206 ED" userId="e6377c33-a923-4f14-8587-531c474c7b48" providerId="ADAL" clId="{6ECD27E6-B224-41CD-B4E0-E297462320DD}" dt="2023-11-24T08:46:29.686" v="65354"/>
          <ac:spMkLst>
            <pc:docMk/>
            <pc:sldMk cId="1396980745" sldId="687"/>
            <ac:spMk id="425" creationId="{1DBE76E5-32C9-FBB7-16E9-9E7E11AA5C63}"/>
          </ac:spMkLst>
        </pc:spChg>
        <pc:spChg chg="add del mod">
          <ac:chgData name="Steiner Andreas 6206 ED" userId="e6377c33-a923-4f14-8587-531c474c7b48" providerId="ADAL" clId="{6ECD27E6-B224-41CD-B4E0-E297462320DD}" dt="2023-11-24T08:46:32.168" v="65509"/>
          <ac:spMkLst>
            <pc:docMk/>
            <pc:sldMk cId="1396980745" sldId="687"/>
            <ac:spMk id="426" creationId="{F7BB72AB-C601-AA44-2C3D-7B632AC7E81C}"/>
          </ac:spMkLst>
        </pc:spChg>
        <pc:spChg chg="add del mod">
          <ac:chgData name="Steiner Andreas 6206 ED" userId="e6377c33-a923-4f14-8587-531c474c7b48" providerId="ADAL" clId="{6ECD27E6-B224-41CD-B4E0-E297462320DD}" dt="2023-11-24T08:46:34.239" v="65664"/>
          <ac:spMkLst>
            <pc:docMk/>
            <pc:sldMk cId="1396980745" sldId="687"/>
            <ac:spMk id="427" creationId="{0055044F-C623-C4D5-5981-21C4FF4A07B2}"/>
          </ac:spMkLst>
        </pc:spChg>
        <pc:spChg chg="add del mod">
          <ac:chgData name="Steiner Andreas 6206 ED" userId="e6377c33-a923-4f14-8587-531c474c7b48" providerId="ADAL" clId="{6ECD27E6-B224-41CD-B4E0-E297462320DD}" dt="2023-11-24T08:46:36.171" v="65819"/>
          <ac:spMkLst>
            <pc:docMk/>
            <pc:sldMk cId="1396980745" sldId="687"/>
            <ac:spMk id="428" creationId="{6A9946B5-385B-B97C-D465-ECA5508C6371}"/>
          </ac:spMkLst>
        </pc:spChg>
        <pc:spChg chg="add del mod">
          <ac:chgData name="Steiner Andreas 6206 ED" userId="e6377c33-a923-4f14-8587-531c474c7b48" providerId="ADAL" clId="{6ECD27E6-B224-41CD-B4E0-E297462320DD}" dt="2023-11-24T08:46:38.250" v="65974"/>
          <ac:spMkLst>
            <pc:docMk/>
            <pc:sldMk cId="1396980745" sldId="687"/>
            <ac:spMk id="429" creationId="{6FD2288D-2C2D-4462-0FBB-A06924A7DA7E}"/>
          </ac:spMkLst>
        </pc:spChg>
        <pc:spChg chg="add del mod">
          <ac:chgData name="Steiner Andreas 6206 ED" userId="e6377c33-a923-4f14-8587-531c474c7b48" providerId="ADAL" clId="{6ECD27E6-B224-41CD-B4E0-E297462320DD}" dt="2023-11-24T08:46:40.326" v="66129"/>
          <ac:spMkLst>
            <pc:docMk/>
            <pc:sldMk cId="1396980745" sldId="687"/>
            <ac:spMk id="430" creationId="{EA49B242-3482-CD31-6CF7-29940F573DA7}"/>
          </ac:spMkLst>
        </pc:spChg>
        <pc:spChg chg="add del mod">
          <ac:chgData name="Steiner Andreas 6206 ED" userId="e6377c33-a923-4f14-8587-531c474c7b48" providerId="ADAL" clId="{6ECD27E6-B224-41CD-B4E0-E297462320DD}" dt="2023-11-24T08:46:42.600" v="66284"/>
          <ac:spMkLst>
            <pc:docMk/>
            <pc:sldMk cId="1396980745" sldId="687"/>
            <ac:spMk id="431" creationId="{6EA9BEE4-9C85-17E2-634E-4B356E31B18D}"/>
          </ac:spMkLst>
        </pc:spChg>
        <pc:spChg chg="add del mod">
          <ac:chgData name="Steiner Andreas 6206 ED" userId="e6377c33-a923-4f14-8587-531c474c7b48" providerId="ADAL" clId="{6ECD27E6-B224-41CD-B4E0-E297462320DD}" dt="2023-11-24T08:46:44.713" v="66439"/>
          <ac:spMkLst>
            <pc:docMk/>
            <pc:sldMk cId="1396980745" sldId="687"/>
            <ac:spMk id="432" creationId="{C830D9E1-F8B5-CC9B-2663-6106479D631B}"/>
          </ac:spMkLst>
        </pc:spChg>
        <pc:spChg chg="add del mod">
          <ac:chgData name="Steiner Andreas 6206 ED" userId="e6377c33-a923-4f14-8587-531c474c7b48" providerId="ADAL" clId="{6ECD27E6-B224-41CD-B4E0-E297462320DD}" dt="2023-11-24T08:46:46.785" v="66594"/>
          <ac:spMkLst>
            <pc:docMk/>
            <pc:sldMk cId="1396980745" sldId="687"/>
            <ac:spMk id="433" creationId="{B1AADE05-65F7-295B-B4EE-ABDBD7282B05}"/>
          </ac:spMkLst>
        </pc:spChg>
        <pc:spChg chg="add del mod">
          <ac:chgData name="Steiner Andreas 6206 ED" userId="e6377c33-a923-4f14-8587-531c474c7b48" providerId="ADAL" clId="{6ECD27E6-B224-41CD-B4E0-E297462320DD}" dt="2023-11-24T08:46:48.922" v="66749"/>
          <ac:spMkLst>
            <pc:docMk/>
            <pc:sldMk cId="1396980745" sldId="687"/>
            <ac:spMk id="434" creationId="{BC4ABD8E-8DF0-B200-625C-74241C38613B}"/>
          </ac:spMkLst>
        </pc:spChg>
        <pc:spChg chg="add del mod">
          <ac:chgData name="Steiner Andreas 6206 ED" userId="e6377c33-a923-4f14-8587-531c474c7b48" providerId="ADAL" clId="{6ECD27E6-B224-41CD-B4E0-E297462320DD}" dt="2023-11-24T08:46:50.976" v="66904"/>
          <ac:spMkLst>
            <pc:docMk/>
            <pc:sldMk cId="1396980745" sldId="687"/>
            <ac:spMk id="435" creationId="{58BBB244-B74C-D1EC-87EB-33E58A7FE7DF}"/>
          </ac:spMkLst>
        </pc:spChg>
        <pc:spChg chg="add del mod">
          <ac:chgData name="Steiner Andreas 6206 ED" userId="e6377c33-a923-4f14-8587-531c474c7b48" providerId="ADAL" clId="{6ECD27E6-B224-41CD-B4E0-E297462320DD}" dt="2023-11-24T08:46:53.030" v="67059"/>
          <ac:spMkLst>
            <pc:docMk/>
            <pc:sldMk cId="1396980745" sldId="687"/>
            <ac:spMk id="436" creationId="{3011BFA4-2744-0610-C39A-49CFFA3578E4}"/>
          </ac:spMkLst>
        </pc:spChg>
        <pc:spChg chg="add del mod">
          <ac:chgData name="Steiner Andreas 6206 ED" userId="e6377c33-a923-4f14-8587-531c474c7b48" providerId="ADAL" clId="{6ECD27E6-B224-41CD-B4E0-E297462320DD}" dt="2023-11-24T08:46:54.998" v="67214"/>
          <ac:spMkLst>
            <pc:docMk/>
            <pc:sldMk cId="1396980745" sldId="687"/>
            <ac:spMk id="437" creationId="{A5CAB82F-7BF7-45AF-1A8A-B754486E5187}"/>
          </ac:spMkLst>
        </pc:spChg>
        <pc:spChg chg="add del mod">
          <ac:chgData name="Steiner Andreas 6206 ED" userId="e6377c33-a923-4f14-8587-531c474c7b48" providerId="ADAL" clId="{6ECD27E6-B224-41CD-B4E0-E297462320DD}" dt="2023-11-24T08:46:56.972" v="67369"/>
          <ac:spMkLst>
            <pc:docMk/>
            <pc:sldMk cId="1396980745" sldId="687"/>
            <ac:spMk id="438" creationId="{5895D725-1272-9E1A-BABB-5292B6DF8112}"/>
          </ac:spMkLst>
        </pc:spChg>
        <pc:spChg chg="add del mod">
          <ac:chgData name="Steiner Andreas 6206 ED" userId="e6377c33-a923-4f14-8587-531c474c7b48" providerId="ADAL" clId="{6ECD27E6-B224-41CD-B4E0-E297462320DD}" dt="2023-11-24T08:46:58.837" v="67524"/>
          <ac:spMkLst>
            <pc:docMk/>
            <pc:sldMk cId="1396980745" sldId="687"/>
            <ac:spMk id="439" creationId="{A1A8CE47-E55B-EE14-A765-0C8457CAD797}"/>
          </ac:spMkLst>
        </pc:spChg>
        <pc:spChg chg="add del mod">
          <ac:chgData name="Steiner Andreas 6206 ED" userId="e6377c33-a923-4f14-8587-531c474c7b48" providerId="ADAL" clId="{6ECD27E6-B224-41CD-B4E0-E297462320DD}" dt="2023-11-24T08:47:00.946" v="67679"/>
          <ac:spMkLst>
            <pc:docMk/>
            <pc:sldMk cId="1396980745" sldId="687"/>
            <ac:spMk id="440" creationId="{34F8F7C9-D12F-A1C0-9EFD-876DF8A40440}"/>
          </ac:spMkLst>
        </pc:spChg>
        <pc:spChg chg="add del mod">
          <ac:chgData name="Steiner Andreas 6206 ED" userId="e6377c33-a923-4f14-8587-531c474c7b48" providerId="ADAL" clId="{6ECD27E6-B224-41CD-B4E0-E297462320DD}" dt="2023-11-24T08:47:03.097" v="67834"/>
          <ac:spMkLst>
            <pc:docMk/>
            <pc:sldMk cId="1396980745" sldId="687"/>
            <ac:spMk id="441" creationId="{A4688673-60A2-A9BE-0D58-4EE9CDF26519}"/>
          </ac:spMkLst>
        </pc:spChg>
        <pc:spChg chg="add del mod">
          <ac:chgData name="Steiner Andreas 6206 ED" userId="e6377c33-a923-4f14-8587-531c474c7b48" providerId="ADAL" clId="{6ECD27E6-B224-41CD-B4E0-E297462320DD}" dt="2023-11-24T08:47:05.101" v="67989"/>
          <ac:spMkLst>
            <pc:docMk/>
            <pc:sldMk cId="1396980745" sldId="687"/>
            <ac:spMk id="442" creationId="{71E24CD7-3991-B82F-A4FC-A654FC531B5D}"/>
          </ac:spMkLst>
        </pc:spChg>
        <pc:spChg chg="add del mod">
          <ac:chgData name="Steiner Andreas 6206 ED" userId="e6377c33-a923-4f14-8587-531c474c7b48" providerId="ADAL" clId="{6ECD27E6-B224-41CD-B4E0-E297462320DD}" dt="2023-11-24T08:47:06.874" v="68144"/>
          <ac:spMkLst>
            <pc:docMk/>
            <pc:sldMk cId="1396980745" sldId="687"/>
            <ac:spMk id="443" creationId="{D5D44F17-E98E-673C-1BA5-4A7AA87C3246}"/>
          </ac:spMkLst>
        </pc:spChg>
        <pc:spChg chg="add del mod">
          <ac:chgData name="Steiner Andreas 6206 ED" userId="e6377c33-a923-4f14-8587-531c474c7b48" providerId="ADAL" clId="{6ECD27E6-B224-41CD-B4E0-E297462320DD}" dt="2023-11-24T08:47:08.768" v="68299"/>
          <ac:spMkLst>
            <pc:docMk/>
            <pc:sldMk cId="1396980745" sldId="687"/>
            <ac:spMk id="444" creationId="{DF1C6AB2-3845-DE74-51BA-BFB4A9C7703C}"/>
          </ac:spMkLst>
        </pc:spChg>
        <pc:spChg chg="add del mod">
          <ac:chgData name="Steiner Andreas 6206 ED" userId="e6377c33-a923-4f14-8587-531c474c7b48" providerId="ADAL" clId="{6ECD27E6-B224-41CD-B4E0-E297462320DD}" dt="2023-11-24T08:47:10.645" v="68454"/>
          <ac:spMkLst>
            <pc:docMk/>
            <pc:sldMk cId="1396980745" sldId="687"/>
            <ac:spMk id="445" creationId="{171279BA-C312-52AF-E3E7-AF961EE0842C}"/>
          </ac:spMkLst>
        </pc:spChg>
        <pc:spChg chg="add del mod">
          <ac:chgData name="Steiner Andreas 6206 ED" userId="e6377c33-a923-4f14-8587-531c474c7b48" providerId="ADAL" clId="{6ECD27E6-B224-41CD-B4E0-E297462320DD}" dt="2023-11-24T08:47:12.523" v="68609"/>
          <ac:spMkLst>
            <pc:docMk/>
            <pc:sldMk cId="1396980745" sldId="687"/>
            <ac:spMk id="446" creationId="{7E06470B-022B-877C-C2D2-EC5B63A98E26}"/>
          </ac:spMkLst>
        </pc:spChg>
        <pc:spChg chg="add del mod">
          <ac:chgData name="Steiner Andreas 6206 ED" userId="e6377c33-a923-4f14-8587-531c474c7b48" providerId="ADAL" clId="{6ECD27E6-B224-41CD-B4E0-E297462320DD}" dt="2023-11-24T08:47:14.680" v="68764"/>
          <ac:spMkLst>
            <pc:docMk/>
            <pc:sldMk cId="1396980745" sldId="687"/>
            <ac:spMk id="447" creationId="{4C90E680-D598-8A3D-080C-C65CBED32F79}"/>
          </ac:spMkLst>
        </pc:spChg>
        <pc:spChg chg="add del mod">
          <ac:chgData name="Steiner Andreas 6206 ED" userId="e6377c33-a923-4f14-8587-531c474c7b48" providerId="ADAL" clId="{6ECD27E6-B224-41CD-B4E0-E297462320DD}" dt="2023-11-24T08:47:16.646" v="68919"/>
          <ac:spMkLst>
            <pc:docMk/>
            <pc:sldMk cId="1396980745" sldId="687"/>
            <ac:spMk id="448" creationId="{5727DAC8-F6F5-68AF-BCDC-A9BE58365E27}"/>
          </ac:spMkLst>
        </pc:spChg>
        <pc:spChg chg="add del mod">
          <ac:chgData name="Steiner Andreas 6206 ED" userId="e6377c33-a923-4f14-8587-531c474c7b48" providerId="ADAL" clId="{6ECD27E6-B224-41CD-B4E0-E297462320DD}" dt="2023-11-24T08:47:18.560" v="69074"/>
          <ac:spMkLst>
            <pc:docMk/>
            <pc:sldMk cId="1396980745" sldId="687"/>
            <ac:spMk id="449" creationId="{2F35B62C-1571-903B-CB87-8F3240D0A31F}"/>
          </ac:spMkLst>
        </pc:spChg>
        <pc:spChg chg="add del mod">
          <ac:chgData name="Steiner Andreas 6206 ED" userId="e6377c33-a923-4f14-8587-531c474c7b48" providerId="ADAL" clId="{6ECD27E6-B224-41CD-B4E0-E297462320DD}" dt="2023-11-24T08:47:20.551" v="69229"/>
          <ac:spMkLst>
            <pc:docMk/>
            <pc:sldMk cId="1396980745" sldId="687"/>
            <ac:spMk id="450" creationId="{791D758B-A524-291F-06C0-A035F1C19F01}"/>
          </ac:spMkLst>
        </pc:spChg>
        <pc:spChg chg="add del mod">
          <ac:chgData name="Steiner Andreas 6206 ED" userId="e6377c33-a923-4f14-8587-531c474c7b48" providerId="ADAL" clId="{6ECD27E6-B224-41CD-B4E0-E297462320DD}" dt="2023-11-24T08:47:22.921" v="69384"/>
          <ac:spMkLst>
            <pc:docMk/>
            <pc:sldMk cId="1396980745" sldId="687"/>
            <ac:spMk id="451" creationId="{F334C999-34D4-AE72-8322-F5560BDD1E40}"/>
          </ac:spMkLst>
        </pc:spChg>
        <pc:spChg chg="add del mod">
          <ac:chgData name="Steiner Andreas 6206 ED" userId="e6377c33-a923-4f14-8587-531c474c7b48" providerId="ADAL" clId="{6ECD27E6-B224-41CD-B4E0-E297462320DD}" dt="2023-11-24T08:47:25.599" v="69539"/>
          <ac:spMkLst>
            <pc:docMk/>
            <pc:sldMk cId="1396980745" sldId="687"/>
            <ac:spMk id="452" creationId="{8D186FC5-B269-CB5A-35CC-A824F62FBB5E}"/>
          </ac:spMkLst>
        </pc:spChg>
        <pc:spChg chg="add del mod">
          <ac:chgData name="Steiner Andreas 6206 ED" userId="e6377c33-a923-4f14-8587-531c474c7b48" providerId="ADAL" clId="{6ECD27E6-B224-41CD-B4E0-E297462320DD}" dt="2023-11-24T08:47:27.800" v="69694"/>
          <ac:spMkLst>
            <pc:docMk/>
            <pc:sldMk cId="1396980745" sldId="687"/>
            <ac:spMk id="453" creationId="{B3D0291D-802C-5830-D573-B2AE3C8181CA}"/>
          </ac:spMkLst>
        </pc:spChg>
        <pc:spChg chg="add del mod">
          <ac:chgData name="Steiner Andreas 6206 ED" userId="e6377c33-a923-4f14-8587-531c474c7b48" providerId="ADAL" clId="{6ECD27E6-B224-41CD-B4E0-E297462320DD}" dt="2023-11-24T08:47:29.873" v="69849"/>
          <ac:spMkLst>
            <pc:docMk/>
            <pc:sldMk cId="1396980745" sldId="687"/>
            <ac:spMk id="454" creationId="{B3F98F36-C325-9624-0910-BC115FEC8CC9}"/>
          </ac:spMkLst>
        </pc:spChg>
        <pc:spChg chg="add del mod">
          <ac:chgData name="Steiner Andreas 6206 ED" userId="e6377c33-a923-4f14-8587-531c474c7b48" providerId="ADAL" clId="{6ECD27E6-B224-41CD-B4E0-E297462320DD}" dt="2023-11-24T08:47:31.839" v="70004"/>
          <ac:spMkLst>
            <pc:docMk/>
            <pc:sldMk cId="1396980745" sldId="687"/>
            <ac:spMk id="455" creationId="{4D9DBACC-701C-9B42-14F0-9277D4D1B133}"/>
          </ac:spMkLst>
        </pc:spChg>
        <pc:spChg chg="add del mod">
          <ac:chgData name="Steiner Andreas 6206 ED" userId="e6377c33-a923-4f14-8587-531c474c7b48" providerId="ADAL" clId="{6ECD27E6-B224-41CD-B4E0-E297462320DD}" dt="2023-11-24T08:47:33.830" v="70159"/>
          <ac:spMkLst>
            <pc:docMk/>
            <pc:sldMk cId="1396980745" sldId="687"/>
            <ac:spMk id="456" creationId="{D01B8599-6315-61CD-13FE-1EA9F5D94DB2}"/>
          </ac:spMkLst>
        </pc:spChg>
        <pc:spChg chg="add del mod">
          <ac:chgData name="Steiner Andreas 6206 ED" userId="e6377c33-a923-4f14-8587-531c474c7b48" providerId="ADAL" clId="{6ECD27E6-B224-41CD-B4E0-E297462320DD}" dt="2023-11-24T08:47:35.990" v="70314"/>
          <ac:spMkLst>
            <pc:docMk/>
            <pc:sldMk cId="1396980745" sldId="687"/>
            <ac:spMk id="457" creationId="{F7C9FBEA-DEFF-D80E-64D1-005C4E5D24CC}"/>
          </ac:spMkLst>
        </pc:spChg>
        <pc:spChg chg="add del mod">
          <ac:chgData name="Steiner Andreas 6206 ED" userId="e6377c33-a923-4f14-8587-531c474c7b48" providerId="ADAL" clId="{6ECD27E6-B224-41CD-B4E0-E297462320DD}" dt="2023-11-24T08:47:38.090" v="70469"/>
          <ac:spMkLst>
            <pc:docMk/>
            <pc:sldMk cId="1396980745" sldId="687"/>
            <ac:spMk id="458" creationId="{6834255A-97DC-6AB8-64E7-C5E5DC1C841F}"/>
          </ac:spMkLst>
        </pc:spChg>
        <pc:spChg chg="add del mod">
          <ac:chgData name="Steiner Andreas 6206 ED" userId="e6377c33-a923-4f14-8587-531c474c7b48" providerId="ADAL" clId="{6ECD27E6-B224-41CD-B4E0-E297462320DD}" dt="2023-11-24T08:47:40.169" v="70624"/>
          <ac:spMkLst>
            <pc:docMk/>
            <pc:sldMk cId="1396980745" sldId="687"/>
            <ac:spMk id="459" creationId="{ED493762-5CD0-6E01-166F-B2CE62E5EECB}"/>
          </ac:spMkLst>
        </pc:spChg>
        <pc:spChg chg="add del mod">
          <ac:chgData name="Steiner Andreas 6206 ED" userId="e6377c33-a923-4f14-8587-531c474c7b48" providerId="ADAL" clId="{6ECD27E6-B224-41CD-B4E0-E297462320DD}" dt="2023-11-24T08:47:42.094" v="70779"/>
          <ac:spMkLst>
            <pc:docMk/>
            <pc:sldMk cId="1396980745" sldId="687"/>
            <ac:spMk id="460" creationId="{B9AB3DA2-248D-9160-BFD3-12593FB0BFF0}"/>
          </ac:spMkLst>
        </pc:spChg>
        <pc:spChg chg="add del mod">
          <ac:chgData name="Steiner Andreas 6206 ED" userId="e6377c33-a923-4f14-8587-531c474c7b48" providerId="ADAL" clId="{6ECD27E6-B224-41CD-B4E0-E297462320DD}" dt="2023-11-24T08:47:44.014" v="70934"/>
          <ac:spMkLst>
            <pc:docMk/>
            <pc:sldMk cId="1396980745" sldId="687"/>
            <ac:spMk id="461" creationId="{81EE981C-E6CE-5398-7E20-9D076B6AF94B}"/>
          </ac:spMkLst>
        </pc:spChg>
        <pc:spChg chg="add del mod">
          <ac:chgData name="Steiner Andreas 6206 ED" userId="e6377c33-a923-4f14-8587-531c474c7b48" providerId="ADAL" clId="{6ECD27E6-B224-41CD-B4E0-E297462320DD}" dt="2023-11-24T08:47:45.943" v="71089"/>
          <ac:spMkLst>
            <pc:docMk/>
            <pc:sldMk cId="1396980745" sldId="687"/>
            <ac:spMk id="462" creationId="{12A1A846-0047-B302-1959-C071DA238119}"/>
          </ac:spMkLst>
        </pc:spChg>
        <pc:spChg chg="add del mod">
          <ac:chgData name="Steiner Andreas 6206 ED" userId="e6377c33-a923-4f14-8587-531c474c7b48" providerId="ADAL" clId="{6ECD27E6-B224-41CD-B4E0-E297462320DD}" dt="2023-11-24T08:47:48.027" v="71244"/>
          <ac:spMkLst>
            <pc:docMk/>
            <pc:sldMk cId="1396980745" sldId="687"/>
            <ac:spMk id="463" creationId="{88DFDC23-4E07-65E7-CA01-467359C380C1}"/>
          </ac:spMkLst>
        </pc:spChg>
        <pc:spChg chg="add del mod">
          <ac:chgData name="Steiner Andreas 6206 ED" userId="e6377c33-a923-4f14-8587-531c474c7b48" providerId="ADAL" clId="{6ECD27E6-B224-41CD-B4E0-E297462320DD}" dt="2023-11-24T08:47:50.135" v="71399"/>
          <ac:spMkLst>
            <pc:docMk/>
            <pc:sldMk cId="1396980745" sldId="687"/>
            <ac:spMk id="464" creationId="{BDC02FC3-715C-4AA5-0F3B-8D1AA763E203}"/>
          </ac:spMkLst>
        </pc:spChg>
        <pc:spChg chg="add del mod">
          <ac:chgData name="Steiner Andreas 6206 ED" userId="e6377c33-a923-4f14-8587-531c474c7b48" providerId="ADAL" clId="{6ECD27E6-B224-41CD-B4E0-E297462320DD}" dt="2023-11-24T08:47:52.048" v="71554"/>
          <ac:spMkLst>
            <pc:docMk/>
            <pc:sldMk cId="1396980745" sldId="687"/>
            <ac:spMk id="465" creationId="{3716A6A1-A848-17F6-2D64-08CF1A25DAFE}"/>
          </ac:spMkLst>
        </pc:spChg>
        <pc:spChg chg="add del mod">
          <ac:chgData name="Steiner Andreas 6206 ED" userId="e6377c33-a923-4f14-8587-531c474c7b48" providerId="ADAL" clId="{6ECD27E6-B224-41CD-B4E0-E297462320DD}" dt="2023-11-24T08:47:53.997" v="71709"/>
          <ac:spMkLst>
            <pc:docMk/>
            <pc:sldMk cId="1396980745" sldId="687"/>
            <ac:spMk id="466" creationId="{57F36A7F-F4CE-151F-4A75-4502756F18A8}"/>
          </ac:spMkLst>
        </pc:spChg>
        <pc:spChg chg="add del mod">
          <ac:chgData name="Steiner Andreas 6206 ED" userId="e6377c33-a923-4f14-8587-531c474c7b48" providerId="ADAL" clId="{6ECD27E6-B224-41CD-B4E0-E297462320DD}" dt="2023-11-24T08:47:55.830" v="71864"/>
          <ac:spMkLst>
            <pc:docMk/>
            <pc:sldMk cId="1396980745" sldId="687"/>
            <ac:spMk id="467" creationId="{A8AB45A0-39FB-D66A-4791-9A97F9FCFBAB}"/>
          </ac:spMkLst>
        </pc:spChg>
        <pc:spChg chg="add del mod">
          <ac:chgData name="Steiner Andreas 6206 ED" userId="e6377c33-a923-4f14-8587-531c474c7b48" providerId="ADAL" clId="{6ECD27E6-B224-41CD-B4E0-E297462320DD}" dt="2023-11-24T08:47:57.822" v="72019"/>
          <ac:spMkLst>
            <pc:docMk/>
            <pc:sldMk cId="1396980745" sldId="687"/>
            <ac:spMk id="468" creationId="{5B59A28E-ADF0-2FD3-AD40-90434C6B06C6}"/>
          </ac:spMkLst>
        </pc:spChg>
        <pc:spChg chg="add del mod">
          <ac:chgData name="Steiner Andreas 6206 ED" userId="e6377c33-a923-4f14-8587-531c474c7b48" providerId="ADAL" clId="{6ECD27E6-B224-41CD-B4E0-E297462320DD}" dt="2023-11-24T08:47:59.950" v="72174"/>
          <ac:spMkLst>
            <pc:docMk/>
            <pc:sldMk cId="1396980745" sldId="687"/>
            <ac:spMk id="469" creationId="{72689EDF-0319-87E4-09F2-D55FB2D370CC}"/>
          </ac:spMkLst>
        </pc:spChg>
        <pc:spChg chg="add del mod">
          <ac:chgData name="Steiner Andreas 6206 ED" userId="e6377c33-a923-4f14-8587-531c474c7b48" providerId="ADAL" clId="{6ECD27E6-B224-41CD-B4E0-E297462320DD}" dt="2023-11-24T08:48:02.081" v="72329"/>
          <ac:spMkLst>
            <pc:docMk/>
            <pc:sldMk cId="1396980745" sldId="687"/>
            <ac:spMk id="470" creationId="{D07E2078-5A7F-C14D-9739-9E045E6C780B}"/>
          </ac:spMkLst>
        </pc:spChg>
        <pc:spChg chg="add del mod">
          <ac:chgData name="Steiner Andreas 6206 ED" userId="e6377c33-a923-4f14-8587-531c474c7b48" providerId="ADAL" clId="{6ECD27E6-B224-41CD-B4E0-E297462320DD}" dt="2023-11-24T08:48:04.107" v="72484"/>
          <ac:spMkLst>
            <pc:docMk/>
            <pc:sldMk cId="1396980745" sldId="687"/>
            <ac:spMk id="471" creationId="{F38F76F8-4DDC-D406-9ACA-3C88DF50C042}"/>
          </ac:spMkLst>
        </pc:spChg>
        <pc:spChg chg="add del mod">
          <ac:chgData name="Steiner Andreas 6206 ED" userId="e6377c33-a923-4f14-8587-531c474c7b48" providerId="ADAL" clId="{6ECD27E6-B224-41CD-B4E0-E297462320DD}" dt="2023-11-24T08:48:06.305" v="72639"/>
          <ac:spMkLst>
            <pc:docMk/>
            <pc:sldMk cId="1396980745" sldId="687"/>
            <ac:spMk id="472" creationId="{E8FF56E3-5312-D0A9-53BC-CE9B788A84F7}"/>
          </ac:spMkLst>
        </pc:spChg>
        <pc:spChg chg="add del mod">
          <ac:chgData name="Steiner Andreas 6206 ED" userId="e6377c33-a923-4f14-8587-531c474c7b48" providerId="ADAL" clId="{6ECD27E6-B224-41CD-B4E0-E297462320DD}" dt="2023-11-24T08:48:08.476" v="72794"/>
          <ac:spMkLst>
            <pc:docMk/>
            <pc:sldMk cId="1396980745" sldId="687"/>
            <ac:spMk id="473" creationId="{3AE86DE3-9EE1-F236-C4AC-054755CBAC9C}"/>
          </ac:spMkLst>
        </pc:spChg>
        <pc:spChg chg="add del mod">
          <ac:chgData name="Steiner Andreas 6206 ED" userId="e6377c33-a923-4f14-8587-531c474c7b48" providerId="ADAL" clId="{6ECD27E6-B224-41CD-B4E0-E297462320DD}" dt="2023-11-24T08:48:10.529" v="72949"/>
          <ac:spMkLst>
            <pc:docMk/>
            <pc:sldMk cId="1396980745" sldId="687"/>
            <ac:spMk id="474" creationId="{2501FD24-1F2D-0D7D-F40B-0572ED89CE02}"/>
          </ac:spMkLst>
        </pc:spChg>
        <pc:spChg chg="add del mod">
          <ac:chgData name="Steiner Andreas 6206 ED" userId="e6377c33-a923-4f14-8587-531c474c7b48" providerId="ADAL" clId="{6ECD27E6-B224-41CD-B4E0-E297462320DD}" dt="2023-11-24T08:48:12.496" v="73104"/>
          <ac:spMkLst>
            <pc:docMk/>
            <pc:sldMk cId="1396980745" sldId="687"/>
            <ac:spMk id="475" creationId="{65F04A21-0512-8726-574D-E34AAE817A84}"/>
          </ac:spMkLst>
        </pc:spChg>
        <pc:spChg chg="add del mod">
          <ac:chgData name="Steiner Andreas 6206 ED" userId="e6377c33-a923-4f14-8587-531c474c7b48" providerId="ADAL" clId="{6ECD27E6-B224-41CD-B4E0-E297462320DD}" dt="2023-11-24T08:48:15.010" v="73259"/>
          <ac:spMkLst>
            <pc:docMk/>
            <pc:sldMk cId="1396980745" sldId="687"/>
            <ac:spMk id="476" creationId="{AF1C470C-D897-2690-A43E-8B3FE86211BB}"/>
          </ac:spMkLst>
        </pc:spChg>
        <pc:spChg chg="add del mod">
          <ac:chgData name="Steiner Andreas 6206 ED" userId="e6377c33-a923-4f14-8587-531c474c7b48" providerId="ADAL" clId="{6ECD27E6-B224-41CD-B4E0-E297462320DD}" dt="2023-11-24T08:48:17.797" v="73414"/>
          <ac:spMkLst>
            <pc:docMk/>
            <pc:sldMk cId="1396980745" sldId="687"/>
            <ac:spMk id="477" creationId="{C0CA615B-9AEC-BA10-4D5E-EAFB4F48D775}"/>
          </ac:spMkLst>
        </pc:spChg>
        <pc:spChg chg="add del mod">
          <ac:chgData name="Steiner Andreas 6206 ED" userId="e6377c33-a923-4f14-8587-531c474c7b48" providerId="ADAL" clId="{6ECD27E6-B224-41CD-B4E0-E297462320DD}" dt="2023-11-24T08:48:20.336" v="73569"/>
          <ac:spMkLst>
            <pc:docMk/>
            <pc:sldMk cId="1396980745" sldId="687"/>
            <ac:spMk id="478" creationId="{0CFDDB43-7D26-46D6-6460-AEB514BD4A48}"/>
          </ac:spMkLst>
        </pc:spChg>
        <pc:spChg chg="add del mod">
          <ac:chgData name="Steiner Andreas 6206 ED" userId="e6377c33-a923-4f14-8587-531c474c7b48" providerId="ADAL" clId="{6ECD27E6-B224-41CD-B4E0-E297462320DD}" dt="2023-11-24T08:48:22.473" v="73724"/>
          <ac:spMkLst>
            <pc:docMk/>
            <pc:sldMk cId="1396980745" sldId="687"/>
            <ac:spMk id="479" creationId="{369FF520-48FC-EBAE-EC6C-93C9EF1E6C3B}"/>
          </ac:spMkLst>
        </pc:spChg>
        <pc:spChg chg="add del mod">
          <ac:chgData name="Steiner Andreas 6206 ED" userId="e6377c33-a923-4f14-8587-531c474c7b48" providerId="ADAL" clId="{6ECD27E6-B224-41CD-B4E0-E297462320DD}" dt="2023-11-24T08:48:24.549" v="73879"/>
          <ac:spMkLst>
            <pc:docMk/>
            <pc:sldMk cId="1396980745" sldId="687"/>
            <ac:spMk id="480" creationId="{8DDC1A35-42B2-8ACB-B34F-0CA85800C560}"/>
          </ac:spMkLst>
        </pc:spChg>
        <pc:spChg chg="add del mod">
          <ac:chgData name="Steiner Andreas 6206 ED" userId="e6377c33-a923-4f14-8587-531c474c7b48" providerId="ADAL" clId="{6ECD27E6-B224-41CD-B4E0-E297462320DD}" dt="2023-11-24T08:48:26.656" v="74034"/>
          <ac:spMkLst>
            <pc:docMk/>
            <pc:sldMk cId="1396980745" sldId="687"/>
            <ac:spMk id="481" creationId="{6CCD3B8C-E0C5-5602-0FB3-F2DD6985A817}"/>
          </ac:spMkLst>
        </pc:spChg>
        <pc:spChg chg="add del mod">
          <ac:chgData name="Steiner Andreas 6206 ED" userId="e6377c33-a923-4f14-8587-531c474c7b48" providerId="ADAL" clId="{6ECD27E6-B224-41CD-B4E0-E297462320DD}" dt="2023-11-24T08:48:28.664" v="74189"/>
          <ac:spMkLst>
            <pc:docMk/>
            <pc:sldMk cId="1396980745" sldId="687"/>
            <ac:spMk id="482" creationId="{FC80D96C-E023-F548-111A-8AA2FB2EA23F}"/>
          </ac:spMkLst>
        </pc:spChg>
        <pc:spChg chg="add del mod">
          <ac:chgData name="Steiner Andreas 6206 ED" userId="e6377c33-a923-4f14-8587-531c474c7b48" providerId="ADAL" clId="{6ECD27E6-B224-41CD-B4E0-E297462320DD}" dt="2023-11-24T08:48:30.540" v="74344"/>
          <ac:spMkLst>
            <pc:docMk/>
            <pc:sldMk cId="1396980745" sldId="687"/>
            <ac:spMk id="483" creationId="{5057446B-595E-051E-990F-BD51A1B07806}"/>
          </ac:spMkLst>
        </pc:spChg>
        <pc:spChg chg="add del mod">
          <ac:chgData name="Steiner Andreas 6206 ED" userId="e6377c33-a923-4f14-8587-531c474c7b48" providerId="ADAL" clId="{6ECD27E6-B224-41CD-B4E0-E297462320DD}" dt="2023-11-24T08:48:32.511" v="74499"/>
          <ac:spMkLst>
            <pc:docMk/>
            <pc:sldMk cId="1396980745" sldId="687"/>
            <ac:spMk id="484" creationId="{AEFE6D99-B681-5C3A-5937-31B2326D9AB4}"/>
          </ac:spMkLst>
        </pc:spChg>
        <pc:spChg chg="add del mod">
          <ac:chgData name="Steiner Andreas 6206 ED" userId="e6377c33-a923-4f14-8587-531c474c7b48" providerId="ADAL" clId="{6ECD27E6-B224-41CD-B4E0-E297462320DD}" dt="2023-11-24T08:48:34.793" v="74654"/>
          <ac:spMkLst>
            <pc:docMk/>
            <pc:sldMk cId="1396980745" sldId="687"/>
            <ac:spMk id="485" creationId="{8F0139E7-13F8-B649-CF17-A6FE17468FB0}"/>
          </ac:spMkLst>
        </pc:spChg>
        <pc:spChg chg="add del mod">
          <ac:chgData name="Steiner Andreas 6206 ED" userId="e6377c33-a923-4f14-8587-531c474c7b48" providerId="ADAL" clId="{6ECD27E6-B224-41CD-B4E0-E297462320DD}" dt="2023-11-24T08:48:36.920" v="74809"/>
          <ac:spMkLst>
            <pc:docMk/>
            <pc:sldMk cId="1396980745" sldId="687"/>
            <ac:spMk id="486" creationId="{83FDDA96-E35D-1636-313C-4059AE086775}"/>
          </ac:spMkLst>
        </pc:spChg>
        <pc:spChg chg="add del mod">
          <ac:chgData name="Steiner Andreas 6206 ED" userId="e6377c33-a923-4f14-8587-531c474c7b48" providerId="ADAL" clId="{6ECD27E6-B224-41CD-B4E0-E297462320DD}" dt="2023-11-24T08:48:38.989" v="74964"/>
          <ac:spMkLst>
            <pc:docMk/>
            <pc:sldMk cId="1396980745" sldId="687"/>
            <ac:spMk id="487" creationId="{BE40B545-E151-EE0E-E44B-E7DB91C4087E}"/>
          </ac:spMkLst>
        </pc:spChg>
        <pc:spChg chg="add del mod">
          <ac:chgData name="Steiner Andreas 6206 ED" userId="e6377c33-a923-4f14-8587-531c474c7b48" providerId="ADAL" clId="{6ECD27E6-B224-41CD-B4E0-E297462320DD}" dt="2023-11-24T08:48:41.116" v="75119"/>
          <ac:spMkLst>
            <pc:docMk/>
            <pc:sldMk cId="1396980745" sldId="687"/>
            <ac:spMk id="488" creationId="{BB8ACFBE-2400-CD9C-4870-EDA215DAA698}"/>
          </ac:spMkLst>
        </pc:spChg>
        <pc:spChg chg="add del mod">
          <ac:chgData name="Steiner Andreas 6206 ED" userId="e6377c33-a923-4f14-8587-531c474c7b48" providerId="ADAL" clId="{6ECD27E6-B224-41CD-B4E0-E297462320DD}" dt="2023-11-24T08:48:43.551" v="75274"/>
          <ac:spMkLst>
            <pc:docMk/>
            <pc:sldMk cId="1396980745" sldId="687"/>
            <ac:spMk id="489" creationId="{0EE57516-EEF9-154E-2811-7E8E6F2F99C8}"/>
          </ac:spMkLst>
        </pc:spChg>
        <pc:spChg chg="add del mod">
          <ac:chgData name="Steiner Andreas 6206 ED" userId="e6377c33-a923-4f14-8587-531c474c7b48" providerId="ADAL" clId="{6ECD27E6-B224-41CD-B4E0-E297462320DD}" dt="2023-11-24T08:48:45.866" v="75429"/>
          <ac:spMkLst>
            <pc:docMk/>
            <pc:sldMk cId="1396980745" sldId="687"/>
            <ac:spMk id="490" creationId="{03BB1F12-9121-EAD8-E2F5-7B43F486D151}"/>
          </ac:spMkLst>
        </pc:spChg>
        <pc:spChg chg="add del mod">
          <ac:chgData name="Steiner Andreas 6206 ED" userId="e6377c33-a923-4f14-8587-531c474c7b48" providerId="ADAL" clId="{6ECD27E6-B224-41CD-B4E0-E297462320DD}" dt="2023-11-24T08:48:47.906" v="75584"/>
          <ac:spMkLst>
            <pc:docMk/>
            <pc:sldMk cId="1396980745" sldId="687"/>
            <ac:spMk id="491" creationId="{42C92FE3-69AA-BD56-36A3-AFBC2D411DFC}"/>
          </ac:spMkLst>
        </pc:spChg>
        <pc:spChg chg="add del mod">
          <ac:chgData name="Steiner Andreas 6206 ED" userId="e6377c33-a923-4f14-8587-531c474c7b48" providerId="ADAL" clId="{6ECD27E6-B224-41CD-B4E0-E297462320DD}" dt="2023-11-24T08:48:49.852" v="75739"/>
          <ac:spMkLst>
            <pc:docMk/>
            <pc:sldMk cId="1396980745" sldId="687"/>
            <ac:spMk id="492" creationId="{05B6BFD4-7875-0A57-5052-65AB6FDC33D7}"/>
          </ac:spMkLst>
        </pc:spChg>
        <pc:spChg chg="add del mod">
          <ac:chgData name="Steiner Andreas 6206 ED" userId="e6377c33-a923-4f14-8587-531c474c7b48" providerId="ADAL" clId="{6ECD27E6-B224-41CD-B4E0-E297462320DD}" dt="2023-11-24T08:48:52.097" v="75894"/>
          <ac:spMkLst>
            <pc:docMk/>
            <pc:sldMk cId="1396980745" sldId="687"/>
            <ac:spMk id="493" creationId="{4461D3DD-1F17-5741-202B-2C8EAEEF9344}"/>
          </ac:spMkLst>
        </pc:spChg>
        <pc:spChg chg="add del mod">
          <ac:chgData name="Steiner Andreas 6206 ED" userId="e6377c33-a923-4f14-8587-531c474c7b48" providerId="ADAL" clId="{6ECD27E6-B224-41CD-B4E0-E297462320DD}" dt="2023-11-24T08:48:54.002" v="76049"/>
          <ac:spMkLst>
            <pc:docMk/>
            <pc:sldMk cId="1396980745" sldId="687"/>
            <ac:spMk id="494" creationId="{06E69C65-7752-A77F-0CF9-D763EE18A7A8}"/>
          </ac:spMkLst>
        </pc:spChg>
        <pc:spChg chg="add del mod">
          <ac:chgData name="Steiner Andreas 6206 ED" userId="e6377c33-a923-4f14-8587-531c474c7b48" providerId="ADAL" clId="{6ECD27E6-B224-41CD-B4E0-E297462320DD}" dt="2023-11-24T08:48:55.999" v="76204"/>
          <ac:spMkLst>
            <pc:docMk/>
            <pc:sldMk cId="1396980745" sldId="687"/>
            <ac:spMk id="495" creationId="{6519EE7D-6473-AA5D-B728-E9E3DB0AEB6C}"/>
          </ac:spMkLst>
        </pc:spChg>
        <pc:spChg chg="add del mod">
          <ac:chgData name="Steiner Andreas 6206 ED" userId="e6377c33-a923-4f14-8587-531c474c7b48" providerId="ADAL" clId="{6ECD27E6-B224-41CD-B4E0-E297462320DD}" dt="2023-11-24T08:48:57.942" v="76359"/>
          <ac:spMkLst>
            <pc:docMk/>
            <pc:sldMk cId="1396980745" sldId="687"/>
            <ac:spMk id="496" creationId="{2B250D64-DF5A-847E-D9B6-F910B26E5667}"/>
          </ac:spMkLst>
        </pc:spChg>
        <pc:spChg chg="add del mod">
          <ac:chgData name="Steiner Andreas 6206 ED" userId="e6377c33-a923-4f14-8587-531c474c7b48" providerId="ADAL" clId="{6ECD27E6-B224-41CD-B4E0-E297462320DD}" dt="2023-11-24T08:48:59.995" v="76514"/>
          <ac:spMkLst>
            <pc:docMk/>
            <pc:sldMk cId="1396980745" sldId="687"/>
            <ac:spMk id="497" creationId="{7EC84A98-F45E-9E83-AEEB-DB22E74D6BDF}"/>
          </ac:spMkLst>
        </pc:spChg>
        <pc:spChg chg="add del mod">
          <ac:chgData name="Steiner Andreas 6206 ED" userId="e6377c33-a923-4f14-8587-531c474c7b48" providerId="ADAL" clId="{6ECD27E6-B224-41CD-B4E0-E297462320DD}" dt="2023-11-24T08:49:01.974" v="76669"/>
          <ac:spMkLst>
            <pc:docMk/>
            <pc:sldMk cId="1396980745" sldId="687"/>
            <ac:spMk id="498" creationId="{797161AC-5AD2-54E3-4FB4-D888D29EB072}"/>
          </ac:spMkLst>
        </pc:spChg>
        <pc:spChg chg="add del mod">
          <ac:chgData name="Steiner Andreas 6206 ED" userId="e6377c33-a923-4f14-8587-531c474c7b48" providerId="ADAL" clId="{6ECD27E6-B224-41CD-B4E0-E297462320DD}" dt="2023-11-24T08:49:03.937" v="76824"/>
          <ac:spMkLst>
            <pc:docMk/>
            <pc:sldMk cId="1396980745" sldId="687"/>
            <ac:spMk id="499" creationId="{5AFE9312-6AA7-2243-9777-A9C1F48D17FE}"/>
          </ac:spMkLst>
        </pc:spChg>
        <pc:spChg chg="add del mod">
          <ac:chgData name="Steiner Andreas 6206 ED" userId="e6377c33-a923-4f14-8587-531c474c7b48" providerId="ADAL" clId="{6ECD27E6-B224-41CD-B4E0-E297462320DD}" dt="2023-11-24T08:49:05.833" v="76979"/>
          <ac:spMkLst>
            <pc:docMk/>
            <pc:sldMk cId="1396980745" sldId="687"/>
            <ac:spMk id="500" creationId="{DD0177AE-67A0-3D6D-DF39-B67942DE2DE0}"/>
          </ac:spMkLst>
        </pc:spChg>
        <pc:spChg chg="add del mod">
          <ac:chgData name="Steiner Andreas 6206 ED" userId="e6377c33-a923-4f14-8587-531c474c7b48" providerId="ADAL" clId="{6ECD27E6-B224-41CD-B4E0-E297462320DD}" dt="2023-11-24T08:49:07.943" v="77134"/>
          <ac:spMkLst>
            <pc:docMk/>
            <pc:sldMk cId="1396980745" sldId="687"/>
            <ac:spMk id="501" creationId="{D10D6DCF-DE70-44E7-950D-7C9D08A4483D}"/>
          </ac:spMkLst>
        </pc:spChg>
        <pc:spChg chg="add del mod">
          <ac:chgData name="Steiner Andreas 6206 ED" userId="e6377c33-a923-4f14-8587-531c474c7b48" providerId="ADAL" clId="{6ECD27E6-B224-41CD-B4E0-E297462320DD}" dt="2023-11-24T08:49:09.827" v="77289"/>
          <ac:spMkLst>
            <pc:docMk/>
            <pc:sldMk cId="1396980745" sldId="687"/>
            <ac:spMk id="502" creationId="{D6D926B4-9591-E9CD-956A-AE5CE707B2EA}"/>
          </ac:spMkLst>
        </pc:spChg>
        <pc:spChg chg="add del mod">
          <ac:chgData name="Steiner Andreas 6206 ED" userId="e6377c33-a923-4f14-8587-531c474c7b48" providerId="ADAL" clId="{6ECD27E6-B224-41CD-B4E0-E297462320DD}" dt="2023-11-24T08:49:11.602" v="77444"/>
          <ac:spMkLst>
            <pc:docMk/>
            <pc:sldMk cId="1396980745" sldId="687"/>
            <ac:spMk id="503" creationId="{7941AC25-BD51-F0D3-49F5-AC273CA8EC65}"/>
          </ac:spMkLst>
        </pc:spChg>
        <pc:spChg chg="add del mod">
          <ac:chgData name="Steiner Andreas 6206 ED" userId="e6377c33-a923-4f14-8587-531c474c7b48" providerId="ADAL" clId="{6ECD27E6-B224-41CD-B4E0-E297462320DD}" dt="2023-11-24T08:49:13.707" v="77599"/>
          <ac:spMkLst>
            <pc:docMk/>
            <pc:sldMk cId="1396980745" sldId="687"/>
            <ac:spMk id="504" creationId="{776BDA10-BD5D-D7CC-F9B5-B7AE8217A700}"/>
          </ac:spMkLst>
        </pc:spChg>
        <pc:spChg chg="add del mod">
          <ac:chgData name="Steiner Andreas 6206 ED" userId="e6377c33-a923-4f14-8587-531c474c7b48" providerId="ADAL" clId="{6ECD27E6-B224-41CD-B4E0-E297462320DD}" dt="2023-11-24T08:49:15.703" v="77754"/>
          <ac:spMkLst>
            <pc:docMk/>
            <pc:sldMk cId="1396980745" sldId="687"/>
            <ac:spMk id="505" creationId="{E12419D9-EAEE-D198-2DC0-F0A67D814B1F}"/>
          </ac:spMkLst>
        </pc:spChg>
        <pc:spChg chg="add del mod">
          <ac:chgData name="Steiner Andreas 6206 ED" userId="e6377c33-a923-4f14-8587-531c474c7b48" providerId="ADAL" clId="{6ECD27E6-B224-41CD-B4E0-E297462320DD}" dt="2023-11-24T08:49:17.728" v="77909"/>
          <ac:spMkLst>
            <pc:docMk/>
            <pc:sldMk cId="1396980745" sldId="687"/>
            <ac:spMk id="506" creationId="{40DA0A0D-B1E0-6B5C-BE19-69B253017828}"/>
          </ac:spMkLst>
        </pc:spChg>
        <pc:spChg chg="add del mod">
          <ac:chgData name="Steiner Andreas 6206 ED" userId="e6377c33-a923-4f14-8587-531c474c7b48" providerId="ADAL" clId="{6ECD27E6-B224-41CD-B4E0-E297462320DD}" dt="2023-11-24T08:49:19.783" v="78064"/>
          <ac:spMkLst>
            <pc:docMk/>
            <pc:sldMk cId="1396980745" sldId="687"/>
            <ac:spMk id="507" creationId="{DE9CC273-6F72-9AE7-EF55-994DD5422F79}"/>
          </ac:spMkLst>
        </pc:spChg>
        <pc:spChg chg="add del mod">
          <ac:chgData name="Steiner Andreas 6206 ED" userId="e6377c33-a923-4f14-8587-531c474c7b48" providerId="ADAL" clId="{6ECD27E6-B224-41CD-B4E0-E297462320DD}" dt="2023-11-24T08:49:21.679" v="78219"/>
          <ac:spMkLst>
            <pc:docMk/>
            <pc:sldMk cId="1396980745" sldId="687"/>
            <ac:spMk id="508" creationId="{37362082-D247-266C-08BC-504728E5709C}"/>
          </ac:spMkLst>
        </pc:spChg>
        <pc:spChg chg="add del mod">
          <ac:chgData name="Steiner Andreas 6206 ED" userId="e6377c33-a923-4f14-8587-531c474c7b48" providerId="ADAL" clId="{6ECD27E6-B224-41CD-B4E0-E297462320DD}" dt="2023-11-24T08:49:23.584" v="78374"/>
          <ac:spMkLst>
            <pc:docMk/>
            <pc:sldMk cId="1396980745" sldId="687"/>
            <ac:spMk id="509" creationId="{49AB668A-AD0D-6B9F-44EA-72E63839CF51}"/>
          </ac:spMkLst>
        </pc:spChg>
        <pc:spChg chg="add del mod">
          <ac:chgData name="Steiner Andreas 6206 ED" userId="e6377c33-a923-4f14-8587-531c474c7b48" providerId="ADAL" clId="{6ECD27E6-B224-41CD-B4E0-E297462320DD}" dt="2023-11-24T08:49:25.458" v="78529"/>
          <ac:spMkLst>
            <pc:docMk/>
            <pc:sldMk cId="1396980745" sldId="687"/>
            <ac:spMk id="510" creationId="{B91F4314-63DB-B954-5D17-769719314EA3}"/>
          </ac:spMkLst>
        </pc:spChg>
        <pc:spChg chg="add del mod">
          <ac:chgData name="Steiner Andreas 6206 ED" userId="e6377c33-a923-4f14-8587-531c474c7b48" providerId="ADAL" clId="{6ECD27E6-B224-41CD-B4E0-E297462320DD}" dt="2023-11-24T08:49:27.524" v="78684"/>
          <ac:spMkLst>
            <pc:docMk/>
            <pc:sldMk cId="1396980745" sldId="687"/>
            <ac:spMk id="511" creationId="{9222B6C1-91EA-8D07-80E1-2D083998B23F}"/>
          </ac:spMkLst>
        </pc:spChg>
        <pc:spChg chg="add del mod">
          <ac:chgData name="Steiner Andreas 6206 ED" userId="e6377c33-a923-4f14-8587-531c474c7b48" providerId="ADAL" clId="{6ECD27E6-B224-41CD-B4E0-E297462320DD}" dt="2023-11-24T08:49:29.552" v="78839"/>
          <ac:spMkLst>
            <pc:docMk/>
            <pc:sldMk cId="1396980745" sldId="687"/>
            <ac:spMk id="512" creationId="{4BF13436-F6CA-0729-12C1-27EB5D8B14EE}"/>
          </ac:spMkLst>
        </pc:spChg>
        <pc:spChg chg="add del mod">
          <ac:chgData name="Steiner Andreas 6206 ED" userId="e6377c33-a923-4f14-8587-531c474c7b48" providerId="ADAL" clId="{6ECD27E6-B224-41CD-B4E0-E297462320DD}" dt="2023-11-24T08:49:31.486" v="78994"/>
          <ac:spMkLst>
            <pc:docMk/>
            <pc:sldMk cId="1396980745" sldId="687"/>
            <ac:spMk id="513" creationId="{3E29B586-A687-7EB9-7995-8D7E02C84C62}"/>
          </ac:spMkLst>
        </pc:spChg>
        <pc:spChg chg="add del mod">
          <ac:chgData name="Steiner Andreas 6206 ED" userId="e6377c33-a923-4f14-8587-531c474c7b48" providerId="ADAL" clId="{6ECD27E6-B224-41CD-B4E0-E297462320DD}" dt="2023-11-24T08:49:33.389" v="79149"/>
          <ac:spMkLst>
            <pc:docMk/>
            <pc:sldMk cId="1396980745" sldId="687"/>
            <ac:spMk id="514" creationId="{2168BF81-DBE9-DD60-27D2-09ACC49FB164}"/>
          </ac:spMkLst>
        </pc:spChg>
        <pc:spChg chg="add del mod">
          <ac:chgData name="Steiner Andreas 6206 ED" userId="e6377c33-a923-4f14-8587-531c474c7b48" providerId="ADAL" clId="{6ECD27E6-B224-41CD-B4E0-E297462320DD}" dt="2023-11-24T08:49:35.294" v="79304"/>
          <ac:spMkLst>
            <pc:docMk/>
            <pc:sldMk cId="1396980745" sldId="687"/>
            <ac:spMk id="515" creationId="{24E2419F-BE02-D947-F576-7982282D128C}"/>
          </ac:spMkLst>
        </pc:spChg>
        <pc:spChg chg="add del mod">
          <ac:chgData name="Steiner Andreas 6206 ED" userId="e6377c33-a923-4f14-8587-531c474c7b48" providerId="ADAL" clId="{6ECD27E6-B224-41CD-B4E0-E297462320DD}" dt="2023-11-24T08:49:37.124" v="79459"/>
          <ac:spMkLst>
            <pc:docMk/>
            <pc:sldMk cId="1396980745" sldId="687"/>
            <ac:spMk id="516" creationId="{D43300E8-CA90-403F-E756-4756999D7AD2}"/>
          </ac:spMkLst>
        </pc:spChg>
        <pc:spChg chg="add del mod">
          <ac:chgData name="Steiner Andreas 6206 ED" userId="e6377c33-a923-4f14-8587-531c474c7b48" providerId="ADAL" clId="{6ECD27E6-B224-41CD-B4E0-E297462320DD}" dt="2023-11-24T08:49:39.086" v="79614"/>
          <ac:spMkLst>
            <pc:docMk/>
            <pc:sldMk cId="1396980745" sldId="687"/>
            <ac:spMk id="517" creationId="{9DB7F250-6D5A-B14D-DB54-F19A2EA87343}"/>
          </ac:spMkLst>
        </pc:spChg>
        <pc:spChg chg="add del mod">
          <ac:chgData name="Steiner Andreas 6206 ED" userId="e6377c33-a923-4f14-8587-531c474c7b48" providerId="ADAL" clId="{6ECD27E6-B224-41CD-B4E0-E297462320DD}" dt="2023-11-24T08:49:41.180" v="79769"/>
          <ac:spMkLst>
            <pc:docMk/>
            <pc:sldMk cId="1396980745" sldId="687"/>
            <ac:spMk id="518" creationId="{BCD1988F-62B4-7209-3D41-4CDCFD47876E}"/>
          </ac:spMkLst>
        </pc:spChg>
        <pc:spChg chg="add del mod">
          <ac:chgData name="Steiner Andreas 6206 ED" userId="e6377c33-a923-4f14-8587-531c474c7b48" providerId="ADAL" clId="{6ECD27E6-B224-41CD-B4E0-E297462320DD}" dt="2023-11-24T08:49:43.088" v="79924"/>
          <ac:spMkLst>
            <pc:docMk/>
            <pc:sldMk cId="1396980745" sldId="687"/>
            <ac:spMk id="519" creationId="{7E49D888-A7E8-812D-A3C1-479036F20CD0}"/>
          </ac:spMkLst>
        </pc:spChg>
        <pc:spChg chg="add del mod">
          <ac:chgData name="Steiner Andreas 6206 ED" userId="e6377c33-a923-4f14-8587-531c474c7b48" providerId="ADAL" clId="{6ECD27E6-B224-41CD-B4E0-E297462320DD}" dt="2023-11-24T08:49:45.035" v="80079"/>
          <ac:spMkLst>
            <pc:docMk/>
            <pc:sldMk cId="1396980745" sldId="687"/>
            <ac:spMk id="520" creationId="{43E845D3-6E4F-B280-5E1B-B18D66FEEED1}"/>
          </ac:spMkLst>
        </pc:spChg>
        <pc:spChg chg="add del mod">
          <ac:chgData name="Steiner Andreas 6206 ED" userId="e6377c33-a923-4f14-8587-531c474c7b48" providerId="ADAL" clId="{6ECD27E6-B224-41CD-B4E0-E297462320DD}" dt="2023-11-24T08:49:46.995" v="80234"/>
          <ac:spMkLst>
            <pc:docMk/>
            <pc:sldMk cId="1396980745" sldId="687"/>
            <ac:spMk id="521" creationId="{DF6F4CCF-C2CA-6B10-FEBF-A3AB763CC27A}"/>
          </ac:spMkLst>
        </pc:spChg>
        <pc:spChg chg="add del mod">
          <ac:chgData name="Steiner Andreas 6206 ED" userId="e6377c33-a923-4f14-8587-531c474c7b48" providerId="ADAL" clId="{6ECD27E6-B224-41CD-B4E0-E297462320DD}" dt="2023-11-24T08:49:48.869" v="80389"/>
          <ac:spMkLst>
            <pc:docMk/>
            <pc:sldMk cId="1396980745" sldId="687"/>
            <ac:spMk id="522" creationId="{229EF7BD-66FE-2EF9-3142-6CF1C13A1D4E}"/>
          </ac:spMkLst>
        </pc:spChg>
        <pc:spChg chg="add del mod">
          <ac:chgData name="Steiner Andreas 6206 ED" userId="e6377c33-a923-4f14-8587-531c474c7b48" providerId="ADAL" clId="{6ECD27E6-B224-41CD-B4E0-E297462320DD}" dt="2023-11-24T08:49:50.770" v="80544"/>
          <ac:spMkLst>
            <pc:docMk/>
            <pc:sldMk cId="1396980745" sldId="687"/>
            <ac:spMk id="523" creationId="{44E4BE61-70A2-C8A5-C54A-71F9827D30E7}"/>
          </ac:spMkLst>
        </pc:spChg>
        <pc:spChg chg="add del mod">
          <ac:chgData name="Steiner Andreas 6206 ED" userId="e6377c33-a923-4f14-8587-531c474c7b48" providerId="ADAL" clId="{6ECD27E6-B224-41CD-B4E0-E297462320DD}" dt="2023-11-24T08:49:52.699" v="80699"/>
          <ac:spMkLst>
            <pc:docMk/>
            <pc:sldMk cId="1396980745" sldId="687"/>
            <ac:spMk id="524" creationId="{008709F0-A31A-07FC-C42D-729161FB388A}"/>
          </ac:spMkLst>
        </pc:spChg>
        <pc:spChg chg="add del mod">
          <ac:chgData name="Steiner Andreas 6206 ED" userId="e6377c33-a923-4f14-8587-531c474c7b48" providerId="ADAL" clId="{6ECD27E6-B224-41CD-B4E0-E297462320DD}" dt="2023-11-24T08:49:54.629" v="80854"/>
          <ac:spMkLst>
            <pc:docMk/>
            <pc:sldMk cId="1396980745" sldId="687"/>
            <ac:spMk id="525" creationId="{025618C0-934D-CD28-EE01-03D710561DEC}"/>
          </ac:spMkLst>
        </pc:spChg>
        <pc:spChg chg="add del mod">
          <ac:chgData name="Steiner Andreas 6206 ED" userId="e6377c33-a923-4f14-8587-531c474c7b48" providerId="ADAL" clId="{6ECD27E6-B224-41CD-B4E0-E297462320DD}" dt="2023-11-24T08:49:56.503" v="81009"/>
          <ac:spMkLst>
            <pc:docMk/>
            <pc:sldMk cId="1396980745" sldId="687"/>
            <ac:spMk id="526" creationId="{629895A8-3108-B5DF-0747-9DAD1A0C1E60}"/>
          </ac:spMkLst>
        </pc:spChg>
        <pc:spChg chg="add del mod">
          <ac:chgData name="Steiner Andreas 6206 ED" userId="e6377c33-a923-4f14-8587-531c474c7b48" providerId="ADAL" clId="{6ECD27E6-B224-41CD-B4E0-E297462320DD}" dt="2023-11-24T08:49:58.394" v="81164"/>
          <ac:spMkLst>
            <pc:docMk/>
            <pc:sldMk cId="1396980745" sldId="687"/>
            <ac:spMk id="527" creationId="{AB097604-6203-EF33-7F1B-3C395DE15975}"/>
          </ac:spMkLst>
        </pc:spChg>
        <pc:spChg chg="add del mod">
          <ac:chgData name="Steiner Andreas 6206 ED" userId="e6377c33-a923-4f14-8587-531c474c7b48" providerId="ADAL" clId="{6ECD27E6-B224-41CD-B4E0-E297462320DD}" dt="2023-11-24T08:50:00.322" v="81319"/>
          <ac:spMkLst>
            <pc:docMk/>
            <pc:sldMk cId="1396980745" sldId="687"/>
            <ac:spMk id="528" creationId="{FB8A1ACA-18EF-1B75-A2D6-31E2D980A60F}"/>
          </ac:spMkLst>
        </pc:spChg>
        <pc:spChg chg="add del mod">
          <ac:chgData name="Steiner Andreas 6206 ED" userId="e6377c33-a923-4f14-8587-531c474c7b48" providerId="ADAL" clId="{6ECD27E6-B224-41CD-B4E0-E297462320DD}" dt="2023-11-24T08:50:02.394" v="81474"/>
          <ac:spMkLst>
            <pc:docMk/>
            <pc:sldMk cId="1396980745" sldId="687"/>
            <ac:spMk id="529" creationId="{74A37B0D-5BA6-6092-B55D-B1B5E50C2349}"/>
          </ac:spMkLst>
        </pc:spChg>
        <pc:spChg chg="add del mod">
          <ac:chgData name="Steiner Andreas 6206 ED" userId="e6377c33-a923-4f14-8587-531c474c7b48" providerId="ADAL" clId="{6ECD27E6-B224-41CD-B4E0-E297462320DD}" dt="2023-11-24T08:50:04.460" v="81629"/>
          <ac:spMkLst>
            <pc:docMk/>
            <pc:sldMk cId="1396980745" sldId="687"/>
            <ac:spMk id="530" creationId="{ABBBA368-F538-F29A-934E-EA288E4173EC}"/>
          </ac:spMkLst>
        </pc:spChg>
        <pc:spChg chg="add del mod">
          <ac:chgData name="Steiner Andreas 6206 ED" userId="e6377c33-a923-4f14-8587-531c474c7b48" providerId="ADAL" clId="{6ECD27E6-B224-41CD-B4E0-E297462320DD}" dt="2023-11-24T08:50:06.401" v="81784"/>
          <ac:spMkLst>
            <pc:docMk/>
            <pc:sldMk cId="1396980745" sldId="687"/>
            <ac:spMk id="531" creationId="{0A019CCD-6F6B-0A26-4CDB-3D159C449E39}"/>
          </ac:spMkLst>
        </pc:spChg>
        <pc:spChg chg="add del mod">
          <ac:chgData name="Steiner Andreas 6206 ED" userId="e6377c33-a923-4f14-8587-531c474c7b48" providerId="ADAL" clId="{6ECD27E6-B224-41CD-B4E0-E297462320DD}" dt="2023-11-24T08:50:08.290" v="81939"/>
          <ac:spMkLst>
            <pc:docMk/>
            <pc:sldMk cId="1396980745" sldId="687"/>
            <ac:spMk id="532" creationId="{C24A897A-BC06-1110-A7C4-93C1A6103DA1}"/>
          </ac:spMkLst>
        </pc:spChg>
        <pc:spChg chg="add del mod">
          <ac:chgData name="Steiner Andreas 6206 ED" userId="e6377c33-a923-4f14-8587-531c474c7b48" providerId="ADAL" clId="{6ECD27E6-B224-41CD-B4E0-E297462320DD}" dt="2023-11-24T08:50:10.181" v="82094"/>
          <ac:spMkLst>
            <pc:docMk/>
            <pc:sldMk cId="1396980745" sldId="687"/>
            <ac:spMk id="533" creationId="{A8FDE1CA-B4D4-1977-3A63-E070AA6D7178}"/>
          </ac:spMkLst>
        </pc:spChg>
        <pc:spChg chg="add del mod">
          <ac:chgData name="Steiner Andreas 6206 ED" userId="e6377c33-a923-4f14-8587-531c474c7b48" providerId="ADAL" clId="{6ECD27E6-B224-41CD-B4E0-E297462320DD}" dt="2023-11-24T08:50:12.096" v="82249"/>
          <ac:spMkLst>
            <pc:docMk/>
            <pc:sldMk cId="1396980745" sldId="687"/>
            <ac:spMk id="534" creationId="{4405E1AB-33D7-8193-FDA9-02F4930E0CA4}"/>
          </ac:spMkLst>
        </pc:spChg>
        <pc:spChg chg="add del mod">
          <ac:chgData name="Steiner Andreas 6206 ED" userId="e6377c33-a923-4f14-8587-531c474c7b48" providerId="ADAL" clId="{6ECD27E6-B224-41CD-B4E0-E297462320DD}" dt="2023-11-24T08:50:14.160" v="82404"/>
          <ac:spMkLst>
            <pc:docMk/>
            <pc:sldMk cId="1396980745" sldId="687"/>
            <ac:spMk id="535" creationId="{CCAE362C-D183-E28B-7FD5-2242A59CE5B1}"/>
          </ac:spMkLst>
        </pc:spChg>
        <pc:spChg chg="add del mod">
          <ac:chgData name="Steiner Andreas 6206 ED" userId="e6377c33-a923-4f14-8587-531c474c7b48" providerId="ADAL" clId="{6ECD27E6-B224-41CD-B4E0-E297462320DD}" dt="2023-11-24T08:50:16.113" v="82559"/>
          <ac:spMkLst>
            <pc:docMk/>
            <pc:sldMk cId="1396980745" sldId="687"/>
            <ac:spMk id="536" creationId="{0964E841-A25C-83A0-F135-2DA319F3B1D8}"/>
          </ac:spMkLst>
        </pc:spChg>
        <pc:spChg chg="add del mod">
          <ac:chgData name="Steiner Andreas 6206 ED" userId="e6377c33-a923-4f14-8587-531c474c7b48" providerId="ADAL" clId="{6ECD27E6-B224-41CD-B4E0-E297462320DD}" dt="2023-11-24T08:50:18.097" v="82714"/>
          <ac:spMkLst>
            <pc:docMk/>
            <pc:sldMk cId="1396980745" sldId="687"/>
            <ac:spMk id="537" creationId="{85AB2491-342B-695A-F2CE-34BCEC3E9F15}"/>
          </ac:spMkLst>
        </pc:spChg>
        <pc:spChg chg="add del mod">
          <ac:chgData name="Steiner Andreas 6206 ED" userId="e6377c33-a923-4f14-8587-531c474c7b48" providerId="ADAL" clId="{6ECD27E6-B224-41CD-B4E0-E297462320DD}" dt="2023-11-24T08:50:20.299" v="82869"/>
          <ac:spMkLst>
            <pc:docMk/>
            <pc:sldMk cId="1396980745" sldId="687"/>
            <ac:spMk id="538" creationId="{D122FE1E-D946-3DAA-FFEB-C6474F027406}"/>
          </ac:spMkLst>
        </pc:spChg>
        <pc:spChg chg="add del mod">
          <ac:chgData name="Steiner Andreas 6206 ED" userId="e6377c33-a923-4f14-8587-531c474c7b48" providerId="ADAL" clId="{6ECD27E6-B224-41CD-B4E0-E297462320DD}" dt="2023-11-24T08:50:22.235" v="83024"/>
          <ac:spMkLst>
            <pc:docMk/>
            <pc:sldMk cId="1396980745" sldId="687"/>
            <ac:spMk id="539" creationId="{C6E1564E-3A0A-7870-FD34-6688E9871D92}"/>
          </ac:spMkLst>
        </pc:spChg>
        <pc:spChg chg="add del mod">
          <ac:chgData name="Steiner Andreas 6206 ED" userId="e6377c33-a923-4f14-8587-531c474c7b48" providerId="ADAL" clId="{6ECD27E6-B224-41CD-B4E0-E297462320DD}" dt="2023-11-24T08:50:24.321" v="83179"/>
          <ac:spMkLst>
            <pc:docMk/>
            <pc:sldMk cId="1396980745" sldId="687"/>
            <ac:spMk id="540" creationId="{43927C9A-BC2C-3A4E-2EEA-848B757AB819}"/>
          </ac:spMkLst>
        </pc:spChg>
        <pc:spChg chg="add del mod">
          <ac:chgData name="Steiner Andreas 6206 ED" userId="e6377c33-a923-4f14-8587-531c474c7b48" providerId="ADAL" clId="{6ECD27E6-B224-41CD-B4E0-E297462320DD}" dt="2023-11-24T08:50:26.330" v="83334"/>
          <ac:spMkLst>
            <pc:docMk/>
            <pc:sldMk cId="1396980745" sldId="687"/>
            <ac:spMk id="541" creationId="{D5DD5E43-8345-9541-7987-F6E7E35C53A6}"/>
          </ac:spMkLst>
        </pc:spChg>
        <pc:spChg chg="add del mod">
          <ac:chgData name="Steiner Andreas 6206 ED" userId="e6377c33-a923-4f14-8587-531c474c7b48" providerId="ADAL" clId="{6ECD27E6-B224-41CD-B4E0-E297462320DD}" dt="2023-11-24T08:50:28.263" v="83489"/>
          <ac:spMkLst>
            <pc:docMk/>
            <pc:sldMk cId="1396980745" sldId="687"/>
            <ac:spMk id="542" creationId="{404DC003-4197-5AFC-502F-F9DC0CCAD9FE}"/>
          </ac:spMkLst>
        </pc:spChg>
        <pc:spChg chg="add del mod">
          <ac:chgData name="Steiner Andreas 6206 ED" userId="e6377c33-a923-4f14-8587-531c474c7b48" providerId="ADAL" clId="{6ECD27E6-B224-41CD-B4E0-E297462320DD}" dt="2023-11-24T08:50:30.175" v="83644"/>
          <ac:spMkLst>
            <pc:docMk/>
            <pc:sldMk cId="1396980745" sldId="687"/>
            <ac:spMk id="543" creationId="{BED28CD3-9CEB-2A77-55A8-8F5AA5B174D5}"/>
          </ac:spMkLst>
        </pc:spChg>
        <pc:spChg chg="add del mod">
          <ac:chgData name="Steiner Andreas 6206 ED" userId="e6377c33-a923-4f14-8587-531c474c7b48" providerId="ADAL" clId="{6ECD27E6-B224-41CD-B4E0-E297462320DD}" dt="2023-11-24T08:50:32.216" v="83799"/>
          <ac:spMkLst>
            <pc:docMk/>
            <pc:sldMk cId="1396980745" sldId="687"/>
            <ac:spMk id="544" creationId="{3136CDA8-BBF0-55C4-91D0-8E68F211B974}"/>
          </ac:spMkLst>
        </pc:spChg>
        <pc:spChg chg="add del mod">
          <ac:chgData name="Steiner Andreas 6206 ED" userId="e6377c33-a923-4f14-8587-531c474c7b48" providerId="ADAL" clId="{6ECD27E6-B224-41CD-B4E0-E297462320DD}" dt="2023-11-24T08:50:34.249" v="83954"/>
          <ac:spMkLst>
            <pc:docMk/>
            <pc:sldMk cId="1396980745" sldId="687"/>
            <ac:spMk id="545" creationId="{DBE600C9-F911-CE85-317E-829D4F437A38}"/>
          </ac:spMkLst>
        </pc:spChg>
        <pc:spChg chg="add del mod">
          <ac:chgData name="Steiner Andreas 6206 ED" userId="e6377c33-a923-4f14-8587-531c474c7b48" providerId="ADAL" clId="{6ECD27E6-B224-41CD-B4E0-E297462320DD}" dt="2023-11-24T08:50:36.493" v="84109"/>
          <ac:spMkLst>
            <pc:docMk/>
            <pc:sldMk cId="1396980745" sldId="687"/>
            <ac:spMk id="546" creationId="{C5A2FAE9-2AC7-F7E5-3C9D-54A117C9D54B}"/>
          </ac:spMkLst>
        </pc:spChg>
        <pc:spChg chg="add del mod">
          <ac:chgData name="Steiner Andreas 6206 ED" userId="e6377c33-a923-4f14-8587-531c474c7b48" providerId="ADAL" clId="{6ECD27E6-B224-41CD-B4E0-E297462320DD}" dt="2023-11-24T08:50:38.450" v="84264"/>
          <ac:spMkLst>
            <pc:docMk/>
            <pc:sldMk cId="1396980745" sldId="687"/>
            <ac:spMk id="547" creationId="{B5442964-023A-257F-6323-9A39F1E6EACA}"/>
          </ac:spMkLst>
        </pc:spChg>
        <pc:spChg chg="add del mod">
          <ac:chgData name="Steiner Andreas 6206 ED" userId="e6377c33-a923-4f14-8587-531c474c7b48" providerId="ADAL" clId="{6ECD27E6-B224-41CD-B4E0-E297462320DD}" dt="2023-11-24T08:50:40.435" v="84419"/>
          <ac:spMkLst>
            <pc:docMk/>
            <pc:sldMk cId="1396980745" sldId="687"/>
            <ac:spMk id="548" creationId="{F060B101-5BCA-6C2B-A294-09A2E37558A5}"/>
          </ac:spMkLst>
        </pc:spChg>
        <pc:spChg chg="add del mod">
          <ac:chgData name="Steiner Andreas 6206 ED" userId="e6377c33-a923-4f14-8587-531c474c7b48" providerId="ADAL" clId="{6ECD27E6-B224-41CD-B4E0-E297462320DD}" dt="2023-11-24T08:50:42.434" v="84574"/>
          <ac:spMkLst>
            <pc:docMk/>
            <pc:sldMk cId="1396980745" sldId="687"/>
            <ac:spMk id="549" creationId="{5C9E0569-BD43-ED13-3443-51DD1AF80AA3}"/>
          </ac:spMkLst>
        </pc:spChg>
        <pc:spChg chg="add del mod">
          <ac:chgData name="Steiner Andreas 6206 ED" userId="e6377c33-a923-4f14-8587-531c474c7b48" providerId="ADAL" clId="{6ECD27E6-B224-41CD-B4E0-E297462320DD}" dt="2023-11-24T08:50:44.598" v="84729"/>
          <ac:spMkLst>
            <pc:docMk/>
            <pc:sldMk cId="1396980745" sldId="687"/>
            <ac:spMk id="550" creationId="{7D652599-14EB-71EE-5EE3-DBF30865D111}"/>
          </ac:spMkLst>
        </pc:spChg>
        <pc:spChg chg="add del mod">
          <ac:chgData name="Steiner Andreas 6206 ED" userId="e6377c33-a923-4f14-8587-531c474c7b48" providerId="ADAL" clId="{6ECD27E6-B224-41CD-B4E0-E297462320DD}" dt="2023-11-24T08:50:46.698" v="84884"/>
          <ac:spMkLst>
            <pc:docMk/>
            <pc:sldMk cId="1396980745" sldId="687"/>
            <ac:spMk id="551" creationId="{B6D0E8FE-DFBD-49D8-F838-E140FF6B83CC}"/>
          </ac:spMkLst>
        </pc:spChg>
        <pc:spChg chg="add del mod">
          <ac:chgData name="Steiner Andreas 6206 ED" userId="e6377c33-a923-4f14-8587-531c474c7b48" providerId="ADAL" clId="{6ECD27E6-B224-41CD-B4E0-E297462320DD}" dt="2023-11-24T08:50:48.832" v="85039"/>
          <ac:spMkLst>
            <pc:docMk/>
            <pc:sldMk cId="1396980745" sldId="687"/>
            <ac:spMk id="552" creationId="{828DDEF8-4877-5A52-134D-11C09DE7C869}"/>
          </ac:spMkLst>
        </pc:spChg>
        <pc:spChg chg="add del mod">
          <ac:chgData name="Steiner Andreas 6206 ED" userId="e6377c33-a923-4f14-8587-531c474c7b48" providerId="ADAL" clId="{6ECD27E6-B224-41CD-B4E0-E297462320DD}" dt="2023-11-24T08:50:50.928" v="85194"/>
          <ac:spMkLst>
            <pc:docMk/>
            <pc:sldMk cId="1396980745" sldId="687"/>
            <ac:spMk id="553" creationId="{485C1BF9-0AFD-092C-B06B-7B903E581CD3}"/>
          </ac:spMkLst>
        </pc:spChg>
        <pc:spChg chg="add del mod">
          <ac:chgData name="Steiner Andreas 6206 ED" userId="e6377c33-a923-4f14-8587-531c474c7b48" providerId="ADAL" clId="{6ECD27E6-B224-41CD-B4E0-E297462320DD}" dt="2023-11-24T08:50:53.051" v="85349"/>
          <ac:spMkLst>
            <pc:docMk/>
            <pc:sldMk cId="1396980745" sldId="687"/>
            <ac:spMk id="554" creationId="{62F1A9A7-81DC-A759-92B6-E6787F569844}"/>
          </ac:spMkLst>
        </pc:spChg>
        <pc:spChg chg="add del mod">
          <ac:chgData name="Steiner Andreas 6206 ED" userId="e6377c33-a923-4f14-8587-531c474c7b48" providerId="ADAL" clId="{6ECD27E6-B224-41CD-B4E0-E297462320DD}" dt="2023-11-24T08:50:54.965" v="85504"/>
          <ac:spMkLst>
            <pc:docMk/>
            <pc:sldMk cId="1396980745" sldId="687"/>
            <ac:spMk id="555" creationId="{22D91143-E5ED-4C29-6AA4-7A22E2FD9F97}"/>
          </ac:spMkLst>
        </pc:spChg>
        <pc:spChg chg="add del mod">
          <ac:chgData name="Steiner Andreas 6206 ED" userId="e6377c33-a923-4f14-8587-531c474c7b48" providerId="ADAL" clId="{6ECD27E6-B224-41CD-B4E0-E297462320DD}" dt="2023-11-24T08:50:56.867" v="85659"/>
          <ac:spMkLst>
            <pc:docMk/>
            <pc:sldMk cId="1396980745" sldId="687"/>
            <ac:spMk id="556" creationId="{D20D4592-E581-F633-A586-A2FA55B7024E}"/>
          </ac:spMkLst>
        </pc:spChg>
        <pc:spChg chg="add del mod">
          <ac:chgData name="Steiner Andreas 6206 ED" userId="e6377c33-a923-4f14-8587-531c474c7b48" providerId="ADAL" clId="{6ECD27E6-B224-41CD-B4E0-E297462320DD}" dt="2023-11-24T08:50:59.056" v="85814"/>
          <ac:spMkLst>
            <pc:docMk/>
            <pc:sldMk cId="1396980745" sldId="687"/>
            <ac:spMk id="557" creationId="{78652D67-BEF6-7C13-5478-911877FBD121}"/>
          </ac:spMkLst>
        </pc:spChg>
        <pc:spChg chg="add del mod">
          <ac:chgData name="Steiner Andreas 6206 ED" userId="e6377c33-a923-4f14-8587-531c474c7b48" providerId="ADAL" clId="{6ECD27E6-B224-41CD-B4E0-E297462320DD}" dt="2023-11-24T08:51:01.008" v="85969"/>
          <ac:spMkLst>
            <pc:docMk/>
            <pc:sldMk cId="1396980745" sldId="687"/>
            <ac:spMk id="558" creationId="{DBB0A8B2-8BF5-ACEB-C0A3-30415DD5D52B}"/>
          </ac:spMkLst>
        </pc:spChg>
        <pc:spChg chg="add del mod">
          <ac:chgData name="Steiner Andreas 6206 ED" userId="e6377c33-a923-4f14-8587-531c474c7b48" providerId="ADAL" clId="{6ECD27E6-B224-41CD-B4E0-E297462320DD}" dt="2023-11-24T08:51:02.992" v="86124"/>
          <ac:spMkLst>
            <pc:docMk/>
            <pc:sldMk cId="1396980745" sldId="687"/>
            <ac:spMk id="559" creationId="{048FB493-BF61-873C-B609-1328627C984A}"/>
          </ac:spMkLst>
        </pc:spChg>
        <pc:spChg chg="add del mod">
          <ac:chgData name="Steiner Andreas 6206 ED" userId="e6377c33-a923-4f14-8587-531c474c7b48" providerId="ADAL" clId="{6ECD27E6-B224-41CD-B4E0-E297462320DD}" dt="2023-11-24T08:51:04.864" v="86279"/>
          <ac:spMkLst>
            <pc:docMk/>
            <pc:sldMk cId="1396980745" sldId="687"/>
            <ac:spMk id="560" creationId="{B444DC24-DCBC-5B3B-1297-1928163CF5C8}"/>
          </ac:spMkLst>
        </pc:spChg>
        <pc:spChg chg="add del mod">
          <ac:chgData name="Steiner Andreas 6206 ED" userId="e6377c33-a923-4f14-8587-531c474c7b48" providerId="ADAL" clId="{6ECD27E6-B224-41CD-B4E0-E297462320DD}" dt="2023-11-24T08:51:06.759" v="86434"/>
          <ac:spMkLst>
            <pc:docMk/>
            <pc:sldMk cId="1396980745" sldId="687"/>
            <ac:spMk id="561" creationId="{9625352A-2EF7-D6AD-0BC9-CDB333F24E5B}"/>
          </ac:spMkLst>
        </pc:spChg>
        <pc:spChg chg="add del mod">
          <ac:chgData name="Steiner Andreas 6206 ED" userId="e6377c33-a923-4f14-8587-531c474c7b48" providerId="ADAL" clId="{6ECD27E6-B224-41CD-B4E0-E297462320DD}" dt="2023-11-24T08:51:08.745" v="86589"/>
          <ac:spMkLst>
            <pc:docMk/>
            <pc:sldMk cId="1396980745" sldId="687"/>
            <ac:spMk id="562" creationId="{B707F7A5-EFE7-A76B-B678-A56CFD0B4373}"/>
          </ac:spMkLst>
        </pc:spChg>
        <pc:spChg chg="add del mod">
          <ac:chgData name="Steiner Andreas 6206 ED" userId="e6377c33-a923-4f14-8587-531c474c7b48" providerId="ADAL" clId="{6ECD27E6-B224-41CD-B4E0-E297462320DD}" dt="2023-11-24T08:51:10.773" v="86744"/>
          <ac:spMkLst>
            <pc:docMk/>
            <pc:sldMk cId="1396980745" sldId="687"/>
            <ac:spMk id="563" creationId="{DC2259E8-6AF6-D55B-C3A0-AF52E501BB87}"/>
          </ac:spMkLst>
        </pc:spChg>
        <pc:spChg chg="add del mod">
          <ac:chgData name="Steiner Andreas 6206 ED" userId="e6377c33-a923-4f14-8587-531c474c7b48" providerId="ADAL" clId="{6ECD27E6-B224-41CD-B4E0-E297462320DD}" dt="2023-11-24T08:51:12.670" v="86899"/>
          <ac:spMkLst>
            <pc:docMk/>
            <pc:sldMk cId="1396980745" sldId="687"/>
            <ac:spMk id="564" creationId="{58E93496-523E-3E6E-E73B-1B0653C96D45}"/>
          </ac:spMkLst>
        </pc:spChg>
        <pc:spChg chg="add del mod">
          <ac:chgData name="Steiner Andreas 6206 ED" userId="e6377c33-a923-4f14-8587-531c474c7b48" providerId="ADAL" clId="{6ECD27E6-B224-41CD-B4E0-E297462320DD}" dt="2023-11-24T08:51:14.848" v="87054"/>
          <ac:spMkLst>
            <pc:docMk/>
            <pc:sldMk cId="1396980745" sldId="687"/>
            <ac:spMk id="565" creationId="{8CD9C1F6-7A73-9B08-4CA2-D6515A9EF18D}"/>
          </ac:spMkLst>
        </pc:spChg>
        <pc:spChg chg="add del mod">
          <ac:chgData name="Steiner Andreas 6206 ED" userId="e6377c33-a923-4f14-8587-531c474c7b48" providerId="ADAL" clId="{6ECD27E6-B224-41CD-B4E0-E297462320DD}" dt="2023-11-24T08:51:16.949" v="87209"/>
          <ac:spMkLst>
            <pc:docMk/>
            <pc:sldMk cId="1396980745" sldId="687"/>
            <ac:spMk id="566" creationId="{427E752A-F150-3C7B-4FE7-E98B76F12DC3}"/>
          </ac:spMkLst>
        </pc:spChg>
        <pc:spChg chg="add del mod">
          <ac:chgData name="Steiner Andreas 6206 ED" userId="e6377c33-a923-4f14-8587-531c474c7b48" providerId="ADAL" clId="{6ECD27E6-B224-41CD-B4E0-E297462320DD}" dt="2023-11-24T08:51:18.864" v="87364"/>
          <ac:spMkLst>
            <pc:docMk/>
            <pc:sldMk cId="1396980745" sldId="687"/>
            <ac:spMk id="567" creationId="{007B14F7-30EC-48E9-20E2-CB591C4B66B1}"/>
          </ac:spMkLst>
        </pc:spChg>
        <pc:spChg chg="add del mod">
          <ac:chgData name="Steiner Andreas 6206 ED" userId="e6377c33-a923-4f14-8587-531c474c7b48" providerId="ADAL" clId="{6ECD27E6-B224-41CD-B4E0-E297462320DD}" dt="2023-11-24T08:51:20.921" v="87519"/>
          <ac:spMkLst>
            <pc:docMk/>
            <pc:sldMk cId="1396980745" sldId="687"/>
            <ac:spMk id="568" creationId="{241DD2B9-B67C-88DF-AF18-18AB3F616D15}"/>
          </ac:spMkLst>
        </pc:spChg>
        <pc:spChg chg="add del mod">
          <ac:chgData name="Steiner Andreas 6206 ED" userId="e6377c33-a923-4f14-8587-531c474c7b48" providerId="ADAL" clId="{6ECD27E6-B224-41CD-B4E0-E297462320DD}" dt="2023-11-24T08:51:22.871" v="87674"/>
          <ac:spMkLst>
            <pc:docMk/>
            <pc:sldMk cId="1396980745" sldId="687"/>
            <ac:spMk id="569" creationId="{39235F32-99D2-D509-9DA4-47D1C561312C}"/>
          </ac:spMkLst>
        </pc:spChg>
        <pc:spChg chg="add del mod">
          <ac:chgData name="Steiner Andreas 6206 ED" userId="e6377c33-a923-4f14-8587-531c474c7b48" providerId="ADAL" clId="{6ECD27E6-B224-41CD-B4E0-E297462320DD}" dt="2023-11-24T08:51:24.787" v="87829"/>
          <ac:spMkLst>
            <pc:docMk/>
            <pc:sldMk cId="1396980745" sldId="687"/>
            <ac:spMk id="570" creationId="{6136A636-AABC-478D-5B35-3635B4E3102C}"/>
          </ac:spMkLst>
        </pc:spChg>
        <pc:spChg chg="add del mod">
          <ac:chgData name="Steiner Andreas 6206 ED" userId="e6377c33-a923-4f14-8587-531c474c7b48" providerId="ADAL" clId="{6ECD27E6-B224-41CD-B4E0-E297462320DD}" dt="2023-11-24T08:51:26.658" v="87984"/>
          <ac:spMkLst>
            <pc:docMk/>
            <pc:sldMk cId="1396980745" sldId="687"/>
            <ac:spMk id="571" creationId="{00D31DB3-2ACB-C086-2179-5B7E3AD10C59}"/>
          </ac:spMkLst>
        </pc:spChg>
        <pc:spChg chg="add del mod">
          <ac:chgData name="Steiner Andreas 6206 ED" userId="e6377c33-a923-4f14-8587-531c474c7b48" providerId="ADAL" clId="{6ECD27E6-B224-41CD-B4E0-E297462320DD}" dt="2023-11-24T08:51:28.568" v="88139"/>
          <ac:spMkLst>
            <pc:docMk/>
            <pc:sldMk cId="1396980745" sldId="687"/>
            <ac:spMk id="572" creationId="{E7B44F75-9122-FA98-97E0-BFE810CA9691}"/>
          </ac:spMkLst>
        </pc:spChg>
        <pc:spChg chg="add del mod">
          <ac:chgData name="Steiner Andreas 6206 ED" userId="e6377c33-a923-4f14-8587-531c474c7b48" providerId="ADAL" clId="{6ECD27E6-B224-41CD-B4E0-E297462320DD}" dt="2023-11-24T08:51:30.539" v="88294"/>
          <ac:spMkLst>
            <pc:docMk/>
            <pc:sldMk cId="1396980745" sldId="687"/>
            <ac:spMk id="573" creationId="{C845C52C-50F4-F2B2-0AE5-74CCCBF982B7}"/>
          </ac:spMkLst>
        </pc:spChg>
        <pc:spChg chg="add del mod">
          <ac:chgData name="Steiner Andreas 6206 ED" userId="e6377c33-a923-4f14-8587-531c474c7b48" providerId="ADAL" clId="{6ECD27E6-B224-41CD-B4E0-E297462320DD}" dt="2023-11-24T08:51:32.696" v="88449"/>
          <ac:spMkLst>
            <pc:docMk/>
            <pc:sldMk cId="1396980745" sldId="687"/>
            <ac:spMk id="574" creationId="{1E80234F-0E6D-452A-BF66-0FC0F9D6AA0F}"/>
          </ac:spMkLst>
        </pc:spChg>
        <pc:spChg chg="add del mod">
          <ac:chgData name="Steiner Andreas 6206 ED" userId="e6377c33-a923-4f14-8587-531c474c7b48" providerId="ADAL" clId="{6ECD27E6-B224-41CD-B4E0-E297462320DD}" dt="2023-11-24T08:51:34.663" v="88604"/>
          <ac:spMkLst>
            <pc:docMk/>
            <pc:sldMk cId="1396980745" sldId="687"/>
            <ac:spMk id="575" creationId="{23B60B19-3829-6973-50FE-9FA1BEE649B6}"/>
          </ac:spMkLst>
        </pc:spChg>
        <pc:spChg chg="add del mod">
          <ac:chgData name="Steiner Andreas 6206 ED" userId="e6377c33-a923-4f14-8587-531c474c7b48" providerId="ADAL" clId="{6ECD27E6-B224-41CD-B4E0-E297462320DD}" dt="2023-11-24T08:51:36.534" v="88759"/>
          <ac:spMkLst>
            <pc:docMk/>
            <pc:sldMk cId="1396980745" sldId="687"/>
            <ac:spMk id="576" creationId="{1087EF1C-EAD7-4284-B013-50CC3991EB43}"/>
          </ac:spMkLst>
        </pc:spChg>
        <pc:spChg chg="add del mod">
          <ac:chgData name="Steiner Andreas 6206 ED" userId="e6377c33-a923-4f14-8587-531c474c7b48" providerId="ADAL" clId="{6ECD27E6-B224-41CD-B4E0-E297462320DD}" dt="2023-11-24T08:51:38.480" v="88914"/>
          <ac:spMkLst>
            <pc:docMk/>
            <pc:sldMk cId="1396980745" sldId="687"/>
            <ac:spMk id="577" creationId="{395671EF-C785-C9F3-0C90-C4219B261BE8}"/>
          </ac:spMkLst>
        </pc:spChg>
        <pc:spChg chg="add del mod">
          <ac:chgData name="Steiner Andreas 6206 ED" userId="e6377c33-a923-4f14-8587-531c474c7b48" providerId="ADAL" clId="{6ECD27E6-B224-41CD-B4E0-E297462320DD}" dt="2023-11-24T08:51:40.414" v="89069"/>
          <ac:spMkLst>
            <pc:docMk/>
            <pc:sldMk cId="1396980745" sldId="687"/>
            <ac:spMk id="578" creationId="{D79BF7DE-6567-ADC3-6BBC-3FB7C4B60C30}"/>
          </ac:spMkLst>
        </pc:spChg>
        <pc:spChg chg="add del mod">
          <ac:chgData name="Steiner Andreas 6206 ED" userId="e6377c33-a923-4f14-8587-531c474c7b48" providerId="ADAL" clId="{6ECD27E6-B224-41CD-B4E0-E297462320DD}" dt="2023-11-24T08:51:42.418" v="89224"/>
          <ac:spMkLst>
            <pc:docMk/>
            <pc:sldMk cId="1396980745" sldId="687"/>
            <ac:spMk id="579" creationId="{C03237D2-1AA6-AA8E-090B-39641CFD50CA}"/>
          </ac:spMkLst>
        </pc:spChg>
        <pc:spChg chg="add del mod">
          <ac:chgData name="Steiner Andreas 6206 ED" userId="e6377c33-a923-4f14-8587-531c474c7b48" providerId="ADAL" clId="{6ECD27E6-B224-41CD-B4E0-E297462320DD}" dt="2023-11-24T08:51:44.531" v="89379"/>
          <ac:spMkLst>
            <pc:docMk/>
            <pc:sldMk cId="1396980745" sldId="687"/>
            <ac:spMk id="580" creationId="{2284A7BA-2D43-3A14-BCF5-81BC5D0822C3}"/>
          </ac:spMkLst>
        </pc:spChg>
        <pc:spChg chg="add del mod">
          <ac:chgData name="Steiner Andreas 6206 ED" userId="e6377c33-a923-4f14-8587-531c474c7b48" providerId="ADAL" clId="{6ECD27E6-B224-41CD-B4E0-E297462320DD}" dt="2023-11-24T08:51:46.492" v="89534"/>
          <ac:spMkLst>
            <pc:docMk/>
            <pc:sldMk cId="1396980745" sldId="687"/>
            <ac:spMk id="581" creationId="{075A11A1-C2C4-6CA2-B274-DE3910D927A9}"/>
          </ac:spMkLst>
        </pc:spChg>
        <pc:spChg chg="add del mod">
          <ac:chgData name="Steiner Andreas 6206 ED" userId="e6377c33-a923-4f14-8587-531c474c7b48" providerId="ADAL" clId="{6ECD27E6-B224-41CD-B4E0-E297462320DD}" dt="2023-11-24T08:51:48.386" v="89689"/>
          <ac:spMkLst>
            <pc:docMk/>
            <pc:sldMk cId="1396980745" sldId="687"/>
            <ac:spMk id="582" creationId="{5FF2520F-4FEE-98DA-0FCF-BB586A4D81A9}"/>
          </ac:spMkLst>
        </pc:spChg>
        <pc:spChg chg="add del mod">
          <ac:chgData name="Steiner Andreas 6206 ED" userId="e6377c33-a923-4f14-8587-531c474c7b48" providerId="ADAL" clId="{6ECD27E6-B224-41CD-B4E0-E297462320DD}" dt="2023-11-24T08:51:50.305" v="89844"/>
          <ac:spMkLst>
            <pc:docMk/>
            <pc:sldMk cId="1396980745" sldId="687"/>
            <ac:spMk id="583" creationId="{15C26451-86C0-3A93-F8EF-E5756258E5A7}"/>
          </ac:spMkLst>
        </pc:spChg>
        <pc:spChg chg="add del mod">
          <ac:chgData name="Steiner Andreas 6206 ED" userId="e6377c33-a923-4f14-8587-531c474c7b48" providerId="ADAL" clId="{6ECD27E6-B224-41CD-B4E0-E297462320DD}" dt="2023-11-24T08:51:52.212" v="89999"/>
          <ac:spMkLst>
            <pc:docMk/>
            <pc:sldMk cId="1396980745" sldId="687"/>
            <ac:spMk id="584" creationId="{BBFBE49B-DEB1-1FC9-AE24-10BE83D492D1}"/>
          </ac:spMkLst>
        </pc:spChg>
        <pc:spChg chg="add del mod">
          <ac:chgData name="Steiner Andreas 6206 ED" userId="e6377c33-a923-4f14-8587-531c474c7b48" providerId="ADAL" clId="{6ECD27E6-B224-41CD-B4E0-E297462320DD}" dt="2023-11-24T08:51:54.195" v="90154"/>
          <ac:spMkLst>
            <pc:docMk/>
            <pc:sldMk cId="1396980745" sldId="687"/>
            <ac:spMk id="585" creationId="{1BD08D12-49C5-7914-72CE-E925601A1D47}"/>
          </ac:spMkLst>
        </pc:spChg>
        <pc:spChg chg="add del mod">
          <ac:chgData name="Steiner Andreas 6206 ED" userId="e6377c33-a923-4f14-8587-531c474c7b48" providerId="ADAL" clId="{6ECD27E6-B224-41CD-B4E0-E297462320DD}" dt="2023-11-24T08:51:56.185" v="90309"/>
          <ac:spMkLst>
            <pc:docMk/>
            <pc:sldMk cId="1396980745" sldId="687"/>
            <ac:spMk id="586" creationId="{91CD3351-5FAF-87F6-880C-0ABF54132882}"/>
          </ac:spMkLst>
        </pc:spChg>
        <pc:spChg chg="add del mod">
          <ac:chgData name="Steiner Andreas 6206 ED" userId="e6377c33-a923-4f14-8587-531c474c7b48" providerId="ADAL" clId="{6ECD27E6-B224-41CD-B4E0-E297462320DD}" dt="2023-11-24T08:51:58.112" v="90464"/>
          <ac:spMkLst>
            <pc:docMk/>
            <pc:sldMk cId="1396980745" sldId="687"/>
            <ac:spMk id="587" creationId="{125951BB-3AD8-B485-1CCA-30479FA55903}"/>
          </ac:spMkLst>
        </pc:spChg>
        <pc:spChg chg="add del mod">
          <ac:chgData name="Steiner Andreas 6206 ED" userId="e6377c33-a923-4f14-8587-531c474c7b48" providerId="ADAL" clId="{6ECD27E6-B224-41CD-B4E0-E297462320DD}" dt="2023-11-24T08:52:00.239" v="90619"/>
          <ac:spMkLst>
            <pc:docMk/>
            <pc:sldMk cId="1396980745" sldId="687"/>
            <ac:spMk id="588" creationId="{1052311E-8C94-6201-35CA-DD40DD06A352}"/>
          </ac:spMkLst>
        </pc:spChg>
        <pc:spChg chg="add del mod">
          <ac:chgData name="Steiner Andreas 6206 ED" userId="e6377c33-a923-4f14-8587-531c474c7b48" providerId="ADAL" clId="{6ECD27E6-B224-41CD-B4E0-E297462320DD}" dt="2023-11-24T08:52:02.195" v="90774"/>
          <ac:spMkLst>
            <pc:docMk/>
            <pc:sldMk cId="1396980745" sldId="687"/>
            <ac:spMk id="589" creationId="{702755B6-3D4A-7982-8AE0-0D2B5D54D69A}"/>
          </ac:spMkLst>
        </pc:spChg>
        <pc:spChg chg="add del mod">
          <ac:chgData name="Steiner Andreas 6206 ED" userId="e6377c33-a923-4f14-8587-531c474c7b48" providerId="ADAL" clId="{6ECD27E6-B224-41CD-B4E0-E297462320DD}" dt="2023-11-24T08:52:04.120" v="90929"/>
          <ac:spMkLst>
            <pc:docMk/>
            <pc:sldMk cId="1396980745" sldId="687"/>
            <ac:spMk id="590" creationId="{DB33D8B7-1F92-0D41-18CB-B931CA635350}"/>
          </ac:spMkLst>
        </pc:spChg>
        <pc:spChg chg="add del mod">
          <ac:chgData name="Steiner Andreas 6206 ED" userId="e6377c33-a923-4f14-8587-531c474c7b48" providerId="ADAL" clId="{6ECD27E6-B224-41CD-B4E0-E297462320DD}" dt="2023-11-24T08:52:06.314" v="91084"/>
          <ac:spMkLst>
            <pc:docMk/>
            <pc:sldMk cId="1396980745" sldId="687"/>
            <ac:spMk id="591" creationId="{F5A34E84-EE10-81FB-2218-45948FB8A513}"/>
          </ac:spMkLst>
        </pc:spChg>
        <pc:spChg chg="add del mod">
          <ac:chgData name="Steiner Andreas 6206 ED" userId="e6377c33-a923-4f14-8587-531c474c7b48" providerId="ADAL" clId="{6ECD27E6-B224-41CD-B4E0-E297462320DD}" dt="2023-11-24T08:52:08.285" v="91239"/>
          <ac:spMkLst>
            <pc:docMk/>
            <pc:sldMk cId="1396980745" sldId="687"/>
            <ac:spMk id="592" creationId="{04445758-C6F9-F0B0-97D2-181B9CC747FA}"/>
          </ac:spMkLst>
        </pc:spChg>
        <pc:spChg chg="add del mod">
          <ac:chgData name="Steiner Andreas 6206 ED" userId="e6377c33-a923-4f14-8587-531c474c7b48" providerId="ADAL" clId="{6ECD27E6-B224-41CD-B4E0-E297462320DD}" dt="2023-11-24T08:52:10.168" v="91394"/>
          <ac:spMkLst>
            <pc:docMk/>
            <pc:sldMk cId="1396980745" sldId="687"/>
            <ac:spMk id="593" creationId="{C0858FB0-A284-3608-6C8A-1D46C8B9480D}"/>
          </ac:spMkLst>
        </pc:spChg>
        <pc:spChg chg="add del mod">
          <ac:chgData name="Steiner Andreas 6206 ED" userId="e6377c33-a923-4f14-8587-531c474c7b48" providerId="ADAL" clId="{6ECD27E6-B224-41CD-B4E0-E297462320DD}" dt="2023-11-24T08:52:12.023" v="91549"/>
          <ac:spMkLst>
            <pc:docMk/>
            <pc:sldMk cId="1396980745" sldId="687"/>
            <ac:spMk id="594" creationId="{C21F7136-9BD7-9146-E90E-5E5DFD4C9547}"/>
          </ac:spMkLst>
        </pc:spChg>
        <pc:spChg chg="add del mod">
          <ac:chgData name="Steiner Andreas 6206 ED" userId="e6377c33-a923-4f14-8587-531c474c7b48" providerId="ADAL" clId="{6ECD27E6-B224-41CD-B4E0-E297462320DD}" dt="2023-11-24T08:52:13.962" v="91704"/>
          <ac:spMkLst>
            <pc:docMk/>
            <pc:sldMk cId="1396980745" sldId="687"/>
            <ac:spMk id="595" creationId="{E7E358D8-5DE3-64FA-2357-A5004E825542}"/>
          </ac:spMkLst>
        </pc:spChg>
        <pc:spChg chg="add del mod">
          <ac:chgData name="Steiner Andreas 6206 ED" userId="e6377c33-a923-4f14-8587-531c474c7b48" providerId="ADAL" clId="{6ECD27E6-B224-41CD-B4E0-E297462320DD}" dt="2023-11-24T08:52:15.872" v="91859"/>
          <ac:spMkLst>
            <pc:docMk/>
            <pc:sldMk cId="1396980745" sldId="687"/>
            <ac:spMk id="596" creationId="{E7CA80B5-01B2-D999-6A02-C2F8B43AE0B2}"/>
          </ac:spMkLst>
        </pc:spChg>
        <pc:spChg chg="add del mod">
          <ac:chgData name="Steiner Andreas 6206 ED" userId="e6377c33-a923-4f14-8587-531c474c7b48" providerId="ADAL" clId="{6ECD27E6-B224-41CD-B4E0-E297462320DD}" dt="2023-11-24T08:52:18.030" v="92014"/>
          <ac:spMkLst>
            <pc:docMk/>
            <pc:sldMk cId="1396980745" sldId="687"/>
            <ac:spMk id="597" creationId="{381B851B-1DBC-2FE4-6FB8-54BB41B88BD0}"/>
          </ac:spMkLst>
        </pc:spChg>
        <pc:spChg chg="add del mod">
          <ac:chgData name="Steiner Andreas 6206 ED" userId="e6377c33-a923-4f14-8587-531c474c7b48" providerId="ADAL" clId="{6ECD27E6-B224-41CD-B4E0-E297462320DD}" dt="2023-11-24T08:52:19.998" v="92169"/>
          <ac:spMkLst>
            <pc:docMk/>
            <pc:sldMk cId="1396980745" sldId="687"/>
            <ac:spMk id="598" creationId="{04776C95-D6F4-D93B-B5EF-DECF4F9EEAF0}"/>
          </ac:spMkLst>
        </pc:spChg>
        <pc:spChg chg="add del mod">
          <ac:chgData name="Steiner Andreas 6206 ED" userId="e6377c33-a923-4f14-8587-531c474c7b48" providerId="ADAL" clId="{6ECD27E6-B224-41CD-B4E0-E297462320DD}" dt="2023-11-24T08:52:21.833" v="92324"/>
          <ac:spMkLst>
            <pc:docMk/>
            <pc:sldMk cId="1396980745" sldId="687"/>
            <ac:spMk id="599" creationId="{4A54692D-E65E-E754-BE48-95ED2D944F14}"/>
          </ac:spMkLst>
        </pc:spChg>
        <pc:spChg chg="add del mod">
          <ac:chgData name="Steiner Andreas 6206 ED" userId="e6377c33-a923-4f14-8587-531c474c7b48" providerId="ADAL" clId="{6ECD27E6-B224-41CD-B4E0-E297462320DD}" dt="2023-11-24T08:52:23.896" v="92479"/>
          <ac:spMkLst>
            <pc:docMk/>
            <pc:sldMk cId="1396980745" sldId="687"/>
            <ac:spMk id="600" creationId="{0666C3CE-692A-616F-0EFB-3D8827F016DD}"/>
          </ac:spMkLst>
        </pc:spChg>
        <pc:spChg chg="add del mod">
          <ac:chgData name="Steiner Andreas 6206 ED" userId="e6377c33-a923-4f14-8587-531c474c7b48" providerId="ADAL" clId="{6ECD27E6-B224-41CD-B4E0-E297462320DD}" dt="2023-11-24T08:52:25.771" v="92634"/>
          <ac:spMkLst>
            <pc:docMk/>
            <pc:sldMk cId="1396980745" sldId="687"/>
            <ac:spMk id="601" creationId="{69B72463-87D0-6572-A52D-F26CDC7342E5}"/>
          </ac:spMkLst>
        </pc:spChg>
        <pc:spChg chg="add del mod">
          <ac:chgData name="Steiner Andreas 6206 ED" userId="e6377c33-a923-4f14-8587-531c474c7b48" providerId="ADAL" clId="{6ECD27E6-B224-41CD-B4E0-E297462320DD}" dt="2023-11-24T08:52:27.640" v="92789"/>
          <ac:spMkLst>
            <pc:docMk/>
            <pc:sldMk cId="1396980745" sldId="687"/>
            <ac:spMk id="602" creationId="{BBE4680F-CDAA-FC26-E49C-CF4068428B87}"/>
          </ac:spMkLst>
        </pc:spChg>
        <pc:spChg chg="add del mod">
          <ac:chgData name="Steiner Andreas 6206 ED" userId="e6377c33-a923-4f14-8587-531c474c7b48" providerId="ADAL" clId="{6ECD27E6-B224-41CD-B4E0-E297462320DD}" dt="2023-11-24T08:52:29.733" v="92944"/>
          <ac:spMkLst>
            <pc:docMk/>
            <pc:sldMk cId="1396980745" sldId="687"/>
            <ac:spMk id="603" creationId="{5B95388A-BBCC-CA56-3ACA-D239B9AFCBA5}"/>
          </ac:spMkLst>
        </pc:spChg>
        <pc:spChg chg="add del mod">
          <ac:chgData name="Steiner Andreas 6206 ED" userId="e6377c33-a923-4f14-8587-531c474c7b48" providerId="ADAL" clId="{6ECD27E6-B224-41CD-B4E0-E297462320DD}" dt="2023-11-24T08:52:31.659" v="93099"/>
          <ac:spMkLst>
            <pc:docMk/>
            <pc:sldMk cId="1396980745" sldId="687"/>
            <ac:spMk id="604" creationId="{DB8DB104-1CB5-20C2-D883-BA97CDD69BFE}"/>
          </ac:spMkLst>
        </pc:spChg>
        <pc:spChg chg="add del mod">
          <ac:chgData name="Steiner Andreas 6206 ED" userId="e6377c33-a923-4f14-8587-531c474c7b48" providerId="ADAL" clId="{6ECD27E6-B224-41CD-B4E0-E297462320DD}" dt="2023-11-24T08:52:33.585" v="93254"/>
          <ac:spMkLst>
            <pc:docMk/>
            <pc:sldMk cId="1396980745" sldId="687"/>
            <ac:spMk id="605" creationId="{899BF4CE-7303-31C9-7292-449103E1B522}"/>
          </ac:spMkLst>
        </pc:spChg>
        <pc:spChg chg="add del mod">
          <ac:chgData name="Steiner Andreas 6206 ED" userId="e6377c33-a923-4f14-8587-531c474c7b48" providerId="ADAL" clId="{6ECD27E6-B224-41CD-B4E0-E297462320DD}" dt="2023-11-24T08:52:35.480" v="93409"/>
          <ac:spMkLst>
            <pc:docMk/>
            <pc:sldMk cId="1396980745" sldId="687"/>
            <ac:spMk id="606" creationId="{BC027AFC-4907-D9D6-772C-6641E75AFDE9}"/>
          </ac:spMkLst>
        </pc:spChg>
        <pc:spChg chg="add del mod">
          <ac:chgData name="Steiner Andreas 6206 ED" userId="e6377c33-a923-4f14-8587-531c474c7b48" providerId="ADAL" clId="{6ECD27E6-B224-41CD-B4E0-E297462320DD}" dt="2023-11-24T08:52:37.403" v="93564"/>
          <ac:spMkLst>
            <pc:docMk/>
            <pc:sldMk cId="1396980745" sldId="687"/>
            <ac:spMk id="607" creationId="{752110E8-9A08-82ED-DCE1-EC5DD95CB527}"/>
          </ac:spMkLst>
        </pc:spChg>
        <pc:spChg chg="add del mod">
          <ac:chgData name="Steiner Andreas 6206 ED" userId="e6377c33-a923-4f14-8587-531c474c7b48" providerId="ADAL" clId="{6ECD27E6-B224-41CD-B4E0-E297462320DD}" dt="2023-11-24T08:52:39.315" v="93719"/>
          <ac:spMkLst>
            <pc:docMk/>
            <pc:sldMk cId="1396980745" sldId="687"/>
            <ac:spMk id="608" creationId="{EAE2F0C6-C84E-A7BF-65AC-5E00F6FC99D0}"/>
          </ac:spMkLst>
        </pc:spChg>
        <pc:spChg chg="add del mod">
          <ac:chgData name="Steiner Andreas 6206 ED" userId="e6377c33-a923-4f14-8587-531c474c7b48" providerId="ADAL" clId="{6ECD27E6-B224-41CD-B4E0-E297462320DD}" dt="2023-11-24T08:52:41.365" v="93874"/>
          <ac:spMkLst>
            <pc:docMk/>
            <pc:sldMk cId="1396980745" sldId="687"/>
            <ac:spMk id="609" creationId="{F7C4E145-E1C4-8F5A-5C05-9B4D6BCD49A7}"/>
          </ac:spMkLst>
        </pc:spChg>
        <pc:spChg chg="add del mod">
          <ac:chgData name="Steiner Andreas 6206 ED" userId="e6377c33-a923-4f14-8587-531c474c7b48" providerId="ADAL" clId="{6ECD27E6-B224-41CD-B4E0-E297462320DD}" dt="2023-11-24T08:52:43.316" v="94029"/>
          <ac:spMkLst>
            <pc:docMk/>
            <pc:sldMk cId="1396980745" sldId="687"/>
            <ac:spMk id="610" creationId="{568C0380-81CA-7136-C195-226B2D6FA7DA}"/>
          </ac:spMkLst>
        </pc:spChg>
        <pc:spChg chg="add del mod">
          <ac:chgData name="Steiner Andreas 6206 ED" userId="e6377c33-a923-4f14-8587-531c474c7b48" providerId="ADAL" clId="{6ECD27E6-B224-41CD-B4E0-E297462320DD}" dt="2023-11-24T08:52:45.252" v="94184"/>
          <ac:spMkLst>
            <pc:docMk/>
            <pc:sldMk cId="1396980745" sldId="687"/>
            <ac:spMk id="611" creationId="{82A3223F-E02F-6534-55C7-FBF4FD2E5F2D}"/>
          </ac:spMkLst>
        </pc:spChg>
        <pc:spChg chg="add del mod">
          <ac:chgData name="Steiner Andreas 6206 ED" userId="e6377c33-a923-4f14-8587-531c474c7b48" providerId="ADAL" clId="{6ECD27E6-B224-41CD-B4E0-E297462320DD}" dt="2023-11-24T08:52:47.213" v="94339"/>
          <ac:spMkLst>
            <pc:docMk/>
            <pc:sldMk cId="1396980745" sldId="687"/>
            <ac:spMk id="612" creationId="{7832BEB8-1D53-E789-7BC6-EE0B8C0E9832}"/>
          </ac:spMkLst>
        </pc:spChg>
        <pc:spChg chg="add del mod">
          <ac:chgData name="Steiner Andreas 6206 ED" userId="e6377c33-a923-4f14-8587-531c474c7b48" providerId="ADAL" clId="{6ECD27E6-B224-41CD-B4E0-E297462320DD}" dt="2023-11-24T08:52:49.290" v="94494"/>
          <ac:spMkLst>
            <pc:docMk/>
            <pc:sldMk cId="1396980745" sldId="687"/>
            <ac:spMk id="613" creationId="{37835BD9-8C6A-B117-6F25-F9ED2A09ED50}"/>
          </ac:spMkLst>
        </pc:spChg>
        <pc:spChg chg="add del mod">
          <ac:chgData name="Steiner Andreas 6206 ED" userId="e6377c33-a923-4f14-8587-531c474c7b48" providerId="ADAL" clId="{6ECD27E6-B224-41CD-B4E0-E297462320DD}" dt="2023-11-24T08:52:51.492" v="94649"/>
          <ac:spMkLst>
            <pc:docMk/>
            <pc:sldMk cId="1396980745" sldId="687"/>
            <ac:spMk id="614" creationId="{A7F719FD-EFA7-07E8-A802-A091E507E6C0}"/>
          </ac:spMkLst>
        </pc:spChg>
        <pc:spChg chg="add del mod">
          <ac:chgData name="Steiner Andreas 6206 ED" userId="e6377c33-a923-4f14-8587-531c474c7b48" providerId="ADAL" clId="{6ECD27E6-B224-41CD-B4E0-E297462320DD}" dt="2023-11-24T08:52:53.435" v="94804"/>
          <ac:spMkLst>
            <pc:docMk/>
            <pc:sldMk cId="1396980745" sldId="687"/>
            <ac:spMk id="615" creationId="{E7A60834-CF5F-ED80-80A6-FFB132FF8C8B}"/>
          </ac:spMkLst>
        </pc:spChg>
        <pc:spChg chg="add del mod">
          <ac:chgData name="Steiner Andreas 6206 ED" userId="e6377c33-a923-4f14-8587-531c474c7b48" providerId="ADAL" clId="{6ECD27E6-B224-41CD-B4E0-E297462320DD}" dt="2023-11-24T08:52:55.374" v="94959"/>
          <ac:spMkLst>
            <pc:docMk/>
            <pc:sldMk cId="1396980745" sldId="687"/>
            <ac:spMk id="616" creationId="{BB819D97-756A-0E99-3A41-8B9BD2B4409E}"/>
          </ac:spMkLst>
        </pc:spChg>
        <pc:spChg chg="add del mod">
          <ac:chgData name="Steiner Andreas 6206 ED" userId="e6377c33-a923-4f14-8587-531c474c7b48" providerId="ADAL" clId="{6ECD27E6-B224-41CD-B4E0-E297462320DD}" dt="2023-11-24T08:52:57.404" v="95114"/>
          <ac:spMkLst>
            <pc:docMk/>
            <pc:sldMk cId="1396980745" sldId="687"/>
            <ac:spMk id="617" creationId="{B3E4D530-ABBC-C601-D366-4005E9DD1BC6}"/>
          </ac:spMkLst>
        </pc:spChg>
        <pc:spChg chg="add del mod">
          <ac:chgData name="Steiner Andreas 6206 ED" userId="e6377c33-a923-4f14-8587-531c474c7b48" providerId="ADAL" clId="{6ECD27E6-B224-41CD-B4E0-E297462320DD}" dt="2023-11-24T08:52:59.355" v="95269"/>
          <ac:spMkLst>
            <pc:docMk/>
            <pc:sldMk cId="1396980745" sldId="687"/>
            <ac:spMk id="618" creationId="{78B66DD2-F688-6981-2714-CA77FD9167D6}"/>
          </ac:spMkLst>
        </pc:spChg>
        <pc:spChg chg="add del mod">
          <ac:chgData name="Steiner Andreas 6206 ED" userId="e6377c33-a923-4f14-8587-531c474c7b48" providerId="ADAL" clId="{6ECD27E6-B224-41CD-B4E0-E297462320DD}" dt="2023-11-24T08:53:01.362" v="95424"/>
          <ac:spMkLst>
            <pc:docMk/>
            <pc:sldMk cId="1396980745" sldId="687"/>
            <ac:spMk id="619" creationId="{86F3E9E6-4902-2B80-16AF-D715C9B52541}"/>
          </ac:spMkLst>
        </pc:spChg>
        <pc:spChg chg="add del mod">
          <ac:chgData name="Steiner Andreas 6206 ED" userId="e6377c33-a923-4f14-8587-531c474c7b48" providerId="ADAL" clId="{6ECD27E6-B224-41CD-B4E0-E297462320DD}" dt="2023-11-24T08:53:03.486" v="95579"/>
          <ac:spMkLst>
            <pc:docMk/>
            <pc:sldMk cId="1396980745" sldId="687"/>
            <ac:spMk id="620" creationId="{1DBE0AB2-1E99-FCD8-BCA3-F0548DFBAD34}"/>
          </ac:spMkLst>
        </pc:spChg>
        <pc:spChg chg="add del mod">
          <ac:chgData name="Steiner Andreas 6206 ED" userId="e6377c33-a923-4f14-8587-531c474c7b48" providerId="ADAL" clId="{6ECD27E6-B224-41CD-B4E0-E297462320DD}" dt="2023-11-24T08:53:05.450" v="95734"/>
          <ac:spMkLst>
            <pc:docMk/>
            <pc:sldMk cId="1396980745" sldId="687"/>
            <ac:spMk id="621" creationId="{D838BD0A-8DDF-60EC-F378-2CF4C0A391E7}"/>
          </ac:spMkLst>
        </pc:spChg>
        <pc:spChg chg="add del mod">
          <ac:chgData name="Steiner Andreas 6206 ED" userId="e6377c33-a923-4f14-8587-531c474c7b48" providerId="ADAL" clId="{6ECD27E6-B224-41CD-B4E0-E297462320DD}" dt="2023-11-24T08:53:07.326" v="95889"/>
          <ac:spMkLst>
            <pc:docMk/>
            <pc:sldMk cId="1396980745" sldId="687"/>
            <ac:spMk id="622" creationId="{1BE363A4-A79B-ED24-4E70-6E99E9C00B73}"/>
          </ac:spMkLst>
        </pc:spChg>
        <pc:spChg chg="add del mod">
          <ac:chgData name="Steiner Andreas 6206 ED" userId="e6377c33-a923-4f14-8587-531c474c7b48" providerId="ADAL" clId="{6ECD27E6-B224-41CD-B4E0-E297462320DD}" dt="2023-11-24T08:53:09.266" v="96044"/>
          <ac:spMkLst>
            <pc:docMk/>
            <pc:sldMk cId="1396980745" sldId="687"/>
            <ac:spMk id="623" creationId="{107183C8-8667-B6F8-AE49-D523219501D5}"/>
          </ac:spMkLst>
        </pc:spChg>
        <pc:spChg chg="add del mod">
          <ac:chgData name="Steiner Andreas 6206 ED" userId="e6377c33-a923-4f14-8587-531c474c7b48" providerId="ADAL" clId="{6ECD27E6-B224-41CD-B4E0-E297462320DD}" dt="2023-11-24T08:53:11.211" v="96199"/>
          <ac:spMkLst>
            <pc:docMk/>
            <pc:sldMk cId="1396980745" sldId="687"/>
            <ac:spMk id="624" creationId="{46FC3AF8-A471-5FCE-A3F1-A3F9979C71A0}"/>
          </ac:spMkLst>
        </pc:spChg>
        <pc:spChg chg="add del mod">
          <ac:chgData name="Steiner Andreas 6206 ED" userId="e6377c33-a923-4f14-8587-531c474c7b48" providerId="ADAL" clId="{6ECD27E6-B224-41CD-B4E0-E297462320DD}" dt="2023-11-24T08:53:13.200" v="96354"/>
          <ac:spMkLst>
            <pc:docMk/>
            <pc:sldMk cId="1396980745" sldId="687"/>
            <ac:spMk id="625" creationId="{03ED5A42-FA50-E63E-3690-7AEE207878C3}"/>
          </ac:spMkLst>
        </pc:spChg>
        <pc:spChg chg="add del mod">
          <ac:chgData name="Steiner Andreas 6206 ED" userId="e6377c33-a923-4f14-8587-531c474c7b48" providerId="ADAL" clId="{6ECD27E6-B224-41CD-B4E0-E297462320DD}" dt="2023-11-24T08:53:15.289" v="96509"/>
          <ac:spMkLst>
            <pc:docMk/>
            <pc:sldMk cId="1396980745" sldId="687"/>
            <ac:spMk id="626" creationId="{3D8F5E1C-2918-FBDF-983A-75809E2A6DE7}"/>
          </ac:spMkLst>
        </pc:spChg>
        <pc:spChg chg="add del mod">
          <ac:chgData name="Steiner Andreas 6206 ED" userId="e6377c33-a923-4f14-8587-531c474c7b48" providerId="ADAL" clId="{6ECD27E6-B224-41CD-B4E0-E297462320DD}" dt="2023-11-24T08:53:17.253" v="96664"/>
          <ac:spMkLst>
            <pc:docMk/>
            <pc:sldMk cId="1396980745" sldId="687"/>
            <ac:spMk id="627" creationId="{FDCE494B-79FC-E2B6-C0BD-0A9999CA7CF6}"/>
          </ac:spMkLst>
        </pc:spChg>
        <pc:spChg chg="add del mod">
          <ac:chgData name="Steiner Andreas 6206 ED" userId="e6377c33-a923-4f14-8587-531c474c7b48" providerId="ADAL" clId="{6ECD27E6-B224-41CD-B4E0-E297462320DD}" dt="2023-11-24T08:53:19.216" v="96819"/>
          <ac:spMkLst>
            <pc:docMk/>
            <pc:sldMk cId="1396980745" sldId="687"/>
            <ac:spMk id="628" creationId="{CB101C11-2A02-42A0-D529-C8B28C03E918}"/>
          </ac:spMkLst>
        </pc:spChg>
        <pc:spChg chg="add del mod">
          <ac:chgData name="Steiner Andreas 6206 ED" userId="e6377c33-a923-4f14-8587-531c474c7b48" providerId="ADAL" clId="{6ECD27E6-B224-41CD-B4E0-E297462320DD}" dt="2023-11-24T08:53:21.177" v="96974"/>
          <ac:spMkLst>
            <pc:docMk/>
            <pc:sldMk cId="1396980745" sldId="687"/>
            <ac:spMk id="629" creationId="{206C2848-74EA-F1E8-4D94-A0896F45B611}"/>
          </ac:spMkLst>
        </pc:spChg>
        <pc:spChg chg="add del mod">
          <ac:chgData name="Steiner Andreas 6206 ED" userId="e6377c33-a923-4f14-8587-531c474c7b48" providerId="ADAL" clId="{6ECD27E6-B224-41CD-B4E0-E297462320DD}" dt="2023-11-24T08:53:23.139" v="97129"/>
          <ac:spMkLst>
            <pc:docMk/>
            <pc:sldMk cId="1396980745" sldId="687"/>
            <ac:spMk id="630" creationId="{9FFDC2B8-D2D5-24D5-3B19-CECABE6B8DCC}"/>
          </ac:spMkLst>
        </pc:spChg>
        <pc:spChg chg="add del mod">
          <ac:chgData name="Steiner Andreas 6206 ED" userId="e6377c33-a923-4f14-8587-531c474c7b48" providerId="ADAL" clId="{6ECD27E6-B224-41CD-B4E0-E297462320DD}" dt="2023-11-24T08:53:25.253" v="97284"/>
          <ac:spMkLst>
            <pc:docMk/>
            <pc:sldMk cId="1396980745" sldId="687"/>
            <ac:spMk id="631" creationId="{5C767D44-2DF3-2E56-1906-FD0645C5EEAA}"/>
          </ac:spMkLst>
        </pc:spChg>
        <pc:spChg chg="add del mod">
          <ac:chgData name="Steiner Andreas 6206 ED" userId="e6377c33-a923-4f14-8587-531c474c7b48" providerId="ADAL" clId="{6ECD27E6-B224-41CD-B4E0-E297462320DD}" dt="2023-11-24T08:53:27.243" v="97439"/>
          <ac:spMkLst>
            <pc:docMk/>
            <pc:sldMk cId="1396980745" sldId="687"/>
            <ac:spMk id="632" creationId="{54B44398-EB57-CD35-EA4C-1961D2DDBFD6}"/>
          </ac:spMkLst>
        </pc:spChg>
        <pc:spChg chg="add del mod">
          <ac:chgData name="Steiner Andreas 6206 ED" userId="e6377c33-a923-4f14-8587-531c474c7b48" providerId="ADAL" clId="{6ECD27E6-B224-41CD-B4E0-E297462320DD}" dt="2023-11-24T08:53:29.133" v="97594"/>
          <ac:spMkLst>
            <pc:docMk/>
            <pc:sldMk cId="1396980745" sldId="687"/>
            <ac:spMk id="633" creationId="{6A7F5507-11CA-2EB7-222D-E39AA3625D3D}"/>
          </ac:spMkLst>
        </pc:spChg>
        <pc:spChg chg="add del mod">
          <ac:chgData name="Steiner Andreas 6206 ED" userId="e6377c33-a923-4f14-8587-531c474c7b48" providerId="ADAL" clId="{6ECD27E6-B224-41CD-B4E0-E297462320DD}" dt="2023-11-24T08:53:31.031" v="97749"/>
          <ac:spMkLst>
            <pc:docMk/>
            <pc:sldMk cId="1396980745" sldId="687"/>
            <ac:spMk id="634" creationId="{300EAB59-AF92-F8C8-6869-4027DA6FD2A2}"/>
          </ac:spMkLst>
        </pc:spChg>
        <pc:spChg chg="add del mod">
          <ac:chgData name="Steiner Andreas 6206 ED" userId="e6377c33-a923-4f14-8587-531c474c7b48" providerId="ADAL" clId="{6ECD27E6-B224-41CD-B4E0-E297462320DD}" dt="2023-11-24T08:53:32.965" v="97904"/>
          <ac:spMkLst>
            <pc:docMk/>
            <pc:sldMk cId="1396980745" sldId="687"/>
            <ac:spMk id="635" creationId="{1312A68E-24DD-2956-B2D8-DC43C5740DD7}"/>
          </ac:spMkLst>
        </pc:spChg>
        <pc:spChg chg="add del mod">
          <ac:chgData name="Steiner Andreas 6206 ED" userId="e6377c33-a923-4f14-8587-531c474c7b48" providerId="ADAL" clId="{6ECD27E6-B224-41CD-B4E0-E297462320DD}" dt="2023-11-24T08:53:34.897" v="98059"/>
          <ac:spMkLst>
            <pc:docMk/>
            <pc:sldMk cId="1396980745" sldId="687"/>
            <ac:spMk id="636" creationId="{D9E07E19-1912-E210-74F4-6B06272BC98D}"/>
          </ac:spMkLst>
        </pc:spChg>
        <pc:spChg chg="add del mod">
          <ac:chgData name="Steiner Andreas 6206 ED" userId="e6377c33-a923-4f14-8587-531c474c7b48" providerId="ADAL" clId="{6ECD27E6-B224-41CD-B4E0-E297462320DD}" dt="2023-11-24T08:53:36.993" v="98214"/>
          <ac:spMkLst>
            <pc:docMk/>
            <pc:sldMk cId="1396980745" sldId="687"/>
            <ac:spMk id="637" creationId="{52BF5E8C-3C59-6958-7479-812121A90869}"/>
          </ac:spMkLst>
        </pc:spChg>
        <pc:spChg chg="add del mod">
          <ac:chgData name="Steiner Andreas 6206 ED" userId="e6377c33-a923-4f14-8587-531c474c7b48" providerId="ADAL" clId="{6ECD27E6-B224-41CD-B4E0-E297462320DD}" dt="2023-11-24T08:53:38.907" v="98369"/>
          <ac:spMkLst>
            <pc:docMk/>
            <pc:sldMk cId="1396980745" sldId="687"/>
            <ac:spMk id="638" creationId="{DC235347-E8FC-72B4-E4A9-63D7A8DE7077}"/>
          </ac:spMkLst>
        </pc:spChg>
        <pc:spChg chg="add del mod">
          <ac:chgData name="Steiner Andreas 6206 ED" userId="e6377c33-a923-4f14-8587-531c474c7b48" providerId="ADAL" clId="{6ECD27E6-B224-41CD-B4E0-E297462320DD}" dt="2023-11-24T08:53:40.868" v="98524"/>
          <ac:spMkLst>
            <pc:docMk/>
            <pc:sldMk cId="1396980745" sldId="687"/>
            <ac:spMk id="639" creationId="{9E838235-19A6-1D26-90BB-05A56501FFE7}"/>
          </ac:spMkLst>
        </pc:spChg>
        <pc:spChg chg="add del mod">
          <ac:chgData name="Steiner Andreas 6206 ED" userId="e6377c33-a923-4f14-8587-531c474c7b48" providerId="ADAL" clId="{6ECD27E6-B224-41CD-B4E0-E297462320DD}" dt="2023-11-24T08:53:42.810" v="98679"/>
          <ac:spMkLst>
            <pc:docMk/>
            <pc:sldMk cId="1396980745" sldId="687"/>
            <ac:spMk id="640" creationId="{84BFE38F-EE8B-8017-A0F8-7218CC020834}"/>
          </ac:spMkLst>
        </pc:spChg>
        <pc:spChg chg="add del mod">
          <ac:chgData name="Steiner Andreas 6206 ED" userId="e6377c33-a923-4f14-8587-531c474c7b48" providerId="ADAL" clId="{6ECD27E6-B224-41CD-B4E0-E297462320DD}" dt="2023-11-24T08:53:44.760" v="98834"/>
          <ac:spMkLst>
            <pc:docMk/>
            <pc:sldMk cId="1396980745" sldId="687"/>
            <ac:spMk id="641" creationId="{37D29229-70E4-2435-E443-9187DDF3AB32}"/>
          </ac:spMkLst>
        </pc:spChg>
        <pc:spChg chg="add del mod">
          <ac:chgData name="Steiner Andreas 6206 ED" userId="e6377c33-a923-4f14-8587-531c474c7b48" providerId="ADAL" clId="{6ECD27E6-B224-41CD-B4E0-E297462320DD}" dt="2023-11-24T08:53:46.694" v="98989"/>
          <ac:spMkLst>
            <pc:docMk/>
            <pc:sldMk cId="1396980745" sldId="687"/>
            <ac:spMk id="642" creationId="{9ECDA46A-0104-BE8A-1DCC-9611A9B9C7DA}"/>
          </ac:spMkLst>
        </pc:spChg>
        <pc:spChg chg="add del mod">
          <ac:chgData name="Steiner Andreas 6206 ED" userId="e6377c33-a923-4f14-8587-531c474c7b48" providerId="ADAL" clId="{6ECD27E6-B224-41CD-B4E0-E297462320DD}" dt="2023-11-24T08:53:48.758" v="99144"/>
          <ac:spMkLst>
            <pc:docMk/>
            <pc:sldMk cId="1396980745" sldId="687"/>
            <ac:spMk id="643" creationId="{04F4887F-E88C-BD28-10F9-07740BEE038B}"/>
          </ac:spMkLst>
        </pc:spChg>
        <pc:spChg chg="add del mod">
          <ac:chgData name="Steiner Andreas 6206 ED" userId="e6377c33-a923-4f14-8587-531c474c7b48" providerId="ADAL" clId="{6ECD27E6-B224-41CD-B4E0-E297462320DD}" dt="2023-11-24T08:53:50.708" v="99299"/>
          <ac:spMkLst>
            <pc:docMk/>
            <pc:sldMk cId="1396980745" sldId="687"/>
            <ac:spMk id="644" creationId="{5ED7EE32-3A28-24B5-7217-5902B3FE99F9}"/>
          </ac:spMkLst>
        </pc:spChg>
        <pc:spChg chg="add del mod">
          <ac:chgData name="Steiner Andreas 6206 ED" userId="e6377c33-a923-4f14-8587-531c474c7b48" providerId="ADAL" clId="{6ECD27E6-B224-41CD-B4E0-E297462320DD}" dt="2023-11-24T08:53:52.693" v="99454"/>
          <ac:spMkLst>
            <pc:docMk/>
            <pc:sldMk cId="1396980745" sldId="687"/>
            <ac:spMk id="645" creationId="{08428D67-BB21-CAE4-B09B-F5038266B2C0}"/>
          </ac:spMkLst>
        </pc:spChg>
        <pc:spChg chg="add del mod">
          <ac:chgData name="Steiner Andreas 6206 ED" userId="e6377c33-a923-4f14-8587-531c474c7b48" providerId="ADAL" clId="{6ECD27E6-B224-41CD-B4E0-E297462320DD}" dt="2023-11-24T08:53:54.657" v="99609"/>
          <ac:spMkLst>
            <pc:docMk/>
            <pc:sldMk cId="1396980745" sldId="687"/>
            <ac:spMk id="646" creationId="{C0DE75A9-F0FA-9C06-38FE-92E62548E2E4}"/>
          </ac:spMkLst>
        </pc:spChg>
        <pc:spChg chg="add del mod">
          <ac:chgData name="Steiner Andreas 6206 ED" userId="e6377c33-a923-4f14-8587-531c474c7b48" providerId="ADAL" clId="{6ECD27E6-B224-41CD-B4E0-E297462320DD}" dt="2023-11-24T08:53:56.588" v="99764"/>
          <ac:spMkLst>
            <pc:docMk/>
            <pc:sldMk cId="1396980745" sldId="687"/>
            <ac:spMk id="647" creationId="{1D5FEF61-4B36-A74E-1CF5-10F4EBE9BCC7}"/>
          </ac:spMkLst>
        </pc:spChg>
        <pc:spChg chg="add del mod">
          <ac:chgData name="Steiner Andreas 6206 ED" userId="e6377c33-a923-4f14-8587-531c474c7b48" providerId="ADAL" clId="{6ECD27E6-B224-41CD-B4E0-E297462320DD}" dt="2023-11-24T08:53:58.658" v="99919"/>
          <ac:spMkLst>
            <pc:docMk/>
            <pc:sldMk cId="1396980745" sldId="687"/>
            <ac:spMk id="648" creationId="{1C838571-86C0-C73D-9177-3CE06CF374CA}"/>
          </ac:spMkLst>
        </pc:spChg>
        <pc:spChg chg="add del mod">
          <ac:chgData name="Steiner Andreas 6206 ED" userId="e6377c33-a923-4f14-8587-531c474c7b48" providerId="ADAL" clId="{6ECD27E6-B224-41CD-B4E0-E297462320DD}" dt="2023-11-24T08:54:00.763" v="100074"/>
          <ac:spMkLst>
            <pc:docMk/>
            <pc:sldMk cId="1396980745" sldId="687"/>
            <ac:spMk id="649" creationId="{5A7454E2-554D-AE59-8969-6FECC4B64A57}"/>
          </ac:spMkLst>
        </pc:spChg>
        <pc:spChg chg="add del mod">
          <ac:chgData name="Steiner Andreas 6206 ED" userId="e6377c33-a923-4f14-8587-531c474c7b48" providerId="ADAL" clId="{6ECD27E6-B224-41CD-B4E0-E297462320DD}" dt="2023-11-24T08:54:02.752" v="100229"/>
          <ac:spMkLst>
            <pc:docMk/>
            <pc:sldMk cId="1396980745" sldId="687"/>
            <ac:spMk id="650" creationId="{1BBA9C09-35CF-A6F9-E876-2EA281E7810C}"/>
          </ac:spMkLst>
        </pc:spChg>
        <pc:spChg chg="add del mod">
          <ac:chgData name="Steiner Andreas 6206 ED" userId="e6377c33-a923-4f14-8587-531c474c7b48" providerId="ADAL" clId="{6ECD27E6-B224-41CD-B4E0-E297462320DD}" dt="2023-11-24T08:54:04.705" v="100384"/>
          <ac:spMkLst>
            <pc:docMk/>
            <pc:sldMk cId="1396980745" sldId="687"/>
            <ac:spMk id="651" creationId="{B53FA3DA-BB8F-EE34-C808-1FFA251C1040}"/>
          </ac:spMkLst>
        </pc:spChg>
        <pc:spChg chg="add del mod">
          <ac:chgData name="Steiner Andreas 6206 ED" userId="e6377c33-a923-4f14-8587-531c474c7b48" providerId="ADAL" clId="{6ECD27E6-B224-41CD-B4E0-E297462320DD}" dt="2023-11-24T08:54:06.679" v="100539"/>
          <ac:spMkLst>
            <pc:docMk/>
            <pc:sldMk cId="1396980745" sldId="687"/>
            <ac:spMk id="652" creationId="{F0435B02-008F-0197-0C56-4D57106725F0}"/>
          </ac:spMkLst>
        </pc:spChg>
        <pc:spChg chg="add del mod">
          <ac:chgData name="Steiner Andreas 6206 ED" userId="e6377c33-a923-4f14-8587-531c474c7b48" providerId="ADAL" clId="{6ECD27E6-B224-41CD-B4E0-E297462320DD}" dt="2023-11-24T08:54:08.659" v="100694"/>
          <ac:spMkLst>
            <pc:docMk/>
            <pc:sldMk cId="1396980745" sldId="687"/>
            <ac:spMk id="653" creationId="{8B8D8BBA-E38C-8AF2-1F4E-DD83D6781B96}"/>
          </ac:spMkLst>
        </pc:spChg>
        <pc:spChg chg="add del mod">
          <ac:chgData name="Steiner Andreas 6206 ED" userId="e6377c33-a923-4f14-8587-531c474c7b48" providerId="ADAL" clId="{6ECD27E6-B224-41CD-B4E0-E297462320DD}" dt="2023-11-24T08:54:10.802" v="100849"/>
          <ac:spMkLst>
            <pc:docMk/>
            <pc:sldMk cId="1396980745" sldId="687"/>
            <ac:spMk id="654" creationId="{EA3E6DCD-7C8D-0801-F094-C1FF424D46C6}"/>
          </ac:spMkLst>
        </pc:spChg>
        <pc:spChg chg="add del mod">
          <ac:chgData name="Steiner Andreas 6206 ED" userId="e6377c33-a923-4f14-8587-531c474c7b48" providerId="ADAL" clId="{6ECD27E6-B224-41CD-B4E0-E297462320DD}" dt="2023-11-24T08:54:12.723" v="101004"/>
          <ac:spMkLst>
            <pc:docMk/>
            <pc:sldMk cId="1396980745" sldId="687"/>
            <ac:spMk id="655" creationId="{11D7460E-248A-21A2-CC83-0A851CDE25E3}"/>
          </ac:spMkLst>
        </pc:spChg>
        <pc:spChg chg="add del mod">
          <ac:chgData name="Steiner Andreas 6206 ED" userId="e6377c33-a923-4f14-8587-531c474c7b48" providerId="ADAL" clId="{6ECD27E6-B224-41CD-B4E0-E297462320DD}" dt="2023-11-24T08:54:14.695" v="101159"/>
          <ac:spMkLst>
            <pc:docMk/>
            <pc:sldMk cId="1396980745" sldId="687"/>
            <ac:spMk id="656" creationId="{0D086A96-806A-1AB8-6C54-C3BCDD41DD00}"/>
          </ac:spMkLst>
        </pc:spChg>
        <pc:spChg chg="add del mod">
          <ac:chgData name="Steiner Andreas 6206 ED" userId="e6377c33-a923-4f14-8587-531c474c7b48" providerId="ADAL" clId="{6ECD27E6-B224-41CD-B4E0-E297462320DD}" dt="2023-11-24T08:54:16.576" v="101314"/>
          <ac:spMkLst>
            <pc:docMk/>
            <pc:sldMk cId="1396980745" sldId="687"/>
            <ac:spMk id="657" creationId="{0CA27AD9-62F6-C0FB-C085-B5A197E1826F}"/>
          </ac:spMkLst>
        </pc:spChg>
        <pc:spChg chg="add del mod">
          <ac:chgData name="Steiner Andreas 6206 ED" userId="e6377c33-a923-4f14-8587-531c474c7b48" providerId="ADAL" clId="{6ECD27E6-B224-41CD-B4E0-E297462320DD}" dt="2023-11-24T08:54:18.493" v="101469"/>
          <ac:spMkLst>
            <pc:docMk/>
            <pc:sldMk cId="1396980745" sldId="687"/>
            <ac:spMk id="658" creationId="{A334BA45-95C4-8435-468F-7349AF4FC821}"/>
          </ac:spMkLst>
        </pc:spChg>
        <pc:spChg chg="add del mod">
          <ac:chgData name="Steiner Andreas 6206 ED" userId="e6377c33-a923-4f14-8587-531c474c7b48" providerId="ADAL" clId="{6ECD27E6-B224-41CD-B4E0-E297462320DD}" dt="2023-11-24T08:54:20.456" v="101624"/>
          <ac:spMkLst>
            <pc:docMk/>
            <pc:sldMk cId="1396980745" sldId="687"/>
            <ac:spMk id="659" creationId="{A7A10DE4-7C57-A037-675C-615F918301B5}"/>
          </ac:spMkLst>
        </pc:spChg>
        <pc:spChg chg="add del mod">
          <ac:chgData name="Steiner Andreas 6206 ED" userId="e6377c33-a923-4f14-8587-531c474c7b48" providerId="ADAL" clId="{6ECD27E6-B224-41CD-B4E0-E297462320DD}" dt="2023-11-24T08:54:22.565" v="101779"/>
          <ac:spMkLst>
            <pc:docMk/>
            <pc:sldMk cId="1396980745" sldId="687"/>
            <ac:spMk id="660" creationId="{CB56FA9F-CD40-F4DF-A7CB-083B3E89271F}"/>
          </ac:spMkLst>
        </pc:spChg>
        <pc:spChg chg="add del mod">
          <ac:chgData name="Steiner Andreas 6206 ED" userId="e6377c33-a923-4f14-8587-531c474c7b48" providerId="ADAL" clId="{6ECD27E6-B224-41CD-B4E0-E297462320DD}" dt="2023-11-24T08:54:24.527" v="101934"/>
          <ac:spMkLst>
            <pc:docMk/>
            <pc:sldMk cId="1396980745" sldId="687"/>
            <ac:spMk id="661" creationId="{1E23D606-6CF5-870C-EE81-BDB7A1AA6199}"/>
          </ac:spMkLst>
        </pc:spChg>
        <pc:spChg chg="add del mod">
          <ac:chgData name="Steiner Andreas 6206 ED" userId="e6377c33-a923-4f14-8587-531c474c7b48" providerId="ADAL" clId="{6ECD27E6-B224-41CD-B4E0-E297462320DD}" dt="2023-11-24T08:54:26.479" v="102089"/>
          <ac:spMkLst>
            <pc:docMk/>
            <pc:sldMk cId="1396980745" sldId="687"/>
            <ac:spMk id="662" creationId="{9E4D077C-B4C4-DB85-31C7-349F5F7A7EF7}"/>
          </ac:spMkLst>
        </pc:spChg>
        <pc:spChg chg="add del mod">
          <ac:chgData name="Steiner Andreas 6206 ED" userId="e6377c33-a923-4f14-8587-531c474c7b48" providerId="ADAL" clId="{6ECD27E6-B224-41CD-B4E0-E297462320DD}" dt="2023-11-24T08:54:28.436" v="102244"/>
          <ac:spMkLst>
            <pc:docMk/>
            <pc:sldMk cId="1396980745" sldId="687"/>
            <ac:spMk id="663" creationId="{0B10794D-CB36-E2DD-912C-B99BBE494B08}"/>
          </ac:spMkLst>
        </pc:spChg>
        <pc:spChg chg="add del mod">
          <ac:chgData name="Steiner Andreas 6206 ED" userId="e6377c33-a923-4f14-8587-531c474c7b48" providerId="ADAL" clId="{6ECD27E6-B224-41CD-B4E0-E297462320DD}" dt="2023-11-24T08:54:30.363" v="102399"/>
          <ac:spMkLst>
            <pc:docMk/>
            <pc:sldMk cId="1396980745" sldId="687"/>
            <ac:spMk id="664" creationId="{B506F83B-C59F-6C79-F679-6B7E103D1F44}"/>
          </ac:spMkLst>
        </pc:spChg>
        <pc:spChg chg="add del mod">
          <ac:chgData name="Steiner Andreas 6206 ED" userId="e6377c33-a923-4f14-8587-531c474c7b48" providerId="ADAL" clId="{6ECD27E6-B224-41CD-B4E0-E297462320DD}" dt="2023-11-24T08:54:32.521" v="102554"/>
          <ac:spMkLst>
            <pc:docMk/>
            <pc:sldMk cId="1396980745" sldId="687"/>
            <ac:spMk id="665" creationId="{D178D460-6E0F-F7F2-B3F5-C4E3378AD89F}"/>
          </ac:spMkLst>
        </pc:spChg>
        <pc:spChg chg="add del mod">
          <ac:chgData name="Steiner Andreas 6206 ED" userId="e6377c33-a923-4f14-8587-531c474c7b48" providerId="ADAL" clId="{6ECD27E6-B224-41CD-B4E0-E297462320DD}" dt="2023-11-24T08:54:34.496" v="102709"/>
          <ac:spMkLst>
            <pc:docMk/>
            <pc:sldMk cId="1396980745" sldId="687"/>
            <ac:spMk id="666" creationId="{40E76211-7AFA-D91C-D3D9-07F9AE034940}"/>
          </ac:spMkLst>
        </pc:spChg>
        <pc:spChg chg="add del mod">
          <ac:chgData name="Steiner Andreas 6206 ED" userId="e6377c33-a923-4f14-8587-531c474c7b48" providerId="ADAL" clId="{6ECD27E6-B224-41CD-B4E0-E297462320DD}" dt="2023-11-24T08:54:36.431" v="102864"/>
          <ac:spMkLst>
            <pc:docMk/>
            <pc:sldMk cId="1396980745" sldId="687"/>
            <ac:spMk id="667" creationId="{38BADD39-CD68-B0D3-69E2-2D84AC10949C}"/>
          </ac:spMkLst>
        </pc:spChg>
        <pc:spChg chg="add del mod">
          <ac:chgData name="Steiner Andreas 6206 ED" userId="e6377c33-a923-4f14-8587-531c474c7b48" providerId="ADAL" clId="{6ECD27E6-B224-41CD-B4E0-E297462320DD}" dt="2023-11-24T08:54:38.644" v="103019"/>
          <ac:spMkLst>
            <pc:docMk/>
            <pc:sldMk cId="1396980745" sldId="687"/>
            <ac:spMk id="668" creationId="{B31DB7C3-2197-8A4C-29FA-2CB25101710F}"/>
          </ac:spMkLst>
        </pc:spChg>
        <pc:spChg chg="add del mod">
          <ac:chgData name="Steiner Andreas 6206 ED" userId="e6377c33-a923-4f14-8587-531c474c7b48" providerId="ADAL" clId="{6ECD27E6-B224-41CD-B4E0-E297462320DD}" dt="2023-11-24T08:54:40.803" v="103174"/>
          <ac:spMkLst>
            <pc:docMk/>
            <pc:sldMk cId="1396980745" sldId="687"/>
            <ac:spMk id="669" creationId="{EE4F0729-A596-5778-E5AC-76891096A9DF}"/>
          </ac:spMkLst>
        </pc:spChg>
        <pc:spChg chg="add del mod">
          <ac:chgData name="Steiner Andreas 6206 ED" userId="e6377c33-a923-4f14-8587-531c474c7b48" providerId="ADAL" clId="{6ECD27E6-B224-41CD-B4E0-E297462320DD}" dt="2023-11-24T08:54:42.711" v="103329"/>
          <ac:spMkLst>
            <pc:docMk/>
            <pc:sldMk cId="1396980745" sldId="687"/>
            <ac:spMk id="670" creationId="{247F92F3-452A-FDF3-1A4E-8847E8985078}"/>
          </ac:spMkLst>
        </pc:spChg>
        <pc:spChg chg="add del mod">
          <ac:chgData name="Steiner Andreas 6206 ED" userId="e6377c33-a923-4f14-8587-531c474c7b48" providerId="ADAL" clId="{6ECD27E6-B224-41CD-B4E0-E297462320DD}" dt="2023-11-24T08:54:44.982" v="103484"/>
          <ac:spMkLst>
            <pc:docMk/>
            <pc:sldMk cId="1396980745" sldId="687"/>
            <ac:spMk id="671" creationId="{E2BA52D3-A9DE-FB1F-5CEA-B6204BBAA09F}"/>
          </ac:spMkLst>
        </pc:spChg>
        <pc:spChg chg="add del mod">
          <ac:chgData name="Steiner Andreas 6206 ED" userId="e6377c33-a923-4f14-8587-531c474c7b48" providerId="ADAL" clId="{6ECD27E6-B224-41CD-B4E0-E297462320DD}" dt="2023-11-24T08:54:47.219" v="103639"/>
          <ac:spMkLst>
            <pc:docMk/>
            <pc:sldMk cId="1396980745" sldId="687"/>
            <ac:spMk id="672" creationId="{5B036DEF-7508-DD36-6C14-EFB6132AD6ED}"/>
          </ac:spMkLst>
        </pc:spChg>
        <pc:spChg chg="add del mod">
          <ac:chgData name="Steiner Andreas 6206 ED" userId="e6377c33-a923-4f14-8587-531c474c7b48" providerId="ADAL" clId="{6ECD27E6-B224-41CD-B4E0-E297462320DD}" dt="2023-11-24T08:54:49.343" v="103794"/>
          <ac:spMkLst>
            <pc:docMk/>
            <pc:sldMk cId="1396980745" sldId="687"/>
            <ac:spMk id="673" creationId="{C10C3507-3952-C52C-5952-7320B9E3047D}"/>
          </ac:spMkLst>
        </pc:spChg>
        <pc:spChg chg="add del mod">
          <ac:chgData name="Steiner Andreas 6206 ED" userId="e6377c33-a923-4f14-8587-531c474c7b48" providerId="ADAL" clId="{6ECD27E6-B224-41CD-B4E0-E297462320DD}" dt="2023-11-24T08:54:51.703" v="103949"/>
          <ac:spMkLst>
            <pc:docMk/>
            <pc:sldMk cId="1396980745" sldId="687"/>
            <ac:spMk id="674" creationId="{FFAADA3C-3B4F-2061-4919-E01C00B9799A}"/>
          </ac:spMkLst>
        </pc:spChg>
        <pc:spChg chg="add del mod">
          <ac:chgData name="Steiner Andreas 6206 ED" userId="e6377c33-a923-4f14-8587-531c474c7b48" providerId="ADAL" clId="{6ECD27E6-B224-41CD-B4E0-E297462320DD}" dt="2023-11-24T08:54:53.765" v="104104"/>
          <ac:spMkLst>
            <pc:docMk/>
            <pc:sldMk cId="1396980745" sldId="687"/>
            <ac:spMk id="675" creationId="{10DAC4E4-3ABE-717B-F2B2-B97E88E065D8}"/>
          </ac:spMkLst>
        </pc:spChg>
        <pc:spChg chg="add del mod">
          <ac:chgData name="Steiner Andreas 6206 ED" userId="e6377c33-a923-4f14-8587-531c474c7b48" providerId="ADAL" clId="{6ECD27E6-B224-41CD-B4E0-E297462320DD}" dt="2023-11-24T08:54:55.890" v="104259"/>
          <ac:spMkLst>
            <pc:docMk/>
            <pc:sldMk cId="1396980745" sldId="687"/>
            <ac:spMk id="676" creationId="{CBE0136A-0245-593A-4F4E-9CE2CE255C0F}"/>
          </ac:spMkLst>
        </pc:spChg>
        <pc:spChg chg="add del mod">
          <ac:chgData name="Steiner Andreas 6206 ED" userId="e6377c33-a923-4f14-8587-531c474c7b48" providerId="ADAL" clId="{6ECD27E6-B224-41CD-B4E0-E297462320DD}" dt="2023-11-24T08:54:57.962" v="104414"/>
          <ac:spMkLst>
            <pc:docMk/>
            <pc:sldMk cId="1396980745" sldId="687"/>
            <ac:spMk id="677" creationId="{2B636C34-2CF4-1782-7B54-7DE9732DBEBB}"/>
          </ac:spMkLst>
        </pc:spChg>
        <pc:spChg chg="add del mod">
          <ac:chgData name="Steiner Andreas 6206 ED" userId="e6377c33-a923-4f14-8587-531c474c7b48" providerId="ADAL" clId="{6ECD27E6-B224-41CD-B4E0-E297462320DD}" dt="2023-11-24T08:54:59.973" v="104569"/>
          <ac:spMkLst>
            <pc:docMk/>
            <pc:sldMk cId="1396980745" sldId="687"/>
            <ac:spMk id="678" creationId="{936497F0-D23D-BBF7-CF82-501B6EA977CC}"/>
          </ac:spMkLst>
        </pc:spChg>
        <pc:spChg chg="add del mod">
          <ac:chgData name="Steiner Andreas 6206 ED" userId="e6377c33-a923-4f14-8587-531c474c7b48" providerId="ADAL" clId="{6ECD27E6-B224-41CD-B4E0-E297462320DD}" dt="2023-11-24T08:55:01.923" v="104724"/>
          <ac:spMkLst>
            <pc:docMk/>
            <pc:sldMk cId="1396980745" sldId="687"/>
            <ac:spMk id="679" creationId="{53B2058B-D0A2-F98F-D8ED-8500CB3560C0}"/>
          </ac:spMkLst>
        </pc:spChg>
        <pc:spChg chg="add del mod">
          <ac:chgData name="Steiner Andreas 6206 ED" userId="e6377c33-a923-4f14-8587-531c474c7b48" providerId="ADAL" clId="{6ECD27E6-B224-41CD-B4E0-E297462320DD}" dt="2023-11-24T08:55:03.887" v="104879"/>
          <ac:spMkLst>
            <pc:docMk/>
            <pc:sldMk cId="1396980745" sldId="687"/>
            <ac:spMk id="680" creationId="{05E8EF0E-36AA-ABDA-7B33-7EC456CDA885}"/>
          </ac:spMkLst>
        </pc:spChg>
        <pc:spChg chg="add del mod">
          <ac:chgData name="Steiner Andreas 6206 ED" userId="e6377c33-a923-4f14-8587-531c474c7b48" providerId="ADAL" clId="{6ECD27E6-B224-41CD-B4E0-E297462320DD}" dt="2023-11-24T08:55:06.008" v="105034"/>
          <ac:spMkLst>
            <pc:docMk/>
            <pc:sldMk cId="1396980745" sldId="687"/>
            <ac:spMk id="681" creationId="{D8381417-D681-1E9E-BACF-45454FA6CB36}"/>
          </ac:spMkLst>
        </pc:spChg>
        <pc:spChg chg="add del mod">
          <ac:chgData name="Steiner Andreas 6206 ED" userId="e6377c33-a923-4f14-8587-531c474c7b48" providerId="ADAL" clId="{6ECD27E6-B224-41CD-B4E0-E297462320DD}" dt="2023-11-24T08:55:08.105" v="105189"/>
          <ac:spMkLst>
            <pc:docMk/>
            <pc:sldMk cId="1396980745" sldId="687"/>
            <ac:spMk id="682" creationId="{73667D16-2D35-1054-E0D0-C89428198737}"/>
          </ac:spMkLst>
        </pc:spChg>
        <pc:spChg chg="add del mod">
          <ac:chgData name="Steiner Andreas 6206 ED" userId="e6377c33-a923-4f14-8587-531c474c7b48" providerId="ADAL" clId="{6ECD27E6-B224-41CD-B4E0-E297462320DD}" dt="2023-11-24T08:55:10.091" v="105344"/>
          <ac:spMkLst>
            <pc:docMk/>
            <pc:sldMk cId="1396980745" sldId="687"/>
            <ac:spMk id="683" creationId="{AF18C068-78FA-17ED-BD25-4D04C737A6CB}"/>
          </ac:spMkLst>
        </pc:spChg>
        <pc:spChg chg="add del mod">
          <ac:chgData name="Steiner Andreas 6206 ED" userId="e6377c33-a923-4f14-8587-531c474c7b48" providerId="ADAL" clId="{6ECD27E6-B224-41CD-B4E0-E297462320DD}" dt="2023-11-24T08:55:12.079" v="105499"/>
          <ac:spMkLst>
            <pc:docMk/>
            <pc:sldMk cId="1396980745" sldId="687"/>
            <ac:spMk id="684" creationId="{8E2A465B-A75A-E32A-FDED-ECBD20E59931}"/>
          </ac:spMkLst>
        </pc:spChg>
        <pc:spChg chg="add del mod">
          <ac:chgData name="Steiner Andreas 6206 ED" userId="e6377c33-a923-4f14-8587-531c474c7b48" providerId="ADAL" clId="{6ECD27E6-B224-41CD-B4E0-E297462320DD}" dt="2023-11-24T08:55:14.110" v="105654"/>
          <ac:spMkLst>
            <pc:docMk/>
            <pc:sldMk cId="1396980745" sldId="687"/>
            <ac:spMk id="685" creationId="{FD2E957A-6986-AD0B-2C0A-0E15863E45BC}"/>
          </ac:spMkLst>
        </pc:spChg>
        <pc:spChg chg="add del mod">
          <ac:chgData name="Steiner Andreas 6206 ED" userId="e6377c33-a923-4f14-8587-531c474c7b48" providerId="ADAL" clId="{6ECD27E6-B224-41CD-B4E0-E297462320DD}" dt="2023-11-24T08:55:16.202" v="105809"/>
          <ac:spMkLst>
            <pc:docMk/>
            <pc:sldMk cId="1396980745" sldId="687"/>
            <ac:spMk id="686" creationId="{C2D6EB27-6542-E563-C8B5-227F2C02F7BA}"/>
          </ac:spMkLst>
        </pc:spChg>
        <pc:spChg chg="add del mod">
          <ac:chgData name="Steiner Andreas 6206 ED" userId="e6377c33-a923-4f14-8587-531c474c7b48" providerId="ADAL" clId="{6ECD27E6-B224-41CD-B4E0-E297462320DD}" dt="2023-11-24T08:55:18.242" v="105964"/>
          <ac:spMkLst>
            <pc:docMk/>
            <pc:sldMk cId="1396980745" sldId="687"/>
            <ac:spMk id="687" creationId="{D9F947EF-6068-FDE7-BF6F-89F1C6D51E72}"/>
          </ac:spMkLst>
        </pc:spChg>
        <pc:spChg chg="add del mod">
          <ac:chgData name="Steiner Andreas 6206 ED" userId="e6377c33-a923-4f14-8587-531c474c7b48" providerId="ADAL" clId="{6ECD27E6-B224-41CD-B4E0-E297462320DD}" dt="2023-11-24T08:55:20.259" v="106119"/>
          <ac:spMkLst>
            <pc:docMk/>
            <pc:sldMk cId="1396980745" sldId="687"/>
            <ac:spMk id="688" creationId="{4BBEA63F-E2A4-25F2-B2C9-66476D17208F}"/>
          </ac:spMkLst>
        </pc:spChg>
        <pc:spChg chg="add del mod">
          <ac:chgData name="Steiner Andreas 6206 ED" userId="e6377c33-a923-4f14-8587-531c474c7b48" providerId="ADAL" clId="{6ECD27E6-B224-41CD-B4E0-E297462320DD}" dt="2023-11-24T08:55:22.200" v="106274"/>
          <ac:spMkLst>
            <pc:docMk/>
            <pc:sldMk cId="1396980745" sldId="687"/>
            <ac:spMk id="689" creationId="{111B6596-3874-A9A8-5C9F-01DD63DDD33D}"/>
          </ac:spMkLst>
        </pc:spChg>
        <pc:spChg chg="add del mod">
          <ac:chgData name="Steiner Andreas 6206 ED" userId="e6377c33-a923-4f14-8587-531c474c7b48" providerId="ADAL" clId="{6ECD27E6-B224-41CD-B4E0-E297462320DD}" dt="2023-11-24T08:55:24.210" v="106429"/>
          <ac:spMkLst>
            <pc:docMk/>
            <pc:sldMk cId="1396980745" sldId="687"/>
            <ac:spMk id="690" creationId="{37566DBA-958A-E569-6CB7-8358D97B102D}"/>
          </ac:spMkLst>
        </pc:spChg>
        <pc:spChg chg="add del mod">
          <ac:chgData name="Steiner Andreas 6206 ED" userId="e6377c33-a923-4f14-8587-531c474c7b48" providerId="ADAL" clId="{6ECD27E6-B224-41CD-B4E0-E297462320DD}" dt="2023-11-24T08:55:26.179" v="106584"/>
          <ac:spMkLst>
            <pc:docMk/>
            <pc:sldMk cId="1396980745" sldId="687"/>
            <ac:spMk id="691" creationId="{EDBBC89A-402E-5310-90DC-45A1B4619D93}"/>
          </ac:spMkLst>
        </pc:spChg>
        <pc:spChg chg="add del mod">
          <ac:chgData name="Steiner Andreas 6206 ED" userId="e6377c33-a923-4f14-8587-531c474c7b48" providerId="ADAL" clId="{6ECD27E6-B224-41CD-B4E0-E297462320DD}" dt="2023-11-24T08:55:28.332" v="106739"/>
          <ac:spMkLst>
            <pc:docMk/>
            <pc:sldMk cId="1396980745" sldId="687"/>
            <ac:spMk id="692" creationId="{8C04DB69-FC56-E419-D431-FA8A384873DE}"/>
          </ac:spMkLst>
        </pc:spChg>
        <pc:spChg chg="add del mod">
          <ac:chgData name="Steiner Andreas 6206 ED" userId="e6377c33-a923-4f14-8587-531c474c7b48" providerId="ADAL" clId="{6ECD27E6-B224-41CD-B4E0-E297462320DD}" dt="2023-11-24T08:55:30.305" v="106894"/>
          <ac:spMkLst>
            <pc:docMk/>
            <pc:sldMk cId="1396980745" sldId="687"/>
            <ac:spMk id="693" creationId="{02E23795-7F7B-023D-CBCD-6AAD20C384E8}"/>
          </ac:spMkLst>
        </pc:spChg>
        <pc:spChg chg="add del mod">
          <ac:chgData name="Steiner Andreas 6206 ED" userId="e6377c33-a923-4f14-8587-531c474c7b48" providerId="ADAL" clId="{6ECD27E6-B224-41CD-B4E0-E297462320DD}" dt="2023-11-24T08:55:32.503" v="107049"/>
          <ac:spMkLst>
            <pc:docMk/>
            <pc:sldMk cId="1396980745" sldId="687"/>
            <ac:spMk id="694" creationId="{B28217EF-3113-E678-B83B-544166946834}"/>
          </ac:spMkLst>
        </pc:spChg>
        <pc:spChg chg="add del mod">
          <ac:chgData name="Steiner Andreas 6206 ED" userId="e6377c33-a923-4f14-8587-531c474c7b48" providerId="ADAL" clId="{6ECD27E6-B224-41CD-B4E0-E297462320DD}" dt="2023-11-24T08:55:34.400" v="107204"/>
          <ac:spMkLst>
            <pc:docMk/>
            <pc:sldMk cId="1396980745" sldId="687"/>
            <ac:spMk id="695" creationId="{83677981-6975-5A24-6A92-B1FFBBB107FC}"/>
          </ac:spMkLst>
        </pc:spChg>
        <pc:spChg chg="add del mod">
          <ac:chgData name="Steiner Andreas 6206 ED" userId="e6377c33-a923-4f14-8587-531c474c7b48" providerId="ADAL" clId="{6ECD27E6-B224-41CD-B4E0-E297462320DD}" dt="2023-11-24T08:55:36.332" v="107359"/>
          <ac:spMkLst>
            <pc:docMk/>
            <pc:sldMk cId="1396980745" sldId="687"/>
            <ac:spMk id="696" creationId="{ECB464C1-380B-863D-439B-F40E4CD4D3AB}"/>
          </ac:spMkLst>
        </pc:spChg>
        <pc:spChg chg="add del mod">
          <ac:chgData name="Steiner Andreas 6206 ED" userId="e6377c33-a923-4f14-8587-531c474c7b48" providerId="ADAL" clId="{6ECD27E6-B224-41CD-B4E0-E297462320DD}" dt="2023-11-24T08:55:38.357" v="107514"/>
          <ac:spMkLst>
            <pc:docMk/>
            <pc:sldMk cId="1396980745" sldId="687"/>
            <ac:spMk id="697" creationId="{64CD23C6-489A-68DC-D316-A7C2F7B671A0}"/>
          </ac:spMkLst>
        </pc:spChg>
        <pc:spChg chg="add del mod">
          <ac:chgData name="Steiner Andreas 6206 ED" userId="e6377c33-a923-4f14-8587-531c474c7b48" providerId="ADAL" clId="{6ECD27E6-B224-41CD-B4E0-E297462320DD}" dt="2023-11-24T08:55:40.404" v="107669"/>
          <ac:spMkLst>
            <pc:docMk/>
            <pc:sldMk cId="1396980745" sldId="687"/>
            <ac:spMk id="698" creationId="{E74B12FC-02DF-FD7B-EAFE-04B716DC5A10}"/>
          </ac:spMkLst>
        </pc:spChg>
        <pc:spChg chg="add del mod">
          <ac:chgData name="Steiner Andreas 6206 ED" userId="e6377c33-a923-4f14-8587-531c474c7b48" providerId="ADAL" clId="{6ECD27E6-B224-41CD-B4E0-E297462320DD}" dt="2023-11-24T08:55:42.288" v="107824"/>
          <ac:spMkLst>
            <pc:docMk/>
            <pc:sldMk cId="1396980745" sldId="687"/>
            <ac:spMk id="699" creationId="{28A60113-0FD1-4700-C186-CD7B365B9BB9}"/>
          </ac:spMkLst>
        </pc:spChg>
        <pc:spChg chg="add del mod">
          <ac:chgData name="Steiner Andreas 6206 ED" userId="e6377c33-a923-4f14-8587-531c474c7b48" providerId="ADAL" clId="{6ECD27E6-B224-41CD-B4E0-E297462320DD}" dt="2023-11-24T08:55:44.261" v="107979"/>
          <ac:spMkLst>
            <pc:docMk/>
            <pc:sldMk cId="1396980745" sldId="687"/>
            <ac:spMk id="700" creationId="{6507E11C-FD90-E65D-864C-E2A13E1DFA58}"/>
          </ac:spMkLst>
        </pc:spChg>
        <pc:spChg chg="add del mod">
          <ac:chgData name="Steiner Andreas 6206 ED" userId="e6377c33-a923-4f14-8587-531c474c7b48" providerId="ADAL" clId="{6ECD27E6-B224-41CD-B4E0-E297462320DD}" dt="2023-11-24T08:55:46.561" v="108134"/>
          <ac:spMkLst>
            <pc:docMk/>
            <pc:sldMk cId="1396980745" sldId="687"/>
            <ac:spMk id="701" creationId="{750722FA-6FF1-7C3A-E412-1429C621FB88}"/>
          </ac:spMkLst>
        </pc:spChg>
        <pc:spChg chg="add del mod">
          <ac:chgData name="Steiner Andreas 6206 ED" userId="e6377c33-a923-4f14-8587-531c474c7b48" providerId="ADAL" clId="{6ECD27E6-B224-41CD-B4E0-E297462320DD}" dt="2023-11-24T08:55:48.786" v="108289"/>
          <ac:spMkLst>
            <pc:docMk/>
            <pc:sldMk cId="1396980745" sldId="687"/>
            <ac:spMk id="702" creationId="{D9C458DC-CC69-803D-75BC-726908135789}"/>
          </ac:spMkLst>
        </pc:spChg>
        <pc:spChg chg="add del mod">
          <ac:chgData name="Steiner Andreas 6206 ED" userId="e6377c33-a923-4f14-8587-531c474c7b48" providerId="ADAL" clId="{6ECD27E6-B224-41CD-B4E0-E297462320DD}" dt="2023-11-24T08:55:51.220" v="108444"/>
          <ac:spMkLst>
            <pc:docMk/>
            <pc:sldMk cId="1396980745" sldId="687"/>
            <ac:spMk id="703" creationId="{965793B6-92FE-CF3A-4D81-7FF781D828A7}"/>
          </ac:spMkLst>
        </pc:spChg>
        <pc:spChg chg="add del mod">
          <ac:chgData name="Steiner Andreas 6206 ED" userId="e6377c33-a923-4f14-8587-531c474c7b48" providerId="ADAL" clId="{6ECD27E6-B224-41CD-B4E0-E297462320DD}" dt="2023-11-24T08:55:53.258" v="108599"/>
          <ac:spMkLst>
            <pc:docMk/>
            <pc:sldMk cId="1396980745" sldId="687"/>
            <ac:spMk id="704" creationId="{7D524B84-6A8F-84AF-3E0B-6BC2BB119F65}"/>
          </ac:spMkLst>
        </pc:spChg>
        <pc:spChg chg="add del mod">
          <ac:chgData name="Steiner Andreas 6206 ED" userId="e6377c33-a923-4f14-8587-531c474c7b48" providerId="ADAL" clId="{6ECD27E6-B224-41CD-B4E0-E297462320DD}" dt="2023-11-24T08:55:55.396" v="108754"/>
          <ac:spMkLst>
            <pc:docMk/>
            <pc:sldMk cId="1396980745" sldId="687"/>
            <ac:spMk id="705" creationId="{7D496A62-73E9-77FD-94A1-BB210EA1D6F0}"/>
          </ac:spMkLst>
        </pc:spChg>
        <pc:spChg chg="add del mod">
          <ac:chgData name="Steiner Andreas 6206 ED" userId="e6377c33-a923-4f14-8587-531c474c7b48" providerId="ADAL" clId="{6ECD27E6-B224-41CD-B4E0-E297462320DD}" dt="2023-11-24T08:55:57.408" v="108909"/>
          <ac:spMkLst>
            <pc:docMk/>
            <pc:sldMk cId="1396980745" sldId="687"/>
            <ac:spMk id="706" creationId="{D776A11A-90AC-E33A-D87F-05AF8B0935C2}"/>
          </ac:spMkLst>
        </pc:spChg>
        <pc:spChg chg="add del mod">
          <ac:chgData name="Steiner Andreas 6206 ED" userId="e6377c33-a923-4f14-8587-531c474c7b48" providerId="ADAL" clId="{6ECD27E6-B224-41CD-B4E0-E297462320DD}" dt="2023-11-24T08:55:59.500" v="109064"/>
          <ac:spMkLst>
            <pc:docMk/>
            <pc:sldMk cId="1396980745" sldId="687"/>
            <ac:spMk id="707" creationId="{587C201C-410D-A025-213D-FA92E7853B1B}"/>
          </ac:spMkLst>
        </pc:spChg>
        <pc:spChg chg="add del mod">
          <ac:chgData name="Steiner Andreas 6206 ED" userId="e6377c33-a923-4f14-8587-531c474c7b48" providerId="ADAL" clId="{6ECD27E6-B224-41CD-B4E0-E297462320DD}" dt="2023-11-24T08:56:01.861" v="109219"/>
          <ac:spMkLst>
            <pc:docMk/>
            <pc:sldMk cId="1396980745" sldId="687"/>
            <ac:spMk id="708" creationId="{F0487589-0E65-4F7B-FE02-661FDA47A378}"/>
          </ac:spMkLst>
        </pc:spChg>
        <pc:spChg chg="add del mod">
          <ac:chgData name="Steiner Andreas 6206 ED" userId="e6377c33-a923-4f14-8587-531c474c7b48" providerId="ADAL" clId="{6ECD27E6-B224-41CD-B4E0-E297462320DD}" dt="2023-11-24T08:56:04.119" v="109374"/>
          <ac:spMkLst>
            <pc:docMk/>
            <pc:sldMk cId="1396980745" sldId="687"/>
            <ac:spMk id="709" creationId="{F0DB22C3-C6FA-E009-8E41-D6EBCD5727DB}"/>
          </ac:spMkLst>
        </pc:spChg>
        <pc:spChg chg="add del mod">
          <ac:chgData name="Steiner Andreas 6206 ED" userId="e6377c33-a923-4f14-8587-531c474c7b48" providerId="ADAL" clId="{6ECD27E6-B224-41CD-B4E0-E297462320DD}" dt="2023-11-24T08:56:06.419" v="109529"/>
          <ac:spMkLst>
            <pc:docMk/>
            <pc:sldMk cId="1396980745" sldId="687"/>
            <ac:spMk id="710" creationId="{9819618D-85FE-7509-B936-EF7FF06CB302}"/>
          </ac:spMkLst>
        </pc:spChg>
        <pc:spChg chg="add del mod">
          <ac:chgData name="Steiner Andreas 6206 ED" userId="e6377c33-a923-4f14-8587-531c474c7b48" providerId="ADAL" clId="{6ECD27E6-B224-41CD-B4E0-E297462320DD}" dt="2023-11-24T08:56:08.708" v="109684"/>
          <ac:spMkLst>
            <pc:docMk/>
            <pc:sldMk cId="1396980745" sldId="687"/>
            <ac:spMk id="711" creationId="{8781CC66-BAD2-BEF7-1880-60E66BD9DFB5}"/>
          </ac:spMkLst>
        </pc:spChg>
        <pc:spChg chg="add del mod">
          <ac:chgData name="Steiner Andreas 6206 ED" userId="e6377c33-a923-4f14-8587-531c474c7b48" providerId="ADAL" clId="{6ECD27E6-B224-41CD-B4E0-E297462320DD}" dt="2023-11-24T08:56:10.753" v="109839"/>
          <ac:spMkLst>
            <pc:docMk/>
            <pc:sldMk cId="1396980745" sldId="687"/>
            <ac:spMk id="712" creationId="{62562A37-F3B5-255A-890B-6DE48C1072FE}"/>
          </ac:spMkLst>
        </pc:spChg>
        <pc:spChg chg="add del mod">
          <ac:chgData name="Steiner Andreas 6206 ED" userId="e6377c33-a923-4f14-8587-531c474c7b48" providerId="ADAL" clId="{6ECD27E6-B224-41CD-B4E0-E297462320DD}" dt="2023-11-24T08:56:12.866" v="109994"/>
          <ac:spMkLst>
            <pc:docMk/>
            <pc:sldMk cId="1396980745" sldId="687"/>
            <ac:spMk id="713" creationId="{FBD26838-68C7-EF9E-FF44-C0BB06CF4420}"/>
          </ac:spMkLst>
        </pc:spChg>
        <pc:spChg chg="add del mod">
          <ac:chgData name="Steiner Andreas 6206 ED" userId="e6377c33-a923-4f14-8587-531c474c7b48" providerId="ADAL" clId="{6ECD27E6-B224-41CD-B4E0-E297462320DD}" dt="2023-11-24T08:56:14.992" v="110149"/>
          <ac:spMkLst>
            <pc:docMk/>
            <pc:sldMk cId="1396980745" sldId="687"/>
            <ac:spMk id="714" creationId="{617949EC-645D-060D-35F2-8EA52ABF5E6F}"/>
          </ac:spMkLst>
        </pc:spChg>
        <pc:spChg chg="add del mod">
          <ac:chgData name="Steiner Andreas 6206 ED" userId="e6377c33-a923-4f14-8587-531c474c7b48" providerId="ADAL" clId="{6ECD27E6-B224-41CD-B4E0-E297462320DD}" dt="2023-11-24T08:56:16.976" v="110304"/>
          <ac:spMkLst>
            <pc:docMk/>
            <pc:sldMk cId="1396980745" sldId="687"/>
            <ac:spMk id="715" creationId="{7096CB0C-BD89-B72B-470C-1B3C365B798B}"/>
          </ac:spMkLst>
        </pc:spChg>
        <pc:spChg chg="add del mod">
          <ac:chgData name="Steiner Andreas 6206 ED" userId="e6377c33-a923-4f14-8587-531c474c7b48" providerId="ADAL" clId="{6ECD27E6-B224-41CD-B4E0-E297462320DD}" dt="2023-11-24T08:56:18.955" v="110459"/>
          <ac:spMkLst>
            <pc:docMk/>
            <pc:sldMk cId="1396980745" sldId="687"/>
            <ac:spMk id="716" creationId="{B8D63D1A-8255-31E3-54C9-4473B537F998}"/>
          </ac:spMkLst>
        </pc:spChg>
        <pc:spChg chg="add del mod">
          <ac:chgData name="Steiner Andreas 6206 ED" userId="e6377c33-a923-4f14-8587-531c474c7b48" providerId="ADAL" clId="{6ECD27E6-B224-41CD-B4E0-E297462320DD}" dt="2023-11-24T08:56:20.899" v="110614"/>
          <ac:spMkLst>
            <pc:docMk/>
            <pc:sldMk cId="1396980745" sldId="687"/>
            <ac:spMk id="717" creationId="{E89C67AA-653A-B272-C9FD-87C7D4455C4C}"/>
          </ac:spMkLst>
        </pc:spChg>
        <pc:spChg chg="add del mod">
          <ac:chgData name="Steiner Andreas 6206 ED" userId="e6377c33-a923-4f14-8587-531c474c7b48" providerId="ADAL" clId="{6ECD27E6-B224-41CD-B4E0-E297462320DD}" dt="2023-11-24T08:56:23.029" v="110769"/>
          <ac:spMkLst>
            <pc:docMk/>
            <pc:sldMk cId="1396980745" sldId="687"/>
            <ac:spMk id="718" creationId="{7BDC55EC-67EC-1F3E-E71A-89F0FD62E5A5}"/>
          </ac:spMkLst>
        </pc:spChg>
        <pc:spChg chg="add del mod">
          <ac:chgData name="Steiner Andreas 6206 ED" userId="e6377c33-a923-4f14-8587-531c474c7b48" providerId="ADAL" clId="{6ECD27E6-B224-41CD-B4E0-E297462320DD}" dt="2023-11-24T08:56:25.239" v="110924"/>
          <ac:spMkLst>
            <pc:docMk/>
            <pc:sldMk cId="1396980745" sldId="687"/>
            <ac:spMk id="719" creationId="{F9951879-AEC3-5013-BB44-C863A4AD4E5C}"/>
          </ac:spMkLst>
        </pc:spChg>
        <pc:spChg chg="add del mod">
          <ac:chgData name="Steiner Andreas 6206 ED" userId="e6377c33-a923-4f14-8587-531c474c7b48" providerId="ADAL" clId="{6ECD27E6-B224-41CD-B4E0-E297462320DD}" dt="2023-11-24T08:56:27.260" v="111079"/>
          <ac:spMkLst>
            <pc:docMk/>
            <pc:sldMk cId="1396980745" sldId="687"/>
            <ac:spMk id="720" creationId="{B67C17F5-22FA-3CED-8A77-56CDBD009B6E}"/>
          </ac:spMkLst>
        </pc:spChg>
        <pc:spChg chg="add del mod">
          <ac:chgData name="Steiner Andreas 6206 ED" userId="e6377c33-a923-4f14-8587-531c474c7b48" providerId="ADAL" clId="{6ECD27E6-B224-41CD-B4E0-E297462320DD}" dt="2023-11-24T08:56:29.290" v="111234"/>
          <ac:spMkLst>
            <pc:docMk/>
            <pc:sldMk cId="1396980745" sldId="687"/>
            <ac:spMk id="721" creationId="{D2EC8F22-A42C-D4AF-D227-6AD9485C184E}"/>
          </ac:spMkLst>
        </pc:spChg>
        <pc:spChg chg="add del mod">
          <ac:chgData name="Steiner Andreas 6206 ED" userId="e6377c33-a923-4f14-8587-531c474c7b48" providerId="ADAL" clId="{6ECD27E6-B224-41CD-B4E0-E297462320DD}" dt="2023-11-24T08:56:31.403" v="111389"/>
          <ac:spMkLst>
            <pc:docMk/>
            <pc:sldMk cId="1396980745" sldId="687"/>
            <ac:spMk id="722" creationId="{A9A1100C-A4FB-CD86-B1DE-94E54D7CF049}"/>
          </ac:spMkLst>
        </pc:spChg>
        <pc:spChg chg="add del mod">
          <ac:chgData name="Steiner Andreas 6206 ED" userId="e6377c33-a923-4f14-8587-531c474c7b48" providerId="ADAL" clId="{6ECD27E6-B224-41CD-B4E0-E297462320DD}" dt="2023-11-24T08:56:33.629" v="111544"/>
          <ac:spMkLst>
            <pc:docMk/>
            <pc:sldMk cId="1396980745" sldId="687"/>
            <ac:spMk id="723" creationId="{E1A9B3F8-1B70-F5C6-3EF7-9E8F36D5AFB5}"/>
          </ac:spMkLst>
        </pc:spChg>
        <pc:spChg chg="add del mod">
          <ac:chgData name="Steiner Andreas 6206 ED" userId="e6377c33-a923-4f14-8587-531c474c7b48" providerId="ADAL" clId="{6ECD27E6-B224-41CD-B4E0-E297462320DD}" dt="2023-11-24T08:56:35.808" v="111699"/>
          <ac:spMkLst>
            <pc:docMk/>
            <pc:sldMk cId="1396980745" sldId="687"/>
            <ac:spMk id="724" creationId="{9CD74565-28EE-0C5C-9DAE-F2142B1EBCE5}"/>
          </ac:spMkLst>
        </pc:spChg>
        <pc:spChg chg="add del mod">
          <ac:chgData name="Steiner Andreas 6206 ED" userId="e6377c33-a923-4f14-8587-531c474c7b48" providerId="ADAL" clId="{6ECD27E6-B224-41CD-B4E0-E297462320DD}" dt="2023-11-24T08:56:37.876" v="111854"/>
          <ac:spMkLst>
            <pc:docMk/>
            <pc:sldMk cId="1396980745" sldId="687"/>
            <ac:spMk id="725" creationId="{6F6EC493-53E8-DF85-0B4B-61F87272C811}"/>
          </ac:spMkLst>
        </pc:spChg>
        <pc:spChg chg="add del mod">
          <ac:chgData name="Steiner Andreas 6206 ED" userId="e6377c33-a923-4f14-8587-531c474c7b48" providerId="ADAL" clId="{6ECD27E6-B224-41CD-B4E0-E297462320DD}" dt="2023-11-24T08:56:40.033" v="112009"/>
          <ac:spMkLst>
            <pc:docMk/>
            <pc:sldMk cId="1396980745" sldId="687"/>
            <ac:spMk id="726" creationId="{AEA3AB96-0E59-359B-B0CB-16D21816F398}"/>
          </ac:spMkLst>
        </pc:spChg>
        <pc:spChg chg="add del mod">
          <ac:chgData name="Steiner Andreas 6206 ED" userId="e6377c33-a923-4f14-8587-531c474c7b48" providerId="ADAL" clId="{6ECD27E6-B224-41CD-B4E0-E297462320DD}" dt="2023-11-24T08:56:41.982" v="112164"/>
          <ac:spMkLst>
            <pc:docMk/>
            <pc:sldMk cId="1396980745" sldId="687"/>
            <ac:spMk id="727" creationId="{3F04177B-E399-E810-FC78-455B86889470}"/>
          </ac:spMkLst>
        </pc:spChg>
        <pc:spChg chg="add del mod">
          <ac:chgData name="Steiner Andreas 6206 ED" userId="e6377c33-a923-4f14-8587-531c474c7b48" providerId="ADAL" clId="{6ECD27E6-B224-41CD-B4E0-E297462320DD}" dt="2023-11-24T08:56:43.979" v="112319"/>
          <ac:spMkLst>
            <pc:docMk/>
            <pc:sldMk cId="1396980745" sldId="687"/>
            <ac:spMk id="728" creationId="{AD160582-8A8A-5D4D-3D1E-704D1FCA22B3}"/>
          </ac:spMkLst>
        </pc:spChg>
        <pc:spChg chg="add del mod">
          <ac:chgData name="Steiner Andreas 6206 ED" userId="e6377c33-a923-4f14-8587-531c474c7b48" providerId="ADAL" clId="{6ECD27E6-B224-41CD-B4E0-E297462320DD}" dt="2023-11-24T08:56:46.014" v="112474"/>
          <ac:spMkLst>
            <pc:docMk/>
            <pc:sldMk cId="1396980745" sldId="687"/>
            <ac:spMk id="729" creationId="{ACD12BB4-8CC1-E4EB-BC1D-5E5F54A2CC26}"/>
          </ac:spMkLst>
        </pc:spChg>
        <pc:spChg chg="add del mod">
          <ac:chgData name="Steiner Andreas 6206 ED" userId="e6377c33-a923-4f14-8587-531c474c7b48" providerId="ADAL" clId="{6ECD27E6-B224-41CD-B4E0-E297462320DD}" dt="2023-11-24T08:56:48.223" v="112629"/>
          <ac:spMkLst>
            <pc:docMk/>
            <pc:sldMk cId="1396980745" sldId="687"/>
            <ac:spMk id="730" creationId="{A62F6367-5C8C-96C8-4802-E845EC8264C8}"/>
          </ac:spMkLst>
        </pc:spChg>
        <pc:spChg chg="add del mod">
          <ac:chgData name="Steiner Andreas 6206 ED" userId="e6377c33-a923-4f14-8587-531c474c7b48" providerId="ADAL" clId="{6ECD27E6-B224-41CD-B4E0-E297462320DD}" dt="2023-11-24T08:56:50.280" v="112784"/>
          <ac:spMkLst>
            <pc:docMk/>
            <pc:sldMk cId="1396980745" sldId="687"/>
            <ac:spMk id="731" creationId="{D42B3383-CF7E-2E3B-6A04-907F7523157C}"/>
          </ac:spMkLst>
        </pc:spChg>
        <pc:spChg chg="add del mod">
          <ac:chgData name="Steiner Andreas 6206 ED" userId="e6377c33-a923-4f14-8587-531c474c7b48" providerId="ADAL" clId="{6ECD27E6-B224-41CD-B4E0-E297462320DD}" dt="2023-11-24T08:56:52.209" v="112939"/>
          <ac:spMkLst>
            <pc:docMk/>
            <pc:sldMk cId="1396980745" sldId="687"/>
            <ac:spMk id="732" creationId="{4505ED0A-99C3-BD5F-F800-F50E70BAF4D5}"/>
          </ac:spMkLst>
        </pc:spChg>
        <pc:spChg chg="add del mod">
          <ac:chgData name="Steiner Andreas 6206 ED" userId="e6377c33-a923-4f14-8587-531c474c7b48" providerId="ADAL" clId="{6ECD27E6-B224-41CD-B4E0-E297462320DD}" dt="2023-11-24T08:56:54.331" v="113094"/>
          <ac:spMkLst>
            <pc:docMk/>
            <pc:sldMk cId="1396980745" sldId="687"/>
            <ac:spMk id="733" creationId="{06F7A863-7AA5-AAC6-5E99-170863C1DA9B}"/>
          </ac:spMkLst>
        </pc:spChg>
        <pc:spChg chg="add del mod">
          <ac:chgData name="Steiner Andreas 6206 ED" userId="e6377c33-a923-4f14-8587-531c474c7b48" providerId="ADAL" clId="{6ECD27E6-B224-41CD-B4E0-E297462320DD}" dt="2023-11-24T08:56:56.289" v="113249"/>
          <ac:spMkLst>
            <pc:docMk/>
            <pc:sldMk cId="1396980745" sldId="687"/>
            <ac:spMk id="734" creationId="{6D6B8317-952D-D0A0-7C43-F86A7002C21F}"/>
          </ac:spMkLst>
        </pc:spChg>
        <pc:spChg chg="add del mod">
          <ac:chgData name="Steiner Andreas 6206 ED" userId="e6377c33-a923-4f14-8587-531c474c7b48" providerId="ADAL" clId="{6ECD27E6-B224-41CD-B4E0-E297462320DD}" dt="2023-11-24T08:56:58.400" v="113404"/>
          <ac:spMkLst>
            <pc:docMk/>
            <pc:sldMk cId="1396980745" sldId="687"/>
            <ac:spMk id="735" creationId="{6B5DCFCF-54B0-9A01-8459-D956F8D4CB3C}"/>
          </ac:spMkLst>
        </pc:spChg>
        <pc:spChg chg="add del mod">
          <ac:chgData name="Steiner Andreas 6206 ED" userId="e6377c33-a923-4f14-8587-531c474c7b48" providerId="ADAL" clId="{6ECD27E6-B224-41CD-B4E0-E297462320DD}" dt="2023-11-24T08:57:00.709" v="113559"/>
          <ac:spMkLst>
            <pc:docMk/>
            <pc:sldMk cId="1396980745" sldId="687"/>
            <ac:spMk id="736" creationId="{14B229AE-2421-123D-B421-7FFF42592695}"/>
          </ac:spMkLst>
        </pc:spChg>
        <pc:spChg chg="add del mod">
          <ac:chgData name="Steiner Andreas 6206 ED" userId="e6377c33-a923-4f14-8587-531c474c7b48" providerId="ADAL" clId="{6ECD27E6-B224-41CD-B4E0-E297462320DD}" dt="2023-11-24T08:57:03.082" v="113714"/>
          <ac:spMkLst>
            <pc:docMk/>
            <pc:sldMk cId="1396980745" sldId="687"/>
            <ac:spMk id="737" creationId="{9BFFC6B3-45B1-30F1-E85C-91E25F2CF226}"/>
          </ac:spMkLst>
        </pc:spChg>
        <pc:spChg chg="add del mod">
          <ac:chgData name="Steiner Andreas 6206 ED" userId="e6377c33-a923-4f14-8587-531c474c7b48" providerId="ADAL" clId="{6ECD27E6-B224-41CD-B4E0-E297462320DD}" dt="2023-11-24T09:02:21.549" v="113869"/>
          <ac:spMkLst>
            <pc:docMk/>
            <pc:sldMk cId="1396980745" sldId="687"/>
            <ac:spMk id="738" creationId="{0FA846FB-109C-D19A-E6EF-1477035EF880}"/>
          </ac:spMkLst>
        </pc:spChg>
        <pc:spChg chg="add del mod">
          <ac:chgData name="Steiner Andreas 6206 ED" userId="e6377c33-a923-4f14-8587-531c474c7b48" providerId="ADAL" clId="{6ECD27E6-B224-41CD-B4E0-E297462320DD}" dt="2023-11-24T09:02:27.484" v="114024"/>
          <ac:spMkLst>
            <pc:docMk/>
            <pc:sldMk cId="1396980745" sldId="687"/>
            <ac:spMk id="739" creationId="{6C0B473C-C8B4-56F4-6CC0-94DFEA8F58BC}"/>
          </ac:spMkLst>
        </pc:spChg>
        <pc:spChg chg="add del mod">
          <ac:chgData name="Steiner Andreas 6206 ED" userId="e6377c33-a923-4f14-8587-531c474c7b48" providerId="ADAL" clId="{6ECD27E6-B224-41CD-B4E0-E297462320DD}" dt="2023-11-24T09:02:30.034" v="114179"/>
          <ac:spMkLst>
            <pc:docMk/>
            <pc:sldMk cId="1396980745" sldId="687"/>
            <ac:spMk id="740" creationId="{7075A966-D4A8-11A1-133F-ECCB3D9D4253}"/>
          </ac:spMkLst>
        </pc:spChg>
        <pc:spChg chg="add del mod">
          <ac:chgData name="Steiner Andreas 6206 ED" userId="e6377c33-a923-4f14-8587-531c474c7b48" providerId="ADAL" clId="{6ECD27E6-B224-41CD-B4E0-E297462320DD}" dt="2023-11-24T09:02:33.253" v="114334"/>
          <ac:spMkLst>
            <pc:docMk/>
            <pc:sldMk cId="1396980745" sldId="687"/>
            <ac:spMk id="741" creationId="{D789EF54-8BEE-BDEC-2D95-AE027880EFE0}"/>
          </ac:spMkLst>
        </pc:spChg>
        <pc:spChg chg="add del mod">
          <ac:chgData name="Steiner Andreas 6206 ED" userId="e6377c33-a923-4f14-8587-531c474c7b48" providerId="ADAL" clId="{6ECD27E6-B224-41CD-B4E0-E297462320DD}" dt="2023-11-24T09:02:36.723" v="114489"/>
          <ac:spMkLst>
            <pc:docMk/>
            <pc:sldMk cId="1396980745" sldId="687"/>
            <ac:spMk id="742" creationId="{F13F9753-972A-33C3-245A-FD9FDF11F751}"/>
          </ac:spMkLst>
        </pc:spChg>
        <pc:spChg chg="add del mod">
          <ac:chgData name="Steiner Andreas 6206 ED" userId="e6377c33-a923-4f14-8587-531c474c7b48" providerId="ADAL" clId="{6ECD27E6-B224-41CD-B4E0-E297462320DD}" dt="2023-11-24T11:31:22.516" v="114644"/>
          <ac:spMkLst>
            <pc:docMk/>
            <pc:sldMk cId="1396980745" sldId="687"/>
            <ac:spMk id="743" creationId="{75D95A45-1ED6-F44A-5354-4A8D94DB868A}"/>
          </ac:spMkLst>
        </pc:spChg>
        <pc:spChg chg="add del mod">
          <ac:chgData name="Steiner Andreas 6206 ED" userId="e6377c33-a923-4f14-8587-531c474c7b48" providerId="ADAL" clId="{6ECD27E6-B224-41CD-B4E0-E297462320DD}" dt="2023-11-24T11:33:29.837" v="114799"/>
          <ac:spMkLst>
            <pc:docMk/>
            <pc:sldMk cId="1396980745" sldId="687"/>
            <ac:spMk id="744" creationId="{93E344C4-AD47-6930-91BD-A28671E03BDF}"/>
          </ac:spMkLst>
        </pc:spChg>
        <pc:spChg chg="add del mod">
          <ac:chgData name="Steiner Andreas 6206 ED" userId="e6377c33-a923-4f14-8587-531c474c7b48" providerId="ADAL" clId="{6ECD27E6-B224-41CD-B4E0-E297462320DD}" dt="2023-11-24T11:33:36.328" v="114954"/>
          <ac:spMkLst>
            <pc:docMk/>
            <pc:sldMk cId="1396980745" sldId="687"/>
            <ac:spMk id="745" creationId="{7649B631-4754-C540-6469-671E1AB146EC}"/>
          </ac:spMkLst>
        </pc:spChg>
        <pc:spChg chg="add del mod">
          <ac:chgData name="Steiner Andreas 6206 ED" userId="e6377c33-a923-4f14-8587-531c474c7b48" providerId="ADAL" clId="{6ECD27E6-B224-41CD-B4E0-E297462320DD}" dt="2023-11-24T11:33:39.430" v="115109"/>
          <ac:spMkLst>
            <pc:docMk/>
            <pc:sldMk cId="1396980745" sldId="687"/>
            <ac:spMk id="746" creationId="{1BCEB015-DD9E-EA62-854E-5D390C5BE8D6}"/>
          </ac:spMkLst>
        </pc:spChg>
        <pc:spChg chg="add del mod">
          <ac:chgData name="Steiner Andreas 6206 ED" userId="e6377c33-a923-4f14-8587-531c474c7b48" providerId="ADAL" clId="{6ECD27E6-B224-41CD-B4E0-E297462320DD}" dt="2023-11-24T11:33:43.003" v="115264"/>
          <ac:spMkLst>
            <pc:docMk/>
            <pc:sldMk cId="1396980745" sldId="687"/>
            <ac:spMk id="747" creationId="{D85AF054-5506-4880-7B9A-3948FF20E78F}"/>
          </ac:spMkLst>
        </pc:spChg>
        <pc:spChg chg="add del mod">
          <ac:chgData name="Steiner Andreas 6206 ED" userId="e6377c33-a923-4f14-8587-531c474c7b48" providerId="ADAL" clId="{6ECD27E6-B224-41CD-B4E0-E297462320DD}" dt="2023-11-24T11:33:46.197" v="115419"/>
          <ac:spMkLst>
            <pc:docMk/>
            <pc:sldMk cId="1396980745" sldId="687"/>
            <ac:spMk id="748" creationId="{517FA99F-5908-218E-1889-5D6444B80ED3}"/>
          </ac:spMkLst>
        </pc:spChg>
        <pc:spChg chg="add del mod">
          <ac:chgData name="Steiner Andreas 6206 ED" userId="e6377c33-a923-4f14-8587-531c474c7b48" providerId="ADAL" clId="{6ECD27E6-B224-41CD-B4E0-E297462320DD}" dt="2023-11-24T11:33:49.301" v="115574"/>
          <ac:spMkLst>
            <pc:docMk/>
            <pc:sldMk cId="1396980745" sldId="687"/>
            <ac:spMk id="749" creationId="{15DE7B0F-1385-E565-630F-BF2BE1447AE0}"/>
          </ac:spMkLst>
        </pc:spChg>
        <pc:spChg chg="add del mod">
          <ac:chgData name="Steiner Andreas 6206 ED" userId="e6377c33-a923-4f14-8587-531c474c7b48" providerId="ADAL" clId="{6ECD27E6-B224-41CD-B4E0-E297462320DD}" dt="2023-11-24T11:33:51.982" v="115729"/>
          <ac:spMkLst>
            <pc:docMk/>
            <pc:sldMk cId="1396980745" sldId="687"/>
            <ac:spMk id="750" creationId="{5E600AF5-FB15-BFED-FFB0-5249401ED0C4}"/>
          </ac:spMkLst>
        </pc:spChg>
        <pc:spChg chg="add del mod">
          <ac:chgData name="Steiner Andreas 6206 ED" userId="e6377c33-a923-4f14-8587-531c474c7b48" providerId="ADAL" clId="{6ECD27E6-B224-41CD-B4E0-E297462320DD}" dt="2023-11-24T11:33:54.827" v="115884"/>
          <ac:spMkLst>
            <pc:docMk/>
            <pc:sldMk cId="1396980745" sldId="687"/>
            <ac:spMk id="751" creationId="{11CB4524-EE60-569A-2FA3-FB93FC58B690}"/>
          </ac:spMkLst>
        </pc:spChg>
        <pc:spChg chg="add del mod">
          <ac:chgData name="Steiner Andreas 6206 ED" userId="e6377c33-a923-4f14-8587-531c474c7b48" providerId="ADAL" clId="{6ECD27E6-B224-41CD-B4E0-E297462320DD}" dt="2023-11-24T11:33:57.330" v="116039"/>
          <ac:spMkLst>
            <pc:docMk/>
            <pc:sldMk cId="1396980745" sldId="687"/>
            <ac:spMk id="752" creationId="{4E4F46A4-2442-1D82-3458-D042D2DA2E17}"/>
          </ac:spMkLst>
        </pc:spChg>
        <pc:spChg chg="add del mod">
          <ac:chgData name="Steiner Andreas 6206 ED" userId="e6377c33-a923-4f14-8587-531c474c7b48" providerId="ADAL" clId="{6ECD27E6-B224-41CD-B4E0-E297462320DD}" dt="2023-11-24T11:33:59.667" v="116194"/>
          <ac:spMkLst>
            <pc:docMk/>
            <pc:sldMk cId="1396980745" sldId="687"/>
            <ac:spMk id="753" creationId="{6BC97DE9-D881-2D40-AE73-4E911E1A06A9}"/>
          </ac:spMkLst>
        </pc:spChg>
        <pc:spChg chg="add del mod">
          <ac:chgData name="Steiner Andreas 6206 ED" userId="e6377c33-a923-4f14-8587-531c474c7b48" providerId="ADAL" clId="{6ECD27E6-B224-41CD-B4E0-E297462320DD}" dt="2023-11-24T11:34:02.036" v="116349"/>
          <ac:spMkLst>
            <pc:docMk/>
            <pc:sldMk cId="1396980745" sldId="687"/>
            <ac:spMk id="754" creationId="{8946E6A7-9572-E488-3B63-9E0FAAC3BA20}"/>
          </ac:spMkLst>
        </pc:spChg>
        <pc:spChg chg="add del mod">
          <ac:chgData name="Steiner Andreas 6206 ED" userId="e6377c33-a923-4f14-8587-531c474c7b48" providerId="ADAL" clId="{6ECD27E6-B224-41CD-B4E0-E297462320DD}" dt="2023-11-24T11:34:04.346" v="116504"/>
          <ac:spMkLst>
            <pc:docMk/>
            <pc:sldMk cId="1396980745" sldId="687"/>
            <ac:spMk id="755" creationId="{F6679D62-FB1B-05A0-8A9C-2E6F3ED7A453}"/>
          </ac:spMkLst>
        </pc:spChg>
        <pc:spChg chg="add del mod">
          <ac:chgData name="Steiner Andreas 6206 ED" userId="e6377c33-a923-4f14-8587-531c474c7b48" providerId="ADAL" clId="{6ECD27E6-B224-41CD-B4E0-E297462320DD}" dt="2023-11-24T11:34:06.832" v="116659"/>
          <ac:spMkLst>
            <pc:docMk/>
            <pc:sldMk cId="1396980745" sldId="687"/>
            <ac:spMk id="756" creationId="{64E402FC-5DF9-779C-965D-2C3579DCB182}"/>
          </ac:spMkLst>
        </pc:spChg>
        <pc:spChg chg="add del mod">
          <ac:chgData name="Steiner Andreas 6206 ED" userId="e6377c33-a923-4f14-8587-531c474c7b48" providerId="ADAL" clId="{6ECD27E6-B224-41CD-B4E0-E297462320DD}" dt="2023-11-24T11:34:09.442" v="116814"/>
          <ac:spMkLst>
            <pc:docMk/>
            <pc:sldMk cId="1396980745" sldId="687"/>
            <ac:spMk id="757" creationId="{812378F2-A0B2-BDA1-30CD-302392C4AAC6}"/>
          </ac:spMkLst>
        </pc:spChg>
        <pc:spChg chg="add del mod">
          <ac:chgData name="Steiner Andreas 6206 ED" userId="e6377c33-a923-4f14-8587-531c474c7b48" providerId="ADAL" clId="{6ECD27E6-B224-41CD-B4E0-E297462320DD}" dt="2023-11-24T11:34:11.415" v="116969"/>
          <ac:spMkLst>
            <pc:docMk/>
            <pc:sldMk cId="1396980745" sldId="687"/>
            <ac:spMk id="758" creationId="{503C2B6B-F7C8-DC69-9E77-23F3D583ACFC}"/>
          </ac:spMkLst>
        </pc:spChg>
        <pc:spChg chg="add del mod">
          <ac:chgData name="Steiner Andreas 6206 ED" userId="e6377c33-a923-4f14-8587-531c474c7b48" providerId="ADAL" clId="{6ECD27E6-B224-41CD-B4E0-E297462320DD}" dt="2023-11-24T11:34:13.179" v="117124"/>
          <ac:spMkLst>
            <pc:docMk/>
            <pc:sldMk cId="1396980745" sldId="687"/>
            <ac:spMk id="759" creationId="{B5480EA2-74F7-3DE1-E361-4B5435417068}"/>
          </ac:spMkLst>
        </pc:spChg>
        <pc:spChg chg="add del mod">
          <ac:chgData name="Steiner Andreas 6206 ED" userId="e6377c33-a923-4f14-8587-531c474c7b48" providerId="ADAL" clId="{6ECD27E6-B224-41CD-B4E0-E297462320DD}" dt="2023-11-24T11:34:14.970" v="117279"/>
          <ac:spMkLst>
            <pc:docMk/>
            <pc:sldMk cId="1396980745" sldId="687"/>
            <ac:spMk id="760" creationId="{AB193537-E99F-75A3-2690-F02BD40AF0FB}"/>
          </ac:spMkLst>
        </pc:spChg>
        <pc:spChg chg="add del mod">
          <ac:chgData name="Steiner Andreas 6206 ED" userId="e6377c33-a923-4f14-8587-531c474c7b48" providerId="ADAL" clId="{6ECD27E6-B224-41CD-B4E0-E297462320DD}" dt="2023-11-24T11:34:16.753" v="117434"/>
          <ac:spMkLst>
            <pc:docMk/>
            <pc:sldMk cId="1396980745" sldId="687"/>
            <ac:spMk id="761" creationId="{AC4C70AA-71AB-FD66-E522-B1D349CED297}"/>
          </ac:spMkLst>
        </pc:spChg>
        <pc:spChg chg="add del mod">
          <ac:chgData name="Steiner Andreas 6206 ED" userId="e6377c33-a923-4f14-8587-531c474c7b48" providerId="ADAL" clId="{6ECD27E6-B224-41CD-B4E0-E297462320DD}" dt="2023-11-24T11:34:18.581" v="117589"/>
          <ac:spMkLst>
            <pc:docMk/>
            <pc:sldMk cId="1396980745" sldId="687"/>
            <ac:spMk id="762" creationId="{4FC60E40-AEB2-3FB2-A842-A3FE8D8E07AB}"/>
          </ac:spMkLst>
        </pc:spChg>
        <pc:spChg chg="add del mod">
          <ac:chgData name="Steiner Andreas 6206 ED" userId="e6377c33-a923-4f14-8587-531c474c7b48" providerId="ADAL" clId="{6ECD27E6-B224-41CD-B4E0-E297462320DD}" dt="2023-11-24T11:34:20.680" v="117744"/>
          <ac:spMkLst>
            <pc:docMk/>
            <pc:sldMk cId="1396980745" sldId="687"/>
            <ac:spMk id="763" creationId="{32863F84-91FC-74ED-B6B0-641903510290}"/>
          </ac:spMkLst>
        </pc:spChg>
        <pc:spChg chg="add del mod">
          <ac:chgData name="Steiner Andreas 6206 ED" userId="e6377c33-a923-4f14-8587-531c474c7b48" providerId="ADAL" clId="{6ECD27E6-B224-41CD-B4E0-E297462320DD}" dt="2023-11-24T11:34:22.595" v="117899"/>
          <ac:spMkLst>
            <pc:docMk/>
            <pc:sldMk cId="1396980745" sldId="687"/>
            <ac:spMk id="764" creationId="{B0A4262A-033B-FDB2-F21C-D5EA18B0A9E4}"/>
          </ac:spMkLst>
        </pc:spChg>
        <pc:spChg chg="add del mod">
          <ac:chgData name="Steiner Andreas 6206 ED" userId="e6377c33-a923-4f14-8587-531c474c7b48" providerId="ADAL" clId="{6ECD27E6-B224-41CD-B4E0-E297462320DD}" dt="2023-11-24T11:34:24.708" v="118054"/>
          <ac:spMkLst>
            <pc:docMk/>
            <pc:sldMk cId="1396980745" sldId="687"/>
            <ac:spMk id="765" creationId="{A5EA9492-EDC6-7EB8-F89A-7233FD5F14E3}"/>
          </ac:spMkLst>
        </pc:spChg>
        <pc:spChg chg="add del mod">
          <ac:chgData name="Steiner Andreas 6206 ED" userId="e6377c33-a923-4f14-8587-531c474c7b48" providerId="ADAL" clId="{6ECD27E6-B224-41CD-B4E0-E297462320DD}" dt="2023-11-24T11:34:27.247" v="118209"/>
          <ac:spMkLst>
            <pc:docMk/>
            <pc:sldMk cId="1396980745" sldId="687"/>
            <ac:spMk id="766" creationId="{1B315FD3-3AC4-541C-50CC-5C135DC30E15}"/>
          </ac:spMkLst>
        </pc:spChg>
        <pc:spChg chg="add del mod">
          <ac:chgData name="Steiner Andreas 6206 ED" userId="e6377c33-a923-4f14-8587-531c474c7b48" providerId="ADAL" clId="{6ECD27E6-B224-41CD-B4E0-E297462320DD}" dt="2023-11-24T11:34:29.327" v="118364"/>
          <ac:spMkLst>
            <pc:docMk/>
            <pc:sldMk cId="1396980745" sldId="687"/>
            <ac:spMk id="767" creationId="{96DC70F2-FD0A-DA3C-C13C-10516AEE3FE2}"/>
          </ac:spMkLst>
        </pc:spChg>
        <pc:spChg chg="add del mod">
          <ac:chgData name="Steiner Andreas 6206 ED" userId="e6377c33-a923-4f14-8587-531c474c7b48" providerId="ADAL" clId="{6ECD27E6-B224-41CD-B4E0-E297462320DD}" dt="2023-11-24T11:34:31.594" v="118519"/>
          <ac:spMkLst>
            <pc:docMk/>
            <pc:sldMk cId="1396980745" sldId="687"/>
            <ac:spMk id="768" creationId="{3AEDF80A-EBBA-0A6C-3AF8-B3BBD8D3F11A}"/>
          </ac:spMkLst>
        </pc:spChg>
        <pc:spChg chg="add del mod">
          <ac:chgData name="Steiner Andreas 6206 ED" userId="e6377c33-a923-4f14-8587-531c474c7b48" providerId="ADAL" clId="{6ECD27E6-B224-41CD-B4E0-E297462320DD}" dt="2023-11-24T11:34:33.576" v="118674"/>
          <ac:spMkLst>
            <pc:docMk/>
            <pc:sldMk cId="1396980745" sldId="687"/>
            <ac:spMk id="769" creationId="{EAB6B426-1803-556E-D90C-E22A08674DD4}"/>
          </ac:spMkLst>
        </pc:spChg>
        <pc:spChg chg="add del mod">
          <ac:chgData name="Steiner Andreas 6206 ED" userId="e6377c33-a923-4f14-8587-531c474c7b48" providerId="ADAL" clId="{6ECD27E6-B224-41CD-B4E0-E297462320DD}" dt="2023-11-24T11:34:35.553" v="118829"/>
          <ac:spMkLst>
            <pc:docMk/>
            <pc:sldMk cId="1396980745" sldId="687"/>
            <ac:spMk id="770" creationId="{2B3458E1-9EA6-9316-A7F1-A96C632E9EB0}"/>
          </ac:spMkLst>
        </pc:spChg>
        <pc:spChg chg="add del mod">
          <ac:chgData name="Steiner Andreas 6206 ED" userId="e6377c33-a923-4f14-8587-531c474c7b48" providerId="ADAL" clId="{6ECD27E6-B224-41CD-B4E0-E297462320DD}" dt="2023-11-24T11:34:37.657" v="118984"/>
          <ac:spMkLst>
            <pc:docMk/>
            <pc:sldMk cId="1396980745" sldId="687"/>
            <ac:spMk id="771" creationId="{69130BE5-E8B3-E47E-763E-4C2703FF4E0B}"/>
          </ac:spMkLst>
        </pc:spChg>
        <pc:spChg chg="add del mod">
          <ac:chgData name="Steiner Andreas 6206 ED" userId="e6377c33-a923-4f14-8587-531c474c7b48" providerId="ADAL" clId="{6ECD27E6-B224-41CD-B4E0-E297462320DD}" dt="2023-11-24T11:34:39.595" v="119139"/>
          <ac:spMkLst>
            <pc:docMk/>
            <pc:sldMk cId="1396980745" sldId="687"/>
            <ac:spMk id="772" creationId="{4E68C7C2-2753-0070-9151-B5B06120448B}"/>
          </ac:spMkLst>
        </pc:spChg>
        <pc:spChg chg="add del mod">
          <ac:chgData name="Steiner Andreas 6206 ED" userId="e6377c33-a923-4f14-8587-531c474c7b48" providerId="ADAL" clId="{6ECD27E6-B224-41CD-B4E0-E297462320DD}" dt="2023-11-24T11:34:41.731" v="119294"/>
          <ac:spMkLst>
            <pc:docMk/>
            <pc:sldMk cId="1396980745" sldId="687"/>
            <ac:spMk id="773" creationId="{03033746-67E3-7B5C-D551-24E6C9876743}"/>
          </ac:spMkLst>
        </pc:spChg>
        <pc:spChg chg="add del mod">
          <ac:chgData name="Steiner Andreas 6206 ED" userId="e6377c33-a923-4f14-8587-531c474c7b48" providerId="ADAL" clId="{6ECD27E6-B224-41CD-B4E0-E297462320DD}" dt="2023-11-24T11:34:43.923" v="119449"/>
          <ac:spMkLst>
            <pc:docMk/>
            <pc:sldMk cId="1396980745" sldId="687"/>
            <ac:spMk id="774" creationId="{444DAAE1-3075-B34E-7F0D-9DC7FA10F8D5}"/>
          </ac:spMkLst>
        </pc:spChg>
        <pc:spChg chg="add del mod">
          <ac:chgData name="Steiner Andreas 6206 ED" userId="e6377c33-a923-4f14-8587-531c474c7b48" providerId="ADAL" clId="{6ECD27E6-B224-41CD-B4E0-E297462320DD}" dt="2023-11-24T11:34:45.928" v="119604"/>
          <ac:spMkLst>
            <pc:docMk/>
            <pc:sldMk cId="1396980745" sldId="687"/>
            <ac:spMk id="775" creationId="{EC4AF8AB-F335-8272-AEE6-B0DBD8FD143E}"/>
          </ac:spMkLst>
        </pc:spChg>
        <pc:spChg chg="add del mod">
          <ac:chgData name="Steiner Andreas 6206 ED" userId="e6377c33-a923-4f14-8587-531c474c7b48" providerId="ADAL" clId="{6ECD27E6-B224-41CD-B4E0-E297462320DD}" dt="2023-11-24T11:34:47.855" v="119759"/>
          <ac:spMkLst>
            <pc:docMk/>
            <pc:sldMk cId="1396980745" sldId="687"/>
            <ac:spMk id="776" creationId="{FD7C93DA-B98C-5AED-79DA-2C822004BF9A}"/>
          </ac:spMkLst>
        </pc:spChg>
        <pc:spChg chg="add del mod">
          <ac:chgData name="Steiner Andreas 6206 ED" userId="e6377c33-a923-4f14-8587-531c474c7b48" providerId="ADAL" clId="{6ECD27E6-B224-41CD-B4E0-E297462320DD}" dt="2023-11-24T11:34:50.028" v="119914"/>
          <ac:spMkLst>
            <pc:docMk/>
            <pc:sldMk cId="1396980745" sldId="687"/>
            <ac:spMk id="777" creationId="{64C88F33-183B-530A-BEF7-7702965555AD}"/>
          </ac:spMkLst>
        </pc:spChg>
        <pc:spChg chg="add del mod">
          <ac:chgData name="Steiner Andreas 6206 ED" userId="e6377c33-a923-4f14-8587-531c474c7b48" providerId="ADAL" clId="{6ECD27E6-B224-41CD-B4E0-E297462320DD}" dt="2023-11-24T11:34:52.115" v="120069"/>
          <ac:spMkLst>
            <pc:docMk/>
            <pc:sldMk cId="1396980745" sldId="687"/>
            <ac:spMk id="778" creationId="{D95DA8C7-0AF5-9FBF-FBB4-6402067534B5}"/>
          </ac:spMkLst>
        </pc:spChg>
        <pc:spChg chg="add del mod">
          <ac:chgData name="Steiner Andreas 6206 ED" userId="e6377c33-a923-4f14-8587-531c474c7b48" providerId="ADAL" clId="{6ECD27E6-B224-41CD-B4E0-E297462320DD}" dt="2023-11-24T11:34:54.087" v="120224"/>
          <ac:spMkLst>
            <pc:docMk/>
            <pc:sldMk cId="1396980745" sldId="687"/>
            <ac:spMk id="779" creationId="{8F2F42D9-16D8-D255-E79E-966D1AFACED2}"/>
          </ac:spMkLst>
        </pc:spChg>
        <pc:spChg chg="add del mod">
          <ac:chgData name="Steiner Andreas 6206 ED" userId="e6377c33-a923-4f14-8587-531c474c7b48" providerId="ADAL" clId="{6ECD27E6-B224-41CD-B4E0-E297462320DD}" dt="2023-11-24T11:34:55.953" v="120379"/>
          <ac:spMkLst>
            <pc:docMk/>
            <pc:sldMk cId="1396980745" sldId="687"/>
            <ac:spMk id="780" creationId="{0A0D898C-05B2-5391-2F48-97D1D7234C25}"/>
          </ac:spMkLst>
        </pc:spChg>
        <pc:spChg chg="add del mod">
          <ac:chgData name="Steiner Andreas 6206 ED" userId="e6377c33-a923-4f14-8587-531c474c7b48" providerId="ADAL" clId="{6ECD27E6-B224-41CD-B4E0-E297462320DD}" dt="2023-11-24T11:34:57.784" v="120534"/>
          <ac:spMkLst>
            <pc:docMk/>
            <pc:sldMk cId="1396980745" sldId="687"/>
            <ac:spMk id="781" creationId="{1BE49438-1F65-89A5-FC6E-6A6EE18EE3B2}"/>
          </ac:spMkLst>
        </pc:spChg>
        <pc:spChg chg="add del mod">
          <ac:chgData name="Steiner Andreas 6206 ED" userId="e6377c33-a923-4f14-8587-531c474c7b48" providerId="ADAL" clId="{6ECD27E6-B224-41CD-B4E0-E297462320DD}" dt="2023-11-24T11:34:59.659" v="120689"/>
          <ac:spMkLst>
            <pc:docMk/>
            <pc:sldMk cId="1396980745" sldId="687"/>
            <ac:spMk id="782" creationId="{A2D53861-E1E8-72CA-926C-811E1C65249B}"/>
          </ac:spMkLst>
        </pc:spChg>
        <pc:spChg chg="add del mod">
          <ac:chgData name="Steiner Andreas 6206 ED" userId="e6377c33-a923-4f14-8587-531c474c7b48" providerId="ADAL" clId="{6ECD27E6-B224-41CD-B4E0-E297462320DD}" dt="2023-11-24T11:35:01.499" v="120844"/>
          <ac:spMkLst>
            <pc:docMk/>
            <pc:sldMk cId="1396980745" sldId="687"/>
            <ac:spMk id="783" creationId="{2D9F6170-3D9E-05FC-165E-1E4A7A1874EA}"/>
          </ac:spMkLst>
        </pc:spChg>
        <pc:spChg chg="add del mod">
          <ac:chgData name="Steiner Andreas 6206 ED" userId="e6377c33-a923-4f14-8587-531c474c7b48" providerId="ADAL" clId="{6ECD27E6-B224-41CD-B4E0-E297462320DD}" dt="2023-11-24T11:35:03.365" v="120999"/>
          <ac:spMkLst>
            <pc:docMk/>
            <pc:sldMk cId="1396980745" sldId="687"/>
            <ac:spMk id="784" creationId="{E6406736-8D0F-720B-A712-472F55E03538}"/>
          </ac:spMkLst>
        </pc:spChg>
        <pc:spChg chg="add del mod">
          <ac:chgData name="Steiner Andreas 6206 ED" userId="e6377c33-a923-4f14-8587-531c474c7b48" providerId="ADAL" clId="{6ECD27E6-B224-41CD-B4E0-E297462320DD}" dt="2023-11-24T11:35:05.267" v="121154"/>
          <ac:spMkLst>
            <pc:docMk/>
            <pc:sldMk cId="1396980745" sldId="687"/>
            <ac:spMk id="785" creationId="{08A66F56-A400-22F0-0B49-6EDD6C80437D}"/>
          </ac:spMkLst>
        </pc:spChg>
        <pc:spChg chg="add del mod">
          <ac:chgData name="Steiner Andreas 6206 ED" userId="e6377c33-a923-4f14-8587-531c474c7b48" providerId="ADAL" clId="{6ECD27E6-B224-41CD-B4E0-E297462320DD}" dt="2023-11-24T11:35:07.377" v="121309"/>
          <ac:spMkLst>
            <pc:docMk/>
            <pc:sldMk cId="1396980745" sldId="687"/>
            <ac:spMk id="786" creationId="{1E962E58-86F2-4400-AA5D-71D77022C331}"/>
          </ac:spMkLst>
        </pc:spChg>
        <pc:spChg chg="add del mod">
          <ac:chgData name="Steiner Andreas 6206 ED" userId="e6377c33-a923-4f14-8587-531c474c7b48" providerId="ADAL" clId="{6ECD27E6-B224-41CD-B4E0-E297462320DD}" dt="2023-11-24T11:35:09.413" v="121464"/>
          <ac:spMkLst>
            <pc:docMk/>
            <pc:sldMk cId="1396980745" sldId="687"/>
            <ac:spMk id="787" creationId="{0F653F59-DFCA-C7DF-9D45-78F163753A32}"/>
          </ac:spMkLst>
        </pc:spChg>
        <pc:spChg chg="add del mod">
          <ac:chgData name="Steiner Andreas 6206 ED" userId="e6377c33-a923-4f14-8587-531c474c7b48" providerId="ADAL" clId="{6ECD27E6-B224-41CD-B4E0-E297462320DD}" dt="2023-11-24T11:35:11.382" v="121619"/>
          <ac:spMkLst>
            <pc:docMk/>
            <pc:sldMk cId="1396980745" sldId="687"/>
            <ac:spMk id="788" creationId="{DB1EDCD2-C00C-2F41-83D8-605B80B1B4AE}"/>
          </ac:spMkLst>
        </pc:spChg>
        <pc:spChg chg="add del mod">
          <ac:chgData name="Steiner Andreas 6206 ED" userId="e6377c33-a923-4f14-8587-531c474c7b48" providerId="ADAL" clId="{6ECD27E6-B224-41CD-B4E0-E297462320DD}" dt="2023-11-24T11:35:13.125" v="121774"/>
          <ac:spMkLst>
            <pc:docMk/>
            <pc:sldMk cId="1396980745" sldId="687"/>
            <ac:spMk id="789" creationId="{04D809E0-2ADE-506D-78A3-FDF60DFA60EE}"/>
          </ac:spMkLst>
        </pc:spChg>
        <pc:spChg chg="add del mod">
          <ac:chgData name="Steiner Andreas 6206 ED" userId="e6377c33-a923-4f14-8587-531c474c7b48" providerId="ADAL" clId="{6ECD27E6-B224-41CD-B4E0-E297462320DD}" dt="2023-11-24T11:35:15.069" v="121929"/>
          <ac:spMkLst>
            <pc:docMk/>
            <pc:sldMk cId="1396980745" sldId="687"/>
            <ac:spMk id="790" creationId="{97431553-A78C-BE68-3EAD-54855E669832}"/>
          </ac:spMkLst>
        </pc:spChg>
        <pc:spChg chg="add del mod">
          <ac:chgData name="Steiner Andreas 6206 ED" userId="e6377c33-a923-4f14-8587-531c474c7b48" providerId="ADAL" clId="{6ECD27E6-B224-41CD-B4E0-E297462320DD}" dt="2023-11-24T11:35:16.749" v="122084"/>
          <ac:spMkLst>
            <pc:docMk/>
            <pc:sldMk cId="1396980745" sldId="687"/>
            <ac:spMk id="791" creationId="{D2C2DDA0-9C3E-295E-950C-81F5791251C0}"/>
          </ac:spMkLst>
        </pc:spChg>
        <pc:spChg chg="add del mod">
          <ac:chgData name="Steiner Andreas 6206 ED" userId="e6377c33-a923-4f14-8587-531c474c7b48" providerId="ADAL" clId="{6ECD27E6-B224-41CD-B4E0-E297462320DD}" dt="2023-11-24T11:35:18.458" v="122239"/>
          <ac:spMkLst>
            <pc:docMk/>
            <pc:sldMk cId="1396980745" sldId="687"/>
            <ac:spMk id="792" creationId="{272799BD-1B98-4702-6E82-6FEDA4C8ED8B}"/>
          </ac:spMkLst>
        </pc:spChg>
        <pc:spChg chg="add del mod">
          <ac:chgData name="Steiner Andreas 6206 ED" userId="e6377c33-a923-4f14-8587-531c474c7b48" providerId="ADAL" clId="{6ECD27E6-B224-41CD-B4E0-E297462320DD}" dt="2023-11-24T11:35:20.082" v="122394"/>
          <ac:spMkLst>
            <pc:docMk/>
            <pc:sldMk cId="1396980745" sldId="687"/>
            <ac:spMk id="793" creationId="{ECA2AFCC-5939-FDED-7F19-FAFF1748F4BB}"/>
          </ac:spMkLst>
        </pc:spChg>
        <pc:spChg chg="add del mod">
          <ac:chgData name="Steiner Andreas 6206 ED" userId="e6377c33-a923-4f14-8587-531c474c7b48" providerId="ADAL" clId="{6ECD27E6-B224-41CD-B4E0-E297462320DD}" dt="2023-11-24T11:35:21.711" v="122549"/>
          <ac:spMkLst>
            <pc:docMk/>
            <pc:sldMk cId="1396980745" sldId="687"/>
            <ac:spMk id="794" creationId="{819B3DFD-02C5-50A4-EE70-91118E03923F}"/>
          </ac:spMkLst>
        </pc:spChg>
        <pc:spChg chg="add del mod">
          <ac:chgData name="Steiner Andreas 6206 ED" userId="e6377c33-a923-4f14-8587-531c474c7b48" providerId="ADAL" clId="{6ECD27E6-B224-41CD-B4E0-E297462320DD}" dt="2023-11-24T11:35:23.417" v="122704"/>
          <ac:spMkLst>
            <pc:docMk/>
            <pc:sldMk cId="1396980745" sldId="687"/>
            <ac:spMk id="795" creationId="{08E1F63E-EE42-FF85-0AF3-1B9102C673F6}"/>
          </ac:spMkLst>
        </pc:spChg>
        <pc:spChg chg="add del mod">
          <ac:chgData name="Steiner Andreas 6206 ED" userId="e6377c33-a923-4f14-8587-531c474c7b48" providerId="ADAL" clId="{6ECD27E6-B224-41CD-B4E0-E297462320DD}" dt="2023-11-24T11:35:25.457" v="122859"/>
          <ac:spMkLst>
            <pc:docMk/>
            <pc:sldMk cId="1396980745" sldId="687"/>
            <ac:spMk id="796" creationId="{AE9AFBB1-92B7-DB93-9164-0834ABAC3BF2}"/>
          </ac:spMkLst>
        </pc:spChg>
        <pc:spChg chg="add del mod">
          <ac:chgData name="Steiner Andreas 6206 ED" userId="e6377c33-a923-4f14-8587-531c474c7b48" providerId="ADAL" clId="{6ECD27E6-B224-41CD-B4E0-E297462320DD}" dt="2023-11-24T11:35:27.474" v="123014"/>
          <ac:spMkLst>
            <pc:docMk/>
            <pc:sldMk cId="1396980745" sldId="687"/>
            <ac:spMk id="797" creationId="{850A1C0A-DE51-1679-1624-A240EA93972D}"/>
          </ac:spMkLst>
        </pc:spChg>
        <pc:spChg chg="add del mod">
          <ac:chgData name="Steiner Andreas 6206 ED" userId="e6377c33-a923-4f14-8587-531c474c7b48" providerId="ADAL" clId="{6ECD27E6-B224-41CD-B4E0-E297462320DD}" dt="2023-11-24T11:35:29.353" v="123169"/>
          <ac:spMkLst>
            <pc:docMk/>
            <pc:sldMk cId="1396980745" sldId="687"/>
            <ac:spMk id="798" creationId="{9EC68005-0F52-7DAE-7A1C-FAEE5B558E4B}"/>
          </ac:spMkLst>
        </pc:spChg>
        <pc:spChg chg="add del mod">
          <ac:chgData name="Steiner Andreas 6206 ED" userId="e6377c33-a923-4f14-8587-531c474c7b48" providerId="ADAL" clId="{6ECD27E6-B224-41CD-B4E0-E297462320DD}" dt="2023-11-24T11:35:31.096" v="123324"/>
          <ac:spMkLst>
            <pc:docMk/>
            <pc:sldMk cId="1396980745" sldId="687"/>
            <ac:spMk id="799" creationId="{84294D9E-3515-7366-3C16-E99A98772E57}"/>
          </ac:spMkLst>
        </pc:spChg>
        <pc:spChg chg="add del mod">
          <ac:chgData name="Steiner Andreas 6206 ED" userId="e6377c33-a923-4f14-8587-531c474c7b48" providerId="ADAL" clId="{6ECD27E6-B224-41CD-B4E0-E297462320DD}" dt="2023-11-24T11:35:34.019" v="123479"/>
          <ac:spMkLst>
            <pc:docMk/>
            <pc:sldMk cId="1396980745" sldId="687"/>
            <ac:spMk id="800" creationId="{A473A752-537B-3F2A-4C45-C080BC3EE1EC}"/>
          </ac:spMkLst>
        </pc:spChg>
        <pc:spChg chg="add del mod">
          <ac:chgData name="Steiner Andreas 6206 ED" userId="e6377c33-a923-4f14-8587-531c474c7b48" providerId="ADAL" clId="{6ECD27E6-B224-41CD-B4E0-E297462320DD}" dt="2023-11-24T11:35:35.831" v="123634"/>
          <ac:spMkLst>
            <pc:docMk/>
            <pc:sldMk cId="1396980745" sldId="687"/>
            <ac:spMk id="801" creationId="{C2AEE0D1-24A1-A75B-2254-ACC0699EEDEE}"/>
          </ac:spMkLst>
        </pc:spChg>
        <pc:spChg chg="add del mod">
          <ac:chgData name="Steiner Andreas 6206 ED" userId="e6377c33-a923-4f14-8587-531c474c7b48" providerId="ADAL" clId="{6ECD27E6-B224-41CD-B4E0-E297462320DD}" dt="2023-11-24T11:35:37.509" v="123789"/>
          <ac:spMkLst>
            <pc:docMk/>
            <pc:sldMk cId="1396980745" sldId="687"/>
            <ac:spMk id="802" creationId="{16585965-5BE9-0A65-FE4B-2610CE237DE1}"/>
          </ac:spMkLst>
        </pc:spChg>
        <pc:spChg chg="add del mod">
          <ac:chgData name="Steiner Andreas 6206 ED" userId="e6377c33-a923-4f14-8587-531c474c7b48" providerId="ADAL" clId="{6ECD27E6-B224-41CD-B4E0-E297462320DD}" dt="2023-11-24T11:35:39.152" v="123944"/>
          <ac:spMkLst>
            <pc:docMk/>
            <pc:sldMk cId="1396980745" sldId="687"/>
            <ac:spMk id="803" creationId="{6E9E80D8-8D80-BDB1-640C-29662902839E}"/>
          </ac:spMkLst>
        </pc:spChg>
        <pc:spChg chg="add del mod">
          <ac:chgData name="Steiner Andreas 6206 ED" userId="e6377c33-a923-4f14-8587-531c474c7b48" providerId="ADAL" clId="{6ECD27E6-B224-41CD-B4E0-E297462320DD}" dt="2023-11-24T11:35:40.864" v="124099"/>
          <ac:spMkLst>
            <pc:docMk/>
            <pc:sldMk cId="1396980745" sldId="687"/>
            <ac:spMk id="804" creationId="{C88909CD-ADC9-15E5-2BDB-1A5E7BB663ED}"/>
          </ac:spMkLst>
        </pc:spChg>
        <pc:spChg chg="add del mod">
          <ac:chgData name="Steiner Andreas 6206 ED" userId="e6377c33-a923-4f14-8587-531c474c7b48" providerId="ADAL" clId="{6ECD27E6-B224-41CD-B4E0-E297462320DD}" dt="2023-11-24T11:35:42.455" v="124254"/>
          <ac:spMkLst>
            <pc:docMk/>
            <pc:sldMk cId="1396980745" sldId="687"/>
            <ac:spMk id="805" creationId="{DD850497-6849-C0D3-FD46-8782B524B945}"/>
          </ac:spMkLst>
        </pc:spChg>
        <pc:spChg chg="add del mod">
          <ac:chgData name="Steiner Andreas 6206 ED" userId="e6377c33-a923-4f14-8587-531c474c7b48" providerId="ADAL" clId="{6ECD27E6-B224-41CD-B4E0-E297462320DD}" dt="2023-11-24T11:35:44.148" v="124409"/>
          <ac:spMkLst>
            <pc:docMk/>
            <pc:sldMk cId="1396980745" sldId="687"/>
            <ac:spMk id="806" creationId="{C3D2A42D-20C8-BF07-C32B-478739599C9D}"/>
          </ac:spMkLst>
        </pc:spChg>
        <pc:spChg chg="add del mod">
          <ac:chgData name="Steiner Andreas 6206 ED" userId="e6377c33-a923-4f14-8587-531c474c7b48" providerId="ADAL" clId="{6ECD27E6-B224-41CD-B4E0-E297462320DD}" dt="2023-11-24T11:35:45.773" v="124564"/>
          <ac:spMkLst>
            <pc:docMk/>
            <pc:sldMk cId="1396980745" sldId="687"/>
            <ac:spMk id="807" creationId="{650E7724-D929-4D45-769E-7822609D8D9C}"/>
          </ac:spMkLst>
        </pc:spChg>
        <pc:spChg chg="add del mod">
          <ac:chgData name="Steiner Andreas 6206 ED" userId="e6377c33-a923-4f14-8587-531c474c7b48" providerId="ADAL" clId="{6ECD27E6-B224-41CD-B4E0-E297462320DD}" dt="2023-11-24T11:35:47.496" v="124719"/>
          <ac:spMkLst>
            <pc:docMk/>
            <pc:sldMk cId="1396980745" sldId="687"/>
            <ac:spMk id="808" creationId="{F6B2411E-F750-F1BE-1410-E460F0A5C4DA}"/>
          </ac:spMkLst>
        </pc:spChg>
        <pc:spChg chg="add del mod">
          <ac:chgData name="Steiner Andreas 6206 ED" userId="e6377c33-a923-4f14-8587-531c474c7b48" providerId="ADAL" clId="{6ECD27E6-B224-41CD-B4E0-E297462320DD}" dt="2023-11-24T11:35:49.275" v="124874"/>
          <ac:spMkLst>
            <pc:docMk/>
            <pc:sldMk cId="1396980745" sldId="687"/>
            <ac:spMk id="809" creationId="{5B7199C7-D4D5-8119-4D8D-C06C7571697D}"/>
          </ac:spMkLst>
        </pc:spChg>
        <pc:spChg chg="add del mod">
          <ac:chgData name="Steiner Andreas 6206 ED" userId="e6377c33-a923-4f14-8587-531c474c7b48" providerId="ADAL" clId="{6ECD27E6-B224-41CD-B4E0-E297462320DD}" dt="2023-11-24T11:35:51.188" v="125029"/>
          <ac:spMkLst>
            <pc:docMk/>
            <pc:sldMk cId="1396980745" sldId="687"/>
            <ac:spMk id="810" creationId="{85F199F6-4970-AA13-96F0-0658D5290CBC}"/>
          </ac:spMkLst>
        </pc:spChg>
        <pc:spChg chg="add del mod">
          <ac:chgData name="Steiner Andreas 6206 ED" userId="e6377c33-a923-4f14-8587-531c474c7b48" providerId="ADAL" clId="{6ECD27E6-B224-41CD-B4E0-E297462320DD}" dt="2023-11-24T11:35:52.913" v="125184"/>
          <ac:spMkLst>
            <pc:docMk/>
            <pc:sldMk cId="1396980745" sldId="687"/>
            <ac:spMk id="811" creationId="{F856E136-10EF-3D89-B11A-C6CF5824CF9A}"/>
          </ac:spMkLst>
        </pc:spChg>
        <pc:spChg chg="add del mod">
          <ac:chgData name="Steiner Andreas 6206 ED" userId="e6377c33-a923-4f14-8587-531c474c7b48" providerId="ADAL" clId="{6ECD27E6-B224-41CD-B4E0-E297462320DD}" dt="2023-11-24T11:35:54.924" v="125339"/>
          <ac:spMkLst>
            <pc:docMk/>
            <pc:sldMk cId="1396980745" sldId="687"/>
            <ac:spMk id="812" creationId="{BBFFE4A8-9ABD-0DDA-8285-3875B602A6E3}"/>
          </ac:spMkLst>
        </pc:spChg>
        <pc:spChg chg="add del mod">
          <ac:chgData name="Steiner Andreas 6206 ED" userId="e6377c33-a923-4f14-8587-531c474c7b48" providerId="ADAL" clId="{6ECD27E6-B224-41CD-B4E0-E297462320DD}" dt="2023-11-24T11:35:57.110" v="125494"/>
          <ac:spMkLst>
            <pc:docMk/>
            <pc:sldMk cId="1396980745" sldId="687"/>
            <ac:spMk id="813" creationId="{154EC61F-1E02-D5F2-7DB9-7428CA828DAA}"/>
          </ac:spMkLst>
        </pc:spChg>
        <pc:spChg chg="add del mod">
          <ac:chgData name="Steiner Andreas 6206 ED" userId="e6377c33-a923-4f14-8587-531c474c7b48" providerId="ADAL" clId="{6ECD27E6-B224-41CD-B4E0-E297462320DD}" dt="2023-11-24T11:35:58.886" v="125649"/>
          <ac:spMkLst>
            <pc:docMk/>
            <pc:sldMk cId="1396980745" sldId="687"/>
            <ac:spMk id="814" creationId="{03243362-7A8B-F5E2-0113-A4230371AEF5}"/>
          </ac:spMkLst>
        </pc:spChg>
        <pc:spChg chg="add del mod">
          <ac:chgData name="Steiner Andreas 6206 ED" userId="e6377c33-a923-4f14-8587-531c474c7b48" providerId="ADAL" clId="{6ECD27E6-B224-41CD-B4E0-E297462320DD}" dt="2023-11-24T11:36:00.621" v="125804"/>
          <ac:spMkLst>
            <pc:docMk/>
            <pc:sldMk cId="1396980745" sldId="687"/>
            <ac:spMk id="815" creationId="{E3E512EE-03AB-9D09-4438-FAFBAF35FEE3}"/>
          </ac:spMkLst>
        </pc:spChg>
        <pc:spChg chg="add del mod">
          <ac:chgData name="Steiner Andreas 6206 ED" userId="e6377c33-a923-4f14-8587-531c474c7b48" providerId="ADAL" clId="{6ECD27E6-B224-41CD-B4E0-E297462320DD}" dt="2023-11-24T11:36:02.351" v="125959"/>
          <ac:spMkLst>
            <pc:docMk/>
            <pc:sldMk cId="1396980745" sldId="687"/>
            <ac:spMk id="816" creationId="{04C94C25-909F-3A61-B0AE-942C5A51D526}"/>
          </ac:spMkLst>
        </pc:spChg>
        <pc:spChg chg="add del mod">
          <ac:chgData name="Steiner Andreas 6206 ED" userId="e6377c33-a923-4f14-8587-531c474c7b48" providerId="ADAL" clId="{6ECD27E6-B224-41CD-B4E0-E297462320DD}" dt="2023-11-24T11:36:04.104" v="126114"/>
          <ac:spMkLst>
            <pc:docMk/>
            <pc:sldMk cId="1396980745" sldId="687"/>
            <ac:spMk id="817" creationId="{E3CC47A0-C72F-6A30-4101-1BED9D81199E}"/>
          </ac:spMkLst>
        </pc:spChg>
        <pc:spChg chg="add del mod">
          <ac:chgData name="Steiner Andreas 6206 ED" userId="e6377c33-a923-4f14-8587-531c474c7b48" providerId="ADAL" clId="{6ECD27E6-B224-41CD-B4E0-E297462320DD}" dt="2023-11-24T11:36:05.879" v="126269"/>
          <ac:spMkLst>
            <pc:docMk/>
            <pc:sldMk cId="1396980745" sldId="687"/>
            <ac:spMk id="818" creationId="{DEA893BD-9D95-4DF5-8131-5CE2700F03DB}"/>
          </ac:spMkLst>
        </pc:spChg>
        <pc:spChg chg="add del mod">
          <ac:chgData name="Steiner Andreas 6206 ED" userId="e6377c33-a923-4f14-8587-531c474c7b48" providerId="ADAL" clId="{6ECD27E6-B224-41CD-B4E0-E297462320DD}" dt="2023-11-24T11:36:07.568" v="126424"/>
          <ac:spMkLst>
            <pc:docMk/>
            <pc:sldMk cId="1396980745" sldId="687"/>
            <ac:spMk id="819" creationId="{2F1887DB-073C-A15B-2A44-17E0653B2676}"/>
          </ac:spMkLst>
        </pc:spChg>
        <pc:spChg chg="add del mod">
          <ac:chgData name="Steiner Andreas 6206 ED" userId="e6377c33-a923-4f14-8587-531c474c7b48" providerId="ADAL" clId="{6ECD27E6-B224-41CD-B4E0-E297462320DD}" dt="2023-11-24T11:36:09.411" v="126579"/>
          <ac:spMkLst>
            <pc:docMk/>
            <pc:sldMk cId="1396980745" sldId="687"/>
            <ac:spMk id="820" creationId="{56A6FA1C-F836-9723-E48E-7F633C75A7E3}"/>
          </ac:spMkLst>
        </pc:spChg>
        <pc:spChg chg="add del mod">
          <ac:chgData name="Steiner Andreas 6206 ED" userId="e6377c33-a923-4f14-8587-531c474c7b48" providerId="ADAL" clId="{6ECD27E6-B224-41CD-B4E0-E297462320DD}" dt="2023-11-24T11:36:11.219" v="126734"/>
          <ac:spMkLst>
            <pc:docMk/>
            <pc:sldMk cId="1396980745" sldId="687"/>
            <ac:spMk id="821" creationId="{E34FC1F9-8664-8BBA-0AAE-A3F112AF9E03}"/>
          </ac:spMkLst>
        </pc:spChg>
        <pc:spChg chg="add del mod">
          <ac:chgData name="Steiner Andreas 6206 ED" userId="e6377c33-a923-4f14-8587-531c474c7b48" providerId="ADAL" clId="{6ECD27E6-B224-41CD-B4E0-E297462320DD}" dt="2023-11-24T11:36:13.127" v="126889"/>
          <ac:spMkLst>
            <pc:docMk/>
            <pc:sldMk cId="1396980745" sldId="687"/>
            <ac:spMk id="822" creationId="{A3BF29BF-A9DE-40BB-91F7-6B06C29DDC7A}"/>
          </ac:spMkLst>
        </pc:spChg>
        <pc:spChg chg="add del mod">
          <ac:chgData name="Steiner Andreas 6206 ED" userId="e6377c33-a923-4f14-8587-531c474c7b48" providerId="ADAL" clId="{6ECD27E6-B224-41CD-B4E0-E297462320DD}" dt="2023-11-24T11:36:15.014" v="127044"/>
          <ac:spMkLst>
            <pc:docMk/>
            <pc:sldMk cId="1396980745" sldId="687"/>
            <ac:spMk id="823" creationId="{F67DE5F1-D37C-6081-0B12-96E422CBE500}"/>
          </ac:spMkLst>
        </pc:spChg>
        <pc:spChg chg="add del mod">
          <ac:chgData name="Steiner Andreas 6206 ED" userId="e6377c33-a923-4f14-8587-531c474c7b48" providerId="ADAL" clId="{6ECD27E6-B224-41CD-B4E0-E297462320DD}" dt="2023-11-24T11:36:17.561" v="127199"/>
          <ac:spMkLst>
            <pc:docMk/>
            <pc:sldMk cId="1396980745" sldId="687"/>
            <ac:spMk id="824" creationId="{E301FEA7-B212-88D4-965E-2EC87202B8F1}"/>
          </ac:spMkLst>
        </pc:spChg>
        <pc:spChg chg="add del mod">
          <ac:chgData name="Steiner Andreas 6206 ED" userId="e6377c33-a923-4f14-8587-531c474c7b48" providerId="ADAL" clId="{6ECD27E6-B224-41CD-B4E0-E297462320DD}" dt="2023-11-24T11:36:20.144" v="127354"/>
          <ac:spMkLst>
            <pc:docMk/>
            <pc:sldMk cId="1396980745" sldId="687"/>
            <ac:spMk id="825" creationId="{2CA90164-F796-E5E4-B2A8-E00C5EBE34FD}"/>
          </ac:spMkLst>
        </pc:spChg>
        <pc:spChg chg="add del mod">
          <ac:chgData name="Steiner Andreas 6206 ED" userId="e6377c33-a923-4f14-8587-531c474c7b48" providerId="ADAL" clId="{6ECD27E6-B224-41CD-B4E0-E297462320DD}" dt="2023-11-24T11:36:22.491" v="127509"/>
          <ac:spMkLst>
            <pc:docMk/>
            <pc:sldMk cId="1396980745" sldId="687"/>
            <ac:spMk id="826" creationId="{468CFBF6-5736-326C-156D-E19F8E74397F}"/>
          </ac:spMkLst>
        </pc:spChg>
        <pc:spChg chg="add del mod">
          <ac:chgData name="Steiner Andreas 6206 ED" userId="e6377c33-a923-4f14-8587-531c474c7b48" providerId="ADAL" clId="{6ECD27E6-B224-41CD-B4E0-E297462320DD}" dt="2023-11-24T11:36:25.625" v="127664"/>
          <ac:spMkLst>
            <pc:docMk/>
            <pc:sldMk cId="1396980745" sldId="687"/>
            <ac:spMk id="827" creationId="{317E2B59-9245-A9A8-14BC-BB472947F9EE}"/>
          </ac:spMkLst>
        </pc:spChg>
        <pc:spChg chg="add del mod">
          <ac:chgData name="Steiner Andreas 6206 ED" userId="e6377c33-a923-4f14-8587-531c474c7b48" providerId="ADAL" clId="{6ECD27E6-B224-41CD-B4E0-E297462320DD}" dt="2023-11-24T11:36:28.449" v="127819"/>
          <ac:spMkLst>
            <pc:docMk/>
            <pc:sldMk cId="1396980745" sldId="687"/>
            <ac:spMk id="828" creationId="{5D8BD0A0-D190-87FC-5FD1-7D278A24E690}"/>
          </ac:spMkLst>
        </pc:spChg>
        <pc:spChg chg="add del mod">
          <ac:chgData name="Steiner Andreas 6206 ED" userId="e6377c33-a923-4f14-8587-531c474c7b48" providerId="ADAL" clId="{6ECD27E6-B224-41CD-B4E0-E297462320DD}" dt="2023-11-24T11:36:31.117" v="127974"/>
          <ac:spMkLst>
            <pc:docMk/>
            <pc:sldMk cId="1396980745" sldId="687"/>
            <ac:spMk id="829" creationId="{12059688-8C18-396D-36E8-61209317D94C}"/>
          </ac:spMkLst>
        </pc:spChg>
        <pc:spChg chg="add del mod">
          <ac:chgData name="Steiner Andreas 6206 ED" userId="e6377c33-a923-4f14-8587-531c474c7b48" providerId="ADAL" clId="{6ECD27E6-B224-41CD-B4E0-E297462320DD}" dt="2023-11-24T11:36:33.385" v="128129"/>
          <ac:spMkLst>
            <pc:docMk/>
            <pc:sldMk cId="1396980745" sldId="687"/>
            <ac:spMk id="830" creationId="{9BC9DEF7-3D55-8A86-AF76-354DC93FFBBF}"/>
          </ac:spMkLst>
        </pc:spChg>
        <pc:spChg chg="add del mod">
          <ac:chgData name="Steiner Andreas 6206 ED" userId="e6377c33-a923-4f14-8587-531c474c7b48" providerId="ADAL" clId="{6ECD27E6-B224-41CD-B4E0-E297462320DD}" dt="2023-11-24T11:36:35.441" v="128284"/>
          <ac:spMkLst>
            <pc:docMk/>
            <pc:sldMk cId="1396980745" sldId="687"/>
            <ac:spMk id="831" creationId="{24D016AB-6C7B-183B-16B5-9CF99A3825FF}"/>
          </ac:spMkLst>
        </pc:spChg>
        <pc:spChg chg="add del mod">
          <ac:chgData name="Steiner Andreas 6206 ED" userId="e6377c33-a923-4f14-8587-531c474c7b48" providerId="ADAL" clId="{6ECD27E6-B224-41CD-B4E0-E297462320DD}" dt="2023-11-24T11:36:37.547" v="128439"/>
          <ac:spMkLst>
            <pc:docMk/>
            <pc:sldMk cId="1396980745" sldId="687"/>
            <ac:spMk id="832" creationId="{30D2358B-0272-F83B-70EA-66AC48C3B1AA}"/>
          </ac:spMkLst>
        </pc:spChg>
        <pc:spChg chg="add del mod">
          <ac:chgData name="Steiner Andreas 6206 ED" userId="e6377c33-a923-4f14-8587-531c474c7b48" providerId="ADAL" clId="{6ECD27E6-B224-41CD-B4E0-E297462320DD}" dt="2023-11-24T11:36:39.762" v="128594"/>
          <ac:spMkLst>
            <pc:docMk/>
            <pc:sldMk cId="1396980745" sldId="687"/>
            <ac:spMk id="833" creationId="{67908AF9-2A54-05ED-582E-EEFEED507259}"/>
          </ac:spMkLst>
        </pc:spChg>
        <pc:spChg chg="add del mod">
          <ac:chgData name="Steiner Andreas 6206 ED" userId="e6377c33-a923-4f14-8587-531c474c7b48" providerId="ADAL" clId="{6ECD27E6-B224-41CD-B4E0-E297462320DD}" dt="2023-11-24T11:36:42.313" v="128749"/>
          <ac:spMkLst>
            <pc:docMk/>
            <pc:sldMk cId="1396980745" sldId="687"/>
            <ac:spMk id="834" creationId="{3E5F0B53-7003-9575-D964-E858858127B9}"/>
          </ac:spMkLst>
        </pc:spChg>
        <pc:spChg chg="add del mod">
          <ac:chgData name="Steiner Andreas 6206 ED" userId="e6377c33-a923-4f14-8587-531c474c7b48" providerId="ADAL" clId="{6ECD27E6-B224-41CD-B4E0-E297462320DD}" dt="2023-11-24T11:36:44.620" v="128904"/>
          <ac:spMkLst>
            <pc:docMk/>
            <pc:sldMk cId="1396980745" sldId="687"/>
            <ac:spMk id="835" creationId="{48ACEFC8-3FFE-8C57-EC4B-912D53F231A3}"/>
          </ac:spMkLst>
        </pc:spChg>
        <pc:spChg chg="add del mod">
          <ac:chgData name="Steiner Andreas 6206 ED" userId="e6377c33-a923-4f14-8587-531c474c7b48" providerId="ADAL" clId="{6ECD27E6-B224-41CD-B4E0-E297462320DD}" dt="2023-11-24T11:36:46.592" v="129059"/>
          <ac:spMkLst>
            <pc:docMk/>
            <pc:sldMk cId="1396980745" sldId="687"/>
            <ac:spMk id="836" creationId="{15510EE3-FD0A-68D0-2D77-729EE4B71C2F}"/>
          </ac:spMkLst>
        </pc:spChg>
        <pc:spChg chg="add del mod">
          <ac:chgData name="Steiner Andreas 6206 ED" userId="e6377c33-a923-4f14-8587-531c474c7b48" providerId="ADAL" clId="{6ECD27E6-B224-41CD-B4E0-E297462320DD}" dt="2023-11-24T11:36:48.554" v="129214"/>
          <ac:spMkLst>
            <pc:docMk/>
            <pc:sldMk cId="1396980745" sldId="687"/>
            <ac:spMk id="837" creationId="{ADEDE5FD-47D9-63C6-B526-3D01697EDE80}"/>
          </ac:spMkLst>
        </pc:spChg>
        <pc:spChg chg="add del mod">
          <ac:chgData name="Steiner Andreas 6206 ED" userId="e6377c33-a923-4f14-8587-531c474c7b48" providerId="ADAL" clId="{6ECD27E6-B224-41CD-B4E0-E297462320DD}" dt="2023-11-24T11:36:50.531" v="129369"/>
          <ac:spMkLst>
            <pc:docMk/>
            <pc:sldMk cId="1396980745" sldId="687"/>
            <ac:spMk id="838" creationId="{4658DC7F-2063-EDAB-1B35-6B4D674BFC76}"/>
          </ac:spMkLst>
        </pc:spChg>
        <pc:spChg chg="add del mod">
          <ac:chgData name="Steiner Andreas 6206 ED" userId="e6377c33-a923-4f14-8587-531c474c7b48" providerId="ADAL" clId="{6ECD27E6-B224-41CD-B4E0-E297462320DD}" dt="2023-11-24T11:36:52.668" v="129524"/>
          <ac:spMkLst>
            <pc:docMk/>
            <pc:sldMk cId="1396980745" sldId="687"/>
            <ac:spMk id="839" creationId="{177D1756-00CB-4621-8EDF-97B0B00689A0}"/>
          </ac:spMkLst>
        </pc:spChg>
        <pc:spChg chg="add del mod">
          <ac:chgData name="Steiner Andreas 6206 ED" userId="e6377c33-a923-4f14-8587-531c474c7b48" providerId="ADAL" clId="{6ECD27E6-B224-41CD-B4E0-E297462320DD}" dt="2023-11-24T11:36:55.548" v="129679"/>
          <ac:spMkLst>
            <pc:docMk/>
            <pc:sldMk cId="1396980745" sldId="687"/>
            <ac:spMk id="840" creationId="{F6B8FDFA-FA25-B24E-FE33-437872A129D1}"/>
          </ac:spMkLst>
        </pc:spChg>
        <pc:spChg chg="add del mod">
          <ac:chgData name="Steiner Andreas 6206 ED" userId="e6377c33-a923-4f14-8587-531c474c7b48" providerId="ADAL" clId="{6ECD27E6-B224-41CD-B4E0-E297462320DD}" dt="2023-11-24T11:36:57.795" v="129834"/>
          <ac:spMkLst>
            <pc:docMk/>
            <pc:sldMk cId="1396980745" sldId="687"/>
            <ac:spMk id="841" creationId="{01A040DA-85F4-F2CF-AA5A-537C7659CF63}"/>
          </ac:spMkLst>
        </pc:spChg>
        <pc:spChg chg="add del mod">
          <ac:chgData name="Steiner Andreas 6206 ED" userId="e6377c33-a923-4f14-8587-531c474c7b48" providerId="ADAL" clId="{6ECD27E6-B224-41CD-B4E0-E297462320DD}" dt="2023-11-24T11:37:00.146" v="129989"/>
          <ac:spMkLst>
            <pc:docMk/>
            <pc:sldMk cId="1396980745" sldId="687"/>
            <ac:spMk id="842" creationId="{14E59014-156A-9CCF-775D-8FCE1D69678C}"/>
          </ac:spMkLst>
        </pc:spChg>
        <pc:spChg chg="add del mod">
          <ac:chgData name="Steiner Andreas 6206 ED" userId="e6377c33-a923-4f14-8587-531c474c7b48" providerId="ADAL" clId="{6ECD27E6-B224-41CD-B4E0-E297462320DD}" dt="2023-11-24T11:37:01.969" v="130144"/>
          <ac:spMkLst>
            <pc:docMk/>
            <pc:sldMk cId="1396980745" sldId="687"/>
            <ac:spMk id="843" creationId="{866AA6A3-D55A-4205-561A-C38F9F556A45}"/>
          </ac:spMkLst>
        </pc:spChg>
        <pc:spChg chg="add del mod">
          <ac:chgData name="Steiner Andreas 6206 ED" userId="e6377c33-a923-4f14-8587-531c474c7b48" providerId="ADAL" clId="{6ECD27E6-B224-41CD-B4E0-E297462320DD}" dt="2023-11-24T11:37:03.706" v="130299"/>
          <ac:spMkLst>
            <pc:docMk/>
            <pc:sldMk cId="1396980745" sldId="687"/>
            <ac:spMk id="844" creationId="{AEEACCF3-3113-A650-0CBC-F4CE0773FD4C}"/>
          </ac:spMkLst>
        </pc:spChg>
        <pc:spChg chg="add del mod">
          <ac:chgData name="Steiner Andreas 6206 ED" userId="e6377c33-a923-4f14-8587-531c474c7b48" providerId="ADAL" clId="{6ECD27E6-B224-41CD-B4E0-E297462320DD}" dt="2023-11-24T11:37:05.592" v="130454"/>
          <ac:spMkLst>
            <pc:docMk/>
            <pc:sldMk cId="1396980745" sldId="687"/>
            <ac:spMk id="845" creationId="{B3E3518E-5A89-5493-2A0F-3F02DC0CE33C}"/>
          </ac:spMkLst>
        </pc:spChg>
        <pc:spChg chg="add del mod">
          <ac:chgData name="Steiner Andreas 6206 ED" userId="e6377c33-a923-4f14-8587-531c474c7b48" providerId="ADAL" clId="{6ECD27E6-B224-41CD-B4E0-E297462320DD}" dt="2023-11-24T11:37:07.351" v="130609"/>
          <ac:spMkLst>
            <pc:docMk/>
            <pc:sldMk cId="1396980745" sldId="687"/>
            <ac:spMk id="846" creationId="{810BAC56-1362-2913-D86E-725AB1E8548E}"/>
          </ac:spMkLst>
        </pc:spChg>
        <pc:spChg chg="add del mod">
          <ac:chgData name="Steiner Andreas 6206 ED" userId="e6377c33-a923-4f14-8587-531c474c7b48" providerId="ADAL" clId="{6ECD27E6-B224-41CD-B4E0-E297462320DD}" dt="2023-11-24T11:37:09.074" v="130764"/>
          <ac:spMkLst>
            <pc:docMk/>
            <pc:sldMk cId="1396980745" sldId="687"/>
            <ac:spMk id="847" creationId="{CCD1C364-2A70-94DA-1D90-CD661C9CE420}"/>
          </ac:spMkLst>
        </pc:spChg>
        <pc:spChg chg="add del mod">
          <ac:chgData name="Steiner Andreas 6206 ED" userId="e6377c33-a923-4f14-8587-531c474c7b48" providerId="ADAL" clId="{6ECD27E6-B224-41CD-B4E0-E297462320DD}" dt="2023-11-24T11:37:10.738" v="130919"/>
          <ac:spMkLst>
            <pc:docMk/>
            <pc:sldMk cId="1396980745" sldId="687"/>
            <ac:spMk id="848" creationId="{391CFC34-EDDD-C438-B383-A25F635882BC}"/>
          </ac:spMkLst>
        </pc:spChg>
        <pc:spChg chg="add del mod">
          <ac:chgData name="Steiner Andreas 6206 ED" userId="e6377c33-a923-4f14-8587-531c474c7b48" providerId="ADAL" clId="{6ECD27E6-B224-41CD-B4E0-E297462320DD}" dt="2023-11-24T11:37:12.433" v="131074"/>
          <ac:spMkLst>
            <pc:docMk/>
            <pc:sldMk cId="1396980745" sldId="687"/>
            <ac:spMk id="849" creationId="{6A9EE721-D9AE-5A99-6373-996A3E144A49}"/>
          </ac:spMkLst>
        </pc:spChg>
        <pc:spChg chg="add del mod">
          <ac:chgData name="Steiner Andreas 6206 ED" userId="e6377c33-a923-4f14-8587-531c474c7b48" providerId="ADAL" clId="{6ECD27E6-B224-41CD-B4E0-E297462320DD}" dt="2023-11-24T11:37:14.114" v="131229"/>
          <ac:spMkLst>
            <pc:docMk/>
            <pc:sldMk cId="1396980745" sldId="687"/>
            <ac:spMk id="850" creationId="{3DA17770-A3C2-A98A-1732-E83EEDDC0A7B}"/>
          </ac:spMkLst>
        </pc:spChg>
        <pc:spChg chg="add del mod">
          <ac:chgData name="Steiner Andreas 6206 ED" userId="e6377c33-a923-4f14-8587-531c474c7b48" providerId="ADAL" clId="{6ECD27E6-B224-41CD-B4E0-E297462320DD}" dt="2023-11-24T11:37:16.141" v="131384"/>
          <ac:spMkLst>
            <pc:docMk/>
            <pc:sldMk cId="1396980745" sldId="687"/>
            <ac:spMk id="851" creationId="{BE533C7F-1861-6173-1597-C96E7A41ECE9}"/>
          </ac:spMkLst>
        </pc:spChg>
        <pc:spChg chg="add del mod">
          <ac:chgData name="Steiner Andreas 6206 ED" userId="e6377c33-a923-4f14-8587-531c474c7b48" providerId="ADAL" clId="{6ECD27E6-B224-41CD-B4E0-E297462320DD}" dt="2023-11-24T11:37:18.136" v="131539"/>
          <ac:spMkLst>
            <pc:docMk/>
            <pc:sldMk cId="1396980745" sldId="687"/>
            <ac:spMk id="852" creationId="{71B3EBF0-1E91-DB78-BA4B-C7BD70986936}"/>
          </ac:spMkLst>
        </pc:spChg>
        <pc:spChg chg="add del mod">
          <ac:chgData name="Steiner Andreas 6206 ED" userId="e6377c33-a923-4f14-8587-531c474c7b48" providerId="ADAL" clId="{6ECD27E6-B224-41CD-B4E0-E297462320DD}" dt="2023-11-24T11:37:20.022" v="131694"/>
          <ac:spMkLst>
            <pc:docMk/>
            <pc:sldMk cId="1396980745" sldId="687"/>
            <ac:spMk id="853" creationId="{D235C51C-7237-4B59-03CF-CAD8E750D106}"/>
          </ac:spMkLst>
        </pc:spChg>
        <pc:spChg chg="add del mod">
          <ac:chgData name="Steiner Andreas 6206 ED" userId="e6377c33-a923-4f14-8587-531c474c7b48" providerId="ADAL" clId="{6ECD27E6-B224-41CD-B4E0-E297462320DD}" dt="2023-11-24T11:37:21.934" v="131849"/>
          <ac:spMkLst>
            <pc:docMk/>
            <pc:sldMk cId="1396980745" sldId="687"/>
            <ac:spMk id="854" creationId="{D7CF4D4D-5C25-3461-EA15-6124F6464848}"/>
          </ac:spMkLst>
        </pc:spChg>
        <pc:spChg chg="add del mod">
          <ac:chgData name="Steiner Andreas 6206 ED" userId="e6377c33-a923-4f14-8587-531c474c7b48" providerId="ADAL" clId="{6ECD27E6-B224-41CD-B4E0-E297462320DD}" dt="2023-11-24T11:37:23.709" v="132004"/>
          <ac:spMkLst>
            <pc:docMk/>
            <pc:sldMk cId="1396980745" sldId="687"/>
            <ac:spMk id="855" creationId="{D0FF612B-748B-5708-CAB6-08E4F812FE0C}"/>
          </ac:spMkLst>
        </pc:spChg>
        <pc:spChg chg="add del mod">
          <ac:chgData name="Steiner Andreas 6206 ED" userId="e6377c33-a923-4f14-8587-531c474c7b48" providerId="ADAL" clId="{6ECD27E6-B224-41CD-B4E0-E297462320DD}" dt="2023-11-24T11:37:25.423" v="132159"/>
          <ac:spMkLst>
            <pc:docMk/>
            <pc:sldMk cId="1396980745" sldId="687"/>
            <ac:spMk id="856" creationId="{214A272F-094F-7943-143F-0A4FC5081C29}"/>
          </ac:spMkLst>
        </pc:spChg>
        <pc:spChg chg="add del mod">
          <ac:chgData name="Steiner Andreas 6206 ED" userId="e6377c33-a923-4f14-8587-531c474c7b48" providerId="ADAL" clId="{6ECD27E6-B224-41CD-B4E0-E297462320DD}" dt="2023-11-24T11:37:27.378" v="132314"/>
          <ac:spMkLst>
            <pc:docMk/>
            <pc:sldMk cId="1396980745" sldId="687"/>
            <ac:spMk id="857" creationId="{311E1A2D-B1D6-D79C-C86F-2F19BF55CA5A}"/>
          </ac:spMkLst>
        </pc:spChg>
        <pc:spChg chg="add del mod">
          <ac:chgData name="Steiner Andreas 6206 ED" userId="e6377c33-a923-4f14-8587-531c474c7b48" providerId="ADAL" clId="{6ECD27E6-B224-41CD-B4E0-E297462320DD}" dt="2023-11-24T11:37:30.070" v="132469"/>
          <ac:spMkLst>
            <pc:docMk/>
            <pc:sldMk cId="1396980745" sldId="687"/>
            <ac:spMk id="858" creationId="{64FC4036-9812-D672-D61B-50A121BFEFED}"/>
          </ac:spMkLst>
        </pc:spChg>
        <pc:spChg chg="add del mod">
          <ac:chgData name="Steiner Andreas 6206 ED" userId="e6377c33-a923-4f14-8587-531c474c7b48" providerId="ADAL" clId="{6ECD27E6-B224-41CD-B4E0-E297462320DD}" dt="2023-11-24T11:37:32.690" v="132624"/>
          <ac:spMkLst>
            <pc:docMk/>
            <pc:sldMk cId="1396980745" sldId="687"/>
            <ac:spMk id="859" creationId="{CEC424B6-06F3-7C50-0B02-254BC41E2969}"/>
          </ac:spMkLst>
        </pc:spChg>
        <pc:spChg chg="add del mod">
          <ac:chgData name="Steiner Andreas 6206 ED" userId="e6377c33-a923-4f14-8587-531c474c7b48" providerId="ADAL" clId="{6ECD27E6-B224-41CD-B4E0-E297462320DD}" dt="2023-11-24T11:37:35.567" v="132779"/>
          <ac:spMkLst>
            <pc:docMk/>
            <pc:sldMk cId="1396980745" sldId="687"/>
            <ac:spMk id="860" creationId="{F9860B3C-FF17-08D1-A024-51DD9223B419}"/>
          </ac:spMkLst>
        </pc:spChg>
        <pc:spChg chg="add del mod">
          <ac:chgData name="Steiner Andreas 6206 ED" userId="e6377c33-a923-4f14-8587-531c474c7b48" providerId="ADAL" clId="{6ECD27E6-B224-41CD-B4E0-E297462320DD}" dt="2023-11-24T11:37:38.278" v="132934"/>
          <ac:spMkLst>
            <pc:docMk/>
            <pc:sldMk cId="1396980745" sldId="687"/>
            <ac:spMk id="861" creationId="{0B9B391D-5997-2374-C2B7-FDE44024FFDB}"/>
          </ac:spMkLst>
        </pc:spChg>
        <pc:spChg chg="add del mod">
          <ac:chgData name="Steiner Andreas 6206 ED" userId="e6377c33-a923-4f14-8587-531c474c7b48" providerId="ADAL" clId="{6ECD27E6-B224-41CD-B4E0-E297462320DD}" dt="2023-11-24T11:37:40.838" v="133089"/>
          <ac:spMkLst>
            <pc:docMk/>
            <pc:sldMk cId="1396980745" sldId="687"/>
            <ac:spMk id="862" creationId="{716E9E70-EB9C-CAE2-E1D8-90B2026A0268}"/>
          </ac:spMkLst>
        </pc:spChg>
        <pc:spChg chg="add del mod">
          <ac:chgData name="Steiner Andreas 6206 ED" userId="e6377c33-a923-4f14-8587-531c474c7b48" providerId="ADAL" clId="{6ECD27E6-B224-41CD-B4E0-E297462320DD}" dt="2023-11-24T11:37:43.817" v="133244"/>
          <ac:spMkLst>
            <pc:docMk/>
            <pc:sldMk cId="1396980745" sldId="687"/>
            <ac:spMk id="863" creationId="{18C850EF-BE7A-9CC3-1FAE-A8A41783DA60}"/>
          </ac:spMkLst>
        </pc:spChg>
        <pc:spChg chg="add del mod">
          <ac:chgData name="Steiner Andreas 6206 ED" userId="e6377c33-a923-4f14-8587-531c474c7b48" providerId="ADAL" clId="{6ECD27E6-B224-41CD-B4E0-E297462320DD}" dt="2023-11-24T11:37:47.993" v="133399"/>
          <ac:spMkLst>
            <pc:docMk/>
            <pc:sldMk cId="1396980745" sldId="687"/>
            <ac:spMk id="864" creationId="{7B3C144D-CE6A-2C3A-6D66-40C50F4D282C}"/>
          </ac:spMkLst>
        </pc:spChg>
        <pc:spChg chg="add del mod">
          <ac:chgData name="Steiner Andreas 6206 ED" userId="e6377c33-a923-4f14-8587-531c474c7b48" providerId="ADAL" clId="{6ECD27E6-B224-41CD-B4E0-E297462320DD}" dt="2023-11-24T11:37:51.147" v="133554"/>
          <ac:spMkLst>
            <pc:docMk/>
            <pc:sldMk cId="1396980745" sldId="687"/>
            <ac:spMk id="865" creationId="{75E12CCE-7003-F4C9-B329-35BD8D5755C9}"/>
          </ac:spMkLst>
        </pc:spChg>
        <pc:spChg chg="add del mod">
          <ac:chgData name="Steiner Andreas 6206 ED" userId="e6377c33-a923-4f14-8587-531c474c7b48" providerId="ADAL" clId="{6ECD27E6-B224-41CD-B4E0-E297462320DD}" dt="2023-11-24T11:37:54.064" v="133709"/>
          <ac:spMkLst>
            <pc:docMk/>
            <pc:sldMk cId="1396980745" sldId="687"/>
            <ac:spMk id="866" creationId="{1B9FB900-B251-D9C1-A615-D0508B10B1EE}"/>
          </ac:spMkLst>
        </pc:spChg>
        <pc:spChg chg="add del mod">
          <ac:chgData name="Steiner Andreas 6206 ED" userId="e6377c33-a923-4f14-8587-531c474c7b48" providerId="ADAL" clId="{6ECD27E6-B224-41CD-B4E0-E297462320DD}" dt="2023-11-24T11:37:56.407" v="133864"/>
          <ac:spMkLst>
            <pc:docMk/>
            <pc:sldMk cId="1396980745" sldId="687"/>
            <ac:spMk id="867" creationId="{1D58BD0B-24FB-47EC-1B04-10066AF4845C}"/>
          </ac:spMkLst>
        </pc:spChg>
        <pc:spChg chg="add del mod">
          <ac:chgData name="Steiner Andreas 6206 ED" userId="e6377c33-a923-4f14-8587-531c474c7b48" providerId="ADAL" clId="{6ECD27E6-B224-41CD-B4E0-E297462320DD}" dt="2023-11-24T11:37:59.008" v="134019"/>
          <ac:spMkLst>
            <pc:docMk/>
            <pc:sldMk cId="1396980745" sldId="687"/>
            <ac:spMk id="868" creationId="{20E17A84-C0C0-1CBF-568D-D6DEBCFC0903}"/>
          </ac:spMkLst>
        </pc:spChg>
        <pc:spChg chg="add del mod">
          <ac:chgData name="Steiner Andreas 6206 ED" userId="e6377c33-a923-4f14-8587-531c474c7b48" providerId="ADAL" clId="{6ECD27E6-B224-41CD-B4E0-E297462320DD}" dt="2023-11-24T11:38:01.280" v="134174"/>
          <ac:spMkLst>
            <pc:docMk/>
            <pc:sldMk cId="1396980745" sldId="687"/>
            <ac:spMk id="869" creationId="{34F7D5AC-77C4-1E54-8FAB-B50CD16A1F4D}"/>
          </ac:spMkLst>
        </pc:spChg>
        <pc:spChg chg="add del mod">
          <ac:chgData name="Steiner Andreas 6206 ED" userId="e6377c33-a923-4f14-8587-531c474c7b48" providerId="ADAL" clId="{6ECD27E6-B224-41CD-B4E0-E297462320DD}" dt="2023-11-24T11:38:03.826" v="134329"/>
          <ac:spMkLst>
            <pc:docMk/>
            <pc:sldMk cId="1396980745" sldId="687"/>
            <ac:spMk id="870" creationId="{86507EA5-57EF-6CD1-14E9-A4ACF47B14B8}"/>
          </ac:spMkLst>
        </pc:spChg>
        <pc:spChg chg="add del mod">
          <ac:chgData name="Steiner Andreas 6206 ED" userId="e6377c33-a923-4f14-8587-531c474c7b48" providerId="ADAL" clId="{6ECD27E6-B224-41CD-B4E0-E297462320DD}" dt="2023-11-24T11:38:06.171" v="134484"/>
          <ac:spMkLst>
            <pc:docMk/>
            <pc:sldMk cId="1396980745" sldId="687"/>
            <ac:spMk id="871" creationId="{6A4FEEFA-0D17-45D1-526E-B3A93D1C9DDE}"/>
          </ac:spMkLst>
        </pc:spChg>
        <pc:spChg chg="add del mod">
          <ac:chgData name="Steiner Andreas 6206 ED" userId="e6377c33-a923-4f14-8587-531c474c7b48" providerId="ADAL" clId="{6ECD27E6-B224-41CD-B4E0-E297462320DD}" dt="2023-11-24T11:38:08.943" v="134639"/>
          <ac:spMkLst>
            <pc:docMk/>
            <pc:sldMk cId="1396980745" sldId="687"/>
            <ac:spMk id="872" creationId="{2E05E545-C920-135C-1B49-3A648FDB439C}"/>
          </ac:spMkLst>
        </pc:spChg>
        <pc:spChg chg="add del mod">
          <ac:chgData name="Steiner Andreas 6206 ED" userId="e6377c33-a923-4f14-8587-531c474c7b48" providerId="ADAL" clId="{6ECD27E6-B224-41CD-B4E0-E297462320DD}" dt="2023-11-24T11:38:11.907" v="134794"/>
          <ac:spMkLst>
            <pc:docMk/>
            <pc:sldMk cId="1396980745" sldId="687"/>
            <ac:spMk id="873" creationId="{2CFB3A51-013E-D63E-313A-93F8006125A7}"/>
          </ac:spMkLst>
        </pc:spChg>
        <pc:spChg chg="add del mod">
          <ac:chgData name="Steiner Andreas 6206 ED" userId="e6377c33-a923-4f14-8587-531c474c7b48" providerId="ADAL" clId="{6ECD27E6-B224-41CD-B4E0-E297462320DD}" dt="2023-11-24T11:38:14.128" v="134949"/>
          <ac:spMkLst>
            <pc:docMk/>
            <pc:sldMk cId="1396980745" sldId="687"/>
            <ac:spMk id="874" creationId="{F236F15A-DD32-8242-B3FB-6688D0BCFAEA}"/>
          </ac:spMkLst>
        </pc:spChg>
        <pc:spChg chg="add del mod">
          <ac:chgData name="Steiner Andreas 6206 ED" userId="e6377c33-a923-4f14-8587-531c474c7b48" providerId="ADAL" clId="{6ECD27E6-B224-41CD-B4E0-E297462320DD}" dt="2023-11-24T11:38:16.632" v="135104"/>
          <ac:spMkLst>
            <pc:docMk/>
            <pc:sldMk cId="1396980745" sldId="687"/>
            <ac:spMk id="875" creationId="{C4256D23-F677-D987-0C6D-5FB8BA719B4D}"/>
          </ac:spMkLst>
        </pc:spChg>
        <pc:spChg chg="add del mod">
          <ac:chgData name="Steiner Andreas 6206 ED" userId="e6377c33-a923-4f14-8587-531c474c7b48" providerId="ADAL" clId="{6ECD27E6-B224-41CD-B4E0-E297462320DD}" dt="2023-11-24T11:38:19.393" v="135259"/>
          <ac:spMkLst>
            <pc:docMk/>
            <pc:sldMk cId="1396980745" sldId="687"/>
            <ac:spMk id="876" creationId="{5973B7FD-BAF6-20AD-7AA6-5648B52CED60}"/>
          </ac:spMkLst>
        </pc:spChg>
        <pc:spChg chg="add del mod">
          <ac:chgData name="Steiner Andreas 6206 ED" userId="e6377c33-a923-4f14-8587-531c474c7b48" providerId="ADAL" clId="{6ECD27E6-B224-41CD-B4E0-E297462320DD}" dt="2023-11-24T11:38:21.991" v="135414"/>
          <ac:spMkLst>
            <pc:docMk/>
            <pc:sldMk cId="1396980745" sldId="687"/>
            <ac:spMk id="877" creationId="{BAC61F31-0AC2-2F92-5EAD-60BD12C78EEB}"/>
          </ac:spMkLst>
        </pc:spChg>
        <pc:spChg chg="add del mod">
          <ac:chgData name="Steiner Andreas 6206 ED" userId="e6377c33-a923-4f14-8587-531c474c7b48" providerId="ADAL" clId="{6ECD27E6-B224-41CD-B4E0-E297462320DD}" dt="2023-11-24T11:38:24.847" v="135569"/>
          <ac:spMkLst>
            <pc:docMk/>
            <pc:sldMk cId="1396980745" sldId="687"/>
            <ac:spMk id="878" creationId="{BA7A475C-BF02-BDD4-0CEB-7C2CE0BB3B45}"/>
          </ac:spMkLst>
        </pc:spChg>
        <pc:spChg chg="add del mod">
          <ac:chgData name="Steiner Andreas 6206 ED" userId="e6377c33-a923-4f14-8587-531c474c7b48" providerId="ADAL" clId="{6ECD27E6-B224-41CD-B4E0-E297462320DD}" dt="2023-11-24T11:38:27.619" v="135724"/>
          <ac:spMkLst>
            <pc:docMk/>
            <pc:sldMk cId="1396980745" sldId="687"/>
            <ac:spMk id="879" creationId="{63D030F5-0C68-8830-84E4-F4702FC2210E}"/>
          </ac:spMkLst>
        </pc:spChg>
        <pc:spChg chg="add del mod">
          <ac:chgData name="Steiner Andreas 6206 ED" userId="e6377c33-a923-4f14-8587-531c474c7b48" providerId="ADAL" clId="{6ECD27E6-B224-41CD-B4E0-E297462320DD}" dt="2023-11-24T11:38:30.288" v="135879"/>
          <ac:spMkLst>
            <pc:docMk/>
            <pc:sldMk cId="1396980745" sldId="687"/>
            <ac:spMk id="880" creationId="{CAACE092-4614-CDB0-BA1A-69A912495395}"/>
          </ac:spMkLst>
        </pc:spChg>
        <pc:spChg chg="add del mod">
          <ac:chgData name="Steiner Andreas 6206 ED" userId="e6377c33-a923-4f14-8587-531c474c7b48" providerId="ADAL" clId="{6ECD27E6-B224-41CD-B4E0-E297462320DD}" dt="2023-11-24T11:38:32.619" v="136034"/>
          <ac:spMkLst>
            <pc:docMk/>
            <pc:sldMk cId="1396980745" sldId="687"/>
            <ac:spMk id="881" creationId="{C6CFAE0E-618B-E209-C02E-01E6A3F88714}"/>
          </ac:spMkLst>
        </pc:spChg>
        <pc:spChg chg="add del mod">
          <ac:chgData name="Steiner Andreas 6206 ED" userId="e6377c33-a923-4f14-8587-531c474c7b48" providerId="ADAL" clId="{6ECD27E6-B224-41CD-B4E0-E297462320DD}" dt="2023-11-24T11:38:35.115" v="136189"/>
          <ac:spMkLst>
            <pc:docMk/>
            <pc:sldMk cId="1396980745" sldId="687"/>
            <ac:spMk id="882" creationId="{AA4EB8D2-7DED-29C5-B82A-B7876F842109}"/>
          </ac:spMkLst>
        </pc:spChg>
        <pc:spChg chg="add del mod">
          <ac:chgData name="Steiner Andreas 6206 ED" userId="e6377c33-a923-4f14-8587-531c474c7b48" providerId="ADAL" clId="{6ECD27E6-B224-41CD-B4E0-E297462320DD}" dt="2023-11-24T11:38:37.831" v="136344"/>
          <ac:spMkLst>
            <pc:docMk/>
            <pc:sldMk cId="1396980745" sldId="687"/>
            <ac:spMk id="883" creationId="{5E7E7868-7AE5-23AF-1DB1-D8183FC18A90}"/>
          </ac:spMkLst>
        </pc:spChg>
        <pc:spChg chg="add del mod">
          <ac:chgData name="Steiner Andreas 6206 ED" userId="e6377c33-a923-4f14-8587-531c474c7b48" providerId="ADAL" clId="{6ECD27E6-B224-41CD-B4E0-E297462320DD}" dt="2023-11-24T11:38:40.519" v="136499"/>
          <ac:spMkLst>
            <pc:docMk/>
            <pc:sldMk cId="1396980745" sldId="687"/>
            <ac:spMk id="884" creationId="{EE726A68-1052-4644-9C25-F45372DAF69E}"/>
          </ac:spMkLst>
        </pc:spChg>
        <pc:spChg chg="add del mod">
          <ac:chgData name="Steiner Andreas 6206 ED" userId="e6377c33-a923-4f14-8587-531c474c7b48" providerId="ADAL" clId="{6ECD27E6-B224-41CD-B4E0-E297462320DD}" dt="2023-11-24T11:38:42.922" v="136654"/>
          <ac:spMkLst>
            <pc:docMk/>
            <pc:sldMk cId="1396980745" sldId="687"/>
            <ac:spMk id="885" creationId="{B5D73DA4-F41F-30A5-F6FC-445A6277BDCD}"/>
          </ac:spMkLst>
        </pc:spChg>
        <pc:spChg chg="add del mod">
          <ac:chgData name="Steiner Andreas 6206 ED" userId="e6377c33-a923-4f14-8587-531c474c7b48" providerId="ADAL" clId="{6ECD27E6-B224-41CD-B4E0-E297462320DD}" dt="2023-11-24T11:38:45.289" v="136809"/>
          <ac:spMkLst>
            <pc:docMk/>
            <pc:sldMk cId="1396980745" sldId="687"/>
            <ac:spMk id="886" creationId="{FA2F4445-C802-E869-8CE3-025DC3F4D70C}"/>
          </ac:spMkLst>
        </pc:spChg>
        <pc:spChg chg="add del mod">
          <ac:chgData name="Steiner Andreas 6206 ED" userId="e6377c33-a923-4f14-8587-531c474c7b48" providerId="ADAL" clId="{6ECD27E6-B224-41CD-B4E0-E297462320DD}" dt="2023-11-24T11:38:47.672" v="136964"/>
          <ac:spMkLst>
            <pc:docMk/>
            <pc:sldMk cId="1396980745" sldId="687"/>
            <ac:spMk id="887" creationId="{7AA4F0BB-1F5C-0E46-C961-44959DEA5409}"/>
          </ac:spMkLst>
        </pc:spChg>
        <pc:spChg chg="add del mod">
          <ac:chgData name="Steiner Andreas 6206 ED" userId="e6377c33-a923-4f14-8587-531c474c7b48" providerId="ADAL" clId="{6ECD27E6-B224-41CD-B4E0-E297462320DD}" dt="2023-11-24T11:38:50.689" v="137119"/>
          <ac:spMkLst>
            <pc:docMk/>
            <pc:sldMk cId="1396980745" sldId="687"/>
            <ac:spMk id="888" creationId="{7CF84424-E82F-AD4C-B123-A9C001DB9B69}"/>
          </ac:spMkLst>
        </pc:spChg>
        <pc:spChg chg="add del mod">
          <ac:chgData name="Steiner Andreas 6206 ED" userId="e6377c33-a923-4f14-8587-531c474c7b48" providerId="ADAL" clId="{6ECD27E6-B224-41CD-B4E0-E297462320DD}" dt="2023-11-24T11:38:53.109" v="137274"/>
          <ac:spMkLst>
            <pc:docMk/>
            <pc:sldMk cId="1396980745" sldId="687"/>
            <ac:spMk id="889" creationId="{D8ED2A89-A554-8D6A-0702-206210497998}"/>
          </ac:spMkLst>
        </pc:spChg>
        <pc:spChg chg="add del mod">
          <ac:chgData name="Steiner Andreas 6206 ED" userId="e6377c33-a923-4f14-8587-531c474c7b48" providerId="ADAL" clId="{6ECD27E6-B224-41CD-B4E0-E297462320DD}" dt="2023-11-24T11:38:55.582" v="137429"/>
          <ac:spMkLst>
            <pc:docMk/>
            <pc:sldMk cId="1396980745" sldId="687"/>
            <ac:spMk id="890" creationId="{AF063732-FD09-9F6E-FF21-0C7A77F56F32}"/>
          </ac:spMkLst>
        </pc:spChg>
        <pc:spChg chg="add del mod">
          <ac:chgData name="Steiner Andreas 6206 ED" userId="e6377c33-a923-4f14-8587-531c474c7b48" providerId="ADAL" clId="{6ECD27E6-B224-41CD-B4E0-E297462320DD}" dt="2023-11-24T11:38:58.194" v="137584"/>
          <ac:spMkLst>
            <pc:docMk/>
            <pc:sldMk cId="1396980745" sldId="687"/>
            <ac:spMk id="891" creationId="{B5EC87C8-CC53-C497-D587-108F626A3A40}"/>
          </ac:spMkLst>
        </pc:spChg>
        <pc:spChg chg="add del mod">
          <ac:chgData name="Steiner Andreas 6206 ED" userId="e6377c33-a923-4f14-8587-531c474c7b48" providerId="ADAL" clId="{6ECD27E6-B224-41CD-B4E0-E297462320DD}" dt="2023-11-24T11:39:00.438" v="137739"/>
          <ac:spMkLst>
            <pc:docMk/>
            <pc:sldMk cId="1396980745" sldId="687"/>
            <ac:spMk id="892" creationId="{27ED7DFB-B6A0-5E01-1354-34AB13059928}"/>
          </ac:spMkLst>
        </pc:spChg>
        <pc:spChg chg="add del mod">
          <ac:chgData name="Steiner Andreas 6206 ED" userId="e6377c33-a923-4f14-8587-531c474c7b48" providerId="ADAL" clId="{6ECD27E6-B224-41CD-B4E0-E297462320DD}" dt="2023-11-24T11:39:03.428" v="137894"/>
          <ac:spMkLst>
            <pc:docMk/>
            <pc:sldMk cId="1396980745" sldId="687"/>
            <ac:spMk id="893" creationId="{F1B7D50A-F3A6-906B-AEE2-7A9EF4AAF1F3}"/>
          </ac:spMkLst>
        </pc:spChg>
        <pc:spChg chg="add del mod">
          <ac:chgData name="Steiner Andreas 6206 ED" userId="e6377c33-a923-4f14-8587-531c474c7b48" providerId="ADAL" clId="{6ECD27E6-B224-41CD-B4E0-E297462320DD}" dt="2023-11-24T11:39:06.131" v="138049"/>
          <ac:spMkLst>
            <pc:docMk/>
            <pc:sldMk cId="1396980745" sldId="687"/>
            <ac:spMk id="894" creationId="{9592DAD5-3B95-A4BF-308E-3E24CE4219B3}"/>
          </ac:spMkLst>
        </pc:spChg>
        <pc:spChg chg="add del mod">
          <ac:chgData name="Steiner Andreas 6206 ED" userId="e6377c33-a923-4f14-8587-531c474c7b48" providerId="ADAL" clId="{6ECD27E6-B224-41CD-B4E0-E297462320DD}" dt="2023-11-24T11:39:08.636" v="138204"/>
          <ac:spMkLst>
            <pc:docMk/>
            <pc:sldMk cId="1396980745" sldId="687"/>
            <ac:spMk id="895" creationId="{291E6E22-56C8-65BB-F380-F1440B25976F}"/>
          </ac:spMkLst>
        </pc:spChg>
        <pc:spChg chg="add del mod">
          <ac:chgData name="Steiner Andreas 6206 ED" userId="e6377c33-a923-4f14-8587-531c474c7b48" providerId="ADAL" clId="{6ECD27E6-B224-41CD-B4E0-E297462320DD}" dt="2023-11-24T11:39:10.988" v="138359"/>
          <ac:spMkLst>
            <pc:docMk/>
            <pc:sldMk cId="1396980745" sldId="687"/>
            <ac:spMk id="896" creationId="{3968DDE0-F917-9F53-EFF5-97CC9AD8E6B5}"/>
          </ac:spMkLst>
        </pc:spChg>
        <pc:spChg chg="add del mod">
          <ac:chgData name="Steiner Andreas 6206 ED" userId="e6377c33-a923-4f14-8587-531c474c7b48" providerId="ADAL" clId="{6ECD27E6-B224-41CD-B4E0-E297462320DD}" dt="2023-11-24T11:39:13.435" v="138514"/>
          <ac:spMkLst>
            <pc:docMk/>
            <pc:sldMk cId="1396980745" sldId="687"/>
            <ac:spMk id="897" creationId="{D6F956CD-03E0-B84F-1CE7-761EC1562E2F}"/>
          </ac:spMkLst>
        </pc:spChg>
        <pc:spChg chg="add del mod">
          <ac:chgData name="Steiner Andreas 6206 ED" userId="e6377c33-a923-4f14-8587-531c474c7b48" providerId="ADAL" clId="{6ECD27E6-B224-41CD-B4E0-E297462320DD}" dt="2023-11-24T11:39:16.136" v="138669"/>
          <ac:spMkLst>
            <pc:docMk/>
            <pc:sldMk cId="1396980745" sldId="687"/>
            <ac:spMk id="898" creationId="{71D62AB2-D91B-57F1-6488-8A3AB4088EAA}"/>
          </ac:spMkLst>
        </pc:spChg>
        <pc:spChg chg="add del mod">
          <ac:chgData name="Steiner Andreas 6206 ED" userId="e6377c33-a923-4f14-8587-531c474c7b48" providerId="ADAL" clId="{6ECD27E6-B224-41CD-B4E0-E297462320DD}" dt="2023-11-24T11:39:18.991" v="138824"/>
          <ac:spMkLst>
            <pc:docMk/>
            <pc:sldMk cId="1396980745" sldId="687"/>
            <ac:spMk id="899" creationId="{CC7EDDF9-2FDE-D0AE-2762-8860383C0CD4}"/>
          </ac:spMkLst>
        </pc:spChg>
        <pc:spChg chg="add del mod">
          <ac:chgData name="Steiner Andreas 6206 ED" userId="e6377c33-a923-4f14-8587-531c474c7b48" providerId="ADAL" clId="{6ECD27E6-B224-41CD-B4E0-E297462320DD}" dt="2023-11-24T11:39:21.638" v="138979"/>
          <ac:spMkLst>
            <pc:docMk/>
            <pc:sldMk cId="1396980745" sldId="687"/>
            <ac:spMk id="900" creationId="{DDA24BBF-CA76-4769-6087-AF4BBE01CA6F}"/>
          </ac:spMkLst>
        </pc:spChg>
        <pc:spChg chg="add del mod">
          <ac:chgData name="Steiner Andreas 6206 ED" userId="e6377c33-a923-4f14-8587-531c474c7b48" providerId="ADAL" clId="{6ECD27E6-B224-41CD-B4E0-E297462320DD}" dt="2023-11-24T11:39:24.202" v="139134"/>
          <ac:spMkLst>
            <pc:docMk/>
            <pc:sldMk cId="1396980745" sldId="687"/>
            <ac:spMk id="901" creationId="{A8517E1C-EEAF-E8DC-1882-817D9EF388F8}"/>
          </ac:spMkLst>
        </pc:spChg>
        <pc:spChg chg="add del mod">
          <ac:chgData name="Steiner Andreas 6206 ED" userId="e6377c33-a923-4f14-8587-531c474c7b48" providerId="ADAL" clId="{6ECD27E6-B224-41CD-B4E0-E297462320DD}" dt="2023-11-24T11:39:26.986" v="139289"/>
          <ac:spMkLst>
            <pc:docMk/>
            <pc:sldMk cId="1396980745" sldId="687"/>
            <ac:spMk id="902" creationId="{744AE426-492D-0E7D-4B31-C716631A98AF}"/>
          </ac:spMkLst>
        </pc:spChg>
        <pc:spChg chg="add del mod">
          <ac:chgData name="Steiner Andreas 6206 ED" userId="e6377c33-a923-4f14-8587-531c474c7b48" providerId="ADAL" clId="{6ECD27E6-B224-41CD-B4E0-E297462320DD}" dt="2023-11-24T11:39:29.608" v="139444"/>
          <ac:spMkLst>
            <pc:docMk/>
            <pc:sldMk cId="1396980745" sldId="687"/>
            <ac:spMk id="903" creationId="{3BE1AD36-BC0A-C770-1BB1-C7D996442E14}"/>
          </ac:spMkLst>
        </pc:spChg>
        <pc:spChg chg="add del mod">
          <ac:chgData name="Steiner Andreas 6206 ED" userId="e6377c33-a923-4f14-8587-531c474c7b48" providerId="ADAL" clId="{6ECD27E6-B224-41CD-B4E0-E297462320DD}" dt="2023-11-24T11:39:32.641" v="139599"/>
          <ac:spMkLst>
            <pc:docMk/>
            <pc:sldMk cId="1396980745" sldId="687"/>
            <ac:spMk id="904" creationId="{7945C154-E507-9344-949E-C42281343423}"/>
          </ac:spMkLst>
        </pc:spChg>
        <pc:spChg chg="add del mod">
          <ac:chgData name="Steiner Andreas 6206 ED" userId="e6377c33-a923-4f14-8587-531c474c7b48" providerId="ADAL" clId="{6ECD27E6-B224-41CD-B4E0-E297462320DD}" dt="2023-11-24T11:39:35.350" v="139754"/>
          <ac:spMkLst>
            <pc:docMk/>
            <pc:sldMk cId="1396980745" sldId="687"/>
            <ac:spMk id="905" creationId="{9AE836D3-5876-8517-85B5-7E0FA7DD6FE3}"/>
          </ac:spMkLst>
        </pc:spChg>
        <pc:spChg chg="add del mod">
          <ac:chgData name="Steiner Andreas 6206 ED" userId="e6377c33-a923-4f14-8587-531c474c7b48" providerId="ADAL" clId="{6ECD27E6-B224-41CD-B4E0-E297462320DD}" dt="2023-11-24T11:39:38.282" v="139909"/>
          <ac:spMkLst>
            <pc:docMk/>
            <pc:sldMk cId="1396980745" sldId="687"/>
            <ac:spMk id="906" creationId="{872CC06D-EC49-13B7-8414-63B734FAABBC}"/>
          </ac:spMkLst>
        </pc:spChg>
        <pc:spChg chg="add del mod">
          <ac:chgData name="Steiner Andreas 6206 ED" userId="e6377c33-a923-4f14-8587-531c474c7b48" providerId="ADAL" clId="{6ECD27E6-B224-41CD-B4E0-E297462320DD}" dt="2023-11-24T11:39:40.945" v="140064"/>
          <ac:spMkLst>
            <pc:docMk/>
            <pc:sldMk cId="1396980745" sldId="687"/>
            <ac:spMk id="907" creationId="{B2DECBC4-8CC5-A8B0-526D-C383A587A78D}"/>
          </ac:spMkLst>
        </pc:spChg>
        <pc:spChg chg="add del mod">
          <ac:chgData name="Steiner Andreas 6206 ED" userId="e6377c33-a923-4f14-8587-531c474c7b48" providerId="ADAL" clId="{6ECD27E6-B224-41CD-B4E0-E297462320DD}" dt="2023-11-24T11:39:43.554" v="140219"/>
          <ac:spMkLst>
            <pc:docMk/>
            <pc:sldMk cId="1396980745" sldId="687"/>
            <ac:spMk id="908" creationId="{DC5E95C7-C5AA-3ED5-4783-8373192F1276}"/>
          </ac:spMkLst>
        </pc:spChg>
        <pc:spChg chg="add del mod">
          <ac:chgData name="Steiner Andreas 6206 ED" userId="e6377c33-a923-4f14-8587-531c474c7b48" providerId="ADAL" clId="{6ECD27E6-B224-41CD-B4E0-E297462320DD}" dt="2023-11-24T11:39:46.136" v="140374"/>
          <ac:spMkLst>
            <pc:docMk/>
            <pc:sldMk cId="1396980745" sldId="687"/>
            <ac:spMk id="909" creationId="{F0F3692F-E64D-53E1-80CC-5D221091B826}"/>
          </ac:spMkLst>
        </pc:spChg>
        <pc:spChg chg="add del mod">
          <ac:chgData name="Steiner Andreas 6206 ED" userId="e6377c33-a923-4f14-8587-531c474c7b48" providerId="ADAL" clId="{6ECD27E6-B224-41CD-B4E0-E297462320DD}" dt="2023-11-24T11:39:48.571" v="140529"/>
          <ac:spMkLst>
            <pc:docMk/>
            <pc:sldMk cId="1396980745" sldId="687"/>
            <ac:spMk id="910" creationId="{6940D9DB-910D-0254-5B1E-1B2A18611CA8}"/>
          </ac:spMkLst>
        </pc:spChg>
        <pc:spChg chg="add del mod">
          <ac:chgData name="Steiner Andreas 6206 ED" userId="e6377c33-a923-4f14-8587-531c474c7b48" providerId="ADAL" clId="{6ECD27E6-B224-41CD-B4E0-E297462320DD}" dt="2023-11-24T11:39:51.572" v="140684"/>
          <ac:spMkLst>
            <pc:docMk/>
            <pc:sldMk cId="1396980745" sldId="687"/>
            <ac:spMk id="911" creationId="{8A8C485E-DA1B-D02B-BA11-F5710D331A5D}"/>
          </ac:spMkLst>
        </pc:spChg>
        <pc:spChg chg="add del mod">
          <ac:chgData name="Steiner Andreas 6206 ED" userId="e6377c33-a923-4f14-8587-531c474c7b48" providerId="ADAL" clId="{6ECD27E6-B224-41CD-B4E0-E297462320DD}" dt="2023-11-24T11:39:54.453" v="140839"/>
          <ac:spMkLst>
            <pc:docMk/>
            <pc:sldMk cId="1396980745" sldId="687"/>
            <ac:spMk id="912" creationId="{E9937592-9B24-833A-BD09-D38C76437698}"/>
          </ac:spMkLst>
        </pc:spChg>
        <pc:spChg chg="add del mod">
          <ac:chgData name="Steiner Andreas 6206 ED" userId="e6377c33-a923-4f14-8587-531c474c7b48" providerId="ADAL" clId="{6ECD27E6-B224-41CD-B4E0-E297462320DD}" dt="2023-11-24T11:39:56.970" v="140994"/>
          <ac:spMkLst>
            <pc:docMk/>
            <pc:sldMk cId="1396980745" sldId="687"/>
            <ac:spMk id="913" creationId="{B821807F-17AC-6550-39B4-B66A34E926B3}"/>
          </ac:spMkLst>
        </pc:spChg>
        <pc:spChg chg="add del mod">
          <ac:chgData name="Steiner Andreas 6206 ED" userId="e6377c33-a923-4f14-8587-531c474c7b48" providerId="ADAL" clId="{6ECD27E6-B224-41CD-B4E0-E297462320DD}" dt="2023-11-24T11:39:59.332" v="141149"/>
          <ac:spMkLst>
            <pc:docMk/>
            <pc:sldMk cId="1396980745" sldId="687"/>
            <ac:spMk id="914" creationId="{D3C35B43-BDE7-5A52-8825-5F29367366CE}"/>
          </ac:spMkLst>
        </pc:spChg>
        <pc:spChg chg="add del mod">
          <ac:chgData name="Steiner Andreas 6206 ED" userId="e6377c33-a923-4f14-8587-531c474c7b48" providerId="ADAL" clId="{6ECD27E6-B224-41CD-B4E0-E297462320DD}" dt="2023-11-24T11:40:02.085" v="141304"/>
          <ac:spMkLst>
            <pc:docMk/>
            <pc:sldMk cId="1396980745" sldId="687"/>
            <ac:spMk id="915" creationId="{7B547FE3-3CD9-A1DD-EE4A-DC321D9D47D2}"/>
          </ac:spMkLst>
        </pc:spChg>
        <pc:spChg chg="add del mod">
          <ac:chgData name="Steiner Andreas 6206 ED" userId="e6377c33-a923-4f14-8587-531c474c7b48" providerId="ADAL" clId="{6ECD27E6-B224-41CD-B4E0-E297462320DD}" dt="2023-11-24T11:40:04.939" v="141459"/>
          <ac:spMkLst>
            <pc:docMk/>
            <pc:sldMk cId="1396980745" sldId="687"/>
            <ac:spMk id="916" creationId="{FFD5F7D5-9826-6585-5E37-4D4AD12BA927}"/>
          </ac:spMkLst>
        </pc:spChg>
        <pc:spChg chg="add del mod">
          <ac:chgData name="Steiner Andreas 6206 ED" userId="e6377c33-a923-4f14-8587-531c474c7b48" providerId="ADAL" clId="{6ECD27E6-B224-41CD-B4E0-E297462320DD}" dt="2023-11-24T11:40:07.698" v="141614"/>
          <ac:spMkLst>
            <pc:docMk/>
            <pc:sldMk cId="1396980745" sldId="687"/>
            <ac:spMk id="917" creationId="{DCE3DA71-612B-0FDC-BCE9-C413126AFC1F}"/>
          </ac:spMkLst>
        </pc:spChg>
        <pc:spChg chg="add del mod">
          <ac:chgData name="Steiner Andreas 6206 ED" userId="e6377c33-a923-4f14-8587-531c474c7b48" providerId="ADAL" clId="{6ECD27E6-B224-41CD-B4E0-E297462320DD}" dt="2023-11-24T11:40:10.123" v="141769"/>
          <ac:spMkLst>
            <pc:docMk/>
            <pc:sldMk cId="1396980745" sldId="687"/>
            <ac:spMk id="918" creationId="{DA4A4FD5-89D7-3AC8-A0C2-1C28BB341B80}"/>
          </ac:spMkLst>
        </pc:spChg>
        <pc:spChg chg="add del mod">
          <ac:chgData name="Steiner Andreas 6206 ED" userId="e6377c33-a923-4f14-8587-531c474c7b48" providerId="ADAL" clId="{6ECD27E6-B224-41CD-B4E0-E297462320DD}" dt="2023-11-24T11:40:12.614" v="141924"/>
          <ac:spMkLst>
            <pc:docMk/>
            <pc:sldMk cId="1396980745" sldId="687"/>
            <ac:spMk id="919" creationId="{F6EE6655-5E89-9108-C223-B11B9D732FE2}"/>
          </ac:spMkLst>
        </pc:spChg>
        <pc:spChg chg="add del mod">
          <ac:chgData name="Steiner Andreas 6206 ED" userId="e6377c33-a923-4f14-8587-531c474c7b48" providerId="ADAL" clId="{6ECD27E6-B224-41CD-B4E0-E297462320DD}" dt="2023-11-24T11:40:16.336" v="142079"/>
          <ac:spMkLst>
            <pc:docMk/>
            <pc:sldMk cId="1396980745" sldId="687"/>
            <ac:spMk id="920" creationId="{6DF716AA-A905-D505-FD75-221B781DEE66}"/>
          </ac:spMkLst>
        </pc:spChg>
        <pc:spChg chg="add del mod">
          <ac:chgData name="Steiner Andreas 6206 ED" userId="e6377c33-a923-4f14-8587-531c474c7b48" providerId="ADAL" clId="{6ECD27E6-B224-41CD-B4E0-E297462320DD}" dt="2023-11-24T11:40:19.716" v="142234"/>
          <ac:spMkLst>
            <pc:docMk/>
            <pc:sldMk cId="1396980745" sldId="687"/>
            <ac:spMk id="921" creationId="{D436A819-D26B-89DE-8FEA-530C1F5ECD0C}"/>
          </ac:spMkLst>
        </pc:spChg>
        <pc:spChg chg="add del mod">
          <ac:chgData name="Steiner Andreas 6206 ED" userId="e6377c33-a923-4f14-8587-531c474c7b48" providerId="ADAL" clId="{6ECD27E6-B224-41CD-B4E0-E297462320DD}" dt="2023-11-24T11:40:22.516" v="142389"/>
          <ac:spMkLst>
            <pc:docMk/>
            <pc:sldMk cId="1396980745" sldId="687"/>
            <ac:spMk id="922" creationId="{99D1E619-17C2-9D86-7E4C-68DA6B08AB61}"/>
          </ac:spMkLst>
        </pc:spChg>
        <pc:spChg chg="add del mod">
          <ac:chgData name="Steiner Andreas 6206 ED" userId="e6377c33-a923-4f14-8587-531c474c7b48" providerId="ADAL" clId="{6ECD27E6-B224-41CD-B4E0-E297462320DD}" dt="2023-11-24T11:40:25.195" v="142544"/>
          <ac:spMkLst>
            <pc:docMk/>
            <pc:sldMk cId="1396980745" sldId="687"/>
            <ac:spMk id="923" creationId="{E3D78D1D-D746-BA9C-F75F-23395E8AA6C6}"/>
          </ac:spMkLst>
        </pc:spChg>
        <pc:spChg chg="add del mod">
          <ac:chgData name="Steiner Andreas 6206 ED" userId="e6377c33-a923-4f14-8587-531c474c7b48" providerId="ADAL" clId="{6ECD27E6-B224-41CD-B4E0-E297462320DD}" dt="2023-11-24T11:40:28.306" v="142699"/>
          <ac:spMkLst>
            <pc:docMk/>
            <pc:sldMk cId="1396980745" sldId="687"/>
            <ac:spMk id="924" creationId="{04A61BB4-A5FC-91E6-388C-2FC819079AC9}"/>
          </ac:spMkLst>
        </pc:spChg>
        <pc:spChg chg="add del mod">
          <ac:chgData name="Steiner Andreas 6206 ED" userId="e6377c33-a923-4f14-8587-531c474c7b48" providerId="ADAL" clId="{6ECD27E6-B224-41CD-B4E0-E297462320DD}" dt="2023-11-24T11:40:30.983" v="142854"/>
          <ac:spMkLst>
            <pc:docMk/>
            <pc:sldMk cId="1396980745" sldId="687"/>
            <ac:spMk id="925" creationId="{824966E0-D96D-14DF-8645-C4A373C8690A}"/>
          </ac:spMkLst>
        </pc:spChg>
        <pc:spChg chg="add del mod">
          <ac:chgData name="Steiner Andreas 6206 ED" userId="e6377c33-a923-4f14-8587-531c474c7b48" providerId="ADAL" clId="{6ECD27E6-B224-41CD-B4E0-E297462320DD}" dt="2023-11-24T11:40:33.542" v="143009"/>
          <ac:spMkLst>
            <pc:docMk/>
            <pc:sldMk cId="1396980745" sldId="687"/>
            <ac:spMk id="926" creationId="{5F43BFFF-211B-A6BE-430E-6C3909F19CDC}"/>
          </ac:spMkLst>
        </pc:spChg>
        <pc:spChg chg="add del mod">
          <ac:chgData name="Steiner Andreas 6206 ED" userId="e6377c33-a923-4f14-8587-531c474c7b48" providerId="ADAL" clId="{6ECD27E6-B224-41CD-B4E0-E297462320DD}" dt="2023-11-24T11:40:36.259" v="143164"/>
          <ac:spMkLst>
            <pc:docMk/>
            <pc:sldMk cId="1396980745" sldId="687"/>
            <ac:spMk id="927" creationId="{7CE03EB9-3B72-E8E5-AAEA-FB7DF7B00C7C}"/>
          </ac:spMkLst>
        </pc:spChg>
        <pc:spChg chg="add del mod">
          <ac:chgData name="Steiner Andreas 6206 ED" userId="e6377c33-a923-4f14-8587-531c474c7b48" providerId="ADAL" clId="{6ECD27E6-B224-41CD-B4E0-E297462320DD}" dt="2023-11-24T11:40:39.280" v="143319"/>
          <ac:spMkLst>
            <pc:docMk/>
            <pc:sldMk cId="1396980745" sldId="687"/>
            <ac:spMk id="928" creationId="{5E90C81B-6C05-4844-357E-B1A861510659}"/>
          </ac:spMkLst>
        </pc:spChg>
        <pc:spChg chg="add del mod">
          <ac:chgData name="Steiner Andreas 6206 ED" userId="e6377c33-a923-4f14-8587-531c474c7b48" providerId="ADAL" clId="{6ECD27E6-B224-41CD-B4E0-E297462320DD}" dt="2023-11-24T11:40:42.282" v="143474"/>
          <ac:spMkLst>
            <pc:docMk/>
            <pc:sldMk cId="1396980745" sldId="687"/>
            <ac:spMk id="929" creationId="{93591BCB-47FE-F1D5-40FC-4DBABC21FD97}"/>
          </ac:spMkLst>
        </pc:spChg>
        <pc:spChg chg="add del mod">
          <ac:chgData name="Steiner Andreas 6206 ED" userId="e6377c33-a923-4f14-8587-531c474c7b48" providerId="ADAL" clId="{6ECD27E6-B224-41CD-B4E0-E297462320DD}" dt="2023-11-24T11:40:44.953" v="143629"/>
          <ac:spMkLst>
            <pc:docMk/>
            <pc:sldMk cId="1396980745" sldId="687"/>
            <ac:spMk id="930" creationId="{D8705C12-E01F-F9C9-9B32-ACFB953F986B}"/>
          </ac:spMkLst>
        </pc:spChg>
        <pc:spChg chg="add del mod">
          <ac:chgData name="Steiner Andreas 6206 ED" userId="e6377c33-a923-4f14-8587-531c474c7b48" providerId="ADAL" clId="{6ECD27E6-B224-41CD-B4E0-E297462320DD}" dt="2023-11-24T11:40:47.708" v="143784"/>
          <ac:spMkLst>
            <pc:docMk/>
            <pc:sldMk cId="1396980745" sldId="687"/>
            <ac:spMk id="931" creationId="{7BEE7EA1-A895-123D-A073-EB0C0B900982}"/>
          </ac:spMkLst>
        </pc:spChg>
        <pc:spChg chg="add del mod">
          <ac:chgData name="Steiner Andreas 6206 ED" userId="e6377c33-a923-4f14-8587-531c474c7b48" providerId="ADAL" clId="{6ECD27E6-B224-41CD-B4E0-E297462320DD}" dt="2023-11-24T11:40:50.461" v="143939"/>
          <ac:spMkLst>
            <pc:docMk/>
            <pc:sldMk cId="1396980745" sldId="687"/>
            <ac:spMk id="932" creationId="{BF74947C-090F-9525-FC31-32901D30D45C}"/>
          </ac:spMkLst>
        </pc:spChg>
        <pc:spChg chg="add del mod">
          <ac:chgData name="Steiner Andreas 6206 ED" userId="e6377c33-a923-4f14-8587-531c474c7b48" providerId="ADAL" clId="{6ECD27E6-B224-41CD-B4E0-E297462320DD}" dt="2023-11-24T11:40:53.331" v="144094"/>
          <ac:spMkLst>
            <pc:docMk/>
            <pc:sldMk cId="1396980745" sldId="687"/>
            <ac:spMk id="933" creationId="{5AE5B63D-7B06-12AA-454F-3E9A1C5DD6EB}"/>
          </ac:spMkLst>
        </pc:spChg>
        <pc:spChg chg="add del mod">
          <ac:chgData name="Steiner Andreas 6206 ED" userId="e6377c33-a923-4f14-8587-531c474c7b48" providerId="ADAL" clId="{6ECD27E6-B224-41CD-B4E0-E297462320DD}" dt="2023-11-24T11:40:56.004" v="144249"/>
          <ac:spMkLst>
            <pc:docMk/>
            <pc:sldMk cId="1396980745" sldId="687"/>
            <ac:spMk id="934" creationId="{7D9C7168-1BA7-A09F-B6D7-5EDD6D5FBABB}"/>
          </ac:spMkLst>
        </pc:spChg>
        <pc:spChg chg="add del mod">
          <ac:chgData name="Steiner Andreas 6206 ED" userId="e6377c33-a923-4f14-8587-531c474c7b48" providerId="ADAL" clId="{6ECD27E6-B224-41CD-B4E0-E297462320DD}" dt="2023-11-24T11:40:58.581" v="144404"/>
          <ac:spMkLst>
            <pc:docMk/>
            <pc:sldMk cId="1396980745" sldId="687"/>
            <ac:spMk id="935" creationId="{F5A303F2-FEA9-3FC7-2537-164EF5E262C3}"/>
          </ac:spMkLst>
        </pc:spChg>
        <pc:spChg chg="add del mod">
          <ac:chgData name="Steiner Andreas 6206 ED" userId="e6377c33-a923-4f14-8587-531c474c7b48" providerId="ADAL" clId="{6ECD27E6-B224-41CD-B4E0-E297462320DD}" dt="2023-11-24T11:41:01.161" v="144559"/>
          <ac:spMkLst>
            <pc:docMk/>
            <pc:sldMk cId="1396980745" sldId="687"/>
            <ac:spMk id="936" creationId="{07896411-A409-E7F7-873A-168F633554DC}"/>
          </ac:spMkLst>
        </pc:spChg>
        <pc:spChg chg="add del mod">
          <ac:chgData name="Steiner Andreas 6206 ED" userId="e6377c33-a923-4f14-8587-531c474c7b48" providerId="ADAL" clId="{6ECD27E6-B224-41CD-B4E0-E297462320DD}" dt="2023-11-24T11:41:03.821" v="144714"/>
          <ac:spMkLst>
            <pc:docMk/>
            <pc:sldMk cId="1396980745" sldId="687"/>
            <ac:spMk id="937" creationId="{A48B2AD5-0761-1BD8-D3C8-0FA75CB4128D}"/>
          </ac:spMkLst>
        </pc:spChg>
        <pc:spChg chg="add del mod">
          <ac:chgData name="Steiner Andreas 6206 ED" userId="e6377c33-a923-4f14-8587-531c474c7b48" providerId="ADAL" clId="{6ECD27E6-B224-41CD-B4E0-E297462320DD}" dt="2023-11-24T11:41:06.972" v="144869"/>
          <ac:spMkLst>
            <pc:docMk/>
            <pc:sldMk cId="1396980745" sldId="687"/>
            <ac:spMk id="938" creationId="{FC1895B4-8F87-9D39-0178-391CC40F9F7B}"/>
          </ac:spMkLst>
        </pc:spChg>
        <pc:spChg chg="add del mod">
          <ac:chgData name="Steiner Andreas 6206 ED" userId="e6377c33-a923-4f14-8587-531c474c7b48" providerId="ADAL" clId="{6ECD27E6-B224-41CD-B4E0-E297462320DD}" dt="2023-11-24T11:41:10.101" v="145024"/>
          <ac:spMkLst>
            <pc:docMk/>
            <pc:sldMk cId="1396980745" sldId="687"/>
            <ac:spMk id="939" creationId="{B67C4660-23B7-2974-FD91-A0CA7C354295}"/>
          </ac:spMkLst>
        </pc:spChg>
        <pc:spChg chg="add del mod">
          <ac:chgData name="Steiner Andreas 6206 ED" userId="e6377c33-a923-4f14-8587-531c474c7b48" providerId="ADAL" clId="{6ECD27E6-B224-41CD-B4E0-E297462320DD}" dt="2023-11-24T11:41:12.938" v="145179"/>
          <ac:spMkLst>
            <pc:docMk/>
            <pc:sldMk cId="1396980745" sldId="687"/>
            <ac:spMk id="940" creationId="{E6765245-201A-BDC8-3F2B-2FF3F00617E0}"/>
          </ac:spMkLst>
        </pc:spChg>
        <pc:spChg chg="add del mod">
          <ac:chgData name="Steiner Andreas 6206 ED" userId="e6377c33-a923-4f14-8587-531c474c7b48" providerId="ADAL" clId="{6ECD27E6-B224-41CD-B4E0-E297462320DD}" dt="2023-11-24T11:41:15.964" v="145334"/>
          <ac:spMkLst>
            <pc:docMk/>
            <pc:sldMk cId="1396980745" sldId="687"/>
            <ac:spMk id="941" creationId="{8333C330-97F0-418D-D68F-3AE833D7B25F}"/>
          </ac:spMkLst>
        </pc:spChg>
        <pc:spChg chg="add del mod">
          <ac:chgData name="Steiner Andreas 6206 ED" userId="e6377c33-a923-4f14-8587-531c474c7b48" providerId="ADAL" clId="{6ECD27E6-B224-41CD-B4E0-E297462320DD}" dt="2023-11-24T11:41:19.190" v="145489"/>
          <ac:spMkLst>
            <pc:docMk/>
            <pc:sldMk cId="1396980745" sldId="687"/>
            <ac:spMk id="942" creationId="{78BF9632-3871-4613-1FBF-5C0BDC82D299}"/>
          </ac:spMkLst>
        </pc:spChg>
        <pc:spChg chg="add del mod">
          <ac:chgData name="Steiner Andreas 6206 ED" userId="e6377c33-a923-4f14-8587-531c474c7b48" providerId="ADAL" clId="{6ECD27E6-B224-41CD-B4E0-E297462320DD}" dt="2023-11-24T11:41:21.725" v="145644"/>
          <ac:spMkLst>
            <pc:docMk/>
            <pc:sldMk cId="1396980745" sldId="687"/>
            <ac:spMk id="943" creationId="{99087FCC-9C02-2CFF-04B7-4D262192DB35}"/>
          </ac:spMkLst>
        </pc:spChg>
        <pc:spChg chg="add del mod">
          <ac:chgData name="Steiner Andreas 6206 ED" userId="e6377c33-a923-4f14-8587-531c474c7b48" providerId="ADAL" clId="{6ECD27E6-B224-41CD-B4E0-E297462320DD}" dt="2023-11-24T11:41:25.608" v="145799"/>
          <ac:spMkLst>
            <pc:docMk/>
            <pc:sldMk cId="1396980745" sldId="687"/>
            <ac:spMk id="944" creationId="{BF70CFB3-C76A-C618-F1F6-E90C34CC7791}"/>
          </ac:spMkLst>
        </pc:spChg>
        <pc:spChg chg="add del mod">
          <ac:chgData name="Steiner Andreas 6206 ED" userId="e6377c33-a923-4f14-8587-531c474c7b48" providerId="ADAL" clId="{6ECD27E6-B224-41CD-B4E0-E297462320DD}" dt="2023-11-24T11:41:28.606" v="145954"/>
          <ac:spMkLst>
            <pc:docMk/>
            <pc:sldMk cId="1396980745" sldId="687"/>
            <ac:spMk id="945" creationId="{29CB6A96-FA9E-A945-2B0E-354AD51BAB4B}"/>
          </ac:spMkLst>
        </pc:spChg>
        <pc:spChg chg="add del mod">
          <ac:chgData name="Steiner Andreas 6206 ED" userId="e6377c33-a923-4f14-8587-531c474c7b48" providerId="ADAL" clId="{6ECD27E6-B224-41CD-B4E0-E297462320DD}" dt="2023-11-24T11:41:31.323" v="146109"/>
          <ac:spMkLst>
            <pc:docMk/>
            <pc:sldMk cId="1396980745" sldId="687"/>
            <ac:spMk id="946" creationId="{6836B12B-9F52-C443-7903-1CF677B6AEAF}"/>
          </ac:spMkLst>
        </pc:spChg>
        <pc:spChg chg="add del mod">
          <ac:chgData name="Steiner Andreas 6206 ED" userId="e6377c33-a923-4f14-8587-531c474c7b48" providerId="ADAL" clId="{6ECD27E6-B224-41CD-B4E0-E297462320DD}" dt="2023-11-24T11:41:33.521" v="146264"/>
          <ac:spMkLst>
            <pc:docMk/>
            <pc:sldMk cId="1396980745" sldId="687"/>
            <ac:spMk id="947" creationId="{C91434E2-73DB-5183-5D1A-B3C3617E4EFA}"/>
          </ac:spMkLst>
        </pc:spChg>
        <pc:spChg chg="add del mod">
          <ac:chgData name="Steiner Andreas 6206 ED" userId="e6377c33-a923-4f14-8587-531c474c7b48" providerId="ADAL" clId="{6ECD27E6-B224-41CD-B4E0-E297462320DD}" dt="2023-11-24T11:41:35.639" v="146419"/>
          <ac:spMkLst>
            <pc:docMk/>
            <pc:sldMk cId="1396980745" sldId="687"/>
            <ac:spMk id="948" creationId="{EFDA0A09-8791-747A-399C-DA64341AE9AF}"/>
          </ac:spMkLst>
        </pc:spChg>
        <pc:spChg chg="add del mod">
          <ac:chgData name="Steiner Andreas 6206 ED" userId="e6377c33-a923-4f14-8587-531c474c7b48" providerId="ADAL" clId="{6ECD27E6-B224-41CD-B4E0-E297462320DD}" dt="2023-11-24T11:41:37.850" v="146574"/>
          <ac:spMkLst>
            <pc:docMk/>
            <pc:sldMk cId="1396980745" sldId="687"/>
            <ac:spMk id="949" creationId="{07A1829E-680D-DD2C-BCCB-F8ED855237D8}"/>
          </ac:spMkLst>
        </pc:spChg>
        <pc:spChg chg="add del mod">
          <ac:chgData name="Steiner Andreas 6206 ED" userId="e6377c33-a923-4f14-8587-531c474c7b48" providerId="ADAL" clId="{6ECD27E6-B224-41CD-B4E0-E297462320DD}" dt="2023-11-24T11:41:40.595" v="146729"/>
          <ac:spMkLst>
            <pc:docMk/>
            <pc:sldMk cId="1396980745" sldId="687"/>
            <ac:spMk id="950" creationId="{E05AD780-903D-2219-3A08-8FB0EB200DF0}"/>
          </ac:spMkLst>
        </pc:spChg>
        <pc:spChg chg="add del mod">
          <ac:chgData name="Steiner Andreas 6206 ED" userId="e6377c33-a923-4f14-8587-531c474c7b48" providerId="ADAL" clId="{6ECD27E6-B224-41CD-B4E0-E297462320DD}" dt="2023-11-24T11:41:42.763" v="146884"/>
          <ac:spMkLst>
            <pc:docMk/>
            <pc:sldMk cId="1396980745" sldId="687"/>
            <ac:spMk id="951" creationId="{7A5045B5-A576-324C-C32D-B22A1A4A86D5}"/>
          </ac:spMkLst>
        </pc:spChg>
        <pc:spChg chg="add del mod">
          <ac:chgData name="Steiner Andreas 6206 ED" userId="e6377c33-a923-4f14-8587-531c474c7b48" providerId="ADAL" clId="{6ECD27E6-B224-41CD-B4E0-E297462320DD}" dt="2023-11-24T11:41:44.843" v="147039"/>
          <ac:spMkLst>
            <pc:docMk/>
            <pc:sldMk cId="1396980745" sldId="687"/>
            <ac:spMk id="952" creationId="{810011B4-717E-4D75-25EB-5D31B8F7CB0A}"/>
          </ac:spMkLst>
        </pc:spChg>
        <pc:spChg chg="add del mod">
          <ac:chgData name="Steiner Andreas 6206 ED" userId="e6377c33-a923-4f14-8587-531c474c7b48" providerId="ADAL" clId="{6ECD27E6-B224-41CD-B4E0-E297462320DD}" dt="2023-11-24T11:41:47.352" v="147194"/>
          <ac:spMkLst>
            <pc:docMk/>
            <pc:sldMk cId="1396980745" sldId="687"/>
            <ac:spMk id="953" creationId="{CB151F65-80F1-60C4-F120-EFD322363E81}"/>
          </ac:spMkLst>
        </pc:spChg>
        <pc:spChg chg="add del mod">
          <ac:chgData name="Steiner Andreas 6206 ED" userId="e6377c33-a923-4f14-8587-531c474c7b48" providerId="ADAL" clId="{6ECD27E6-B224-41CD-B4E0-E297462320DD}" dt="2023-11-24T11:41:49.471" v="147349"/>
          <ac:spMkLst>
            <pc:docMk/>
            <pc:sldMk cId="1396980745" sldId="687"/>
            <ac:spMk id="954" creationId="{2A32D9A2-29A4-8CAC-AB0E-A1BB1E3C48EB}"/>
          </ac:spMkLst>
        </pc:spChg>
        <pc:spChg chg="add del mod">
          <ac:chgData name="Steiner Andreas 6206 ED" userId="e6377c33-a923-4f14-8587-531c474c7b48" providerId="ADAL" clId="{6ECD27E6-B224-41CD-B4E0-E297462320DD}" dt="2023-11-24T11:41:51.789" v="147504"/>
          <ac:spMkLst>
            <pc:docMk/>
            <pc:sldMk cId="1396980745" sldId="687"/>
            <ac:spMk id="955" creationId="{C2F4D50A-9674-43F5-60D1-5379F6E05582}"/>
          </ac:spMkLst>
        </pc:spChg>
        <pc:spChg chg="add del mod">
          <ac:chgData name="Steiner Andreas 6206 ED" userId="e6377c33-a923-4f14-8587-531c474c7b48" providerId="ADAL" clId="{6ECD27E6-B224-41CD-B4E0-E297462320DD}" dt="2023-11-24T11:41:54.223" v="147659"/>
          <ac:spMkLst>
            <pc:docMk/>
            <pc:sldMk cId="1396980745" sldId="687"/>
            <ac:spMk id="956" creationId="{8CDD4D58-1538-8B47-2A29-AEF4F8E1CA91}"/>
          </ac:spMkLst>
        </pc:spChg>
        <pc:spChg chg="add del mod">
          <ac:chgData name="Steiner Andreas 6206 ED" userId="e6377c33-a923-4f14-8587-531c474c7b48" providerId="ADAL" clId="{6ECD27E6-B224-41CD-B4E0-E297462320DD}" dt="2023-11-24T11:41:57.302" v="147814"/>
          <ac:spMkLst>
            <pc:docMk/>
            <pc:sldMk cId="1396980745" sldId="687"/>
            <ac:spMk id="957" creationId="{1B79A39B-7513-16E2-F485-776E28FB471F}"/>
          </ac:spMkLst>
        </pc:spChg>
        <pc:spChg chg="add del mod">
          <ac:chgData name="Steiner Andreas 6206 ED" userId="e6377c33-a923-4f14-8587-531c474c7b48" providerId="ADAL" clId="{6ECD27E6-B224-41CD-B4E0-E297462320DD}" dt="2023-11-24T11:42:00.666" v="147969"/>
          <ac:spMkLst>
            <pc:docMk/>
            <pc:sldMk cId="1396980745" sldId="687"/>
            <ac:spMk id="958" creationId="{18811219-4D0B-A314-5432-DD3A87F3E7AF}"/>
          </ac:spMkLst>
        </pc:spChg>
        <pc:spChg chg="add del mod">
          <ac:chgData name="Steiner Andreas 6206 ED" userId="e6377c33-a923-4f14-8587-531c474c7b48" providerId="ADAL" clId="{6ECD27E6-B224-41CD-B4E0-E297462320DD}" dt="2023-11-24T11:42:04.001" v="148124"/>
          <ac:spMkLst>
            <pc:docMk/>
            <pc:sldMk cId="1396980745" sldId="687"/>
            <ac:spMk id="959" creationId="{8D279DCF-E14A-3E0C-702E-801EE4EB63D3}"/>
          </ac:spMkLst>
        </pc:spChg>
        <pc:spChg chg="add del mod">
          <ac:chgData name="Steiner Andreas 6206 ED" userId="e6377c33-a923-4f14-8587-531c474c7b48" providerId="ADAL" clId="{6ECD27E6-B224-41CD-B4E0-E297462320DD}" dt="2023-11-24T11:42:06.496" v="148279"/>
          <ac:spMkLst>
            <pc:docMk/>
            <pc:sldMk cId="1396980745" sldId="687"/>
            <ac:spMk id="960" creationId="{CBAC1484-06A1-B509-845D-241F2538029D}"/>
          </ac:spMkLst>
        </pc:spChg>
        <pc:spChg chg="add del mod">
          <ac:chgData name="Steiner Andreas 6206 ED" userId="e6377c33-a923-4f14-8587-531c474c7b48" providerId="ADAL" clId="{6ECD27E6-B224-41CD-B4E0-E297462320DD}" dt="2023-11-24T11:42:08.762" v="148434"/>
          <ac:spMkLst>
            <pc:docMk/>
            <pc:sldMk cId="1396980745" sldId="687"/>
            <ac:spMk id="961" creationId="{01057EF6-506E-742B-0EB4-8E30F090AC32}"/>
          </ac:spMkLst>
        </pc:spChg>
        <pc:spChg chg="add del mod">
          <ac:chgData name="Steiner Andreas 6206 ED" userId="e6377c33-a923-4f14-8587-531c474c7b48" providerId="ADAL" clId="{6ECD27E6-B224-41CD-B4E0-E297462320DD}" dt="2023-11-24T11:42:11.347" v="148589"/>
          <ac:spMkLst>
            <pc:docMk/>
            <pc:sldMk cId="1396980745" sldId="687"/>
            <ac:spMk id="962" creationId="{1CBF8C44-84FC-B683-3A9F-DA7F2CC83CB0}"/>
          </ac:spMkLst>
        </pc:spChg>
        <pc:spChg chg="add del mod">
          <ac:chgData name="Steiner Andreas 6206 ED" userId="e6377c33-a923-4f14-8587-531c474c7b48" providerId="ADAL" clId="{6ECD27E6-B224-41CD-B4E0-E297462320DD}" dt="2023-11-24T11:42:13.946" v="148744"/>
          <ac:spMkLst>
            <pc:docMk/>
            <pc:sldMk cId="1396980745" sldId="687"/>
            <ac:spMk id="963" creationId="{404EF1E1-69B6-A200-F270-56F0EEC32486}"/>
          </ac:spMkLst>
        </pc:spChg>
        <pc:spChg chg="add del mod">
          <ac:chgData name="Steiner Andreas 6206 ED" userId="e6377c33-a923-4f14-8587-531c474c7b48" providerId="ADAL" clId="{6ECD27E6-B224-41CD-B4E0-E297462320DD}" dt="2023-11-24T11:42:16.263" v="148899"/>
          <ac:spMkLst>
            <pc:docMk/>
            <pc:sldMk cId="1396980745" sldId="687"/>
            <ac:spMk id="964" creationId="{984F8BCA-613D-647B-5F15-469E4C4059FC}"/>
          </ac:spMkLst>
        </pc:spChg>
        <pc:spChg chg="add del mod">
          <ac:chgData name="Steiner Andreas 6206 ED" userId="e6377c33-a923-4f14-8587-531c474c7b48" providerId="ADAL" clId="{6ECD27E6-B224-41CD-B4E0-E297462320DD}" dt="2023-11-24T11:42:18.381" v="149054"/>
          <ac:spMkLst>
            <pc:docMk/>
            <pc:sldMk cId="1396980745" sldId="687"/>
            <ac:spMk id="965" creationId="{97BFA9F4-AD18-CD57-D61B-860D7035F90C}"/>
          </ac:spMkLst>
        </pc:spChg>
        <pc:spChg chg="add del mod">
          <ac:chgData name="Steiner Andreas 6206 ED" userId="e6377c33-a923-4f14-8587-531c474c7b48" providerId="ADAL" clId="{6ECD27E6-B224-41CD-B4E0-E297462320DD}" dt="2023-11-24T11:42:20.423" v="149209"/>
          <ac:spMkLst>
            <pc:docMk/>
            <pc:sldMk cId="1396980745" sldId="687"/>
            <ac:spMk id="966" creationId="{CC50A69E-98BD-9905-C69B-94DC8E759211}"/>
          </ac:spMkLst>
        </pc:spChg>
        <pc:spChg chg="add del mod">
          <ac:chgData name="Steiner Andreas 6206 ED" userId="e6377c33-a923-4f14-8587-531c474c7b48" providerId="ADAL" clId="{6ECD27E6-B224-41CD-B4E0-E297462320DD}" dt="2023-11-24T11:42:22.502" v="149364"/>
          <ac:spMkLst>
            <pc:docMk/>
            <pc:sldMk cId="1396980745" sldId="687"/>
            <ac:spMk id="967" creationId="{877AA81A-9ECB-EADC-D5F7-D82666AAA128}"/>
          </ac:spMkLst>
        </pc:spChg>
        <pc:spChg chg="add del mod">
          <ac:chgData name="Steiner Andreas 6206 ED" userId="e6377c33-a923-4f14-8587-531c474c7b48" providerId="ADAL" clId="{6ECD27E6-B224-41CD-B4E0-E297462320DD}" dt="2023-11-24T11:42:24.428" v="149519"/>
          <ac:spMkLst>
            <pc:docMk/>
            <pc:sldMk cId="1396980745" sldId="687"/>
            <ac:spMk id="968" creationId="{296A4B21-01CA-F296-5A33-6BC28B6AAA36}"/>
          </ac:spMkLst>
        </pc:spChg>
        <pc:spChg chg="add del mod">
          <ac:chgData name="Steiner Andreas 6206 ED" userId="e6377c33-a923-4f14-8587-531c474c7b48" providerId="ADAL" clId="{6ECD27E6-B224-41CD-B4E0-E297462320DD}" dt="2023-11-24T11:42:26.371" v="149674"/>
          <ac:spMkLst>
            <pc:docMk/>
            <pc:sldMk cId="1396980745" sldId="687"/>
            <ac:spMk id="969" creationId="{DD15247E-2E91-7A62-DE0D-761EF6BE988A}"/>
          </ac:spMkLst>
        </pc:spChg>
        <pc:spChg chg="add del mod">
          <ac:chgData name="Steiner Andreas 6206 ED" userId="e6377c33-a923-4f14-8587-531c474c7b48" providerId="ADAL" clId="{6ECD27E6-B224-41CD-B4E0-E297462320DD}" dt="2023-11-24T11:42:29.469" v="149829"/>
          <ac:spMkLst>
            <pc:docMk/>
            <pc:sldMk cId="1396980745" sldId="687"/>
            <ac:spMk id="970" creationId="{F79BB5F4-64D1-ED93-0D23-13E8D7E74E3A}"/>
          </ac:spMkLst>
        </pc:spChg>
        <pc:spChg chg="add del mod">
          <ac:chgData name="Steiner Andreas 6206 ED" userId="e6377c33-a923-4f14-8587-531c474c7b48" providerId="ADAL" clId="{6ECD27E6-B224-41CD-B4E0-E297462320DD}" dt="2023-11-24T11:42:32.446" v="149984"/>
          <ac:spMkLst>
            <pc:docMk/>
            <pc:sldMk cId="1396980745" sldId="687"/>
            <ac:spMk id="971" creationId="{1EB41E4A-407F-2DDF-BF3A-C7A991A21C39}"/>
          </ac:spMkLst>
        </pc:spChg>
        <pc:spChg chg="add del mod">
          <ac:chgData name="Steiner Andreas 6206 ED" userId="e6377c33-a923-4f14-8587-531c474c7b48" providerId="ADAL" clId="{6ECD27E6-B224-41CD-B4E0-E297462320DD}" dt="2023-11-24T11:42:35.730" v="150139"/>
          <ac:spMkLst>
            <pc:docMk/>
            <pc:sldMk cId="1396980745" sldId="687"/>
            <ac:spMk id="972" creationId="{9F20DAAB-FF06-E5FB-19F5-56140C50761D}"/>
          </ac:spMkLst>
        </pc:spChg>
        <pc:spChg chg="add del mod">
          <ac:chgData name="Steiner Andreas 6206 ED" userId="e6377c33-a923-4f14-8587-531c474c7b48" providerId="ADAL" clId="{6ECD27E6-B224-41CD-B4E0-E297462320DD}" dt="2023-11-24T11:42:38.030" v="150294"/>
          <ac:spMkLst>
            <pc:docMk/>
            <pc:sldMk cId="1396980745" sldId="687"/>
            <ac:spMk id="973" creationId="{8C8968B5-BFE9-DFE8-E3BE-97A12B9C419C}"/>
          </ac:spMkLst>
        </pc:spChg>
        <pc:spChg chg="add del mod">
          <ac:chgData name="Steiner Andreas 6206 ED" userId="e6377c33-a923-4f14-8587-531c474c7b48" providerId="ADAL" clId="{6ECD27E6-B224-41CD-B4E0-E297462320DD}" dt="2023-11-24T11:42:40.133" v="150449"/>
          <ac:spMkLst>
            <pc:docMk/>
            <pc:sldMk cId="1396980745" sldId="687"/>
            <ac:spMk id="974" creationId="{F1AB54B6-EF54-5D1C-E2E7-EB7F41601D66}"/>
          </ac:spMkLst>
        </pc:spChg>
        <pc:spChg chg="add del mod">
          <ac:chgData name="Steiner Andreas 6206 ED" userId="e6377c33-a923-4f14-8587-531c474c7b48" providerId="ADAL" clId="{6ECD27E6-B224-41CD-B4E0-E297462320DD}" dt="2023-11-24T11:42:42.190" v="150604"/>
          <ac:spMkLst>
            <pc:docMk/>
            <pc:sldMk cId="1396980745" sldId="687"/>
            <ac:spMk id="975" creationId="{C987D40A-54C5-60D4-4CC1-87C080550F6C}"/>
          </ac:spMkLst>
        </pc:spChg>
        <pc:spChg chg="add del mod">
          <ac:chgData name="Steiner Andreas 6206 ED" userId="e6377c33-a923-4f14-8587-531c474c7b48" providerId="ADAL" clId="{6ECD27E6-B224-41CD-B4E0-E297462320DD}" dt="2023-11-24T11:42:44.288" v="150759"/>
          <ac:spMkLst>
            <pc:docMk/>
            <pc:sldMk cId="1396980745" sldId="687"/>
            <ac:spMk id="976" creationId="{82B36639-D59C-31B4-8CDE-7DFB207ABE5E}"/>
          </ac:spMkLst>
        </pc:spChg>
        <pc:spChg chg="add del mod">
          <ac:chgData name="Steiner Andreas 6206 ED" userId="e6377c33-a923-4f14-8587-531c474c7b48" providerId="ADAL" clId="{6ECD27E6-B224-41CD-B4E0-E297462320DD}" dt="2023-11-24T11:42:46.529" v="150914"/>
          <ac:spMkLst>
            <pc:docMk/>
            <pc:sldMk cId="1396980745" sldId="687"/>
            <ac:spMk id="977" creationId="{D51229AF-45DA-2C4A-1A02-F5BEA6A26D48}"/>
          </ac:spMkLst>
        </pc:spChg>
        <pc:spChg chg="add del mod">
          <ac:chgData name="Steiner Andreas 6206 ED" userId="e6377c33-a923-4f14-8587-531c474c7b48" providerId="ADAL" clId="{6ECD27E6-B224-41CD-B4E0-E297462320DD}" dt="2023-11-24T11:42:48.775" v="151069"/>
          <ac:spMkLst>
            <pc:docMk/>
            <pc:sldMk cId="1396980745" sldId="687"/>
            <ac:spMk id="978" creationId="{C2757A0C-787B-5949-C3E6-E2183C33D367}"/>
          </ac:spMkLst>
        </pc:spChg>
        <pc:spChg chg="add del mod">
          <ac:chgData name="Steiner Andreas 6206 ED" userId="e6377c33-a923-4f14-8587-531c474c7b48" providerId="ADAL" clId="{6ECD27E6-B224-41CD-B4E0-E297462320DD}" dt="2023-11-24T11:42:51.004" v="151224"/>
          <ac:spMkLst>
            <pc:docMk/>
            <pc:sldMk cId="1396980745" sldId="687"/>
            <ac:spMk id="979" creationId="{DEFD5373-49A7-EF5F-FCE5-A9473D593A93}"/>
          </ac:spMkLst>
        </pc:spChg>
        <pc:spChg chg="add del mod">
          <ac:chgData name="Steiner Andreas 6206 ED" userId="e6377c33-a923-4f14-8587-531c474c7b48" providerId="ADAL" clId="{6ECD27E6-B224-41CD-B4E0-E297462320DD}" dt="2023-11-24T11:42:53.364" v="151379"/>
          <ac:spMkLst>
            <pc:docMk/>
            <pc:sldMk cId="1396980745" sldId="687"/>
            <ac:spMk id="980" creationId="{E6FF9EE5-1920-DCEA-2A92-1AB495952101}"/>
          </ac:spMkLst>
        </pc:spChg>
        <pc:spChg chg="add del mod">
          <ac:chgData name="Steiner Andreas 6206 ED" userId="e6377c33-a923-4f14-8587-531c474c7b48" providerId="ADAL" clId="{6ECD27E6-B224-41CD-B4E0-E297462320DD}" dt="2023-11-24T11:42:55.603" v="151534"/>
          <ac:spMkLst>
            <pc:docMk/>
            <pc:sldMk cId="1396980745" sldId="687"/>
            <ac:spMk id="981" creationId="{1D492C80-36CA-4342-8DF2-4705F29EBA94}"/>
          </ac:spMkLst>
        </pc:spChg>
        <pc:spChg chg="add del mod">
          <ac:chgData name="Steiner Andreas 6206 ED" userId="e6377c33-a923-4f14-8587-531c474c7b48" providerId="ADAL" clId="{6ECD27E6-B224-41CD-B4E0-E297462320DD}" dt="2023-11-24T11:42:58.053" v="151689"/>
          <ac:spMkLst>
            <pc:docMk/>
            <pc:sldMk cId="1396980745" sldId="687"/>
            <ac:spMk id="982" creationId="{E9046B37-CE9B-B355-DE52-D70A27B8E37A}"/>
          </ac:spMkLst>
        </pc:spChg>
        <pc:spChg chg="add del mod">
          <ac:chgData name="Steiner Andreas 6206 ED" userId="e6377c33-a923-4f14-8587-531c474c7b48" providerId="ADAL" clId="{6ECD27E6-B224-41CD-B4E0-E297462320DD}" dt="2023-11-24T11:43:01.775" v="151844"/>
          <ac:spMkLst>
            <pc:docMk/>
            <pc:sldMk cId="1396980745" sldId="687"/>
            <ac:spMk id="983" creationId="{D69F377A-9482-C195-5854-33B85A08661E}"/>
          </ac:spMkLst>
        </pc:spChg>
        <pc:spChg chg="add del mod">
          <ac:chgData name="Steiner Andreas 6206 ED" userId="e6377c33-a923-4f14-8587-531c474c7b48" providerId="ADAL" clId="{6ECD27E6-B224-41CD-B4E0-E297462320DD}" dt="2023-11-24T11:43:04.076" v="151999"/>
          <ac:spMkLst>
            <pc:docMk/>
            <pc:sldMk cId="1396980745" sldId="687"/>
            <ac:spMk id="984" creationId="{7EAA63F3-4B2B-87F4-762B-D62EC000FBB6}"/>
          </ac:spMkLst>
        </pc:spChg>
        <pc:spChg chg="add del mod">
          <ac:chgData name="Steiner Andreas 6206 ED" userId="e6377c33-a923-4f14-8587-531c474c7b48" providerId="ADAL" clId="{6ECD27E6-B224-41CD-B4E0-E297462320DD}" dt="2023-11-24T11:43:06.292" v="152154"/>
          <ac:spMkLst>
            <pc:docMk/>
            <pc:sldMk cId="1396980745" sldId="687"/>
            <ac:spMk id="985" creationId="{B28BBB4F-0505-7246-F145-0872AFDD05C7}"/>
          </ac:spMkLst>
        </pc:spChg>
        <pc:spChg chg="add del mod">
          <ac:chgData name="Steiner Andreas 6206 ED" userId="e6377c33-a923-4f14-8587-531c474c7b48" providerId="ADAL" clId="{6ECD27E6-B224-41CD-B4E0-E297462320DD}" dt="2023-11-24T11:43:08.396" v="152309"/>
          <ac:spMkLst>
            <pc:docMk/>
            <pc:sldMk cId="1396980745" sldId="687"/>
            <ac:spMk id="986" creationId="{0C327062-390F-49CA-FA00-B57F0DF1C93B}"/>
          </ac:spMkLst>
        </pc:spChg>
        <pc:spChg chg="add del mod">
          <ac:chgData name="Steiner Andreas 6206 ED" userId="e6377c33-a923-4f14-8587-531c474c7b48" providerId="ADAL" clId="{6ECD27E6-B224-41CD-B4E0-E297462320DD}" dt="2023-11-24T11:43:10.563" v="152464"/>
          <ac:spMkLst>
            <pc:docMk/>
            <pc:sldMk cId="1396980745" sldId="687"/>
            <ac:spMk id="987" creationId="{0C932F9A-5043-6962-54AC-3B570DD59EE8}"/>
          </ac:spMkLst>
        </pc:spChg>
        <pc:spChg chg="add del mod">
          <ac:chgData name="Steiner Andreas 6206 ED" userId="e6377c33-a923-4f14-8587-531c474c7b48" providerId="ADAL" clId="{6ECD27E6-B224-41CD-B4E0-E297462320DD}" dt="2023-11-24T11:43:12.778" v="152619"/>
          <ac:spMkLst>
            <pc:docMk/>
            <pc:sldMk cId="1396980745" sldId="687"/>
            <ac:spMk id="988" creationId="{51A130B8-19FE-B6B2-A034-2F2EBD6F6ABA}"/>
          </ac:spMkLst>
        </pc:spChg>
        <pc:spChg chg="add del mod">
          <ac:chgData name="Steiner Andreas 6206 ED" userId="e6377c33-a923-4f14-8587-531c474c7b48" providerId="ADAL" clId="{6ECD27E6-B224-41CD-B4E0-E297462320DD}" dt="2023-11-24T11:43:15.101" v="152774"/>
          <ac:spMkLst>
            <pc:docMk/>
            <pc:sldMk cId="1396980745" sldId="687"/>
            <ac:spMk id="989" creationId="{9575AF9D-D64F-F0F5-AFE2-1F77C571C475}"/>
          </ac:spMkLst>
        </pc:spChg>
        <pc:spChg chg="add del mod">
          <ac:chgData name="Steiner Andreas 6206 ED" userId="e6377c33-a923-4f14-8587-531c474c7b48" providerId="ADAL" clId="{6ECD27E6-B224-41CD-B4E0-E297462320DD}" dt="2023-11-24T11:43:18.153" v="152929"/>
          <ac:spMkLst>
            <pc:docMk/>
            <pc:sldMk cId="1396980745" sldId="687"/>
            <ac:spMk id="990" creationId="{36106495-4412-219B-A80D-DB2CDD29E343}"/>
          </ac:spMkLst>
        </pc:spChg>
        <pc:spChg chg="add del mod">
          <ac:chgData name="Steiner Andreas 6206 ED" userId="e6377c33-a923-4f14-8587-531c474c7b48" providerId="ADAL" clId="{6ECD27E6-B224-41CD-B4E0-E297462320DD}" dt="2023-11-24T11:43:22.326" v="153084"/>
          <ac:spMkLst>
            <pc:docMk/>
            <pc:sldMk cId="1396980745" sldId="687"/>
            <ac:spMk id="991" creationId="{D0B0158D-328C-09CA-BE59-86C13E7B1ED6}"/>
          </ac:spMkLst>
        </pc:spChg>
        <pc:spChg chg="add del mod">
          <ac:chgData name="Steiner Andreas 6206 ED" userId="e6377c33-a923-4f14-8587-531c474c7b48" providerId="ADAL" clId="{6ECD27E6-B224-41CD-B4E0-E297462320DD}" dt="2023-11-24T11:43:24.803" v="153239"/>
          <ac:spMkLst>
            <pc:docMk/>
            <pc:sldMk cId="1396980745" sldId="687"/>
            <ac:spMk id="992" creationId="{0D45BD30-570B-72D0-BC5A-D2A749B2C824}"/>
          </ac:spMkLst>
        </pc:spChg>
        <pc:spChg chg="add del mod">
          <ac:chgData name="Steiner Andreas 6206 ED" userId="e6377c33-a923-4f14-8587-531c474c7b48" providerId="ADAL" clId="{6ECD27E6-B224-41CD-B4E0-E297462320DD}" dt="2023-11-24T11:43:27.076" v="153394"/>
          <ac:spMkLst>
            <pc:docMk/>
            <pc:sldMk cId="1396980745" sldId="687"/>
            <ac:spMk id="993" creationId="{EE27B7A5-2238-40A8-7379-06998A072976}"/>
          </ac:spMkLst>
        </pc:spChg>
        <pc:spChg chg="add del mod">
          <ac:chgData name="Steiner Andreas 6206 ED" userId="e6377c33-a923-4f14-8587-531c474c7b48" providerId="ADAL" clId="{6ECD27E6-B224-41CD-B4E0-E297462320DD}" dt="2023-11-24T11:43:29.340" v="153549"/>
          <ac:spMkLst>
            <pc:docMk/>
            <pc:sldMk cId="1396980745" sldId="687"/>
            <ac:spMk id="994" creationId="{88FF4B32-76CD-BA60-C760-D63AA8C76731}"/>
          </ac:spMkLst>
        </pc:spChg>
        <pc:spChg chg="add del mod">
          <ac:chgData name="Steiner Andreas 6206 ED" userId="e6377c33-a923-4f14-8587-531c474c7b48" providerId="ADAL" clId="{6ECD27E6-B224-41CD-B4E0-E297462320DD}" dt="2023-11-24T11:43:31.596" v="153704"/>
          <ac:spMkLst>
            <pc:docMk/>
            <pc:sldMk cId="1396980745" sldId="687"/>
            <ac:spMk id="995" creationId="{ED606D38-2744-6CEA-44A5-0D72E7ECE960}"/>
          </ac:spMkLst>
        </pc:spChg>
        <pc:spChg chg="add del mod">
          <ac:chgData name="Steiner Andreas 6206 ED" userId="e6377c33-a923-4f14-8587-531c474c7b48" providerId="ADAL" clId="{6ECD27E6-B224-41CD-B4E0-E297462320DD}" dt="2023-11-24T11:43:34.299" v="153859"/>
          <ac:spMkLst>
            <pc:docMk/>
            <pc:sldMk cId="1396980745" sldId="687"/>
            <ac:spMk id="996" creationId="{46D114CC-99D7-8AFA-CE1F-6A49DE92AFE6}"/>
          </ac:spMkLst>
        </pc:spChg>
        <pc:spChg chg="add del mod">
          <ac:chgData name="Steiner Andreas 6206 ED" userId="e6377c33-a923-4f14-8587-531c474c7b48" providerId="ADAL" clId="{6ECD27E6-B224-41CD-B4E0-E297462320DD}" dt="2023-11-24T11:43:36.470" v="154014"/>
          <ac:spMkLst>
            <pc:docMk/>
            <pc:sldMk cId="1396980745" sldId="687"/>
            <ac:spMk id="997" creationId="{5E4805ED-1A20-F467-BA1C-140930F97F71}"/>
          </ac:spMkLst>
        </pc:spChg>
        <pc:spChg chg="add del mod">
          <ac:chgData name="Steiner Andreas 6206 ED" userId="e6377c33-a923-4f14-8587-531c474c7b48" providerId="ADAL" clId="{6ECD27E6-B224-41CD-B4E0-E297462320DD}" dt="2023-11-24T11:43:38.661" v="154169"/>
          <ac:spMkLst>
            <pc:docMk/>
            <pc:sldMk cId="1396980745" sldId="687"/>
            <ac:spMk id="998" creationId="{F8352B41-115C-518F-9780-404F70159937}"/>
          </ac:spMkLst>
        </pc:spChg>
        <pc:spChg chg="add del mod">
          <ac:chgData name="Steiner Andreas 6206 ED" userId="e6377c33-a923-4f14-8587-531c474c7b48" providerId="ADAL" clId="{6ECD27E6-B224-41CD-B4E0-E297462320DD}" dt="2023-11-24T11:43:40.964" v="154324"/>
          <ac:spMkLst>
            <pc:docMk/>
            <pc:sldMk cId="1396980745" sldId="687"/>
            <ac:spMk id="999" creationId="{B8CBEC44-3922-DF1C-8D60-9C1AFFE90A23}"/>
          </ac:spMkLst>
        </pc:spChg>
        <pc:spChg chg="add del mod">
          <ac:chgData name="Steiner Andreas 6206 ED" userId="e6377c33-a923-4f14-8587-531c474c7b48" providerId="ADAL" clId="{6ECD27E6-B224-41CD-B4E0-E297462320DD}" dt="2023-11-24T11:43:43.959" v="154479"/>
          <ac:spMkLst>
            <pc:docMk/>
            <pc:sldMk cId="1396980745" sldId="687"/>
            <ac:spMk id="1000" creationId="{57D2063F-4BF0-27BA-78BA-F1FBFE4DC6CE}"/>
          </ac:spMkLst>
        </pc:spChg>
        <pc:spChg chg="add del mod">
          <ac:chgData name="Steiner Andreas 6206 ED" userId="e6377c33-a923-4f14-8587-531c474c7b48" providerId="ADAL" clId="{6ECD27E6-B224-41CD-B4E0-E297462320DD}" dt="2023-11-24T11:43:46.298" v="154634"/>
          <ac:spMkLst>
            <pc:docMk/>
            <pc:sldMk cId="1396980745" sldId="687"/>
            <ac:spMk id="1001" creationId="{3526141D-8F2E-FF50-655D-AB2BC5D3432D}"/>
          </ac:spMkLst>
        </pc:spChg>
        <pc:spChg chg="add del mod">
          <ac:chgData name="Steiner Andreas 6206 ED" userId="e6377c33-a923-4f14-8587-531c474c7b48" providerId="ADAL" clId="{6ECD27E6-B224-41CD-B4E0-E297462320DD}" dt="2023-11-24T11:43:48.600" v="154789"/>
          <ac:spMkLst>
            <pc:docMk/>
            <pc:sldMk cId="1396980745" sldId="687"/>
            <ac:spMk id="1002" creationId="{EA273DC1-C000-AC02-0A87-3A8F4EF77D35}"/>
          </ac:spMkLst>
        </pc:spChg>
        <pc:spChg chg="add del mod">
          <ac:chgData name="Steiner Andreas 6206 ED" userId="e6377c33-a923-4f14-8587-531c474c7b48" providerId="ADAL" clId="{6ECD27E6-B224-41CD-B4E0-E297462320DD}" dt="2023-11-24T11:43:50.659" v="154944"/>
          <ac:spMkLst>
            <pc:docMk/>
            <pc:sldMk cId="1396980745" sldId="687"/>
            <ac:spMk id="1003" creationId="{76A0D5FD-5F5D-BC00-F988-466D8000DD8B}"/>
          </ac:spMkLst>
        </pc:spChg>
        <pc:spChg chg="add del mod">
          <ac:chgData name="Steiner Andreas 6206 ED" userId="e6377c33-a923-4f14-8587-531c474c7b48" providerId="ADAL" clId="{6ECD27E6-B224-41CD-B4E0-E297462320DD}" dt="2023-11-24T11:43:52.847" v="155099"/>
          <ac:spMkLst>
            <pc:docMk/>
            <pc:sldMk cId="1396980745" sldId="687"/>
            <ac:spMk id="1004" creationId="{1D300DD3-F8BD-C9A2-396A-5835A7FAA3F2}"/>
          </ac:spMkLst>
        </pc:spChg>
        <pc:spChg chg="add del mod">
          <ac:chgData name="Steiner Andreas 6206 ED" userId="e6377c33-a923-4f14-8587-531c474c7b48" providerId="ADAL" clId="{6ECD27E6-B224-41CD-B4E0-E297462320DD}" dt="2023-11-24T11:43:55.850" v="155254"/>
          <ac:spMkLst>
            <pc:docMk/>
            <pc:sldMk cId="1396980745" sldId="687"/>
            <ac:spMk id="1005" creationId="{C8AB2FCD-0838-0F64-D5CE-C92CD1F25178}"/>
          </ac:spMkLst>
        </pc:spChg>
        <pc:spChg chg="add del mod">
          <ac:chgData name="Steiner Andreas 6206 ED" userId="e6377c33-a923-4f14-8587-531c474c7b48" providerId="ADAL" clId="{6ECD27E6-B224-41CD-B4E0-E297462320DD}" dt="2023-11-24T11:43:58.197" v="155409"/>
          <ac:spMkLst>
            <pc:docMk/>
            <pc:sldMk cId="1396980745" sldId="687"/>
            <ac:spMk id="1006" creationId="{E9BBDC71-95D6-1992-C4B9-5D5D2BE46E51}"/>
          </ac:spMkLst>
        </pc:spChg>
        <pc:spChg chg="add del mod">
          <ac:chgData name="Steiner Andreas 6206 ED" userId="e6377c33-a923-4f14-8587-531c474c7b48" providerId="ADAL" clId="{6ECD27E6-B224-41CD-B4E0-E297462320DD}" dt="2023-11-24T11:44:00.295" v="155564"/>
          <ac:spMkLst>
            <pc:docMk/>
            <pc:sldMk cId="1396980745" sldId="687"/>
            <ac:spMk id="1007" creationId="{0E9343B5-A02C-E647-9CCD-8CCF0FD57549}"/>
          </ac:spMkLst>
        </pc:spChg>
        <pc:spChg chg="add del mod">
          <ac:chgData name="Steiner Andreas 6206 ED" userId="e6377c33-a923-4f14-8587-531c474c7b48" providerId="ADAL" clId="{6ECD27E6-B224-41CD-B4E0-E297462320DD}" dt="2023-11-24T11:44:02.296" v="155719"/>
          <ac:spMkLst>
            <pc:docMk/>
            <pc:sldMk cId="1396980745" sldId="687"/>
            <ac:spMk id="1008" creationId="{620D9D9A-53FC-A7B3-518C-992E4187AF9A}"/>
          </ac:spMkLst>
        </pc:spChg>
        <pc:spChg chg="add del mod">
          <ac:chgData name="Steiner Andreas 6206 ED" userId="e6377c33-a923-4f14-8587-531c474c7b48" providerId="ADAL" clId="{6ECD27E6-B224-41CD-B4E0-E297462320DD}" dt="2023-11-24T11:44:04.352" v="155874"/>
          <ac:spMkLst>
            <pc:docMk/>
            <pc:sldMk cId="1396980745" sldId="687"/>
            <ac:spMk id="1009" creationId="{F6B91453-26A4-0DD6-7985-F7465CAD6D2F}"/>
          </ac:spMkLst>
        </pc:spChg>
        <pc:spChg chg="add del mod">
          <ac:chgData name="Steiner Andreas 6206 ED" userId="e6377c33-a923-4f14-8587-531c474c7b48" providerId="ADAL" clId="{6ECD27E6-B224-41CD-B4E0-E297462320DD}" dt="2023-11-24T11:44:06.348" v="156029"/>
          <ac:spMkLst>
            <pc:docMk/>
            <pc:sldMk cId="1396980745" sldId="687"/>
            <ac:spMk id="1010" creationId="{E1099D36-D5C1-B968-1924-ED288A5D73B9}"/>
          </ac:spMkLst>
        </pc:spChg>
        <pc:spChg chg="add del mod">
          <ac:chgData name="Steiner Andreas 6206 ED" userId="e6377c33-a923-4f14-8587-531c474c7b48" providerId="ADAL" clId="{6ECD27E6-B224-41CD-B4E0-E297462320DD}" dt="2023-11-24T11:44:08.538" v="156184"/>
          <ac:spMkLst>
            <pc:docMk/>
            <pc:sldMk cId="1396980745" sldId="687"/>
            <ac:spMk id="1011" creationId="{3A8F9649-0734-E4D6-E996-4E3D7EE46B27}"/>
          </ac:spMkLst>
        </pc:spChg>
        <pc:spChg chg="add del mod">
          <ac:chgData name="Steiner Andreas 6206 ED" userId="e6377c33-a923-4f14-8587-531c474c7b48" providerId="ADAL" clId="{6ECD27E6-B224-41CD-B4E0-E297462320DD}" dt="2023-11-24T11:44:10.601" v="156339"/>
          <ac:spMkLst>
            <pc:docMk/>
            <pc:sldMk cId="1396980745" sldId="687"/>
            <ac:spMk id="1012" creationId="{5D691FCA-AC54-10AC-EB86-8BD4B88384E3}"/>
          </ac:spMkLst>
        </pc:spChg>
        <pc:spChg chg="add del mod">
          <ac:chgData name="Steiner Andreas 6206 ED" userId="e6377c33-a923-4f14-8587-531c474c7b48" providerId="ADAL" clId="{6ECD27E6-B224-41CD-B4E0-E297462320DD}" dt="2023-11-24T11:44:12.592" v="156494"/>
          <ac:spMkLst>
            <pc:docMk/>
            <pc:sldMk cId="1396980745" sldId="687"/>
            <ac:spMk id="1013" creationId="{612372CE-3748-A88B-401F-734CAAD7CDFA}"/>
          </ac:spMkLst>
        </pc:spChg>
        <pc:spChg chg="add del mod">
          <ac:chgData name="Steiner Andreas 6206 ED" userId="e6377c33-a923-4f14-8587-531c474c7b48" providerId="ADAL" clId="{6ECD27E6-B224-41CD-B4E0-E297462320DD}" dt="2023-11-24T11:44:14.599" v="156649"/>
          <ac:spMkLst>
            <pc:docMk/>
            <pc:sldMk cId="1396980745" sldId="687"/>
            <ac:spMk id="1014" creationId="{6BA36F6B-02DA-755F-362A-DCBF0C650904}"/>
          </ac:spMkLst>
        </pc:spChg>
        <pc:spChg chg="add del mod">
          <ac:chgData name="Steiner Andreas 6206 ED" userId="e6377c33-a923-4f14-8587-531c474c7b48" providerId="ADAL" clId="{6ECD27E6-B224-41CD-B4E0-E297462320DD}" dt="2023-11-24T11:44:16.579" v="156804"/>
          <ac:spMkLst>
            <pc:docMk/>
            <pc:sldMk cId="1396980745" sldId="687"/>
            <ac:spMk id="1015" creationId="{67BEB985-8A84-454C-F058-A047A94EF48B}"/>
          </ac:spMkLst>
        </pc:spChg>
        <pc:spChg chg="add del mod">
          <ac:chgData name="Steiner Andreas 6206 ED" userId="e6377c33-a923-4f14-8587-531c474c7b48" providerId="ADAL" clId="{6ECD27E6-B224-41CD-B4E0-E297462320DD}" dt="2023-11-24T11:44:18.683" v="156959"/>
          <ac:spMkLst>
            <pc:docMk/>
            <pc:sldMk cId="1396980745" sldId="687"/>
            <ac:spMk id="1016" creationId="{580E7A5B-90DF-6CA8-4BAB-791AE61D76B2}"/>
          </ac:spMkLst>
        </pc:spChg>
        <pc:spChg chg="add del mod">
          <ac:chgData name="Steiner Andreas 6206 ED" userId="e6377c33-a923-4f14-8587-531c474c7b48" providerId="ADAL" clId="{6ECD27E6-B224-41CD-B4E0-E297462320DD}" dt="2023-11-24T11:44:20.804" v="157114"/>
          <ac:spMkLst>
            <pc:docMk/>
            <pc:sldMk cId="1396980745" sldId="687"/>
            <ac:spMk id="1017" creationId="{046FF27B-4BCE-93E7-290E-476C0C84E59E}"/>
          </ac:spMkLst>
        </pc:spChg>
        <pc:spChg chg="add del mod">
          <ac:chgData name="Steiner Andreas 6206 ED" userId="e6377c33-a923-4f14-8587-531c474c7b48" providerId="ADAL" clId="{6ECD27E6-B224-41CD-B4E0-E297462320DD}" dt="2023-11-24T11:44:23.129" v="157269"/>
          <ac:spMkLst>
            <pc:docMk/>
            <pc:sldMk cId="1396980745" sldId="687"/>
            <ac:spMk id="1018" creationId="{76B18693-DC69-5564-79D6-007D6EA1AA0D}"/>
          </ac:spMkLst>
        </pc:spChg>
        <pc:spChg chg="add del mod">
          <ac:chgData name="Steiner Andreas 6206 ED" userId="e6377c33-a923-4f14-8587-531c474c7b48" providerId="ADAL" clId="{6ECD27E6-B224-41CD-B4E0-E297462320DD}" dt="2023-11-24T11:44:25.281" v="157424"/>
          <ac:spMkLst>
            <pc:docMk/>
            <pc:sldMk cId="1396980745" sldId="687"/>
            <ac:spMk id="1019" creationId="{5A1CE8DB-A91B-8C28-3303-BA745FA20D5C}"/>
          </ac:spMkLst>
        </pc:spChg>
        <pc:spChg chg="add del mod">
          <ac:chgData name="Steiner Andreas 6206 ED" userId="e6377c33-a923-4f14-8587-531c474c7b48" providerId="ADAL" clId="{6ECD27E6-B224-41CD-B4E0-E297462320DD}" dt="2023-11-24T11:44:30.696" v="157579"/>
          <ac:spMkLst>
            <pc:docMk/>
            <pc:sldMk cId="1396980745" sldId="687"/>
            <ac:spMk id="1020" creationId="{30FFDCF7-2CE6-901F-0EC4-EF902ADBB782}"/>
          </ac:spMkLst>
        </pc:spChg>
        <pc:spChg chg="add mod">
          <ac:chgData name="Steiner Andreas 6206 ED" userId="e6377c33-a923-4f14-8587-531c474c7b48" providerId="ADAL" clId="{6ECD27E6-B224-41CD-B4E0-E297462320DD}" dt="2023-11-24T11:44:30.697" v="157580"/>
          <ac:spMkLst>
            <pc:docMk/>
            <pc:sldMk cId="1396980745" sldId="687"/>
            <ac:spMk id="1021" creationId="{47578CDA-25CB-D9A6-0B56-701D754C7D3B}"/>
          </ac:spMkLst>
        </pc:spChg>
      </pc:sldChg>
      <pc:sldChg chg="addSp delSp modSp mod">
        <pc:chgData name="Steiner Andreas 6206 ED" userId="e6377c33-a923-4f14-8587-531c474c7b48" providerId="ADAL" clId="{6ECD27E6-B224-41CD-B4E0-E297462320DD}" dt="2023-11-24T11:44:30.690" v="157576"/>
        <pc:sldMkLst>
          <pc:docMk/>
          <pc:sldMk cId="3795759164" sldId="691"/>
        </pc:sldMkLst>
        <pc:spChg chg="del">
          <ac:chgData name="Steiner Andreas 6206 ED" userId="e6377c33-a923-4f14-8587-531c474c7b48" providerId="ADAL" clId="{6ECD27E6-B224-41CD-B4E0-E297462320DD}" dt="2023-11-23T19:49:53.523" v="82"/>
          <ac:spMkLst>
            <pc:docMk/>
            <pc:sldMk cId="3795759164" sldId="691"/>
            <ac:spMk id="2" creationId="{78B0FD14-E3DB-95B5-1577-C2E4D842F6DF}"/>
          </ac:spMkLst>
        </pc:spChg>
        <pc:spChg chg="mod">
          <ac:chgData name="Steiner Andreas 6206 ED" userId="e6377c33-a923-4f14-8587-531c474c7b48" providerId="ADAL" clId="{6ECD27E6-B224-41CD-B4E0-E297462320DD}" dt="2023-11-24T11:44:30.687" v="157573" actId="20577"/>
          <ac:spMkLst>
            <pc:docMk/>
            <pc:sldMk cId="3795759164" sldId="691"/>
            <ac:spMk id="3" creationId="{4951125A-E376-418B-96EC-CCCCD8D2A98E}"/>
          </ac:spMkLst>
        </pc:spChg>
        <pc:spChg chg="add del mod">
          <ac:chgData name="Steiner Andreas 6206 ED" userId="e6377c33-a923-4f14-8587-531c474c7b48" providerId="ADAL" clId="{6ECD27E6-B224-41CD-B4E0-E297462320DD}" dt="2023-11-23T19:49:54.446" v="250"/>
          <ac:spMkLst>
            <pc:docMk/>
            <pc:sldMk cId="3795759164" sldId="691"/>
            <ac:spMk id="4" creationId="{AA3C174C-B6B9-050F-893C-C019068FFF56}"/>
          </ac:spMkLst>
        </pc:spChg>
        <pc:spChg chg="add del mod">
          <ac:chgData name="Steiner Andreas 6206 ED" userId="e6377c33-a923-4f14-8587-531c474c7b48" providerId="ADAL" clId="{6ECD27E6-B224-41CD-B4E0-E297462320DD}" dt="2023-11-23T19:50:25.250" v="405"/>
          <ac:spMkLst>
            <pc:docMk/>
            <pc:sldMk cId="3795759164" sldId="691"/>
            <ac:spMk id="8" creationId="{1187A374-0570-FD7B-DC12-946A5439BBE8}"/>
          </ac:spMkLst>
        </pc:spChg>
        <pc:spChg chg="add del mod">
          <ac:chgData name="Steiner Andreas 6206 ED" userId="e6377c33-a923-4f14-8587-531c474c7b48" providerId="ADAL" clId="{6ECD27E6-B224-41CD-B4E0-E297462320DD}" dt="2023-11-23T19:50:35.051" v="560"/>
          <ac:spMkLst>
            <pc:docMk/>
            <pc:sldMk cId="3795759164" sldId="691"/>
            <ac:spMk id="9" creationId="{E770E73A-9683-3782-43B2-4D8A7CF64C50}"/>
          </ac:spMkLst>
        </pc:spChg>
        <pc:spChg chg="add del mod">
          <ac:chgData name="Steiner Andreas 6206 ED" userId="e6377c33-a923-4f14-8587-531c474c7b48" providerId="ADAL" clId="{6ECD27E6-B224-41CD-B4E0-E297462320DD}" dt="2023-11-23T19:50:46.721" v="715"/>
          <ac:spMkLst>
            <pc:docMk/>
            <pc:sldMk cId="3795759164" sldId="691"/>
            <ac:spMk id="10" creationId="{117E1B6B-3050-27A1-7826-4CCAA5E6FFDF}"/>
          </ac:spMkLst>
        </pc:spChg>
        <pc:spChg chg="add del mod">
          <ac:chgData name="Steiner Andreas 6206 ED" userId="e6377c33-a923-4f14-8587-531c474c7b48" providerId="ADAL" clId="{6ECD27E6-B224-41CD-B4E0-E297462320DD}" dt="2023-11-23T19:50:58.428" v="870"/>
          <ac:spMkLst>
            <pc:docMk/>
            <pc:sldMk cId="3795759164" sldId="691"/>
            <ac:spMk id="11" creationId="{47B2D50E-31AF-4EB8-B724-B91BD0A385B4}"/>
          </ac:spMkLst>
        </pc:spChg>
        <pc:spChg chg="add del mod">
          <ac:chgData name="Steiner Andreas 6206 ED" userId="e6377c33-a923-4f14-8587-531c474c7b48" providerId="ADAL" clId="{6ECD27E6-B224-41CD-B4E0-E297462320DD}" dt="2023-11-23T19:51:09.107" v="1025"/>
          <ac:spMkLst>
            <pc:docMk/>
            <pc:sldMk cId="3795759164" sldId="691"/>
            <ac:spMk id="12" creationId="{7770A303-22D1-D5A5-DCA9-3EB5068999D7}"/>
          </ac:spMkLst>
        </pc:spChg>
        <pc:spChg chg="add del mod">
          <ac:chgData name="Steiner Andreas 6206 ED" userId="e6377c33-a923-4f14-8587-531c474c7b48" providerId="ADAL" clId="{6ECD27E6-B224-41CD-B4E0-E297462320DD}" dt="2023-11-23T19:51:20.093" v="1180"/>
          <ac:spMkLst>
            <pc:docMk/>
            <pc:sldMk cId="3795759164" sldId="691"/>
            <ac:spMk id="13" creationId="{06C34DF3-16D3-1BBE-90A4-4976E24DA6D7}"/>
          </ac:spMkLst>
        </pc:spChg>
        <pc:spChg chg="add del mod">
          <ac:chgData name="Steiner Andreas 6206 ED" userId="e6377c33-a923-4f14-8587-531c474c7b48" providerId="ADAL" clId="{6ECD27E6-B224-41CD-B4E0-E297462320DD}" dt="2023-11-23T19:51:31.575" v="1335"/>
          <ac:spMkLst>
            <pc:docMk/>
            <pc:sldMk cId="3795759164" sldId="691"/>
            <ac:spMk id="14" creationId="{48C09D47-24E5-A0F3-2EF1-7C218E1F0F9F}"/>
          </ac:spMkLst>
        </pc:spChg>
        <pc:spChg chg="add del mod">
          <ac:chgData name="Steiner Andreas 6206 ED" userId="e6377c33-a923-4f14-8587-531c474c7b48" providerId="ADAL" clId="{6ECD27E6-B224-41CD-B4E0-E297462320DD}" dt="2023-11-23T19:51:42.235" v="1490"/>
          <ac:spMkLst>
            <pc:docMk/>
            <pc:sldMk cId="3795759164" sldId="691"/>
            <ac:spMk id="15" creationId="{2B8F97D4-0F55-2CC4-1331-5F568D31A6BB}"/>
          </ac:spMkLst>
        </pc:spChg>
        <pc:spChg chg="add del mod">
          <ac:chgData name="Steiner Andreas 6206 ED" userId="e6377c33-a923-4f14-8587-531c474c7b48" providerId="ADAL" clId="{6ECD27E6-B224-41CD-B4E0-E297462320DD}" dt="2023-11-23T19:51:53.575" v="1645"/>
          <ac:spMkLst>
            <pc:docMk/>
            <pc:sldMk cId="3795759164" sldId="691"/>
            <ac:spMk id="16" creationId="{A591FF85-558B-20C4-60B4-964EAE6D264A}"/>
          </ac:spMkLst>
        </pc:spChg>
        <pc:spChg chg="add del mod">
          <ac:chgData name="Steiner Andreas 6206 ED" userId="e6377c33-a923-4f14-8587-531c474c7b48" providerId="ADAL" clId="{6ECD27E6-B224-41CD-B4E0-E297462320DD}" dt="2023-11-23T19:52:05.222" v="1800"/>
          <ac:spMkLst>
            <pc:docMk/>
            <pc:sldMk cId="3795759164" sldId="691"/>
            <ac:spMk id="17" creationId="{2C4C4699-5F72-052F-48A7-CF94D31A4308}"/>
          </ac:spMkLst>
        </pc:spChg>
        <pc:spChg chg="add del mod">
          <ac:chgData name="Steiner Andreas 6206 ED" userId="e6377c33-a923-4f14-8587-531c474c7b48" providerId="ADAL" clId="{6ECD27E6-B224-41CD-B4E0-E297462320DD}" dt="2023-11-23T19:52:16.925" v="1955"/>
          <ac:spMkLst>
            <pc:docMk/>
            <pc:sldMk cId="3795759164" sldId="691"/>
            <ac:spMk id="18" creationId="{F9A166F0-3664-8444-FDB1-288910D7E6AC}"/>
          </ac:spMkLst>
        </pc:spChg>
        <pc:spChg chg="add del mod">
          <ac:chgData name="Steiner Andreas 6206 ED" userId="e6377c33-a923-4f14-8587-531c474c7b48" providerId="ADAL" clId="{6ECD27E6-B224-41CD-B4E0-E297462320DD}" dt="2023-11-23T19:52:28.620" v="2110"/>
          <ac:spMkLst>
            <pc:docMk/>
            <pc:sldMk cId="3795759164" sldId="691"/>
            <ac:spMk id="19" creationId="{E4DDBCED-5D4E-53DA-B857-44E6CDEDEEA3}"/>
          </ac:spMkLst>
        </pc:spChg>
        <pc:spChg chg="add del mod">
          <ac:chgData name="Steiner Andreas 6206 ED" userId="e6377c33-a923-4f14-8587-531c474c7b48" providerId="ADAL" clId="{6ECD27E6-B224-41CD-B4E0-E297462320DD}" dt="2023-11-23T19:52:40.305" v="2265"/>
          <ac:spMkLst>
            <pc:docMk/>
            <pc:sldMk cId="3795759164" sldId="691"/>
            <ac:spMk id="20" creationId="{A2B452DA-ECC2-9CD2-AEA2-757539AB20E8}"/>
          </ac:spMkLst>
        </pc:spChg>
        <pc:spChg chg="add del mod">
          <ac:chgData name="Steiner Andreas 6206 ED" userId="e6377c33-a923-4f14-8587-531c474c7b48" providerId="ADAL" clId="{6ECD27E6-B224-41CD-B4E0-E297462320DD}" dt="2023-11-23T19:52:51.696" v="2420"/>
          <ac:spMkLst>
            <pc:docMk/>
            <pc:sldMk cId="3795759164" sldId="691"/>
            <ac:spMk id="21" creationId="{13A865E7-4AAD-3F33-68E5-E105DC6BC8CE}"/>
          </ac:spMkLst>
        </pc:spChg>
        <pc:spChg chg="add del mod">
          <ac:chgData name="Steiner Andreas 6206 ED" userId="e6377c33-a923-4f14-8587-531c474c7b48" providerId="ADAL" clId="{6ECD27E6-B224-41CD-B4E0-E297462320DD}" dt="2023-11-23T19:53:03.365" v="2575"/>
          <ac:spMkLst>
            <pc:docMk/>
            <pc:sldMk cId="3795759164" sldId="691"/>
            <ac:spMk id="22" creationId="{8A0B6747-E688-5A91-D7F6-0F1CF05F92DC}"/>
          </ac:spMkLst>
        </pc:spChg>
        <pc:spChg chg="add del mod">
          <ac:chgData name="Steiner Andreas 6206 ED" userId="e6377c33-a923-4f14-8587-531c474c7b48" providerId="ADAL" clId="{6ECD27E6-B224-41CD-B4E0-E297462320DD}" dt="2023-11-23T19:53:15.100" v="2730"/>
          <ac:spMkLst>
            <pc:docMk/>
            <pc:sldMk cId="3795759164" sldId="691"/>
            <ac:spMk id="23" creationId="{F3C27832-FC82-FEB0-037B-A930437C3CD9}"/>
          </ac:spMkLst>
        </pc:spChg>
        <pc:spChg chg="add del mod">
          <ac:chgData name="Steiner Andreas 6206 ED" userId="e6377c33-a923-4f14-8587-531c474c7b48" providerId="ADAL" clId="{6ECD27E6-B224-41CD-B4E0-E297462320DD}" dt="2023-11-23T19:53:26.782" v="2885"/>
          <ac:spMkLst>
            <pc:docMk/>
            <pc:sldMk cId="3795759164" sldId="691"/>
            <ac:spMk id="24" creationId="{F146920E-B58C-C6D6-F607-EC4498F3BAC5}"/>
          </ac:spMkLst>
        </pc:spChg>
        <pc:spChg chg="add del mod">
          <ac:chgData name="Steiner Andreas 6206 ED" userId="e6377c33-a923-4f14-8587-531c474c7b48" providerId="ADAL" clId="{6ECD27E6-B224-41CD-B4E0-E297462320DD}" dt="2023-11-23T19:53:38.441" v="3040"/>
          <ac:spMkLst>
            <pc:docMk/>
            <pc:sldMk cId="3795759164" sldId="691"/>
            <ac:spMk id="25" creationId="{CE72F4FF-F7D3-6AB3-5935-92C3D79F5235}"/>
          </ac:spMkLst>
        </pc:spChg>
        <pc:spChg chg="add del mod">
          <ac:chgData name="Steiner Andreas 6206 ED" userId="e6377c33-a923-4f14-8587-531c474c7b48" providerId="ADAL" clId="{6ECD27E6-B224-41CD-B4E0-E297462320DD}" dt="2023-11-23T19:53:50.102" v="3195"/>
          <ac:spMkLst>
            <pc:docMk/>
            <pc:sldMk cId="3795759164" sldId="691"/>
            <ac:spMk id="26" creationId="{C8A15E76-89C8-D46F-4556-4EF4B5E06857}"/>
          </ac:spMkLst>
        </pc:spChg>
        <pc:spChg chg="add del mod">
          <ac:chgData name="Steiner Andreas 6206 ED" userId="e6377c33-a923-4f14-8587-531c474c7b48" providerId="ADAL" clId="{6ECD27E6-B224-41CD-B4E0-E297462320DD}" dt="2023-11-23T19:54:01.777" v="3350"/>
          <ac:spMkLst>
            <pc:docMk/>
            <pc:sldMk cId="3795759164" sldId="691"/>
            <ac:spMk id="27" creationId="{2CBDB2B9-FAB1-B85E-5711-6AF0213E01CD}"/>
          </ac:spMkLst>
        </pc:spChg>
        <pc:spChg chg="add del mod">
          <ac:chgData name="Steiner Andreas 6206 ED" userId="e6377c33-a923-4f14-8587-531c474c7b48" providerId="ADAL" clId="{6ECD27E6-B224-41CD-B4E0-E297462320DD}" dt="2023-11-23T19:54:13.469" v="3505"/>
          <ac:spMkLst>
            <pc:docMk/>
            <pc:sldMk cId="3795759164" sldId="691"/>
            <ac:spMk id="28" creationId="{17F65AD6-5E05-E236-BAC1-12736BBB0CE9}"/>
          </ac:spMkLst>
        </pc:spChg>
        <pc:spChg chg="add del mod">
          <ac:chgData name="Steiner Andreas 6206 ED" userId="e6377c33-a923-4f14-8587-531c474c7b48" providerId="ADAL" clId="{6ECD27E6-B224-41CD-B4E0-E297462320DD}" dt="2023-11-23T19:54:25.132" v="3660"/>
          <ac:spMkLst>
            <pc:docMk/>
            <pc:sldMk cId="3795759164" sldId="691"/>
            <ac:spMk id="29" creationId="{DAD9A761-FF15-B0CB-9A37-859E3077F3D9}"/>
          </ac:spMkLst>
        </pc:spChg>
        <pc:spChg chg="add del mod">
          <ac:chgData name="Steiner Andreas 6206 ED" userId="e6377c33-a923-4f14-8587-531c474c7b48" providerId="ADAL" clId="{6ECD27E6-B224-41CD-B4E0-E297462320DD}" dt="2023-11-23T19:54:36.850" v="3815"/>
          <ac:spMkLst>
            <pc:docMk/>
            <pc:sldMk cId="3795759164" sldId="691"/>
            <ac:spMk id="30" creationId="{AA34EBD8-EF87-5C27-E6B0-06830022D3D2}"/>
          </ac:spMkLst>
        </pc:spChg>
        <pc:spChg chg="add del mod">
          <ac:chgData name="Steiner Andreas 6206 ED" userId="e6377c33-a923-4f14-8587-531c474c7b48" providerId="ADAL" clId="{6ECD27E6-B224-41CD-B4E0-E297462320DD}" dt="2023-11-23T19:54:48.182" v="3970"/>
          <ac:spMkLst>
            <pc:docMk/>
            <pc:sldMk cId="3795759164" sldId="691"/>
            <ac:spMk id="31" creationId="{182E4E0D-6764-93FA-286E-F22C9626D98C}"/>
          </ac:spMkLst>
        </pc:spChg>
        <pc:spChg chg="add del mod">
          <ac:chgData name="Steiner Andreas 6206 ED" userId="e6377c33-a923-4f14-8587-531c474c7b48" providerId="ADAL" clId="{6ECD27E6-B224-41CD-B4E0-E297462320DD}" dt="2023-11-23T19:54:59.821" v="4125"/>
          <ac:spMkLst>
            <pc:docMk/>
            <pc:sldMk cId="3795759164" sldId="691"/>
            <ac:spMk id="32" creationId="{6C8B6031-E1AC-BD34-F994-74B79E438825}"/>
          </ac:spMkLst>
        </pc:spChg>
        <pc:spChg chg="add del mod">
          <ac:chgData name="Steiner Andreas 6206 ED" userId="e6377c33-a923-4f14-8587-531c474c7b48" providerId="ADAL" clId="{6ECD27E6-B224-41CD-B4E0-E297462320DD}" dt="2023-11-23T19:55:11.556" v="4280"/>
          <ac:spMkLst>
            <pc:docMk/>
            <pc:sldMk cId="3795759164" sldId="691"/>
            <ac:spMk id="33" creationId="{AC1EB5F1-BBE1-E525-5CDC-D1E2B406599E}"/>
          </ac:spMkLst>
        </pc:spChg>
        <pc:spChg chg="add del mod">
          <ac:chgData name="Steiner Andreas 6206 ED" userId="e6377c33-a923-4f14-8587-531c474c7b48" providerId="ADAL" clId="{6ECD27E6-B224-41CD-B4E0-E297462320DD}" dt="2023-11-23T19:55:23.233" v="4435"/>
          <ac:spMkLst>
            <pc:docMk/>
            <pc:sldMk cId="3795759164" sldId="691"/>
            <ac:spMk id="34" creationId="{25C0576F-E9BD-CE98-E09A-3882BA149312}"/>
          </ac:spMkLst>
        </pc:spChg>
        <pc:spChg chg="add del mod">
          <ac:chgData name="Steiner Andreas 6206 ED" userId="e6377c33-a923-4f14-8587-531c474c7b48" providerId="ADAL" clId="{6ECD27E6-B224-41CD-B4E0-E297462320DD}" dt="2023-11-23T19:55:34.879" v="4590"/>
          <ac:spMkLst>
            <pc:docMk/>
            <pc:sldMk cId="3795759164" sldId="691"/>
            <ac:spMk id="35" creationId="{DC263154-F603-0914-2617-FE81C1A3B516}"/>
          </ac:spMkLst>
        </pc:spChg>
        <pc:spChg chg="add del mod">
          <ac:chgData name="Steiner Andreas 6206 ED" userId="e6377c33-a923-4f14-8587-531c474c7b48" providerId="ADAL" clId="{6ECD27E6-B224-41CD-B4E0-E297462320DD}" dt="2023-11-23T19:55:46.212" v="4745"/>
          <ac:spMkLst>
            <pc:docMk/>
            <pc:sldMk cId="3795759164" sldId="691"/>
            <ac:spMk id="36" creationId="{BF36DF67-BEA1-376C-28CD-9879DFCE3FB7}"/>
          </ac:spMkLst>
        </pc:spChg>
        <pc:spChg chg="add del mod">
          <ac:chgData name="Steiner Andreas 6206 ED" userId="e6377c33-a923-4f14-8587-531c474c7b48" providerId="ADAL" clId="{6ECD27E6-B224-41CD-B4E0-E297462320DD}" dt="2023-11-23T19:55:57.879" v="4900"/>
          <ac:spMkLst>
            <pc:docMk/>
            <pc:sldMk cId="3795759164" sldId="691"/>
            <ac:spMk id="37" creationId="{EF889962-1754-DDFC-F0D2-6A2927ABAF80}"/>
          </ac:spMkLst>
        </pc:spChg>
        <pc:spChg chg="add del mod">
          <ac:chgData name="Steiner Andreas 6206 ED" userId="e6377c33-a923-4f14-8587-531c474c7b48" providerId="ADAL" clId="{6ECD27E6-B224-41CD-B4E0-E297462320DD}" dt="2023-11-23T19:56:09.546" v="5055"/>
          <ac:spMkLst>
            <pc:docMk/>
            <pc:sldMk cId="3795759164" sldId="691"/>
            <ac:spMk id="38" creationId="{4FFFAED7-61B5-1AE7-A5FB-6B16B6C7D265}"/>
          </ac:spMkLst>
        </pc:spChg>
        <pc:spChg chg="add del mod">
          <ac:chgData name="Steiner Andreas 6206 ED" userId="e6377c33-a923-4f14-8587-531c474c7b48" providerId="ADAL" clId="{6ECD27E6-B224-41CD-B4E0-E297462320DD}" dt="2023-11-23T19:56:21.244" v="5210"/>
          <ac:spMkLst>
            <pc:docMk/>
            <pc:sldMk cId="3795759164" sldId="691"/>
            <ac:spMk id="39" creationId="{26BF9791-97F5-47AA-5A9A-C63652C98110}"/>
          </ac:spMkLst>
        </pc:spChg>
        <pc:spChg chg="add del mod">
          <ac:chgData name="Steiner Andreas 6206 ED" userId="e6377c33-a923-4f14-8587-531c474c7b48" providerId="ADAL" clId="{6ECD27E6-B224-41CD-B4E0-E297462320DD}" dt="2023-11-23T19:56:32.929" v="5365"/>
          <ac:spMkLst>
            <pc:docMk/>
            <pc:sldMk cId="3795759164" sldId="691"/>
            <ac:spMk id="40" creationId="{6CB8D692-BC29-0121-FC0E-8A906117923C}"/>
          </ac:spMkLst>
        </pc:spChg>
        <pc:spChg chg="add del mod">
          <ac:chgData name="Steiner Andreas 6206 ED" userId="e6377c33-a923-4f14-8587-531c474c7b48" providerId="ADAL" clId="{6ECD27E6-B224-41CD-B4E0-E297462320DD}" dt="2023-11-23T19:56:44.286" v="5520"/>
          <ac:spMkLst>
            <pc:docMk/>
            <pc:sldMk cId="3795759164" sldId="691"/>
            <ac:spMk id="41" creationId="{398A03ED-118C-B3D2-3639-058F289E5069}"/>
          </ac:spMkLst>
        </pc:spChg>
        <pc:spChg chg="add del mod">
          <ac:chgData name="Steiner Andreas 6206 ED" userId="e6377c33-a923-4f14-8587-531c474c7b48" providerId="ADAL" clId="{6ECD27E6-B224-41CD-B4E0-E297462320DD}" dt="2023-11-23T19:56:54.662" v="5675"/>
          <ac:spMkLst>
            <pc:docMk/>
            <pc:sldMk cId="3795759164" sldId="691"/>
            <ac:spMk id="42" creationId="{B8CE24B4-FFB9-3EC9-2DBC-37937C35985B}"/>
          </ac:spMkLst>
        </pc:spChg>
        <pc:spChg chg="add del mod">
          <ac:chgData name="Steiner Andreas 6206 ED" userId="e6377c33-a923-4f14-8587-531c474c7b48" providerId="ADAL" clId="{6ECD27E6-B224-41CD-B4E0-E297462320DD}" dt="2023-11-23T19:57:06.128" v="5830"/>
          <ac:spMkLst>
            <pc:docMk/>
            <pc:sldMk cId="3795759164" sldId="691"/>
            <ac:spMk id="43" creationId="{4FA6A594-7AF3-A874-F2CC-08F531CC9E81}"/>
          </ac:spMkLst>
        </pc:spChg>
        <pc:spChg chg="add del mod">
          <ac:chgData name="Steiner Andreas 6206 ED" userId="e6377c33-a923-4f14-8587-531c474c7b48" providerId="ADAL" clId="{6ECD27E6-B224-41CD-B4E0-E297462320DD}" dt="2023-11-23T19:57:17.809" v="5985"/>
          <ac:spMkLst>
            <pc:docMk/>
            <pc:sldMk cId="3795759164" sldId="691"/>
            <ac:spMk id="44" creationId="{C1E5DC56-28E8-F398-32B7-03FF73EE97B0}"/>
          </ac:spMkLst>
        </pc:spChg>
        <pc:spChg chg="add del mod">
          <ac:chgData name="Steiner Andreas 6206 ED" userId="e6377c33-a923-4f14-8587-531c474c7b48" providerId="ADAL" clId="{6ECD27E6-B224-41CD-B4E0-E297462320DD}" dt="2023-11-23T19:57:29.273" v="6140"/>
          <ac:spMkLst>
            <pc:docMk/>
            <pc:sldMk cId="3795759164" sldId="691"/>
            <ac:spMk id="45" creationId="{9A8725DC-C8A9-20DE-D01D-BEA1E1DEAA37}"/>
          </ac:spMkLst>
        </pc:spChg>
        <pc:spChg chg="add del mod">
          <ac:chgData name="Steiner Andreas 6206 ED" userId="e6377c33-a923-4f14-8587-531c474c7b48" providerId="ADAL" clId="{6ECD27E6-B224-41CD-B4E0-E297462320DD}" dt="2023-11-23T19:57:40.898" v="6295"/>
          <ac:spMkLst>
            <pc:docMk/>
            <pc:sldMk cId="3795759164" sldId="691"/>
            <ac:spMk id="46" creationId="{4B39EE8A-AB9D-55E1-2D9E-8FF1D7B813BE}"/>
          </ac:spMkLst>
        </pc:spChg>
        <pc:spChg chg="add del mod">
          <ac:chgData name="Steiner Andreas 6206 ED" userId="e6377c33-a923-4f14-8587-531c474c7b48" providerId="ADAL" clId="{6ECD27E6-B224-41CD-B4E0-E297462320DD}" dt="2023-11-23T19:57:52.569" v="6450"/>
          <ac:spMkLst>
            <pc:docMk/>
            <pc:sldMk cId="3795759164" sldId="691"/>
            <ac:spMk id="47" creationId="{228B2017-614D-57C7-0413-283E7EA13C82}"/>
          </ac:spMkLst>
        </pc:spChg>
        <pc:spChg chg="add del mod">
          <ac:chgData name="Steiner Andreas 6206 ED" userId="e6377c33-a923-4f14-8587-531c474c7b48" providerId="ADAL" clId="{6ECD27E6-B224-41CD-B4E0-E297462320DD}" dt="2023-11-23T19:58:04.268" v="6605"/>
          <ac:spMkLst>
            <pc:docMk/>
            <pc:sldMk cId="3795759164" sldId="691"/>
            <ac:spMk id="48" creationId="{991563F3-6FB9-D520-82D1-CCFEAE235C0F}"/>
          </ac:spMkLst>
        </pc:spChg>
        <pc:spChg chg="add del mod">
          <ac:chgData name="Steiner Andreas 6206 ED" userId="e6377c33-a923-4f14-8587-531c474c7b48" providerId="ADAL" clId="{6ECD27E6-B224-41CD-B4E0-E297462320DD}" dt="2023-11-23T19:58:15.664" v="6760"/>
          <ac:spMkLst>
            <pc:docMk/>
            <pc:sldMk cId="3795759164" sldId="691"/>
            <ac:spMk id="49" creationId="{655D4CA9-C626-08EE-24A1-B344EBABEA12}"/>
          </ac:spMkLst>
        </pc:spChg>
        <pc:spChg chg="add del mod">
          <ac:chgData name="Steiner Andreas 6206 ED" userId="e6377c33-a923-4f14-8587-531c474c7b48" providerId="ADAL" clId="{6ECD27E6-B224-41CD-B4E0-E297462320DD}" dt="2023-11-23T19:58:27.786" v="6915"/>
          <ac:spMkLst>
            <pc:docMk/>
            <pc:sldMk cId="3795759164" sldId="691"/>
            <ac:spMk id="50" creationId="{30AEEBD4-E8A6-21BE-7515-C7F40BC291A8}"/>
          </ac:spMkLst>
        </pc:spChg>
        <pc:spChg chg="add del mod">
          <ac:chgData name="Steiner Andreas 6206 ED" userId="e6377c33-a923-4f14-8587-531c474c7b48" providerId="ADAL" clId="{6ECD27E6-B224-41CD-B4E0-E297462320DD}" dt="2023-11-23T19:58:39.530" v="7070"/>
          <ac:spMkLst>
            <pc:docMk/>
            <pc:sldMk cId="3795759164" sldId="691"/>
            <ac:spMk id="51" creationId="{633EBF9A-BDA7-699F-8DA3-3DDF8CB6EB7C}"/>
          </ac:spMkLst>
        </pc:spChg>
        <pc:spChg chg="add del mod">
          <ac:chgData name="Steiner Andreas 6206 ED" userId="e6377c33-a923-4f14-8587-531c474c7b48" providerId="ADAL" clId="{6ECD27E6-B224-41CD-B4E0-E297462320DD}" dt="2023-11-23T19:58:51.218" v="7225"/>
          <ac:spMkLst>
            <pc:docMk/>
            <pc:sldMk cId="3795759164" sldId="691"/>
            <ac:spMk id="52" creationId="{E69523DA-A1B8-FA6F-1E97-175BB40E5FC1}"/>
          </ac:spMkLst>
        </pc:spChg>
        <pc:spChg chg="add del mod">
          <ac:chgData name="Steiner Andreas 6206 ED" userId="e6377c33-a923-4f14-8587-531c474c7b48" providerId="ADAL" clId="{6ECD27E6-B224-41CD-B4E0-E297462320DD}" dt="2023-11-23T19:59:02.596" v="7380"/>
          <ac:spMkLst>
            <pc:docMk/>
            <pc:sldMk cId="3795759164" sldId="691"/>
            <ac:spMk id="53" creationId="{64CCB685-AEA5-FBBA-054C-F075F56BA203}"/>
          </ac:spMkLst>
        </pc:spChg>
        <pc:spChg chg="add del mod">
          <ac:chgData name="Steiner Andreas 6206 ED" userId="e6377c33-a923-4f14-8587-531c474c7b48" providerId="ADAL" clId="{6ECD27E6-B224-41CD-B4E0-E297462320DD}" dt="2023-11-24T08:31:41.467" v="7535"/>
          <ac:spMkLst>
            <pc:docMk/>
            <pc:sldMk cId="3795759164" sldId="691"/>
            <ac:spMk id="54" creationId="{00A5D40F-7981-122F-CA9A-286E1DE7CF43}"/>
          </ac:spMkLst>
        </pc:spChg>
        <pc:spChg chg="add del mod">
          <ac:chgData name="Steiner Andreas 6206 ED" userId="e6377c33-a923-4f14-8587-531c474c7b48" providerId="ADAL" clId="{6ECD27E6-B224-41CD-B4E0-E297462320DD}" dt="2023-11-24T08:31:45.159" v="7690"/>
          <ac:spMkLst>
            <pc:docMk/>
            <pc:sldMk cId="3795759164" sldId="691"/>
            <ac:spMk id="55" creationId="{0E5D9A1B-5FAA-AAFA-D8B3-E87D2A0883B3}"/>
          </ac:spMkLst>
        </pc:spChg>
        <pc:spChg chg="add del mod">
          <ac:chgData name="Steiner Andreas 6206 ED" userId="e6377c33-a923-4f14-8587-531c474c7b48" providerId="ADAL" clId="{6ECD27E6-B224-41CD-B4E0-E297462320DD}" dt="2023-11-24T08:31:47.010" v="7845"/>
          <ac:spMkLst>
            <pc:docMk/>
            <pc:sldMk cId="3795759164" sldId="691"/>
            <ac:spMk id="56" creationId="{428C67B2-4DF0-C488-4532-5C2343745AA0}"/>
          </ac:spMkLst>
        </pc:spChg>
        <pc:spChg chg="add del mod">
          <ac:chgData name="Steiner Andreas 6206 ED" userId="e6377c33-a923-4f14-8587-531c474c7b48" providerId="ADAL" clId="{6ECD27E6-B224-41CD-B4E0-E297462320DD}" dt="2023-11-24T08:31:48.871" v="8000"/>
          <ac:spMkLst>
            <pc:docMk/>
            <pc:sldMk cId="3795759164" sldId="691"/>
            <ac:spMk id="57" creationId="{11435654-8D6E-7A2E-C4FD-9AED9841C287}"/>
          </ac:spMkLst>
        </pc:spChg>
        <pc:spChg chg="add del mod">
          <ac:chgData name="Steiner Andreas 6206 ED" userId="e6377c33-a923-4f14-8587-531c474c7b48" providerId="ADAL" clId="{6ECD27E6-B224-41CD-B4E0-E297462320DD}" dt="2023-11-24T08:31:50.743" v="8155"/>
          <ac:spMkLst>
            <pc:docMk/>
            <pc:sldMk cId="3795759164" sldId="691"/>
            <ac:spMk id="58" creationId="{6DA606AA-5990-DAA9-3EF8-817BA82BEECD}"/>
          </ac:spMkLst>
        </pc:spChg>
        <pc:spChg chg="add del mod">
          <ac:chgData name="Steiner Andreas 6206 ED" userId="e6377c33-a923-4f14-8587-531c474c7b48" providerId="ADAL" clId="{6ECD27E6-B224-41CD-B4E0-E297462320DD}" dt="2023-11-24T08:31:52.525" v="8310"/>
          <ac:spMkLst>
            <pc:docMk/>
            <pc:sldMk cId="3795759164" sldId="691"/>
            <ac:spMk id="59" creationId="{0FACD648-BDFB-310C-9AC7-7780DC6D7BC2}"/>
          </ac:spMkLst>
        </pc:spChg>
        <pc:spChg chg="add del mod">
          <ac:chgData name="Steiner Andreas 6206 ED" userId="e6377c33-a923-4f14-8587-531c474c7b48" providerId="ADAL" clId="{6ECD27E6-B224-41CD-B4E0-E297462320DD}" dt="2023-11-24T08:31:54.340" v="8465"/>
          <ac:spMkLst>
            <pc:docMk/>
            <pc:sldMk cId="3795759164" sldId="691"/>
            <ac:spMk id="60" creationId="{83B8230B-4D51-434A-D7FA-F8DF1FF54EE4}"/>
          </ac:spMkLst>
        </pc:spChg>
        <pc:spChg chg="add del mod">
          <ac:chgData name="Steiner Andreas 6206 ED" userId="e6377c33-a923-4f14-8587-531c474c7b48" providerId="ADAL" clId="{6ECD27E6-B224-41CD-B4E0-E297462320DD}" dt="2023-11-24T08:31:56.182" v="8620"/>
          <ac:spMkLst>
            <pc:docMk/>
            <pc:sldMk cId="3795759164" sldId="691"/>
            <ac:spMk id="61" creationId="{7AD2C973-03CC-BD9D-AEB8-8CF20CC79183}"/>
          </ac:spMkLst>
        </pc:spChg>
        <pc:spChg chg="add del mod">
          <ac:chgData name="Steiner Andreas 6206 ED" userId="e6377c33-a923-4f14-8587-531c474c7b48" providerId="ADAL" clId="{6ECD27E6-B224-41CD-B4E0-E297462320DD}" dt="2023-11-24T08:31:58.067" v="8775"/>
          <ac:spMkLst>
            <pc:docMk/>
            <pc:sldMk cId="3795759164" sldId="691"/>
            <ac:spMk id="62" creationId="{25991EE7-488A-E5C8-C18F-52DB7F3340AA}"/>
          </ac:spMkLst>
        </pc:spChg>
        <pc:spChg chg="add del mod">
          <ac:chgData name="Steiner Andreas 6206 ED" userId="e6377c33-a923-4f14-8587-531c474c7b48" providerId="ADAL" clId="{6ECD27E6-B224-41CD-B4E0-E297462320DD}" dt="2023-11-24T08:32:00.780" v="8930"/>
          <ac:spMkLst>
            <pc:docMk/>
            <pc:sldMk cId="3795759164" sldId="691"/>
            <ac:spMk id="63" creationId="{BC00649D-8720-6E96-6958-60B3E8A4A94B}"/>
          </ac:spMkLst>
        </pc:spChg>
        <pc:spChg chg="add del mod">
          <ac:chgData name="Steiner Andreas 6206 ED" userId="e6377c33-a923-4f14-8587-531c474c7b48" providerId="ADAL" clId="{6ECD27E6-B224-41CD-B4E0-E297462320DD}" dt="2023-11-24T08:32:03.103" v="9085"/>
          <ac:spMkLst>
            <pc:docMk/>
            <pc:sldMk cId="3795759164" sldId="691"/>
            <ac:spMk id="64" creationId="{9A5CAA3C-7F3D-12FD-8F57-C86CD57C2730}"/>
          </ac:spMkLst>
        </pc:spChg>
        <pc:spChg chg="add del mod">
          <ac:chgData name="Steiner Andreas 6206 ED" userId="e6377c33-a923-4f14-8587-531c474c7b48" providerId="ADAL" clId="{6ECD27E6-B224-41CD-B4E0-E297462320DD}" dt="2023-11-24T08:32:05.153" v="9240"/>
          <ac:spMkLst>
            <pc:docMk/>
            <pc:sldMk cId="3795759164" sldId="691"/>
            <ac:spMk id="65" creationId="{3DB4CF9D-61F8-DC61-988F-1C7F8EC16293}"/>
          </ac:spMkLst>
        </pc:spChg>
        <pc:spChg chg="add del mod">
          <ac:chgData name="Steiner Andreas 6206 ED" userId="e6377c33-a923-4f14-8587-531c474c7b48" providerId="ADAL" clId="{6ECD27E6-B224-41CD-B4E0-E297462320DD}" dt="2023-11-24T08:32:07.093" v="9395"/>
          <ac:spMkLst>
            <pc:docMk/>
            <pc:sldMk cId="3795759164" sldId="691"/>
            <ac:spMk id="66" creationId="{FBE45DFC-DB7F-D7D2-6BB3-4B78B3365D7B}"/>
          </ac:spMkLst>
        </pc:spChg>
        <pc:spChg chg="add del mod">
          <ac:chgData name="Steiner Andreas 6206 ED" userId="e6377c33-a923-4f14-8587-531c474c7b48" providerId="ADAL" clId="{6ECD27E6-B224-41CD-B4E0-E297462320DD}" dt="2023-11-24T08:32:09.427" v="9550"/>
          <ac:spMkLst>
            <pc:docMk/>
            <pc:sldMk cId="3795759164" sldId="691"/>
            <ac:spMk id="67" creationId="{9EBF85A2-52E8-25C0-5FFF-28FBFC884EBC}"/>
          </ac:spMkLst>
        </pc:spChg>
        <pc:spChg chg="add del mod">
          <ac:chgData name="Steiner Andreas 6206 ED" userId="e6377c33-a923-4f14-8587-531c474c7b48" providerId="ADAL" clId="{6ECD27E6-B224-41CD-B4E0-E297462320DD}" dt="2023-11-24T08:32:11.732" v="9705"/>
          <ac:spMkLst>
            <pc:docMk/>
            <pc:sldMk cId="3795759164" sldId="691"/>
            <ac:spMk id="68" creationId="{CEC2E5A5-DB9B-78BA-090D-8D7D24DC8EFB}"/>
          </ac:spMkLst>
        </pc:spChg>
        <pc:spChg chg="add del mod">
          <ac:chgData name="Steiner Andreas 6206 ED" userId="e6377c33-a923-4f14-8587-531c474c7b48" providerId="ADAL" clId="{6ECD27E6-B224-41CD-B4E0-E297462320DD}" dt="2023-11-24T08:32:13.894" v="9860"/>
          <ac:spMkLst>
            <pc:docMk/>
            <pc:sldMk cId="3795759164" sldId="691"/>
            <ac:spMk id="69" creationId="{E8F137FF-35C9-9C8E-8986-E2B2EA5627E6}"/>
          </ac:spMkLst>
        </pc:spChg>
        <pc:spChg chg="add del mod">
          <ac:chgData name="Steiner Andreas 6206 ED" userId="e6377c33-a923-4f14-8587-531c474c7b48" providerId="ADAL" clId="{6ECD27E6-B224-41CD-B4E0-E297462320DD}" dt="2023-11-24T08:32:15.832" v="10015"/>
          <ac:spMkLst>
            <pc:docMk/>
            <pc:sldMk cId="3795759164" sldId="691"/>
            <ac:spMk id="70" creationId="{E342E2EB-7147-40DA-5D71-9DBB3492BB15}"/>
          </ac:spMkLst>
        </pc:spChg>
        <pc:spChg chg="add del mod">
          <ac:chgData name="Steiner Andreas 6206 ED" userId="e6377c33-a923-4f14-8587-531c474c7b48" providerId="ADAL" clId="{6ECD27E6-B224-41CD-B4E0-E297462320DD}" dt="2023-11-24T08:32:17.831" v="10170"/>
          <ac:spMkLst>
            <pc:docMk/>
            <pc:sldMk cId="3795759164" sldId="691"/>
            <ac:spMk id="71" creationId="{895AD4CE-8963-7AC0-E0A2-929333F46505}"/>
          </ac:spMkLst>
        </pc:spChg>
        <pc:spChg chg="add del mod">
          <ac:chgData name="Steiner Andreas 6206 ED" userId="e6377c33-a923-4f14-8587-531c474c7b48" providerId="ADAL" clId="{6ECD27E6-B224-41CD-B4E0-E297462320DD}" dt="2023-11-24T08:32:19.785" v="10325"/>
          <ac:spMkLst>
            <pc:docMk/>
            <pc:sldMk cId="3795759164" sldId="691"/>
            <ac:spMk id="72" creationId="{C07FCBC0-3159-F639-EA73-D8F9024B10D3}"/>
          </ac:spMkLst>
        </pc:spChg>
        <pc:spChg chg="add del mod">
          <ac:chgData name="Steiner Andreas 6206 ED" userId="e6377c33-a923-4f14-8587-531c474c7b48" providerId="ADAL" clId="{6ECD27E6-B224-41CD-B4E0-E297462320DD}" dt="2023-11-24T08:32:21.746" v="10480"/>
          <ac:spMkLst>
            <pc:docMk/>
            <pc:sldMk cId="3795759164" sldId="691"/>
            <ac:spMk id="73" creationId="{21245811-B347-CA9D-1376-359F2E3AC780}"/>
          </ac:spMkLst>
        </pc:spChg>
        <pc:spChg chg="add del mod">
          <ac:chgData name="Steiner Andreas 6206 ED" userId="e6377c33-a923-4f14-8587-531c474c7b48" providerId="ADAL" clId="{6ECD27E6-B224-41CD-B4E0-E297462320DD}" dt="2023-11-24T08:32:23.902" v="10635"/>
          <ac:spMkLst>
            <pc:docMk/>
            <pc:sldMk cId="3795759164" sldId="691"/>
            <ac:spMk id="74" creationId="{7C9DA116-2370-3C8E-A6A3-C34EB53412C2}"/>
          </ac:spMkLst>
        </pc:spChg>
        <pc:spChg chg="add del mod">
          <ac:chgData name="Steiner Andreas 6206 ED" userId="e6377c33-a923-4f14-8587-531c474c7b48" providerId="ADAL" clId="{6ECD27E6-B224-41CD-B4E0-E297462320DD}" dt="2023-11-24T08:32:25.873" v="10790"/>
          <ac:spMkLst>
            <pc:docMk/>
            <pc:sldMk cId="3795759164" sldId="691"/>
            <ac:spMk id="75" creationId="{996DEB50-4257-EDFC-95BA-A023B0FA094E}"/>
          </ac:spMkLst>
        </pc:spChg>
        <pc:spChg chg="add del mod">
          <ac:chgData name="Steiner Andreas 6206 ED" userId="e6377c33-a923-4f14-8587-531c474c7b48" providerId="ADAL" clId="{6ECD27E6-B224-41CD-B4E0-E297462320DD}" dt="2023-11-24T08:32:27.854" v="10945"/>
          <ac:spMkLst>
            <pc:docMk/>
            <pc:sldMk cId="3795759164" sldId="691"/>
            <ac:spMk id="76" creationId="{09274878-6073-33ED-A5B0-D391834A7895}"/>
          </ac:spMkLst>
        </pc:spChg>
        <pc:spChg chg="add del mod">
          <ac:chgData name="Steiner Andreas 6206 ED" userId="e6377c33-a923-4f14-8587-531c474c7b48" providerId="ADAL" clId="{6ECD27E6-B224-41CD-B4E0-E297462320DD}" dt="2023-11-24T08:32:29.767" v="11100"/>
          <ac:spMkLst>
            <pc:docMk/>
            <pc:sldMk cId="3795759164" sldId="691"/>
            <ac:spMk id="77" creationId="{C5A5242D-A41C-9F7B-7A73-737417F0AF5E}"/>
          </ac:spMkLst>
        </pc:spChg>
        <pc:spChg chg="add del mod">
          <ac:chgData name="Steiner Andreas 6206 ED" userId="e6377c33-a923-4f14-8587-531c474c7b48" providerId="ADAL" clId="{6ECD27E6-B224-41CD-B4E0-E297462320DD}" dt="2023-11-24T08:32:31.887" v="11255"/>
          <ac:spMkLst>
            <pc:docMk/>
            <pc:sldMk cId="3795759164" sldId="691"/>
            <ac:spMk id="78" creationId="{7D230C06-21D9-6C9A-D1D3-2327CC8E0F9F}"/>
          </ac:spMkLst>
        </pc:spChg>
        <pc:spChg chg="add del mod">
          <ac:chgData name="Steiner Andreas 6206 ED" userId="e6377c33-a923-4f14-8587-531c474c7b48" providerId="ADAL" clId="{6ECD27E6-B224-41CD-B4E0-E297462320DD}" dt="2023-11-24T08:32:34.213" v="11410"/>
          <ac:spMkLst>
            <pc:docMk/>
            <pc:sldMk cId="3795759164" sldId="691"/>
            <ac:spMk id="79" creationId="{95C87986-5AF7-D665-9718-26AB89CB6AE5}"/>
          </ac:spMkLst>
        </pc:spChg>
        <pc:spChg chg="add del mod">
          <ac:chgData name="Steiner Andreas 6206 ED" userId="e6377c33-a923-4f14-8587-531c474c7b48" providerId="ADAL" clId="{6ECD27E6-B224-41CD-B4E0-E297462320DD}" dt="2023-11-24T08:32:36.611" v="11565"/>
          <ac:spMkLst>
            <pc:docMk/>
            <pc:sldMk cId="3795759164" sldId="691"/>
            <ac:spMk id="80" creationId="{0FC79D09-EA20-8CBE-416E-5E0A4EE78397}"/>
          </ac:spMkLst>
        </pc:spChg>
        <pc:spChg chg="add del mod">
          <ac:chgData name="Steiner Andreas 6206 ED" userId="e6377c33-a923-4f14-8587-531c474c7b48" providerId="ADAL" clId="{6ECD27E6-B224-41CD-B4E0-E297462320DD}" dt="2023-11-24T08:32:38.541" v="11720"/>
          <ac:spMkLst>
            <pc:docMk/>
            <pc:sldMk cId="3795759164" sldId="691"/>
            <ac:spMk id="81" creationId="{041A686B-EA51-C1EE-B1FA-AC23E2564D61}"/>
          </ac:spMkLst>
        </pc:spChg>
        <pc:spChg chg="add del mod">
          <ac:chgData name="Steiner Andreas 6206 ED" userId="e6377c33-a923-4f14-8587-531c474c7b48" providerId="ADAL" clId="{6ECD27E6-B224-41CD-B4E0-E297462320DD}" dt="2023-11-24T08:32:40.644" v="11875"/>
          <ac:spMkLst>
            <pc:docMk/>
            <pc:sldMk cId="3795759164" sldId="691"/>
            <ac:spMk id="82" creationId="{F36817C4-D9CB-D862-9A7D-69CB782247DE}"/>
          </ac:spMkLst>
        </pc:spChg>
        <pc:spChg chg="add del mod">
          <ac:chgData name="Steiner Andreas 6206 ED" userId="e6377c33-a923-4f14-8587-531c474c7b48" providerId="ADAL" clId="{6ECD27E6-B224-41CD-B4E0-E297462320DD}" dt="2023-11-24T08:32:42.792" v="12030"/>
          <ac:spMkLst>
            <pc:docMk/>
            <pc:sldMk cId="3795759164" sldId="691"/>
            <ac:spMk id="83" creationId="{8B51794C-0C99-A2B7-44F0-D1736FE0DB70}"/>
          </ac:spMkLst>
        </pc:spChg>
        <pc:spChg chg="add del mod">
          <ac:chgData name="Steiner Andreas 6206 ED" userId="e6377c33-a923-4f14-8587-531c474c7b48" providerId="ADAL" clId="{6ECD27E6-B224-41CD-B4E0-E297462320DD}" dt="2023-11-24T08:32:44.938" v="12185"/>
          <ac:spMkLst>
            <pc:docMk/>
            <pc:sldMk cId="3795759164" sldId="691"/>
            <ac:spMk id="84" creationId="{880C5E84-6BA9-92A8-E419-1F93099D6D7D}"/>
          </ac:spMkLst>
        </pc:spChg>
        <pc:spChg chg="add del mod">
          <ac:chgData name="Steiner Andreas 6206 ED" userId="e6377c33-a923-4f14-8587-531c474c7b48" providerId="ADAL" clId="{6ECD27E6-B224-41CD-B4E0-E297462320DD}" dt="2023-11-24T08:32:47.125" v="12340"/>
          <ac:spMkLst>
            <pc:docMk/>
            <pc:sldMk cId="3795759164" sldId="691"/>
            <ac:spMk id="85" creationId="{1D0BFA8F-86AA-6C19-1F4E-1F6193E24345}"/>
          </ac:spMkLst>
        </pc:spChg>
        <pc:spChg chg="add del mod">
          <ac:chgData name="Steiner Andreas 6206 ED" userId="e6377c33-a923-4f14-8587-531c474c7b48" providerId="ADAL" clId="{6ECD27E6-B224-41CD-B4E0-E297462320DD}" dt="2023-11-24T08:32:49.180" v="12495"/>
          <ac:spMkLst>
            <pc:docMk/>
            <pc:sldMk cId="3795759164" sldId="691"/>
            <ac:spMk id="86" creationId="{C3694202-11F6-350C-3E96-768810D17BDF}"/>
          </ac:spMkLst>
        </pc:spChg>
        <pc:spChg chg="add del mod">
          <ac:chgData name="Steiner Andreas 6206 ED" userId="e6377c33-a923-4f14-8587-531c474c7b48" providerId="ADAL" clId="{6ECD27E6-B224-41CD-B4E0-E297462320DD}" dt="2023-11-24T08:32:51.123" v="12650"/>
          <ac:spMkLst>
            <pc:docMk/>
            <pc:sldMk cId="3795759164" sldId="691"/>
            <ac:spMk id="87" creationId="{F6AC952D-ED5A-9E0D-1F1C-6452F99B174C}"/>
          </ac:spMkLst>
        </pc:spChg>
        <pc:spChg chg="add del mod">
          <ac:chgData name="Steiner Andreas 6206 ED" userId="e6377c33-a923-4f14-8587-531c474c7b48" providerId="ADAL" clId="{6ECD27E6-B224-41CD-B4E0-E297462320DD}" dt="2023-11-24T08:32:53.142" v="12805"/>
          <ac:spMkLst>
            <pc:docMk/>
            <pc:sldMk cId="3795759164" sldId="691"/>
            <ac:spMk id="88" creationId="{44B02E9D-8854-FCB9-10C0-1342675C6815}"/>
          </ac:spMkLst>
        </pc:spChg>
        <pc:spChg chg="add del mod">
          <ac:chgData name="Steiner Andreas 6206 ED" userId="e6377c33-a923-4f14-8587-531c474c7b48" providerId="ADAL" clId="{6ECD27E6-B224-41CD-B4E0-E297462320DD}" dt="2023-11-24T08:32:55.131" v="12960"/>
          <ac:spMkLst>
            <pc:docMk/>
            <pc:sldMk cId="3795759164" sldId="691"/>
            <ac:spMk id="89" creationId="{3D98D5C3-C650-AFEB-926D-7482E35BB252}"/>
          </ac:spMkLst>
        </pc:spChg>
        <pc:spChg chg="add del mod">
          <ac:chgData name="Steiner Andreas 6206 ED" userId="e6377c33-a923-4f14-8587-531c474c7b48" providerId="ADAL" clId="{6ECD27E6-B224-41CD-B4E0-E297462320DD}" dt="2023-11-24T08:32:57.053" v="13115"/>
          <ac:spMkLst>
            <pc:docMk/>
            <pc:sldMk cId="3795759164" sldId="691"/>
            <ac:spMk id="90" creationId="{43FB198D-21BE-9A1C-249D-6BA3FAA7569A}"/>
          </ac:spMkLst>
        </pc:spChg>
        <pc:spChg chg="add del mod">
          <ac:chgData name="Steiner Andreas 6206 ED" userId="e6377c33-a923-4f14-8587-531c474c7b48" providerId="ADAL" clId="{6ECD27E6-B224-41CD-B4E0-E297462320DD}" dt="2023-11-24T08:32:59.160" v="13270"/>
          <ac:spMkLst>
            <pc:docMk/>
            <pc:sldMk cId="3795759164" sldId="691"/>
            <ac:spMk id="91" creationId="{4A21881F-4F07-C719-6A45-4CE5CA378996}"/>
          </ac:spMkLst>
        </pc:spChg>
        <pc:spChg chg="add del mod">
          <ac:chgData name="Steiner Andreas 6206 ED" userId="e6377c33-a923-4f14-8587-531c474c7b48" providerId="ADAL" clId="{6ECD27E6-B224-41CD-B4E0-E297462320DD}" dt="2023-11-24T08:33:01.294" v="13425"/>
          <ac:spMkLst>
            <pc:docMk/>
            <pc:sldMk cId="3795759164" sldId="691"/>
            <ac:spMk id="92" creationId="{6F242568-AB64-2F58-9A9C-598A1C556255}"/>
          </ac:spMkLst>
        </pc:spChg>
        <pc:spChg chg="add del mod">
          <ac:chgData name="Steiner Andreas 6206 ED" userId="e6377c33-a923-4f14-8587-531c474c7b48" providerId="ADAL" clId="{6ECD27E6-B224-41CD-B4E0-E297462320DD}" dt="2023-11-24T08:33:03.634" v="13580"/>
          <ac:spMkLst>
            <pc:docMk/>
            <pc:sldMk cId="3795759164" sldId="691"/>
            <ac:spMk id="93" creationId="{BF928495-452C-0A4B-9ADF-949A39F80469}"/>
          </ac:spMkLst>
        </pc:spChg>
        <pc:spChg chg="add del mod">
          <ac:chgData name="Steiner Andreas 6206 ED" userId="e6377c33-a923-4f14-8587-531c474c7b48" providerId="ADAL" clId="{6ECD27E6-B224-41CD-B4E0-E297462320DD}" dt="2023-11-24T08:33:05.963" v="13735"/>
          <ac:spMkLst>
            <pc:docMk/>
            <pc:sldMk cId="3795759164" sldId="691"/>
            <ac:spMk id="94" creationId="{E4929B0F-8D3F-E716-E91E-1906AE9FCD2A}"/>
          </ac:spMkLst>
        </pc:spChg>
        <pc:spChg chg="add del mod">
          <ac:chgData name="Steiner Andreas 6206 ED" userId="e6377c33-a923-4f14-8587-531c474c7b48" providerId="ADAL" clId="{6ECD27E6-B224-41CD-B4E0-E297462320DD}" dt="2023-11-24T08:33:08.196" v="13890"/>
          <ac:spMkLst>
            <pc:docMk/>
            <pc:sldMk cId="3795759164" sldId="691"/>
            <ac:spMk id="95" creationId="{246771DD-D34A-15E1-5B73-FFEB0500BC40}"/>
          </ac:spMkLst>
        </pc:spChg>
        <pc:spChg chg="add del mod">
          <ac:chgData name="Steiner Andreas 6206 ED" userId="e6377c33-a923-4f14-8587-531c474c7b48" providerId="ADAL" clId="{6ECD27E6-B224-41CD-B4E0-E297462320DD}" dt="2023-11-24T08:33:10.622" v="14045"/>
          <ac:spMkLst>
            <pc:docMk/>
            <pc:sldMk cId="3795759164" sldId="691"/>
            <ac:spMk id="96" creationId="{203B1FD3-E38C-6BDF-EA5F-F9C26555B362}"/>
          </ac:spMkLst>
        </pc:spChg>
        <pc:spChg chg="add del mod">
          <ac:chgData name="Steiner Andreas 6206 ED" userId="e6377c33-a923-4f14-8587-531c474c7b48" providerId="ADAL" clId="{6ECD27E6-B224-41CD-B4E0-E297462320DD}" dt="2023-11-24T08:33:12.618" v="14200"/>
          <ac:spMkLst>
            <pc:docMk/>
            <pc:sldMk cId="3795759164" sldId="691"/>
            <ac:spMk id="97" creationId="{F4B80AC7-C704-195D-E174-2D2007D30832}"/>
          </ac:spMkLst>
        </pc:spChg>
        <pc:spChg chg="add del mod">
          <ac:chgData name="Steiner Andreas 6206 ED" userId="e6377c33-a923-4f14-8587-531c474c7b48" providerId="ADAL" clId="{6ECD27E6-B224-41CD-B4E0-E297462320DD}" dt="2023-11-24T08:33:14.513" v="14355"/>
          <ac:spMkLst>
            <pc:docMk/>
            <pc:sldMk cId="3795759164" sldId="691"/>
            <ac:spMk id="98" creationId="{9FE2FE72-6577-1BB7-BAD1-2E69047BDB3E}"/>
          </ac:spMkLst>
        </pc:spChg>
        <pc:spChg chg="add del mod">
          <ac:chgData name="Steiner Andreas 6206 ED" userId="e6377c33-a923-4f14-8587-531c474c7b48" providerId="ADAL" clId="{6ECD27E6-B224-41CD-B4E0-E297462320DD}" dt="2023-11-24T08:33:16.522" v="14510"/>
          <ac:spMkLst>
            <pc:docMk/>
            <pc:sldMk cId="3795759164" sldId="691"/>
            <ac:spMk id="99" creationId="{10DBF515-9BCD-AA0E-4F74-A4D0B27CA82F}"/>
          </ac:spMkLst>
        </pc:spChg>
        <pc:spChg chg="add del mod">
          <ac:chgData name="Steiner Andreas 6206 ED" userId="e6377c33-a923-4f14-8587-531c474c7b48" providerId="ADAL" clId="{6ECD27E6-B224-41CD-B4E0-E297462320DD}" dt="2023-11-24T08:33:18.832" v="14665"/>
          <ac:spMkLst>
            <pc:docMk/>
            <pc:sldMk cId="3795759164" sldId="691"/>
            <ac:spMk id="100" creationId="{8C7C95BF-4434-7731-009A-312681310EA3}"/>
          </ac:spMkLst>
        </pc:spChg>
        <pc:spChg chg="add del mod">
          <ac:chgData name="Steiner Andreas 6206 ED" userId="e6377c33-a923-4f14-8587-531c474c7b48" providerId="ADAL" clId="{6ECD27E6-B224-41CD-B4E0-E297462320DD}" dt="2023-11-24T08:33:21.192" v="14820"/>
          <ac:spMkLst>
            <pc:docMk/>
            <pc:sldMk cId="3795759164" sldId="691"/>
            <ac:spMk id="101" creationId="{F439B993-8307-0943-D1ED-71A99D47E7C6}"/>
          </ac:spMkLst>
        </pc:spChg>
        <pc:spChg chg="add del mod">
          <ac:chgData name="Steiner Andreas 6206 ED" userId="e6377c33-a923-4f14-8587-531c474c7b48" providerId="ADAL" clId="{6ECD27E6-B224-41CD-B4E0-E297462320DD}" dt="2023-11-24T08:33:23.555" v="14975"/>
          <ac:spMkLst>
            <pc:docMk/>
            <pc:sldMk cId="3795759164" sldId="691"/>
            <ac:spMk id="102" creationId="{3A532B57-65F7-4578-55E6-90BACB4B08E1}"/>
          </ac:spMkLst>
        </pc:spChg>
        <pc:spChg chg="add del mod">
          <ac:chgData name="Steiner Andreas 6206 ED" userId="e6377c33-a923-4f14-8587-531c474c7b48" providerId="ADAL" clId="{6ECD27E6-B224-41CD-B4E0-E297462320DD}" dt="2023-11-24T08:33:25.972" v="15130"/>
          <ac:spMkLst>
            <pc:docMk/>
            <pc:sldMk cId="3795759164" sldId="691"/>
            <ac:spMk id="103" creationId="{5DCE334C-9CE9-79B4-FC95-E498E340EA31}"/>
          </ac:spMkLst>
        </pc:spChg>
        <pc:spChg chg="add del mod">
          <ac:chgData name="Steiner Andreas 6206 ED" userId="e6377c33-a923-4f14-8587-531c474c7b48" providerId="ADAL" clId="{6ECD27E6-B224-41CD-B4E0-E297462320DD}" dt="2023-11-24T08:33:28.258" v="15285"/>
          <ac:spMkLst>
            <pc:docMk/>
            <pc:sldMk cId="3795759164" sldId="691"/>
            <ac:spMk id="104" creationId="{C63490CB-53FD-923F-F3FA-A2C652301FF2}"/>
          </ac:spMkLst>
        </pc:spChg>
        <pc:spChg chg="add del mod">
          <ac:chgData name="Steiner Andreas 6206 ED" userId="e6377c33-a923-4f14-8587-531c474c7b48" providerId="ADAL" clId="{6ECD27E6-B224-41CD-B4E0-E297462320DD}" dt="2023-11-24T08:33:30.708" v="15440"/>
          <ac:spMkLst>
            <pc:docMk/>
            <pc:sldMk cId="3795759164" sldId="691"/>
            <ac:spMk id="105" creationId="{F5706772-AE84-5CF6-FEF7-B44A4A7C1F7A}"/>
          </ac:spMkLst>
        </pc:spChg>
        <pc:spChg chg="add del mod">
          <ac:chgData name="Steiner Andreas 6206 ED" userId="e6377c33-a923-4f14-8587-531c474c7b48" providerId="ADAL" clId="{6ECD27E6-B224-41CD-B4E0-E297462320DD}" dt="2023-11-24T08:33:33.511" v="15595"/>
          <ac:spMkLst>
            <pc:docMk/>
            <pc:sldMk cId="3795759164" sldId="691"/>
            <ac:spMk id="106" creationId="{EB28A46B-0F24-B956-E34F-0EB317AA9208}"/>
          </ac:spMkLst>
        </pc:spChg>
        <pc:spChg chg="add del mod">
          <ac:chgData name="Steiner Andreas 6206 ED" userId="e6377c33-a923-4f14-8587-531c474c7b48" providerId="ADAL" clId="{6ECD27E6-B224-41CD-B4E0-E297462320DD}" dt="2023-11-24T08:33:35.806" v="15750"/>
          <ac:spMkLst>
            <pc:docMk/>
            <pc:sldMk cId="3795759164" sldId="691"/>
            <ac:spMk id="107" creationId="{6B530669-BF78-EFE0-D384-76DEB474BCCD}"/>
          </ac:spMkLst>
        </pc:spChg>
        <pc:spChg chg="add del mod">
          <ac:chgData name="Steiner Andreas 6206 ED" userId="e6377c33-a923-4f14-8587-531c474c7b48" providerId="ADAL" clId="{6ECD27E6-B224-41CD-B4E0-E297462320DD}" dt="2023-11-24T08:33:37.925" v="15905"/>
          <ac:spMkLst>
            <pc:docMk/>
            <pc:sldMk cId="3795759164" sldId="691"/>
            <ac:spMk id="108" creationId="{A085E450-ABD3-E1CC-EE04-C8B22DB1E70E}"/>
          </ac:spMkLst>
        </pc:spChg>
        <pc:spChg chg="add del mod">
          <ac:chgData name="Steiner Andreas 6206 ED" userId="e6377c33-a923-4f14-8587-531c474c7b48" providerId="ADAL" clId="{6ECD27E6-B224-41CD-B4E0-E297462320DD}" dt="2023-11-24T08:33:40.240" v="16060"/>
          <ac:spMkLst>
            <pc:docMk/>
            <pc:sldMk cId="3795759164" sldId="691"/>
            <ac:spMk id="109" creationId="{191579CD-A812-4D48-BF59-A1CE17C050B6}"/>
          </ac:spMkLst>
        </pc:spChg>
        <pc:spChg chg="add del mod">
          <ac:chgData name="Steiner Andreas 6206 ED" userId="e6377c33-a923-4f14-8587-531c474c7b48" providerId="ADAL" clId="{6ECD27E6-B224-41CD-B4E0-E297462320DD}" dt="2023-11-24T08:33:42.869" v="16215"/>
          <ac:spMkLst>
            <pc:docMk/>
            <pc:sldMk cId="3795759164" sldId="691"/>
            <ac:spMk id="110" creationId="{2152FDA7-9878-59FA-815A-68DCBB74C768}"/>
          </ac:spMkLst>
        </pc:spChg>
        <pc:spChg chg="add del mod">
          <ac:chgData name="Steiner Andreas 6206 ED" userId="e6377c33-a923-4f14-8587-531c474c7b48" providerId="ADAL" clId="{6ECD27E6-B224-41CD-B4E0-E297462320DD}" dt="2023-11-24T08:33:45.433" v="16370"/>
          <ac:spMkLst>
            <pc:docMk/>
            <pc:sldMk cId="3795759164" sldId="691"/>
            <ac:spMk id="111" creationId="{5CA873D7-A71D-DC0C-C0F6-9BDF1C8EEE92}"/>
          </ac:spMkLst>
        </pc:spChg>
        <pc:spChg chg="add del mod">
          <ac:chgData name="Steiner Andreas 6206 ED" userId="e6377c33-a923-4f14-8587-531c474c7b48" providerId="ADAL" clId="{6ECD27E6-B224-41CD-B4E0-E297462320DD}" dt="2023-11-24T08:33:47.643" v="16525"/>
          <ac:spMkLst>
            <pc:docMk/>
            <pc:sldMk cId="3795759164" sldId="691"/>
            <ac:spMk id="112" creationId="{4194B387-C48D-6279-AADE-3CF3C1183627}"/>
          </ac:spMkLst>
        </pc:spChg>
        <pc:spChg chg="add del mod">
          <ac:chgData name="Steiner Andreas 6206 ED" userId="e6377c33-a923-4f14-8587-531c474c7b48" providerId="ADAL" clId="{6ECD27E6-B224-41CD-B4E0-E297462320DD}" dt="2023-11-24T08:33:50.364" v="16680"/>
          <ac:spMkLst>
            <pc:docMk/>
            <pc:sldMk cId="3795759164" sldId="691"/>
            <ac:spMk id="113" creationId="{96177EA0-EF85-C646-1114-0B9706423A5F}"/>
          </ac:spMkLst>
        </pc:spChg>
        <pc:spChg chg="add del mod">
          <ac:chgData name="Steiner Andreas 6206 ED" userId="e6377c33-a923-4f14-8587-531c474c7b48" providerId="ADAL" clId="{6ECD27E6-B224-41CD-B4E0-E297462320DD}" dt="2023-11-24T08:33:52.772" v="16835"/>
          <ac:spMkLst>
            <pc:docMk/>
            <pc:sldMk cId="3795759164" sldId="691"/>
            <ac:spMk id="114" creationId="{E898DE31-9B46-17C2-F4B9-78C9EFE7031C}"/>
          </ac:spMkLst>
        </pc:spChg>
        <pc:spChg chg="add del mod">
          <ac:chgData name="Steiner Andreas 6206 ED" userId="e6377c33-a923-4f14-8587-531c474c7b48" providerId="ADAL" clId="{6ECD27E6-B224-41CD-B4E0-E297462320DD}" dt="2023-11-24T08:33:54.933" v="16990"/>
          <ac:spMkLst>
            <pc:docMk/>
            <pc:sldMk cId="3795759164" sldId="691"/>
            <ac:spMk id="115" creationId="{03869313-20C6-68AE-316C-912290C99325}"/>
          </ac:spMkLst>
        </pc:spChg>
        <pc:spChg chg="add del mod">
          <ac:chgData name="Steiner Andreas 6206 ED" userId="e6377c33-a923-4f14-8587-531c474c7b48" providerId="ADAL" clId="{6ECD27E6-B224-41CD-B4E0-E297462320DD}" dt="2023-11-24T08:33:57.304" v="17145"/>
          <ac:spMkLst>
            <pc:docMk/>
            <pc:sldMk cId="3795759164" sldId="691"/>
            <ac:spMk id="116" creationId="{49E1C5FF-E600-9A14-35E9-FD888333D668}"/>
          </ac:spMkLst>
        </pc:spChg>
        <pc:spChg chg="add del mod">
          <ac:chgData name="Steiner Andreas 6206 ED" userId="e6377c33-a923-4f14-8587-531c474c7b48" providerId="ADAL" clId="{6ECD27E6-B224-41CD-B4E0-E297462320DD}" dt="2023-11-24T08:33:59.740" v="17300"/>
          <ac:spMkLst>
            <pc:docMk/>
            <pc:sldMk cId="3795759164" sldId="691"/>
            <ac:spMk id="117" creationId="{0C56D0F3-10BB-D98F-C509-9F9CDB19C4A2}"/>
          </ac:spMkLst>
        </pc:spChg>
        <pc:spChg chg="add del mod">
          <ac:chgData name="Steiner Andreas 6206 ED" userId="e6377c33-a923-4f14-8587-531c474c7b48" providerId="ADAL" clId="{6ECD27E6-B224-41CD-B4E0-E297462320DD}" dt="2023-11-24T08:34:01.698" v="17455"/>
          <ac:spMkLst>
            <pc:docMk/>
            <pc:sldMk cId="3795759164" sldId="691"/>
            <ac:spMk id="118" creationId="{8D24ED86-8542-76D1-9D8E-FDD1BF3DC40A}"/>
          </ac:spMkLst>
        </pc:spChg>
        <pc:spChg chg="add del mod">
          <ac:chgData name="Steiner Andreas 6206 ED" userId="e6377c33-a923-4f14-8587-531c474c7b48" providerId="ADAL" clId="{6ECD27E6-B224-41CD-B4E0-E297462320DD}" dt="2023-11-24T08:34:04.119" v="17610"/>
          <ac:spMkLst>
            <pc:docMk/>
            <pc:sldMk cId="3795759164" sldId="691"/>
            <ac:spMk id="119" creationId="{97524E43-9442-A089-45DA-B4C75C3D4DB6}"/>
          </ac:spMkLst>
        </pc:spChg>
        <pc:spChg chg="add del mod">
          <ac:chgData name="Steiner Andreas 6206 ED" userId="e6377c33-a923-4f14-8587-531c474c7b48" providerId="ADAL" clId="{6ECD27E6-B224-41CD-B4E0-E297462320DD}" dt="2023-11-24T08:34:05.976" v="17765"/>
          <ac:spMkLst>
            <pc:docMk/>
            <pc:sldMk cId="3795759164" sldId="691"/>
            <ac:spMk id="120" creationId="{0F31172F-4F63-1BE2-6E1B-D1098AAA270B}"/>
          </ac:spMkLst>
        </pc:spChg>
        <pc:spChg chg="add del mod">
          <ac:chgData name="Steiner Andreas 6206 ED" userId="e6377c33-a923-4f14-8587-531c474c7b48" providerId="ADAL" clId="{6ECD27E6-B224-41CD-B4E0-E297462320DD}" dt="2023-11-24T08:34:08.088" v="17920"/>
          <ac:spMkLst>
            <pc:docMk/>
            <pc:sldMk cId="3795759164" sldId="691"/>
            <ac:spMk id="121" creationId="{B855B68D-D45A-FAE0-C49B-36D6BE11DCBD}"/>
          </ac:spMkLst>
        </pc:spChg>
        <pc:spChg chg="add del mod">
          <ac:chgData name="Steiner Andreas 6206 ED" userId="e6377c33-a923-4f14-8587-531c474c7b48" providerId="ADAL" clId="{6ECD27E6-B224-41CD-B4E0-E297462320DD}" dt="2023-11-24T08:34:10.035" v="18075"/>
          <ac:spMkLst>
            <pc:docMk/>
            <pc:sldMk cId="3795759164" sldId="691"/>
            <ac:spMk id="122" creationId="{F7A2FD9E-7742-FB3F-0F27-DDCE16DF0345}"/>
          </ac:spMkLst>
        </pc:spChg>
        <pc:spChg chg="add del mod">
          <ac:chgData name="Steiner Andreas 6206 ED" userId="e6377c33-a923-4f14-8587-531c474c7b48" providerId="ADAL" clId="{6ECD27E6-B224-41CD-B4E0-E297462320DD}" dt="2023-11-24T08:34:12.127" v="18230"/>
          <ac:spMkLst>
            <pc:docMk/>
            <pc:sldMk cId="3795759164" sldId="691"/>
            <ac:spMk id="123" creationId="{12A9429A-3D33-4B65-B7D2-33A209D686D7}"/>
          </ac:spMkLst>
        </pc:spChg>
        <pc:spChg chg="add del mod">
          <ac:chgData name="Steiner Andreas 6206 ED" userId="e6377c33-a923-4f14-8587-531c474c7b48" providerId="ADAL" clId="{6ECD27E6-B224-41CD-B4E0-E297462320DD}" dt="2023-11-24T08:34:14.439" v="18385"/>
          <ac:spMkLst>
            <pc:docMk/>
            <pc:sldMk cId="3795759164" sldId="691"/>
            <ac:spMk id="124" creationId="{54A2AC9C-ED85-A143-07B0-C1A9F1AD343B}"/>
          </ac:spMkLst>
        </pc:spChg>
        <pc:spChg chg="add del mod">
          <ac:chgData name="Steiner Andreas 6206 ED" userId="e6377c33-a923-4f14-8587-531c474c7b48" providerId="ADAL" clId="{6ECD27E6-B224-41CD-B4E0-E297462320DD}" dt="2023-11-24T08:34:16.489" v="18540"/>
          <ac:spMkLst>
            <pc:docMk/>
            <pc:sldMk cId="3795759164" sldId="691"/>
            <ac:spMk id="125" creationId="{5A4EF0CC-F016-18CA-17EC-CAFDB22AB370}"/>
          </ac:spMkLst>
        </pc:spChg>
        <pc:spChg chg="add del mod">
          <ac:chgData name="Steiner Andreas 6206 ED" userId="e6377c33-a923-4f14-8587-531c474c7b48" providerId="ADAL" clId="{6ECD27E6-B224-41CD-B4E0-E297462320DD}" dt="2023-11-24T08:34:18.704" v="18695"/>
          <ac:spMkLst>
            <pc:docMk/>
            <pc:sldMk cId="3795759164" sldId="691"/>
            <ac:spMk id="126" creationId="{306B2486-7D36-2B9B-D4B6-47CE47E5C951}"/>
          </ac:spMkLst>
        </pc:spChg>
        <pc:spChg chg="add del mod">
          <ac:chgData name="Steiner Andreas 6206 ED" userId="e6377c33-a923-4f14-8587-531c474c7b48" providerId="ADAL" clId="{6ECD27E6-B224-41CD-B4E0-E297462320DD}" dt="2023-11-24T08:34:20.787" v="18850"/>
          <ac:spMkLst>
            <pc:docMk/>
            <pc:sldMk cId="3795759164" sldId="691"/>
            <ac:spMk id="127" creationId="{8835ADE2-364C-2392-A07D-F1758278AA0D}"/>
          </ac:spMkLst>
        </pc:spChg>
        <pc:spChg chg="add del mod">
          <ac:chgData name="Steiner Andreas 6206 ED" userId="e6377c33-a923-4f14-8587-531c474c7b48" providerId="ADAL" clId="{6ECD27E6-B224-41CD-B4E0-E297462320DD}" dt="2023-11-24T08:34:22.901" v="19005"/>
          <ac:spMkLst>
            <pc:docMk/>
            <pc:sldMk cId="3795759164" sldId="691"/>
            <ac:spMk id="128" creationId="{772841C5-5351-DF78-4781-92E504A362D6}"/>
          </ac:spMkLst>
        </pc:spChg>
        <pc:spChg chg="add del mod">
          <ac:chgData name="Steiner Andreas 6206 ED" userId="e6377c33-a923-4f14-8587-531c474c7b48" providerId="ADAL" clId="{6ECD27E6-B224-41CD-B4E0-E297462320DD}" dt="2023-11-24T08:34:26.183" v="19160"/>
          <ac:spMkLst>
            <pc:docMk/>
            <pc:sldMk cId="3795759164" sldId="691"/>
            <ac:spMk id="129" creationId="{0D2D50D1-5229-A3C9-72E6-D693B9097624}"/>
          </ac:spMkLst>
        </pc:spChg>
        <pc:spChg chg="add del mod">
          <ac:chgData name="Steiner Andreas 6206 ED" userId="e6377c33-a923-4f14-8587-531c474c7b48" providerId="ADAL" clId="{6ECD27E6-B224-41CD-B4E0-E297462320DD}" dt="2023-11-24T08:34:28.836" v="19315"/>
          <ac:spMkLst>
            <pc:docMk/>
            <pc:sldMk cId="3795759164" sldId="691"/>
            <ac:spMk id="130" creationId="{D6109AE0-D4FC-CAE8-5707-B0F1588C8041}"/>
          </ac:spMkLst>
        </pc:spChg>
        <pc:spChg chg="add del mod">
          <ac:chgData name="Steiner Andreas 6206 ED" userId="e6377c33-a923-4f14-8587-531c474c7b48" providerId="ADAL" clId="{6ECD27E6-B224-41CD-B4E0-E297462320DD}" dt="2023-11-24T08:34:31.468" v="19470"/>
          <ac:spMkLst>
            <pc:docMk/>
            <pc:sldMk cId="3795759164" sldId="691"/>
            <ac:spMk id="131" creationId="{56603EA0-901F-5707-036A-48F018DC2B77}"/>
          </ac:spMkLst>
        </pc:spChg>
        <pc:spChg chg="add del mod">
          <ac:chgData name="Steiner Andreas 6206 ED" userId="e6377c33-a923-4f14-8587-531c474c7b48" providerId="ADAL" clId="{6ECD27E6-B224-41CD-B4E0-E297462320DD}" dt="2023-11-24T08:34:33.652" v="19625"/>
          <ac:spMkLst>
            <pc:docMk/>
            <pc:sldMk cId="3795759164" sldId="691"/>
            <ac:spMk id="132" creationId="{51217950-071B-0A6C-74BF-ED08C6881265}"/>
          </ac:spMkLst>
        </pc:spChg>
        <pc:spChg chg="add del mod">
          <ac:chgData name="Steiner Andreas 6206 ED" userId="e6377c33-a923-4f14-8587-531c474c7b48" providerId="ADAL" clId="{6ECD27E6-B224-41CD-B4E0-E297462320DD}" dt="2023-11-24T08:34:35.912" v="19780"/>
          <ac:spMkLst>
            <pc:docMk/>
            <pc:sldMk cId="3795759164" sldId="691"/>
            <ac:spMk id="133" creationId="{157E5C1F-4158-34BB-73C7-010AB961CA7F}"/>
          </ac:spMkLst>
        </pc:spChg>
        <pc:spChg chg="add del mod">
          <ac:chgData name="Steiner Andreas 6206 ED" userId="e6377c33-a923-4f14-8587-531c474c7b48" providerId="ADAL" clId="{6ECD27E6-B224-41CD-B4E0-E297462320DD}" dt="2023-11-24T08:34:38.167" v="19935"/>
          <ac:spMkLst>
            <pc:docMk/>
            <pc:sldMk cId="3795759164" sldId="691"/>
            <ac:spMk id="134" creationId="{FA4DA82A-F192-4B64-1EC2-833F08E0054D}"/>
          </ac:spMkLst>
        </pc:spChg>
        <pc:spChg chg="add del mod">
          <ac:chgData name="Steiner Andreas 6206 ED" userId="e6377c33-a923-4f14-8587-531c474c7b48" providerId="ADAL" clId="{6ECD27E6-B224-41CD-B4E0-E297462320DD}" dt="2023-11-24T08:34:40.438" v="20090"/>
          <ac:spMkLst>
            <pc:docMk/>
            <pc:sldMk cId="3795759164" sldId="691"/>
            <ac:spMk id="135" creationId="{1465BAC2-B16E-B20E-378A-F1938F95636B}"/>
          </ac:spMkLst>
        </pc:spChg>
        <pc:spChg chg="add del mod">
          <ac:chgData name="Steiner Andreas 6206 ED" userId="e6377c33-a923-4f14-8587-531c474c7b48" providerId="ADAL" clId="{6ECD27E6-B224-41CD-B4E0-E297462320DD}" dt="2023-11-24T08:34:43.209" v="20245"/>
          <ac:spMkLst>
            <pc:docMk/>
            <pc:sldMk cId="3795759164" sldId="691"/>
            <ac:spMk id="136" creationId="{11AEED9D-921A-E708-688E-B49CACB7207B}"/>
          </ac:spMkLst>
        </pc:spChg>
        <pc:spChg chg="add del mod">
          <ac:chgData name="Steiner Andreas 6206 ED" userId="e6377c33-a923-4f14-8587-531c474c7b48" providerId="ADAL" clId="{6ECD27E6-B224-41CD-B4E0-E297462320DD}" dt="2023-11-24T08:34:45.528" v="20400"/>
          <ac:spMkLst>
            <pc:docMk/>
            <pc:sldMk cId="3795759164" sldId="691"/>
            <ac:spMk id="137" creationId="{264A244D-F1A8-AF2D-6989-43AEAB6D3F87}"/>
          </ac:spMkLst>
        </pc:spChg>
        <pc:spChg chg="add del mod">
          <ac:chgData name="Steiner Andreas 6206 ED" userId="e6377c33-a923-4f14-8587-531c474c7b48" providerId="ADAL" clId="{6ECD27E6-B224-41CD-B4E0-E297462320DD}" dt="2023-11-24T08:34:47.787" v="20555"/>
          <ac:spMkLst>
            <pc:docMk/>
            <pc:sldMk cId="3795759164" sldId="691"/>
            <ac:spMk id="138" creationId="{CB2266F1-F006-C9C5-E5D3-B54B16FD76A6}"/>
          </ac:spMkLst>
        </pc:spChg>
        <pc:spChg chg="add del mod">
          <ac:chgData name="Steiner Andreas 6206 ED" userId="e6377c33-a923-4f14-8587-531c474c7b48" providerId="ADAL" clId="{6ECD27E6-B224-41CD-B4E0-E297462320DD}" dt="2023-11-24T08:34:50.184" v="20710"/>
          <ac:spMkLst>
            <pc:docMk/>
            <pc:sldMk cId="3795759164" sldId="691"/>
            <ac:spMk id="139" creationId="{7E7A3B81-C536-4F86-BBD6-E9151E7FBBA8}"/>
          </ac:spMkLst>
        </pc:spChg>
        <pc:spChg chg="add del mod">
          <ac:chgData name="Steiner Andreas 6206 ED" userId="e6377c33-a923-4f14-8587-531c474c7b48" providerId="ADAL" clId="{6ECD27E6-B224-41CD-B4E0-E297462320DD}" dt="2023-11-24T08:34:52.754" v="20865"/>
          <ac:spMkLst>
            <pc:docMk/>
            <pc:sldMk cId="3795759164" sldId="691"/>
            <ac:spMk id="140" creationId="{1DDC8765-519B-7283-F9C1-4F821CDF7D1A}"/>
          </ac:spMkLst>
        </pc:spChg>
        <pc:spChg chg="add del mod">
          <ac:chgData name="Steiner Andreas 6206 ED" userId="e6377c33-a923-4f14-8587-531c474c7b48" providerId="ADAL" clId="{6ECD27E6-B224-41CD-B4E0-E297462320DD}" dt="2023-11-24T08:34:55.252" v="21020"/>
          <ac:spMkLst>
            <pc:docMk/>
            <pc:sldMk cId="3795759164" sldId="691"/>
            <ac:spMk id="141" creationId="{F192C3A1-B4E0-8499-D1C4-CEA81C4B75D4}"/>
          </ac:spMkLst>
        </pc:spChg>
        <pc:spChg chg="add del mod">
          <ac:chgData name="Steiner Andreas 6206 ED" userId="e6377c33-a923-4f14-8587-531c474c7b48" providerId="ADAL" clId="{6ECD27E6-B224-41CD-B4E0-E297462320DD}" dt="2023-11-24T08:34:57.546" v="21175"/>
          <ac:spMkLst>
            <pc:docMk/>
            <pc:sldMk cId="3795759164" sldId="691"/>
            <ac:spMk id="142" creationId="{CA1C08A4-83CC-63FF-D29F-65278FE57F8B}"/>
          </ac:spMkLst>
        </pc:spChg>
        <pc:spChg chg="add del mod">
          <ac:chgData name="Steiner Andreas 6206 ED" userId="e6377c33-a923-4f14-8587-531c474c7b48" providerId="ADAL" clId="{6ECD27E6-B224-41CD-B4E0-E297462320DD}" dt="2023-11-24T08:35:00.087" v="21330"/>
          <ac:spMkLst>
            <pc:docMk/>
            <pc:sldMk cId="3795759164" sldId="691"/>
            <ac:spMk id="143" creationId="{D53AA029-5983-4D95-8A38-6D48AD24DDD4}"/>
          </ac:spMkLst>
        </pc:spChg>
        <pc:spChg chg="add del mod">
          <ac:chgData name="Steiner Andreas 6206 ED" userId="e6377c33-a923-4f14-8587-531c474c7b48" providerId="ADAL" clId="{6ECD27E6-B224-41CD-B4E0-E297462320DD}" dt="2023-11-24T08:35:02.751" v="21485"/>
          <ac:spMkLst>
            <pc:docMk/>
            <pc:sldMk cId="3795759164" sldId="691"/>
            <ac:spMk id="144" creationId="{398DB774-F57A-D38F-EFF4-6CFC4A1FC504}"/>
          </ac:spMkLst>
        </pc:spChg>
        <pc:spChg chg="add del mod">
          <ac:chgData name="Steiner Andreas 6206 ED" userId="e6377c33-a923-4f14-8587-531c474c7b48" providerId="ADAL" clId="{6ECD27E6-B224-41CD-B4E0-E297462320DD}" dt="2023-11-24T08:35:05.224" v="21640"/>
          <ac:spMkLst>
            <pc:docMk/>
            <pc:sldMk cId="3795759164" sldId="691"/>
            <ac:spMk id="145" creationId="{44DB8CA2-D95E-3364-7A96-64A9FB845EE9}"/>
          </ac:spMkLst>
        </pc:spChg>
        <pc:spChg chg="add del mod">
          <ac:chgData name="Steiner Andreas 6206 ED" userId="e6377c33-a923-4f14-8587-531c474c7b48" providerId="ADAL" clId="{6ECD27E6-B224-41CD-B4E0-E297462320DD}" dt="2023-11-24T08:35:07.729" v="21795"/>
          <ac:spMkLst>
            <pc:docMk/>
            <pc:sldMk cId="3795759164" sldId="691"/>
            <ac:spMk id="146" creationId="{98ED88C9-01D9-5E55-6247-302BD903C635}"/>
          </ac:spMkLst>
        </pc:spChg>
        <pc:spChg chg="add del mod">
          <ac:chgData name="Steiner Andreas 6206 ED" userId="e6377c33-a923-4f14-8587-531c474c7b48" providerId="ADAL" clId="{6ECD27E6-B224-41CD-B4E0-E297462320DD}" dt="2023-11-24T08:35:10.259" v="21950"/>
          <ac:spMkLst>
            <pc:docMk/>
            <pc:sldMk cId="3795759164" sldId="691"/>
            <ac:spMk id="147" creationId="{83092D52-FB19-D971-0822-CCD58D3ECCF1}"/>
          </ac:spMkLst>
        </pc:spChg>
        <pc:spChg chg="add del mod">
          <ac:chgData name="Steiner Andreas 6206 ED" userId="e6377c33-a923-4f14-8587-531c474c7b48" providerId="ADAL" clId="{6ECD27E6-B224-41CD-B4E0-E297462320DD}" dt="2023-11-24T08:35:12.680" v="22105"/>
          <ac:spMkLst>
            <pc:docMk/>
            <pc:sldMk cId="3795759164" sldId="691"/>
            <ac:spMk id="148" creationId="{F0408462-E80D-8B48-30DC-B87400DD12B2}"/>
          </ac:spMkLst>
        </pc:spChg>
        <pc:spChg chg="add del mod">
          <ac:chgData name="Steiner Andreas 6206 ED" userId="e6377c33-a923-4f14-8587-531c474c7b48" providerId="ADAL" clId="{6ECD27E6-B224-41CD-B4E0-E297462320DD}" dt="2023-11-24T08:35:14.766" v="22260"/>
          <ac:spMkLst>
            <pc:docMk/>
            <pc:sldMk cId="3795759164" sldId="691"/>
            <ac:spMk id="149" creationId="{605E3F37-2A8B-C193-90CA-242C4B551623}"/>
          </ac:spMkLst>
        </pc:spChg>
        <pc:spChg chg="add del mod">
          <ac:chgData name="Steiner Andreas 6206 ED" userId="e6377c33-a923-4f14-8587-531c474c7b48" providerId="ADAL" clId="{6ECD27E6-B224-41CD-B4E0-E297462320DD}" dt="2023-11-24T08:35:17.155" v="22415"/>
          <ac:spMkLst>
            <pc:docMk/>
            <pc:sldMk cId="3795759164" sldId="691"/>
            <ac:spMk id="150" creationId="{2E591D2F-1B4D-94CA-EB45-3390068EB7B8}"/>
          </ac:spMkLst>
        </pc:spChg>
        <pc:spChg chg="add del mod">
          <ac:chgData name="Steiner Andreas 6206 ED" userId="e6377c33-a923-4f14-8587-531c474c7b48" providerId="ADAL" clId="{6ECD27E6-B224-41CD-B4E0-E297462320DD}" dt="2023-11-24T08:35:19.591" v="22570"/>
          <ac:spMkLst>
            <pc:docMk/>
            <pc:sldMk cId="3795759164" sldId="691"/>
            <ac:spMk id="151" creationId="{C4BE4954-CB64-FE03-956D-9202A4DC4E15}"/>
          </ac:spMkLst>
        </pc:spChg>
        <pc:spChg chg="add del mod">
          <ac:chgData name="Steiner Andreas 6206 ED" userId="e6377c33-a923-4f14-8587-531c474c7b48" providerId="ADAL" clId="{6ECD27E6-B224-41CD-B4E0-E297462320DD}" dt="2023-11-24T08:35:22.027" v="22725"/>
          <ac:spMkLst>
            <pc:docMk/>
            <pc:sldMk cId="3795759164" sldId="691"/>
            <ac:spMk id="152" creationId="{1C1ED6A8-BA43-13F2-7328-5EF08899BB26}"/>
          </ac:spMkLst>
        </pc:spChg>
        <pc:spChg chg="add del mod">
          <ac:chgData name="Steiner Andreas 6206 ED" userId="e6377c33-a923-4f14-8587-531c474c7b48" providerId="ADAL" clId="{6ECD27E6-B224-41CD-B4E0-E297462320DD}" dt="2023-11-24T08:35:24.342" v="22880"/>
          <ac:spMkLst>
            <pc:docMk/>
            <pc:sldMk cId="3795759164" sldId="691"/>
            <ac:spMk id="153" creationId="{67468CEA-911B-C2D5-8AF2-EC821B0398C7}"/>
          </ac:spMkLst>
        </pc:spChg>
        <pc:spChg chg="add del mod">
          <ac:chgData name="Steiner Andreas 6206 ED" userId="e6377c33-a923-4f14-8587-531c474c7b48" providerId="ADAL" clId="{6ECD27E6-B224-41CD-B4E0-E297462320DD}" dt="2023-11-24T08:35:26.998" v="23035"/>
          <ac:spMkLst>
            <pc:docMk/>
            <pc:sldMk cId="3795759164" sldId="691"/>
            <ac:spMk id="154" creationId="{C69F6AF6-7EBE-CD21-FA78-744A9AE666FD}"/>
          </ac:spMkLst>
        </pc:spChg>
        <pc:spChg chg="add del mod">
          <ac:chgData name="Steiner Andreas 6206 ED" userId="e6377c33-a923-4f14-8587-531c474c7b48" providerId="ADAL" clId="{6ECD27E6-B224-41CD-B4E0-E297462320DD}" dt="2023-11-24T08:35:29.719" v="23190"/>
          <ac:spMkLst>
            <pc:docMk/>
            <pc:sldMk cId="3795759164" sldId="691"/>
            <ac:spMk id="155" creationId="{32A9036B-9012-AB4F-D283-657923005BA1}"/>
          </ac:spMkLst>
        </pc:spChg>
        <pc:spChg chg="add del mod">
          <ac:chgData name="Steiner Andreas 6206 ED" userId="e6377c33-a923-4f14-8587-531c474c7b48" providerId="ADAL" clId="{6ECD27E6-B224-41CD-B4E0-E297462320DD}" dt="2023-11-24T08:35:32.074" v="23345"/>
          <ac:spMkLst>
            <pc:docMk/>
            <pc:sldMk cId="3795759164" sldId="691"/>
            <ac:spMk id="156" creationId="{51CE6E03-4504-1C78-639A-7F7785620944}"/>
          </ac:spMkLst>
        </pc:spChg>
        <pc:spChg chg="add del mod">
          <ac:chgData name="Steiner Andreas 6206 ED" userId="e6377c33-a923-4f14-8587-531c474c7b48" providerId="ADAL" clId="{6ECD27E6-B224-41CD-B4E0-E297462320DD}" dt="2023-11-24T08:35:34.477" v="23500"/>
          <ac:spMkLst>
            <pc:docMk/>
            <pc:sldMk cId="3795759164" sldId="691"/>
            <ac:spMk id="157" creationId="{1DA45C9F-320E-D6BD-AB5C-8FB677756520}"/>
          </ac:spMkLst>
        </pc:spChg>
        <pc:spChg chg="add del mod">
          <ac:chgData name="Steiner Andreas 6206 ED" userId="e6377c33-a923-4f14-8587-531c474c7b48" providerId="ADAL" clId="{6ECD27E6-B224-41CD-B4E0-E297462320DD}" dt="2023-11-24T08:35:36.797" v="23655"/>
          <ac:spMkLst>
            <pc:docMk/>
            <pc:sldMk cId="3795759164" sldId="691"/>
            <ac:spMk id="158" creationId="{77E86D5C-AAE9-3FBA-6B37-78D4B1DB1FAD}"/>
          </ac:spMkLst>
        </pc:spChg>
        <pc:spChg chg="add del mod">
          <ac:chgData name="Steiner Andreas 6206 ED" userId="e6377c33-a923-4f14-8587-531c474c7b48" providerId="ADAL" clId="{6ECD27E6-B224-41CD-B4E0-E297462320DD}" dt="2023-11-24T08:35:39.201" v="23810"/>
          <ac:spMkLst>
            <pc:docMk/>
            <pc:sldMk cId="3795759164" sldId="691"/>
            <ac:spMk id="159" creationId="{F1C575C1-E848-4FDB-1B59-D946EF93D928}"/>
          </ac:spMkLst>
        </pc:spChg>
        <pc:spChg chg="add del mod">
          <ac:chgData name="Steiner Andreas 6206 ED" userId="e6377c33-a923-4f14-8587-531c474c7b48" providerId="ADAL" clId="{6ECD27E6-B224-41CD-B4E0-E297462320DD}" dt="2023-11-24T08:35:41.870" v="23965"/>
          <ac:spMkLst>
            <pc:docMk/>
            <pc:sldMk cId="3795759164" sldId="691"/>
            <ac:spMk id="160" creationId="{1562D0D6-98EA-AD0A-1A45-856437B95133}"/>
          </ac:spMkLst>
        </pc:spChg>
        <pc:spChg chg="add del mod">
          <ac:chgData name="Steiner Andreas 6206 ED" userId="e6377c33-a923-4f14-8587-531c474c7b48" providerId="ADAL" clId="{6ECD27E6-B224-41CD-B4E0-E297462320DD}" dt="2023-11-24T08:35:44.328" v="24120"/>
          <ac:spMkLst>
            <pc:docMk/>
            <pc:sldMk cId="3795759164" sldId="691"/>
            <ac:spMk id="161" creationId="{67AE1968-EFBE-9099-CDD8-4118C0F9DD74}"/>
          </ac:spMkLst>
        </pc:spChg>
        <pc:spChg chg="add del mod">
          <ac:chgData name="Steiner Andreas 6206 ED" userId="e6377c33-a923-4f14-8587-531c474c7b48" providerId="ADAL" clId="{6ECD27E6-B224-41CD-B4E0-E297462320DD}" dt="2023-11-24T08:35:46.607" v="24275"/>
          <ac:spMkLst>
            <pc:docMk/>
            <pc:sldMk cId="3795759164" sldId="691"/>
            <ac:spMk id="162" creationId="{FAF4EF27-B338-1DEC-9BAF-5C58D5CF3DB8}"/>
          </ac:spMkLst>
        </pc:spChg>
        <pc:spChg chg="add del mod">
          <ac:chgData name="Steiner Andreas 6206 ED" userId="e6377c33-a923-4f14-8587-531c474c7b48" providerId="ADAL" clId="{6ECD27E6-B224-41CD-B4E0-E297462320DD}" dt="2023-11-24T08:35:48.836" v="24430"/>
          <ac:spMkLst>
            <pc:docMk/>
            <pc:sldMk cId="3795759164" sldId="691"/>
            <ac:spMk id="163" creationId="{2923BBCA-42F0-93E6-C27A-5342E52862D7}"/>
          </ac:spMkLst>
        </pc:spChg>
        <pc:spChg chg="add del mod">
          <ac:chgData name="Steiner Andreas 6206 ED" userId="e6377c33-a923-4f14-8587-531c474c7b48" providerId="ADAL" clId="{6ECD27E6-B224-41CD-B4E0-E297462320DD}" dt="2023-11-24T08:35:51.135" v="24585"/>
          <ac:spMkLst>
            <pc:docMk/>
            <pc:sldMk cId="3795759164" sldId="691"/>
            <ac:spMk id="164" creationId="{30330BEC-3E98-DA06-E5FE-C856602A0F4E}"/>
          </ac:spMkLst>
        </pc:spChg>
        <pc:spChg chg="add del mod">
          <ac:chgData name="Steiner Andreas 6206 ED" userId="e6377c33-a923-4f14-8587-531c474c7b48" providerId="ADAL" clId="{6ECD27E6-B224-41CD-B4E0-E297462320DD}" dt="2023-11-24T08:35:54.016" v="24740"/>
          <ac:spMkLst>
            <pc:docMk/>
            <pc:sldMk cId="3795759164" sldId="691"/>
            <ac:spMk id="165" creationId="{B7BAAF9F-80A1-4579-4EEA-FA3E9B25DD47}"/>
          </ac:spMkLst>
        </pc:spChg>
        <pc:spChg chg="add del mod">
          <ac:chgData name="Steiner Andreas 6206 ED" userId="e6377c33-a923-4f14-8587-531c474c7b48" providerId="ADAL" clId="{6ECD27E6-B224-41CD-B4E0-E297462320DD}" dt="2023-11-24T08:35:56.525" v="24895"/>
          <ac:spMkLst>
            <pc:docMk/>
            <pc:sldMk cId="3795759164" sldId="691"/>
            <ac:spMk id="166" creationId="{0B175B0A-A796-E46B-C4A8-D37A139CE944}"/>
          </ac:spMkLst>
        </pc:spChg>
        <pc:spChg chg="add del mod">
          <ac:chgData name="Steiner Andreas 6206 ED" userId="e6377c33-a923-4f14-8587-531c474c7b48" providerId="ADAL" clId="{6ECD27E6-B224-41CD-B4E0-E297462320DD}" dt="2023-11-24T08:35:59.070" v="25050"/>
          <ac:spMkLst>
            <pc:docMk/>
            <pc:sldMk cId="3795759164" sldId="691"/>
            <ac:spMk id="167" creationId="{63DBC062-7442-9A38-D24F-F92D19D27D3E}"/>
          </ac:spMkLst>
        </pc:spChg>
        <pc:spChg chg="add del mod">
          <ac:chgData name="Steiner Andreas 6206 ED" userId="e6377c33-a923-4f14-8587-531c474c7b48" providerId="ADAL" clId="{6ECD27E6-B224-41CD-B4E0-E297462320DD}" dt="2023-11-24T08:36:01.553" v="25205"/>
          <ac:spMkLst>
            <pc:docMk/>
            <pc:sldMk cId="3795759164" sldId="691"/>
            <ac:spMk id="168" creationId="{E0CF917F-3B45-106A-6C41-DC15C413679D}"/>
          </ac:spMkLst>
        </pc:spChg>
        <pc:spChg chg="add del mod">
          <ac:chgData name="Steiner Andreas 6206 ED" userId="e6377c33-a923-4f14-8587-531c474c7b48" providerId="ADAL" clId="{6ECD27E6-B224-41CD-B4E0-E297462320DD}" dt="2023-11-24T08:36:04.126" v="25360"/>
          <ac:spMkLst>
            <pc:docMk/>
            <pc:sldMk cId="3795759164" sldId="691"/>
            <ac:spMk id="169" creationId="{A08A6550-F003-1D72-6456-2734902C12C6}"/>
          </ac:spMkLst>
        </pc:spChg>
        <pc:spChg chg="add del mod">
          <ac:chgData name="Steiner Andreas 6206 ED" userId="e6377c33-a923-4f14-8587-531c474c7b48" providerId="ADAL" clId="{6ECD27E6-B224-41CD-B4E0-E297462320DD}" dt="2023-11-24T08:36:06.667" v="25515"/>
          <ac:spMkLst>
            <pc:docMk/>
            <pc:sldMk cId="3795759164" sldId="691"/>
            <ac:spMk id="170" creationId="{3798CB01-D590-916D-C15A-89E29D627BA9}"/>
          </ac:spMkLst>
        </pc:spChg>
        <pc:spChg chg="add del mod">
          <ac:chgData name="Steiner Andreas 6206 ED" userId="e6377c33-a923-4f14-8587-531c474c7b48" providerId="ADAL" clId="{6ECD27E6-B224-41CD-B4E0-E297462320DD}" dt="2023-11-24T08:36:09.183" v="25670"/>
          <ac:spMkLst>
            <pc:docMk/>
            <pc:sldMk cId="3795759164" sldId="691"/>
            <ac:spMk id="171" creationId="{70B9D73D-39FD-5194-552F-988B27FC4D8E}"/>
          </ac:spMkLst>
        </pc:spChg>
        <pc:spChg chg="add del mod">
          <ac:chgData name="Steiner Andreas 6206 ED" userId="e6377c33-a923-4f14-8587-531c474c7b48" providerId="ADAL" clId="{6ECD27E6-B224-41CD-B4E0-E297462320DD}" dt="2023-11-24T08:36:11.720" v="25825"/>
          <ac:spMkLst>
            <pc:docMk/>
            <pc:sldMk cId="3795759164" sldId="691"/>
            <ac:spMk id="172" creationId="{299E8ABB-6A6B-69B5-1BAD-F07033DF4C1F}"/>
          </ac:spMkLst>
        </pc:spChg>
        <pc:spChg chg="add del mod">
          <ac:chgData name="Steiner Andreas 6206 ED" userId="e6377c33-a923-4f14-8587-531c474c7b48" providerId="ADAL" clId="{6ECD27E6-B224-41CD-B4E0-E297462320DD}" dt="2023-11-24T08:36:14.103" v="25980"/>
          <ac:spMkLst>
            <pc:docMk/>
            <pc:sldMk cId="3795759164" sldId="691"/>
            <ac:spMk id="173" creationId="{870DF408-F3DE-08EB-5C50-293005606DB4}"/>
          </ac:spMkLst>
        </pc:spChg>
        <pc:spChg chg="add del mod">
          <ac:chgData name="Steiner Andreas 6206 ED" userId="e6377c33-a923-4f14-8587-531c474c7b48" providerId="ADAL" clId="{6ECD27E6-B224-41CD-B4E0-E297462320DD}" dt="2023-11-24T08:36:16.903" v="26135"/>
          <ac:spMkLst>
            <pc:docMk/>
            <pc:sldMk cId="3795759164" sldId="691"/>
            <ac:spMk id="174" creationId="{40CABEBC-0A0B-95AC-1C1C-C84F453EFD2F}"/>
          </ac:spMkLst>
        </pc:spChg>
        <pc:spChg chg="add del mod">
          <ac:chgData name="Steiner Andreas 6206 ED" userId="e6377c33-a923-4f14-8587-531c474c7b48" providerId="ADAL" clId="{6ECD27E6-B224-41CD-B4E0-E297462320DD}" dt="2023-11-24T08:36:19.346" v="26290"/>
          <ac:spMkLst>
            <pc:docMk/>
            <pc:sldMk cId="3795759164" sldId="691"/>
            <ac:spMk id="175" creationId="{398E4C01-7E8E-46C5-4607-7CB9DD2AAD4A}"/>
          </ac:spMkLst>
        </pc:spChg>
        <pc:spChg chg="add del mod">
          <ac:chgData name="Steiner Andreas 6206 ED" userId="e6377c33-a923-4f14-8587-531c474c7b48" providerId="ADAL" clId="{6ECD27E6-B224-41CD-B4E0-E297462320DD}" dt="2023-11-24T08:36:21.591" v="26445"/>
          <ac:spMkLst>
            <pc:docMk/>
            <pc:sldMk cId="3795759164" sldId="691"/>
            <ac:spMk id="176" creationId="{B2D04D0A-D127-913B-C6D9-216B5A7F9C47}"/>
          </ac:spMkLst>
        </pc:spChg>
        <pc:spChg chg="add del mod">
          <ac:chgData name="Steiner Andreas 6206 ED" userId="e6377c33-a923-4f14-8587-531c474c7b48" providerId="ADAL" clId="{6ECD27E6-B224-41CD-B4E0-E297462320DD}" dt="2023-11-24T08:36:24.090" v="26600"/>
          <ac:spMkLst>
            <pc:docMk/>
            <pc:sldMk cId="3795759164" sldId="691"/>
            <ac:spMk id="177" creationId="{E1BDCBD9-C106-0EE7-09C6-D97DAF163C7C}"/>
          </ac:spMkLst>
        </pc:spChg>
        <pc:spChg chg="add del mod">
          <ac:chgData name="Steiner Andreas 6206 ED" userId="e6377c33-a923-4f14-8587-531c474c7b48" providerId="ADAL" clId="{6ECD27E6-B224-41CD-B4E0-E297462320DD}" dt="2023-11-24T08:36:26.618" v="26755"/>
          <ac:spMkLst>
            <pc:docMk/>
            <pc:sldMk cId="3795759164" sldId="691"/>
            <ac:spMk id="178" creationId="{5FF6DF1A-2CC4-2F0B-606D-A5B61837AC95}"/>
          </ac:spMkLst>
        </pc:spChg>
        <pc:spChg chg="add del mod">
          <ac:chgData name="Steiner Andreas 6206 ED" userId="e6377c33-a923-4f14-8587-531c474c7b48" providerId="ADAL" clId="{6ECD27E6-B224-41CD-B4E0-E297462320DD}" dt="2023-11-24T08:36:29.539" v="26910"/>
          <ac:spMkLst>
            <pc:docMk/>
            <pc:sldMk cId="3795759164" sldId="691"/>
            <ac:spMk id="179" creationId="{A0493404-BFEB-7550-3CF3-84AEC2897165}"/>
          </ac:spMkLst>
        </pc:spChg>
        <pc:spChg chg="add del mod">
          <ac:chgData name="Steiner Andreas 6206 ED" userId="e6377c33-a923-4f14-8587-531c474c7b48" providerId="ADAL" clId="{6ECD27E6-B224-41CD-B4E0-E297462320DD}" dt="2023-11-24T08:36:32.233" v="27065"/>
          <ac:spMkLst>
            <pc:docMk/>
            <pc:sldMk cId="3795759164" sldId="691"/>
            <ac:spMk id="180" creationId="{6DCE79DD-0C02-A84F-B793-B4F98CDCC3C9}"/>
          </ac:spMkLst>
        </pc:spChg>
        <pc:spChg chg="add del mod">
          <ac:chgData name="Steiner Andreas 6206 ED" userId="e6377c33-a923-4f14-8587-531c474c7b48" providerId="ADAL" clId="{6ECD27E6-B224-41CD-B4E0-E297462320DD}" dt="2023-11-24T08:36:34.764" v="27220"/>
          <ac:spMkLst>
            <pc:docMk/>
            <pc:sldMk cId="3795759164" sldId="691"/>
            <ac:spMk id="181" creationId="{6E3C606E-6C09-2091-0B48-433493D9DE39}"/>
          </ac:spMkLst>
        </pc:spChg>
        <pc:spChg chg="add del mod">
          <ac:chgData name="Steiner Andreas 6206 ED" userId="e6377c33-a923-4f14-8587-531c474c7b48" providerId="ADAL" clId="{6ECD27E6-B224-41CD-B4E0-E297462320DD}" dt="2023-11-24T08:36:37.301" v="27375"/>
          <ac:spMkLst>
            <pc:docMk/>
            <pc:sldMk cId="3795759164" sldId="691"/>
            <ac:spMk id="182" creationId="{34DC5AF1-B4D9-2C79-48DE-E28FA1F66655}"/>
          </ac:spMkLst>
        </pc:spChg>
        <pc:spChg chg="add del mod">
          <ac:chgData name="Steiner Andreas 6206 ED" userId="e6377c33-a923-4f14-8587-531c474c7b48" providerId="ADAL" clId="{6ECD27E6-B224-41CD-B4E0-E297462320DD}" dt="2023-11-24T08:36:39.862" v="27530"/>
          <ac:spMkLst>
            <pc:docMk/>
            <pc:sldMk cId="3795759164" sldId="691"/>
            <ac:spMk id="183" creationId="{8F0C3114-A838-7D0D-1A8E-19B9F10FB2C7}"/>
          </ac:spMkLst>
        </pc:spChg>
        <pc:spChg chg="add del mod">
          <ac:chgData name="Steiner Andreas 6206 ED" userId="e6377c33-a923-4f14-8587-531c474c7b48" providerId="ADAL" clId="{6ECD27E6-B224-41CD-B4E0-E297462320DD}" dt="2023-11-24T08:36:42.664" v="27685"/>
          <ac:spMkLst>
            <pc:docMk/>
            <pc:sldMk cId="3795759164" sldId="691"/>
            <ac:spMk id="184" creationId="{9E4C8CC7-B138-3251-E634-CFF8D0493094}"/>
          </ac:spMkLst>
        </pc:spChg>
        <pc:spChg chg="add del mod">
          <ac:chgData name="Steiner Andreas 6206 ED" userId="e6377c33-a923-4f14-8587-531c474c7b48" providerId="ADAL" clId="{6ECD27E6-B224-41CD-B4E0-E297462320DD}" dt="2023-11-24T08:36:45.171" v="27840"/>
          <ac:spMkLst>
            <pc:docMk/>
            <pc:sldMk cId="3795759164" sldId="691"/>
            <ac:spMk id="185" creationId="{D2A48B81-8065-CAF5-2076-6FE08E94A84C}"/>
          </ac:spMkLst>
        </pc:spChg>
        <pc:spChg chg="add del mod">
          <ac:chgData name="Steiner Andreas 6206 ED" userId="e6377c33-a923-4f14-8587-531c474c7b48" providerId="ADAL" clId="{6ECD27E6-B224-41CD-B4E0-E297462320DD}" dt="2023-11-24T08:36:47.578" v="27995"/>
          <ac:spMkLst>
            <pc:docMk/>
            <pc:sldMk cId="3795759164" sldId="691"/>
            <ac:spMk id="186" creationId="{EB2F0085-A86B-35A4-0CF3-1383402328E6}"/>
          </ac:spMkLst>
        </pc:spChg>
        <pc:spChg chg="add del mod">
          <ac:chgData name="Steiner Andreas 6206 ED" userId="e6377c33-a923-4f14-8587-531c474c7b48" providerId="ADAL" clId="{6ECD27E6-B224-41CD-B4E0-E297462320DD}" dt="2023-11-24T08:36:50.034" v="28150"/>
          <ac:spMkLst>
            <pc:docMk/>
            <pc:sldMk cId="3795759164" sldId="691"/>
            <ac:spMk id="187" creationId="{E08B01A3-E94C-0529-6ED9-1F3C21B170E2}"/>
          </ac:spMkLst>
        </pc:spChg>
        <pc:spChg chg="add del mod">
          <ac:chgData name="Steiner Andreas 6206 ED" userId="e6377c33-a923-4f14-8587-531c474c7b48" providerId="ADAL" clId="{6ECD27E6-B224-41CD-B4E0-E297462320DD}" dt="2023-11-24T08:36:53.081" v="28305"/>
          <ac:spMkLst>
            <pc:docMk/>
            <pc:sldMk cId="3795759164" sldId="691"/>
            <ac:spMk id="188" creationId="{7C58C956-C66D-CA17-E652-8122C70B3B24}"/>
          </ac:spMkLst>
        </pc:spChg>
        <pc:spChg chg="add del mod">
          <ac:chgData name="Steiner Andreas 6206 ED" userId="e6377c33-a923-4f14-8587-531c474c7b48" providerId="ADAL" clId="{6ECD27E6-B224-41CD-B4E0-E297462320DD}" dt="2023-11-24T08:36:56.139" v="28460"/>
          <ac:spMkLst>
            <pc:docMk/>
            <pc:sldMk cId="3795759164" sldId="691"/>
            <ac:spMk id="189" creationId="{55EFCD2F-C3FD-EEA5-8898-3836698CCBA1}"/>
          </ac:spMkLst>
        </pc:spChg>
        <pc:spChg chg="add del mod">
          <ac:chgData name="Steiner Andreas 6206 ED" userId="e6377c33-a923-4f14-8587-531c474c7b48" providerId="ADAL" clId="{6ECD27E6-B224-41CD-B4E0-E297462320DD}" dt="2023-11-24T08:36:58.959" v="28615"/>
          <ac:spMkLst>
            <pc:docMk/>
            <pc:sldMk cId="3795759164" sldId="691"/>
            <ac:spMk id="190" creationId="{2E56E5B5-128B-1760-A6A9-FAB44D206F49}"/>
          </ac:spMkLst>
        </pc:spChg>
        <pc:spChg chg="add del mod">
          <ac:chgData name="Steiner Andreas 6206 ED" userId="e6377c33-a923-4f14-8587-531c474c7b48" providerId="ADAL" clId="{6ECD27E6-B224-41CD-B4E0-E297462320DD}" dt="2023-11-24T08:37:01.680" v="28770"/>
          <ac:spMkLst>
            <pc:docMk/>
            <pc:sldMk cId="3795759164" sldId="691"/>
            <ac:spMk id="191" creationId="{D5428B28-69B8-FAA2-9F8B-C131FF087EAA}"/>
          </ac:spMkLst>
        </pc:spChg>
        <pc:spChg chg="add del mod">
          <ac:chgData name="Steiner Andreas 6206 ED" userId="e6377c33-a923-4f14-8587-531c474c7b48" providerId="ADAL" clId="{6ECD27E6-B224-41CD-B4E0-E297462320DD}" dt="2023-11-24T08:37:04.440" v="28925"/>
          <ac:spMkLst>
            <pc:docMk/>
            <pc:sldMk cId="3795759164" sldId="691"/>
            <ac:spMk id="192" creationId="{E0C5C3A0-AC5B-D419-5EE6-E16DD0045033}"/>
          </ac:spMkLst>
        </pc:spChg>
        <pc:spChg chg="add del mod">
          <ac:chgData name="Steiner Andreas 6206 ED" userId="e6377c33-a923-4f14-8587-531c474c7b48" providerId="ADAL" clId="{6ECD27E6-B224-41CD-B4E0-E297462320DD}" dt="2023-11-24T08:37:07.296" v="29080"/>
          <ac:spMkLst>
            <pc:docMk/>
            <pc:sldMk cId="3795759164" sldId="691"/>
            <ac:spMk id="193" creationId="{4174BB1F-059D-189D-BF0A-F714E44B32E0}"/>
          </ac:spMkLst>
        </pc:spChg>
        <pc:spChg chg="add del mod">
          <ac:chgData name="Steiner Andreas 6206 ED" userId="e6377c33-a923-4f14-8587-531c474c7b48" providerId="ADAL" clId="{6ECD27E6-B224-41CD-B4E0-E297462320DD}" dt="2023-11-24T08:37:09.829" v="29235"/>
          <ac:spMkLst>
            <pc:docMk/>
            <pc:sldMk cId="3795759164" sldId="691"/>
            <ac:spMk id="194" creationId="{3FD01E2A-108C-83D5-AEE5-6082823DB282}"/>
          </ac:spMkLst>
        </pc:spChg>
        <pc:spChg chg="add del mod">
          <ac:chgData name="Steiner Andreas 6206 ED" userId="e6377c33-a923-4f14-8587-531c474c7b48" providerId="ADAL" clId="{6ECD27E6-B224-41CD-B4E0-E297462320DD}" dt="2023-11-24T08:37:12.596" v="29390"/>
          <ac:spMkLst>
            <pc:docMk/>
            <pc:sldMk cId="3795759164" sldId="691"/>
            <ac:spMk id="195" creationId="{D34A4B50-AED8-FC52-7090-B607BD198654}"/>
          </ac:spMkLst>
        </pc:spChg>
        <pc:spChg chg="add del mod">
          <ac:chgData name="Steiner Andreas 6206 ED" userId="e6377c33-a923-4f14-8587-531c474c7b48" providerId="ADAL" clId="{6ECD27E6-B224-41CD-B4E0-E297462320DD}" dt="2023-11-24T08:37:15.897" v="29545"/>
          <ac:spMkLst>
            <pc:docMk/>
            <pc:sldMk cId="3795759164" sldId="691"/>
            <ac:spMk id="196" creationId="{6D0758F4-87DC-D95E-C5AB-0C816A1C3923}"/>
          </ac:spMkLst>
        </pc:spChg>
        <pc:spChg chg="add del mod">
          <ac:chgData name="Steiner Andreas 6206 ED" userId="e6377c33-a923-4f14-8587-531c474c7b48" providerId="ADAL" clId="{6ECD27E6-B224-41CD-B4E0-E297462320DD}" dt="2023-11-24T08:37:18.668" v="29700"/>
          <ac:spMkLst>
            <pc:docMk/>
            <pc:sldMk cId="3795759164" sldId="691"/>
            <ac:spMk id="197" creationId="{3D9AD63C-E09E-39DE-A041-8B0BADED569C}"/>
          </ac:spMkLst>
        </pc:spChg>
        <pc:spChg chg="add del mod">
          <ac:chgData name="Steiner Andreas 6206 ED" userId="e6377c33-a923-4f14-8587-531c474c7b48" providerId="ADAL" clId="{6ECD27E6-B224-41CD-B4E0-E297462320DD}" dt="2023-11-24T08:37:21.154" v="29855"/>
          <ac:spMkLst>
            <pc:docMk/>
            <pc:sldMk cId="3795759164" sldId="691"/>
            <ac:spMk id="198" creationId="{80B92783-CB09-B1B3-00F1-9B5D11A5BF2E}"/>
          </ac:spMkLst>
        </pc:spChg>
        <pc:spChg chg="add del mod">
          <ac:chgData name="Steiner Andreas 6206 ED" userId="e6377c33-a923-4f14-8587-531c474c7b48" providerId="ADAL" clId="{6ECD27E6-B224-41CD-B4E0-E297462320DD}" dt="2023-11-24T08:37:24.011" v="30010"/>
          <ac:spMkLst>
            <pc:docMk/>
            <pc:sldMk cId="3795759164" sldId="691"/>
            <ac:spMk id="199" creationId="{1DC344BC-B2F5-9496-C292-33DF2D00541F}"/>
          </ac:spMkLst>
        </pc:spChg>
        <pc:spChg chg="add del mod">
          <ac:chgData name="Steiner Andreas 6206 ED" userId="e6377c33-a923-4f14-8587-531c474c7b48" providerId="ADAL" clId="{6ECD27E6-B224-41CD-B4E0-E297462320DD}" dt="2023-11-24T08:37:26.528" v="30165"/>
          <ac:spMkLst>
            <pc:docMk/>
            <pc:sldMk cId="3795759164" sldId="691"/>
            <ac:spMk id="200" creationId="{18516237-7EBF-12DB-E86D-5050F65752AE}"/>
          </ac:spMkLst>
        </pc:spChg>
        <pc:spChg chg="add del mod">
          <ac:chgData name="Steiner Andreas 6206 ED" userId="e6377c33-a923-4f14-8587-531c474c7b48" providerId="ADAL" clId="{6ECD27E6-B224-41CD-B4E0-E297462320DD}" dt="2023-11-24T08:37:29.735" v="30320"/>
          <ac:spMkLst>
            <pc:docMk/>
            <pc:sldMk cId="3795759164" sldId="691"/>
            <ac:spMk id="201" creationId="{4017A363-8FC6-8A37-63E3-30D99EB73702}"/>
          </ac:spMkLst>
        </pc:spChg>
        <pc:spChg chg="add del mod">
          <ac:chgData name="Steiner Andreas 6206 ED" userId="e6377c33-a923-4f14-8587-531c474c7b48" providerId="ADAL" clId="{6ECD27E6-B224-41CD-B4E0-E297462320DD}" dt="2023-11-24T08:37:32.700" v="30475"/>
          <ac:spMkLst>
            <pc:docMk/>
            <pc:sldMk cId="3795759164" sldId="691"/>
            <ac:spMk id="202" creationId="{41904878-0C84-3F43-B919-57A7E47D594B}"/>
          </ac:spMkLst>
        </pc:spChg>
        <pc:spChg chg="add del mod">
          <ac:chgData name="Steiner Andreas 6206 ED" userId="e6377c33-a923-4f14-8587-531c474c7b48" providerId="ADAL" clId="{6ECD27E6-B224-41CD-B4E0-E297462320DD}" dt="2023-11-24T08:37:35.290" v="30630"/>
          <ac:spMkLst>
            <pc:docMk/>
            <pc:sldMk cId="3795759164" sldId="691"/>
            <ac:spMk id="203" creationId="{4CBD9CBD-93AD-FAEE-6C9B-2A0BD2622627}"/>
          </ac:spMkLst>
        </pc:spChg>
        <pc:spChg chg="add del mod">
          <ac:chgData name="Steiner Andreas 6206 ED" userId="e6377c33-a923-4f14-8587-531c474c7b48" providerId="ADAL" clId="{6ECD27E6-B224-41CD-B4E0-E297462320DD}" dt="2023-11-24T08:37:37.969" v="30785"/>
          <ac:spMkLst>
            <pc:docMk/>
            <pc:sldMk cId="3795759164" sldId="691"/>
            <ac:spMk id="204" creationId="{224E7B97-08E0-D7D9-C557-2F880A764952}"/>
          </ac:spMkLst>
        </pc:spChg>
        <pc:spChg chg="add del mod">
          <ac:chgData name="Steiner Andreas 6206 ED" userId="e6377c33-a923-4f14-8587-531c474c7b48" providerId="ADAL" clId="{6ECD27E6-B224-41CD-B4E0-E297462320DD}" dt="2023-11-24T08:37:41.693" v="30940"/>
          <ac:spMkLst>
            <pc:docMk/>
            <pc:sldMk cId="3795759164" sldId="691"/>
            <ac:spMk id="205" creationId="{3DFFB8ED-7D43-987A-F77F-CC206284FE85}"/>
          </ac:spMkLst>
        </pc:spChg>
        <pc:spChg chg="add del mod">
          <ac:chgData name="Steiner Andreas 6206 ED" userId="e6377c33-a923-4f14-8587-531c474c7b48" providerId="ADAL" clId="{6ECD27E6-B224-41CD-B4E0-E297462320DD}" dt="2023-11-24T08:37:44.902" v="31095"/>
          <ac:spMkLst>
            <pc:docMk/>
            <pc:sldMk cId="3795759164" sldId="691"/>
            <ac:spMk id="206" creationId="{CF6610FE-B6F1-0437-F316-D21763E8C55B}"/>
          </ac:spMkLst>
        </pc:spChg>
        <pc:spChg chg="add del mod">
          <ac:chgData name="Steiner Andreas 6206 ED" userId="e6377c33-a923-4f14-8587-531c474c7b48" providerId="ADAL" clId="{6ECD27E6-B224-41CD-B4E0-E297462320DD}" dt="2023-11-24T08:37:47.680" v="31250"/>
          <ac:spMkLst>
            <pc:docMk/>
            <pc:sldMk cId="3795759164" sldId="691"/>
            <ac:spMk id="207" creationId="{D5C6DA3F-C2F9-4127-BDD3-F92D32D1FA97}"/>
          </ac:spMkLst>
        </pc:spChg>
        <pc:spChg chg="add del mod">
          <ac:chgData name="Steiner Andreas 6206 ED" userId="e6377c33-a923-4f14-8587-531c474c7b48" providerId="ADAL" clId="{6ECD27E6-B224-41CD-B4E0-E297462320DD}" dt="2023-11-24T08:37:50.454" v="31405"/>
          <ac:spMkLst>
            <pc:docMk/>
            <pc:sldMk cId="3795759164" sldId="691"/>
            <ac:spMk id="208" creationId="{73984908-26FF-2547-FF5B-7ED7C4AC7C5A}"/>
          </ac:spMkLst>
        </pc:spChg>
        <pc:spChg chg="add del mod">
          <ac:chgData name="Steiner Andreas 6206 ED" userId="e6377c33-a923-4f14-8587-531c474c7b48" providerId="ADAL" clId="{6ECD27E6-B224-41CD-B4E0-E297462320DD}" dt="2023-11-24T08:37:53.056" v="31560"/>
          <ac:spMkLst>
            <pc:docMk/>
            <pc:sldMk cId="3795759164" sldId="691"/>
            <ac:spMk id="209" creationId="{A3511131-AE15-1D8D-95F8-DAA66549665A}"/>
          </ac:spMkLst>
        </pc:spChg>
        <pc:spChg chg="add del mod">
          <ac:chgData name="Steiner Andreas 6206 ED" userId="e6377c33-a923-4f14-8587-531c474c7b48" providerId="ADAL" clId="{6ECD27E6-B224-41CD-B4E0-E297462320DD}" dt="2023-11-24T08:37:57.132" v="31715"/>
          <ac:spMkLst>
            <pc:docMk/>
            <pc:sldMk cId="3795759164" sldId="691"/>
            <ac:spMk id="210" creationId="{1D4D6B5E-4ABE-7A9D-AD63-C7517B59B0FE}"/>
          </ac:spMkLst>
        </pc:spChg>
        <pc:spChg chg="add del mod">
          <ac:chgData name="Steiner Andreas 6206 ED" userId="e6377c33-a923-4f14-8587-531c474c7b48" providerId="ADAL" clId="{6ECD27E6-B224-41CD-B4E0-E297462320DD}" dt="2023-11-24T08:37:59.914" v="31870"/>
          <ac:spMkLst>
            <pc:docMk/>
            <pc:sldMk cId="3795759164" sldId="691"/>
            <ac:spMk id="211" creationId="{574D543A-2C9A-F0D8-B805-13CABDCA0729}"/>
          </ac:spMkLst>
        </pc:spChg>
        <pc:spChg chg="add del mod">
          <ac:chgData name="Steiner Andreas 6206 ED" userId="e6377c33-a923-4f14-8587-531c474c7b48" providerId="ADAL" clId="{6ECD27E6-B224-41CD-B4E0-E297462320DD}" dt="2023-11-24T08:38:02.911" v="32025"/>
          <ac:spMkLst>
            <pc:docMk/>
            <pc:sldMk cId="3795759164" sldId="691"/>
            <ac:spMk id="212" creationId="{80BC505F-8D3B-F60F-1BB8-9DC79D0946C1}"/>
          </ac:spMkLst>
        </pc:spChg>
        <pc:spChg chg="add del mod">
          <ac:chgData name="Steiner Andreas 6206 ED" userId="e6377c33-a923-4f14-8587-531c474c7b48" providerId="ADAL" clId="{6ECD27E6-B224-41CD-B4E0-E297462320DD}" dt="2023-11-24T08:38:05.787" v="32180"/>
          <ac:spMkLst>
            <pc:docMk/>
            <pc:sldMk cId="3795759164" sldId="691"/>
            <ac:spMk id="213" creationId="{EBB77A82-83C4-AAC8-CD66-A92285479C4E}"/>
          </ac:spMkLst>
        </pc:spChg>
        <pc:spChg chg="add del mod">
          <ac:chgData name="Steiner Andreas 6206 ED" userId="e6377c33-a923-4f14-8587-531c474c7b48" providerId="ADAL" clId="{6ECD27E6-B224-41CD-B4E0-E297462320DD}" dt="2023-11-24T08:38:08.915" v="32335"/>
          <ac:spMkLst>
            <pc:docMk/>
            <pc:sldMk cId="3795759164" sldId="691"/>
            <ac:spMk id="214" creationId="{E20E2A57-B298-0B70-C523-15E43F48ACE4}"/>
          </ac:spMkLst>
        </pc:spChg>
        <pc:spChg chg="add del mod">
          <ac:chgData name="Steiner Andreas 6206 ED" userId="e6377c33-a923-4f14-8587-531c474c7b48" providerId="ADAL" clId="{6ECD27E6-B224-41CD-B4E0-E297462320DD}" dt="2023-11-24T08:38:11.680" v="32490"/>
          <ac:spMkLst>
            <pc:docMk/>
            <pc:sldMk cId="3795759164" sldId="691"/>
            <ac:spMk id="215" creationId="{BAD5B599-20D6-138C-9417-92E4466DA5C3}"/>
          </ac:spMkLst>
        </pc:spChg>
        <pc:spChg chg="add del mod">
          <ac:chgData name="Steiner Andreas 6206 ED" userId="e6377c33-a923-4f14-8587-531c474c7b48" providerId="ADAL" clId="{6ECD27E6-B224-41CD-B4E0-E297462320DD}" dt="2023-11-24T08:38:14.323" v="32645"/>
          <ac:spMkLst>
            <pc:docMk/>
            <pc:sldMk cId="3795759164" sldId="691"/>
            <ac:spMk id="216" creationId="{E69ACA65-381B-31BD-AC0D-348C010FE936}"/>
          </ac:spMkLst>
        </pc:spChg>
        <pc:spChg chg="add del mod">
          <ac:chgData name="Steiner Andreas 6206 ED" userId="e6377c33-a923-4f14-8587-531c474c7b48" providerId="ADAL" clId="{6ECD27E6-B224-41CD-B4E0-E297462320DD}" dt="2023-11-24T08:38:16.998" v="32800"/>
          <ac:spMkLst>
            <pc:docMk/>
            <pc:sldMk cId="3795759164" sldId="691"/>
            <ac:spMk id="217" creationId="{41F18DEE-E8F5-19FE-C32C-25ED98DFC46E}"/>
          </ac:spMkLst>
        </pc:spChg>
        <pc:spChg chg="add del mod">
          <ac:chgData name="Steiner Andreas 6206 ED" userId="e6377c33-a923-4f14-8587-531c474c7b48" providerId="ADAL" clId="{6ECD27E6-B224-41CD-B4E0-E297462320DD}" dt="2023-11-24T08:38:20.015" v="32955"/>
          <ac:spMkLst>
            <pc:docMk/>
            <pc:sldMk cId="3795759164" sldId="691"/>
            <ac:spMk id="218" creationId="{D4EA9045-3188-3D53-07D7-371CC960193C}"/>
          </ac:spMkLst>
        </pc:spChg>
        <pc:spChg chg="add del mod">
          <ac:chgData name="Steiner Andreas 6206 ED" userId="e6377c33-a923-4f14-8587-531c474c7b48" providerId="ADAL" clId="{6ECD27E6-B224-41CD-B4E0-E297462320DD}" dt="2023-11-24T08:38:22.852" v="33110"/>
          <ac:spMkLst>
            <pc:docMk/>
            <pc:sldMk cId="3795759164" sldId="691"/>
            <ac:spMk id="219" creationId="{3F397C2A-D8E9-954C-23A8-37492A97B89E}"/>
          </ac:spMkLst>
        </pc:spChg>
        <pc:spChg chg="add del mod">
          <ac:chgData name="Steiner Andreas 6206 ED" userId="e6377c33-a923-4f14-8587-531c474c7b48" providerId="ADAL" clId="{6ECD27E6-B224-41CD-B4E0-E297462320DD}" dt="2023-11-24T08:38:25.632" v="33265"/>
          <ac:spMkLst>
            <pc:docMk/>
            <pc:sldMk cId="3795759164" sldId="691"/>
            <ac:spMk id="220" creationId="{CCBA0261-0C56-8E57-724D-4627A77798A2}"/>
          </ac:spMkLst>
        </pc:spChg>
        <pc:spChg chg="add del mod">
          <ac:chgData name="Steiner Andreas 6206 ED" userId="e6377c33-a923-4f14-8587-531c474c7b48" providerId="ADAL" clId="{6ECD27E6-B224-41CD-B4E0-E297462320DD}" dt="2023-11-24T08:38:29.191" v="33420"/>
          <ac:spMkLst>
            <pc:docMk/>
            <pc:sldMk cId="3795759164" sldId="691"/>
            <ac:spMk id="221" creationId="{66477D83-21FA-E9A1-51F4-DAF6A0F8AA8A}"/>
          </ac:spMkLst>
        </pc:spChg>
        <pc:spChg chg="add del mod">
          <ac:chgData name="Steiner Andreas 6206 ED" userId="e6377c33-a923-4f14-8587-531c474c7b48" providerId="ADAL" clId="{6ECD27E6-B224-41CD-B4E0-E297462320DD}" dt="2023-11-24T08:38:32.369" v="33575"/>
          <ac:spMkLst>
            <pc:docMk/>
            <pc:sldMk cId="3795759164" sldId="691"/>
            <ac:spMk id="222" creationId="{9F2D93A7-2F9E-8C7F-62AF-82EA6B22177C}"/>
          </ac:spMkLst>
        </pc:spChg>
        <pc:spChg chg="add del mod">
          <ac:chgData name="Steiner Andreas 6206 ED" userId="e6377c33-a923-4f14-8587-531c474c7b48" providerId="ADAL" clId="{6ECD27E6-B224-41CD-B4E0-E297462320DD}" dt="2023-11-24T08:38:35.088" v="33730"/>
          <ac:spMkLst>
            <pc:docMk/>
            <pc:sldMk cId="3795759164" sldId="691"/>
            <ac:spMk id="223" creationId="{25360DF3-35A6-82A4-22B7-BF38309B740F}"/>
          </ac:spMkLst>
        </pc:spChg>
        <pc:spChg chg="add del mod">
          <ac:chgData name="Steiner Andreas 6206 ED" userId="e6377c33-a923-4f14-8587-531c474c7b48" providerId="ADAL" clId="{6ECD27E6-B224-41CD-B4E0-E297462320DD}" dt="2023-11-24T08:38:37.744" v="33885"/>
          <ac:spMkLst>
            <pc:docMk/>
            <pc:sldMk cId="3795759164" sldId="691"/>
            <ac:spMk id="224" creationId="{312C8278-A129-C52D-9E70-4DBCAE83D6FB}"/>
          </ac:spMkLst>
        </pc:spChg>
        <pc:spChg chg="add del mod">
          <ac:chgData name="Steiner Andreas 6206 ED" userId="e6377c33-a923-4f14-8587-531c474c7b48" providerId="ADAL" clId="{6ECD27E6-B224-41CD-B4E0-E297462320DD}" dt="2023-11-24T08:38:40.277" v="34040"/>
          <ac:spMkLst>
            <pc:docMk/>
            <pc:sldMk cId="3795759164" sldId="691"/>
            <ac:spMk id="225" creationId="{F0F4E4DB-E9A1-D191-4519-11DBD6E98704}"/>
          </ac:spMkLst>
        </pc:spChg>
        <pc:spChg chg="add del mod">
          <ac:chgData name="Steiner Andreas 6206 ED" userId="e6377c33-a923-4f14-8587-531c474c7b48" providerId="ADAL" clId="{6ECD27E6-B224-41CD-B4E0-E297462320DD}" dt="2023-11-24T08:38:42.754" v="34195"/>
          <ac:spMkLst>
            <pc:docMk/>
            <pc:sldMk cId="3795759164" sldId="691"/>
            <ac:spMk id="226" creationId="{01458626-7B4F-B403-210C-A2912FB33219}"/>
          </ac:spMkLst>
        </pc:spChg>
        <pc:spChg chg="add del mod">
          <ac:chgData name="Steiner Andreas 6206 ED" userId="e6377c33-a923-4f14-8587-531c474c7b48" providerId="ADAL" clId="{6ECD27E6-B224-41CD-B4E0-E297462320DD}" dt="2023-11-24T08:38:46.795" v="34350"/>
          <ac:spMkLst>
            <pc:docMk/>
            <pc:sldMk cId="3795759164" sldId="691"/>
            <ac:spMk id="227" creationId="{D9502942-519D-1199-B10C-6CC553EAB797}"/>
          </ac:spMkLst>
        </pc:spChg>
        <pc:spChg chg="add del mod">
          <ac:chgData name="Steiner Andreas 6206 ED" userId="e6377c33-a923-4f14-8587-531c474c7b48" providerId="ADAL" clId="{6ECD27E6-B224-41CD-B4E0-E297462320DD}" dt="2023-11-24T08:38:49.517" v="34505"/>
          <ac:spMkLst>
            <pc:docMk/>
            <pc:sldMk cId="3795759164" sldId="691"/>
            <ac:spMk id="228" creationId="{B73FE317-61CE-F784-84BE-8036837F4ED5}"/>
          </ac:spMkLst>
        </pc:spChg>
        <pc:spChg chg="add del mod">
          <ac:chgData name="Steiner Andreas 6206 ED" userId="e6377c33-a923-4f14-8587-531c474c7b48" providerId="ADAL" clId="{6ECD27E6-B224-41CD-B4E0-E297462320DD}" dt="2023-11-24T08:38:52.296" v="34660"/>
          <ac:spMkLst>
            <pc:docMk/>
            <pc:sldMk cId="3795759164" sldId="691"/>
            <ac:spMk id="229" creationId="{075AC782-436D-AADD-D6CE-2BD56AE1DE22}"/>
          </ac:spMkLst>
        </pc:spChg>
        <pc:spChg chg="add del mod">
          <ac:chgData name="Steiner Andreas 6206 ED" userId="e6377c33-a923-4f14-8587-531c474c7b48" providerId="ADAL" clId="{6ECD27E6-B224-41CD-B4E0-E297462320DD}" dt="2023-11-24T08:38:55.319" v="34815"/>
          <ac:spMkLst>
            <pc:docMk/>
            <pc:sldMk cId="3795759164" sldId="691"/>
            <ac:spMk id="230" creationId="{EF0FFED1-48A8-8D89-5EB7-C00422497AF4}"/>
          </ac:spMkLst>
        </pc:spChg>
        <pc:spChg chg="add del mod">
          <ac:chgData name="Steiner Andreas 6206 ED" userId="e6377c33-a923-4f14-8587-531c474c7b48" providerId="ADAL" clId="{6ECD27E6-B224-41CD-B4E0-E297462320DD}" dt="2023-11-24T08:38:58.468" v="34970"/>
          <ac:spMkLst>
            <pc:docMk/>
            <pc:sldMk cId="3795759164" sldId="691"/>
            <ac:spMk id="231" creationId="{CB13E246-E473-5B4C-61B4-05DD8FAC8E31}"/>
          </ac:spMkLst>
        </pc:spChg>
        <pc:spChg chg="add del mod">
          <ac:chgData name="Steiner Andreas 6206 ED" userId="e6377c33-a923-4f14-8587-531c474c7b48" providerId="ADAL" clId="{6ECD27E6-B224-41CD-B4E0-E297462320DD}" dt="2023-11-24T08:39:01.897" v="35125"/>
          <ac:spMkLst>
            <pc:docMk/>
            <pc:sldMk cId="3795759164" sldId="691"/>
            <ac:spMk id="232" creationId="{3A64FA06-6108-D746-6EC0-37000B5151B8}"/>
          </ac:spMkLst>
        </pc:spChg>
        <pc:spChg chg="add del mod">
          <ac:chgData name="Steiner Andreas 6206 ED" userId="e6377c33-a923-4f14-8587-531c474c7b48" providerId="ADAL" clId="{6ECD27E6-B224-41CD-B4E0-E297462320DD}" dt="2023-11-24T08:39:05.140" v="35280"/>
          <ac:spMkLst>
            <pc:docMk/>
            <pc:sldMk cId="3795759164" sldId="691"/>
            <ac:spMk id="233" creationId="{CA0DDDAB-EC65-3718-EFBC-28E3C10C2A56}"/>
          </ac:spMkLst>
        </pc:spChg>
        <pc:spChg chg="add del mod">
          <ac:chgData name="Steiner Andreas 6206 ED" userId="e6377c33-a923-4f14-8587-531c474c7b48" providerId="ADAL" clId="{6ECD27E6-B224-41CD-B4E0-E297462320DD}" dt="2023-11-24T08:39:07.976" v="35435"/>
          <ac:spMkLst>
            <pc:docMk/>
            <pc:sldMk cId="3795759164" sldId="691"/>
            <ac:spMk id="234" creationId="{940064DD-8A78-ED9A-4E1E-F556A613AC5B}"/>
          </ac:spMkLst>
        </pc:spChg>
        <pc:spChg chg="add del mod">
          <ac:chgData name="Steiner Andreas 6206 ED" userId="e6377c33-a923-4f14-8587-531c474c7b48" providerId="ADAL" clId="{6ECD27E6-B224-41CD-B4E0-E297462320DD}" dt="2023-11-24T08:39:12.669" v="35590"/>
          <ac:spMkLst>
            <pc:docMk/>
            <pc:sldMk cId="3795759164" sldId="691"/>
            <ac:spMk id="235" creationId="{E0954765-56E2-370A-153F-BCD7C3F1C22B}"/>
          </ac:spMkLst>
        </pc:spChg>
        <pc:spChg chg="add del mod">
          <ac:chgData name="Steiner Andreas 6206 ED" userId="e6377c33-a923-4f14-8587-531c474c7b48" providerId="ADAL" clId="{6ECD27E6-B224-41CD-B4E0-E297462320DD}" dt="2023-11-24T08:39:15.344" v="35745"/>
          <ac:spMkLst>
            <pc:docMk/>
            <pc:sldMk cId="3795759164" sldId="691"/>
            <ac:spMk id="236" creationId="{B5DB848C-2A52-3511-97D7-4476725AEE01}"/>
          </ac:spMkLst>
        </pc:spChg>
        <pc:spChg chg="add del mod">
          <ac:chgData name="Steiner Andreas 6206 ED" userId="e6377c33-a923-4f14-8587-531c474c7b48" providerId="ADAL" clId="{6ECD27E6-B224-41CD-B4E0-E297462320DD}" dt="2023-11-24T08:39:17.930" v="35900"/>
          <ac:spMkLst>
            <pc:docMk/>
            <pc:sldMk cId="3795759164" sldId="691"/>
            <ac:spMk id="237" creationId="{C1B6A339-BCDD-CF82-1247-C0FDD7E8003E}"/>
          </ac:spMkLst>
        </pc:spChg>
        <pc:spChg chg="add del mod">
          <ac:chgData name="Steiner Andreas 6206 ED" userId="e6377c33-a923-4f14-8587-531c474c7b48" providerId="ADAL" clId="{6ECD27E6-B224-41CD-B4E0-E297462320DD}" dt="2023-11-24T08:39:20.608" v="36055"/>
          <ac:spMkLst>
            <pc:docMk/>
            <pc:sldMk cId="3795759164" sldId="691"/>
            <ac:spMk id="238" creationId="{F88E30A2-5BFA-4FEA-EF04-A053619478CD}"/>
          </ac:spMkLst>
        </pc:spChg>
        <pc:spChg chg="add del mod">
          <ac:chgData name="Steiner Andreas 6206 ED" userId="e6377c33-a923-4f14-8587-531c474c7b48" providerId="ADAL" clId="{6ECD27E6-B224-41CD-B4E0-E297462320DD}" dt="2023-11-24T08:39:23.784" v="36210"/>
          <ac:spMkLst>
            <pc:docMk/>
            <pc:sldMk cId="3795759164" sldId="691"/>
            <ac:spMk id="239" creationId="{E53A6A3C-B4E8-197E-A23D-EA362C01420A}"/>
          </ac:spMkLst>
        </pc:spChg>
        <pc:spChg chg="add del mod">
          <ac:chgData name="Steiner Andreas 6206 ED" userId="e6377c33-a923-4f14-8587-531c474c7b48" providerId="ADAL" clId="{6ECD27E6-B224-41CD-B4E0-E297462320DD}" dt="2023-11-24T08:39:26.513" v="36365"/>
          <ac:spMkLst>
            <pc:docMk/>
            <pc:sldMk cId="3795759164" sldId="691"/>
            <ac:spMk id="240" creationId="{B4BD5E32-874F-C62C-E9EF-143E222163C8}"/>
          </ac:spMkLst>
        </pc:spChg>
        <pc:spChg chg="add del mod">
          <ac:chgData name="Steiner Andreas 6206 ED" userId="e6377c33-a923-4f14-8587-531c474c7b48" providerId="ADAL" clId="{6ECD27E6-B224-41CD-B4E0-E297462320DD}" dt="2023-11-24T08:39:29.252" v="36520"/>
          <ac:spMkLst>
            <pc:docMk/>
            <pc:sldMk cId="3795759164" sldId="691"/>
            <ac:spMk id="241" creationId="{2D0AD75B-DA1F-2976-F8D7-BCD6C5C0ADE5}"/>
          </ac:spMkLst>
        </pc:spChg>
        <pc:spChg chg="add del mod">
          <ac:chgData name="Steiner Andreas 6206 ED" userId="e6377c33-a923-4f14-8587-531c474c7b48" providerId="ADAL" clId="{6ECD27E6-B224-41CD-B4E0-E297462320DD}" dt="2023-11-24T08:39:31.852" v="36675"/>
          <ac:spMkLst>
            <pc:docMk/>
            <pc:sldMk cId="3795759164" sldId="691"/>
            <ac:spMk id="242" creationId="{06B012FB-F28E-EA1A-BF1E-42D7F8E95411}"/>
          </ac:spMkLst>
        </pc:spChg>
        <pc:spChg chg="add del mod">
          <ac:chgData name="Steiner Andreas 6206 ED" userId="e6377c33-a923-4f14-8587-531c474c7b48" providerId="ADAL" clId="{6ECD27E6-B224-41CD-B4E0-E297462320DD}" dt="2023-11-24T08:39:34.345" v="36830"/>
          <ac:spMkLst>
            <pc:docMk/>
            <pc:sldMk cId="3795759164" sldId="691"/>
            <ac:spMk id="243" creationId="{6E3FC44B-749F-0434-677F-7C006A7A7D43}"/>
          </ac:spMkLst>
        </pc:spChg>
        <pc:spChg chg="add del mod">
          <ac:chgData name="Steiner Andreas 6206 ED" userId="e6377c33-a923-4f14-8587-531c474c7b48" providerId="ADAL" clId="{6ECD27E6-B224-41CD-B4E0-E297462320DD}" dt="2023-11-24T08:39:37.253" v="36985"/>
          <ac:spMkLst>
            <pc:docMk/>
            <pc:sldMk cId="3795759164" sldId="691"/>
            <ac:spMk id="244" creationId="{F527F36A-8A3B-4287-5AD5-59B3AA5B7A3D}"/>
          </ac:spMkLst>
        </pc:spChg>
        <pc:spChg chg="add del mod">
          <ac:chgData name="Steiner Andreas 6206 ED" userId="e6377c33-a923-4f14-8587-531c474c7b48" providerId="ADAL" clId="{6ECD27E6-B224-41CD-B4E0-E297462320DD}" dt="2023-11-24T08:39:39.875" v="37140"/>
          <ac:spMkLst>
            <pc:docMk/>
            <pc:sldMk cId="3795759164" sldId="691"/>
            <ac:spMk id="245" creationId="{D8F24007-885F-66D2-D090-BB73BC8F7732}"/>
          </ac:spMkLst>
        </pc:spChg>
        <pc:spChg chg="add del mod">
          <ac:chgData name="Steiner Andreas 6206 ED" userId="e6377c33-a923-4f14-8587-531c474c7b48" providerId="ADAL" clId="{6ECD27E6-B224-41CD-B4E0-E297462320DD}" dt="2023-11-24T08:39:42.377" v="37295"/>
          <ac:spMkLst>
            <pc:docMk/>
            <pc:sldMk cId="3795759164" sldId="691"/>
            <ac:spMk id="246" creationId="{9A2C5750-5482-DF82-9677-207ED01E3570}"/>
          </ac:spMkLst>
        </pc:spChg>
        <pc:spChg chg="add del mod">
          <ac:chgData name="Steiner Andreas 6206 ED" userId="e6377c33-a923-4f14-8587-531c474c7b48" providerId="ADAL" clId="{6ECD27E6-B224-41CD-B4E0-E297462320DD}" dt="2023-11-24T08:39:44.905" v="37450"/>
          <ac:spMkLst>
            <pc:docMk/>
            <pc:sldMk cId="3795759164" sldId="691"/>
            <ac:spMk id="247" creationId="{D9697F48-A3E2-0C3E-F058-1A9C80550794}"/>
          </ac:spMkLst>
        </pc:spChg>
        <pc:spChg chg="add del mod">
          <ac:chgData name="Steiner Andreas 6206 ED" userId="e6377c33-a923-4f14-8587-531c474c7b48" providerId="ADAL" clId="{6ECD27E6-B224-41CD-B4E0-E297462320DD}" dt="2023-11-24T08:39:47.844" v="37605"/>
          <ac:spMkLst>
            <pc:docMk/>
            <pc:sldMk cId="3795759164" sldId="691"/>
            <ac:spMk id="248" creationId="{28B5E8D0-2D32-4D88-4137-E592128F51CE}"/>
          </ac:spMkLst>
        </pc:spChg>
        <pc:spChg chg="add del mod">
          <ac:chgData name="Steiner Andreas 6206 ED" userId="e6377c33-a923-4f14-8587-531c474c7b48" providerId="ADAL" clId="{6ECD27E6-B224-41CD-B4E0-E297462320DD}" dt="2023-11-24T08:39:50.632" v="37760"/>
          <ac:spMkLst>
            <pc:docMk/>
            <pc:sldMk cId="3795759164" sldId="691"/>
            <ac:spMk id="249" creationId="{BDCFD50E-10A9-76AF-37CA-81B24A1455D4}"/>
          </ac:spMkLst>
        </pc:spChg>
        <pc:spChg chg="add del mod">
          <ac:chgData name="Steiner Andreas 6206 ED" userId="e6377c33-a923-4f14-8587-531c474c7b48" providerId="ADAL" clId="{6ECD27E6-B224-41CD-B4E0-E297462320DD}" dt="2023-11-24T08:39:53.239" v="37915"/>
          <ac:spMkLst>
            <pc:docMk/>
            <pc:sldMk cId="3795759164" sldId="691"/>
            <ac:spMk id="250" creationId="{BF8B3DF1-1A98-F468-6D05-1E89A82C9FD1}"/>
          </ac:spMkLst>
        </pc:spChg>
        <pc:spChg chg="add del mod">
          <ac:chgData name="Steiner Andreas 6206 ED" userId="e6377c33-a923-4f14-8587-531c474c7b48" providerId="ADAL" clId="{6ECD27E6-B224-41CD-B4E0-E297462320DD}" dt="2023-11-24T08:39:56.190" v="38070"/>
          <ac:spMkLst>
            <pc:docMk/>
            <pc:sldMk cId="3795759164" sldId="691"/>
            <ac:spMk id="251" creationId="{44D120B4-46CD-FEA4-1DE6-58895652F42A}"/>
          </ac:spMkLst>
        </pc:spChg>
        <pc:spChg chg="add del mod">
          <ac:chgData name="Steiner Andreas 6206 ED" userId="e6377c33-a923-4f14-8587-531c474c7b48" providerId="ADAL" clId="{6ECD27E6-B224-41CD-B4E0-E297462320DD}" dt="2023-11-24T08:39:59.327" v="38225"/>
          <ac:spMkLst>
            <pc:docMk/>
            <pc:sldMk cId="3795759164" sldId="691"/>
            <ac:spMk id="252" creationId="{3568E976-2702-2CC4-815B-1ADF75BD6074}"/>
          </ac:spMkLst>
        </pc:spChg>
        <pc:spChg chg="add del mod">
          <ac:chgData name="Steiner Andreas 6206 ED" userId="e6377c33-a923-4f14-8587-531c474c7b48" providerId="ADAL" clId="{6ECD27E6-B224-41CD-B4E0-E297462320DD}" dt="2023-11-24T08:40:02.690" v="38380"/>
          <ac:spMkLst>
            <pc:docMk/>
            <pc:sldMk cId="3795759164" sldId="691"/>
            <ac:spMk id="253" creationId="{34303E58-BE8A-75A7-E999-0454950F6CAB}"/>
          </ac:spMkLst>
        </pc:spChg>
        <pc:spChg chg="add del mod">
          <ac:chgData name="Steiner Andreas 6206 ED" userId="e6377c33-a923-4f14-8587-531c474c7b48" providerId="ADAL" clId="{6ECD27E6-B224-41CD-B4E0-E297462320DD}" dt="2023-11-24T08:40:05.452" v="38535"/>
          <ac:spMkLst>
            <pc:docMk/>
            <pc:sldMk cId="3795759164" sldId="691"/>
            <ac:spMk id="254" creationId="{3422292D-4E10-3F93-6CC2-DAFB7ACCDDCC}"/>
          </ac:spMkLst>
        </pc:spChg>
        <pc:spChg chg="add del mod">
          <ac:chgData name="Steiner Andreas 6206 ED" userId="e6377c33-a923-4f14-8587-531c474c7b48" providerId="ADAL" clId="{6ECD27E6-B224-41CD-B4E0-E297462320DD}" dt="2023-11-24T08:40:07.990" v="38690"/>
          <ac:spMkLst>
            <pc:docMk/>
            <pc:sldMk cId="3795759164" sldId="691"/>
            <ac:spMk id="255" creationId="{E9CD1BC4-D9C6-316A-DC64-A9214BA3193B}"/>
          </ac:spMkLst>
        </pc:spChg>
        <pc:spChg chg="add del mod">
          <ac:chgData name="Steiner Andreas 6206 ED" userId="e6377c33-a923-4f14-8587-531c474c7b48" providerId="ADAL" clId="{6ECD27E6-B224-41CD-B4E0-E297462320DD}" dt="2023-11-24T08:40:10.691" v="38845"/>
          <ac:spMkLst>
            <pc:docMk/>
            <pc:sldMk cId="3795759164" sldId="691"/>
            <ac:spMk id="256" creationId="{06B9D5F9-3CE9-2A79-120E-14A1833871FB}"/>
          </ac:spMkLst>
        </pc:spChg>
        <pc:spChg chg="add del mod">
          <ac:chgData name="Steiner Andreas 6206 ED" userId="e6377c33-a923-4f14-8587-531c474c7b48" providerId="ADAL" clId="{6ECD27E6-B224-41CD-B4E0-E297462320DD}" dt="2023-11-24T08:40:13.862" v="39000"/>
          <ac:spMkLst>
            <pc:docMk/>
            <pc:sldMk cId="3795759164" sldId="691"/>
            <ac:spMk id="257" creationId="{617D4452-89C5-C4B9-0F53-29C80C4EBEB5}"/>
          </ac:spMkLst>
        </pc:spChg>
        <pc:spChg chg="add del mod">
          <ac:chgData name="Steiner Andreas 6206 ED" userId="e6377c33-a923-4f14-8587-531c474c7b48" providerId="ADAL" clId="{6ECD27E6-B224-41CD-B4E0-E297462320DD}" dt="2023-11-24T08:40:16.564" v="39155"/>
          <ac:spMkLst>
            <pc:docMk/>
            <pc:sldMk cId="3795759164" sldId="691"/>
            <ac:spMk id="258" creationId="{AED21E0E-4AAE-B300-7A0F-C232DEDFD6EA}"/>
          </ac:spMkLst>
        </pc:spChg>
        <pc:spChg chg="add del mod">
          <ac:chgData name="Steiner Andreas 6206 ED" userId="e6377c33-a923-4f14-8587-531c474c7b48" providerId="ADAL" clId="{6ECD27E6-B224-41CD-B4E0-E297462320DD}" dt="2023-11-24T08:40:19.075" v="39310"/>
          <ac:spMkLst>
            <pc:docMk/>
            <pc:sldMk cId="3795759164" sldId="691"/>
            <ac:spMk id="259" creationId="{D6981ED7-28C7-4B21-3F22-DDDEAF1174E2}"/>
          </ac:spMkLst>
        </pc:spChg>
        <pc:spChg chg="add del mod">
          <ac:chgData name="Steiner Andreas 6206 ED" userId="e6377c33-a923-4f14-8587-531c474c7b48" providerId="ADAL" clId="{6ECD27E6-B224-41CD-B4E0-E297462320DD}" dt="2023-11-24T08:40:21.505" v="39465"/>
          <ac:spMkLst>
            <pc:docMk/>
            <pc:sldMk cId="3795759164" sldId="691"/>
            <ac:spMk id="260" creationId="{4545825F-8A99-C9C3-2D7C-8C40AD3636DE}"/>
          </ac:spMkLst>
        </pc:spChg>
        <pc:spChg chg="add del mod">
          <ac:chgData name="Steiner Andreas 6206 ED" userId="e6377c33-a923-4f14-8587-531c474c7b48" providerId="ADAL" clId="{6ECD27E6-B224-41CD-B4E0-E297462320DD}" dt="2023-11-24T08:40:24.154" v="39620"/>
          <ac:spMkLst>
            <pc:docMk/>
            <pc:sldMk cId="3795759164" sldId="691"/>
            <ac:spMk id="261" creationId="{4762FD26-3FF9-013B-99DB-FA3FBEBDCE7C}"/>
          </ac:spMkLst>
        </pc:spChg>
        <pc:spChg chg="add del mod">
          <ac:chgData name="Steiner Andreas 6206 ED" userId="e6377c33-a923-4f14-8587-531c474c7b48" providerId="ADAL" clId="{6ECD27E6-B224-41CD-B4E0-E297462320DD}" dt="2023-11-24T08:40:27.099" v="39775"/>
          <ac:spMkLst>
            <pc:docMk/>
            <pc:sldMk cId="3795759164" sldId="691"/>
            <ac:spMk id="262" creationId="{9A422B08-DAF5-5334-9842-B412C19279C6}"/>
          </ac:spMkLst>
        </pc:spChg>
        <pc:spChg chg="add del mod">
          <ac:chgData name="Steiner Andreas 6206 ED" userId="e6377c33-a923-4f14-8587-531c474c7b48" providerId="ADAL" clId="{6ECD27E6-B224-41CD-B4E0-E297462320DD}" dt="2023-11-24T08:40:29.735" v="39930"/>
          <ac:spMkLst>
            <pc:docMk/>
            <pc:sldMk cId="3795759164" sldId="691"/>
            <ac:spMk id="263" creationId="{3BC1B838-E703-5D30-2317-D748B11E7DEE}"/>
          </ac:spMkLst>
        </pc:spChg>
        <pc:spChg chg="add del mod">
          <ac:chgData name="Steiner Andreas 6206 ED" userId="e6377c33-a923-4f14-8587-531c474c7b48" providerId="ADAL" clId="{6ECD27E6-B224-41CD-B4E0-E297462320DD}" dt="2023-11-24T08:40:32.307" v="40085"/>
          <ac:spMkLst>
            <pc:docMk/>
            <pc:sldMk cId="3795759164" sldId="691"/>
            <ac:spMk id="264" creationId="{DE7F69BC-868B-2A49-2385-1BBA8F7A4784}"/>
          </ac:spMkLst>
        </pc:spChg>
        <pc:spChg chg="add del mod">
          <ac:chgData name="Steiner Andreas 6206 ED" userId="e6377c33-a923-4f14-8587-531c474c7b48" providerId="ADAL" clId="{6ECD27E6-B224-41CD-B4E0-E297462320DD}" dt="2023-11-24T08:40:34.888" v="40240"/>
          <ac:spMkLst>
            <pc:docMk/>
            <pc:sldMk cId="3795759164" sldId="691"/>
            <ac:spMk id="265" creationId="{174EFFA2-4EF9-38E9-DC49-5D784B09C3D1}"/>
          </ac:spMkLst>
        </pc:spChg>
        <pc:spChg chg="add del mod">
          <ac:chgData name="Steiner Andreas 6206 ED" userId="e6377c33-a923-4f14-8587-531c474c7b48" providerId="ADAL" clId="{6ECD27E6-B224-41CD-B4E0-E297462320DD}" dt="2023-11-24T08:40:38.300" v="40395"/>
          <ac:spMkLst>
            <pc:docMk/>
            <pc:sldMk cId="3795759164" sldId="691"/>
            <ac:spMk id="266" creationId="{ABCF3234-6930-F46D-2D51-ECC887BC8CD0}"/>
          </ac:spMkLst>
        </pc:spChg>
        <pc:spChg chg="add del mod">
          <ac:chgData name="Steiner Andreas 6206 ED" userId="e6377c33-a923-4f14-8587-531c474c7b48" providerId="ADAL" clId="{6ECD27E6-B224-41CD-B4E0-E297462320DD}" dt="2023-11-24T08:40:41.013" v="40550"/>
          <ac:spMkLst>
            <pc:docMk/>
            <pc:sldMk cId="3795759164" sldId="691"/>
            <ac:spMk id="267" creationId="{7DCB7E23-C5E7-DE11-C50C-266CC864A84E}"/>
          </ac:spMkLst>
        </pc:spChg>
        <pc:spChg chg="add del mod">
          <ac:chgData name="Steiner Andreas 6206 ED" userId="e6377c33-a923-4f14-8587-531c474c7b48" providerId="ADAL" clId="{6ECD27E6-B224-41CD-B4E0-E297462320DD}" dt="2023-11-24T08:40:43.789" v="40705"/>
          <ac:spMkLst>
            <pc:docMk/>
            <pc:sldMk cId="3795759164" sldId="691"/>
            <ac:spMk id="268" creationId="{6F677D82-8D02-F3DF-8FB6-D159EC5985FD}"/>
          </ac:spMkLst>
        </pc:spChg>
        <pc:spChg chg="add del mod">
          <ac:chgData name="Steiner Andreas 6206 ED" userId="e6377c33-a923-4f14-8587-531c474c7b48" providerId="ADAL" clId="{6ECD27E6-B224-41CD-B4E0-E297462320DD}" dt="2023-11-24T08:40:46.234" v="40860"/>
          <ac:spMkLst>
            <pc:docMk/>
            <pc:sldMk cId="3795759164" sldId="691"/>
            <ac:spMk id="269" creationId="{55669E91-28DB-CA4F-AE56-90589897C69E}"/>
          </ac:spMkLst>
        </pc:spChg>
        <pc:spChg chg="add del mod">
          <ac:chgData name="Steiner Andreas 6206 ED" userId="e6377c33-a923-4f14-8587-531c474c7b48" providerId="ADAL" clId="{6ECD27E6-B224-41CD-B4E0-E297462320DD}" dt="2023-11-24T08:40:49.036" v="41015"/>
          <ac:spMkLst>
            <pc:docMk/>
            <pc:sldMk cId="3795759164" sldId="691"/>
            <ac:spMk id="270" creationId="{752632A4-0453-1470-9451-9FEAB76D07B5}"/>
          </ac:spMkLst>
        </pc:spChg>
        <pc:spChg chg="add del mod">
          <ac:chgData name="Steiner Andreas 6206 ED" userId="e6377c33-a923-4f14-8587-531c474c7b48" providerId="ADAL" clId="{6ECD27E6-B224-41CD-B4E0-E297462320DD}" dt="2023-11-24T08:40:51.891" v="41170"/>
          <ac:spMkLst>
            <pc:docMk/>
            <pc:sldMk cId="3795759164" sldId="691"/>
            <ac:spMk id="271" creationId="{D91CDCE0-42B3-9716-FA6F-08B6197B7A04}"/>
          </ac:spMkLst>
        </pc:spChg>
        <pc:spChg chg="add del mod">
          <ac:chgData name="Steiner Andreas 6206 ED" userId="e6377c33-a923-4f14-8587-531c474c7b48" providerId="ADAL" clId="{6ECD27E6-B224-41CD-B4E0-E297462320DD}" dt="2023-11-24T08:40:54.416" v="41325"/>
          <ac:spMkLst>
            <pc:docMk/>
            <pc:sldMk cId="3795759164" sldId="691"/>
            <ac:spMk id="272" creationId="{47F23760-4F77-80A0-5A2B-564C45A4A92A}"/>
          </ac:spMkLst>
        </pc:spChg>
        <pc:spChg chg="add del mod">
          <ac:chgData name="Steiner Andreas 6206 ED" userId="e6377c33-a923-4f14-8587-531c474c7b48" providerId="ADAL" clId="{6ECD27E6-B224-41CD-B4E0-E297462320DD}" dt="2023-11-24T08:40:56.877" v="41480"/>
          <ac:spMkLst>
            <pc:docMk/>
            <pc:sldMk cId="3795759164" sldId="691"/>
            <ac:spMk id="273" creationId="{38943FAD-4179-A140-90A9-773AEA851E85}"/>
          </ac:spMkLst>
        </pc:spChg>
        <pc:spChg chg="add del mod">
          <ac:chgData name="Steiner Andreas 6206 ED" userId="e6377c33-a923-4f14-8587-531c474c7b48" providerId="ADAL" clId="{6ECD27E6-B224-41CD-B4E0-E297462320DD}" dt="2023-11-24T08:40:59.585" v="41635"/>
          <ac:spMkLst>
            <pc:docMk/>
            <pc:sldMk cId="3795759164" sldId="691"/>
            <ac:spMk id="274" creationId="{B54B21D5-3BF6-B53D-889F-2F887E5FAA56}"/>
          </ac:spMkLst>
        </pc:spChg>
        <pc:spChg chg="add del mod">
          <ac:chgData name="Steiner Andreas 6206 ED" userId="e6377c33-a923-4f14-8587-531c474c7b48" providerId="ADAL" clId="{6ECD27E6-B224-41CD-B4E0-E297462320DD}" dt="2023-11-24T08:41:02.565" v="41790"/>
          <ac:spMkLst>
            <pc:docMk/>
            <pc:sldMk cId="3795759164" sldId="691"/>
            <ac:spMk id="275" creationId="{3D58C525-B3C6-A29E-2714-D287517F21C3}"/>
          </ac:spMkLst>
        </pc:spChg>
        <pc:spChg chg="add del mod">
          <ac:chgData name="Steiner Andreas 6206 ED" userId="e6377c33-a923-4f14-8587-531c474c7b48" providerId="ADAL" clId="{6ECD27E6-B224-41CD-B4E0-E297462320DD}" dt="2023-11-24T08:41:05.292" v="41945"/>
          <ac:spMkLst>
            <pc:docMk/>
            <pc:sldMk cId="3795759164" sldId="691"/>
            <ac:spMk id="276" creationId="{8049A243-0EF3-0D32-E2DC-F713F094DE4F}"/>
          </ac:spMkLst>
        </pc:spChg>
        <pc:spChg chg="add del mod">
          <ac:chgData name="Steiner Andreas 6206 ED" userId="e6377c33-a923-4f14-8587-531c474c7b48" providerId="ADAL" clId="{6ECD27E6-B224-41CD-B4E0-E297462320DD}" dt="2023-11-24T08:41:08.640" v="42100"/>
          <ac:spMkLst>
            <pc:docMk/>
            <pc:sldMk cId="3795759164" sldId="691"/>
            <ac:spMk id="277" creationId="{EC87E412-4B3C-9F9E-6822-2575AF69668B}"/>
          </ac:spMkLst>
        </pc:spChg>
        <pc:spChg chg="add del mod">
          <ac:chgData name="Steiner Andreas 6206 ED" userId="e6377c33-a923-4f14-8587-531c474c7b48" providerId="ADAL" clId="{6ECD27E6-B224-41CD-B4E0-E297462320DD}" dt="2023-11-24T08:41:12.491" v="42255"/>
          <ac:spMkLst>
            <pc:docMk/>
            <pc:sldMk cId="3795759164" sldId="691"/>
            <ac:spMk id="278" creationId="{D951605B-F87A-28E4-B025-FF8912B2E79F}"/>
          </ac:spMkLst>
        </pc:spChg>
        <pc:spChg chg="add del mod">
          <ac:chgData name="Steiner Andreas 6206 ED" userId="e6377c33-a923-4f14-8587-531c474c7b48" providerId="ADAL" clId="{6ECD27E6-B224-41CD-B4E0-E297462320DD}" dt="2023-11-24T08:41:15.265" v="42410"/>
          <ac:spMkLst>
            <pc:docMk/>
            <pc:sldMk cId="3795759164" sldId="691"/>
            <ac:spMk id="279" creationId="{2078CA84-4ACC-FBFB-2999-D90848240416}"/>
          </ac:spMkLst>
        </pc:spChg>
        <pc:spChg chg="add del mod">
          <ac:chgData name="Steiner Andreas 6206 ED" userId="e6377c33-a923-4f14-8587-531c474c7b48" providerId="ADAL" clId="{6ECD27E6-B224-41CD-B4E0-E297462320DD}" dt="2023-11-24T08:41:17.395" v="42565"/>
          <ac:spMkLst>
            <pc:docMk/>
            <pc:sldMk cId="3795759164" sldId="691"/>
            <ac:spMk id="280" creationId="{4A18CCBD-1F7E-1231-3823-4B65DBF7F176}"/>
          </ac:spMkLst>
        </pc:spChg>
        <pc:spChg chg="add del mod">
          <ac:chgData name="Steiner Andreas 6206 ED" userId="e6377c33-a923-4f14-8587-531c474c7b48" providerId="ADAL" clId="{6ECD27E6-B224-41CD-B4E0-E297462320DD}" dt="2023-11-24T08:41:19.838" v="42720"/>
          <ac:spMkLst>
            <pc:docMk/>
            <pc:sldMk cId="3795759164" sldId="691"/>
            <ac:spMk id="281" creationId="{078A5AC0-9DB9-C703-304F-0D7DDBE60EAA}"/>
          </ac:spMkLst>
        </pc:spChg>
        <pc:spChg chg="add del mod">
          <ac:chgData name="Steiner Andreas 6206 ED" userId="e6377c33-a923-4f14-8587-531c474c7b48" providerId="ADAL" clId="{6ECD27E6-B224-41CD-B4E0-E297462320DD}" dt="2023-11-24T08:41:22.165" v="42875"/>
          <ac:spMkLst>
            <pc:docMk/>
            <pc:sldMk cId="3795759164" sldId="691"/>
            <ac:spMk id="282" creationId="{A0F7883A-D146-0BD1-0B7D-FA43736A2D6B}"/>
          </ac:spMkLst>
        </pc:spChg>
        <pc:spChg chg="add del mod">
          <ac:chgData name="Steiner Andreas 6206 ED" userId="e6377c33-a923-4f14-8587-531c474c7b48" providerId="ADAL" clId="{6ECD27E6-B224-41CD-B4E0-E297462320DD}" dt="2023-11-24T08:41:24.307" v="43030"/>
          <ac:spMkLst>
            <pc:docMk/>
            <pc:sldMk cId="3795759164" sldId="691"/>
            <ac:spMk id="283" creationId="{24497E33-1785-B781-AF8E-0721EDABA990}"/>
          </ac:spMkLst>
        </pc:spChg>
        <pc:spChg chg="add del mod">
          <ac:chgData name="Steiner Andreas 6206 ED" userId="e6377c33-a923-4f14-8587-531c474c7b48" providerId="ADAL" clId="{6ECD27E6-B224-41CD-B4E0-E297462320DD}" dt="2023-11-24T08:41:26.827" v="43185"/>
          <ac:spMkLst>
            <pc:docMk/>
            <pc:sldMk cId="3795759164" sldId="691"/>
            <ac:spMk id="284" creationId="{2A66DFD9-30BD-D4B6-492D-54B8EB8A9489}"/>
          </ac:spMkLst>
        </pc:spChg>
        <pc:spChg chg="add del mod">
          <ac:chgData name="Steiner Andreas 6206 ED" userId="e6377c33-a923-4f14-8587-531c474c7b48" providerId="ADAL" clId="{6ECD27E6-B224-41CD-B4E0-E297462320DD}" dt="2023-11-24T08:41:28.959" v="43340"/>
          <ac:spMkLst>
            <pc:docMk/>
            <pc:sldMk cId="3795759164" sldId="691"/>
            <ac:spMk id="285" creationId="{8E368121-2D42-B8CF-DA6D-7A5A802389B0}"/>
          </ac:spMkLst>
        </pc:spChg>
        <pc:spChg chg="add del mod">
          <ac:chgData name="Steiner Andreas 6206 ED" userId="e6377c33-a923-4f14-8587-531c474c7b48" providerId="ADAL" clId="{6ECD27E6-B224-41CD-B4E0-E297462320DD}" dt="2023-11-24T08:41:31.181" v="43495"/>
          <ac:spMkLst>
            <pc:docMk/>
            <pc:sldMk cId="3795759164" sldId="691"/>
            <ac:spMk id="286" creationId="{4C7CD2C8-F814-6CD0-FB34-BB54F9BE2353}"/>
          </ac:spMkLst>
        </pc:spChg>
        <pc:spChg chg="add del mod">
          <ac:chgData name="Steiner Andreas 6206 ED" userId="e6377c33-a923-4f14-8587-531c474c7b48" providerId="ADAL" clId="{6ECD27E6-B224-41CD-B4E0-E297462320DD}" dt="2023-11-24T08:41:35.602" v="43650"/>
          <ac:spMkLst>
            <pc:docMk/>
            <pc:sldMk cId="3795759164" sldId="691"/>
            <ac:spMk id="287" creationId="{51E1629B-3C51-B145-4D75-FF099AF00216}"/>
          </ac:spMkLst>
        </pc:spChg>
        <pc:spChg chg="add del mod">
          <ac:chgData name="Steiner Andreas 6206 ED" userId="e6377c33-a923-4f14-8587-531c474c7b48" providerId="ADAL" clId="{6ECD27E6-B224-41CD-B4E0-E297462320DD}" dt="2023-11-24T08:41:38.566" v="43805"/>
          <ac:spMkLst>
            <pc:docMk/>
            <pc:sldMk cId="3795759164" sldId="691"/>
            <ac:spMk id="288" creationId="{E276AC23-2198-1951-81D3-C8B621D96CEB}"/>
          </ac:spMkLst>
        </pc:spChg>
        <pc:spChg chg="add del mod">
          <ac:chgData name="Steiner Andreas 6206 ED" userId="e6377c33-a923-4f14-8587-531c474c7b48" providerId="ADAL" clId="{6ECD27E6-B224-41CD-B4E0-E297462320DD}" dt="2023-11-24T08:41:40.816" v="43960"/>
          <ac:spMkLst>
            <pc:docMk/>
            <pc:sldMk cId="3795759164" sldId="691"/>
            <ac:spMk id="289" creationId="{EDBB640A-DD3E-0107-29F1-8E14F32D5626}"/>
          </ac:spMkLst>
        </pc:spChg>
        <pc:spChg chg="add del mod">
          <ac:chgData name="Steiner Andreas 6206 ED" userId="e6377c33-a923-4f14-8587-531c474c7b48" providerId="ADAL" clId="{6ECD27E6-B224-41CD-B4E0-E297462320DD}" dt="2023-11-24T08:41:43.197" v="44115"/>
          <ac:spMkLst>
            <pc:docMk/>
            <pc:sldMk cId="3795759164" sldId="691"/>
            <ac:spMk id="290" creationId="{51F93584-A1E3-61D2-D545-FADDE83B9F19}"/>
          </ac:spMkLst>
        </pc:spChg>
        <pc:spChg chg="add del mod">
          <ac:chgData name="Steiner Andreas 6206 ED" userId="e6377c33-a923-4f14-8587-531c474c7b48" providerId="ADAL" clId="{6ECD27E6-B224-41CD-B4E0-E297462320DD}" dt="2023-11-24T08:41:45.125" v="44270"/>
          <ac:spMkLst>
            <pc:docMk/>
            <pc:sldMk cId="3795759164" sldId="691"/>
            <ac:spMk id="291" creationId="{B6DA2950-639F-D3B2-2673-AA5B46C60996}"/>
          </ac:spMkLst>
        </pc:spChg>
        <pc:spChg chg="add del mod">
          <ac:chgData name="Steiner Andreas 6206 ED" userId="e6377c33-a923-4f14-8587-531c474c7b48" providerId="ADAL" clId="{6ECD27E6-B224-41CD-B4E0-E297462320DD}" dt="2023-11-24T08:41:47.035" v="44425"/>
          <ac:spMkLst>
            <pc:docMk/>
            <pc:sldMk cId="3795759164" sldId="691"/>
            <ac:spMk id="292" creationId="{084908F8-CA27-0825-9D3E-41723BDEF72B}"/>
          </ac:spMkLst>
        </pc:spChg>
        <pc:spChg chg="add del mod">
          <ac:chgData name="Steiner Andreas 6206 ED" userId="e6377c33-a923-4f14-8587-531c474c7b48" providerId="ADAL" clId="{6ECD27E6-B224-41CD-B4E0-E297462320DD}" dt="2023-11-24T08:41:49.057" v="44580"/>
          <ac:spMkLst>
            <pc:docMk/>
            <pc:sldMk cId="3795759164" sldId="691"/>
            <ac:spMk id="293" creationId="{183729A3-BAC5-37E0-A262-632D9AEC6C2E}"/>
          </ac:spMkLst>
        </pc:spChg>
        <pc:spChg chg="add del mod">
          <ac:chgData name="Steiner Andreas 6206 ED" userId="e6377c33-a923-4f14-8587-531c474c7b48" providerId="ADAL" clId="{6ECD27E6-B224-41CD-B4E0-E297462320DD}" dt="2023-11-24T08:41:50.934" v="44735"/>
          <ac:spMkLst>
            <pc:docMk/>
            <pc:sldMk cId="3795759164" sldId="691"/>
            <ac:spMk id="294" creationId="{B720EFB7-8EE4-A55B-1675-39040CA97BD6}"/>
          </ac:spMkLst>
        </pc:spChg>
        <pc:spChg chg="add del mod">
          <ac:chgData name="Steiner Andreas 6206 ED" userId="e6377c33-a923-4f14-8587-531c474c7b48" providerId="ADAL" clId="{6ECD27E6-B224-41CD-B4E0-E297462320DD}" dt="2023-11-24T08:41:53.271" v="44890"/>
          <ac:spMkLst>
            <pc:docMk/>
            <pc:sldMk cId="3795759164" sldId="691"/>
            <ac:spMk id="295" creationId="{4E00C0D4-B4C7-0C0B-E577-99FBD6DE8917}"/>
          </ac:spMkLst>
        </pc:spChg>
        <pc:spChg chg="add del mod">
          <ac:chgData name="Steiner Andreas 6206 ED" userId="e6377c33-a923-4f14-8587-531c474c7b48" providerId="ADAL" clId="{6ECD27E6-B224-41CD-B4E0-E297462320DD}" dt="2023-11-24T08:41:55.200" v="45045"/>
          <ac:spMkLst>
            <pc:docMk/>
            <pc:sldMk cId="3795759164" sldId="691"/>
            <ac:spMk id="296" creationId="{ED05BF5E-522F-CCE9-7E65-5408DC769965}"/>
          </ac:spMkLst>
        </pc:spChg>
        <pc:spChg chg="add del mod">
          <ac:chgData name="Steiner Andreas 6206 ED" userId="e6377c33-a923-4f14-8587-531c474c7b48" providerId="ADAL" clId="{6ECD27E6-B224-41CD-B4E0-E297462320DD}" dt="2023-11-24T08:41:57.470" v="45200"/>
          <ac:spMkLst>
            <pc:docMk/>
            <pc:sldMk cId="3795759164" sldId="691"/>
            <ac:spMk id="297" creationId="{EB1D44E8-40F2-8B0E-CF82-0C8CD32E4368}"/>
          </ac:spMkLst>
        </pc:spChg>
        <pc:spChg chg="add del mod">
          <ac:chgData name="Steiner Andreas 6206 ED" userId="e6377c33-a923-4f14-8587-531c474c7b48" providerId="ADAL" clId="{6ECD27E6-B224-41CD-B4E0-E297462320DD}" dt="2023-11-24T08:41:59.627" v="45355"/>
          <ac:spMkLst>
            <pc:docMk/>
            <pc:sldMk cId="3795759164" sldId="691"/>
            <ac:spMk id="298" creationId="{ABE1C083-F786-3CFA-6EEE-1089CF20313D}"/>
          </ac:spMkLst>
        </pc:spChg>
        <pc:spChg chg="add del mod">
          <ac:chgData name="Steiner Andreas 6206 ED" userId="e6377c33-a923-4f14-8587-531c474c7b48" providerId="ADAL" clId="{6ECD27E6-B224-41CD-B4E0-E297462320DD}" dt="2023-11-24T08:42:01.852" v="45510"/>
          <ac:spMkLst>
            <pc:docMk/>
            <pc:sldMk cId="3795759164" sldId="691"/>
            <ac:spMk id="299" creationId="{2127037B-4F96-8B6B-60DC-5CCF0C9A39E6}"/>
          </ac:spMkLst>
        </pc:spChg>
        <pc:spChg chg="add del mod">
          <ac:chgData name="Steiner Andreas 6206 ED" userId="e6377c33-a923-4f14-8587-531c474c7b48" providerId="ADAL" clId="{6ECD27E6-B224-41CD-B4E0-E297462320DD}" dt="2023-11-24T08:42:03.863" v="45665"/>
          <ac:spMkLst>
            <pc:docMk/>
            <pc:sldMk cId="3795759164" sldId="691"/>
            <ac:spMk id="300" creationId="{9557E2A8-6969-E274-361F-C785AB2E0055}"/>
          </ac:spMkLst>
        </pc:spChg>
        <pc:spChg chg="add del mod">
          <ac:chgData name="Steiner Andreas 6206 ED" userId="e6377c33-a923-4f14-8587-531c474c7b48" providerId="ADAL" clId="{6ECD27E6-B224-41CD-B4E0-E297462320DD}" dt="2023-11-24T08:42:05.822" v="45820"/>
          <ac:spMkLst>
            <pc:docMk/>
            <pc:sldMk cId="3795759164" sldId="691"/>
            <ac:spMk id="301" creationId="{2156236B-4B87-D8F0-B655-ED73A9AAABCA}"/>
          </ac:spMkLst>
        </pc:spChg>
        <pc:spChg chg="add del mod">
          <ac:chgData name="Steiner Andreas 6206 ED" userId="e6377c33-a923-4f14-8587-531c474c7b48" providerId="ADAL" clId="{6ECD27E6-B224-41CD-B4E0-E297462320DD}" dt="2023-11-24T08:42:07.726" v="45975"/>
          <ac:spMkLst>
            <pc:docMk/>
            <pc:sldMk cId="3795759164" sldId="691"/>
            <ac:spMk id="302" creationId="{2D8F1805-4060-E57E-2A47-F15C0C6EE28D}"/>
          </ac:spMkLst>
        </pc:spChg>
        <pc:spChg chg="add del mod">
          <ac:chgData name="Steiner Andreas 6206 ED" userId="e6377c33-a923-4f14-8587-531c474c7b48" providerId="ADAL" clId="{6ECD27E6-B224-41CD-B4E0-E297462320DD}" dt="2023-11-24T08:42:09.615" v="46130"/>
          <ac:spMkLst>
            <pc:docMk/>
            <pc:sldMk cId="3795759164" sldId="691"/>
            <ac:spMk id="303" creationId="{91B9F718-D299-E729-3C41-8835AF87D555}"/>
          </ac:spMkLst>
        </pc:spChg>
        <pc:spChg chg="add del mod">
          <ac:chgData name="Steiner Andreas 6206 ED" userId="e6377c33-a923-4f14-8587-531c474c7b48" providerId="ADAL" clId="{6ECD27E6-B224-41CD-B4E0-E297462320DD}" dt="2023-11-24T08:42:11.969" v="46285"/>
          <ac:spMkLst>
            <pc:docMk/>
            <pc:sldMk cId="3795759164" sldId="691"/>
            <ac:spMk id="304" creationId="{80020B8B-C31C-9E5F-C155-CCC76B15F90D}"/>
          </ac:spMkLst>
        </pc:spChg>
        <pc:spChg chg="add del mod">
          <ac:chgData name="Steiner Andreas 6206 ED" userId="e6377c33-a923-4f14-8587-531c474c7b48" providerId="ADAL" clId="{6ECD27E6-B224-41CD-B4E0-E297462320DD}" dt="2023-11-24T08:42:14.441" v="46440"/>
          <ac:spMkLst>
            <pc:docMk/>
            <pc:sldMk cId="3795759164" sldId="691"/>
            <ac:spMk id="305" creationId="{7E5A6D07-FC1E-90CB-340D-DC35D53EBE01}"/>
          </ac:spMkLst>
        </pc:spChg>
        <pc:spChg chg="add del mod">
          <ac:chgData name="Steiner Andreas 6206 ED" userId="e6377c33-a923-4f14-8587-531c474c7b48" providerId="ADAL" clId="{6ECD27E6-B224-41CD-B4E0-E297462320DD}" dt="2023-11-24T08:42:16.892" v="46595"/>
          <ac:spMkLst>
            <pc:docMk/>
            <pc:sldMk cId="3795759164" sldId="691"/>
            <ac:spMk id="306" creationId="{2E56CC4B-D155-BE3E-60F4-C64C635E9877}"/>
          </ac:spMkLst>
        </pc:spChg>
        <pc:spChg chg="add del mod">
          <ac:chgData name="Steiner Andreas 6206 ED" userId="e6377c33-a923-4f14-8587-531c474c7b48" providerId="ADAL" clId="{6ECD27E6-B224-41CD-B4E0-E297462320DD}" dt="2023-11-24T08:42:19.017" v="46750"/>
          <ac:spMkLst>
            <pc:docMk/>
            <pc:sldMk cId="3795759164" sldId="691"/>
            <ac:spMk id="307" creationId="{72AC2E10-26A5-6E73-7EE5-708520BD943C}"/>
          </ac:spMkLst>
        </pc:spChg>
        <pc:spChg chg="add del mod">
          <ac:chgData name="Steiner Andreas 6206 ED" userId="e6377c33-a923-4f14-8587-531c474c7b48" providerId="ADAL" clId="{6ECD27E6-B224-41CD-B4E0-E297462320DD}" dt="2023-11-24T08:42:21.338" v="46905"/>
          <ac:spMkLst>
            <pc:docMk/>
            <pc:sldMk cId="3795759164" sldId="691"/>
            <ac:spMk id="308" creationId="{EEABC7D2-FFBE-E48D-682D-BE20DA6807A7}"/>
          </ac:spMkLst>
        </pc:spChg>
        <pc:spChg chg="add del mod">
          <ac:chgData name="Steiner Andreas 6206 ED" userId="e6377c33-a923-4f14-8587-531c474c7b48" providerId="ADAL" clId="{6ECD27E6-B224-41CD-B4E0-E297462320DD}" dt="2023-11-24T08:42:23.970" v="47060"/>
          <ac:spMkLst>
            <pc:docMk/>
            <pc:sldMk cId="3795759164" sldId="691"/>
            <ac:spMk id="309" creationId="{0445AA26-0C53-5428-A44E-423A19D2EF93}"/>
          </ac:spMkLst>
        </pc:spChg>
        <pc:spChg chg="add del mod">
          <ac:chgData name="Steiner Andreas 6206 ED" userId="e6377c33-a923-4f14-8587-531c474c7b48" providerId="ADAL" clId="{6ECD27E6-B224-41CD-B4E0-E297462320DD}" dt="2023-11-24T08:42:25.956" v="47215"/>
          <ac:spMkLst>
            <pc:docMk/>
            <pc:sldMk cId="3795759164" sldId="691"/>
            <ac:spMk id="310" creationId="{D8A6ED3E-CB07-7365-8D82-24D272AE0CF1}"/>
          </ac:spMkLst>
        </pc:spChg>
        <pc:spChg chg="add del mod">
          <ac:chgData name="Steiner Andreas 6206 ED" userId="e6377c33-a923-4f14-8587-531c474c7b48" providerId="ADAL" clId="{6ECD27E6-B224-41CD-B4E0-E297462320DD}" dt="2023-11-24T08:42:27.857" v="47370"/>
          <ac:spMkLst>
            <pc:docMk/>
            <pc:sldMk cId="3795759164" sldId="691"/>
            <ac:spMk id="311" creationId="{F1478585-4665-3939-BF70-FCEEF544CE93}"/>
          </ac:spMkLst>
        </pc:spChg>
        <pc:spChg chg="add del mod">
          <ac:chgData name="Steiner Andreas 6206 ED" userId="e6377c33-a923-4f14-8587-531c474c7b48" providerId="ADAL" clId="{6ECD27E6-B224-41CD-B4E0-E297462320DD}" dt="2023-11-24T08:42:29.624" v="47525"/>
          <ac:spMkLst>
            <pc:docMk/>
            <pc:sldMk cId="3795759164" sldId="691"/>
            <ac:spMk id="312" creationId="{04B3ECEE-2FD4-09A3-AA18-AC6260E55142}"/>
          </ac:spMkLst>
        </pc:spChg>
        <pc:spChg chg="add del mod">
          <ac:chgData name="Steiner Andreas 6206 ED" userId="e6377c33-a923-4f14-8587-531c474c7b48" providerId="ADAL" clId="{6ECD27E6-B224-41CD-B4E0-E297462320DD}" dt="2023-11-24T08:42:31.514" v="47680"/>
          <ac:spMkLst>
            <pc:docMk/>
            <pc:sldMk cId="3795759164" sldId="691"/>
            <ac:spMk id="313" creationId="{5EFC6044-F6C5-FE11-41FC-61718FFE9326}"/>
          </ac:spMkLst>
        </pc:spChg>
        <pc:spChg chg="add del mod">
          <ac:chgData name="Steiner Andreas 6206 ED" userId="e6377c33-a923-4f14-8587-531c474c7b48" providerId="ADAL" clId="{6ECD27E6-B224-41CD-B4E0-E297462320DD}" dt="2023-11-24T08:42:33.497" v="47835"/>
          <ac:spMkLst>
            <pc:docMk/>
            <pc:sldMk cId="3795759164" sldId="691"/>
            <ac:spMk id="314" creationId="{A50B2963-0C53-27F0-B886-7A4056192AC9}"/>
          </ac:spMkLst>
        </pc:spChg>
        <pc:spChg chg="add del mod">
          <ac:chgData name="Steiner Andreas 6206 ED" userId="e6377c33-a923-4f14-8587-531c474c7b48" providerId="ADAL" clId="{6ECD27E6-B224-41CD-B4E0-E297462320DD}" dt="2023-11-24T08:42:35.561" v="47990"/>
          <ac:spMkLst>
            <pc:docMk/>
            <pc:sldMk cId="3795759164" sldId="691"/>
            <ac:spMk id="315" creationId="{18C61F7F-2004-9C99-4685-05444F52B677}"/>
          </ac:spMkLst>
        </pc:spChg>
        <pc:spChg chg="add del mod">
          <ac:chgData name="Steiner Andreas 6206 ED" userId="e6377c33-a923-4f14-8587-531c474c7b48" providerId="ADAL" clId="{6ECD27E6-B224-41CD-B4E0-E297462320DD}" dt="2023-11-24T08:42:37.447" v="48145"/>
          <ac:spMkLst>
            <pc:docMk/>
            <pc:sldMk cId="3795759164" sldId="691"/>
            <ac:spMk id="316" creationId="{E5EA8DCA-E8CD-7FC9-1E96-3C62155C93BA}"/>
          </ac:spMkLst>
        </pc:spChg>
        <pc:spChg chg="add del mod">
          <ac:chgData name="Steiner Andreas 6206 ED" userId="e6377c33-a923-4f14-8587-531c474c7b48" providerId="ADAL" clId="{6ECD27E6-B224-41CD-B4E0-E297462320DD}" dt="2023-11-24T08:42:39.315" v="48300"/>
          <ac:spMkLst>
            <pc:docMk/>
            <pc:sldMk cId="3795759164" sldId="691"/>
            <ac:spMk id="317" creationId="{78A5B6B5-CD42-7BA0-68EF-06108A432C0C}"/>
          </ac:spMkLst>
        </pc:spChg>
        <pc:spChg chg="add del mod">
          <ac:chgData name="Steiner Andreas 6206 ED" userId="e6377c33-a923-4f14-8587-531c474c7b48" providerId="ADAL" clId="{6ECD27E6-B224-41CD-B4E0-E297462320DD}" dt="2023-11-24T08:42:41.430" v="48455"/>
          <ac:spMkLst>
            <pc:docMk/>
            <pc:sldMk cId="3795759164" sldId="691"/>
            <ac:spMk id="318" creationId="{00CBCD39-299D-166F-DE7F-F00C19E79B56}"/>
          </ac:spMkLst>
        </pc:spChg>
        <pc:spChg chg="add del mod">
          <ac:chgData name="Steiner Andreas 6206 ED" userId="e6377c33-a923-4f14-8587-531c474c7b48" providerId="ADAL" clId="{6ECD27E6-B224-41CD-B4E0-E297462320DD}" dt="2023-11-24T08:42:43.541" v="48610"/>
          <ac:spMkLst>
            <pc:docMk/>
            <pc:sldMk cId="3795759164" sldId="691"/>
            <ac:spMk id="319" creationId="{BDBAD2E3-F896-D213-C190-34E0ECBF217A}"/>
          </ac:spMkLst>
        </pc:spChg>
        <pc:spChg chg="add del mod">
          <ac:chgData name="Steiner Andreas 6206 ED" userId="e6377c33-a923-4f14-8587-531c474c7b48" providerId="ADAL" clId="{6ECD27E6-B224-41CD-B4E0-E297462320DD}" dt="2023-11-24T08:42:45.574" v="48765"/>
          <ac:spMkLst>
            <pc:docMk/>
            <pc:sldMk cId="3795759164" sldId="691"/>
            <ac:spMk id="320" creationId="{83C608FF-B24D-D696-5E4E-60B5490F30D9}"/>
          </ac:spMkLst>
        </pc:spChg>
        <pc:spChg chg="add del mod">
          <ac:chgData name="Steiner Andreas 6206 ED" userId="e6377c33-a923-4f14-8587-531c474c7b48" providerId="ADAL" clId="{6ECD27E6-B224-41CD-B4E0-E297462320DD}" dt="2023-11-24T08:42:47.461" v="48920"/>
          <ac:spMkLst>
            <pc:docMk/>
            <pc:sldMk cId="3795759164" sldId="691"/>
            <ac:spMk id="321" creationId="{DF298E2A-CF9A-6A32-5090-E738652E7D28}"/>
          </ac:spMkLst>
        </pc:spChg>
        <pc:spChg chg="add del mod">
          <ac:chgData name="Steiner Andreas 6206 ED" userId="e6377c33-a923-4f14-8587-531c474c7b48" providerId="ADAL" clId="{6ECD27E6-B224-41CD-B4E0-E297462320DD}" dt="2023-11-24T08:42:49.263" v="49075"/>
          <ac:spMkLst>
            <pc:docMk/>
            <pc:sldMk cId="3795759164" sldId="691"/>
            <ac:spMk id="322" creationId="{9AD6A292-979A-F092-EB7B-C25A6E7A5EBB}"/>
          </ac:spMkLst>
        </pc:spChg>
        <pc:spChg chg="add del mod">
          <ac:chgData name="Steiner Andreas 6206 ED" userId="e6377c33-a923-4f14-8587-531c474c7b48" providerId="ADAL" clId="{6ECD27E6-B224-41CD-B4E0-E297462320DD}" dt="2023-11-24T08:42:51.138" v="49230"/>
          <ac:spMkLst>
            <pc:docMk/>
            <pc:sldMk cId="3795759164" sldId="691"/>
            <ac:spMk id="323" creationId="{7FFC902B-4B6A-0B71-8F2F-B7382766E6D3}"/>
          </ac:spMkLst>
        </pc:spChg>
        <pc:spChg chg="add del mod">
          <ac:chgData name="Steiner Andreas 6206 ED" userId="e6377c33-a923-4f14-8587-531c474c7b48" providerId="ADAL" clId="{6ECD27E6-B224-41CD-B4E0-E297462320DD}" dt="2023-11-24T08:42:53.233" v="49385"/>
          <ac:spMkLst>
            <pc:docMk/>
            <pc:sldMk cId="3795759164" sldId="691"/>
            <ac:spMk id="324" creationId="{333D56AE-4DEE-5501-E5FA-609BBC406738}"/>
          </ac:spMkLst>
        </pc:spChg>
        <pc:spChg chg="add del mod">
          <ac:chgData name="Steiner Andreas 6206 ED" userId="e6377c33-a923-4f14-8587-531c474c7b48" providerId="ADAL" clId="{6ECD27E6-B224-41CD-B4E0-E297462320DD}" dt="2023-11-24T08:42:55.830" v="49540"/>
          <ac:spMkLst>
            <pc:docMk/>
            <pc:sldMk cId="3795759164" sldId="691"/>
            <ac:spMk id="325" creationId="{7F623C70-AC95-1684-CC19-B4599B22F36F}"/>
          </ac:spMkLst>
        </pc:spChg>
        <pc:spChg chg="add del mod">
          <ac:chgData name="Steiner Andreas 6206 ED" userId="e6377c33-a923-4f14-8587-531c474c7b48" providerId="ADAL" clId="{6ECD27E6-B224-41CD-B4E0-E297462320DD}" dt="2023-11-24T08:42:57.935" v="49695"/>
          <ac:spMkLst>
            <pc:docMk/>
            <pc:sldMk cId="3795759164" sldId="691"/>
            <ac:spMk id="326" creationId="{140142DF-44FD-B95E-BBFE-AEB36D06BAAC}"/>
          </ac:spMkLst>
        </pc:spChg>
        <pc:spChg chg="add del mod">
          <ac:chgData name="Steiner Andreas 6206 ED" userId="e6377c33-a923-4f14-8587-531c474c7b48" providerId="ADAL" clId="{6ECD27E6-B224-41CD-B4E0-E297462320DD}" dt="2023-11-24T08:42:59.861" v="49850"/>
          <ac:spMkLst>
            <pc:docMk/>
            <pc:sldMk cId="3795759164" sldId="691"/>
            <ac:spMk id="327" creationId="{29F4A4B6-1C8E-4512-3DB0-EF7DE0CDB573}"/>
          </ac:spMkLst>
        </pc:spChg>
        <pc:spChg chg="add del mod">
          <ac:chgData name="Steiner Andreas 6206 ED" userId="e6377c33-a923-4f14-8587-531c474c7b48" providerId="ADAL" clId="{6ECD27E6-B224-41CD-B4E0-E297462320DD}" dt="2023-11-24T08:43:01.856" v="50005"/>
          <ac:spMkLst>
            <pc:docMk/>
            <pc:sldMk cId="3795759164" sldId="691"/>
            <ac:spMk id="328" creationId="{785C59B9-913F-80E4-D1A6-800EAF87A2AD}"/>
          </ac:spMkLst>
        </pc:spChg>
        <pc:spChg chg="add del mod">
          <ac:chgData name="Steiner Andreas 6206 ED" userId="e6377c33-a923-4f14-8587-531c474c7b48" providerId="ADAL" clId="{6ECD27E6-B224-41CD-B4E0-E297462320DD}" dt="2023-11-24T08:43:03.843" v="50160"/>
          <ac:spMkLst>
            <pc:docMk/>
            <pc:sldMk cId="3795759164" sldId="691"/>
            <ac:spMk id="329" creationId="{881924DD-7586-07C4-CE5F-C0D738B806ED}"/>
          </ac:spMkLst>
        </pc:spChg>
        <pc:spChg chg="add del mod">
          <ac:chgData name="Steiner Andreas 6206 ED" userId="e6377c33-a923-4f14-8587-531c474c7b48" providerId="ADAL" clId="{6ECD27E6-B224-41CD-B4E0-E297462320DD}" dt="2023-11-24T08:43:05.723" v="50315"/>
          <ac:spMkLst>
            <pc:docMk/>
            <pc:sldMk cId="3795759164" sldId="691"/>
            <ac:spMk id="330" creationId="{B18073CB-4D15-97A0-FC71-8BF6DC21988F}"/>
          </ac:spMkLst>
        </pc:spChg>
        <pc:spChg chg="add del mod">
          <ac:chgData name="Steiner Andreas 6206 ED" userId="e6377c33-a923-4f14-8587-531c474c7b48" providerId="ADAL" clId="{6ECD27E6-B224-41CD-B4E0-E297462320DD}" dt="2023-11-24T08:43:07.907" v="50470"/>
          <ac:spMkLst>
            <pc:docMk/>
            <pc:sldMk cId="3795759164" sldId="691"/>
            <ac:spMk id="331" creationId="{F894F542-499E-0A31-6889-99AB611E1B76}"/>
          </ac:spMkLst>
        </pc:spChg>
        <pc:spChg chg="add del mod">
          <ac:chgData name="Steiner Andreas 6206 ED" userId="e6377c33-a923-4f14-8587-531c474c7b48" providerId="ADAL" clId="{6ECD27E6-B224-41CD-B4E0-E297462320DD}" dt="2023-11-24T08:43:09.995" v="50625"/>
          <ac:spMkLst>
            <pc:docMk/>
            <pc:sldMk cId="3795759164" sldId="691"/>
            <ac:spMk id="332" creationId="{21149BCC-D34F-2A5B-42CA-7923F171A3A0}"/>
          </ac:spMkLst>
        </pc:spChg>
        <pc:spChg chg="add del mod">
          <ac:chgData name="Steiner Andreas 6206 ED" userId="e6377c33-a923-4f14-8587-531c474c7b48" providerId="ADAL" clId="{6ECD27E6-B224-41CD-B4E0-E297462320DD}" dt="2023-11-24T08:43:11.830" v="50780"/>
          <ac:spMkLst>
            <pc:docMk/>
            <pc:sldMk cId="3795759164" sldId="691"/>
            <ac:spMk id="333" creationId="{BF1F4742-95EA-98D7-7295-D308F1CD13C4}"/>
          </ac:spMkLst>
        </pc:spChg>
        <pc:spChg chg="add del mod">
          <ac:chgData name="Steiner Andreas 6206 ED" userId="e6377c33-a923-4f14-8587-531c474c7b48" providerId="ADAL" clId="{6ECD27E6-B224-41CD-B4E0-E297462320DD}" dt="2023-11-24T08:43:13.887" v="50935"/>
          <ac:spMkLst>
            <pc:docMk/>
            <pc:sldMk cId="3795759164" sldId="691"/>
            <ac:spMk id="334" creationId="{D66B321A-969B-39CB-EB40-0262BA6AE1CB}"/>
          </ac:spMkLst>
        </pc:spChg>
        <pc:spChg chg="add del mod">
          <ac:chgData name="Steiner Andreas 6206 ED" userId="e6377c33-a923-4f14-8587-531c474c7b48" providerId="ADAL" clId="{6ECD27E6-B224-41CD-B4E0-E297462320DD}" dt="2023-11-24T08:43:15.863" v="51090"/>
          <ac:spMkLst>
            <pc:docMk/>
            <pc:sldMk cId="3795759164" sldId="691"/>
            <ac:spMk id="335" creationId="{185D5A45-F9D4-17CC-12C3-46D68D964B54}"/>
          </ac:spMkLst>
        </pc:spChg>
        <pc:spChg chg="add del mod">
          <ac:chgData name="Steiner Andreas 6206 ED" userId="e6377c33-a923-4f14-8587-531c474c7b48" providerId="ADAL" clId="{6ECD27E6-B224-41CD-B4E0-E297462320DD}" dt="2023-11-24T08:43:17.944" v="51245"/>
          <ac:spMkLst>
            <pc:docMk/>
            <pc:sldMk cId="3795759164" sldId="691"/>
            <ac:spMk id="336" creationId="{BDB85927-E0F6-2913-155E-64CDAC2172DD}"/>
          </ac:spMkLst>
        </pc:spChg>
        <pc:spChg chg="add del mod">
          <ac:chgData name="Steiner Andreas 6206 ED" userId="e6377c33-a923-4f14-8587-531c474c7b48" providerId="ADAL" clId="{6ECD27E6-B224-41CD-B4E0-E297462320DD}" dt="2023-11-24T08:43:19.931" v="51400"/>
          <ac:spMkLst>
            <pc:docMk/>
            <pc:sldMk cId="3795759164" sldId="691"/>
            <ac:spMk id="337" creationId="{009CD1BF-ED19-E493-0057-B0225C3A1D30}"/>
          </ac:spMkLst>
        </pc:spChg>
        <pc:spChg chg="add del mod">
          <ac:chgData name="Steiner Andreas 6206 ED" userId="e6377c33-a923-4f14-8587-531c474c7b48" providerId="ADAL" clId="{6ECD27E6-B224-41CD-B4E0-E297462320DD}" dt="2023-11-24T08:43:21.837" v="51555"/>
          <ac:spMkLst>
            <pc:docMk/>
            <pc:sldMk cId="3795759164" sldId="691"/>
            <ac:spMk id="338" creationId="{B4F82C0F-9AFB-3B80-64AD-1246980F0D89}"/>
          </ac:spMkLst>
        </pc:spChg>
        <pc:spChg chg="add del mod">
          <ac:chgData name="Steiner Andreas 6206 ED" userId="e6377c33-a923-4f14-8587-531c474c7b48" providerId="ADAL" clId="{6ECD27E6-B224-41CD-B4E0-E297462320DD}" dt="2023-11-24T08:43:23.767" v="51710"/>
          <ac:spMkLst>
            <pc:docMk/>
            <pc:sldMk cId="3795759164" sldId="691"/>
            <ac:spMk id="339" creationId="{5243757C-7778-3AD8-090A-8ED0E8812D03}"/>
          </ac:spMkLst>
        </pc:spChg>
        <pc:spChg chg="add del mod">
          <ac:chgData name="Steiner Andreas 6206 ED" userId="e6377c33-a923-4f14-8587-531c474c7b48" providerId="ADAL" clId="{6ECD27E6-B224-41CD-B4E0-E297462320DD}" dt="2023-11-24T08:43:25.663" v="51865"/>
          <ac:spMkLst>
            <pc:docMk/>
            <pc:sldMk cId="3795759164" sldId="691"/>
            <ac:spMk id="340" creationId="{056A0E60-B1AA-112C-42A0-8D72FFAAE55F}"/>
          </ac:spMkLst>
        </pc:spChg>
        <pc:spChg chg="add del mod">
          <ac:chgData name="Steiner Andreas 6206 ED" userId="e6377c33-a923-4f14-8587-531c474c7b48" providerId="ADAL" clId="{6ECD27E6-B224-41CD-B4E0-E297462320DD}" dt="2023-11-24T08:43:27.501" v="52020"/>
          <ac:spMkLst>
            <pc:docMk/>
            <pc:sldMk cId="3795759164" sldId="691"/>
            <ac:spMk id="341" creationId="{3A41A090-4327-3A97-95EE-5731C1DEAAB4}"/>
          </ac:spMkLst>
        </pc:spChg>
        <pc:spChg chg="add del mod">
          <ac:chgData name="Steiner Andreas 6206 ED" userId="e6377c33-a923-4f14-8587-531c474c7b48" providerId="ADAL" clId="{6ECD27E6-B224-41CD-B4E0-E297462320DD}" dt="2023-11-24T08:43:29.295" v="52175"/>
          <ac:spMkLst>
            <pc:docMk/>
            <pc:sldMk cId="3795759164" sldId="691"/>
            <ac:spMk id="342" creationId="{ADAB705E-7DDC-9366-CC0A-F4EE832F5246}"/>
          </ac:spMkLst>
        </pc:spChg>
        <pc:spChg chg="add del mod">
          <ac:chgData name="Steiner Andreas 6206 ED" userId="e6377c33-a923-4f14-8587-531c474c7b48" providerId="ADAL" clId="{6ECD27E6-B224-41CD-B4E0-E297462320DD}" dt="2023-11-24T08:43:31.972" v="52330"/>
          <ac:spMkLst>
            <pc:docMk/>
            <pc:sldMk cId="3795759164" sldId="691"/>
            <ac:spMk id="343" creationId="{5684C40D-F5C8-01D3-12B8-803B4BEDE96C}"/>
          </ac:spMkLst>
        </pc:spChg>
        <pc:spChg chg="add del mod">
          <ac:chgData name="Steiner Andreas 6206 ED" userId="e6377c33-a923-4f14-8587-531c474c7b48" providerId="ADAL" clId="{6ECD27E6-B224-41CD-B4E0-E297462320DD}" dt="2023-11-24T08:43:34.498" v="52485"/>
          <ac:spMkLst>
            <pc:docMk/>
            <pc:sldMk cId="3795759164" sldId="691"/>
            <ac:spMk id="344" creationId="{FA5B7725-3F25-5C16-6A86-03F568129A69}"/>
          </ac:spMkLst>
        </pc:spChg>
        <pc:spChg chg="add del mod">
          <ac:chgData name="Steiner Andreas 6206 ED" userId="e6377c33-a923-4f14-8587-531c474c7b48" providerId="ADAL" clId="{6ECD27E6-B224-41CD-B4E0-E297462320DD}" dt="2023-11-24T08:43:36.586" v="52640"/>
          <ac:spMkLst>
            <pc:docMk/>
            <pc:sldMk cId="3795759164" sldId="691"/>
            <ac:spMk id="345" creationId="{2525F704-E890-661A-5C54-6ED3BCCC8DDB}"/>
          </ac:spMkLst>
        </pc:spChg>
        <pc:spChg chg="add del mod">
          <ac:chgData name="Steiner Andreas 6206 ED" userId="e6377c33-a923-4f14-8587-531c474c7b48" providerId="ADAL" clId="{6ECD27E6-B224-41CD-B4E0-E297462320DD}" dt="2023-11-24T08:43:38.688" v="52795"/>
          <ac:spMkLst>
            <pc:docMk/>
            <pc:sldMk cId="3795759164" sldId="691"/>
            <ac:spMk id="346" creationId="{E6FBC065-CD72-9E15-559C-AFA14BF5D9EB}"/>
          </ac:spMkLst>
        </pc:spChg>
        <pc:spChg chg="add del mod">
          <ac:chgData name="Steiner Andreas 6206 ED" userId="e6377c33-a923-4f14-8587-531c474c7b48" providerId="ADAL" clId="{6ECD27E6-B224-41CD-B4E0-E297462320DD}" dt="2023-11-24T08:43:40.805" v="52950"/>
          <ac:spMkLst>
            <pc:docMk/>
            <pc:sldMk cId="3795759164" sldId="691"/>
            <ac:spMk id="347" creationId="{AE09585F-B0E2-BEF2-8634-78B900094841}"/>
          </ac:spMkLst>
        </pc:spChg>
        <pc:spChg chg="add del mod">
          <ac:chgData name="Steiner Andreas 6206 ED" userId="e6377c33-a923-4f14-8587-531c474c7b48" providerId="ADAL" clId="{6ECD27E6-B224-41CD-B4E0-E297462320DD}" dt="2023-11-24T08:43:42.782" v="53105"/>
          <ac:spMkLst>
            <pc:docMk/>
            <pc:sldMk cId="3795759164" sldId="691"/>
            <ac:spMk id="348" creationId="{C0EEB457-4037-A6BC-7751-1CBF6389C9EC}"/>
          </ac:spMkLst>
        </pc:spChg>
        <pc:spChg chg="add del mod">
          <ac:chgData name="Steiner Andreas 6206 ED" userId="e6377c33-a923-4f14-8587-531c474c7b48" providerId="ADAL" clId="{6ECD27E6-B224-41CD-B4E0-E297462320DD}" dt="2023-11-24T08:43:44.604" v="53260"/>
          <ac:spMkLst>
            <pc:docMk/>
            <pc:sldMk cId="3795759164" sldId="691"/>
            <ac:spMk id="349" creationId="{D66482CD-669C-3D29-1844-6110FEFD0C0F}"/>
          </ac:spMkLst>
        </pc:spChg>
        <pc:spChg chg="add del mod">
          <ac:chgData name="Steiner Andreas 6206 ED" userId="e6377c33-a923-4f14-8587-531c474c7b48" providerId="ADAL" clId="{6ECD27E6-B224-41CD-B4E0-E297462320DD}" dt="2023-11-24T08:43:46.386" v="53415"/>
          <ac:spMkLst>
            <pc:docMk/>
            <pc:sldMk cId="3795759164" sldId="691"/>
            <ac:spMk id="350" creationId="{EADE5B90-4CEB-C479-FD28-681B10039B6F}"/>
          </ac:spMkLst>
        </pc:spChg>
        <pc:spChg chg="add del mod">
          <ac:chgData name="Steiner Andreas 6206 ED" userId="e6377c33-a923-4f14-8587-531c474c7b48" providerId="ADAL" clId="{6ECD27E6-B224-41CD-B4E0-E297462320DD}" dt="2023-11-24T08:43:48.335" v="53570"/>
          <ac:spMkLst>
            <pc:docMk/>
            <pc:sldMk cId="3795759164" sldId="691"/>
            <ac:spMk id="351" creationId="{0E165A48-4610-64F2-9283-764A46CEDB00}"/>
          </ac:spMkLst>
        </pc:spChg>
        <pc:spChg chg="add del mod">
          <ac:chgData name="Steiner Andreas 6206 ED" userId="e6377c33-a923-4f14-8587-531c474c7b48" providerId="ADAL" clId="{6ECD27E6-B224-41CD-B4E0-E297462320DD}" dt="2023-11-24T08:43:50.300" v="53725"/>
          <ac:spMkLst>
            <pc:docMk/>
            <pc:sldMk cId="3795759164" sldId="691"/>
            <ac:spMk id="352" creationId="{BD2714B2-7058-A51C-E78A-E51F664DD27B}"/>
          </ac:spMkLst>
        </pc:spChg>
        <pc:spChg chg="add del mod">
          <ac:chgData name="Steiner Andreas 6206 ED" userId="e6377c33-a923-4f14-8587-531c474c7b48" providerId="ADAL" clId="{6ECD27E6-B224-41CD-B4E0-E297462320DD}" dt="2023-11-24T08:43:52.442" v="53880"/>
          <ac:spMkLst>
            <pc:docMk/>
            <pc:sldMk cId="3795759164" sldId="691"/>
            <ac:spMk id="353" creationId="{FBAD2854-319F-4B56-4963-7FEC60048807}"/>
          </ac:spMkLst>
        </pc:spChg>
        <pc:spChg chg="add del mod">
          <ac:chgData name="Steiner Andreas 6206 ED" userId="e6377c33-a923-4f14-8587-531c474c7b48" providerId="ADAL" clId="{6ECD27E6-B224-41CD-B4E0-E297462320DD}" dt="2023-11-24T08:43:55.109" v="54035"/>
          <ac:spMkLst>
            <pc:docMk/>
            <pc:sldMk cId="3795759164" sldId="691"/>
            <ac:spMk id="354" creationId="{3C42AA22-47F7-3C3F-1210-83C728996F43}"/>
          </ac:spMkLst>
        </pc:spChg>
        <pc:spChg chg="add del mod">
          <ac:chgData name="Steiner Andreas 6206 ED" userId="e6377c33-a923-4f14-8587-531c474c7b48" providerId="ADAL" clId="{6ECD27E6-B224-41CD-B4E0-E297462320DD}" dt="2023-11-24T08:43:57.162" v="54190"/>
          <ac:spMkLst>
            <pc:docMk/>
            <pc:sldMk cId="3795759164" sldId="691"/>
            <ac:spMk id="355" creationId="{A0B32E25-BCAA-096E-6B23-E6CBCCE33A38}"/>
          </ac:spMkLst>
        </pc:spChg>
        <pc:spChg chg="add del mod">
          <ac:chgData name="Steiner Andreas 6206 ED" userId="e6377c33-a923-4f14-8587-531c474c7b48" providerId="ADAL" clId="{6ECD27E6-B224-41CD-B4E0-E297462320DD}" dt="2023-11-24T08:43:59.326" v="54345"/>
          <ac:spMkLst>
            <pc:docMk/>
            <pc:sldMk cId="3795759164" sldId="691"/>
            <ac:spMk id="356" creationId="{E25CB04C-5B69-93BE-D2E1-739CAB98152A}"/>
          </ac:spMkLst>
        </pc:spChg>
        <pc:spChg chg="add del mod">
          <ac:chgData name="Steiner Andreas 6206 ED" userId="e6377c33-a923-4f14-8587-531c474c7b48" providerId="ADAL" clId="{6ECD27E6-B224-41CD-B4E0-E297462320DD}" dt="2023-11-24T08:44:01.602" v="54500"/>
          <ac:spMkLst>
            <pc:docMk/>
            <pc:sldMk cId="3795759164" sldId="691"/>
            <ac:spMk id="357" creationId="{B29F704B-156E-44BE-44FE-9FAD31908EE5}"/>
          </ac:spMkLst>
        </pc:spChg>
        <pc:spChg chg="add del mod">
          <ac:chgData name="Steiner Andreas 6206 ED" userId="e6377c33-a923-4f14-8587-531c474c7b48" providerId="ADAL" clId="{6ECD27E6-B224-41CD-B4E0-E297462320DD}" dt="2023-11-24T08:44:03.741" v="54655"/>
          <ac:spMkLst>
            <pc:docMk/>
            <pc:sldMk cId="3795759164" sldId="691"/>
            <ac:spMk id="358" creationId="{D2140565-1EB4-F654-27EF-6D668C93A74D}"/>
          </ac:spMkLst>
        </pc:spChg>
        <pc:spChg chg="add del mod">
          <ac:chgData name="Steiner Andreas 6206 ED" userId="e6377c33-a923-4f14-8587-531c474c7b48" providerId="ADAL" clId="{6ECD27E6-B224-41CD-B4E0-E297462320DD}" dt="2023-11-24T08:44:05.838" v="54810"/>
          <ac:spMkLst>
            <pc:docMk/>
            <pc:sldMk cId="3795759164" sldId="691"/>
            <ac:spMk id="359" creationId="{F4192C95-FAD9-6783-D77D-85C770CBFCB7}"/>
          </ac:spMkLst>
        </pc:spChg>
        <pc:spChg chg="add del mod">
          <ac:chgData name="Steiner Andreas 6206 ED" userId="e6377c33-a923-4f14-8587-531c474c7b48" providerId="ADAL" clId="{6ECD27E6-B224-41CD-B4E0-E297462320DD}" dt="2023-11-24T08:44:07.817" v="54965"/>
          <ac:spMkLst>
            <pc:docMk/>
            <pc:sldMk cId="3795759164" sldId="691"/>
            <ac:spMk id="360" creationId="{6F68A8A9-70C1-4B1E-27FC-599258B0CDA3}"/>
          </ac:spMkLst>
        </pc:spChg>
        <pc:spChg chg="add del mod">
          <ac:chgData name="Steiner Andreas 6206 ED" userId="e6377c33-a923-4f14-8587-531c474c7b48" providerId="ADAL" clId="{6ECD27E6-B224-41CD-B4E0-E297462320DD}" dt="2023-11-24T08:44:09.803" v="55120"/>
          <ac:spMkLst>
            <pc:docMk/>
            <pc:sldMk cId="3795759164" sldId="691"/>
            <ac:spMk id="361" creationId="{521BABEC-2050-3F32-1072-D9175731978A}"/>
          </ac:spMkLst>
        </pc:spChg>
        <pc:spChg chg="add del mod">
          <ac:chgData name="Steiner Andreas 6206 ED" userId="e6377c33-a923-4f14-8587-531c474c7b48" providerId="ADAL" clId="{6ECD27E6-B224-41CD-B4E0-E297462320DD}" dt="2023-11-24T08:44:11.794" v="55275"/>
          <ac:spMkLst>
            <pc:docMk/>
            <pc:sldMk cId="3795759164" sldId="691"/>
            <ac:spMk id="362" creationId="{CCA960F1-321F-585D-AE50-E6930E01CBBC}"/>
          </ac:spMkLst>
        </pc:spChg>
        <pc:spChg chg="add del mod">
          <ac:chgData name="Steiner Andreas 6206 ED" userId="e6377c33-a923-4f14-8587-531c474c7b48" providerId="ADAL" clId="{6ECD27E6-B224-41CD-B4E0-E297462320DD}" dt="2023-11-24T08:44:13.954" v="55430"/>
          <ac:spMkLst>
            <pc:docMk/>
            <pc:sldMk cId="3795759164" sldId="691"/>
            <ac:spMk id="363" creationId="{A4AB5292-6FDA-3EA6-BF2A-7D6C95D227E5}"/>
          </ac:spMkLst>
        </pc:spChg>
        <pc:spChg chg="add del mod">
          <ac:chgData name="Steiner Andreas 6206 ED" userId="e6377c33-a923-4f14-8587-531c474c7b48" providerId="ADAL" clId="{6ECD27E6-B224-41CD-B4E0-E297462320DD}" dt="2023-11-24T08:44:16.041" v="55585"/>
          <ac:spMkLst>
            <pc:docMk/>
            <pc:sldMk cId="3795759164" sldId="691"/>
            <ac:spMk id="364" creationId="{CE98BB5C-F599-92AA-3F07-E294171E8A3E}"/>
          </ac:spMkLst>
        </pc:spChg>
        <pc:spChg chg="add del mod">
          <ac:chgData name="Steiner Andreas 6206 ED" userId="e6377c33-a923-4f14-8587-531c474c7b48" providerId="ADAL" clId="{6ECD27E6-B224-41CD-B4E0-E297462320DD}" dt="2023-11-24T08:44:18.490" v="55740"/>
          <ac:spMkLst>
            <pc:docMk/>
            <pc:sldMk cId="3795759164" sldId="691"/>
            <ac:spMk id="365" creationId="{72BAA074-219C-39BE-F828-BDFF13BD2FD0}"/>
          </ac:spMkLst>
        </pc:spChg>
        <pc:spChg chg="add del mod">
          <ac:chgData name="Steiner Andreas 6206 ED" userId="e6377c33-a923-4f14-8587-531c474c7b48" providerId="ADAL" clId="{6ECD27E6-B224-41CD-B4E0-E297462320DD}" dt="2023-11-24T08:44:21.332" v="55895"/>
          <ac:spMkLst>
            <pc:docMk/>
            <pc:sldMk cId="3795759164" sldId="691"/>
            <ac:spMk id="366" creationId="{C8699710-EFC6-F750-EF98-4FF1577AD291}"/>
          </ac:spMkLst>
        </pc:spChg>
        <pc:spChg chg="add del mod">
          <ac:chgData name="Steiner Andreas 6206 ED" userId="e6377c33-a923-4f14-8587-531c474c7b48" providerId="ADAL" clId="{6ECD27E6-B224-41CD-B4E0-E297462320DD}" dt="2023-11-24T08:44:23.748" v="56050"/>
          <ac:spMkLst>
            <pc:docMk/>
            <pc:sldMk cId="3795759164" sldId="691"/>
            <ac:spMk id="367" creationId="{51725795-FAC6-D238-3309-B615CE92D129}"/>
          </ac:spMkLst>
        </pc:spChg>
        <pc:spChg chg="add del mod">
          <ac:chgData name="Steiner Andreas 6206 ED" userId="e6377c33-a923-4f14-8587-531c474c7b48" providerId="ADAL" clId="{6ECD27E6-B224-41CD-B4E0-E297462320DD}" dt="2023-11-24T08:44:25.680" v="56205"/>
          <ac:spMkLst>
            <pc:docMk/>
            <pc:sldMk cId="3795759164" sldId="691"/>
            <ac:spMk id="368" creationId="{8DC2B5B2-CCDE-3005-B6AA-831D4DF71A3A}"/>
          </ac:spMkLst>
        </pc:spChg>
        <pc:spChg chg="add del mod">
          <ac:chgData name="Steiner Andreas 6206 ED" userId="e6377c33-a923-4f14-8587-531c474c7b48" providerId="ADAL" clId="{6ECD27E6-B224-41CD-B4E0-E297462320DD}" dt="2023-11-24T08:44:27.865" v="56360"/>
          <ac:spMkLst>
            <pc:docMk/>
            <pc:sldMk cId="3795759164" sldId="691"/>
            <ac:spMk id="369" creationId="{926BFA61-5CBB-79FA-0A6D-9CE5A8E2E9F7}"/>
          </ac:spMkLst>
        </pc:spChg>
        <pc:spChg chg="add del mod">
          <ac:chgData name="Steiner Andreas 6206 ED" userId="e6377c33-a923-4f14-8587-531c474c7b48" providerId="ADAL" clId="{6ECD27E6-B224-41CD-B4E0-E297462320DD}" dt="2023-11-24T08:44:29.874" v="56515"/>
          <ac:spMkLst>
            <pc:docMk/>
            <pc:sldMk cId="3795759164" sldId="691"/>
            <ac:spMk id="370" creationId="{A5E070BD-1182-8741-BF48-882ADB1434C7}"/>
          </ac:spMkLst>
        </pc:spChg>
        <pc:spChg chg="add del mod">
          <ac:chgData name="Steiner Andreas 6206 ED" userId="e6377c33-a923-4f14-8587-531c474c7b48" providerId="ADAL" clId="{6ECD27E6-B224-41CD-B4E0-E297462320DD}" dt="2023-11-24T08:44:31.854" v="56670"/>
          <ac:spMkLst>
            <pc:docMk/>
            <pc:sldMk cId="3795759164" sldId="691"/>
            <ac:spMk id="371" creationId="{A50E999A-A5B1-0FA0-3C6B-3EE0489E4C28}"/>
          </ac:spMkLst>
        </pc:spChg>
        <pc:spChg chg="add del mod">
          <ac:chgData name="Steiner Andreas 6206 ED" userId="e6377c33-a923-4f14-8587-531c474c7b48" providerId="ADAL" clId="{6ECD27E6-B224-41CD-B4E0-E297462320DD}" dt="2023-11-24T08:44:33.812" v="56825"/>
          <ac:spMkLst>
            <pc:docMk/>
            <pc:sldMk cId="3795759164" sldId="691"/>
            <ac:spMk id="372" creationId="{768DDF51-487A-C66A-7DA7-41B34C3002C2}"/>
          </ac:spMkLst>
        </pc:spChg>
        <pc:spChg chg="add del mod">
          <ac:chgData name="Steiner Andreas 6206 ED" userId="e6377c33-a923-4f14-8587-531c474c7b48" providerId="ADAL" clId="{6ECD27E6-B224-41CD-B4E0-E297462320DD}" dt="2023-11-24T08:44:36.204" v="56980"/>
          <ac:spMkLst>
            <pc:docMk/>
            <pc:sldMk cId="3795759164" sldId="691"/>
            <ac:spMk id="373" creationId="{24EA4051-0793-BCC2-F1CE-70B7A3A24BBD}"/>
          </ac:spMkLst>
        </pc:spChg>
        <pc:spChg chg="add del mod">
          <ac:chgData name="Steiner Andreas 6206 ED" userId="e6377c33-a923-4f14-8587-531c474c7b48" providerId="ADAL" clId="{6ECD27E6-B224-41CD-B4E0-E297462320DD}" dt="2023-11-24T08:44:38.815" v="57135"/>
          <ac:spMkLst>
            <pc:docMk/>
            <pc:sldMk cId="3795759164" sldId="691"/>
            <ac:spMk id="374" creationId="{CE55BC39-16D4-F0A2-769B-C76180A8C1E4}"/>
          </ac:spMkLst>
        </pc:spChg>
        <pc:spChg chg="add del mod">
          <ac:chgData name="Steiner Andreas 6206 ED" userId="e6377c33-a923-4f14-8587-531c474c7b48" providerId="ADAL" clId="{6ECD27E6-B224-41CD-B4E0-E297462320DD}" dt="2023-11-24T08:44:41.123" v="57290"/>
          <ac:spMkLst>
            <pc:docMk/>
            <pc:sldMk cId="3795759164" sldId="691"/>
            <ac:spMk id="375" creationId="{22271888-137A-A01D-DF1D-9E44D710C8F5}"/>
          </ac:spMkLst>
        </pc:spChg>
        <pc:spChg chg="add del mod">
          <ac:chgData name="Steiner Andreas 6206 ED" userId="e6377c33-a923-4f14-8587-531c474c7b48" providerId="ADAL" clId="{6ECD27E6-B224-41CD-B4E0-E297462320DD}" dt="2023-11-24T08:44:43.344" v="57445"/>
          <ac:spMkLst>
            <pc:docMk/>
            <pc:sldMk cId="3795759164" sldId="691"/>
            <ac:spMk id="376" creationId="{0AC60CDF-C8F9-5CE5-1FCA-29893EF291FF}"/>
          </ac:spMkLst>
        </pc:spChg>
        <pc:spChg chg="add del mod">
          <ac:chgData name="Steiner Andreas 6206 ED" userId="e6377c33-a923-4f14-8587-531c474c7b48" providerId="ADAL" clId="{6ECD27E6-B224-41CD-B4E0-E297462320DD}" dt="2023-11-24T08:44:45.495" v="57600"/>
          <ac:spMkLst>
            <pc:docMk/>
            <pc:sldMk cId="3795759164" sldId="691"/>
            <ac:spMk id="377" creationId="{80BE4390-E91F-04E9-E664-7D400A3865D5}"/>
          </ac:spMkLst>
        </pc:spChg>
        <pc:spChg chg="add del mod">
          <ac:chgData name="Steiner Andreas 6206 ED" userId="e6377c33-a923-4f14-8587-531c474c7b48" providerId="ADAL" clId="{6ECD27E6-B224-41CD-B4E0-E297462320DD}" dt="2023-11-24T08:44:48.239" v="57755"/>
          <ac:spMkLst>
            <pc:docMk/>
            <pc:sldMk cId="3795759164" sldId="691"/>
            <ac:spMk id="378" creationId="{6B2B0DB2-9747-420C-2095-733ABDF3CD66}"/>
          </ac:spMkLst>
        </pc:spChg>
        <pc:spChg chg="add del mod">
          <ac:chgData name="Steiner Andreas 6206 ED" userId="e6377c33-a923-4f14-8587-531c474c7b48" providerId="ADAL" clId="{6ECD27E6-B224-41CD-B4E0-E297462320DD}" dt="2023-11-24T08:44:50.503" v="57910"/>
          <ac:spMkLst>
            <pc:docMk/>
            <pc:sldMk cId="3795759164" sldId="691"/>
            <ac:spMk id="379" creationId="{81447F52-2CBF-D30A-F7B2-F377BF4EFCFC}"/>
          </ac:spMkLst>
        </pc:spChg>
        <pc:spChg chg="add del mod">
          <ac:chgData name="Steiner Andreas 6206 ED" userId="e6377c33-a923-4f14-8587-531c474c7b48" providerId="ADAL" clId="{6ECD27E6-B224-41CD-B4E0-E297462320DD}" dt="2023-11-24T08:44:52.649" v="58065"/>
          <ac:spMkLst>
            <pc:docMk/>
            <pc:sldMk cId="3795759164" sldId="691"/>
            <ac:spMk id="380" creationId="{9BC726ED-738A-3033-C530-CB0BD6CD5796}"/>
          </ac:spMkLst>
        </pc:spChg>
        <pc:spChg chg="add del mod">
          <ac:chgData name="Steiner Andreas 6206 ED" userId="e6377c33-a923-4f14-8587-531c474c7b48" providerId="ADAL" clId="{6ECD27E6-B224-41CD-B4E0-E297462320DD}" dt="2023-11-24T08:44:54.843" v="58220"/>
          <ac:spMkLst>
            <pc:docMk/>
            <pc:sldMk cId="3795759164" sldId="691"/>
            <ac:spMk id="381" creationId="{9F9349BB-F81C-4CFE-84B6-2462DC02FABB}"/>
          </ac:spMkLst>
        </pc:spChg>
        <pc:spChg chg="add del mod">
          <ac:chgData name="Steiner Andreas 6206 ED" userId="e6377c33-a923-4f14-8587-531c474c7b48" providerId="ADAL" clId="{6ECD27E6-B224-41CD-B4E0-E297462320DD}" dt="2023-11-24T08:44:56.863" v="58375"/>
          <ac:spMkLst>
            <pc:docMk/>
            <pc:sldMk cId="3795759164" sldId="691"/>
            <ac:spMk id="382" creationId="{A30E90C1-D929-DD48-92FF-2CC0B926744A}"/>
          </ac:spMkLst>
        </pc:spChg>
        <pc:spChg chg="add del mod">
          <ac:chgData name="Steiner Andreas 6206 ED" userId="e6377c33-a923-4f14-8587-531c474c7b48" providerId="ADAL" clId="{6ECD27E6-B224-41CD-B4E0-E297462320DD}" dt="2023-11-24T08:44:58.797" v="58530"/>
          <ac:spMkLst>
            <pc:docMk/>
            <pc:sldMk cId="3795759164" sldId="691"/>
            <ac:spMk id="383" creationId="{5A3CF669-5EBD-C2FB-9E50-E49F018411D0}"/>
          </ac:spMkLst>
        </pc:spChg>
        <pc:spChg chg="add del mod">
          <ac:chgData name="Steiner Andreas 6206 ED" userId="e6377c33-a923-4f14-8587-531c474c7b48" providerId="ADAL" clId="{6ECD27E6-B224-41CD-B4E0-E297462320DD}" dt="2023-11-24T08:45:00.958" v="58685"/>
          <ac:spMkLst>
            <pc:docMk/>
            <pc:sldMk cId="3795759164" sldId="691"/>
            <ac:spMk id="384" creationId="{78725938-13DA-3F81-9B87-2004189C9A48}"/>
          </ac:spMkLst>
        </pc:spChg>
        <pc:spChg chg="add del mod">
          <ac:chgData name="Steiner Andreas 6206 ED" userId="e6377c33-a923-4f14-8587-531c474c7b48" providerId="ADAL" clId="{6ECD27E6-B224-41CD-B4E0-E297462320DD}" dt="2023-11-24T08:45:02.879" v="58840"/>
          <ac:spMkLst>
            <pc:docMk/>
            <pc:sldMk cId="3795759164" sldId="691"/>
            <ac:spMk id="385" creationId="{1B2F54E7-6B63-46BB-A17E-2979EA33E725}"/>
          </ac:spMkLst>
        </pc:spChg>
        <pc:spChg chg="add del mod">
          <ac:chgData name="Steiner Andreas 6206 ED" userId="e6377c33-a923-4f14-8587-531c474c7b48" providerId="ADAL" clId="{6ECD27E6-B224-41CD-B4E0-E297462320DD}" dt="2023-11-24T08:45:04.729" v="58995"/>
          <ac:spMkLst>
            <pc:docMk/>
            <pc:sldMk cId="3795759164" sldId="691"/>
            <ac:spMk id="386" creationId="{A2AE373E-8EBE-F2AA-6C27-EB0F0275A401}"/>
          </ac:spMkLst>
        </pc:spChg>
        <pc:spChg chg="add del mod">
          <ac:chgData name="Steiner Andreas 6206 ED" userId="e6377c33-a923-4f14-8587-531c474c7b48" providerId="ADAL" clId="{6ECD27E6-B224-41CD-B4E0-E297462320DD}" dt="2023-11-24T08:45:06.587" v="59150"/>
          <ac:spMkLst>
            <pc:docMk/>
            <pc:sldMk cId="3795759164" sldId="691"/>
            <ac:spMk id="387" creationId="{AC0D4AFD-5909-8033-322B-FE18138A8BDB}"/>
          </ac:spMkLst>
        </pc:spChg>
        <pc:spChg chg="add del mod">
          <ac:chgData name="Steiner Andreas 6206 ED" userId="e6377c33-a923-4f14-8587-531c474c7b48" providerId="ADAL" clId="{6ECD27E6-B224-41CD-B4E0-E297462320DD}" dt="2023-11-24T08:45:08.422" v="59305"/>
          <ac:spMkLst>
            <pc:docMk/>
            <pc:sldMk cId="3795759164" sldId="691"/>
            <ac:spMk id="388" creationId="{5925556F-CE30-EE65-876C-A7F47D29B597}"/>
          </ac:spMkLst>
        </pc:spChg>
        <pc:spChg chg="add del mod">
          <ac:chgData name="Steiner Andreas 6206 ED" userId="e6377c33-a923-4f14-8587-531c474c7b48" providerId="ADAL" clId="{6ECD27E6-B224-41CD-B4E0-E297462320DD}" dt="2023-11-24T08:45:10.231" v="59460"/>
          <ac:spMkLst>
            <pc:docMk/>
            <pc:sldMk cId="3795759164" sldId="691"/>
            <ac:spMk id="389" creationId="{664FE6D1-8523-1ACE-6D22-30C60098E7B1}"/>
          </ac:spMkLst>
        </pc:spChg>
        <pc:spChg chg="add del mod">
          <ac:chgData name="Steiner Andreas 6206 ED" userId="e6377c33-a923-4f14-8587-531c474c7b48" providerId="ADAL" clId="{6ECD27E6-B224-41CD-B4E0-E297462320DD}" dt="2023-11-24T08:45:12.313" v="59615"/>
          <ac:spMkLst>
            <pc:docMk/>
            <pc:sldMk cId="3795759164" sldId="691"/>
            <ac:spMk id="390" creationId="{BE974461-95AA-5ECD-BE85-21E32D6E6B77}"/>
          </ac:spMkLst>
        </pc:spChg>
        <pc:spChg chg="add del mod">
          <ac:chgData name="Steiner Andreas 6206 ED" userId="e6377c33-a923-4f14-8587-531c474c7b48" providerId="ADAL" clId="{6ECD27E6-B224-41CD-B4E0-E297462320DD}" dt="2023-11-24T08:45:14.246" v="59770"/>
          <ac:spMkLst>
            <pc:docMk/>
            <pc:sldMk cId="3795759164" sldId="691"/>
            <ac:spMk id="391" creationId="{DC2B5BAF-CC5A-7CA6-5658-17BC1A5E1432}"/>
          </ac:spMkLst>
        </pc:spChg>
        <pc:spChg chg="add del mod">
          <ac:chgData name="Steiner Andreas 6206 ED" userId="e6377c33-a923-4f14-8587-531c474c7b48" providerId="ADAL" clId="{6ECD27E6-B224-41CD-B4E0-E297462320DD}" dt="2023-11-24T08:45:16.317" v="59925"/>
          <ac:spMkLst>
            <pc:docMk/>
            <pc:sldMk cId="3795759164" sldId="691"/>
            <ac:spMk id="392" creationId="{D56ABEAF-7711-BEB8-7180-A84E0335A463}"/>
          </ac:spMkLst>
        </pc:spChg>
        <pc:spChg chg="add del mod">
          <ac:chgData name="Steiner Andreas 6206 ED" userId="e6377c33-a923-4f14-8587-531c474c7b48" providerId="ADAL" clId="{6ECD27E6-B224-41CD-B4E0-E297462320DD}" dt="2023-11-24T08:45:18.259" v="60080"/>
          <ac:spMkLst>
            <pc:docMk/>
            <pc:sldMk cId="3795759164" sldId="691"/>
            <ac:spMk id="393" creationId="{BAC81380-0D13-AD13-8B13-CA2B213CBB01}"/>
          </ac:spMkLst>
        </pc:spChg>
        <pc:spChg chg="add del mod">
          <ac:chgData name="Steiner Andreas 6206 ED" userId="e6377c33-a923-4f14-8587-531c474c7b48" providerId="ADAL" clId="{6ECD27E6-B224-41CD-B4E0-E297462320DD}" dt="2023-11-24T08:45:20.155" v="60235"/>
          <ac:spMkLst>
            <pc:docMk/>
            <pc:sldMk cId="3795759164" sldId="691"/>
            <ac:spMk id="394" creationId="{85ECB10F-B339-5708-67F9-D43D3E7B1F0E}"/>
          </ac:spMkLst>
        </pc:spChg>
        <pc:spChg chg="add del mod">
          <ac:chgData name="Steiner Andreas 6206 ED" userId="e6377c33-a923-4f14-8587-531c474c7b48" providerId="ADAL" clId="{6ECD27E6-B224-41CD-B4E0-E297462320DD}" dt="2023-11-24T08:45:22.297" v="60390"/>
          <ac:spMkLst>
            <pc:docMk/>
            <pc:sldMk cId="3795759164" sldId="691"/>
            <ac:spMk id="395" creationId="{2061A16F-3F9E-F8BE-35CA-A4F34104C7F5}"/>
          </ac:spMkLst>
        </pc:spChg>
        <pc:spChg chg="add del mod">
          <ac:chgData name="Steiner Andreas 6206 ED" userId="e6377c33-a923-4f14-8587-531c474c7b48" providerId="ADAL" clId="{6ECD27E6-B224-41CD-B4E0-E297462320DD}" dt="2023-11-24T08:45:24.500" v="60545"/>
          <ac:spMkLst>
            <pc:docMk/>
            <pc:sldMk cId="3795759164" sldId="691"/>
            <ac:spMk id="396" creationId="{D5971D96-9491-8190-FA22-57A7FEEC1C7C}"/>
          </ac:spMkLst>
        </pc:spChg>
        <pc:spChg chg="add del mod">
          <ac:chgData name="Steiner Andreas 6206 ED" userId="e6377c33-a923-4f14-8587-531c474c7b48" providerId="ADAL" clId="{6ECD27E6-B224-41CD-B4E0-E297462320DD}" dt="2023-11-24T08:45:26.464" v="60700"/>
          <ac:spMkLst>
            <pc:docMk/>
            <pc:sldMk cId="3795759164" sldId="691"/>
            <ac:spMk id="397" creationId="{0E05BC7B-503A-E02F-4F2E-CDE9743557C7}"/>
          </ac:spMkLst>
        </pc:spChg>
        <pc:spChg chg="add del mod">
          <ac:chgData name="Steiner Andreas 6206 ED" userId="e6377c33-a923-4f14-8587-531c474c7b48" providerId="ADAL" clId="{6ECD27E6-B224-41CD-B4E0-E297462320DD}" dt="2023-11-24T08:45:28.357" v="60855"/>
          <ac:spMkLst>
            <pc:docMk/>
            <pc:sldMk cId="3795759164" sldId="691"/>
            <ac:spMk id="398" creationId="{19901A9E-90B7-0429-A32E-008FD906DC4A}"/>
          </ac:spMkLst>
        </pc:spChg>
        <pc:spChg chg="add del mod">
          <ac:chgData name="Steiner Andreas 6206 ED" userId="e6377c33-a923-4f14-8587-531c474c7b48" providerId="ADAL" clId="{6ECD27E6-B224-41CD-B4E0-E297462320DD}" dt="2023-11-24T08:45:30.180" v="61010"/>
          <ac:spMkLst>
            <pc:docMk/>
            <pc:sldMk cId="3795759164" sldId="691"/>
            <ac:spMk id="399" creationId="{A5B5B7AE-5B8F-960E-F924-AD4E050CF495}"/>
          </ac:spMkLst>
        </pc:spChg>
        <pc:spChg chg="add del mod">
          <ac:chgData name="Steiner Andreas 6206 ED" userId="e6377c33-a923-4f14-8587-531c474c7b48" providerId="ADAL" clId="{6ECD27E6-B224-41CD-B4E0-E297462320DD}" dt="2023-11-24T08:45:32.053" v="61165"/>
          <ac:spMkLst>
            <pc:docMk/>
            <pc:sldMk cId="3795759164" sldId="691"/>
            <ac:spMk id="400" creationId="{44E6CF4E-F07F-1733-919D-EEA83D8B9767}"/>
          </ac:spMkLst>
        </pc:spChg>
        <pc:spChg chg="add del mod">
          <ac:chgData name="Steiner Andreas 6206 ED" userId="e6377c33-a923-4f14-8587-531c474c7b48" providerId="ADAL" clId="{6ECD27E6-B224-41CD-B4E0-E297462320DD}" dt="2023-11-24T08:45:34.177" v="61320"/>
          <ac:spMkLst>
            <pc:docMk/>
            <pc:sldMk cId="3795759164" sldId="691"/>
            <ac:spMk id="401" creationId="{205536CC-6D63-685C-E608-C4137DB50954}"/>
          </ac:spMkLst>
        </pc:spChg>
        <pc:spChg chg="add del mod">
          <ac:chgData name="Steiner Andreas 6206 ED" userId="e6377c33-a923-4f14-8587-531c474c7b48" providerId="ADAL" clId="{6ECD27E6-B224-41CD-B4E0-E297462320DD}" dt="2023-11-24T08:45:36.233" v="61475"/>
          <ac:spMkLst>
            <pc:docMk/>
            <pc:sldMk cId="3795759164" sldId="691"/>
            <ac:spMk id="402" creationId="{46D10AAF-10B8-EF58-8CAB-C5FC5F70E394}"/>
          </ac:spMkLst>
        </pc:spChg>
        <pc:spChg chg="add del mod">
          <ac:chgData name="Steiner Andreas 6206 ED" userId="e6377c33-a923-4f14-8587-531c474c7b48" providerId="ADAL" clId="{6ECD27E6-B224-41CD-B4E0-E297462320DD}" dt="2023-11-24T08:45:38.122" v="61630"/>
          <ac:spMkLst>
            <pc:docMk/>
            <pc:sldMk cId="3795759164" sldId="691"/>
            <ac:spMk id="403" creationId="{CA1E1614-19A3-676A-6AB1-78FB6A065568}"/>
          </ac:spMkLst>
        </pc:spChg>
        <pc:spChg chg="add del mod">
          <ac:chgData name="Steiner Andreas 6206 ED" userId="e6377c33-a923-4f14-8587-531c474c7b48" providerId="ADAL" clId="{6ECD27E6-B224-41CD-B4E0-E297462320DD}" dt="2023-11-24T08:45:40.001" v="61785"/>
          <ac:spMkLst>
            <pc:docMk/>
            <pc:sldMk cId="3795759164" sldId="691"/>
            <ac:spMk id="404" creationId="{743AD7F8-C1A3-F92C-3B73-77492DC4C618}"/>
          </ac:spMkLst>
        </pc:spChg>
        <pc:spChg chg="add del mod">
          <ac:chgData name="Steiner Andreas 6206 ED" userId="e6377c33-a923-4f14-8587-531c474c7b48" providerId="ADAL" clId="{6ECD27E6-B224-41CD-B4E0-E297462320DD}" dt="2023-11-24T08:45:42.009" v="61940"/>
          <ac:spMkLst>
            <pc:docMk/>
            <pc:sldMk cId="3795759164" sldId="691"/>
            <ac:spMk id="405" creationId="{612B3C25-7A85-B124-D39F-78ACF056D621}"/>
          </ac:spMkLst>
        </pc:spChg>
        <pc:spChg chg="add del mod">
          <ac:chgData name="Steiner Andreas 6206 ED" userId="e6377c33-a923-4f14-8587-531c474c7b48" providerId="ADAL" clId="{6ECD27E6-B224-41CD-B4E0-E297462320DD}" dt="2023-11-24T08:45:43.995" v="62095"/>
          <ac:spMkLst>
            <pc:docMk/>
            <pc:sldMk cId="3795759164" sldId="691"/>
            <ac:spMk id="406" creationId="{6D1AA8B3-5C1D-8C80-C9C5-DB19BD2CB697}"/>
          </ac:spMkLst>
        </pc:spChg>
        <pc:spChg chg="add del mod">
          <ac:chgData name="Steiner Andreas 6206 ED" userId="e6377c33-a923-4f14-8587-531c474c7b48" providerId="ADAL" clId="{6ECD27E6-B224-41CD-B4E0-E297462320DD}" dt="2023-11-24T08:45:46.101" v="62250"/>
          <ac:spMkLst>
            <pc:docMk/>
            <pc:sldMk cId="3795759164" sldId="691"/>
            <ac:spMk id="407" creationId="{DB85CD44-3DCB-2533-DEF8-0F4E18F78FB7}"/>
          </ac:spMkLst>
        </pc:spChg>
        <pc:spChg chg="add del mod">
          <ac:chgData name="Steiner Andreas 6206 ED" userId="e6377c33-a923-4f14-8587-531c474c7b48" providerId="ADAL" clId="{6ECD27E6-B224-41CD-B4E0-E297462320DD}" dt="2023-11-24T08:45:48.004" v="62405"/>
          <ac:spMkLst>
            <pc:docMk/>
            <pc:sldMk cId="3795759164" sldId="691"/>
            <ac:spMk id="408" creationId="{81402269-5148-5B90-6C79-6503EB402F82}"/>
          </ac:spMkLst>
        </pc:spChg>
        <pc:spChg chg="add del mod">
          <ac:chgData name="Steiner Andreas 6206 ED" userId="e6377c33-a923-4f14-8587-531c474c7b48" providerId="ADAL" clId="{6ECD27E6-B224-41CD-B4E0-E297462320DD}" dt="2023-11-24T08:45:50.319" v="62560"/>
          <ac:spMkLst>
            <pc:docMk/>
            <pc:sldMk cId="3795759164" sldId="691"/>
            <ac:spMk id="409" creationId="{15799702-E05B-AA6D-6A9F-7367A2534C9E}"/>
          </ac:spMkLst>
        </pc:spChg>
        <pc:spChg chg="add del mod">
          <ac:chgData name="Steiner Andreas 6206 ED" userId="e6377c33-a923-4f14-8587-531c474c7b48" providerId="ADAL" clId="{6ECD27E6-B224-41CD-B4E0-E297462320DD}" dt="2023-11-24T08:45:52.351" v="62715"/>
          <ac:spMkLst>
            <pc:docMk/>
            <pc:sldMk cId="3795759164" sldId="691"/>
            <ac:spMk id="410" creationId="{2151877F-250D-AB0F-8DF3-EF20314BD38A}"/>
          </ac:spMkLst>
        </pc:spChg>
        <pc:spChg chg="add del mod">
          <ac:chgData name="Steiner Andreas 6206 ED" userId="e6377c33-a923-4f14-8587-531c474c7b48" providerId="ADAL" clId="{6ECD27E6-B224-41CD-B4E0-E297462320DD}" dt="2023-11-24T08:45:54.373" v="62870"/>
          <ac:spMkLst>
            <pc:docMk/>
            <pc:sldMk cId="3795759164" sldId="691"/>
            <ac:spMk id="411" creationId="{8A50617C-8972-1E84-67A2-211E0812934F}"/>
          </ac:spMkLst>
        </pc:spChg>
        <pc:spChg chg="add del mod">
          <ac:chgData name="Steiner Andreas 6206 ED" userId="e6377c33-a923-4f14-8587-531c474c7b48" providerId="ADAL" clId="{6ECD27E6-B224-41CD-B4E0-E297462320DD}" dt="2023-11-24T08:45:56.549" v="63025"/>
          <ac:spMkLst>
            <pc:docMk/>
            <pc:sldMk cId="3795759164" sldId="691"/>
            <ac:spMk id="412" creationId="{964A1E37-DE3E-DE9C-5DC8-7AB98C4203E1}"/>
          </ac:spMkLst>
        </pc:spChg>
        <pc:spChg chg="add del mod">
          <ac:chgData name="Steiner Andreas 6206 ED" userId="e6377c33-a923-4f14-8587-531c474c7b48" providerId="ADAL" clId="{6ECD27E6-B224-41CD-B4E0-E297462320DD}" dt="2023-11-24T08:45:58.587" v="63180"/>
          <ac:spMkLst>
            <pc:docMk/>
            <pc:sldMk cId="3795759164" sldId="691"/>
            <ac:spMk id="413" creationId="{142D5139-4BEA-752B-8442-694D4C783A98}"/>
          </ac:spMkLst>
        </pc:spChg>
        <pc:spChg chg="add del mod">
          <ac:chgData name="Steiner Andreas 6206 ED" userId="e6377c33-a923-4f14-8587-531c474c7b48" providerId="ADAL" clId="{6ECD27E6-B224-41CD-B4E0-E297462320DD}" dt="2023-11-24T08:46:00.670" v="63335"/>
          <ac:spMkLst>
            <pc:docMk/>
            <pc:sldMk cId="3795759164" sldId="691"/>
            <ac:spMk id="414" creationId="{E49FFDF3-2E5A-61BA-65C6-3BC0CAEADA9E}"/>
          </ac:spMkLst>
        </pc:spChg>
        <pc:spChg chg="add del mod">
          <ac:chgData name="Steiner Andreas 6206 ED" userId="e6377c33-a923-4f14-8587-531c474c7b48" providerId="ADAL" clId="{6ECD27E6-B224-41CD-B4E0-E297462320DD}" dt="2023-11-24T08:46:02.745" v="63490"/>
          <ac:spMkLst>
            <pc:docMk/>
            <pc:sldMk cId="3795759164" sldId="691"/>
            <ac:spMk id="415" creationId="{E78B8EA4-1410-F899-22D7-B24C97049479}"/>
          </ac:spMkLst>
        </pc:spChg>
        <pc:spChg chg="add del mod">
          <ac:chgData name="Steiner Andreas 6206 ED" userId="e6377c33-a923-4f14-8587-531c474c7b48" providerId="ADAL" clId="{6ECD27E6-B224-41CD-B4E0-E297462320DD}" dt="2023-11-24T08:46:05.119" v="63645"/>
          <ac:spMkLst>
            <pc:docMk/>
            <pc:sldMk cId="3795759164" sldId="691"/>
            <ac:spMk id="416" creationId="{CD4BCC5C-B43A-0EAF-7FD5-FC936A58F467}"/>
          </ac:spMkLst>
        </pc:spChg>
        <pc:spChg chg="add del mod">
          <ac:chgData name="Steiner Andreas 6206 ED" userId="e6377c33-a923-4f14-8587-531c474c7b48" providerId="ADAL" clId="{6ECD27E6-B224-41CD-B4E0-E297462320DD}" dt="2023-11-24T08:46:07.664" v="63800"/>
          <ac:spMkLst>
            <pc:docMk/>
            <pc:sldMk cId="3795759164" sldId="691"/>
            <ac:spMk id="417" creationId="{95349F9F-F549-7536-95FB-1BD8746B9E97}"/>
          </ac:spMkLst>
        </pc:spChg>
        <pc:spChg chg="add del mod">
          <ac:chgData name="Steiner Andreas 6206 ED" userId="e6377c33-a923-4f14-8587-531c474c7b48" providerId="ADAL" clId="{6ECD27E6-B224-41CD-B4E0-E297462320DD}" dt="2023-11-24T08:46:09.862" v="63955"/>
          <ac:spMkLst>
            <pc:docMk/>
            <pc:sldMk cId="3795759164" sldId="691"/>
            <ac:spMk id="418" creationId="{64C35986-3DE6-4365-ECE4-CAB942397A93}"/>
          </ac:spMkLst>
        </pc:spChg>
        <pc:spChg chg="add del mod">
          <ac:chgData name="Steiner Andreas 6206 ED" userId="e6377c33-a923-4f14-8587-531c474c7b48" providerId="ADAL" clId="{6ECD27E6-B224-41CD-B4E0-E297462320DD}" dt="2023-11-24T08:46:12.046" v="64110"/>
          <ac:spMkLst>
            <pc:docMk/>
            <pc:sldMk cId="3795759164" sldId="691"/>
            <ac:spMk id="419" creationId="{B84029A0-9A40-C819-EFC9-784A4660DDF1}"/>
          </ac:spMkLst>
        </pc:spChg>
        <pc:spChg chg="add del mod">
          <ac:chgData name="Steiner Andreas 6206 ED" userId="e6377c33-a923-4f14-8587-531c474c7b48" providerId="ADAL" clId="{6ECD27E6-B224-41CD-B4E0-E297462320DD}" dt="2023-11-24T08:46:14.206" v="64265"/>
          <ac:spMkLst>
            <pc:docMk/>
            <pc:sldMk cId="3795759164" sldId="691"/>
            <ac:spMk id="420" creationId="{2116E7AE-67B3-DEC6-F8D2-CEE57C1B717E}"/>
          </ac:spMkLst>
        </pc:spChg>
        <pc:spChg chg="add del mod">
          <ac:chgData name="Steiner Andreas 6206 ED" userId="e6377c33-a923-4f14-8587-531c474c7b48" providerId="ADAL" clId="{6ECD27E6-B224-41CD-B4E0-E297462320DD}" dt="2023-11-24T08:46:16.431" v="64420"/>
          <ac:spMkLst>
            <pc:docMk/>
            <pc:sldMk cId="3795759164" sldId="691"/>
            <ac:spMk id="421" creationId="{716239E2-B755-32E1-02C2-995630C426FD}"/>
          </ac:spMkLst>
        </pc:spChg>
        <pc:spChg chg="add del mod">
          <ac:chgData name="Steiner Andreas 6206 ED" userId="e6377c33-a923-4f14-8587-531c474c7b48" providerId="ADAL" clId="{6ECD27E6-B224-41CD-B4E0-E297462320DD}" dt="2023-11-24T08:46:18.298" v="64575"/>
          <ac:spMkLst>
            <pc:docMk/>
            <pc:sldMk cId="3795759164" sldId="691"/>
            <ac:spMk id="422" creationId="{EF18FF5F-C805-FD3E-F9FE-AF3268EA4262}"/>
          </ac:spMkLst>
        </pc:spChg>
        <pc:spChg chg="add del mod">
          <ac:chgData name="Steiner Andreas 6206 ED" userId="e6377c33-a923-4f14-8587-531c474c7b48" providerId="ADAL" clId="{6ECD27E6-B224-41CD-B4E0-E297462320DD}" dt="2023-11-24T08:46:20.813" v="64730"/>
          <ac:spMkLst>
            <pc:docMk/>
            <pc:sldMk cId="3795759164" sldId="691"/>
            <ac:spMk id="423" creationId="{0197DC8E-43FB-8577-D703-475D5BBCD36B}"/>
          </ac:spMkLst>
        </pc:spChg>
        <pc:spChg chg="add del mod">
          <ac:chgData name="Steiner Andreas 6206 ED" userId="e6377c33-a923-4f14-8587-531c474c7b48" providerId="ADAL" clId="{6ECD27E6-B224-41CD-B4E0-E297462320DD}" dt="2023-11-24T08:46:23.068" v="64885"/>
          <ac:spMkLst>
            <pc:docMk/>
            <pc:sldMk cId="3795759164" sldId="691"/>
            <ac:spMk id="424" creationId="{CB103BE6-2720-C7BE-E90D-E70F89463ADB}"/>
          </ac:spMkLst>
        </pc:spChg>
        <pc:spChg chg="add del mod">
          <ac:chgData name="Steiner Andreas 6206 ED" userId="e6377c33-a923-4f14-8587-531c474c7b48" providerId="ADAL" clId="{6ECD27E6-B224-41CD-B4E0-E297462320DD}" dt="2023-11-24T08:46:25.337" v="65040"/>
          <ac:spMkLst>
            <pc:docMk/>
            <pc:sldMk cId="3795759164" sldId="691"/>
            <ac:spMk id="425" creationId="{3FF51845-7E29-9F30-0853-47016D940634}"/>
          </ac:spMkLst>
        </pc:spChg>
        <pc:spChg chg="add del mod">
          <ac:chgData name="Steiner Andreas 6206 ED" userId="e6377c33-a923-4f14-8587-531c474c7b48" providerId="ADAL" clId="{6ECD27E6-B224-41CD-B4E0-E297462320DD}" dt="2023-11-24T08:46:27.663" v="65195"/>
          <ac:spMkLst>
            <pc:docMk/>
            <pc:sldMk cId="3795759164" sldId="691"/>
            <ac:spMk id="426" creationId="{BFBC9D54-9A14-34DC-0AAA-D5EF1D702A50}"/>
          </ac:spMkLst>
        </pc:spChg>
        <pc:spChg chg="add del mod">
          <ac:chgData name="Steiner Andreas 6206 ED" userId="e6377c33-a923-4f14-8587-531c474c7b48" providerId="ADAL" clId="{6ECD27E6-B224-41CD-B4E0-E297462320DD}" dt="2023-11-24T08:46:29.679" v="65350"/>
          <ac:spMkLst>
            <pc:docMk/>
            <pc:sldMk cId="3795759164" sldId="691"/>
            <ac:spMk id="427" creationId="{6F6A4065-3B6C-9D1B-6C8C-E623EA042292}"/>
          </ac:spMkLst>
        </pc:spChg>
        <pc:spChg chg="add del mod">
          <ac:chgData name="Steiner Andreas 6206 ED" userId="e6377c33-a923-4f14-8587-531c474c7b48" providerId="ADAL" clId="{6ECD27E6-B224-41CD-B4E0-E297462320DD}" dt="2023-11-24T08:46:32.158" v="65505"/>
          <ac:spMkLst>
            <pc:docMk/>
            <pc:sldMk cId="3795759164" sldId="691"/>
            <ac:spMk id="428" creationId="{FF9A3A0A-9D5D-A4B4-841C-1034D4D57739}"/>
          </ac:spMkLst>
        </pc:spChg>
        <pc:spChg chg="add del mod">
          <ac:chgData name="Steiner Andreas 6206 ED" userId="e6377c33-a923-4f14-8587-531c474c7b48" providerId="ADAL" clId="{6ECD27E6-B224-41CD-B4E0-E297462320DD}" dt="2023-11-24T08:46:34.232" v="65660"/>
          <ac:spMkLst>
            <pc:docMk/>
            <pc:sldMk cId="3795759164" sldId="691"/>
            <ac:spMk id="429" creationId="{D33CAE4F-0238-4E07-3C85-BAEA10EFA409}"/>
          </ac:spMkLst>
        </pc:spChg>
        <pc:spChg chg="add del mod">
          <ac:chgData name="Steiner Andreas 6206 ED" userId="e6377c33-a923-4f14-8587-531c474c7b48" providerId="ADAL" clId="{6ECD27E6-B224-41CD-B4E0-E297462320DD}" dt="2023-11-24T08:46:36.165" v="65815"/>
          <ac:spMkLst>
            <pc:docMk/>
            <pc:sldMk cId="3795759164" sldId="691"/>
            <ac:spMk id="430" creationId="{1A02C5FE-16DD-9FB8-F4FA-B8D41C20153A}"/>
          </ac:spMkLst>
        </pc:spChg>
        <pc:spChg chg="add del mod">
          <ac:chgData name="Steiner Andreas 6206 ED" userId="e6377c33-a923-4f14-8587-531c474c7b48" providerId="ADAL" clId="{6ECD27E6-B224-41CD-B4E0-E297462320DD}" dt="2023-11-24T08:46:38.243" v="65970"/>
          <ac:spMkLst>
            <pc:docMk/>
            <pc:sldMk cId="3795759164" sldId="691"/>
            <ac:spMk id="431" creationId="{0736E7BE-B1FC-8099-2041-E59BBF7DA10F}"/>
          </ac:spMkLst>
        </pc:spChg>
        <pc:spChg chg="add del mod">
          <ac:chgData name="Steiner Andreas 6206 ED" userId="e6377c33-a923-4f14-8587-531c474c7b48" providerId="ADAL" clId="{6ECD27E6-B224-41CD-B4E0-E297462320DD}" dt="2023-11-24T08:46:40.319" v="66125"/>
          <ac:spMkLst>
            <pc:docMk/>
            <pc:sldMk cId="3795759164" sldId="691"/>
            <ac:spMk id="432" creationId="{3FB5EE44-BFBB-3475-8C90-1F79C7B49089}"/>
          </ac:spMkLst>
        </pc:spChg>
        <pc:spChg chg="add del mod">
          <ac:chgData name="Steiner Andreas 6206 ED" userId="e6377c33-a923-4f14-8587-531c474c7b48" providerId="ADAL" clId="{6ECD27E6-B224-41CD-B4E0-E297462320DD}" dt="2023-11-24T08:46:42.593" v="66280"/>
          <ac:spMkLst>
            <pc:docMk/>
            <pc:sldMk cId="3795759164" sldId="691"/>
            <ac:spMk id="433" creationId="{BC69FC45-7B48-DABB-4D7A-C276548CD003}"/>
          </ac:spMkLst>
        </pc:spChg>
        <pc:spChg chg="add del mod">
          <ac:chgData name="Steiner Andreas 6206 ED" userId="e6377c33-a923-4f14-8587-531c474c7b48" providerId="ADAL" clId="{6ECD27E6-B224-41CD-B4E0-E297462320DD}" dt="2023-11-24T08:46:44.707" v="66435"/>
          <ac:spMkLst>
            <pc:docMk/>
            <pc:sldMk cId="3795759164" sldId="691"/>
            <ac:spMk id="434" creationId="{D1D5E3F2-DBB8-330B-9243-12BF4F41A639}"/>
          </ac:spMkLst>
        </pc:spChg>
        <pc:spChg chg="add del mod">
          <ac:chgData name="Steiner Andreas 6206 ED" userId="e6377c33-a923-4f14-8587-531c474c7b48" providerId="ADAL" clId="{6ECD27E6-B224-41CD-B4E0-E297462320DD}" dt="2023-11-24T08:46:46.778" v="66590"/>
          <ac:spMkLst>
            <pc:docMk/>
            <pc:sldMk cId="3795759164" sldId="691"/>
            <ac:spMk id="435" creationId="{260EF89D-9E37-C5D3-E06D-0175D2E15B47}"/>
          </ac:spMkLst>
        </pc:spChg>
        <pc:spChg chg="add del mod">
          <ac:chgData name="Steiner Andreas 6206 ED" userId="e6377c33-a923-4f14-8587-531c474c7b48" providerId="ADAL" clId="{6ECD27E6-B224-41CD-B4E0-E297462320DD}" dt="2023-11-24T08:46:48.913" v="66745"/>
          <ac:spMkLst>
            <pc:docMk/>
            <pc:sldMk cId="3795759164" sldId="691"/>
            <ac:spMk id="436" creationId="{2A237650-613B-BD46-68D2-BBED77C8A57D}"/>
          </ac:spMkLst>
        </pc:spChg>
        <pc:spChg chg="add del mod">
          <ac:chgData name="Steiner Andreas 6206 ED" userId="e6377c33-a923-4f14-8587-531c474c7b48" providerId="ADAL" clId="{6ECD27E6-B224-41CD-B4E0-E297462320DD}" dt="2023-11-24T08:46:50.967" v="66900"/>
          <ac:spMkLst>
            <pc:docMk/>
            <pc:sldMk cId="3795759164" sldId="691"/>
            <ac:spMk id="437" creationId="{B537C021-2C17-3640-0F36-93C3B14684D9}"/>
          </ac:spMkLst>
        </pc:spChg>
        <pc:spChg chg="add del mod">
          <ac:chgData name="Steiner Andreas 6206 ED" userId="e6377c33-a923-4f14-8587-531c474c7b48" providerId="ADAL" clId="{6ECD27E6-B224-41CD-B4E0-E297462320DD}" dt="2023-11-24T08:46:53.023" v="67055"/>
          <ac:spMkLst>
            <pc:docMk/>
            <pc:sldMk cId="3795759164" sldId="691"/>
            <ac:spMk id="438" creationId="{608A2308-B8BB-C641-D9A5-79BE76819101}"/>
          </ac:spMkLst>
        </pc:spChg>
        <pc:spChg chg="add del mod">
          <ac:chgData name="Steiner Andreas 6206 ED" userId="e6377c33-a923-4f14-8587-531c474c7b48" providerId="ADAL" clId="{6ECD27E6-B224-41CD-B4E0-E297462320DD}" dt="2023-11-24T08:46:54.990" v="67210"/>
          <ac:spMkLst>
            <pc:docMk/>
            <pc:sldMk cId="3795759164" sldId="691"/>
            <ac:spMk id="439" creationId="{AA268652-D249-EB3E-B1D8-E9E0BDD6644A}"/>
          </ac:spMkLst>
        </pc:spChg>
        <pc:spChg chg="add del mod">
          <ac:chgData name="Steiner Andreas 6206 ED" userId="e6377c33-a923-4f14-8587-531c474c7b48" providerId="ADAL" clId="{6ECD27E6-B224-41CD-B4E0-E297462320DD}" dt="2023-11-24T08:46:56.967" v="67365"/>
          <ac:spMkLst>
            <pc:docMk/>
            <pc:sldMk cId="3795759164" sldId="691"/>
            <ac:spMk id="440" creationId="{CB4D41CE-AE51-FAFF-C8D8-E0C3116F909E}"/>
          </ac:spMkLst>
        </pc:spChg>
        <pc:spChg chg="add del mod">
          <ac:chgData name="Steiner Andreas 6206 ED" userId="e6377c33-a923-4f14-8587-531c474c7b48" providerId="ADAL" clId="{6ECD27E6-B224-41CD-B4E0-E297462320DD}" dt="2023-11-24T08:46:58.831" v="67520"/>
          <ac:spMkLst>
            <pc:docMk/>
            <pc:sldMk cId="3795759164" sldId="691"/>
            <ac:spMk id="441" creationId="{B919A3EF-36E9-9D36-5531-03BF4617B473}"/>
          </ac:spMkLst>
        </pc:spChg>
        <pc:spChg chg="add del mod">
          <ac:chgData name="Steiner Andreas 6206 ED" userId="e6377c33-a923-4f14-8587-531c474c7b48" providerId="ADAL" clId="{6ECD27E6-B224-41CD-B4E0-E297462320DD}" dt="2023-11-24T08:47:00.939" v="67675"/>
          <ac:spMkLst>
            <pc:docMk/>
            <pc:sldMk cId="3795759164" sldId="691"/>
            <ac:spMk id="442" creationId="{7E94549E-4D06-A34E-B0EB-7C097CD1B218}"/>
          </ac:spMkLst>
        </pc:spChg>
        <pc:spChg chg="add del mod">
          <ac:chgData name="Steiner Andreas 6206 ED" userId="e6377c33-a923-4f14-8587-531c474c7b48" providerId="ADAL" clId="{6ECD27E6-B224-41CD-B4E0-E297462320DD}" dt="2023-11-24T08:47:03.086" v="67830"/>
          <ac:spMkLst>
            <pc:docMk/>
            <pc:sldMk cId="3795759164" sldId="691"/>
            <ac:spMk id="443" creationId="{BD595AB1-5B0F-CA08-4F5C-F8A384135FFB}"/>
          </ac:spMkLst>
        </pc:spChg>
        <pc:spChg chg="add del mod">
          <ac:chgData name="Steiner Andreas 6206 ED" userId="e6377c33-a923-4f14-8587-531c474c7b48" providerId="ADAL" clId="{6ECD27E6-B224-41CD-B4E0-E297462320DD}" dt="2023-11-24T08:47:05.093" v="67985"/>
          <ac:spMkLst>
            <pc:docMk/>
            <pc:sldMk cId="3795759164" sldId="691"/>
            <ac:spMk id="444" creationId="{92282685-915B-EC20-5CAF-59B466E35793}"/>
          </ac:spMkLst>
        </pc:spChg>
        <pc:spChg chg="add del mod">
          <ac:chgData name="Steiner Andreas 6206 ED" userId="e6377c33-a923-4f14-8587-531c474c7b48" providerId="ADAL" clId="{6ECD27E6-B224-41CD-B4E0-E297462320DD}" dt="2023-11-24T08:47:06.869" v="68140"/>
          <ac:spMkLst>
            <pc:docMk/>
            <pc:sldMk cId="3795759164" sldId="691"/>
            <ac:spMk id="445" creationId="{D85A111E-D6F0-9D76-A4E9-FA8B520DD901}"/>
          </ac:spMkLst>
        </pc:spChg>
        <pc:spChg chg="add del mod">
          <ac:chgData name="Steiner Andreas 6206 ED" userId="e6377c33-a923-4f14-8587-531c474c7b48" providerId="ADAL" clId="{6ECD27E6-B224-41CD-B4E0-E297462320DD}" dt="2023-11-24T08:47:08.762" v="68295"/>
          <ac:spMkLst>
            <pc:docMk/>
            <pc:sldMk cId="3795759164" sldId="691"/>
            <ac:spMk id="446" creationId="{1F380600-4AB9-C004-CD94-BA832AEB9F7D}"/>
          </ac:spMkLst>
        </pc:spChg>
        <pc:spChg chg="add del mod">
          <ac:chgData name="Steiner Andreas 6206 ED" userId="e6377c33-a923-4f14-8587-531c474c7b48" providerId="ADAL" clId="{6ECD27E6-B224-41CD-B4E0-E297462320DD}" dt="2023-11-24T08:47:10.638" v="68450"/>
          <ac:spMkLst>
            <pc:docMk/>
            <pc:sldMk cId="3795759164" sldId="691"/>
            <ac:spMk id="447" creationId="{0CDFDF9D-CA1F-5CF4-773B-45C3F2D30100}"/>
          </ac:spMkLst>
        </pc:spChg>
        <pc:spChg chg="add del mod">
          <ac:chgData name="Steiner Andreas 6206 ED" userId="e6377c33-a923-4f14-8587-531c474c7b48" providerId="ADAL" clId="{6ECD27E6-B224-41CD-B4E0-E297462320DD}" dt="2023-11-24T08:47:12.517" v="68605"/>
          <ac:spMkLst>
            <pc:docMk/>
            <pc:sldMk cId="3795759164" sldId="691"/>
            <ac:spMk id="448" creationId="{A434C06B-00DA-722C-E4CE-B518A7663082}"/>
          </ac:spMkLst>
        </pc:spChg>
        <pc:spChg chg="add del mod">
          <ac:chgData name="Steiner Andreas 6206 ED" userId="e6377c33-a923-4f14-8587-531c474c7b48" providerId="ADAL" clId="{6ECD27E6-B224-41CD-B4E0-E297462320DD}" dt="2023-11-24T08:47:14.672" v="68760"/>
          <ac:spMkLst>
            <pc:docMk/>
            <pc:sldMk cId="3795759164" sldId="691"/>
            <ac:spMk id="449" creationId="{172F3231-A04D-FBC9-4138-A5918CA1F9E1}"/>
          </ac:spMkLst>
        </pc:spChg>
        <pc:spChg chg="add del mod">
          <ac:chgData name="Steiner Andreas 6206 ED" userId="e6377c33-a923-4f14-8587-531c474c7b48" providerId="ADAL" clId="{6ECD27E6-B224-41CD-B4E0-E297462320DD}" dt="2023-11-24T08:47:16.641" v="68915"/>
          <ac:spMkLst>
            <pc:docMk/>
            <pc:sldMk cId="3795759164" sldId="691"/>
            <ac:spMk id="450" creationId="{ABCF9E2C-3C73-2F17-AA56-4A4BA00100DD}"/>
          </ac:spMkLst>
        </pc:spChg>
        <pc:spChg chg="add del mod">
          <ac:chgData name="Steiner Andreas 6206 ED" userId="e6377c33-a923-4f14-8587-531c474c7b48" providerId="ADAL" clId="{6ECD27E6-B224-41CD-B4E0-E297462320DD}" dt="2023-11-24T08:47:18.552" v="69070"/>
          <ac:spMkLst>
            <pc:docMk/>
            <pc:sldMk cId="3795759164" sldId="691"/>
            <ac:spMk id="451" creationId="{B681D7B7-3EB2-0B19-9849-6B79A409FE45}"/>
          </ac:spMkLst>
        </pc:spChg>
        <pc:spChg chg="add del mod">
          <ac:chgData name="Steiner Andreas 6206 ED" userId="e6377c33-a923-4f14-8587-531c474c7b48" providerId="ADAL" clId="{6ECD27E6-B224-41CD-B4E0-E297462320DD}" dt="2023-11-24T08:47:20.546" v="69225"/>
          <ac:spMkLst>
            <pc:docMk/>
            <pc:sldMk cId="3795759164" sldId="691"/>
            <ac:spMk id="452" creationId="{B6A66133-CF83-6379-5382-FB8102FAFE94}"/>
          </ac:spMkLst>
        </pc:spChg>
        <pc:spChg chg="add del mod">
          <ac:chgData name="Steiner Andreas 6206 ED" userId="e6377c33-a923-4f14-8587-531c474c7b48" providerId="ADAL" clId="{6ECD27E6-B224-41CD-B4E0-E297462320DD}" dt="2023-11-24T08:47:22.912" v="69380"/>
          <ac:spMkLst>
            <pc:docMk/>
            <pc:sldMk cId="3795759164" sldId="691"/>
            <ac:spMk id="453" creationId="{F55DFD59-96B8-859A-194D-87C99D9D5F5A}"/>
          </ac:spMkLst>
        </pc:spChg>
        <pc:spChg chg="add del mod">
          <ac:chgData name="Steiner Andreas 6206 ED" userId="e6377c33-a923-4f14-8587-531c474c7b48" providerId="ADAL" clId="{6ECD27E6-B224-41CD-B4E0-E297462320DD}" dt="2023-11-24T08:47:25.589" v="69535"/>
          <ac:spMkLst>
            <pc:docMk/>
            <pc:sldMk cId="3795759164" sldId="691"/>
            <ac:spMk id="454" creationId="{1CBA3338-04EB-4644-D086-A7167E667E55}"/>
          </ac:spMkLst>
        </pc:spChg>
        <pc:spChg chg="add del mod">
          <ac:chgData name="Steiner Andreas 6206 ED" userId="e6377c33-a923-4f14-8587-531c474c7b48" providerId="ADAL" clId="{6ECD27E6-B224-41CD-B4E0-E297462320DD}" dt="2023-11-24T08:47:27.792" v="69690"/>
          <ac:spMkLst>
            <pc:docMk/>
            <pc:sldMk cId="3795759164" sldId="691"/>
            <ac:spMk id="455" creationId="{DE26C707-6960-45CA-C22B-E1DA8C7B1FDA}"/>
          </ac:spMkLst>
        </pc:spChg>
        <pc:spChg chg="add del mod">
          <ac:chgData name="Steiner Andreas 6206 ED" userId="e6377c33-a923-4f14-8587-531c474c7b48" providerId="ADAL" clId="{6ECD27E6-B224-41CD-B4E0-E297462320DD}" dt="2023-11-24T08:47:29.866" v="69845"/>
          <ac:spMkLst>
            <pc:docMk/>
            <pc:sldMk cId="3795759164" sldId="691"/>
            <ac:spMk id="456" creationId="{774C9ED3-8DAF-9401-9C7A-2C246E589387}"/>
          </ac:spMkLst>
        </pc:spChg>
        <pc:spChg chg="add del mod">
          <ac:chgData name="Steiner Andreas 6206 ED" userId="e6377c33-a923-4f14-8587-531c474c7b48" providerId="ADAL" clId="{6ECD27E6-B224-41CD-B4E0-E297462320DD}" dt="2023-11-24T08:47:31.830" v="70000"/>
          <ac:spMkLst>
            <pc:docMk/>
            <pc:sldMk cId="3795759164" sldId="691"/>
            <ac:spMk id="457" creationId="{9692DF3A-3A42-56DD-1B13-3BF0E90E2D7F}"/>
          </ac:spMkLst>
        </pc:spChg>
        <pc:spChg chg="add del mod">
          <ac:chgData name="Steiner Andreas 6206 ED" userId="e6377c33-a923-4f14-8587-531c474c7b48" providerId="ADAL" clId="{6ECD27E6-B224-41CD-B4E0-E297462320DD}" dt="2023-11-24T08:47:33.823" v="70155"/>
          <ac:spMkLst>
            <pc:docMk/>
            <pc:sldMk cId="3795759164" sldId="691"/>
            <ac:spMk id="458" creationId="{652DDE6A-5807-04FF-AC76-5DEFF917AE41}"/>
          </ac:spMkLst>
        </pc:spChg>
        <pc:spChg chg="add del mod">
          <ac:chgData name="Steiner Andreas 6206 ED" userId="e6377c33-a923-4f14-8587-531c474c7b48" providerId="ADAL" clId="{6ECD27E6-B224-41CD-B4E0-E297462320DD}" dt="2023-11-24T08:47:35.981" v="70310"/>
          <ac:spMkLst>
            <pc:docMk/>
            <pc:sldMk cId="3795759164" sldId="691"/>
            <ac:spMk id="459" creationId="{56881480-607D-CCD7-E1A0-66EC8563C773}"/>
          </ac:spMkLst>
        </pc:spChg>
        <pc:spChg chg="add del mod">
          <ac:chgData name="Steiner Andreas 6206 ED" userId="e6377c33-a923-4f14-8587-531c474c7b48" providerId="ADAL" clId="{6ECD27E6-B224-41CD-B4E0-E297462320DD}" dt="2023-11-24T08:47:38.084" v="70465"/>
          <ac:spMkLst>
            <pc:docMk/>
            <pc:sldMk cId="3795759164" sldId="691"/>
            <ac:spMk id="460" creationId="{464C6F3F-2CA1-E612-69C1-0EEA39F5F4F3}"/>
          </ac:spMkLst>
        </pc:spChg>
        <pc:spChg chg="add del mod">
          <ac:chgData name="Steiner Andreas 6206 ED" userId="e6377c33-a923-4f14-8587-531c474c7b48" providerId="ADAL" clId="{6ECD27E6-B224-41CD-B4E0-E297462320DD}" dt="2023-11-24T08:47:40.163" v="70620"/>
          <ac:spMkLst>
            <pc:docMk/>
            <pc:sldMk cId="3795759164" sldId="691"/>
            <ac:spMk id="461" creationId="{1DC4FF64-2D4B-0920-AE2E-945DB32A146F}"/>
          </ac:spMkLst>
        </pc:spChg>
        <pc:spChg chg="add del mod">
          <ac:chgData name="Steiner Andreas 6206 ED" userId="e6377c33-a923-4f14-8587-531c474c7b48" providerId="ADAL" clId="{6ECD27E6-B224-41CD-B4E0-E297462320DD}" dt="2023-11-24T08:47:42.088" v="70775"/>
          <ac:spMkLst>
            <pc:docMk/>
            <pc:sldMk cId="3795759164" sldId="691"/>
            <ac:spMk id="462" creationId="{846E6333-4900-27A0-224F-33CBEA196A2B}"/>
          </ac:spMkLst>
        </pc:spChg>
        <pc:spChg chg="add del mod">
          <ac:chgData name="Steiner Andreas 6206 ED" userId="e6377c33-a923-4f14-8587-531c474c7b48" providerId="ADAL" clId="{6ECD27E6-B224-41CD-B4E0-E297462320DD}" dt="2023-11-24T08:47:44.007" v="70930"/>
          <ac:spMkLst>
            <pc:docMk/>
            <pc:sldMk cId="3795759164" sldId="691"/>
            <ac:spMk id="463" creationId="{DD8F08B3-4C0A-E346-3E6A-24B6282BB730}"/>
          </ac:spMkLst>
        </pc:spChg>
        <pc:spChg chg="add del mod">
          <ac:chgData name="Steiner Andreas 6206 ED" userId="e6377c33-a923-4f14-8587-531c474c7b48" providerId="ADAL" clId="{6ECD27E6-B224-41CD-B4E0-E297462320DD}" dt="2023-11-24T08:47:45.937" v="71085"/>
          <ac:spMkLst>
            <pc:docMk/>
            <pc:sldMk cId="3795759164" sldId="691"/>
            <ac:spMk id="464" creationId="{38971F82-824E-F6C7-3627-00353BF06AD4}"/>
          </ac:spMkLst>
        </pc:spChg>
        <pc:spChg chg="add del mod">
          <ac:chgData name="Steiner Andreas 6206 ED" userId="e6377c33-a923-4f14-8587-531c474c7b48" providerId="ADAL" clId="{6ECD27E6-B224-41CD-B4E0-E297462320DD}" dt="2023-11-24T08:47:48.019" v="71240"/>
          <ac:spMkLst>
            <pc:docMk/>
            <pc:sldMk cId="3795759164" sldId="691"/>
            <ac:spMk id="465" creationId="{F566FBB0-D698-879D-409C-BC00571C0860}"/>
          </ac:spMkLst>
        </pc:spChg>
        <pc:spChg chg="add del mod">
          <ac:chgData name="Steiner Andreas 6206 ED" userId="e6377c33-a923-4f14-8587-531c474c7b48" providerId="ADAL" clId="{6ECD27E6-B224-41CD-B4E0-E297462320DD}" dt="2023-11-24T08:47:50.128" v="71395"/>
          <ac:spMkLst>
            <pc:docMk/>
            <pc:sldMk cId="3795759164" sldId="691"/>
            <ac:spMk id="466" creationId="{89A5FB1E-CFC4-0303-DA24-550C52B603E1}"/>
          </ac:spMkLst>
        </pc:spChg>
        <pc:spChg chg="add del mod">
          <ac:chgData name="Steiner Andreas 6206 ED" userId="e6377c33-a923-4f14-8587-531c474c7b48" providerId="ADAL" clId="{6ECD27E6-B224-41CD-B4E0-E297462320DD}" dt="2023-11-24T08:47:52.041" v="71550"/>
          <ac:spMkLst>
            <pc:docMk/>
            <pc:sldMk cId="3795759164" sldId="691"/>
            <ac:spMk id="467" creationId="{35D78308-70BA-6D05-9B05-59CD19BFA544}"/>
          </ac:spMkLst>
        </pc:spChg>
        <pc:spChg chg="add del mod">
          <ac:chgData name="Steiner Andreas 6206 ED" userId="e6377c33-a923-4f14-8587-531c474c7b48" providerId="ADAL" clId="{6ECD27E6-B224-41CD-B4E0-E297462320DD}" dt="2023-11-24T08:47:53.992" v="71705"/>
          <ac:spMkLst>
            <pc:docMk/>
            <pc:sldMk cId="3795759164" sldId="691"/>
            <ac:spMk id="468" creationId="{7CA30B9C-4AD6-CAE6-0794-2FBB1943DA47}"/>
          </ac:spMkLst>
        </pc:spChg>
        <pc:spChg chg="add del mod">
          <ac:chgData name="Steiner Andreas 6206 ED" userId="e6377c33-a923-4f14-8587-531c474c7b48" providerId="ADAL" clId="{6ECD27E6-B224-41CD-B4E0-E297462320DD}" dt="2023-11-24T08:47:55.824" v="71860"/>
          <ac:spMkLst>
            <pc:docMk/>
            <pc:sldMk cId="3795759164" sldId="691"/>
            <ac:spMk id="469" creationId="{3CB8A1FA-9B57-1EF8-FFFE-11DD8133AC5E}"/>
          </ac:spMkLst>
        </pc:spChg>
        <pc:spChg chg="add del mod">
          <ac:chgData name="Steiner Andreas 6206 ED" userId="e6377c33-a923-4f14-8587-531c474c7b48" providerId="ADAL" clId="{6ECD27E6-B224-41CD-B4E0-E297462320DD}" dt="2023-11-24T08:47:57.815" v="72015"/>
          <ac:spMkLst>
            <pc:docMk/>
            <pc:sldMk cId="3795759164" sldId="691"/>
            <ac:spMk id="470" creationId="{D880B43D-A61A-9192-CBD3-AD707F89CFE6}"/>
          </ac:spMkLst>
        </pc:spChg>
        <pc:spChg chg="add del mod">
          <ac:chgData name="Steiner Andreas 6206 ED" userId="e6377c33-a923-4f14-8587-531c474c7b48" providerId="ADAL" clId="{6ECD27E6-B224-41CD-B4E0-E297462320DD}" dt="2023-11-24T08:47:59.940" v="72170"/>
          <ac:spMkLst>
            <pc:docMk/>
            <pc:sldMk cId="3795759164" sldId="691"/>
            <ac:spMk id="471" creationId="{8CFF3BC2-80A2-C393-2AA2-94B05C179AC6}"/>
          </ac:spMkLst>
        </pc:spChg>
        <pc:spChg chg="add del mod">
          <ac:chgData name="Steiner Andreas 6206 ED" userId="e6377c33-a923-4f14-8587-531c474c7b48" providerId="ADAL" clId="{6ECD27E6-B224-41CD-B4E0-E297462320DD}" dt="2023-11-24T08:48:02.074" v="72325"/>
          <ac:spMkLst>
            <pc:docMk/>
            <pc:sldMk cId="3795759164" sldId="691"/>
            <ac:spMk id="472" creationId="{C7C4A068-4004-E9D2-93F3-9EF2F9F1F818}"/>
          </ac:spMkLst>
        </pc:spChg>
        <pc:spChg chg="add del mod">
          <ac:chgData name="Steiner Andreas 6206 ED" userId="e6377c33-a923-4f14-8587-531c474c7b48" providerId="ADAL" clId="{6ECD27E6-B224-41CD-B4E0-E297462320DD}" dt="2023-11-24T08:48:04.098" v="72480"/>
          <ac:spMkLst>
            <pc:docMk/>
            <pc:sldMk cId="3795759164" sldId="691"/>
            <ac:spMk id="473" creationId="{E1A8DF7C-87E7-122A-B469-DA3601FCECF6}"/>
          </ac:spMkLst>
        </pc:spChg>
        <pc:spChg chg="add del mod">
          <ac:chgData name="Steiner Andreas 6206 ED" userId="e6377c33-a923-4f14-8587-531c474c7b48" providerId="ADAL" clId="{6ECD27E6-B224-41CD-B4E0-E297462320DD}" dt="2023-11-24T08:48:06.293" v="72635"/>
          <ac:spMkLst>
            <pc:docMk/>
            <pc:sldMk cId="3795759164" sldId="691"/>
            <ac:spMk id="474" creationId="{B9A03AA4-311B-E77C-C614-4D86AD9AA1B4}"/>
          </ac:spMkLst>
        </pc:spChg>
        <pc:spChg chg="add del mod">
          <ac:chgData name="Steiner Andreas 6206 ED" userId="e6377c33-a923-4f14-8587-531c474c7b48" providerId="ADAL" clId="{6ECD27E6-B224-41CD-B4E0-E297462320DD}" dt="2023-11-24T08:48:08.473" v="72790"/>
          <ac:spMkLst>
            <pc:docMk/>
            <pc:sldMk cId="3795759164" sldId="691"/>
            <ac:spMk id="475" creationId="{2675BC44-91A3-CDCE-7771-B502C512E604}"/>
          </ac:spMkLst>
        </pc:spChg>
        <pc:spChg chg="add del mod">
          <ac:chgData name="Steiner Andreas 6206 ED" userId="e6377c33-a923-4f14-8587-531c474c7b48" providerId="ADAL" clId="{6ECD27E6-B224-41CD-B4E0-E297462320DD}" dt="2023-11-24T08:48:10.520" v="72945"/>
          <ac:spMkLst>
            <pc:docMk/>
            <pc:sldMk cId="3795759164" sldId="691"/>
            <ac:spMk id="476" creationId="{AB900F52-4AB8-29A4-ECCA-6F2628A2A3E3}"/>
          </ac:spMkLst>
        </pc:spChg>
        <pc:spChg chg="add del mod">
          <ac:chgData name="Steiner Andreas 6206 ED" userId="e6377c33-a923-4f14-8587-531c474c7b48" providerId="ADAL" clId="{6ECD27E6-B224-41CD-B4E0-E297462320DD}" dt="2023-11-24T08:48:12.489" v="73100"/>
          <ac:spMkLst>
            <pc:docMk/>
            <pc:sldMk cId="3795759164" sldId="691"/>
            <ac:spMk id="477" creationId="{A398DA7F-C04A-09DD-135E-FFD93C842FCC}"/>
          </ac:spMkLst>
        </pc:spChg>
        <pc:spChg chg="add del mod">
          <ac:chgData name="Steiner Andreas 6206 ED" userId="e6377c33-a923-4f14-8587-531c474c7b48" providerId="ADAL" clId="{6ECD27E6-B224-41CD-B4E0-E297462320DD}" dt="2023-11-24T08:48:14.999" v="73255"/>
          <ac:spMkLst>
            <pc:docMk/>
            <pc:sldMk cId="3795759164" sldId="691"/>
            <ac:spMk id="478" creationId="{1B4601A2-2858-0B70-6DC5-F98CD42D3C1D}"/>
          </ac:spMkLst>
        </pc:spChg>
        <pc:spChg chg="add del mod">
          <ac:chgData name="Steiner Andreas 6206 ED" userId="e6377c33-a923-4f14-8587-531c474c7b48" providerId="ADAL" clId="{6ECD27E6-B224-41CD-B4E0-E297462320DD}" dt="2023-11-24T08:48:17.788" v="73410"/>
          <ac:spMkLst>
            <pc:docMk/>
            <pc:sldMk cId="3795759164" sldId="691"/>
            <ac:spMk id="479" creationId="{26B415C4-AE7D-B9DF-A15B-EB08C2C639E5}"/>
          </ac:spMkLst>
        </pc:spChg>
        <pc:spChg chg="add del mod">
          <ac:chgData name="Steiner Andreas 6206 ED" userId="e6377c33-a923-4f14-8587-531c474c7b48" providerId="ADAL" clId="{6ECD27E6-B224-41CD-B4E0-E297462320DD}" dt="2023-11-24T08:48:20.328" v="73565"/>
          <ac:spMkLst>
            <pc:docMk/>
            <pc:sldMk cId="3795759164" sldId="691"/>
            <ac:spMk id="480" creationId="{88A3A395-52B9-7BE2-C805-B8DE66AA1697}"/>
          </ac:spMkLst>
        </pc:spChg>
        <pc:spChg chg="add del mod">
          <ac:chgData name="Steiner Andreas 6206 ED" userId="e6377c33-a923-4f14-8587-531c474c7b48" providerId="ADAL" clId="{6ECD27E6-B224-41CD-B4E0-E297462320DD}" dt="2023-11-24T08:48:22.465" v="73720"/>
          <ac:spMkLst>
            <pc:docMk/>
            <pc:sldMk cId="3795759164" sldId="691"/>
            <ac:spMk id="481" creationId="{47FCC89C-C25E-EF7E-BFB2-8C2ED19D6AD9}"/>
          </ac:spMkLst>
        </pc:spChg>
        <pc:spChg chg="add del mod">
          <ac:chgData name="Steiner Andreas 6206 ED" userId="e6377c33-a923-4f14-8587-531c474c7b48" providerId="ADAL" clId="{6ECD27E6-B224-41CD-B4E0-E297462320DD}" dt="2023-11-24T08:48:24.542" v="73875"/>
          <ac:spMkLst>
            <pc:docMk/>
            <pc:sldMk cId="3795759164" sldId="691"/>
            <ac:spMk id="482" creationId="{BBAF0549-769F-DB39-B490-041B335EFABB}"/>
          </ac:spMkLst>
        </pc:spChg>
        <pc:spChg chg="add del mod">
          <ac:chgData name="Steiner Andreas 6206 ED" userId="e6377c33-a923-4f14-8587-531c474c7b48" providerId="ADAL" clId="{6ECD27E6-B224-41CD-B4E0-E297462320DD}" dt="2023-11-24T08:48:26.649" v="74030"/>
          <ac:spMkLst>
            <pc:docMk/>
            <pc:sldMk cId="3795759164" sldId="691"/>
            <ac:spMk id="483" creationId="{F6CC198B-6C7E-25EF-55FE-6251DE185F0D}"/>
          </ac:spMkLst>
        </pc:spChg>
        <pc:spChg chg="add del mod">
          <ac:chgData name="Steiner Andreas 6206 ED" userId="e6377c33-a923-4f14-8587-531c474c7b48" providerId="ADAL" clId="{6ECD27E6-B224-41CD-B4E0-E297462320DD}" dt="2023-11-24T08:48:28.657" v="74185"/>
          <ac:spMkLst>
            <pc:docMk/>
            <pc:sldMk cId="3795759164" sldId="691"/>
            <ac:spMk id="484" creationId="{C42DE099-398F-66B7-C24B-2693C42BE0F5}"/>
          </ac:spMkLst>
        </pc:spChg>
        <pc:spChg chg="add del mod">
          <ac:chgData name="Steiner Andreas 6206 ED" userId="e6377c33-a923-4f14-8587-531c474c7b48" providerId="ADAL" clId="{6ECD27E6-B224-41CD-B4E0-E297462320DD}" dt="2023-11-24T08:48:30.534" v="74340"/>
          <ac:spMkLst>
            <pc:docMk/>
            <pc:sldMk cId="3795759164" sldId="691"/>
            <ac:spMk id="485" creationId="{1BE1340A-206E-9431-03A7-3DEAA5198B53}"/>
          </ac:spMkLst>
        </pc:spChg>
        <pc:spChg chg="add del mod">
          <ac:chgData name="Steiner Andreas 6206 ED" userId="e6377c33-a923-4f14-8587-531c474c7b48" providerId="ADAL" clId="{6ECD27E6-B224-41CD-B4E0-E297462320DD}" dt="2023-11-24T08:48:32.504" v="74495"/>
          <ac:spMkLst>
            <pc:docMk/>
            <pc:sldMk cId="3795759164" sldId="691"/>
            <ac:spMk id="486" creationId="{C2163214-6318-3E65-C812-754CABACA359}"/>
          </ac:spMkLst>
        </pc:spChg>
        <pc:spChg chg="add del mod">
          <ac:chgData name="Steiner Andreas 6206 ED" userId="e6377c33-a923-4f14-8587-531c474c7b48" providerId="ADAL" clId="{6ECD27E6-B224-41CD-B4E0-E297462320DD}" dt="2023-11-24T08:48:34.786" v="74650"/>
          <ac:spMkLst>
            <pc:docMk/>
            <pc:sldMk cId="3795759164" sldId="691"/>
            <ac:spMk id="487" creationId="{968140EF-4CEB-2A89-4D8B-589F5D3AEFF5}"/>
          </ac:spMkLst>
        </pc:spChg>
        <pc:spChg chg="add del mod">
          <ac:chgData name="Steiner Andreas 6206 ED" userId="e6377c33-a923-4f14-8587-531c474c7b48" providerId="ADAL" clId="{6ECD27E6-B224-41CD-B4E0-E297462320DD}" dt="2023-11-24T08:48:36.912" v="74805"/>
          <ac:spMkLst>
            <pc:docMk/>
            <pc:sldMk cId="3795759164" sldId="691"/>
            <ac:spMk id="488" creationId="{F7523465-6C8C-574E-CC30-58699B3A55A7}"/>
          </ac:spMkLst>
        </pc:spChg>
        <pc:spChg chg="add del mod">
          <ac:chgData name="Steiner Andreas 6206 ED" userId="e6377c33-a923-4f14-8587-531c474c7b48" providerId="ADAL" clId="{6ECD27E6-B224-41CD-B4E0-E297462320DD}" dt="2023-11-24T08:48:38.983" v="74960"/>
          <ac:spMkLst>
            <pc:docMk/>
            <pc:sldMk cId="3795759164" sldId="691"/>
            <ac:spMk id="489" creationId="{E201DEAA-9EC3-5E87-8E95-6718E67699D4}"/>
          </ac:spMkLst>
        </pc:spChg>
        <pc:spChg chg="add del mod">
          <ac:chgData name="Steiner Andreas 6206 ED" userId="e6377c33-a923-4f14-8587-531c474c7b48" providerId="ADAL" clId="{6ECD27E6-B224-41CD-B4E0-E297462320DD}" dt="2023-11-24T08:48:41.108" v="75115"/>
          <ac:spMkLst>
            <pc:docMk/>
            <pc:sldMk cId="3795759164" sldId="691"/>
            <ac:spMk id="490" creationId="{A294D3CB-4577-1FF2-A60A-AE6B30DD1CCA}"/>
          </ac:spMkLst>
        </pc:spChg>
        <pc:spChg chg="add del mod">
          <ac:chgData name="Steiner Andreas 6206 ED" userId="e6377c33-a923-4f14-8587-531c474c7b48" providerId="ADAL" clId="{6ECD27E6-B224-41CD-B4E0-E297462320DD}" dt="2023-11-24T08:48:43.542" v="75270"/>
          <ac:spMkLst>
            <pc:docMk/>
            <pc:sldMk cId="3795759164" sldId="691"/>
            <ac:spMk id="491" creationId="{C2DAF7BC-13E5-8C58-1283-CAF32D4C808D}"/>
          </ac:spMkLst>
        </pc:spChg>
        <pc:spChg chg="add del mod">
          <ac:chgData name="Steiner Andreas 6206 ED" userId="e6377c33-a923-4f14-8587-531c474c7b48" providerId="ADAL" clId="{6ECD27E6-B224-41CD-B4E0-E297462320DD}" dt="2023-11-24T08:48:45.857" v="75425"/>
          <ac:spMkLst>
            <pc:docMk/>
            <pc:sldMk cId="3795759164" sldId="691"/>
            <ac:spMk id="492" creationId="{873048F5-5D6C-BD59-E532-347D65F5828A}"/>
          </ac:spMkLst>
        </pc:spChg>
        <pc:spChg chg="add del mod">
          <ac:chgData name="Steiner Andreas 6206 ED" userId="e6377c33-a923-4f14-8587-531c474c7b48" providerId="ADAL" clId="{6ECD27E6-B224-41CD-B4E0-E297462320DD}" dt="2023-11-24T08:48:47.897" v="75580"/>
          <ac:spMkLst>
            <pc:docMk/>
            <pc:sldMk cId="3795759164" sldId="691"/>
            <ac:spMk id="493" creationId="{973FAEE6-F342-799A-CF7B-F5F772D6A6A9}"/>
          </ac:spMkLst>
        </pc:spChg>
        <pc:spChg chg="add del mod">
          <ac:chgData name="Steiner Andreas 6206 ED" userId="e6377c33-a923-4f14-8587-531c474c7b48" providerId="ADAL" clId="{6ECD27E6-B224-41CD-B4E0-E297462320DD}" dt="2023-11-24T08:48:49.843" v="75735"/>
          <ac:spMkLst>
            <pc:docMk/>
            <pc:sldMk cId="3795759164" sldId="691"/>
            <ac:spMk id="494" creationId="{E717086F-8F2C-C603-5C70-CEBCFEB8F3F9}"/>
          </ac:spMkLst>
        </pc:spChg>
        <pc:spChg chg="add del mod">
          <ac:chgData name="Steiner Andreas 6206 ED" userId="e6377c33-a923-4f14-8587-531c474c7b48" providerId="ADAL" clId="{6ECD27E6-B224-41CD-B4E0-E297462320DD}" dt="2023-11-24T08:48:52.090" v="75890"/>
          <ac:spMkLst>
            <pc:docMk/>
            <pc:sldMk cId="3795759164" sldId="691"/>
            <ac:spMk id="495" creationId="{390B69B1-416A-8326-CFFB-50886BCD4B1A}"/>
          </ac:spMkLst>
        </pc:spChg>
        <pc:spChg chg="add del mod">
          <ac:chgData name="Steiner Andreas 6206 ED" userId="e6377c33-a923-4f14-8587-531c474c7b48" providerId="ADAL" clId="{6ECD27E6-B224-41CD-B4E0-E297462320DD}" dt="2023-11-24T08:48:53.997" v="76045"/>
          <ac:spMkLst>
            <pc:docMk/>
            <pc:sldMk cId="3795759164" sldId="691"/>
            <ac:spMk id="496" creationId="{E6CB995E-D5BD-83BC-53CE-D46C0CE2A7D3}"/>
          </ac:spMkLst>
        </pc:spChg>
        <pc:spChg chg="add del mod">
          <ac:chgData name="Steiner Andreas 6206 ED" userId="e6377c33-a923-4f14-8587-531c474c7b48" providerId="ADAL" clId="{6ECD27E6-B224-41CD-B4E0-E297462320DD}" dt="2023-11-24T08:48:55.991" v="76200"/>
          <ac:spMkLst>
            <pc:docMk/>
            <pc:sldMk cId="3795759164" sldId="691"/>
            <ac:spMk id="497" creationId="{40BD0B8B-080C-43E3-A8CA-FA1EF8B7EAAF}"/>
          </ac:spMkLst>
        </pc:spChg>
        <pc:spChg chg="add del mod">
          <ac:chgData name="Steiner Andreas 6206 ED" userId="e6377c33-a923-4f14-8587-531c474c7b48" providerId="ADAL" clId="{6ECD27E6-B224-41CD-B4E0-E297462320DD}" dt="2023-11-24T08:48:57.934" v="76355"/>
          <ac:spMkLst>
            <pc:docMk/>
            <pc:sldMk cId="3795759164" sldId="691"/>
            <ac:spMk id="498" creationId="{FAEFAC84-7343-0D29-2E6C-5EC46EE97776}"/>
          </ac:spMkLst>
        </pc:spChg>
        <pc:spChg chg="add del mod">
          <ac:chgData name="Steiner Andreas 6206 ED" userId="e6377c33-a923-4f14-8587-531c474c7b48" providerId="ADAL" clId="{6ECD27E6-B224-41CD-B4E0-E297462320DD}" dt="2023-11-24T08:48:59.989" v="76510"/>
          <ac:spMkLst>
            <pc:docMk/>
            <pc:sldMk cId="3795759164" sldId="691"/>
            <ac:spMk id="499" creationId="{6B031F8D-6C13-96AB-04D4-55F2077C9E52}"/>
          </ac:spMkLst>
        </pc:spChg>
        <pc:spChg chg="add del mod">
          <ac:chgData name="Steiner Andreas 6206 ED" userId="e6377c33-a923-4f14-8587-531c474c7b48" providerId="ADAL" clId="{6ECD27E6-B224-41CD-B4E0-E297462320DD}" dt="2023-11-24T08:49:01.968" v="76665"/>
          <ac:spMkLst>
            <pc:docMk/>
            <pc:sldMk cId="3795759164" sldId="691"/>
            <ac:spMk id="500" creationId="{371F9EE1-ECB6-7FF9-FF2B-472E630EB9CE}"/>
          </ac:spMkLst>
        </pc:spChg>
        <pc:spChg chg="add del mod">
          <ac:chgData name="Steiner Andreas 6206 ED" userId="e6377c33-a923-4f14-8587-531c474c7b48" providerId="ADAL" clId="{6ECD27E6-B224-41CD-B4E0-E297462320DD}" dt="2023-11-24T08:49:03.930" v="76820"/>
          <ac:spMkLst>
            <pc:docMk/>
            <pc:sldMk cId="3795759164" sldId="691"/>
            <ac:spMk id="501" creationId="{BCD92AD0-23AD-4A96-C8A7-C4BEB4CFC2A2}"/>
          </ac:spMkLst>
        </pc:spChg>
        <pc:spChg chg="add del mod">
          <ac:chgData name="Steiner Andreas 6206 ED" userId="e6377c33-a923-4f14-8587-531c474c7b48" providerId="ADAL" clId="{6ECD27E6-B224-41CD-B4E0-E297462320DD}" dt="2023-11-24T08:49:05.826" v="76975"/>
          <ac:spMkLst>
            <pc:docMk/>
            <pc:sldMk cId="3795759164" sldId="691"/>
            <ac:spMk id="502" creationId="{0E67C75B-C876-56BB-928D-D5C055FBA9B1}"/>
          </ac:spMkLst>
        </pc:spChg>
        <pc:spChg chg="add del mod">
          <ac:chgData name="Steiner Andreas 6206 ED" userId="e6377c33-a923-4f14-8587-531c474c7b48" providerId="ADAL" clId="{6ECD27E6-B224-41CD-B4E0-E297462320DD}" dt="2023-11-24T08:49:07.931" v="77130"/>
          <ac:spMkLst>
            <pc:docMk/>
            <pc:sldMk cId="3795759164" sldId="691"/>
            <ac:spMk id="503" creationId="{5560B5C3-2764-4421-E99A-5313473FC776}"/>
          </ac:spMkLst>
        </pc:spChg>
        <pc:spChg chg="add del mod">
          <ac:chgData name="Steiner Andreas 6206 ED" userId="e6377c33-a923-4f14-8587-531c474c7b48" providerId="ADAL" clId="{6ECD27E6-B224-41CD-B4E0-E297462320DD}" dt="2023-11-24T08:49:09.820" v="77285"/>
          <ac:spMkLst>
            <pc:docMk/>
            <pc:sldMk cId="3795759164" sldId="691"/>
            <ac:spMk id="504" creationId="{9D06A959-FA34-0463-4183-6B75E04A6E05}"/>
          </ac:spMkLst>
        </pc:spChg>
        <pc:spChg chg="add del mod">
          <ac:chgData name="Steiner Andreas 6206 ED" userId="e6377c33-a923-4f14-8587-531c474c7b48" providerId="ADAL" clId="{6ECD27E6-B224-41CD-B4E0-E297462320DD}" dt="2023-11-24T08:49:11.597" v="77440"/>
          <ac:spMkLst>
            <pc:docMk/>
            <pc:sldMk cId="3795759164" sldId="691"/>
            <ac:spMk id="505" creationId="{BD80B391-E807-A55C-AE5C-ECA3CDE934C0}"/>
          </ac:spMkLst>
        </pc:spChg>
        <pc:spChg chg="add del mod">
          <ac:chgData name="Steiner Andreas 6206 ED" userId="e6377c33-a923-4f14-8587-531c474c7b48" providerId="ADAL" clId="{6ECD27E6-B224-41CD-B4E0-E297462320DD}" dt="2023-11-24T08:49:13.699" v="77595"/>
          <ac:spMkLst>
            <pc:docMk/>
            <pc:sldMk cId="3795759164" sldId="691"/>
            <ac:spMk id="506" creationId="{17601DB6-F25F-7411-2A0E-C0CEF6E381EC}"/>
          </ac:spMkLst>
        </pc:spChg>
        <pc:spChg chg="add del mod">
          <ac:chgData name="Steiner Andreas 6206 ED" userId="e6377c33-a923-4f14-8587-531c474c7b48" providerId="ADAL" clId="{6ECD27E6-B224-41CD-B4E0-E297462320DD}" dt="2023-11-24T08:49:15.696" v="77750"/>
          <ac:spMkLst>
            <pc:docMk/>
            <pc:sldMk cId="3795759164" sldId="691"/>
            <ac:spMk id="507" creationId="{72514AE2-50B3-9229-EB72-81A6E8B3A42A}"/>
          </ac:spMkLst>
        </pc:spChg>
        <pc:spChg chg="add del mod">
          <ac:chgData name="Steiner Andreas 6206 ED" userId="e6377c33-a923-4f14-8587-531c474c7b48" providerId="ADAL" clId="{6ECD27E6-B224-41CD-B4E0-E297462320DD}" dt="2023-11-24T08:49:17.717" v="77905"/>
          <ac:spMkLst>
            <pc:docMk/>
            <pc:sldMk cId="3795759164" sldId="691"/>
            <ac:spMk id="508" creationId="{2BD2CB72-0D06-3917-D462-49DA0FE7584E}"/>
          </ac:spMkLst>
        </pc:spChg>
        <pc:spChg chg="add del mod">
          <ac:chgData name="Steiner Andreas 6206 ED" userId="e6377c33-a923-4f14-8587-531c474c7b48" providerId="ADAL" clId="{6ECD27E6-B224-41CD-B4E0-E297462320DD}" dt="2023-11-24T08:49:19.776" v="78060"/>
          <ac:spMkLst>
            <pc:docMk/>
            <pc:sldMk cId="3795759164" sldId="691"/>
            <ac:spMk id="509" creationId="{7AC61EF2-0EE8-B32B-3E5B-08163E63C403}"/>
          </ac:spMkLst>
        </pc:spChg>
        <pc:spChg chg="add del mod">
          <ac:chgData name="Steiner Andreas 6206 ED" userId="e6377c33-a923-4f14-8587-531c474c7b48" providerId="ADAL" clId="{6ECD27E6-B224-41CD-B4E0-E297462320DD}" dt="2023-11-24T08:49:21.674" v="78215"/>
          <ac:spMkLst>
            <pc:docMk/>
            <pc:sldMk cId="3795759164" sldId="691"/>
            <ac:spMk id="510" creationId="{8E18814E-E0E5-250D-E70F-2B879BCA2D37}"/>
          </ac:spMkLst>
        </pc:spChg>
        <pc:spChg chg="add del mod">
          <ac:chgData name="Steiner Andreas 6206 ED" userId="e6377c33-a923-4f14-8587-531c474c7b48" providerId="ADAL" clId="{6ECD27E6-B224-41CD-B4E0-E297462320DD}" dt="2023-11-24T08:49:23.576" v="78370"/>
          <ac:spMkLst>
            <pc:docMk/>
            <pc:sldMk cId="3795759164" sldId="691"/>
            <ac:spMk id="511" creationId="{86AD2B04-37CF-0FCC-D7CE-C233F4634D4D}"/>
          </ac:spMkLst>
        </pc:spChg>
        <pc:spChg chg="add del mod">
          <ac:chgData name="Steiner Andreas 6206 ED" userId="e6377c33-a923-4f14-8587-531c474c7b48" providerId="ADAL" clId="{6ECD27E6-B224-41CD-B4E0-E297462320DD}" dt="2023-11-24T08:49:25.453" v="78525"/>
          <ac:spMkLst>
            <pc:docMk/>
            <pc:sldMk cId="3795759164" sldId="691"/>
            <ac:spMk id="512" creationId="{39969E02-4EF4-9C69-2C68-75EE6BA063E2}"/>
          </ac:spMkLst>
        </pc:spChg>
        <pc:spChg chg="add del mod">
          <ac:chgData name="Steiner Andreas 6206 ED" userId="e6377c33-a923-4f14-8587-531c474c7b48" providerId="ADAL" clId="{6ECD27E6-B224-41CD-B4E0-E297462320DD}" dt="2023-11-24T08:49:27.517" v="78680"/>
          <ac:spMkLst>
            <pc:docMk/>
            <pc:sldMk cId="3795759164" sldId="691"/>
            <ac:spMk id="513" creationId="{A3AC196A-408E-7151-68C9-DA62E57EB897}"/>
          </ac:spMkLst>
        </pc:spChg>
        <pc:spChg chg="add del mod">
          <ac:chgData name="Steiner Andreas 6206 ED" userId="e6377c33-a923-4f14-8587-531c474c7b48" providerId="ADAL" clId="{6ECD27E6-B224-41CD-B4E0-E297462320DD}" dt="2023-11-24T08:49:29.543" v="78835"/>
          <ac:spMkLst>
            <pc:docMk/>
            <pc:sldMk cId="3795759164" sldId="691"/>
            <ac:spMk id="514" creationId="{E1471DDA-8566-B6D5-80BE-310CB820CD73}"/>
          </ac:spMkLst>
        </pc:spChg>
        <pc:spChg chg="add del mod">
          <ac:chgData name="Steiner Andreas 6206 ED" userId="e6377c33-a923-4f14-8587-531c474c7b48" providerId="ADAL" clId="{6ECD27E6-B224-41CD-B4E0-E297462320DD}" dt="2023-11-24T08:49:31.480" v="78990"/>
          <ac:spMkLst>
            <pc:docMk/>
            <pc:sldMk cId="3795759164" sldId="691"/>
            <ac:spMk id="515" creationId="{569E65B9-7131-1832-788D-037AB86FF135}"/>
          </ac:spMkLst>
        </pc:spChg>
        <pc:spChg chg="add del mod">
          <ac:chgData name="Steiner Andreas 6206 ED" userId="e6377c33-a923-4f14-8587-531c474c7b48" providerId="ADAL" clId="{6ECD27E6-B224-41CD-B4E0-E297462320DD}" dt="2023-11-24T08:49:33.383" v="79145"/>
          <ac:spMkLst>
            <pc:docMk/>
            <pc:sldMk cId="3795759164" sldId="691"/>
            <ac:spMk id="516" creationId="{282CD4A8-FC6A-6FDC-21EB-94F721A9805C}"/>
          </ac:spMkLst>
        </pc:spChg>
        <pc:spChg chg="add del mod">
          <ac:chgData name="Steiner Andreas 6206 ED" userId="e6377c33-a923-4f14-8587-531c474c7b48" providerId="ADAL" clId="{6ECD27E6-B224-41CD-B4E0-E297462320DD}" dt="2023-11-24T08:49:35.288" v="79300"/>
          <ac:spMkLst>
            <pc:docMk/>
            <pc:sldMk cId="3795759164" sldId="691"/>
            <ac:spMk id="517" creationId="{2DB8E6F6-371A-1E00-67A3-79FAA30B9AF4}"/>
          </ac:spMkLst>
        </pc:spChg>
        <pc:spChg chg="add del mod">
          <ac:chgData name="Steiner Andreas 6206 ED" userId="e6377c33-a923-4f14-8587-531c474c7b48" providerId="ADAL" clId="{6ECD27E6-B224-41CD-B4E0-E297462320DD}" dt="2023-11-24T08:49:37.118" v="79455"/>
          <ac:spMkLst>
            <pc:docMk/>
            <pc:sldMk cId="3795759164" sldId="691"/>
            <ac:spMk id="518" creationId="{A92660FB-E724-FFDB-B9FA-FF0D69709EB3}"/>
          </ac:spMkLst>
        </pc:spChg>
        <pc:spChg chg="add del mod">
          <ac:chgData name="Steiner Andreas 6206 ED" userId="e6377c33-a923-4f14-8587-531c474c7b48" providerId="ADAL" clId="{6ECD27E6-B224-41CD-B4E0-E297462320DD}" dt="2023-11-24T08:49:39.086" v="79610"/>
          <ac:spMkLst>
            <pc:docMk/>
            <pc:sldMk cId="3795759164" sldId="691"/>
            <ac:spMk id="519" creationId="{6C49AED8-BD07-9DAC-C421-50ADE6BF6580}"/>
          </ac:spMkLst>
        </pc:spChg>
        <pc:spChg chg="add del mod">
          <ac:chgData name="Steiner Andreas 6206 ED" userId="e6377c33-a923-4f14-8587-531c474c7b48" providerId="ADAL" clId="{6ECD27E6-B224-41CD-B4E0-E297462320DD}" dt="2023-11-24T08:49:41.172" v="79765"/>
          <ac:spMkLst>
            <pc:docMk/>
            <pc:sldMk cId="3795759164" sldId="691"/>
            <ac:spMk id="520" creationId="{3768F77C-4D17-F03C-897E-6992B75C3E7E}"/>
          </ac:spMkLst>
        </pc:spChg>
        <pc:spChg chg="add del mod">
          <ac:chgData name="Steiner Andreas 6206 ED" userId="e6377c33-a923-4f14-8587-531c474c7b48" providerId="ADAL" clId="{6ECD27E6-B224-41CD-B4E0-E297462320DD}" dt="2023-11-24T08:49:43.082" v="79920"/>
          <ac:spMkLst>
            <pc:docMk/>
            <pc:sldMk cId="3795759164" sldId="691"/>
            <ac:spMk id="521" creationId="{2DFA16B5-E8F7-E042-3ABB-F4806B52CEB1}"/>
          </ac:spMkLst>
        </pc:spChg>
        <pc:spChg chg="add del mod">
          <ac:chgData name="Steiner Andreas 6206 ED" userId="e6377c33-a923-4f14-8587-531c474c7b48" providerId="ADAL" clId="{6ECD27E6-B224-41CD-B4E0-E297462320DD}" dt="2023-11-24T08:49:45.028" v="80075"/>
          <ac:spMkLst>
            <pc:docMk/>
            <pc:sldMk cId="3795759164" sldId="691"/>
            <ac:spMk id="522" creationId="{9B7A7A9B-E4D8-2B53-1C9B-446C5660A113}"/>
          </ac:spMkLst>
        </pc:spChg>
        <pc:spChg chg="add del mod">
          <ac:chgData name="Steiner Andreas 6206 ED" userId="e6377c33-a923-4f14-8587-531c474c7b48" providerId="ADAL" clId="{6ECD27E6-B224-41CD-B4E0-E297462320DD}" dt="2023-11-24T08:49:46.988" v="80230"/>
          <ac:spMkLst>
            <pc:docMk/>
            <pc:sldMk cId="3795759164" sldId="691"/>
            <ac:spMk id="523" creationId="{6C93562C-A44A-47C8-7FA6-6865BF565FC5}"/>
          </ac:spMkLst>
        </pc:spChg>
        <pc:spChg chg="add del mod">
          <ac:chgData name="Steiner Andreas 6206 ED" userId="e6377c33-a923-4f14-8587-531c474c7b48" providerId="ADAL" clId="{6ECD27E6-B224-41CD-B4E0-E297462320DD}" dt="2023-11-24T08:49:48.863" v="80385"/>
          <ac:spMkLst>
            <pc:docMk/>
            <pc:sldMk cId="3795759164" sldId="691"/>
            <ac:spMk id="524" creationId="{4B7947E5-8FB5-3673-B74D-A2D1CA9A246D}"/>
          </ac:spMkLst>
        </pc:spChg>
        <pc:spChg chg="add del mod">
          <ac:chgData name="Steiner Andreas 6206 ED" userId="e6377c33-a923-4f14-8587-531c474c7b48" providerId="ADAL" clId="{6ECD27E6-B224-41CD-B4E0-E297462320DD}" dt="2023-11-24T08:49:50.763" v="80540"/>
          <ac:spMkLst>
            <pc:docMk/>
            <pc:sldMk cId="3795759164" sldId="691"/>
            <ac:spMk id="525" creationId="{629BEE69-3A93-BEE5-B550-3E61B9E28193}"/>
          </ac:spMkLst>
        </pc:spChg>
        <pc:spChg chg="add del mod">
          <ac:chgData name="Steiner Andreas 6206 ED" userId="e6377c33-a923-4f14-8587-531c474c7b48" providerId="ADAL" clId="{6ECD27E6-B224-41CD-B4E0-E297462320DD}" dt="2023-11-24T08:49:52.692" v="80695"/>
          <ac:spMkLst>
            <pc:docMk/>
            <pc:sldMk cId="3795759164" sldId="691"/>
            <ac:spMk id="526" creationId="{BC549BAA-2022-DAD9-E15F-5C4A0F7E8E86}"/>
          </ac:spMkLst>
        </pc:spChg>
        <pc:spChg chg="add del mod">
          <ac:chgData name="Steiner Andreas 6206 ED" userId="e6377c33-a923-4f14-8587-531c474c7b48" providerId="ADAL" clId="{6ECD27E6-B224-41CD-B4E0-E297462320DD}" dt="2023-11-24T08:49:54.623" v="80850"/>
          <ac:spMkLst>
            <pc:docMk/>
            <pc:sldMk cId="3795759164" sldId="691"/>
            <ac:spMk id="527" creationId="{307205A8-B80C-FB99-4C65-20492F12E1C1}"/>
          </ac:spMkLst>
        </pc:spChg>
        <pc:spChg chg="add del mod">
          <ac:chgData name="Steiner Andreas 6206 ED" userId="e6377c33-a923-4f14-8587-531c474c7b48" providerId="ADAL" clId="{6ECD27E6-B224-41CD-B4E0-E297462320DD}" dt="2023-11-24T08:49:56.497" v="81005"/>
          <ac:spMkLst>
            <pc:docMk/>
            <pc:sldMk cId="3795759164" sldId="691"/>
            <ac:spMk id="528" creationId="{251112F4-0B9A-59E0-5A65-16225FF037A1}"/>
          </ac:spMkLst>
        </pc:spChg>
        <pc:spChg chg="add del mod">
          <ac:chgData name="Steiner Andreas 6206 ED" userId="e6377c33-a923-4f14-8587-531c474c7b48" providerId="ADAL" clId="{6ECD27E6-B224-41CD-B4E0-E297462320DD}" dt="2023-11-24T08:49:58.387" v="81160"/>
          <ac:spMkLst>
            <pc:docMk/>
            <pc:sldMk cId="3795759164" sldId="691"/>
            <ac:spMk id="529" creationId="{2B1AC13C-E258-0995-371F-DA109124E181}"/>
          </ac:spMkLst>
        </pc:spChg>
        <pc:spChg chg="add del mod">
          <ac:chgData name="Steiner Andreas 6206 ED" userId="e6377c33-a923-4f14-8587-531c474c7b48" providerId="ADAL" clId="{6ECD27E6-B224-41CD-B4E0-E297462320DD}" dt="2023-11-24T08:50:00.316" v="81315"/>
          <ac:spMkLst>
            <pc:docMk/>
            <pc:sldMk cId="3795759164" sldId="691"/>
            <ac:spMk id="530" creationId="{03B2F703-F916-DA80-FA59-1CF540F8A22B}"/>
          </ac:spMkLst>
        </pc:spChg>
        <pc:spChg chg="add del mod">
          <ac:chgData name="Steiner Andreas 6206 ED" userId="e6377c33-a923-4f14-8587-531c474c7b48" providerId="ADAL" clId="{6ECD27E6-B224-41CD-B4E0-E297462320DD}" dt="2023-11-24T08:50:02.388" v="81470"/>
          <ac:spMkLst>
            <pc:docMk/>
            <pc:sldMk cId="3795759164" sldId="691"/>
            <ac:spMk id="531" creationId="{011C0645-924C-09D3-9B99-85FD1F791399}"/>
          </ac:spMkLst>
        </pc:spChg>
        <pc:spChg chg="add del mod">
          <ac:chgData name="Steiner Andreas 6206 ED" userId="e6377c33-a923-4f14-8587-531c474c7b48" providerId="ADAL" clId="{6ECD27E6-B224-41CD-B4E0-E297462320DD}" dt="2023-11-24T08:50:04.453" v="81625"/>
          <ac:spMkLst>
            <pc:docMk/>
            <pc:sldMk cId="3795759164" sldId="691"/>
            <ac:spMk id="532" creationId="{56A0C60C-D05F-2884-F964-757CCEE9E2B1}"/>
          </ac:spMkLst>
        </pc:spChg>
        <pc:spChg chg="add del mod">
          <ac:chgData name="Steiner Andreas 6206 ED" userId="e6377c33-a923-4f14-8587-531c474c7b48" providerId="ADAL" clId="{6ECD27E6-B224-41CD-B4E0-E297462320DD}" dt="2023-11-24T08:50:06.395" v="81780"/>
          <ac:spMkLst>
            <pc:docMk/>
            <pc:sldMk cId="3795759164" sldId="691"/>
            <ac:spMk id="533" creationId="{B6382739-E475-F2D8-5A3B-A85C7FAFD980}"/>
          </ac:spMkLst>
        </pc:spChg>
        <pc:spChg chg="add del mod">
          <ac:chgData name="Steiner Andreas 6206 ED" userId="e6377c33-a923-4f14-8587-531c474c7b48" providerId="ADAL" clId="{6ECD27E6-B224-41CD-B4E0-E297462320DD}" dt="2023-11-24T08:50:08.284" v="81935"/>
          <ac:spMkLst>
            <pc:docMk/>
            <pc:sldMk cId="3795759164" sldId="691"/>
            <ac:spMk id="534" creationId="{3C2EA8F3-FEC7-6A8A-E1F7-92DA7EF38148}"/>
          </ac:spMkLst>
        </pc:spChg>
        <pc:spChg chg="add del mod">
          <ac:chgData name="Steiner Andreas 6206 ED" userId="e6377c33-a923-4f14-8587-531c474c7b48" providerId="ADAL" clId="{6ECD27E6-B224-41CD-B4E0-E297462320DD}" dt="2023-11-24T08:50:10.174" v="82090"/>
          <ac:spMkLst>
            <pc:docMk/>
            <pc:sldMk cId="3795759164" sldId="691"/>
            <ac:spMk id="535" creationId="{4A58D577-BD11-D990-86B6-6163BB389D8E}"/>
          </ac:spMkLst>
        </pc:spChg>
        <pc:spChg chg="add del mod">
          <ac:chgData name="Steiner Andreas 6206 ED" userId="e6377c33-a923-4f14-8587-531c474c7b48" providerId="ADAL" clId="{6ECD27E6-B224-41CD-B4E0-E297462320DD}" dt="2023-11-24T08:50:12.087" v="82245"/>
          <ac:spMkLst>
            <pc:docMk/>
            <pc:sldMk cId="3795759164" sldId="691"/>
            <ac:spMk id="536" creationId="{30A6A7B1-BC4A-0002-DD8C-8A0150415948}"/>
          </ac:spMkLst>
        </pc:spChg>
        <pc:spChg chg="add del mod">
          <ac:chgData name="Steiner Andreas 6206 ED" userId="e6377c33-a923-4f14-8587-531c474c7b48" providerId="ADAL" clId="{6ECD27E6-B224-41CD-B4E0-E297462320DD}" dt="2023-11-24T08:50:14.152" v="82400"/>
          <ac:spMkLst>
            <pc:docMk/>
            <pc:sldMk cId="3795759164" sldId="691"/>
            <ac:spMk id="537" creationId="{1BCAEC31-C591-3C19-4339-881464036E8A}"/>
          </ac:spMkLst>
        </pc:spChg>
        <pc:spChg chg="add del mod">
          <ac:chgData name="Steiner Andreas 6206 ED" userId="e6377c33-a923-4f14-8587-531c474c7b48" providerId="ADAL" clId="{6ECD27E6-B224-41CD-B4E0-E297462320DD}" dt="2023-11-24T08:50:16.107" v="82555"/>
          <ac:spMkLst>
            <pc:docMk/>
            <pc:sldMk cId="3795759164" sldId="691"/>
            <ac:spMk id="538" creationId="{1A40AE49-E155-0582-0C0B-89E61AE55BFC}"/>
          </ac:spMkLst>
        </pc:spChg>
        <pc:spChg chg="add del mod">
          <ac:chgData name="Steiner Andreas 6206 ED" userId="e6377c33-a923-4f14-8587-531c474c7b48" providerId="ADAL" clId="{6ECD27E6-B224-41CD-B4E0-E297462320DD}" dt="2023-11-24T08:50:18.089" v="82710"/>
          <ac:spMkLst>
            <pc:docMk/>
            <pc:sldMk cId="3795759164" sldId="691"/>
            <ac:spMk id="539" creationId="{D3C38398-7EAA-44B6-881E-615A74132226}"/>
          </ac:spMkLst>
        </pc:spChg>
        <pc:spChg chg="add del mod">
          <ac:chgData name="Steiner Andreas 6206 ED" userId="e6377c33-a923-4f14-8587-531c474c7b48" providerId="ADAL" clId="{6ECD27E6-B224-41CD-B4E0-E297462320DD}" dt="2023-11-24T08:50:20.291" v="82865"/>
          <ac:spMkLst>
            <pc:docMk/>
            <pc:sldMk cId="3795759164" sldId="691"/>
            <ac:spMk id="540" creationId="{20DF9A77-09DE-4341-3EB8-77936AFFB73B}"/>
          </ac:spMkLst>
        </pc:spChg>
        <pc:spChg chg="add del mod">
          <ac:chgData name="Steiner Andreas 6206 ED" userId="e6377c33-a923-4f14-8587-531c474c7b48" providerId="ADAL" clId="{6ECD27E6-B224-41CD-B4E0-E297462320DD}" dt="2023-11-24T08:50:22.229" v="83020"/>
          <ac:spMkLst>
            <pc:docMk/>
            <pc:sldMk cId="3795759164" sldId="691"/>
            <ac:spMk id="541" creationId="{4CDF0AA1-D20A-2DEB-9F34-B0328311E219}"/>
          </ac:spMkLst>
        </pc:spChg>
        <pc:spChg chg="add del mod">
          <ac:chgData name="Steiner Andreas 6206 ED" userId="e6377c33-a923-4f14-8587-531c474c7b48" providerId="ADAL" clId="{6ECD27E6-B224-41CD-B4E0-E297462320DD}" dt="2023-11-24T08:50:24.313" v="83175"/>
          <ac:spMkLst>
            <pc:docMk/>
            <pc:sldMk cId="3795759164" sldId="691"/>
            <ac:spMk id="542" creationId="{4D6BDDA8-4714-C4CA-720A-D0DCCC0263E0}"/>
          </ac:spMkLst>
        </pc:spChg>
        <pc:spChg chg="add del mod">
          <ac:chgData name="Steiner Andreas 6206 ED" userId="e6377c33-a923-4f14-8587-531c474c7b48" providerId="ADAL" clId="{6ECD27E6-B224-41CD-B4E0-E297462320DD}" dt="2023-11-24T08:50:26.323" v="83330"/>
          <ac:spMkLst>
            <pc:docMk/>
            <pc:sldMk cId="3795759164" sldId="691"/>
            <ac:spMk id="543" creationId="{847BC5B3-06B5-8143-2002-7AB599CF8161}"/>
          </ac:spMkLst>
        </pc:spChg>
        <pc:spChg chg="add del mod">
          <ac:chgData name="Steiner Andreas 6206 ED" userId="e6377c33-a923-4f14-8587-531c474c7b48" providerId="ADAL" clId="{6ECD27E6-B224-41CD-B4E0-E297462320DD}" dt="2023-11-24T08:50:28.257" v="83485"/>
          <ac:spMkLst>
            <pc:docMk/>
            <pc:sldMk cId="3795759164" sldId="691"/>
            <ac:spMk id="544" creationId="{048759F3-B9EB-7A2F-0E30-2C465CD30DEE}"/>
          </ac:spMkLst>
        </pc:spChg>
        <pc:spChg chg="add del mod">
          <ac:chgData name="Steiner Andreas 6206 ED" userId="e6377c33-a923-4f14-8587-531c474c7b48" providerId="ADAL" clId="{6ECD27E6-B224-41CD-B4E0-E297462320DD}" dt="2023-11-24T08:50:30.168" v="83640"/>
          <ac:spMkLst>
            <pc:docMk/>
            <pc:sldMk cId="3795759164" sldId="691"/>
            <ac:spMk id="545" creationId="{0BC321C6-A891-FEDC-3CDB-92181D376622}"/>
          </ac:spMkLst>
        </pc:spChg>
        <pc:spChg chg="add del mod">
          <ac:chgData name="Steiner Andreas 6206 ED" userId="e6377c33-a923-4f14-8587-531c474c7b48" providerId="ADAL" clId="{6ECD27E6-B224-41CD-B4E0-E297462320DD}" dt="2023-11-24T08:50:32.208" v="83795"/>
          <ac:spMkLst>
            <pc:docMk/>
            <pc:sldMk cId="3795759164" sldId="691"/>
            <ac:spMk id="546" creationId="{FAE623C7-6317-FAA5-0383-CF726BDBD665}"/>
          </ac:spMkLst>
        </pc:spChg>
        <pc:spChg chg="add del mod">
          <ac:chgData name="Steiner Andreas 6206 ED" userId="e6377c33-a923-4f14-8587-531c474c7b48" providerId="ADAL" clId="{6ECD27E6-B224-41CD-B4E0-E297462320DD}" dt="2023-11-24T08:50:34.242" v="83950"/>
          <ac:spMkLst>
            <pc:docMk/>
            <pc:sldMk cId="3795759164" sldId="691"/>
            <ac:spMk id="547" creationId="{BC2A4AD9-A4CF-4712-FA38-F6BD6D82DF97}"/>
          </ac:spMkLst>
        </pc:spChg>
        <pc:spChg chg="add del mod">
          <ac:chgData name="Steiner Andreas 6206 ED" userId="e6377c33-a923-4f14-8587-531c474c7b48" providerId="ADAL" clId="{6ECD27E6-B224-41CD-B4E0-E297462320DD}" dt="2023-11-24T08:50:36.486" v="84105"/>
          <ac:spMkLst>
            <pc:docMk/>
            <pc:sldMk cId="3795759164" sldId="691"/>
            <ac:spMk id="548" creationId="{725359B7-033A-3668-CC57-187229222188}"/>
          </ac:spMkLst>
        </pc:spChg>
        <pc:spChg chg="add del mod">
          <ac:chgData name="Steiner Andreas 6206 ED" userId="e6377c33-a923-4f14-8587-531c474c7b48" providerId="ADAL" clId="{6ECD27E6-B224-41CD-B4E0-E297462320DD}" dt="2023-11-24T08:50:38.443" v="84260"/>
          <ac:spMkLst>
            <pc:docMk/>
            <pc:sldMk cId="3795759164" sldId="691"/>
            <ac:spMk id="549" creationId="{B6C9FBBF-FDEF-2EFA-D2BA-5FF30D066944}"/>
          </ac:spMkLst>
        </pc:spChg>
        <pc:spChg chg="add del mod">
          <ac:chgData name="Steiner Andreas 6206 ED" userId="e6377c33-a923-4f14-8587-531c474c7b48" providerId="ADAL" clId="{6ECD27E6-B224-41CD-B4E0-E297462320DD}" dt="2023-11-24T08:50:40.425" v="84415"/>
          <ac:spMkLst>
            <pc:docMk/>
            <pc:sldMk cId="3795759164" sldId="691"/>
            <ac:spMk id="550" creationId="{B72A9ADF-ACBD-9536-B22E-5FED888A0F97}"/>
          </ac:spMkLst>
        </pc:spChg>
        <pc:spChg chg="add del mod">
          <ac:chgData name="Steiner Andreas 6206 ED" userId="e6377c33-a923-4f14-8587-531c474c7b48" providerId="ADAL" clId="{6ECD27E6-B224-41CD-B4E0-E297462320DD}" dt="2023-11-24T08:50:42.428" v="84570"/>
          <ac:spMkLst>
            <pc:docMk/>
            <pc:sldMk cId="3795759164" sldId="691"/>
            <ac:spMk id="551" creationId="{BBF26BA7-3C94-6FD4-BD75-F2C784D1F077}"/>
          </ac:spMkLst>
        </pc:spChg>
        <pc:spChg chg="add del mod">
          <ac:chgData name="Steiner Andreas 6206 ED" userId="e6377c33-a923-4f14-8587-531c474c7b48" providerId="ADAL" clId="{6ECD27E6-B224-41CD-B4E0-E297462320DD}" dt="2023-11-24T08:50:44.590" v="84725"/>
          <ac:spMkLst>
            <pc:docMk/>
            <pc:sldMk cId="3795759164" sldId="691"/>
            <ac:spMk id="552" creationId="{A6007164-F750-91E3-12D2-F5A62DF4E92C}"/>
          </ac:spMkLst>
        </pc:spChg>
        <pc:spChg chg="add del mod">
          <ac:chgData name="Steiner Andreas 6206 ED" userId="e6377c33-a923-4f14-8587-531c474c7b48" providerId="ADAL" clId="{6ECD27E6-B224-41CD-B4E0-E297462320DD}" dt="2023-11-24T08:50:46.690" v="84880"/>
          <ac:spMkLst>
            <pc:docMk/>
            <pc:sldMk cId="3795759164" sldId="691"/>
            <ac:spMk id="553" creationId="{FA486852-C1E7-BED3-57AF-52BDA3BF8AD3}"/>
          </ac:spMkLst>
        </pc:spChg>
        <pc:spChg chg="add del mod">
          <ac:chgData name="Steiner Andreas 6206 ED" userId="e6377c33-a923-4f14-8587-531c474c7b48" providerId="ADAL" clId="{6ECD27E6-B224-41CD-B4E0-E297462320DD}" dt="2023-11-24T08:50:48.824" v="85035"/>
          <ac:spMkLst>
            <pc:docMk/>
            <pc:sldMk cId="3795759164" sldId="691"/>
            <ac:spMk id="554" creationId="{CDD04148-1AF2-9800-988B-36B23AFDB0C2}"/>
          </ac:spMkLst>
        </pc:spChg>
        <pc:spChg chg="add del mod">
          <ac:chgData name="Steiner Andreas 6206 ED" userId="e6377c33-a923-4f14-8587-531c474c7b48" providerId="ADAL" clId="{6ECD27E6-B224-41CD-B4E0-E297462320DD}" dt="2023-11-24T08:50:50.919" v="85190"/>
          <ac:spMkLst>
            <pc:docMk/>
            <pc:sldMk cId="3795759164" sldId="691"/>
            <ac:spMk id="555" creationId="{43E981A6-7035-52C2-B1B2-3398F758EC33}"/>
          </ac:spMkLst>
        </pc:spChg>
        <pc:spChg chg="add del mod">
          <ac:chgData name="Steiner Andreas 6206 ED" userId="e6377c33-a923-4f14-8587-531c474c7b48" providerId="ADAL" clId="{6ECD27E6-B224-41CD-B4E0-E297462320DD}" dt="2023-11-24T08:50:53.044" v="85345"/>
          <ac:spMkLst>
            <pc:docMk/>
            <pc:sldMk cId="3795759164" sldId="691"/>
            <ac:spMk id="556" creationId="{D99DE9C0-6A5E-AFA0-D093-5181AF505028}"/>
          </ac:spMkLst>
        </pc:spChg>
        <pc:spChg chg="add del mod">
          <ac:chgData name="Steiner Andreas 6206 ED" userId="e6377c33-a923-4f14-8587-531c474c7b48" providerId="ADAL" clId="{6ECD27E6-B224-41CD-B4E0-E297462320DD}" dt="2023-11-24T08:50:54.958" v="85500"/>
          <ac:spMkLst>
            <pc:docMk/>
            <pc:sldMk cId="3795759164" sldId="691"/>
            <ac:spMk id="557" creationId="{B47B2A23-9E8A-6551-147B-E5356D93658F}"/>
          </ac:spMkLst>
        </pc:spChg>
        <pc:spChg chg="add del mod">
          <ac:chgData name="Steiner Andreas 6206 ED" userId="e6377c33-a923-4f14-8587-531c474c7b48" providerId="ADAL" clId="{6ECD27E6-B224-41CD-B4E0-E297462320DD}" dt="2023-11-24T08:50:56.860" v="85655"/>
          <ac:spMkLst>
            <pc:docMk/>
            <pc:sldMk cId="3795759164" sldId="691"/>
            <ac:spMk id="558" creationId="{FBFFFA58-2F76-0BB7-26E3-B4AB367B5C3B}"/>
          </ac:spMkLst>
        </pc:spChg>
        <pc:spChg chg="add del mod">
          <ac:chgData name="Steiner Andreas 6206 ED" userId="e6377c33-a923-4f14-8587-531c474c7b48" providerId="ADAL" clId="{6ECD27E6-B224-41CD-B4E0-E297462320DD}" dt="2023-11-24T08:50:59.047" v="85810"/>
          <ac:spMkLst>
            <pc:docMk/>
            <pc:sldMk cId="3795759164" sldId="691"/>
            <ac:spMk id="559" creationId="{12EE013E-244C-4242-AC5C-A16165E23433}"/>
          </ac:spMkLst>
        </pc:spChg>
        <pc:spChg chg="add del mod">
          <ac:chgData name="Steiner Andreas 6206 ED" userId="e6377c33-a923-4f14-8587-531c474c7b48" providerId="ADAL" clId="{6ECD27E6-B224-41CD-B4E0-E297462320DD}" dt="2023-11-24T08:51:01.002" v="85965"/>
          <ac:spMkLst>
            <pc:docMk/>
            <pc:sldMk cId="3795759164" sldId="691"/>
            <ac:spMk id="560" creationId="{BBBF9EBD-340C-AF3F-DCD3-658E29BCF948}"/>
          </ac:spMkLst>
        </pc:spChg>
        <pc:spChg chg="add del mod">
          <ac:chgData name="Steiner Andreas 6206 ED" userId="e6377c33-a923-4f14-8587-531c474c7b48" providerId="ADAL" clId="{6ECD27E6-B224-41CD-B4E0-E297462320DD}" dt="2023-11-24T08:51:02.986" v="86120"/>
          <ac:spMkLst>
            <pc:docMk/>
            <pc:sldMk cId="3795759164" sldId="691"/>
            <ac:spMk id="561" creationId="{AD6B431D-7A29-AE50-049A-4A709384549A}"/>
          </ac:spMkLst>
        </pc:spChg>
        <pc:spChg chg="add del mod">
          <ac:chgData name="Steiner Andreas 6206 ED" userId="e6377c33-a923-4f14-8587-531c474c7b48" providerId="ADAL" clId="{6ECD27E6-B224-41CD-B4E0-E297462320DD}" dt="2023-11-24T08:51:04.859" v="86275"/>
          <ac:spMkLst>
            <pc:docMk/>
            <pc:sldMk cId="3795759164" sldId="691"/>
            <ac:spMk id="562" creationId="{57BAAE24-BC46-19E3-72DF-403006E0C37E}"/>
          </ac:spMkLst>
        </pc:spChg>
        <pc:spChg chg="add del mod">
          <ac:chgData name="Steiner Andreas 6206 ED" userId="e6377c33-a923-4f14-8587-531c474c7b48" providerId="ADAL" clId="{6ECD27E6-B224-41CD-B4E0-E297462320DD}" dt="2023-11-24T08:51:06.753" v="86430"/>
          <ac:spMkLst>
            <pc:docMk/>
            <pc:sldMk cId="3795759164" sldId="691"/>
            <ac:spMk id="563" creationId="{DD6570F1-E03E-ABBC-E124-D5969ADE6A6D}"/>
          </ac:spMkLst>
        </pc:spChg>
        <pc:spChg chg="add del mod">
          <ac:chgData name="Steiner Andreas 6206 ED" userId="e6377c33-a923-4f14-8587-531c474c7b48" providerId="ADAL" clId="{6ECD27E6-B224-41CD-B4E0-E297462320DD}" dt="2023-11-24T08:51:08.739" v="86585"/>
          <ac:spMkLst>
            <pc:docMk/>
            <pc:sldMk cId="3795759164" sldId="691"/>
            <ac:spMk id="564" creationId="{5535B9C0-3893-8375-B14F-D5C2C7AD9ED5}"/>
          </ac:spMkLst>
        </pc:spChg>
        <pc:spChg chg="add del mod">
          <ac:chgData name="Steiner Andreas 6206 ED" userId="e6377c33-a923-4f14-8587-531c474c7b48" providerId="ADAL" clId="{6ECD27E6-B224-41CD-B4E0-E297462320DD}" dt="2023-11-24T08:51:10.767" v="86740"/>
          <ac:spMkLst>
            <pc:docMk/>
            <pc:sldMk cId="3795759164" sldId="691"/>
            <ac:spMk id="565" creationId="{1D202803-3071-4885-829E-5752AF0B1FF1}"/>
          </ac:spMkLst>
        </pc:spChg>
        <pc:spChg chg="add del mod">
          <ac:chgData name="Steiner Andreas 6206 ED" userId="e6377c33-a923-4f14-8587-531c474c7b48" providerId="ADAL" clId="{6ECD27E6-B224-41CD-B4E0-E297462320DD}" dt="2023-11-24T08:51:12.663" v="86895"/>
          <ac:spMkLst>
            <pc:docMk/>
            <pc:sldMk cId="3795759164" sldId="691"/>
            <ac:spMk id="566" creationId="{5B207561-1F86-5D31-9B48-A93C915D95E0}"/>
          </ac:spMkLst>
        </pc:spChg>
        <pc:spChg chg="add del mod">
          <ac:chgData name="Steiner Andreas 6206 ED" userId="e6377c33-a923-4f14-8587-531c474c7b48" providerId="ADAL" clId="{6ECD27E6-B224-41CD-B4E0-E297462320DD}" dt="2023-11-24T08:51:14.848" v="87050"/>
          <ac:spMkLst>
            <pc:docMk/>
            <pc:sldMk cId="3795759164" sldId="691"/>
            <ac:spMk id="567" creationId="{8A473AB3-76EA-05E7-ED71-F29E7C295451}"/>
          </ac:spMkLst>
        </pc:spChg>
        <pc:spChg chg="add del mod">
          <ac:chgData name="Steiner Andreas 6206 ED" userId="e6377c33-a923-4f14-8587-531c474c7b48" providerId="ADAL" clId="{6ECD27E6-B224-41CD-B4E0-E297462320DD}" dt="2023-11-24T08:51:16.943" v="87205"/>
          <ac:spMkLst>
            <pc:docMk/>
            <pc:sldMk cId="3795759164" sldId="691"/>
            <ac:spMk id="568" creationId="{99CC9E7B-A8E3-75DE-5FC3-B777029E27A6}"/>
          </ac:spMkLst>
        </pc:spChg>
        <pc:spChg chg="add del mod">
          <ac:chgData name="Steiner Andreas 6206 ED" userId="e6377c33-a923-4f14-8587-531c474c7b48" providerId="ADAL" clId="{6ECD27E6-B224-41CD-B4E0-E297462320DD}" dt="2023-11-24T08:51:18.857" v="87360"/>
          <ac:spMkLst>
            <pc:docMk/>
            <pc:sldMk cId="3795759164" sldId="691"/>
            <ac:spMk id="569" creationId="{F00A477B-8D25-B03B-78A8-7EC8DFFAB809}"/>
          </ac:spMkLst>
        </pc:spChg>
        <pc:spChg chg="add del mod">
          <ac:chgData name="Steiner Andreas 6206 ED" userId="e6377c33-a923-4f14-8587-531c474c7b48" providerId="ADAL" clId="{6ECD27E6-B224-41CD-B4E0-E297462320DD}" dt="2023-11-24T08:51:20.914" v="87515"/>
          <ac:spMkLst>
            <pc:docMk/>
            <pc:sldMk cId="3795759164" sldId="691"/>
            <ac:spMk id="570" creationId="{85ACF4DA-9302-6ACF-3D18-6DBE0D1DB1BA}"/>
          </ac:spMkLst>
        </pc:spChg>
        <pc:spChg chg="add del mod">
          <ac:chgData name="Steiner Andreas 6206 ED" userId="e6377c33-a923-4f14-8587-531c474c7b48" providerId="ADAL" clId="{6ECD27E6-B224-41CD-B4E0-E297462320DD}" dt="2023-11-24T08:51:22.863" v="87670"/>
          <ac:spMkLst>
            <pc:docMk/>
            <pc:sldMk cId="3795759164" sldId="691"/>
            <ac:spMk id="571" creationId="{0DAA0302-E9D7-2176-84FB-CE273CB57814}"/>
          </ac:spMkLst>
        </pc:spChg>
        <pc:spChg chg="add del mod">
          <ac:chgData name="Steiner Andreas 6206 ED" userId="e6377c33-a923-4f14-8587-531c474c7b48" providerId="ADAL" clId="{6ECD27E6-B224-41CD-B4E0-E297462320DD}" dt="2023-11-24T08:51:24.781" v="87825"/>
          <ac:spMkLst>
            <pc:docMk/>
            <pc:sldMk cId="3795759164" sldId="691"/>
            <ac:spMk id="572" creationId="{1C66BFBA-23F3-E996-78D1-E40EC7208E3C}"/>
          </ac:spMkLst>
        </pc:spChg>
        <pc:spChg chg="add del mod">
          <ac:chgData name="Steiner Andreas 6206 ED" userId="e6377c33-a923-4f14-8587-531c474c7b48" providerId="ADAL" clId="{6ECD27E6-B224-41CD-B4E0-E297462320DD}" dt="2023-11-24T08:51:26.651" v="87980"/>
          <ac:spMkLst>
            <pc:docMk/>
            <pc:sldMk cId="3795759164" sldId="691"/>
            <ac:spMk id="573" creationId="{3B8B7D7F-7494-0B5A-30B5-08477B35DD70}"/>
          </ac:spMkLst>
        </pc:spChg>
        <pc:spChg chg="add del mod">
          <ac:chgData name="Steiner Andreas 6206 ED" userId="e6377c33-a923-4f14-8587-531c474c7b48" providerId="ADAL" clId="{6ECD27E6-B224-41CD-B4E0-E297462320DD}" dt="2023-11-24T08:51:28.561" v="88135"/>
          <ac:spMkLst>
            <pc:docMk/>
            <pc:sldMk cId="3795759164" sldId="691"/>
            <ac:spMk id="574" creationId="{6FD8646D-4ECA-2C08-6E1F-779432F3131E}"/>
          </ac:spMkLst>
        </pc:spChg>
        <pc:spChg chg="add del mod">
          <ac:chgData name="Steiner Andreas 6206 ED" userId="e6377c33-a923-4f14-8587-531c474c7b48" providerId="ADAL" clId="{6ECD27E6-B224-41CD-B4E0-E297462320DD}" dt="2023-11-24T08:51:30.530" v="88290"/>
          <ac:spMkLst>
            <pc:docMk/>
            <pc:sldMk cId="3795759164" sldId="691"/>
            <ac:spMk id="575" creationId="{0333D526-62DC-77D3-61A8-E960EE1E51C3}"/>
          </ac:spMkLst>
        </pc:spChg>
        <pc:spChg chg="add del mod">
          <ac:chgData name="Steiner Andreas 6206 ED" userId="e6377c33-a923-4f14-8587-531c474c7b48" providerId="ADAL" clId="{6ECD27E6-B224-41CD-B4E0-E297462320DD}" dt="2023-11-24T08:51:32.689" v="88445"/>
          <ac:spMkLst>
            <pc:docMk/>
            <pc:sldMk cId="3795759164" sldId="691"/>
            <ac:spMk id="576" creationId="{70FE4F93-F8B3-E4EB-049F-6B030957EA29}"/>
          </ac:spMkLst>
        </pc:spChg>
        <pc:spChg chg="add del mod">
          <ac:chgData name="Steiner Andreas 6206 ED" userId="e6377c33-a923-4f14-8587-531c474c7b48" providerId="ADAL" clId="{6ECD27E6-B224-41CD-B4E0-E297462320DD}" dt="2023-11-24T08:51:34.657" v="88600"/>
          <ac:spMkLst>
            <pc:docMk/>
            <pc:sldMk cId="3795759164" sldId="691"/>
            <ac:spMk id="577" creationId="{B86826F7-EB45-F922-5AD6-3D33F6BD28C2}"/>
          </ac:spMkLst>
        </pc:spChg>
        <pc:spChg chg="add del mod">
          <ac:chgData name="Steiner Andreas 6206 ED" userId="e6377c33-a923-4f14-8587-531c474c7b48" providerId="ADAL" clId="{6ECD27E6-B224-41CD-B4E0-E297462320DD}" dt="2023-11-24T08:51:36.527" v="88755"/>
          <ac:spMkLst>
            <pc:docMk/>
            <pc:sldMk cId="3795759164" sldId="691"/>
            <ac:spMk id="578" creationId="{A50A2FF0-9787-1F05-EF63-EA9082F35648}"/>
          </ac:spMkLst>
        </pc:spChg>
        <pc:spChg chg="add del mod">
          <ac:chgData name="Steiner Andreas 6206 ED" userId="e6377c33-a923-4f14-8587-531c474c7b48" providerId="ADAL" clId="{6ECD27E6-B224-41CD-B4E0-E297462320DD}" dt="2023-11-24T08:51:38.473" v="88910"/>
          <ac:spMkLst>
            <pc:docMk/>
            <pc:sldMk cId="3795759164" sldId="691"/>
            <ac:spMk id="579" creationId="{4A6702DD-5D7F-0ECE-A939-5A35157C3E8B}"/>
          </ac:spMkLst>
        </pc:spChg>
        <pc:spChg chg="add del mod">
          <ac:chgData name="Steiner Andreas 6206 ED" userId="e6377c33-a923-4f14-8587-531c474c7b48" providerId="ADAL" clId="{6ECD27E6-B224-41CD-B4E0-E297462320DD}" dt="2023-11-24T08:51:40.405" v="89065"/>
          <ac:spMkLst>
            <pc:docMk/>
            <pc:sldMk cId="3795759164" sldId="691"/>
            <ac:spMk id="580" creationId="{22330B3C-EBD1-98A1-18AF-D4633CE54DC0}"/>
          </ac:spMkLst>
        </pc:spChg>
        <pc:spChg chg="add del mod">
          <ac:chgData name="Steiner Andreas 6206 ED" userId="e6377c33-a923-4f14-8587-531c474c7b48" providerId="ADAL" clId="{6ECD27E6-B224-41CD-B4E0-E297462320DD}" dt="2023-11-24T08:51:42.412" v="89220"/>
          <ac:spMkLst>
            <pc:docMk/>
            <pc:sldMk cId="3795759164" sldId="691"/>
            <ac:spMk id="581" creationId="{4C4D86B8-D9C9-AE7B-57D5-5A42239A9617}"/>
          </ac:spMkLst>
        </pc:spChg>
        <pc:spChg chg="add del mod">
          <ac:chgData name="Steiner Andreas 6206 ED" userId="e6377c33-a923-4f14-8587-531c474c7b48" providerId="ADAL" clId="{6ECD27E6-B224-41CD-B4E0-E297462320DD}" dt="2023-11-24T08:51:44.525" v="89375"/>
          <ac:spMkLst>
            <pc:docMk/>
            <pc:sldMk cId="3795759164" sldId="691"/>
            <ac:spMk id="582" creationId="{BA5144B7-D630-14A4-5855-9B1DDFD97D98}"/>
          </ac:spMkLst>
        </pc:spChg>
        <pc:spChg chg="add del mod">
          <ac:chgData name="Steiner Andreas 6206 ED" userId="e6377c33-a923-4f14-8587-531c474c7b48" providerId="ADAL" clId="{6ECD27E6-B224-41CD-B4E0-E297462320DD}" dt="2023-11-24T08:51:46.486" v="89530"/>
          <ac:spMkLst>
            <pc:docMk/>
            <pc:sldMk cId="3795759164" sldId="691"/>
            <ac:spMk id="583" creationId="{90CE244C-6D4B-BCC6-BBCF-91BA5FC9CAE4}"/>
          </ac:spMkLst>
        </pc:spChg>
        <pc:spChg chg="add del mod">
          <ac:chgData name="Steiner Andreas 6206 ED" userId="e6377c33-a923-4f14-8587-531c474c7b48" providerId="ADAL" clId="{6ECD27E6-B224-41CD-B4E0-E297462320DD}" dt="2023-11-24T08:51:48.380" v="89685"/>
          <ac:spMkLst>
            <pc:docMk/>
            <pc:sldMk cId="3795759164" sldId="691"/>
            <ac:spMk id="584" creationId="{5EBC76E9-E88E-D6C8-0A8E-4789827A9375}"/>
          </ac:spMkLst>
        </pc:spChg>
        <pc:spChg chg="add del mod">
          <ac:chgData name="Steiner Andreas 6206 ED" userId="e6377c33-a923-4f14-8587-531c474c7b48" providerId="ADAL" clId="{6ECD27E6-B224-41CD-B4E0-E297462320DD}" dt="2023-11-24T08:51:50.298" v="89840"/>
          <ac:spMkLst>
            <pc:docMk/>
            <pc:sldMk cId="3795759164" sldId="691"/>
            <ac:spMk id="585" creationId="{577360A4-9F71-CAFC-FD16-2BEA1823DF62}"/>
          </ac:spMkLst>
        </pc:spChg>
        <pc:spChg chg="add del mod">
          <ac:chgData name="Steiner Andreas 6206 ED" userId="e6377c33-a923-4f14-8587-531c474c7b48" providerId="ADAL" clId="{6ECD27E6-B224-41CD-B4E0-E297462320DD}" dt="2023-11-24T08:51:52.206" v="89995"/>
          <ac:spMkLst>
            <pc:docMk/>
            <pc:sldMk cId="3795759164" sldId="691"/>
            <ac:spMk id="586" creationId="{19C1962D-57F5-4714-099F-70E01589D017}"/>
          </ac:spMkLst>
        </pc:spChg>
        <pc:spChg chg="add del mod">
          <ac:chgData name="Steiner Andreas 6206 ED" userId="e6377c33-a923-4f14-8587-531c474c7b48" providerId="ADAL" clId="{6ECD27E6-B224-41CD-B4E0-E297462320DD}" dt="2023-11-24T08:51:54.188" v="90150"/>
          <ac:spMkLst>
            <pc:docMk/>
            <pc:sldMk cId="3795759164" sldId="691"/>
            <ac:spMk id="587" creationId="{3782BFCE-5F52-2D49-2960-E7806F702E99}"/>
          </ac:spMkLst>
        </pc:spChg>
        <pc:spChg chg="add del mod">
          <ac:chgData name="Steiner Andreas 6206 ED" userId="e6377c33-a923-4f14-8587-531c474c7b48" providerId="ADAL" clId="{6ECD27E6-B224-41CD-B4E0-E297462320DD}" dt="2023-11-24T08:51:56.178" v="90305"/>
          <ac:spMkLst>
            <pc:docMk/>
            <pc:sldMk cId="3795759164" sldId="691"/>
            <ac:spMk id="588" creationId="{81E249ED-6086-9995-2962-809579D28768}"/>
          </ac:spMkLst>
        </pc:spChg>
        <pc:spChg chg="add del mod">
          <ac:chgData name="Steiner Andreas 6206 ED" userId="e6377c33-a923-4f14-8587-531c474c7b48" providerId="ADAL" clId="{6ECD27E6-B224-41CD-B4E0-E297462320DD}" dt="2023-11-24T08:51:58.105" v="90460"/>
          <ac:spMkLst>
            <pc:docMk/>
            <pc:sldMk cId="3795759164" sldId="691"/>
            <ac:spMk id="589" creationId="{1BEED8CD-FA6D-5715-33A8-B872FBE4FEB4}"/>
          </ac:spMkLst>
        </pc:spChg>
        <pc:spChg chg="add del mod">
          <ac:chgData name="Steiner Andreas 6206 ED" userId="e6377c33-a923-4f14-8587-531c474c7b48" providerId="ADAL" clId="{6ECD27E6-B224-41CD-B4E0-E297462320DD}" dt="2023-11-24T08:52:00.233" v="90615"/>
          <ac:spMkLst>
            <pc:docMk/>
            <pc:sldMk cId="3795759164" sldId="691"/>
            <ac:spMk id="590" creationId="{5FFBC3AC-7884-E0B8-0235-5ACED1E5B10E}"/>
          </ac:spMkLst>
        </pc:spChg>
        <pc:spChg chg="add del mod">
          <ac:chgData name="Steiner Andreas 6206 ED" userId="e6377c33-a923-4f14-8587-531c474c7b48" providerId="ADAL" clId="{6ECD27E6-B224-41CD-B4E0-E297462320DD}" dt="2023-11-24T08:52:02.189" v="90770"/>
          <ac:spMkLst>
            <pc:docMk/>
            <pc:sldMk cId="3795759164" sldId="691"/>
            <ac:spMk id="591" creationId="{5E1C5147-A2FE-014D-E9A9-628D4E107763}"/>
          </ac:spMkLst>
        </pc:spChg>
        <pc:spChg chg="add del mod">
          <ac:chgData name="Steiner Andreas 6206 ED" userId="e6377c33-a923-4f14-8587-531c474c7b48" providerId="ADAL" clId="{6ECD27E6-B224-41CD-B4E0-E297462320DD}" dt="2023-11-24T08:52:04.113" v="90925"/>
          <ac:spMkLst>
            <pc:docMk/>
            <pc:sldMk cId="3795759164" sldId="691"/>
            <ac:spMk id="592" creationId="{447B004A-2CDE-8CF4-0FC1-A447A03B9F28}"/>
          </ac:spMkLst>
        </pc:spChg>
        <pc:spChg chg="add del mod">
          <ac:chgData name="Steiner Andreas 6206 ED" userId="e6377c33-a923-4f14-8587-531c474c7b48" providerId="ADAL" clId="{6ECD27E6-B224-41CD-B4E0-E297462320DD}" dt="2023-11-24T08:52:06.304" v="91080"/>
          <ac:spMkLst>
            <pc:docMk/>
            <pc:sldMk cId="3795759164" sldId="691"/>
            <ac:spMk id="593" creationId="{EDABCA9D-13DC-9F2E-BDB0-980472D5FF0F}"/>
          </ac:spMkLst>
        </pc:spChg>
        <pc:spChg chg="add del mod">
          <ac:chgData name="Steiner Andreas 6206 ED" userId="e6377c33-a923-4f14-8587-531c474c7b48" providerId="ADAL" clId="{6ECD27E6-B224-41CD-B4E0-E297462320DD}" dt="2023-11-24T08:52:08.273" v="91235"/>
          <ac:spMkLst>
            <pc:docMk/>
            <pc:sldMk cId="3795759164" sldId="691"/>
            <ac:spMk id="594" creationId="{CEE40A2D-4D5F-1112-9BD4-F41A343700DB}"/>
          </ac:spMkLst>
        </pc:spChg>
        <pc:spChg chg="add del mod">
          <ac:chgData name="Steiner Andreas 6206 ED" userId="e6377c33-a923-4f14-8587-531c474c7b48" providerId="ADAL" clId="{6ECD27E6-B224-41CD-B4E0-E297462320DD}" dt="2023-11-24T08:52:10.162" v="91390"/>
          <ac:spMkLst>
            <pc:docMk/>
            <pc:sldMk cId="3795759164" sldId="691"/>
            <ac:spMk id="595" creationId="{D60DD207-A060-5D2B-9CD3-78C45BDB9B62}"/>
          </ac:spMkLst>
        </pc:spChg>
        <pc:spChg chg="add del mod">
          <ac:chgData name="Steiner Andreas 6206 ED" userId="e6377c33-a923-4f14-8587-531c474c7b48" providerId="ADAL" clId="{6ECD27E6-B224-41CD-B4E0-E297462320DD}" dt="2023-11-24T08:52:12.017" v="91545"/>
          <ac:spMkLst>
            <pc:docMk/>
            <pc:sldMk cId="3795759164" sldId="691"/>
            <ac:spMk id="596" creationId="{561CA289-F818-E0FE-3B04-D10E1A8FFC09}"/>
          </ac:spMkLst>
        </pc:spChg>
        <pc:spChg chg="add del mod">
          <ac:chgData name="Steiner Andreas 6206 ED" userId="e6377c33-a923-4f14-8587-531c474c7b48" providerId="ADAL" clId="{6ECD27E6-B224-41CD-B4E0-E297462320DD}" dt="2023-11-24T08:52:13.956" v="91700"/>
          <ac:spMkLst>
            <pc:docMk/>
            <pc:sldMk cId="3795759164" sldId="691"/>
            <ac:spMk id="597" creationId="{75B9C498-01E3-D805-35DA-5FDDA1076D8E}"/>
          </ac:spMkLst>
        </pc:spChg>
        <pc:spChg chg="add del mod">
          <ac:chgData name="Steiner Andreas 6206 ED" userId="e6377c33-a923-4f14-8587-531c474c7b48" providerId="ADAL" clId="{6ECD27E6-B224-41CD-B4E0-E297462320DD}" dt="2023-11-24T08:52:15.866" v="91855"/>
          <ac:spMkLst>
            <pc:docMk/>
            <pc:sldMk cId="3795759164" sldId="691"/>
            <ac:spMk id="598" creationId="{59CEE010-1CA7-07A5-A649-AA663EAA8C5D}"/>
          </ac:spMkLst>
        </pc:spChg>
        <pc:spChg chg="add del mod">
          <ac:chgData name="Steiner Andreas 6206 ED" userId="e6377c33-a923-4f14-8587-531c474c7b48" providerId="ADAL" clId="{6ECD27E6-B224-41CD-B4E0-E297462320DD}" dt="2023-11-24T08:52:18.023" v="92010"/>
          <ac:spMkLst>
            <pc:docMk/>
            <pc:sldMk cId="3795759164" sldId="691"/>
            <ac:spMk id="599" creationId="{F7E0D334-62EC-7CE7-144D-D74AB31C1182}"/>
          </ac:spMkLst>
        </pc:spChg>
        <pc:spChg chg="add del mod">
          <ac:chgData name="Steiner Andreas 6206 ED" userId="e6377c33-a923-4f14-8587-531c474c7b48" providerId="ADAL" clId="{6ECD27E6-B224-41CD-B4E0-E297462320DD}" dt="2023-11-24T08:52:19.992" v="92165"/>
          <ac:spMkLst>
            <pc:docMk/>
            <pc:sldMk cId="3795759164" sldId="691"/>
            <ac:spMk id="600" creationId="{86F9E523-CC53-8D9F-8E8C-28DFB025080A}"/>
          </ac:spMkLst>
        </pc:spChg>
        <pc:spChg chg="add del mod">
          <ac:chgData name="Steiner Andreas 6206 ED" userId="e6377c33-a923-4f14-8587-531c474c7b48" providerId="ADAL" clId="{6ECD27E6-B224-41CD-B4E0-E297462320DD}" dt="2023-11-24T08:52:21.826" v="92320"/>
          <ac:spMkLst>
            <pc:docMk/>
            <pc:sldMk cId="3795759164" sldId="691"/>
            <ac:spMk id="601" creationId="{16B7DB0B-B4A6-20DD-02CE-F766A64B86AB}"/>
          </ac:spMkLst>
        </pc:spChg>
        <pc:spChg chg="add del mod">
          <ac:chgData name="Steiner Andreas 6206 ED" userId="e6377c33-a923-4f14-8587-531c474c7b48" providerId="ADAL" clId="{6ECD27E6-B224-41CD-B4E0-E297462320DD}" dt="2023-11-24T08:52:23.889" v="92475"/>
          <ac:spMkLst>
            <pc:docMk/>
            <pc:sldMk cId="3795759164" sldId="691"/>
            <ac:spMk id="602" creationId="{E2351510-329A-E4BB-1D97-2A6250446320}"/>
          </ac:spMkLst>
        </pc:spChg>
        <pc:spChg chg="add del mod">
          <ac:chgData name="Steiner Andreas 6206 ED" userId="e6377c33-a923-4f14-8587-531c474c7b48" providerId="ADAL" clId="{6ECD27E6-B224-41CD-B4E0-E297462320DD}" dt="2023-11-24T08:52:25.766" v="92630"/>
          <ac:spMkLst>
            <pc:docMk/>
            <pc:sldMk cId="3795759164" sldId="691"/>
            <ac:spMk id="603" creationId="{697A2853-36BE-9398-869A-5EF3FA3C2503}"/>
          </ac:spMkLst>
        </pc:spChg>
        <pc:spChg chg="add del mod">
          <ac:chgData name="Steiner Andreas 6206 ED" userId="e6377c33-a923-4f14-8587-531c474c7b48" providerId="ADAL" clId="{6ECD27E6-B224-41CD-B4E0-E297462320DD}" dt="2023-11-24T08:52:27.634" v="92785"/>
          <ac:spMkLst>
            <pc:docMk/>
            <pc:sldMk cId="3795759164" sldId="691"/>
            <ac:spMk id="604" creationId="{3E10A663-F65C-B049-F1A8-B132D3D4F4E1}"/>
          </ac:spMkLst>
        </pc:spChg>
        <pc:spChg chg="add del mod">
          <ac:chgData name="Steiner Andreas 6206 ED" userId="e6377c33-a923-4f14-8587-531c474c7b48" providerId="ADAL" clId="{6ECD27E6-B224-41CD-B4E0-E297462320DD}" dt="2023-11-24T08:52:29.726" v="92940"/>
          <ac:spMkLst>
            <pc:docMk/>
            <pc:sldMk cId="3795759164" sldId="691"/>
            <ac:spMk id="605" creationId="{AED467F5-80CC-0EEE-8956-5E7D84CC2649}"/>
          </ac:spMkLst>
        </pc:spChg>
        <pc:spChg chg="add del mod">
          <ac:chgData name="Steiner Andreas 6206 ED" userId="e6377c33-a923-4f14-8587-531c474c7b48" providerId="ADAL" clId="{6ECD27E6-B224-41CD-B4E0-E297462320DD}" dt="2023-11-24T08:52:31.653" v="93095"/>
          <ac:spMkLst>
            <pc:docMk/>
            <pc:sldMk cId="3795759164" sldId="691"/>
            <ac:spMk id="606" creationId="{3303A7A8-23E8-3EAF-53AA-2174E56B2AF2}"/>
          </ac:spMkLst>
        </pc:spChg>
        <pc:spChg chg="add del mod">
          <ac:chgData name="Steiner Andreas 6206 ED" userId="e6377c33-a923-4f14-8587-531c474c7b48" providerId="ADAL" clId="{6ECD27E6-B224-41CD-B4E0-E297462320DD}" dt="2023-11-24T08:52:33.580" v="93250"/>
          <ac:spMkLst>
            <pc:docMk/>
            <pc:sldMk cId="3795759164" sldId="691"/>
            <ac:spMk id="607" creationId="{5827800C-E085-592E-4BEB-3B2C3CD3CE52}"/>
          </ac:spMkLst>
        </pc:spChg>
        <pc:spChg chg="add del mod">
          <ac:chgData name="Steiner Andreas 6206 ED" userId="e6377c33-a923-4f14-8587-531c474c7b48" providerId="ADAL" clId="{6ECD27E6-B224-41CD-B4E0-E297462320DD}" dt="2023-11-24T08:52:35.473" v="93405"/>
          <ac:spMkLst>
            <pc:docMk/>
            <pc:sldMk cId="3795759164" sldId="691"/>
            <ac:spMk id="608" creationId="{F135D122-3C58-AC9E-A894-C1E51ACC10E3}"/>
          </ac:spMkLst>
        </pc:spChg>
        <pc:spChg chg="add del mod">
          <ac:chgData name="Steiner Andreas 6206 ED" userId="e6377c33-a923-4f14-8587-531c474c7b48" providerId="ADAL" clId="{6ECD27E6-B224-41CD-B4E0-E297462320DD}" dt="2023-11-24T08:52:37.397" v="93560"/>
          <ac:spMkLst>
            <pc:docMk/>
            <pc:sldMk cId="3795759164" sldId="691"/>
            <ac:spMk id="609" creationId="{FAAA8F7A-15F2-929C-83CE-43C673214CBE}"/>
          </ac:spMkLst>
        </pc:spChg>
        <pc:spChg chg="add del mod">
          <ac:chgData name="Steiner Andreas 6206 ED" userId="e6377c33-a923-4f14-8587-531c474c7b48" providerId="ADAL" clId="{6ECD27E6-B224-41CD-B4E0-E297462320DD}" dt="2023-11-24T08:52:39.307" v="93715"/>
          <ac:spMkLst>
            <pc:docMk/>
            <pc:sldMk cId="3795759164" sldId="691"/>
            <ac:spMk id="610" creationId="{7843B378-3060-4EB2-1639-E1B0DF7E48D4}"/>
          </ac:spMkLst>
        </pc:spChg>
        <pc:spChg chg="add del mod">
          <ac:chgData name="Steiner Andreas 6206 ED" userId="e6377c33-a923-4f14-8587-531c474c7b48" providerId="ADAL" clId="{6ECD27E6-B224-41CD-B4E0-E297462320DD}" dt="2023-11-24T08:52:41.357" v="93870"/>
          <ac:spMkLst>
            <pc:docMk/>
            <pc:sldMk cId="3795759164" sldId="691"/>
            <ac:spMk id="611" creationId="{4BE68912-1F0A-0D73-F3E3-7AFCE1F29912}"/>
          </ac:spMkLst>
        </pc:spChg>
        <pc:spChg chg="add del mod">
          <ac:chgData name="Steiner Andreas 6206 ED" userId="e6377c33-a923-4f14-8587-531c474c7b48" providerId="ADAL" clId="{6ECD27E6-B224-41CD-B4E0-E297462320DD}" dt="2023-11-24T08:52:43.310" v="94025"/>
          <ac:spMkLst>
            <pc:docMk/>
            <pc:sldMk cId="3795759164" sldId="691"/>
            <ac:spMk id="612" creationId="{230FD81A-CEF3-2E63-2279-ECB3F4D2E3FE}"/>
          </ac:spMkLst>
        </pc:spChg>
        <pc:spChg chg="add del mod">
          <ac:chgData name="Steiner Andreas 6206 ED" userId="e6377c33-a923-4f14-8587-531c474c7b48" providerId="ADAL" clId="{6ECD27E6-B224-41CD-B4E0-E297462320DD}" dt="2023-11-24T08:52:45.244" v="94180"/>
          <ac:spMkLst>
            <pc:docMk/>
            <pc:sldMk cId="3795759164" sldId="691"/>
            <ac:spMk id="613" creationId="{4DAEDDCE-9975-ACA4-289D-DB1B3F35C05B}"/>
          </ac:spMkLst>
        </pc:spChg>
        <pc:spChg chg="add del mod">
          <ac:chgData name="Steiner Andreas 6206 ED" userId="e6377c33-a923-4f14-8587-531c474c7b48" providerId="ADAL" clId="{6ECD27E6-B224-41CD-B4E0-E297462320DD}" dt="2023-11-24T08:52:47.206" v="94335"/>
          <ac:spMkLst>
            <pc:docMk/>
            <pc:sldMk cId="3795759164" sldId="691"/>
            <ac:spMk id="614" creationId="{089D0694-1ABD-E739-8FC4-A491A7822C2F}"/>
          </ac:spMkLst>
        </pc:spChg>
        <pc:spChg chg="add del mod">
          <ac:chgData name="Steiner Andreas 6206 ED" userId="e6377c33-a923-4f14-8587-531c474c7b48" providerId="ADAL" clId="{6ECD27E6-B224-41CD-B4E0-E297462320DD}" dt="2023-11-24T08:52:49.281" v="94490"/>
          <ac:spMkLst>
            <pc:docMk/>
            <pc:sldMk cId="3795759164" sldId="691"/>
            <ac:spMk id="615" creationId="{E7AD6078-AF39-91E7-1AD5-BECFB76F739A}"/>
          </ac:spMkLst>
        </pc:spChg>
        <pc:spChg chg="add del mod">
          <ac:chgData name="Steiner Andreas 6206 ED" userId="e6377c33-a923-4f14-8587-531c474c7b48" providerId="ADAL" clId="{6ECD27E6-B224-41CD-B4E0-E297462320DD}" dt="2023-11-24T08:52:51.485" v="94645"/>
          <ac:spMkLst>
            <pc:docMk/>
            <pc:sldMk cId="3795759164" sldId="691"/>
            <ac:spMk id="616" creationId="{A21354C0-8C69-C3F2-5C1D-4B999A58938D}"/>
          </ac:spMkLst>
        </pc:spChg>
        <pc:spChg chg="add del mod">
          <ac:chgData name="Steiner Andreas 6206 ED" userId="e6377c33-a923-4f14-8587-531c474c7b48" providerId="ADAL" clId="{6ECD27E6-B224-41CD-B4E0-E297462320DD}" dt="2023-11-24T08:52:53.428" v="94800"/>
          <ac:spMkLst>
            <pc:docMk/>
            <pc:sldMk cId="3795759164" sldId="691"/>
            <ac:spMk id="617" creationId="{6135A1CD-934B-77AD-8BEC-E3476FF5F01E}"/>
          </ac:spMkLst>
        </pc:spChg>
        <pc:spChg chg="add del mod">
          <ac:chgData name="Steiner Andreas 6206 ED" userId="e6377c33-a923-4f14-8587-531c474c7b48" providerId="ADAL" clId="{6ECD27E6-B224-41CD-B4E0-E297462320DD}" dt="2023-11-24T08:52:55.367" v="94955"/>
          <ac:spMkLst>
            <pc:docMk/>
            <pc:sldMk cId="3795759164" sldId="691"/>
            <ac:spMk id="618" creationId="{8F02FCD0-737D-4C73-DA9E-BFBF606187AB}"/>
          </ac:spMkLst>
        </pc:spChg>
        <pc:spChg chg="add del mod">
          <ac:chgData name="Steiner Andreas 6206 ED" userId="e6377c33-a923-4f14-8587-531c474c7b48" providerId="ADAL" clId="{6ECD27E6-B224-41CD-B4E0-E297462320DD}" dt="2023-11-24T08:52:57.398" v="95110"/>
          <ac:spMkLst>
            <pc:docMk/>
            <pc:sldMk cId="3795759164" sldId="691"/>
            <ac:spMk id="619" creationId="{E6E24E79-166C-2B84-722F-4BD3F4F9999D}"/>
          </ac:spMkLst>
        </pc:spChg>
        <pc:spChg chg="add del mod">
          <ac:chgData name="Steiner Andreas 6206 ED" userId="e6377c33-a923-4f14-8587-531c474c7b48" providerId="ADAL" clId="{6ECD27E6-B224-41CD-B4E0-E297462320DD}" dt="2023-11-24T08:52:59.347" v="95265"/>
          <ac:spMkLst>
            <pc:docMk/>
            <pc:sldMk cId="3795759164" sldId="691"/>
            <ac:spMk id="620" creationId="{DA9A782C-0F80-09F2-650C-CC6118A18AC7}"/>
          </ac:spMkLst>
        </pc:spChg>
        <pc:spChg chg="add del mod">
          <ac:chgData name="Steiner Andreas 6206 ED" userId="e6377c33-a923-4f14-8587-531c474c7b48" providerId="ADAL" clId="{6ECD27E6-B224-41CD-B4E0-E297462320DD}" dt="2023-11-24T08:53:01.355" v="95420"/>
          <ac:spMkLst>
            <pc:docMk/>
            <pc:sldMk cId="3795759164" sldId="691"/>
            <ac:spMk id="621" creationId="{A3DBF2B7-EF19-0289-9FCF-401DC8674EDC}"/>
          </ac:spMkLst>
        </pc:spChg>
        <pc:spChg chg="add del mod">
          <ac:chgData name="Steiner Andreas 6206 ED" userId="e6377c33-a923-4f14-8587-531c474c7b48" providerId="ADAL" clId="{6ECD27E6-B224-41CD-B4E0-E297462320DD}" dt="2023-11-24T08:53:03.478" v="95575"/>
          <ac:spMkLst>
            <pc:docMk/>
            <pc:sldMk cId="3795759164" sldId="691"/>
            <ac:spMk id="622" creationId="{5C5F3CAF-380C-A9F7-BB38-3C792DA66ABE}"/>
          </ac:spMkLst>
        </pc:spChg>
        <pc:spChg chg="add del mod">
          <ac:chgData name="Steiner Andreas 6206 ED" userId="e6377c33-a923-4f14-8587-531c474c7b48" providerId="ADAL" clId="{6ECD27E6-B224-41CD-B4E0-E297462320DD}" dt="2023-11-24T08:53:05.444" v="95730"/>
          <ac:spMkLst>
            <pc:docMk/>
            <pc:sldMk cId="3795759164" sldId="691"/>
            <ac:spMk id="623" creationId="{279AF5A3-312D-3B61-78C6-63C832B6BFE8}"/>
          </ac:spMkLst>
        </pc:spChg>
        <pc:spChg chg="add del mod">
          <ac:chgData name="Steiner Andreas 6206 ED" userId="e6377c33-a923-4f14-8587-531c474c7b48" providerId="ADAL" clId="{6ECD27E6-B224-41CD-B4E0-E297462320DD}" dt="2023-11-24T08:53:07.320" v="95885"/>
          <ac:spMkLst>
            <pc:docMk/>
            <pc:sldMk cId="3795759164" sldId="691"/>
            <ac:spMk id="624" creationId="{067106F7-FA62-32FC-8CE8-3E9CDA6A9C8F}"/>
          </ac:spMkLst>
        </pc:spChg>
        <pc:spChg chg="add del mod">
          <ac:chgData name="Steiner Andreas 6206 ED" userId="e6377c33-a923-4f14-8587-531c474c7b48" providerId="ADAL" clId="{6ECD27E6-B224-41CD-B4E0-E297462320DD}" dt="2023-11-24T08:53:09.260" v="96040"/>
          <ac:spMkLst>
            <pc:docMk/>
            <pc:sldMk cId="3795759164" sldId="691"/>
            <ac:spMk id="625" creationId="{A1E9CAB0-843B-39F6-3907-5699FFEF2F2A}"/>
          </ac:spMkLst>
        </pc:spChg>
        <pc:spChg chg="add del mod">
          <ac:chgData name="Steiner Andreas 6206 ED" userId="e6377c33-a923-4f14-8587-531c474c7b48" providerId="ADAL" clId="{6ECD27E6-B224-41CD-B4E0-E297462320DD}" dt="2023-11-24T08:53:11.205" v="96195"/>
          <ac:spMkLst>
            <pc:docMk/>
            <pc:sldMk cId="3795759164" sldId="691"/>
            <ac:spMk id="626" creationId="{987C7E5C-CFEE-1380-A22A-024C92581BFC}"/>
          </ac:spMkLst>
        </pc:spChg>
        <pc:spChg chg="add del mod">
          <ac:chgData name="Steiner Andreas 6206 ED" userId="e6377c33-a923-4f14-8587-531c474c7b48" providerId="ADAL" clId="{6ECD27E6-B224-41CD-B4E0-E297462320DD}" dt="2023-11-24T08:53:13.190" v="96350"/>
          <ac:spMkLst>
            <pc:docMk/>
            <pc:sldMk cId="3795759164" sldId="691"/>
            <ac:spMk id="627" creationId="{B1B20449-DAB9-CF40-3852-4BB5E0BF9523}"/>
          </ac:spMkLst>
        </pc:spChg>
        <pc:spChg chg="add del mod">
          <ac:chgData name="Steiner Andreas 6206 ED" userId="e6377c33-a923-4f14-8587-531c474c7b48" providerId="ADAL" clId="{6ECD27E6-B224-41CD-B4E0-E297462320DD}" dt="2023-11-24T08:53:15.282" v="96505"/>
          <ac:spMkLst>
            <pc:docMk/>
            <pc:sldMk cId="3795759164" sldId="691"/>
            <ac:spMk id="628" creationId="{9CFAB212-74AC-0901-BD1E-FB19D795328C}"/>
          </ac:spMkLst>
        </pc:spChg>
        <pc:spChg chg="add del mod">
          <ac:chgData name="Steiner Andreas 6206 ED" userId="e6377c33-a923-4f14-8587-531c474c7b48" providerId="ADAL" clId="{6ECD27E6-B224-41CD-B4E0-E297462320DD}" dt="2023-11-24T08:53:17.245" v="96660"/>
          <ac:spMkLst>
            <pc:docMk/>
            <pc:sldMk cId="3795759164" sldId="691"/>
            <ac:spMk id="629" creationId="{E80D02D1-ABB1-9DCB-99AE-7D597FB54C0E}"/>
          </ac:spMkLst>
        </pc:spChg>
        <pc:spChg chg="add del mod">
          <ac:chgData name="Steiner Andreas 6206 ED" userId="e6377c33-a923-4f14-8587-531c474c7b48" providerId="ADAL" clId="{6ECD27E6-B224-41CD-B4E0-E297462320DD}" dt="2023-11-24T08:53:19.208" v="96815"/>
          <ac:spMkLst>
            <pc:docMk/>
            <pc:sldMk cId="3795759164" sldId="691"/>
            <ac:spMk id="630" creationId="{7FF48EEE-CD1C-BB18-5FB6-B6CD454B1AFD}"/>
          </ac:spMkLst>
        </pc:spChg>
        <pc:spChg chg="add del mod">
          <ac:chgData name="Steiner Andreas 6206 ED" userId="e6377c33-a923-4f14-8587-531c474c7b48" providerId="ADAL" clId="{6ECD27E6-B224-41CD-B4E0-E297462320DD}" dt="2023-11-24T08:53:21.171" v="96970"/>
          <ac:spMkLst>
            <pc:docMk/>
            <pc:sldMk cId="3795759164" sldId="691"/>
            <ac:spMk id="631" creationId="{21D07EE8-406C-AE4F-F4BA-337D88CF3706}"/>
          </ac:spMkLst>
        </pc:spChg>
        <pc:spChg chg="add del mod">
          <ac:chgData name="Steiner Andreas 6206 ED" userId="e6377c33-a923-4f14-8587-531c474c7b48" providerId="ADAL" clId="{6ECD27E6-B224-41CD-B4E0-E297462320DD}" dt="2023-11-24T08:53:23.133" v="97125"/>
          <ac:spMkLst>
            <pc:docMk/>
            <pc:sldMk cId="3795759164" sldId="691"/>
            <ac:spMk id="632" creationId="{5F4850C7-A78C-0018-D3C2-9220E2DF405F}"/>
          </ac:spMkLst>
        </pc:spChg>
        <pc:spChg chg="add del mod">
          <ac:chgData name="Steiner Andreas 6206 ED" userId="e6377c33-a923-4f14-8587-531c474c7b48" providerId="ADAL" clId="{6ECD27E6-B224-41CD-B4E0-E297462320DD}" dt="2023-11-24T08:53:25.245" v="97280"/>
          <ac:spMkLst>
            <pc:docMk/>
            <pc:sldMk cId="3795759164" sldId="691"/>
            <ac:spMk id="633" creationId="{6581D68B-669D-326C-7FFA-457BF7530674}"/>
          </ac:spMkLst>
        </pc:spChg>
        <pc:spChg chg="add del mod">
          <ac:chgData name="Steiner Andreas 6206 ED" userId="e6377c33-a923-4f14-8587-531c474c7b48" providerId="ADAL" clId="{6ECD27E6-B224-41CD-B4E0-E297462320DD}" dt="2023-11-24T08:53:27.237" v="97435"/>
          <ac:spMkLst>
            <pc:docMk/>
            <pc:sldMk cId="3795759164" sldId="691"/>
            <ac:spMk id="634" creationId="{8980B8AA-FCB6-51C2-7F89-2DF310FD2E04}"/>
          </ac:spMkLst>
        </pc:spChg>
        <pc:spChg chg="add del mod">
          <ac:chgData name="Steiner Andreas 6206 ED" userId="e6377c33-a923-4f14-8587-531c474c7b48" providerId="ADAL" clId="{6ECD27E6-B224-41CD-B4E0-E297462320DD}" dt="2023-11-24T08:53:29.126" v="97590"/>
          <ac:spMkLst>
            <pc:docMk/>
            <pc:sldMk cId="3795759164" sldId="691"/>
            <ac:spMk id="635" creationId="{E15FBB0D-5655-B918-9881-B1BC3FF1861C}"/>
          </ac:spMkLst>
        </pc:spChg>
        <pc:spChg chg="add del mod">
          <ac:chgData name="Steiner Andreas 6206 ED" userId="e6377c33-a923-4f14-8587-531c474c7b48" providerId="ADAL" clId="{6ECD27E6-B224-41CD-B4E0-E297462320DD}" dt="2023-11-24T08:53:31.024" v="97745"/>
          <ac:spMkLst>
            <pc:docMk/>
            <pc:sldMk cId="3795759164" sldId="691"/>
            <ac:spMk id="636" creationId="{6DC6F79F-71EF-020F-D648-27F09A7047B2}"/>
          </ac:spMkLst>
        </pc:spChg>
        <pc:spChg chg="add del mod">
          <ac:chgData name="Steiner Andreas 6206 ED" userId="e6377c33-a923-4f14-8587-531c474c7b48" providerId="ADAL" clId="{6ECD27E6-B224-41CD-B4E0-E297462320DD}" dt="2023-11-24T08:53:32.959" v="97900"/>
          <ac:spMkLst>
            <pc:docMk/>
            <pc:sldMk cId="3795759164" sldId="691"/>
            <ac:spMk id="637" creationId="{AE0DF7BA-79E7-614C-09D5-2CC30D396D39}"/>
          </ac:spMkLst>
        </pc:spChg>
        <pc:spChg chg="add del mod">
          <ac:chgData name="Steiner Andreas 6206 ED" userId="e6377c33-a923-4f14-8587-531c474c7b48" providerId="ADAL" clId="{6ECD27E6-B224-41CD-B4E0-E297462320DD}" dt="2023-11-24T08:53:34.890" v="98055"/>
          <ac:spMkLst>
            <pc:docMk/>
            <pc:sldMk cId="3795759164" sldId="691"/>
            <ac:spMk id="638" creationId="{C1AA79FC-B237-591B-FE16-202BDB039DC7}"/>
          </ac:spMkLst>
        </pc:spChg>
        <pc:spChg chg="add del mod">
          <ac:chgData name="Steiner Andreas 6206 ED" userId="e6377c33-a923-4f14-8587-531c474c7b48" providerId="ADAL" clId="{6ECD27E6-B224-41CD-B4E0-E297462320DD}" dt="2023-11-24T08:53:36.987" v="98210"/>
          <ac:spMkLst>
            <pc:docMk/>
            <pc:sldMk cId="3795759164" sldId="691"/>
            <ac:spMk id="639" creationId="{3BFE7598-A337-A3AE-8334-FEA5ECD58CFB}"/>
          </ac:spMkLst>
        </pc:spChg>
        <pc:spChg chg="add del mod">
          <ac:chgData name="Steiner Andreas 6206 ED" userId="e6377c33-a923-4f14-8587-531c474c7b48" providerId="ADAL" clId="{6ECD27E6-B224-41CD-B4E0-E297462320DD}" dt="2023-11-24T08:53:38.901" v="98365"/>
          <ac:spMkLst>
            <pc:docMk/>
            <pc:sldMk cId="3795759164" sldId="691"/>
            <ac:spMk id="640" creationId="{0A05FD39-3923-11A0-43DD-72A2AF7B9A1F}"/>
          </ac:spMkLst>
        </pc:spChg>
        <pc:spChg chg="add del mod">
          <ac:chgData name="Steiner Andreas 6206 ED" userId="e6377c33-a923-4f14-8587-531c474c7b48" providerId="ADAL" clId="{6ECD27E6-B224-41CD-B4E0-E297462320DD}" dt="2023-11-24T08:53:40.862" v="98520"/>
          <ac:spMkLst>
            <pc:docMk/>
            <pc:sldMk cId="3795759164" sldId="691"/>
            <ac:spMk id="641" creationId="{928A0E70-2794-A6F7-6C6C-3E1F7F043415}"/>
          </ac:spMkLst>
        </pc:spChg>
        <pc:spChg chg="add del mod">
          <ac:chgData name="Steiner Andreas 6206 ED" userId="e6377c33-a923-4f14-8587-531c474c7b48" providerId="ADAL" clId="{6ECD27E6-B224-41CD-B4E0-E297462320DD}" dt="2023-11-24T08:53:42.802" v="98675"/>
          <ac:spMkLst>
            <pc:docMk/>
            <pc:sldMk cId="3795759164" sldId="691"/>
            <ac:spMk id="642" creationId="{F9950C72-4E9F-6983-85CE-5B60142DCF20}"/>
          </ac:spMkLst>
        </pc:spChg>
        <pc:spChg chg="add del mod">
          <ac:chgData name="Steiner Andreas 6206 ED" userId="e6377c33-a923-4f14-8587-531c474c7b48" providerId="ADAL" clId="{6ECD27E6-B224-41CD-B4E0-E297462320DD}" dt="2023-11-24T08:53:44.754" v="98830"/>
          <ac:spMkLst>
            <pc:docMk/>
            <pc:sldMk cId="3795759164" sldId="691"/>
            <ac:spMk id="643" creationId="{263C0FDF-2E5A-FE24-A1A7-14597719416B}"/>
          </ac:spMkLst>
        </pc:spChg>
        <pc:spChg chg="add del mod">
          <ac:chgData name="Steiner Andreas 6206 ED" userId="e6377c33-a923-4f14-8587-531c474c7b48" providerId="ADAL" clId="{6ECD27E6-B224-41CD-B4E0-E297462320DD}" dt="2023-11-24T08:53:46.686" v="98985"/>
          <ac:spMkLst>
            <pc:docMk/>
            <pc:sldMk cId="3795759164" sldId="691"/>
            <ac:spMk id="644" creationId="{21AFBB5C-1BFE-09A5-5168-1C957B6A3D1A}"/>
          </ac:spMkLst>
        </pc:spChg>
        <pc:spChg chg="add del mod">
          <ac:chgData name="Steiner Andreas 6206 ED" userId="e6377c33-a923-4f14-8587-531c474c7b48" providerId="ADAL" clId="{6ECD27E6-B224-41CD-B4E0-E297462320DD}" dt="2023-11-24T08:53:48.750" v="99140"/>
          <ac:spMkLst>
            <pc:docMk/>
            <pc:sldMk cId="3795759164" sldId="691"/>
            <ac:spMk id="645" creationId="{008F4DEB-4713-4C1A-9778-D3877BC44ABE}"/>
          </ac:spMkLst>
        </pc:spChg>
        <pc:spChg chg="add del mod">
          <ac:chgData name="Steiner Andreas 6206 ED" userId="e6377c33-a923-4f14-8587-531c474c7b48" providerId="ADAL" clId="{6ECD27E6-B224-41CD-B4E0-E297462320DD}" dt="2023-11-24T08:53:50.702" v="99295"/>
          <ac:spMkLst>
            <pc:docMk/>
            <pc:sldMk cId="3795759164" sldId="691"/>
            <ac:spMk id="646" creationId="{07E6CACB-CF13-A606-3CEC-DC6B3D0B8055}"/>
          </ac:spMkLst>
        </pc:spChg>
        <pc:spChg chg="add del mod">
          <ac:chgData name="Steiner Andreas 6206 ED" userId="e6377c33-a923-4f14-8587-531c474c7b48" providerId="ADAL" clId="{6ECD27E6-B224-41CD-B4E0-E297462320DD}" dt="2023-11-24T08:53:52.685" v="99450"/>
          <ac:spMkLst>
            <pc:docMk/>
            <pc:sldMk cId="3795759164" sldId="691"/>
            <ac:spMk id="647" creationId="{10C4A1B1-AF21-4454-1B4C-8A1DB463F676}"/>
          </ac:spMkLst>
        </pc:spChg>
        <pc:spChg chg="add del mod">
          <ac:chgData name="Steiner Andreas 6206 ED" userId="e6377c33-a923-4f14-8587-531c474c7b48" providerId="ADAL" clId="{6ECD27E6-B224-41CD-B4E0-E297462320DD}" dt="2023-11-24T08:53:54.650" v="99605"/>
          <ac:spMkLst>
            <pc:docMk/>
            <pc:sldMk cId="3795759164" sldId="691"/>
            <ac:spMk id="648" creationId="{DAFEAF05-EC53-362A-ECBF-61FC89959663}"/>
          </ac:spMkLst>
        </pc:spChg>
        <pc:spChg chg="add del mod">
          <ac:chgData name="Steiner Andreas 6206 ED" userId="e6377c33-a923-4f14-8587-531c474c7b48" providerId="ADAL" clId="{6ECD27E6-B224-41CD-B4E0-E297462320DD}" dt="2023-11-24T08:53:56.579" v="99760"/>
          <ac:spMkLst>
            <pc:docMk/>
            <pc:sldMk cId="3795759164" sldId="691"/>
            <ac:spMk id="649" creationId="{32231451-DF8C-50B3-E052-A0B5AC3827FD}"/>
          </ac:spMkLst>
        </pc:spChg>
        <pc:spChg chg="add del mod">
          <ac:chgData name="Steiner Andreas 6206 ED" userId="e6377c33-a923-4f14-8587-531c474c7b48" providerId="ADAL" clId="{6ECD27E6-B224-41CD-B4E0-E297462320DD}" dt="2023-11-24T08:53:58.650" v="99915"/>
          <ac:spMkLst>
            <pc:docMk/>
            <pc:sldMk cId="3795759164" sldId="691"/>
            <ac:spMk id="650" creationId="{1936AAD3-4B80-F803-6E5E-FBD1FC17DEB4}"/>
          </ac:spMkLst>
        </pc:spChg>
        <pc:spChg chg="add del mod">
          <ac:chgData name="Steiner Andreas 6206 ED" userId="e6377c33-a923-4f14-8587-531c474c7b48" providerId="ADAL" clId="{6ECD27E6-B224-41CD-B4E0-E297462320DD}" dt="2023-11-24T08:54:00.757" v="100070"/>
          <ac:spMkLst>
            <pc:docMk/>
            <pc:sldMk cId="3795759164" sldId="691"/>
            <ac:spMk id="651" creationId="{FB4A201E-8D2B-6210-5E00-A93051F272FC}"/>
          </ac:spMkLst>
        </pc:spChg>
        <pc:spChg chg="add del mod">
          <ac:chgData name="Steiner Andreas 6206 ED" userId="e6377c33-a923-4f14-8587-531c474c7b48" providerId="ADAL" clId="{6ECD27E6-B224-41CD-B4E0-E297462320DD}" dt="2023-11-24T08:54:02.746" v="100225"/>
          <ac:spMkLst>
            <pc:docMk/>
            <pc:sldMk cId="3795759164" sldId="691"/>
            <ac:spMk id="652" creationId="{8403787D-DA59-8954-503F-027DE231F5C9}"/>
          </ac:spMkLst>
        </pc:spChg>
        <pc:spChg chg="add del mod">
          <ac:chgData name="Steiner Andreas 6206 ED" userId="e6377c33-a923-4f14-8587-531c474c7b48" providerId="ADAL" clId="{6ECD27E6-B224-41CD-B4E0-E297462320DD}" dt="2023-11-24T08:54:04.698" v="100380"/>
          <ac:spMkLst>
            <pc:docMk/>
            <pc:sldMk cId="3795759164" sldId="691"/>
            <ac:spMk id="653" creationId="{91332EF0-6514-EE2C-5A8C-533E8EDA1BA1}"/>
          </ac:spMkLst>
        </pc:spChg>
        <pc:spChg chg="add del mod">
          <ac:chgData name="Steiner Andreas 6206 ED" userId="e6377c33-a923-4f14-8587-531c474c7b48" providerId="ADAL" clId="{6ECD27E6-B224-41CD-B4E0-E297462320DD}" dt="2023-11-24T08:54:06.673" v="100535"/>
          <ac:spMkLst>
            <pc:docMk/>
            <pc:sldMk cId="3795759164" sldId="691"/>
            <ac:spMk id="654" creationId="{FE79DE5B-3E60-D66E-E636-58F941DE9468}"/>
          </ac:spMkLst>
        </pc:spChg>
        <pc:spChg chg="add del mod">
          <ac:chgData name="Steiner Andreas 6206 ED" userId="e6377c33-a923-4f14-8587-531c474c7b48" providerId="ADAL" clId="{6ECD27E6-B224-41CD-B4E0-E297462320DD}" dt="2023-11-24T08:54:08.650" v="100690"/>
          <ac:spMkLst>
            <pc:docMk/>
            <pc:sldMk cId="3795759164" sldId="691"/>
            <ac:spMk id="655" creationId="{2D461990-C096-6414-80A3-3A9F71AC6752}"/>
          </ac:spMkLst>
        </pc:spChg>
        <pc:spChg chg="add del mod">
          <ac:chgData name="Steiner Andreas 6206 ED" userId="e6377c33-a923-4f14-8587-531c474c7b48" providerId="ADAL" clId="{6ECD27E6-B224-41CD-B4E0-E297462320DD}" dt="2023-11-24T08:54:10.795" v="100845"/>
          <ac:spMkLst>
            <pc:docMk/>
            <pc:sldMk cId="3795759164" sldId="691"/>
            <ac:spMk id="656" creationId="{567CC0A2-5FFA-90AE-8DDB-5CA0E885E49F}"/>
          </ac:spMkLst>
        </pc:spChg>
        <pc:spChg chg="add del mod">
          <ac:chgData name="Steiner Andreas 6206 ED" userId="e6377c33-a923-4f14-8587-531c474c7b48" providerId="ADAL" clId="{6ECD27E6-B224-41CD-B4E0-E297462320DD}" dt="2023-11-24T08:54:12.717" v="101000"/>
          <ac:spMkLst>
            <pc:docMk/>
            <pc:sldMk cId="3795759164" sldId="691"/>
            <ac:spMk id="657" creationId="{BCEBB584-8833-66C1-D985-F5E37D724DF2}"/>
          </ac:spMkLst>
        </pc:spChg>
        <pc:spChg chg="add del mod">
          <ac:chgData name="Steiner Andreas 6206 ED" userId="e6377c33-a923-4f14-8587-531c474c7b48" providerId="ADAL" clId="{6ECD27E6-B224-41CD-B4E0-E297462320DD}" dt="2023-11-24T08:54:14.689" v="101155"/>
          <ac:spMkLst>
            <pc:docMk/>
            <pc:sldMk cId="3795759164" sldId="691"/>
            <ac:spMk id="658" creationId="{D0E1917D-D90B-1C9A-AE40-8EB63FA96FC2}"/>
          </ac:spMkLst>
        </pc:spChg>
        <pc:spChg chg="add del mod">
          <ac:chgData name="Steiner Andreas 6206 ED" userId="e6377c33-a923-4f14-8587-531c474c7b48" providerId="ADAL" clId="{6ECD27E6-B224-41CD-B4E0-E297462320DD}" dt="2023-11-24T08:54:16.568" v="101310"/>
          <ac:spMkLst>
            <pc:docMk/>
            <pc:sldMk cId="3795759164" sldId="691"/>
            <ac:spMk id="659" creationId="{0D42854A-83A8-8F8C-C0FC-BB968623E7DB}"/>
          </ac:spMkLst>
        </pc:spChg>
        <pc:spChg chg="add del mod">
          <ac:chgData name="Steiner Andreas 6206 ED" userId="e6377c33-a923-4f14-8587-531c474c7b48" providerId="ADAL" clId="{6ECD27E6-B224-41CD-B4E0-E297462320DD}" dt="2023-11-24T08:54:18.485" v="101465"/>
          <ac:spMkLst>
            <pc:docMk/>
            <pc:sldMk cId="3795759164" sldId="691"/>
            <ac:spMk id="660" creationId="{8F187DBE-569F-25B7-3B67-9277F949E0D4}"/>
          </ac:spMkLst>
        </pc:spChg>
        <pc:spChg chg="add del mod">
          <ac:chgData name="Steiner Andreas 6206 ED" userId="e6377c33-a923-4f14-8587-531c474c7b48" providerId="ADAL" clId="{6ECD27E6-B224-41CD-B4E0-E297462320DD}" dt="2023-11-24T08:54:20.447" v="101620"/>
          <ac:spMkLst>
            <pc:docMk/>
            <pc:sldMk cId="3795759164" sldId="691"/>
            <ac:spMk id="661" creationId="{70EFFCE8-A39E-2506-009B-3682409C079F}"/>
          </ac:spMkLst>
        </pc:spChg>
        <pc:spChg chg="add del mod">
          <ac:chgData name="Steiner Andreas 6206 ED" userId="e6377c33-a923-4f14-8587-531c474c7b48" providerId="ADAL" clId="{6ECD27E6-B224-41CD-B4E0-E297462320DD}" dt="2023-11-24T08:54:22.558" v="101775"/>
          <ac:spMkLst>
            <pc:docMk/>
            <pc:sldMk cId="3795759164" sldId="691"/>
            <ac:spMk id="662" creationId="{D37075A4-9B9E-BEBD-DA23-E41B38D4FF33}"/>
          </ac:spMkLst>
        </pc:spChg>
        <pc:spChg chg="add del mod">
          <ac:chgData name="Steiner Andreas 6206 ED" userId="e6377c33-a923-4f14-8587-531c474c7b48" providerId="ADAL" clId="{6ECD27E6-B224-41CD-B4E0-E297462320DD}" dt="2023-11-24T08:54:24.518" v="101930"/>
          <ac:spMkLst>
            <pc:docMk/>
            <pc:sldMk cId="3795759164" sldId="691"/>
            <ac:spMk id="663" creationId="{A2F4B0CE-0771-ED2A-F912-E6B07D92D2A3}"/>
          </ac:spMkLst>
        </pc:spChg>
        <pc:spChg chg="add del mod">
          <ac:chgData name="Steiner Andreas 6206 ED" userId="e6377c33-a923-4f14-8587-531c474c7b48" providerId="ADAL" clId="{6ECD27E6-B224-41CD-B4E0-E297462320DD}" dt="2023-11-24T08:54:26.469" v="102085"/>
          <ac:spMkLst>
            <pc:docMk/>
            <pc:sldMk cId="3795759164" sldId="691"/>
            <ac:spMk id="664" creationId="{1D7BEC67-2399-2890-B599-18A269677973}"/>
          </ac:spMkLst>
        </pc:spChg>
        <pc:spChg chg="add del mod">
          <ac:chgData name="Steiner Andreas 6206 ED" userId="e6377c33-a923-4f14-8587-531c474c7b48" providerId="ADAL" clId="{6ECD27E6-B224-41CD-B4E0-E297462320DD}" dt="2023-11-24T08:54:28.428" v="102240"/>
          <ac:spMkLst>
            <pc:docMk/>
            <pc:sldMk cId="3795759164" sldId="691"/>
            <ac:spMk id="665" creationId="{C5101E15-C206-1E1A-C8EB-F691B5C87FA6}"/>
          </ac:spMkLst>
        </pc:spChg>
        <pc:spChg chg="add del mod">
          <ac:chgData name="Steiner Andreas 6206 ED" userId="e6377c33-a923-4f14-8587-531c474c7b48" providerId="ADAL" clId="{6ECD27E6-B224-41CD-B4E0-E297462320DD}" dt="2023-11-24T08:54:30.356" v="102395"/>
          <ac:spMkLst>
            <pc:docMk/>
            <pc:sldMk cId="3795759164" sldId="691"/>
            <ac:spMk id="666" creationId="{5E33499C-5827-E06C-9471-B7D106A3729B}"/>
          </ac:spMkLst>
        </pc:spChg>
        <pc:spChg chg="add del mod">
          <ac:chgData name="Steiner Andreas 6206 ED" userId="e6377c33-a923-4f14-8587-531c474c7b48" providerId="ADAL" clId="{6ECD27E6-B224-41CD-B4E0-E297462320DD}" dt="2023-11-24T08:54:32.513" v="102550"/>
          <ac:spMkLst>
            <pc:docMk/>
            <pc:sldMk cId="3795759164" sldId="691"/>
            <ac:spMk id="667" creationId="{1310C1B5-A002-9132-5213-D69B3FCACB7F}"/>
          </ac:spMkLst>
        </pc:spChg>
        <pc:spChg chg="add del mod">
          <ac:chgData name="Steiner Andreas 6206 ED" userId="e6377c33-a923-4f14-8587-531c474c7b48" providerId="ADAL" clId="{6ECD27E6-B224-41CD-B4E0-E297462320DD}" dt="2023-11-24T08:54:34.489" v="102705"/>
          <ac:spMkLst>
            <pc:docMk/>
            <pc:sldMk cId="3795759164" sldId="691"/>
            <ac:spMk id="668" creationId="{38F378C2-23A9-8AB1-1287-9B21354D3FA9}"/>
          </ac:spMkLst>
        </pc:spChg>
        <pc:spChg chg="add del mod">
          <ac:chgData name="Steiner Andreas 6206 ED" userId="e6377c33-a923-4f14-8587-531c474c7b48" providerId="ADAL" clId="{6ECD27E6-B224-41CD-B4E0-E297462320DD}" dt="2023-11-24T08:54:36.425" v="102860"/>
          <ac:spMkLst>
            <pc:docMk/>
            <pc:sldMk cId="3795759164" sldId="691"/>
            <ac:spMk id="669" creationId="{18DDD13C-CD0B-2E69-42D5-1FFCDFE8A8E6}"/>
          </ac:spMkLst>
        </pc:spChg>
        <pc:spChg chg="add del mod">
          <ac:chgData name="Steiner Andreas 6206 ED" userId="e6377c33-a923-4f14-8587-531c474c7b48" providerId="ADAL" clId="{6ECD27E6-B224-41CD-B4E0-E297462320DD}" dt="2023-11-24T08:54:38.634" v="103015"/>
          <ac:spMkLst>
            <pc:docMk/>
            <pc:sldMk cId="3795759164" sldId="691"/>
            <ac:spMk id="670" creationId="{89C5125F-BFAD-1C05-1803-77B8E143EDB2}"/>
          </ac:spMkLst>
        </pc:spChg>
        <pc:spChg chg="add del mod">
          <ac:chgData name="Steiner Andreas 6206 ED" userId="e6377c33-a923-4f14-8587-531c474c7b48" providerId="ADAL" clId="{6ECD27E6-B224-41CD-B4E0-E297462320DD}" dt="2023-11-24T08:54:40.796" v="103170"/>
          <ac:spMkLst>
            <pc:docMk/>
            <pc:sldMk cId="3795759164" sldId="691"/>
            <ac:spMk id="671" creationId="{07A405F4-A28A-046D-7FDC-B50510C1EBD8}"/>
          </ac:spMkLst>
        </pc:spChg>
        <pc:spChg chg="add del mod">
          <ac:chgData name="Steiner Andreas 6206 ED" userId="e6377c33-a923-4f14-8587-531c474c7b48" providerId="ADAL" clId="{6ECD27E6-B224-41CD-B4E0-E297462320DD}" dt="2023-11-24T08:54:42.705" v="103325"/>
          <ac:spMkLst>
            <pc:docMk/>
            <pc:sldMk cId="3795759164" sldId="691"/>
            <ac:spMk id="672" creationId="{052BB56D-4611-4672-E039-2A0C122B649D}"/>
          </ac:spMkLst>
        </pc:spChg>
        <pc:spChg chg="add del mod">
          <ac:chgData name="Steiner Andreas 6206 ED" userId="e6377c33-a923-4f14-8587-531c474c7b48" providerId="ADAL" clId="{6ECD27E6-B224-41CD-B4E0-E297462320DD}" dt="2023-11-24T08:54:44.974" v="103480"/>
          <ac:spMkLst>
            <pc:docMk/>
            <pc:sldMk cId="3795759164" sldId="691"/>
            <ac:spMk id="673" creationId="{EECC680A-34CE-6C2C-232C-FBDE3FA9EA20}"/>
          </ac:spMkLst>
        </pc:spChg>
        <pc:spChg chg="add del mod">
          <ac:chgData name="Steiner Andreas 6206 ED" userId="e6377c33-a923-4f14-8587-531c474c7b48" providerId="ADAL" clId="{6ECD27E6-B224-41CD-B4E0-E297462320DD}" dt="2023-11-24T08:54:47.211" v="103635"/>
          <ac:spMkLst>
            <pc:docMk/>
            <pc:sldMk cId="3795759164" sldId="691"/>
            <ac:spMk id="674" creationId="{A486F2D7-7EA3-29C3-78CE-2CD29E848ABF}"/>
          </ac:spMkLst>
        </pc:spChg>
        <pc:spChg chg="add del mod">
          <ac:chgData name="Steiner Andreas 6206 ED" userId="e6377c33-a923-4f14-8587-531c474c7b48" providerId="ADAL" clId="{6ECD27E6-B224-41CD-B4E0-E297462320DD}" dt="2023-11-24T08:54:49.336" v="103790"/>
          <ac:spMkLst>
            <pc:docMk/>
            <pc:sldMk cId="3795759164" sldId="691"/>
            <ac:spMk id="675" creationId="{0E2134FE-3136-E92E-BA8C-ED45D1FC291C}"/>
          </ac:spMkLst>
        </pc:spChg>
        <pc:spChg chg="add del mod">
          <ac:chgData name="Steiner Andreas 6206 ED" userId="e6377c33-a923-4f14-8587-531c474c7b48" providerId="ADAL" clId="{6ECD27E6-B224-41CD-B4E0-E297462320DD}" dt="2023-11-24T08:54:51.695" v="103945"/>
          <ac:spMkLst>
            <pc:docMk/>
            <pc:sldMk cId="3795759164" sldId="691"/>
            <ac:spMk id="676" creationId="{ACD39120-AE92-BDB4-8D5B-DB6CD2CE9058}"/>
          </ac:spMkLst>
        </pc:spChg>
        <pc:spChg chg="add del mod">
          <ac:chgData name="Steiner Andreas 6206 ED" userId="e6377c33-a923-4f14-8587-531c474c7b48" providerId="ADAL" clId="{6ECD27E6-B224-41CD-B4E0-E297462320DD}" dt="2023-11-24T08:54:53.759" v="104100"/>
          <ac:spMkLst>
            <pc:docMk/>
            <pc:sldMk cId="3795759164" sldId="691"/>
            <ac:spMk id="677" creationId="{B1562E80-131B-27D2-C437-349CA12F5799}"/>
          </ac:spMkLst>
        </pc:spChg>
        <pc:spChg chg="add del mod">
          <ac:chgData name="Steiner Andreas 6206 ED" userId="e6377c33-a923-4f14-8587-531c474c7b48" providerId="ADAL" clId="{6ECD27E6-B224-41CD-B4E0-E297462320DD}" dt="2023-11-24T08:54:55.884" v="104255"/>
          <ac:spMkLst>
            <pc:docMk/>
            <pc:sldMk cId="3795759164" sldId="691"/>
            <ac:spMk id="678" creationId="{15FF84CE-733E-037C-429E-2DD137CC2035}"/>
          </ac:spMkLst>
        </pc:spChg>
        <pc:spChg chg="add del mod">
          <ac:chgData name="Steiner Andreas 6206 ED" userId="e6377c33-a923-4f14-8587-531c474c7b48" providerId="ADAL" clId="{6ECD27E6-B224-41CD-B4E0-E297462320DD}" dt="2023-11-24T08:54:57.954" v="104410"/>
          <ac:spMkLst>
            <pc:docMk/>
            <pc:sldMk cId="3795759164" sldId="691"/>
            <ac:spMk id="679" creationId="{AA5DD996-1458-3B6F-EBE6-909BAFD7CCCF}"/>
          </ac:spMkLst>
        </pc:spChg>
        <pc:spChg chg="add del mod">
          <ac:chgData name="Steiner Andreas 6206 ED" userId="e6377c33-a923-4f14-8587-531c474c7b48" providerId="ADAL" clId="{6ECD27E6-B224-41CD-B4E0-E297462320DD}" dt="2023-11-24T08:54:59.967" v="104565"/>
          <ac:spMkLst>
            <pc:docMk/>
            <pc:sldMk cId="3795759164" sldId="691"/>
            <ac:spMk id="680" creationId="{2CF4187B-7F70-7FAF-CAC3-0E59273782B8}"/>
          </ac:spMkLst>
        </pc:spChg>
        <pc:spChg chg="add del mod">
          <ac:chgData name="Steiner Andreas 6206 ED" userId="e6377c33-a923-4f14-8587-531c474c7b48" providerId="ADAL" clId="{6ECD27E6-B224-41CD-B4E0-E297462320DD}" dt="2023-11-24T08:55:01.917" v="104720"/>
          <ac:spMkLst>
            <pc:docMk/>
            <pc:sldMk cId="3795759164" sldId="691"/>
            <ac:spMk id="681" creationId="{4AB98AF0-60C1-6E2D-C379-1A28FC0EE991}"/>
          </ac:spMkLst>
        </pc:spChg>
        <pc:spChg chg="add del mod">
          <ac:chgData name="Steiner Andreas 6206 ED" userId="e6377c33-a923-4f14-8587-531c474c7b48" providerId="ADAL" clId="{6ECD27E6-B224-41CD-B4E0-E297462320DD}" dt="2023-11-24T08:55:03.877" v="104875"/>
          <ac:spMkLst>
            <pc:docMk/>
            <pc:sldMk cId="3795759164" sldId="691"/>
            <ac:spMk id="682" creationId="{6EBA9B68-F748-4906-B4E6-B7A0758711FA}"/>
          </ac:spMkLst>
        </pc:spChg>
        <pc:spChg chg="add del mod">
          <ac:chgData name="Steiner Andreas 6206 ED" userId="e6377c33-a923-4f14-8587-531c474c7b48" providerId="ADAL" clId="{6ECD27E6-B224-41CD-B4E0-E297462320DD}" dt="2023-11-24T08:55:06" v="105030"/>
          <ac:spMkLst>
            <pc:docMk/>
            <pc:sldMk cId="3795759164" sldId="691"/>
            <ac:spMk id="683" creationId="{F7E335BA-9ADF-8560-5094-23B54E79980C}"/>
          </ac:spMkLst>
        </pc:spChg>
        <pc:spChg chg="add del mod">
          <ac:chgData name="Steiner Andreas 6206 ED" userId="e6377c33-a923-4f14-8587-531c474c7b48" providerId="ADAL" clId="{6ECD27E6-B224-41CD-B4E0-E297462320DD}" dt="2023-11-24T08:55:08.099" v="105185"/>
          <ac:spMkLst>
            <pc:docMk/>
            <pc:sldMk cId="3795759164" sldId="691"/>
            <ac:spMk id="684" creationId="{5937BE48-A030-BCBD-8B98-53053E173596}"/>
          </ac:spMkLst>
        </pc:spChg>
        <pc:spChg chg="add del mod">
          <ac:chgData name="Steiner Andreas 6206 ED" userId="e6377c33-a923-4f14-8587-531c474c7b48" providerId="ADAL" clId="{6ECD27E6-B224-41CD-B4E0-E297462320DD}" dt="2023-11-24T08:55:10.083" v="105340"/>
          <ac:spMkLst>
            <pc:docMk/>
            <pc:sldMk cId="3795759164" sldId="691"/>
            <ac:spMk id="685" creationId="{17AA1F16-5CA0-109E-F8EA-763F6901DFB5}"/>
          </ac:spMkLst>
        </pc:spChg>
        <pc:spChg chg="add del mod">
          <ac:chgData name="Steiner Andreas 6206 ED" userId="e6377c33-a923-4f14-8587-531c474c7b48" providerId="ADAL" clId="{6ECD27E6-B224-41CD-B4E0-E297462320DD}" dt="2023-11-24T08:55:12.073" v="105495"/>
          <ac:spMkLst>
            <pc:docMk/>
            <pc:sldMk cId="3795759164" sldId="691"/>
            <ac:spMk id="686" creationId="{57BBD898-6146-73C7-295C-C6BCD856D4AF}"/>
          </ac:spMkLst>
        </pc:spChg>
        <pc:spChg chg="add del mod">
          <ac:chgData name="Steiner Andreas 6206 ED" userId="e6377c33-a923-4f14-8587-531c474c7b48" providerId="ADAL" clId="{6ECD27E6-B224-41CD-B4E0-E297462320DD}" dt="2023-11-24T08:55:14.103" v="105650"/>
          <ac:spMkLst>
            <pc:docMk/>
            <pc:sldMk cId="3795759164" sldId="691"/>
            <ac:spMk id="687" creationId="{B4931051-F40E-8F48-5E4C-BF159CEA7AD9}"/>
          </ac:spMkLst>
        </pc:spChg>
        <pc:spChg chg="add del mod">
          <ac:chgData name="Steiner Andreas 6206 ED" userId="e6377c33-a923-4f14-8587-531c474c7b48" providerId="ADAL" clId="{6ECD27E6-B224-41CD-B4E0-E297462320DD}" dt="2023-11-24T08:55:16.196" v="105805"/>
          <ac:spMkLst>
            <pc:docMk/>
            <pc:sldMk cId="3795759164" sldId="691"/>
            <ac:spMk id="688" creationId="{5FD28C23-9E29-4336-8FC5-9A8D3B7C9FBC}"/>
          </ac:spMkLst>
        </pc:spChg>
        <pc:spChg chg="add del mod">
          <ac:chgData name="Steiner Andreas 6206 ED" userId="e6377c33-a923-4f14-8587-531c474c7b48" providerId="ADAL" clId="{6ECD27E6-B224-41CD-B4E0-E297462320DD}" dt="2023-11-24T08:55:18.236" v="105960"/>
          <ac:spMkLst>
            <pc:docMk/>
            <pc:sldMk cId="3795759164" sldId="691"/>
            <ac:spMk id="689" creationId="{F5F14EFE-7312-6C2F-A3CE-B76C908D5AB4}"/>
          </ac:spMkLst>
        </pc:spChg>
        <pc:spChg chg="add del mod">
          <ac:chgData name="Steiner Andreas 6206 ED" userId="e6377c33-a923-4f14-8587-531c474c7b48" providerId="ADAL" clId="{6ECD27E6-B224-41CD-B4E0-E297462320DD}" dt="2023-11-24T08:55:20.253" v="106115"/>
          <ac:spMkLst>
            <pc:docMk/>
            <pc:sldMk cId="3795759164" sldId="691"/>
            <ac:spMk id="690" creationId="{DCA691F7-857A-9D49-F5D7-7BB11C396F5F}"/>
          </ac:spMkLst>
        </pc:spChg>
        <pc:spChg chg="add del mod">
          <ac:chgData name="Steiner Andreas 6206 ED" userId="e6377c33-a923-4f14-8587-531c474c7b48" providerId="ADAL" clId="{6ECD27E6-B224-41CD-B4E0-E297462320DD}" dt="2023-11-24T08:55:22.192" v="106270"/>
          <ac:spMkLst>
            <pc:docMk/>
            <pc:sldMk cId="3795759164" sldId="691"/>
            <ac:spMk id="691" creationId="{EEA580E0-F004-0FFE-3F93-478F84A2AAA8}"/>
          </ac:spMkLst>
        </pc:spChg>
        <pc:spChg chg="add del mod">
          <ac:chgData name="Steiner Andreas 6206 ED" userId="e6377c33-a923-4f14-8587-531c474c7b48" providerId="ADAL" clId="{6ECD27E6-B224-41CD-B4E0-E297462320DD}" dt="2023-11-24T08:55:24.204" v="106425"/>
          <ac:spMkLst>
            <pc:docMk/>
            <pc:sldMk cId="3795759164" sldId="691"/>
            <ac:spMk id="692" creationId="{8051AD1B-C8DE-B56A-7B08-1A9A018D8B59}"/>
          </ac:spMkLst>
        </pc:spChg>
        <pc:spChg chg="add del mod">
          <ac:chgData name="Steiner Andreas 6206 ED" userId="e6377c33-a923-4f14-8587-531c474c7b48" providerId="ADAL" clId="{6ECD27E6-B224-41CD-B4E0-E297462320DD}" dt="2023-11-24T08:55:26.172" v="106580"/>
          <ac:spMkLst>
            <pc:docMk/>
            <pc:sldMk cId="3795759164" sldId="691"/>
            <ac:spMk id="693" creationId="{2DA58DF2-B90A-B6B8-9135-D3D4455C5510}"/>
          </ac:spMkLst>
        </pc:spChg>
        <pc:spChg chg="add del mod">
          <ac:chgData name="Steiner Andreas 6206 ED" userId="e6377c33-a923-4f14-8587-531c474c7b48" providerId="ADAL" clId="{6ECD27E6-B224-41CD-B4E0-E297462320DD}" dt="2023-11-24T08:55:28.326" v="106735"/>
          <ac:spMkLst>
            <pc:docMk/>
            <pc:sldMk cId="3795759164" sldId="691"/>
            <ac:spMk id="694" creationId="{F1589E68-0ADE-5EDC-50F0-EF857F0B4A43}"/>
          </ac:spMkLst>
        </pc:spChg>
        <pc:spChg chg="add del mod">
          <ac:chgData name="Steiner Andreas 6206 ED" userId="e6377c33-a923-4f14-8587-531c474c7b48" providerId="ADAL" clId="{6ECD27E6-B224-41CD-B4E0-E297462320DD}" dt="2023-11-24T08:55:30.296" v="106890"/>
          <ac:spMkLst>
            <pc:docMk/>
            <pc:sldMk cId="3795759164" sldId="691"/>
            <ac:spMk id="695" creationId="{29BB51DE-4A87-B015-7472-E6098E05B833}"/>
          </ac:spMkLst>
        </pc:spChg>
        <pc:spChg chg="add del mod">
          <ac:chgData name="Steiner Andreas 6206 ED" userId="e6377c33-a923-4f14-8587-531c474c7b48" providerId="ADAL" clId="{6ECD27E6-B224-41CD-B4E0-E297462320DD}" dt="2023-11-24T08:55:32.496" v="107045"/>
          <ac:spMkLst>
            <pc:docMk/>
            <pc:sldMk cId="3795759164" sldId="691"/>
            <ac:spMk id="696" creationId="{02A476EA-FAAE-1584-0E4F-8140DE15840E}"/>
          </ac:spMkLst>
        </pc:spChg>
        <pc:spChg chg="add del mod">
          <ac:chgData name="Steiner Andreas 6206 ED" userId="e6377c33-a923-4f14-8587-531c474c7b48" providerId="ADAL" clId="{6ECD27E6-B224-41CD-B4E0-E297462320DD}" dt="2023-11-24T08:55:34.393" v="107200"/>
          <ac:spMkLst>
            <pc:docMk/>
            <pc:sldMk cId="3795759164" sldId="691"/>
            <ac:spMk id="697" creationId="{A6404A7A-A0F3-267B-3435-7D33B42EF40B}"/>
          </ac:spMkLst>
        </pc:spChg>
        <pc:spChg chg="add del mod">
          <ac:chgData name="Steiner Andreas 6206 ED" userId="e6377c33-a923-4f14-8587-531c474c7b48" providerId="ADAL" clId="{6ECD27E6-B224-41CD-B4E0-E297462320DD}" dt="2023-11-24T08:55:36.325" v="107355"/>
          <ac:spMkLst>
            <pc:docMk/>
            <pc:sldMk cId="3795759164" sldId="691"/>
            <ac:spMk id="698" creationId="{E326B50F-A67D-5A23-2565-BFBFA5308780}"/>
          </ac:spMkLst>
        </pc:spChg>
        <pc:spChg chg="add del mod">
          <ac:chgData name="Steiner Andreas 6206 ED" userId="e6377c33-a923-4f14-8587-531c474c7b48" providerId="ADAL" clId="{6ECD27E6-B224-41CD-B4E0-E297462320DD}" dt="2023-11-24T08:55:38.350" v="107510"/>
          <ac:spMkLst>
            <pc:docMk/>
            <pc:sldMk cId="3795759164" sldId="691"/>
            <ac:spMk id="699" creationId="{284CA131-8190-08F6-F5AA-6D9C85A939D1}"/>
          </ac:spMkLst>
        </pc:spChg>
        <pc:spChg chg="add del mod">
          <ac:chgData name="Steiner Andreas 6206 ED" userId="e6377c33-a923-4f14-8587-531c474c7b48" providerId="ADAL" clId="{6ECD27E6-B224-41CD-B4E0-E297462320DD}" dt="2023-11-24T08:55:40.397" v="107665"/>
          <ac:spMkLst>
            <pc:docMk/>
            <pc:sldMk cId="3795759164" sldId="691"/>
            <ac:spMk id="700" creationId="{ADA84727-8D0D-7ED9-435E-83A748FE1B6A}"/>
          </ac:spMkLst>
        </pc:spChg>
        <pc:spChg chg="add del mod">
          <ac:chgData name="Steiner Andreas 6206 ED" userId="e6377c33-a923-4f14-8587-531c474c7b48" providerId="ADAL" clId="{6ECD27E6-B224-41CD-B4E0-E297462320DD}" dt="2023-11-24T08:55:42.282" v="107820"/>
          <ac:spMkLst>
            <pc:docMk/>
            <pc:sldMk cId="3795759164" sldId="691"/>
            <ac:spMk id="701" creationId="{EFFBC04C-7A0A-58A0-A6D1-EB781AE50914}"/>
          </ac:spMkLst>
        </pc:spChg>
        <pc:spChg chg="add del mod">
          <ac:chgData name="Steiner Andreas 6206 ED" userId="e6377c33-a923-4f14-8587-531c474c7b48" providerId="ADAL" clId="{6ECD27E6-B224-41CD-B4E0-E297462320DD}" dt="2023-11-24T08:55:44.255" v="107975"/>
          <ac:spMkLst>
            <pc:docMk/>
            <pc:sldMk cId="3795759164" sldId="691"/>
            <ac:spMk id="702" creationId="{66459F49-2B1A-8DEF-7C6E-0E983A4EC7A9}"/>
          </ac:spMkLst>
        </pc:spChg>
        <pc:spChg chg="add del mod">
          <ac:chgData name="Steiner Andreas 6206 ED" userId="e6377c33-a923-4f14-8587-531c474c7b48" providerId="ADAL" clId="{6ECD27E6-B224-41CD-B4E0-E297462320DD}" dt="2023-11-24T08:55:46.551" v="108130"/>
          <ac:spMkLst>
            <pc:docMk/>
            <pc:sldMk cId="3795759164" sldId="691"/>
            <ac:spMk id="703" creationId="{FFDB7607-1671-9AA7-899F-F43EA0E75B6C}"/>
          </ac:spMkLst>
        </pc:spChg>
        <pc:spChg chg="add del mod">
          <ac:chgData name="Steiner Andreas 6206 ED" userId="e6377c33-a923-4f14-8587-531c474c7b48" providerId="ADAL" clId="{6ECD27E6-B224-41CD-B4E0-E297462320DD}" dt="2023-11-24T08:55:48.777" v="108285"/>
          <ac:spMkLst>
            <pc:docMk/>
            <pc:sldMk cId="3795759164" sldId="691"/>
            <ac:spMk id="704" creationId="{8BE5C1EA-78CA-6202-BD81-546FBC7B846B}"/>
          </ac:spMkLst>
        </pc:spChg>
        <pc:spChg chg="add del mod">
          <ac:chgData name="Steiner Andreas 6206 ED" userId="e6377c33-a923-4f14-8587-531c474c7b48" providerId="ADAL" clId="{6ECD27E6-B224-41CD-B4E0-E297462320DD}" dt="2023-11-24T08:55:51.212" v="108440"/>
          <ac:spMkLst>
            <pc:docMk/>
            <pc:sldMk cId="3795759164" sldId="691"/>
            <ac:spMk id="705" creationId="{F6E4E85A-A314-7BB8-D608-983888542077}"/>
          </ac:spMkLst>
        </pc:spChg>
        <pc:spChg chg="add del mod">
          <ac:chgData name="Steiner Andreas 6206 ED" userId="e6377c33-a923-4f14-8587-531c474c7b48" providerId="ADAL" clId="{6ECD27E6-B224-41CD-B4E0-E297462320DD}" dt="2023-11-24T08:55:53.250" v="108595"/>
          <ac:spMkLst>
            <pc:docMk/>
            <pc:sldMk cId="3795759164" sldId="691"/>
            <ac:spMk id="706" creationId="{A0874B04-B7C0-6477-17C0-A3E7E6261B5F}"/>
          </ac:spMkLst>
        </pc:spChg>
        <pc:spChg chg="add del mod">
          <ac:chgData name="Steiner Andreas 6206 ED" userId="e6377c33-a923-4f14-8587-531c474c7b48" providerId="ADAL" clId="{6ECD27E6-B224-41CD-B4E0-E297462320DD}" dt="2023-11-24T08:55:55.390" v="108750"/>
          <ac:spMkLst>
            <pc:docMk/>
            <pc:sldMk cId="3795759164" sldId="691"/>
            <ac:spMk id="707" creationId="{882B8D8D-6BA4-8537-2443-7DBDC65F82A2}"/>
          </ac:spMkLst>
        </pc:spChg>
        <pc:spChg chg="add del mod">
          <ac:chgData name="Steiner Andreas 6206 ED" userId="e6377c33-a923-4f14-8587-531c474c7b48" providerId="ADAL" clId="{6ECD27E6-B224-41CD-B4E0-E297462320DD}" dt="2023-11-24T08:55:57.399" v="108905"/>
          <ac:spMkLst>
            <pc:docMk/>
            <pc:sldMk cId="3795759164" sldId="691"/>
            <ac:spMk id="708" creationId="{E73D49C0-EA00-39AE-F457-F251B9F030B2}"/>
          </ac:spMkLst>
        </pc:spChg>
        <pc:spChg chg="add del mod">
          <ac:chgData name="Steiner Andreas 6206 ED" userId="e6377c33-a923-4f14-8587-531c474c7b48" providerId="ADAL" clId="{6ECD27E6-B224-41CD-B4E0-E297462320DD}" dt="2023-11-24T08:55:59.493" v="109060"/>
          <ac:spMkLst>
            <pc:docMk/>
            <pc:sldMk cId="3795759164" sldId="691"/>
            <ac:spMk id="709" creationId="{CA40BA71-5560-B679-FB7C-4BD1AD63038E}"/>
          </ac:spMkLst>
        </pc:spChg>
        <pc:spChg chg="add del mod">
          <ac:chgData name="Steiner Andreas 6206 ED" userId="e6377c33-a923-4f14-8587-531c474c7b48" providerId="ADAL" clId="{6ECD27E6-B224-41CD-B4E0-E297462320DD}" dt="2023-11-24T08:56:01.852" v="109215"/>
          <ac:spMkLst>
            <pc:docMk/>
            <pc:sldMk cId="3795759164" sldId="691"/>
            <ac:spMk id="710" creationId="{85DEEBCC-9CC9-6688-CC3A-0519F4795CC9}"/>
          </ac:spMkLst>
        </pc:spChg>
        <pc:spChg chg="add del mod">
          <ac:chgData name="Steiner Andreas 6206 ED" userId="e6377c33-a923-4f14-8587-531c474c7b48" providerId="ADAL" clId="{6ECD27E6-B224-41CD-B4E0-E297462320DD}" dt="2023-11-24T08:56:04.112" v="109370"/>
          <ac:spMkLst>
            <pc:docMk/>
            <pc:sldMk cId="3795759164" sldId="691"/>
            <ac:spMk id="711" creationId="{C47443BD-C6F1-8A38-4958-731E2945D9DA}"/>
          </ac:spMkLst>
        </pc:spChg>
        <pc:spChg chg="add del mod">
          <ac:chgData name="Steiner Andreas 6206 ED" userId="e6377c33-a923-4f14-8587-531c474c7b48" providerId="ADAL" clId="{6ECD27E6-B224-41CD-B4E0-E297462320DD}" dt="2023-11-24T08:56:06.410" v="109525"/>
          <ac:spMkLst>
            <pc:docMk/>
            <pc:sldMk cId="3795759164" sldId="691"/>
            <ac:spMk id="712" creationId="{6DE441D4-D939-F91D-53CB-0323182255A4}"/>
          </ac:spMkLst>
        </pc:spChg>
        <pc:spChg chg="add del mod">
          <ac:chgData name="Steiner Andreas 6206 ED" userId="e6377c33-a923-4f14-8587-531c474c7b48" providerId="ADAL" clId="{6ECD27E6-B224-41CD-B4E0-E297462320DD}" dt="2023-11-24T08:56:08.702" v="109680"/>
          <ac:spMkLst>
            <pc:docMk/>
            <pc:sldMk cId="3795759164" sldId="691"/>
            <ac:spMk id="713" creationId="{963DD45E-FA0D-3886-1B0C-B3E8ECB01AA6}"/>
          </ac:spMkLst>
        </pc:spChg>
        <pc:spChg chg="add del mod">
          <ac:chgData name="Steiner Andreas 6206 ED" userId="e6377c33-a923-4f14-8587-531c474c7b48" providerId="ADAL" clId="{6ECD27E6-B224-41CD-B4E0-E297462320DD}" dt="2023-11-24T08:56:10.746" v="109835"/>
          <ac:spMkLst>
            <pc:docMk/>
            <pc:sldMk cId="3795759164" sldId="691"/>
            <ac:spMk id="714" creationId="{AFC7F097-58E7-25A8-38E7-F48601338F77}"/>
          </ac:spMkLst>
        </pc:spChg>
        <pc:spChg chg="add del mod">
          <ac:chgData name="Steiner Andreas 6206 ED" userId="e6377c33-a923-4f14-8587-531c474c7b48" providerId="ADAL" clId="{6ECD27E6-B224-41CD-B4E0-E297462320DD}" dt="2023-11-24T08:56:12.858" v="109990"/>
          <ac:spMkLst>
            <pc:docMk/>
            <pc:sldMk cId="3795759164" sldId="691"/>
            <ac:spMk id="715" creationId="{9FF452B2-81EC-D91C-7AA4-A827D0D23958}"/>
          </ac:spMkLst>
        </pc:spChg>
        <pc:spChg chg="add del mod">
          <ac:chgData name="Steiner Andreas 6206 ED" userId="e6377c33-a923-4f14-8587-531c474c7b48" providerId="ADAL" clId="{6ECD27E6-B224-41CD-B4E0-E297462320DD}" dt="2023-11-24T08:56:14.986" v="110145"/>
          <ac:spMkLst>
            <pc:docMk/>
            <pc:sldMk cId="3795759164" sldId="691"/>
            <ac:spMk id="716" creationId="{5557B611-6CA9-90CA-CCB5-AEA17C9FA96E}"/>
          </ac:spMkLst>
        </pc:spChg>
        <pc:spChg chg="add del mod">
          <ac:chgData name="Steiner Andreas 6206 ED" userId="e6377c33-a923-4f14-8587-531c474c7b48" providerId="ADAL" clId="{6ECD27E6-B224-41CD-B4E0-E297462320DD}" dt="2023-11-24T08:56:16.970" v="110300"/>
          <ac:spMkLst>
            <pc:docMk/>
            <pc:sldMk cId="3795759164" sldId="691"/>
            <ac:spMk id="717" creationId="{B25302C7-F5CC-C825-999C-3A0003A1FA55}"/>
          </ac:spMkLst>
        </pc:spChg>
        <pc:spChg chg="add del mod">
          <ac:chgData name="Steiner Andreas 6206 ED" userId="e6377c33-a923-4f14-8587-531c474c7b48" providerId="ADAL" clId="{6ECD27E6-B224-41CD-B4E0-E297462320DD}" dt="2023-11-24T08:56:18.948" v="110455"/>
          <ac:spMkLst>
            <pc:docMk/>
            <pc:sldMk cId="3795759164" sldId="691"/>
            <ac:spMk id="718" creationId="{7065B876-ABD7-A54D-45AF-3D7F7516FE9C}"/>
          </ac:spMkLst>
        </pc:spChg>
        <pc:spChg chg="add del mod">
          <ac:chgData name="Steiner Andreas 6206 ED" userId="e6377c33-a923-4f14-8587-531c474c7b48" providerId="ADAL" clId="{6ECD27E6-B224-41CD-B4E0-E297462320DD}" dt="2023-11-24T08:56:20.892" v="110610"/>
          <ac:spMkLst>
            <pc:docMk/>
            <pc:sldMk cId="3795759164" sldId="691"/>
            <ac:spMk id="719" creationId="{6EB6D36D-3E18-167E-0A7A-5123B776690D}"/>
          </ac:spMkLst>
        </pc:spChg>
        <pc:spChg chg="add del mod">
          <ac:chgData name="Steiner Andreas 6206 ED" userId="e6377c33-a923-4f14-8587-531c474c7b48" providerId="ADAL" clId="{6ECD27E6-B224-41CD-B4E0-E297462320DD}" dt="2023-11-24T08:56:23.021" v="110765"/>
          <ac:spMkLst>
            <pc:docMk/>
            <pc:sldMk cId="3795759164" sldId="691"/>
            <ac:spMk id="720" creationId="{60CECAFE-9D45-2138-4D5B-4825AF3DF97D}"/>
          </ac:spMkLst>
        </pc:spChg>
        <pc:spChg chg="add del mod">
          <ac:chgData name="Steiner Andreas 6206 ED" userId="e6377c33-a923-4f14-8587-531c474c7b48" providerId="ADAL" clId="{6ECD27E6-B224-41CD-B4E0-E297462320DD}" dt="2023-11-24T08:56:25.233" v="110920"/>
          <ac:spMkLst>
            <pc:docMk/>
            <pc:sldMk cId="3795759164" sldId="691"/>
            <ac:spMk id="721" creationId="{6514D197-13BB-E269-9598-7940772CF1D9}"/>
          </ac:spMkLst>
        </pc:spChg>
        <pc:spChg chg="add del mod">
          <ac:chgData name="Steiner Andreas 6206 ED" userId="e6377c33-a923-4f14-8587-531c474c7b48" providerId="ADAL" clId="{6ECD27E6-B224-41CD-B4E0-E297462320DD}" dt="2023-11-24T08:56:27.253" v="111075"/>
          <ac:spMkLst>
            <pc:docMk/>
            <pc:sldMk cId="3795759164" sldId="691"/>
            <ac:spMk id="722" creationId="{702A1453-B9A8-7806-A835-BE7610461A41}"/>
          </ac:spMkLst>
        </pc:spChg>
        <pc:spChg chg="add del mod">
          <ac:chgData name="Steiner Andreas 6206 ED" userId="e6377c33-a923-4f14-8587-531c474c7b48" providerId="ADAL" clId="{6ECD27E6-B224-41CD-B4E0-E297462320DD}" dt="2023-11-24T08:56:29.281" v="111230"/>
          <ac:spMkLst>
            <pc:docMk/>
            <pc:sldMk cId="3795759164" sldId="691"/>
            <ac:spMk id="723" creationId="{306EAABA-3E9F-A395-68F4-A5BF9A60A3A7}"/>
          </ac:spMkLst>
        </pc:spChg>
        <pc:spChg chg="add del mod">
          <ac:chgData name="Steiner Andreas 6206 ED" userId="e6377c33-a923-4f14-8587-531c474c7b48" providerId="ADAL" clId="{6ECD27E6-B224-41CD-B4E0-E297462320DD}" dt="2023-11-24T08:56:31.395" v="111385"/>
          <ac:spMkLst>
            <pc:docMk/>
            <pc:sldMk cId="3795759164" sldId="691"/>
            <ac:spMk id="724" creationId="{6E7A6344-5F8C-8192-7276-C7029DA919A5}"/>
          </ac:spMkLst>
        </pc:spChg>
        <pc:spChg chg="add del mod">
          <ac:chgData name="Steiner Andreas 6206 ED" userId="e6377c33-a923-4f14-8587-531c474c7b48" providerId="ADAL" clId="{6ECD27E6-B224-41CD-B4E0-E297462320DD}" dt="2023-11-24T08:56:33.621" v="111540"/>
          <ac:spMkLst>
            <pc:docMk/>
            <pc:sldMk cId="3795759164" sldId="691"/>
            <ac:spMk id="725" creationId="{524FA46D-77A7-20FA-679C-20B94D58CCD7}"/>
          </ac:spMkLst>
        </pc:spChg>
        <pc:spChg chg="add del mod">
          <ac:chgData name="Steiner Andreas 6206 ED" userId="e6377c33-a923-4f14-8587-531c474c7b48" providerId="ADAL" clId="{6ECD27E6-B224-41CD-B4E0-E297462320DD}" dt="2023-11-24T08:56:35.800" v="111695"/>
          <ac:spMkLst>
            <pc:docMk/>
            <pc:sldMk cId="3795759164" sldId="691"/>
            <ac:spMk id="726" creationId="{1741BE3A-3A4D-1366-EE8B-5D21AE845A1C}"/>
          </ac:spMkLst>
        </pc:spChg>
        <pc:spChg chg="add del mod">
          <ac:chgData name="Steiner Andreas 6206 ED" userId="e6377c33-a923-4f14-8587-531c474c7b48" providerId="ADAL" clId="{6ECD27E6-B224-41CD-B4E0-E297462320DD}" dt="2023-11-24T08:56:37.870" v="111850"/>
          <ac:spMkLst>
            <pc:docMk/>
            <pc:sldMk cId="3795759164" sldId="691"/>
            <ac:spMk id="727" creationId="{7E56C345-1046-8FFA-C901-77102BC527C1}"/>
          </ac:spMkLst>
        </pc:spChg>
        <pc:spChg chg="add del mod">
          <ac:chgData name="Steiner Andreas 6206 ED" userId="e6377c33-a923-4f14-8587-531c474c7b48" providerId="ADAL" clId="{6ECD27E6-B224-41CD-B4E0-E297462320DD}" dt="2023-11-24T08:56:40.027" v="112005"/>
          <ac:spMkLst>
            <pc:docMk/>
            <pc:sldMk cId="3795759164" sldId="691"/>
            <ac:spMk id="728" creationId="{A8CB2217-C2F7-1E25-AD17-AF7BF36E2148}"/>
          </ac:spMkLst>
        </pc:spChg>
        <pc:spChg chg="add del mod">
          <ac:chgData name="Steiner Andreas 6206 ED" userId="e6377c33-a923-4f14-8587-531c474c7b48" providerId="ADAL" clId="{6ECD27E6-B224-41CD-B4E0-E297462320DD}" dt="2023-11-24T08:56:41.977" v="112160"/>
          <ac:spMkLst>
            <pc:docMk/>
            <pc:sldMk cId="3795759164" sldId="691"/>
            <ac:spMk id="729" creationId="{8A1221CA-2FBB-CF88-EB71-12DA5F4B2F48}"/>
          </ac:spMkLst>
        </pc:spChg>
        <pc:spChg chg="add del mod">
          <ac:chgData name="Steiner Andreas 6206 ED" userId="e6377c33-a923-4f14-8587-531c474c7b48" providerId="ADAL" clId="{6ECD27E6-B224-41CD-B4E0-E297462320DD}" dt="2023-11-24T08:56:43.972" v="112315"/>
          <ac:spMkLst>
            <pc:docMk/>
            <pc:sldMk cId="3795759164" sldId="691"/>
            <ac:spMk id="730" creationId="{FC51F4FB-76D3-53A5-6D45-CB5D51010D5D}"/>
          </ac:spMkLst>
        </pc:spChg>
        <pc:spChg chg="add del mod">
          <ac:chgData name="Steiner Andreas 6206 ED" userId="e6377c33-a923-4f14-8587-531c474c7b48" providerId="ADAL" clId="{6ECD27E6-B224-41CD-B4E0-E297462320DD}" dt="2023-11-24T08:56:46.005" v="112470"/>
          <ac:spMkLst>
            <pc:docMk/>
            <pc:sldMk cId="3795759164" sldId="691"/>
            <ac:spMk id="731" creationId="{C076087D-6C61-2369-3B28-AA5A5EE42C7B}"/>
          </ac:spMkLst>
        </pc:spChg>
        <pc:spChg chg="add del mod">
          <ac:chgData name="Steiner Andreas 6206 ED" userId="e6377c33-a923-4f14-8587-531c474c7b48" providerId="ADAL" clId="{6ECD27E6-B224-41CD-B4E0-E297462320DD}" dt="2023-11-24T08:56:48.216" v="112625"/>
          <ac:spMkLst>
            <pc:docMk/>
            <pc:sldMk cId="3795759164" sldId="691"/>
            <ac:spMk id="732" creationId="{19F61FF2-5286-B4C3-DACB-012AA0635CE3}"/>
          </ac:spMkLst>
        </pc:spChg>
        <pc:spChg chg="add del mod">
          <ac:chgData name="Steiner Andreas 6206 ED" userId="e6377c33-a923-4f14-8587-531c474c7b48" providerId="ADAL" clId="{6ECD27E6-B224-41CD-B4E0-E297462320DD}" dt="2023-11-24T08:56:50.273" v="112780"/>
          <ac:spMkLst>
            <pc:docMk/>
            <pc:sldMk cId="3795759164" sldId="691"/>
            <ac:spMk id="733" creationId="{045B21CC-A477-7E5F-92B0-3A7368D43B0B}"/>
          </ac:spMkLst>
        </pc:spChg>
        <pc:spChg chg="add del mod">
          <ac:chgData name="Steiner Andreas 6206 ED" userId="e6377c33-a923-4f14-8587-531c474c7b48" providerId="ADAL" clId="{6ECD27E6-B224-41CD-B4E0-E297462320DD}" dt="2023-11-24T08:56:52.202" v="112935"/>
          <ac:spMkLst>
            <pc:docMk/>
            <pc:sldMk cId="3795759164" sldId="691"/>
            <ac:spMk id="734" creationId="{90377D4D-7ABE-E338-4081-F51714A35FF4}"/>
          </ac:spMkLst>
        </pc:spChg>
        <pc:spChg chg="add del mod">
          <ac:chgData name="Steiner Andreas 6206 ED" userId="e6377c33-a923-4f14-8587-531c474c7b48" providerId="ADAL" clId="{6ECD27E6-B224-41CD-B4E0-E297462320DD}" dt="2023-11-24T08:56:54.325" v="113090"/>
          <ac:spMkLst>
            <pc:docMk/>
            <pc:sldMk cId="3795759164" sldId="691"/>
            <ac:spMk id="735" creationId="{E47D6AAC-415E-8385-9A27-8A1E22748748}"/>
          </ac:spMkLst>
        </pc:spChg>
        <pc:spChg chg="add del mod">
          <ac:chgData name="Steiner Andreas 6206 ED" userId="e6377c33-a923-4f14-8587-531c474c7b48" providerId="ADAL" clId="{6ECD27E6-B224-41CD-B4E0-E297462320DD}" dt="2023-11-24T08:56:56.280" v="113245"/>
          <ac:spMkLst>
            <pc:docMk/>
            <pc:sldMk cId="3795759164" sldId="691"/>
            <ac:spMk id="736" creationId="{D12F0C0C-3601-0D17-59AF-C51CAE465983}"/>
          </ac:spMkLst>
        </pc:spChg>
        <pc:spChg chg="add del mod">
          <ac:chgData name="Steiner Andreas 6206 ED" userId="e6377c33-a923-4f14-8587-531c474c7b48" providerId="ADAL" clId="{6ECD27E6-B224-41CD-B4E0-E297462320DD}" dt="2023-11-24T08:56:58.391" v="113400"/>
          <ac:spMkLst>
            <pc:docMk/>
            <pc:sldMk cId="3795759164" sldId="691"/>
            <ac:spMk id="737" creationId="{886254D2-5E27-115D-BD8C-EC77975BEB61}"/>
          </ac:spMkLst>
        </pc:spChg>
        <pc:spChg chg="add del mod">
          <ac:chgData name="Steiner Andreas 6206 ED" userId="e6377c33-a923-4f14-8587-531c474c7b48" providerId="ADAL" clId="{6ECD27E6-B224-41CD-B4E0-E297462320DD}" dt="2023-11-24T08:57:00.703" v="113555"/>
          <ac:spMkLst>
            <pc:docMk/>
            <pc:sldMk cId="3795759164" sldId="691"/>
            <ac:spMk id="738" creationId="{910C519B-F49A-96A0-8B8E-C8D26CBF4680}"/>
          </ac:spMkLst>
        </pc:spChg>
        <pc:spChg chg="add del mod">
          <ac:chgData name="Steiner Andreas 6206 ED" userId="e6377c33-a923-4f14-8587-531c474c7b48" providerId="ADAL" clId="{6ECD27E6-B224-41CD-B4E0-E297462320DD}" dt="2023-11-24T08:57:03.068" v="113710"/>
          <ac:spMkLst>
            <pc:docMk/>
            <pc:sldMk cId="3795759164" sldId="691"/>
            <ac:spMk id="739" creationId="{F597261C-0135-B962-946E-122EFBB2AA0F}"/>
          </ac:spMkLst>
        </pc:spChg>
        <pc:spChg chg="add del mod">
          <ac:chgData name="Steiner Andreas 6206 ED" userId="e6377c33-a923-4f14-8587-531c474c7b48" providerId="ADAL" clId="{6ECD27E6-B224-41CD-B4E0-E297462320DD}" dt="2023-11-24T09:02:21.541" v="113865"/>
          <ac:spMkLst>
            <pc:docMk/>
            <pc:sldMk cId="3795759164" sldId="691"/>
            <ac:spMk id="740" creationId="{472C4369-D513-A5EA-E040-250ADE0A81B1}"/>
          </ac:spMkLst>
        </pc:spChg>
        <pc:spChg chg="add del mod">
          <ac:chgData name="Steiner Andreas 6206 ED" userId="e6377c33-a923-4f14-8587-531c474c7b48" providerId="ADAL" clId="{6ECD27E6-B224-41CD-B4E0-E297462320DD}" dt="2023-11-24T09:02:27.471" v="114020"/>
          <ac:spMkLst>
            <pc:docMk/>
            <pc:sldMk cId="3795759164" sldId="691"/>
            <ac:spMk id="741" creationId="{A1F9F7C1-BDE6-241A-CA7E-9CD403A37F07}"/>
          </ac:spMkLst>
        </pc:spChg>
        <pc:spChg chg="add del mod">
          <ac:chgData name="Steiner Andreas 6206 ED" userId="e6377c33-a923-4f14-8587-531c474c7b48" providerId="ADAL" clId="{6ECD27E6-B224-41CD-B4E0-E297462320DD}" dt="2023-11-24T09:02:30.024" v="114175"/>
          <ac:spMkLst>
            <pc:docMk/>
            <pc:sldMk cId="3795759164" sldId="691"/>
            <ac:spMk id="742" creationId="{24868B5D-36CA-2256-25AD-3EFBAFCA627E}"/>
          </ac:spMkLst>
        </pc:spChg>
        <pc:spChg chg="add del mod">
          <ac:chgData name="Steiner Andreas 6206 ED" userId="e6377c33-a923-4f14-8587-531c474c7b48" providerId="ADAL" clId="{6ECD27E6-B224-41CD-B4E0-E297462320DD}" dt="2023-11-24T09:02:33.233" v="114330"/>
          <ac:spMkLst>
            <pc:docMk/>
            <pc:sldMk cId="3795759164" sldId="691"/>
            <ac:spMk id="743" creationId="{988FB8A0-165D-4B58-F53C-BCB155A14BE7}"/>
          </ac:spMkLst>
        </pc:spChg>
        <pc:spChg chg="add del mod">
          <ac:chgData name="Steiner Andreas 6206 ED" userId="e6377c33-a923-4f14-8587-531c474c7b48" providerId="ADAL" clId="{6ECD27E6-B224-41CD-B4E0-E297462320DD}" dt="2023-11-24T09:02:36.714" v="114485"/>
          <ac:spMkLst>
            <pc:docMk/>
            <pc:sldMk cId="3795759164" sldId="691"/>
            <ac:spMk id="744" creationId="{1013F2F9-3531-12EF-0282-9DA38256BFD7}"/>
          </ac:spMkLst>
        </pc:spChg>
        <pc:spChg chg="add del mod">
          <ac:chgData name="Steiner Andreas 6206 ED" userId="e6377c33-a923-4f14-8587-531c474c7b48" providerId="ADAL" clId="{6ECD27E6-B224-41CD-B4E0-E297462320DD}" dt="2023-11-24T11:31:22.503" v="114640"/>
          <ac:spMkLst>
            <pc:docMk/>
            <pc:sldMk cId="3795759164" sldId="691"/>
            <ac:spMk id="745" creationId="{2BD4667B-12B4-9A4F-9813-CC4AD5B87529}"/>
          </ac:spMkLst>
        </pc:spChg>
        <pc:spChg chg="add del mod">
          <ac:chgData name="Steiner Andreas 6206 ED" userId="e6377c33-a923-4f14-8587-531c474c7b48" providerId="ADAL" clId="{6ECD27E6-B224-41CD-B4E0-E297462320DD}" dt="2023-11-24T11:33:29.817" v="114795"/>
          <ac:spMkLst>
            <pc:docMk/>
            <pc:sldMk cId="3795759164" sldId="691"/>
            <ac:spMk id="746" creationId="{FB9A4987-125C-645A-B266-7B51B40CEAA3}"/>
          </ac:spMkLst>
        </pc:spChg>
        <pc:spChg chg="add del mod">
          <ac:chgData name="Steiner Andreas 6206 ED" userId="e6377c33-a923-4f14-8587-531c474c7b48" providerId="ADAL" clId="{6ECD27E6-B224-41CD-B4E0-E297462320DD}" dt="2023-11-24T11:33:36.308" v="114950"/>
          <ac:spMkLst>
            <pc:docMk/>
            <pc:sldMk cId="3795759164" sldId="691"/>
            <ac:spMk id="747" creationId="{50233927-4234-DF3B-09B2-3C1EABD29066}"/>
          </ac:spMkLst>
        </pc:spChg>
        <pc:spChg chg="add del mod">
          <ac:chgData name="Steiner Andreas 6206 ED" userId="e6377c33-a923-4f14-8587-531c474c7b48" providerId="ADAL" clId="{6ECD27E6-B224-41CD-B4E0-E297462320DD}" dt="2023-11-24T11:33:39.422" v="115105"/>
          <ac:spMkLst>
            <pc:docMk/>
            <pc:sldMk cId="3795759164" sldId="691"/>
            <ac:spMk id="748" creationId="{6834539D-8126-2DD2-C46F-F0E925BC9AA7}"/>
          </ac:spMkLst>
        </pc:spChg>
        <pc:spChg chg="add del mod">
          <ac:chgData name="Steiner Andreas 6206 ED" userId="e6377c33-a923-4f14-8587-531c474c7b48" providerId="ADAL" clId="{6ECD27E6-B224-41CD-B4E0-E297462320DD}" dt="2023-11-24T11:33:42.985" v="115260"/>
          <ac:spMkLst>
            <pc:docMk/>
            <pc:sldMk cId="3795759164" sldId="691"/>
            <ac:spMk id="749" creationId="{51608B8B-041A-014F-972B-FC9D201B7375}"/>
          </ac:spMkLst>
        </pc:spChg>
        <pc:spChg chg="add del mod">
          <ac:chgData name="Steiner Andreas 6206 ED" userId="e6377c33-a923-4f14-8587-531c474c7b48" providerId="ADAL" clId="{6ECD27E6-B224-41CD-B4E0-E297462320DD}" dt="2023-11-24T11:33:46.197" v="115415"/>
          <ac:spMkLst>
            <pc:docMk/>
            <pc:sldMk cId="3795759164" sldId="691"/>
            <ac:spMk id="750" creationId="{BF3818E4-3E63-D274-4B96-CA4E6FA0F5F7}"/>
          </ac:spMkLst>
        </pc:spChg>
        <pc:spChg chg="add del mod">
          <ac:chgData name="Steiner Andreas 6206 ED" userId="e6377c33-a923-4f14-8587-531c474c7b48" providerId="ADAL" clId="{6ECD27E6-B224-41CD-B4E0-E297462320DD}" dt="2023-11-24T11:33:49.288" v="115570"/>
          <ac:spMkLst>
            <pc:docMk/>
            <pc:sldMk cId="3795759164" sldId="691"/>
            <ac:spMk id="751" creationId="{7CB079A6-1A85-B1B8-EEDF-E55AB26B295F}"/>
          </ac:spMkLst>
        </pc:spChg>
        <pc:spChg chg="add del mod">
          <ac:chgData name="Steiner Andreas 6206 ED" userId="e6377c33-a923-4f14-8587-531c474c7b48" providerId="ADAL" clId="{6ECD27E6-B224-41CD-B4E0-E297462320DD}" dt="2023-11-24T11:33:51.964" v="115725"/>
          <ac:spMkLst>
            <pc:docMk/>
            <pc:sldMk cId="3795759164" sldId="691"/>
            <ac:spMk id="752" creationId="{F2BE5DDF-366D-DBDF-A906-7C7AD2FAD3D0}"/>
          </ac:spMkLst>
        </pc:spChg>
        <pc:spChg chg="add del mod">
          <ac:chgData name="Steiner Andreas 6206 ED" userId="e6377c33-a923-4f14-8587-531c474c7b48" providerId="ADAL" clId="{6ECD27E6-B224-41CD-B4E0-E297462320DD}" dt="2023-11-24T11:33:54.818" v="115880"/>
          <ac:spMkLst>
            <pc:docMk/>
            <pc:sldMk cId="3795759164" sldId="691"/>
            <ac:spMk id="753" creationId="{6867DB0C-38BE-ADB9-F3C3-BE77ED57E159}"/>
          </ac:spMkLst>
        </pc:spChg>
        <pc:spChg chg="add del mod">
          <ac:chgData name="Steiner Andreas 6206 ED" userId="e6377c33-a923-4f14-8587-531c474c7b48" providerId="ADAL" clId="{6ECD27E6-B224-41CD-B4E0-E297462320DD}" dt="2023-11-24T11:33:57.320" v="116035"/>
          <ac:spMkLst>
            <pc:docMk/>
            <pc:sldMk cId="3795759164" sldId="691"/>
            <ac:spMk id="754" creationId="{78956B52-7374-AA58-2C0C-3D2466CB3C53}"/>
          </ac:spMkLst>
        </pc:spChg>
        <pc:spChg chg="add del mod">
          <ac:chgData name="Steiner Andreas 6206 ED" userId="e6377c33-a923-4f14-8587-531c474c7b48" providerId="ADAL" clId="{6ECD27E6-B224-41CD-B4E0-E297462320DD}" dt="2023-11-24T11:33:59.667" v="116190"/>
          <ac:spMkLst>
            <pc:docMk/>
            <pc:sldMk cId="3795759164" sldId="691"/>
            <ac:spMk id="755" creationId="{EAACB11C-097A-3479-12FF-4D09622A1A8F}"/>
          </ac:spMkLst>
        </pc:spChg>
        <pc:spChg chg="add del mod">
          <ac:chgData name="Steiner Andreas 6206 ED" userId="e6377c33-a923-4f14-8587-531c474c7b48" providerId="ADAL" clId="{6ECD27E6-B224-41CD-B4E0-E297462320DD}" dt="2023-11-24T11:34:02.029" v="116345"/>
          <ac:spMkLst>
            <pc:docMk/>
            <pc:sldMk cId="3795759164" sldId="691"/>
            <ac:spMk id="756" creationId="{B8DCC148-27FB-222F-B1BE-581299AF7231}"/>
          </ac:spMkLst>
        </pc:spChg>
        <pc:spChg chg="add del mod">
          <ac:chgData name="Steiner Andreas 6206 ED" userId="e6377c33-a923-4f14-8587-531c474c7b48" providerId="ADAL" clId="{6ECD27E6-B224-41CD-B4E0-E297462320DD}" dt="2023-11-24T11:34:04.343" v="116500"/>
          <ac:spMkLst>
            <pc:docMk/>
            <pc:sldMk cId="3795759164" sldId="691"/>
            <ac:spMk id="757" creationId="{DFA1B6DD-700E-2797-43B8-8E96C86FEDFE}"/>
          </ac:spMkLst>
        </pc:spChg>
        <pc:spChg chg="add del mod">
          <ac:chgData name="Steiner Andreas 6206 ED" userId="e6377c33-a923-4f14-8587-531c474c7b48" providerId="ADAL" clId="{6ECD27E6-B224-41CD-B4E0-E297462320DD}" dt="2023-11-24T11:34:06.820" v="116655"/>
          <ac:spMkLst>
            <pc:docMk/>
            <pc:sldMk cId="3795759164" sldId="691"/>
            <ac:spMk id="758" creationId="{5706C249-DBA5-B903-F6A8-2F36B8B49167}"/>
          </ac:spMkLst>
        </pc:spChg>
        <pc:spChg chg="add del mod">
          <ac:chgData name="Steiner Andreas 6206 ED" userId="e6377c33-a923-4f14-8587-531c474c7b48" providerId="ADAL" clId="{6ECD27E6-B224-41CD-B4E0-E297462320DD}" dt="2023-11-24T11:34:09.433" v="116810"/>
          <ac:spMkLst>
            <pc:docMk/>
            <pc:sldMk cId="3795759164" sldId="691"/>
            <ac:spMk id="759" creationId="{A351BEC0-46EF-5096-AFDA-F9CD85F04ED8}"/>
          </ac:spMkLst>
        </pc:spChg>
        <pc:spChg chg="add del mod">
          <ac:chgData name="Steiner Andreas 6206 ED" userId="e6377c33-a923-4f14-8587-531c474c7b48" providerId="ADAL" clId="{6ECD27E6-B224-41CD-B4E0-E297462320DD}" dt="2023-11-24T11:34:11.415" v="116965"/>
          <ac:spMkLst>
            <pc:docMk/>
            <pc:sldMk cId="3795759164" sldId="691"/>
            <ac:spMk id="760" creationId="{796AC607-BBA8-DF1F-1019-C274C2369273}"/>
          </ac:spMkLst>
        </pc:spChg>
        <pc:spChg chg="add del mod">
          <ac:chgData name="Steiner Andreas 6206 ED" userId="e6377c33-a923-4f14-8587-531c474c7b48" providerId="ADAL" clId="{6ECD27E6-B224-41CD-B4E0-E297462320DD}" dt="2023-11-24T11:34:13.173" v="117120"/>
          <ac:spMkLst>
            <pc:docMk/>
            <pc:sldMk cId="3795759164" sldId="691"/>
            <ac:spMk id="761" creationId="{11F0B276-D8B6-783E-E2FC-A84C13035C8C}"/>
          </ac:spMkLst>
        </pc:spChg>
        <pc:spChg chg="add del mod">
          <ac:chgData name="Steiner Andreas 6206 ED" userId="e6377c33-a923-4f14-8587-531c474c7b48" providerId="ADAL" clId="{6ECD27E6-B224-41CD-B4E0-E297462320DD}" dt="2023-11-24T11:34:14.950" v="117275"/>
          <ac:spMkLst>
            <pc:docMk/>
            <pc:sldMk cId="3795759164" sldId="691"/>
            <ac:spMk id="762" creationId="{3D7F53B7-F1ED-857A-E3D9-A6C2F1CE6CEB}"/>
          </ac:spMkLst>
        </pc:spChg>
        <pc:spChg chg="add del mod">
          <ac:chgData name="Steiner Andreas 6206 ED" userId="e6377c33-a923-4f14-8587-531c474c7b48" providerId="ADAL" clId="{6ECD27E6-B224-41CD-B4E0-E297462320DD}" dt="2023-11-24T11:34:16.750" v="117430"/>
          <ac:spMkLst>
            <pc:docMk/>
            <pc:sldMk cId="3795759164" sldId="691"/>
            <ac:spMk id="763" creationId="{3B90BBEA-315D-9FA3-4483-CF08283D1A99}"/>
          </ac:spMkLst>
        </pc:spChg>
        <pc:spChg chg="add del mod">
          <ac:chgData name="Steiner Andreas 6206 ED" userId="e6377c33-a923-4f14-8587-531c474c7b48" providerId="ADAL" clId="{6ECD27E6-B224-41CD-B4E0-E297462320DD}" dt="2023-11-24T11:34:18.574" v="117585"/>
          <ac:spMkLst>
            <pc:docMk/>
            <pc:sldMk cId="3795759164" sldId="691"/>
            <ac:spMk id="764" creationId="{ABE151E1-3A25-B913-B114-357A7AA9602C}"/>
          </ac:spMkLst>
        </pc:spChg>
        <pc:spChg chg="add del mod">
          <ac:chgData name="Steiner Andreas 6206 ED" userId="e6377c33-a923-4f14-8587-531c474c7b48" providerId="ADAL" clId="{6ECD27E6-B224-41CD-B4E0-E297462320DD}" dt="2023-11-24T11:34:20.659" v="117740"/>
          <ac:spMkLst>
            <pc:docMk/>
            <pc:sldMk cId="3795759164" sldId="691"/>
            <ac:spMk id="765" creationId="{B583E64B-3446-EDAC-A2C0-C31D19A82762}"/>
          </ac:spMkLst>
        </pc:spChg>
        <pc:spChg chg="add del mod">
          <ac:chgData name="Steiner Andreas 6206 ED" userId="e6377c33-a923-4f14-8587-531c474c7b48" providerId="ADAL" clId="{6ECD27E6-B224-41CD-B4E0-E297462320DD}" dt="2023-11-24T11:34:22.595" v="117895"/>
          <ac:spMkLst>
            <pc:docMk/>
            <pc:sldMk cId="3795759164" sldId="691"/>
            <ac:spMk id="766" creationId="{C8A0075B-8425-D15A-983A-DCD40FA6A8B8}"/>
          </ac:spMkLst>
        </pc:spChg>
        <pc:spChg chg="add del mod">
          <ac:chgData name="Steiner Andreas 6206 ED" userId="e6377c33-a923-4f14-8587-531c474c7b48" providerId="ADAL" clId="{6ECD27E6-B224-41CD-B4E0-E297462320DD}" dt="2023-11-24T11:34:24.708" v="118050"/>
          <ac:spMkLst>
            <pc:docMk/>
            <pc:sldMk cId="3795759164" sldId="691"/>
            <ac:spMk id="767" creationId="{38185E7E-1DD8-EF9D-BF1B-44BBADEE6C2A}"/>
          </ac:spMkLst>
        </pc:spChg>
        <pc:spChg chg="add del mod">
          <ac:chgData name="Steiner Andreas 6206 ED" userId="e6377c33-a923-4f14-8587-531c474c7b48" providerId="ADAL" clId="{6ECD27E6-B224-41CD-B4E0-E297462320DD}" dt="2023-11-24T11:34:27.233" v="118205"/>
          <ac:spMkLst>
            <pc:docMk/>
            <pc:sldMk cId="3795759164" sldId="691"/>
            <ac:spMk id="768" creationId="{44BBB5AF-64CF-2344-E13B-D10DFD81293B}"/>
          </ac:spMkLst>
        </pc:spChg>
        <pc:spChg chg="add del mod">
          <ac:chgData name="Steiner Andreas 6206 ED" userId="e6377c33-a923-4f14-8587-531c474c7b48" providerId="ADAL" clId="{6ECD27E6-B224-41CD-B4E0-E297462320DD}" dt="2023-11-24T11:34:29.307" v="118360"/>
          <ac:spMkLst>
            <pc:docMk/>
            <pc:sldMk cId="3795759164" sldId="691"/>
            <ac:spMk id="769" creationId="{C234DC35-AA2C-0005-257E-D238E18B1EC7}"/>
          </ac:spMkLst>
        </pc:spChg>
        <pc:spChg chg="add del mod">
          <ac:chgData name="Steiner Andreas 6206 ED" userId="e6377c33-a923-4f14-8587-531c474c7b48" providerId="ADAL" clId="{6ECD27E6-B224-41CD-B4E0-E297462320DD}" dt="2023-11-24T11:34:31.586" v="118515"/>
          <ac:spMkLst>
            <pc:docMk/>
            <pc:sldMk cId="3795759164" sldId="691"/>
            <ac:spMk id="770" creationId="{772740B2-B77D-E0B9-08F9-F5882437DB8C}"/>
          </ac:spMkLst>
        </pc:spChg>
        <pc:spChg chg="add del mod">
          <ac:chgData name="Steiner Andreas 6206 ED" userId="e6377c33-a923-4f14-8587-531c474c7b48" providerId="ADAL" clId="{6ECD27E6-B224-41CD-B4E0-E297462320DD}" dt="2023-11-24T11:34:33.556" v="118670"/>
          <ac:spMkLst>
            <pc:docMk/>
            <pc:sldMk cId="3795759164" sldId="691"/>
            <ac:spMk id="771" creationId="{73FD4246-6B31-A9F9-9DA4-C044B91CBBDF}"/>
          </ac:spMkLst>
        </pc:spChg>
        <pc:spChg chg="add del mod">
          <ac:chgData name="Steiner Andreas 6206 ED" userId="e6377c33-a923-4f14-8587-531c474c7b48" providerId="ADAL" clId="{6ECD27E6-B224-41CD-B4E0-E297462320DD}" dt="2023-11-24T11:34:35.547" v="118825"/>
          <ac:spMkLst>
            <pc:docMk/>
            <pc:sldMk cId="3795759164" sldId="691"/>
            <ac:spMk id="772" creationId="{F0CBEF0E-A78A-A1CB-0B92-32113E28836B}"/>
          </ac:spMkLst>
        </pc:spChg>
        <pc:spChg chg="add del mod">
          <ac:chgData name="Steiner Andreas 6206 ED" userId="e6377c33-a923-4f14-8587-531c474c7b48" providerId="ADAL" clId="{6ECD27E6-B224-41CD-B4E0-E297462320DD}" dt="2023-11-24T11:34:37.651" v="118980"/>
          <ac:spMkLst>
            <pc:docMk/>
            <pc:sldMk cId="3795759164" sldId="691"/>
            <ac:spMk id="773" creationId="{6C633654-AAAA-AD71-5283-BA214904908D}"/>
          </ac:spMkLst>
        </pc:spChg>
        <pc:spChg chg="add del mod">
          <ac:chgData name="Steiner Andreas 6206 ED" userId="e6377c33-a923-4f14-8587-531c474c7b48" providerId="ADAL" clId="{6ECD27E6-B224-41CD-B4E0-E297462320DD}" dt="2023-11-24T11:34:39.595" v="119135"/>
          <ac:spMkLst>
            <pc:docMk/>
            <pc:sldMk cId="3795759164" sldId="691"/>
            <ac:spMk id="774" creationId="{97035EF7-CAE7-A170-BC94-1B1887322C9E}"/>
          </ac:spMkLst>
        </pc:spChg>
        <pc:spChg chg="add del mod">
          <ac:chgData name="Steiner Andreas 6206 ED" userId="e6377c33-a923-4f14-8587-531c474c7b48" providerId="ADAL" clId="{6ECD27E6-B224-41CD-B4E0-E297462320DD}" dt="2023-11-24T11:34:41.727" v="119290"/>
          <ac:spMkLst>
            <pc:docMk/>
            <pc:sldMk cId="3795759164" sldId="691"/>
            <ac:spMk id="775" creationId="{761CCCFB-BB88-DEF0-A854-2958881A3A6D}"/>
          </ac:spMkLst>
        </pc:spChg>
        <pc:spChg chg="add del mod">
          <ac:chgData name="Steiner Andreas 6206 ED" userId="e6377c33-a923-4f14-8587-531c474c7b48" providerId="ADAL" clId="{6ECD27E6-B224-41CD-B4E0-E297462320DD}" dt="2023-11-24T11:34:43.900" v="119445"/>
          <ac:spMkLst>
            <pc:docMk/>
            <pc:sldMk cId="3795759164" sldId="691"/>
            <ac:spMk id="776" creationId="{91A8460A-D888-12B5-2F10-0FD2D0F848DA}"/>
          </ac:spMkLst>
        </pc:spChg>
        <pc:spChg chg="add del mod">
          <ac:chgData name="Steiner Andreas 6206 ED" userId="e6377c33-a923-4f14-8587-531c474c7b48" providerId="ADAL" clId="{6ECD27E6-B224-41CD-B4E0-E297462320DD}" dt="2023-11-24T11:34:45.920" v="119600"/>
          <ac:spMkLst>
            <pc:docMk/>
            <pc:sldMk cId="3795759164" sldId="691"/>
            <ac:spMk id="777" creationId="{1EBF7BDE-8C72-DED8-DB4E-9DCDCC7780EA}"/>
          </ac:spMkLst>
        </pc:spChg>
        <pc:spChg chg="add del mod">
          <ac:chgData name="Steiner Andreas 6206 ED" userId="e6377c33-a923-4f14-8587-531c474c7b48" providerId="ADAL" clId="{6ECD27E6-B224-41CD-B4E0-E297462320DD}" dt="2023-11-24T11:34:47.838" v="119755"/>
          <ac:spMkLst>
            <pc:docMk/>
            <pc:sldMk cId="3795759164" sldId="691"/>
            <ac:spMk id="778" creationId="{FD06D8D6-B75A-7722-1D33-1D1230B37D8D}"/>
          </ac:spMkLst>
        </pc:spChg>
        <pc:spChg chg="add del mod">
          <ac:chgData name="Steiner Andreas 6206 ED" userId="e6377c33-a923-4f14-8587-531c474c7b48" providerId="ADAL" clId="{6ECD27E6-B224-41CD-B4E0-E297462320DD}" dt="2023-11-24T11:34:50.028" v="119910"/>
          <ac:spMkLst>
            <pc:docMk/>
            <pc:sldMk cId="3795759164" sldId="691"/>
            <ac:spMk id="779" creationId="{950FF035-9A6B-8CB0-AAB3-0E5AB98F6957}"/>
          </ac:spMkLst>
        </pc:spChg>
        <pc:spChg chg="add del mod">
          <ac:chgData name="Steiner Andreas 6206 ED" userId="e6377c33-a923-4f14-8587-531c474c7b48" providerId="ADAL" clId="{6ECD27E6-B224-41CD-B4E0-E297462320DD}" dt="2023-11-24T11:34:52.111" v="120065"/>
          <ac:spMkLst>
            <pc:docMk/>
            <pc:sldMk cId="3795759164" sldId="691"/>
            <ac:spMk id="780" creationId="{E1C07D8C-D180-6C23-15F8-FDA423502EC5}"/>
          </ac:spMkLst>
        </pc:spChg>
        <pc:spChg chg="add del mod">
          <ac:chgData name="Steiner Andreas 6206 ED" userId="e6377c33-a923-4f14-8587-531c474c7b48" providerId="ADAL" clId="{6ECD27E6-B224-41CD-B4E0-E297462320DD}" dt="2023-11-24T11:34:54.087" v="120220"/>
          <ac:spMkLst>
            <pc:docMk/>
            <pc:sldMk cId="3795759164" sldId="691"/>
            <ac:spMk id="781" creationId="{426846D0-37BD-CB22-2F5C-72A7C5B976CD}"/>
          </ac:spMkLst>
        </pc:spChg>
        <pc:spChg chg="add del mod">
          <ac:chgData name="Steiner Andreas 6206 ED" userId="e6377c33-a923-4f14-8587-531c474c7b48" providerId="ADAL" clId="{6ECD27E6-B224-41CD-B4E0-E297462320DD}" dt="2023-11-24T11:34:55.953" v="120375"/>
          <ac:spMkLst>
            <pc:docMk/>
            <pc:sldMk cId="3795759164" sldId="691"/>
            <ac:spMk id="782" creationId="{CD32A427-3382-DF38-0CE6-A99A07E9F6B0}"/>
          </ac:spMkLst>
        </pc:spChg>
        <pc:spChg chg="add del mod">
          <ac:chgData name="Steiner Andreas 6206 ED" userId="e6377c33-a923-4f14-8587-531c474c7b48" providerId="ADAL" clId="{6ECD27E6-B224-41CD-B4E0-E297462320DD}" dt="2023-11-24T11:34:57.779" v="120530"/>
          <ac:spMkLst>
            <pc:docMk/>
            <pc:sldMk cId="3795759164" sldId="691"/>
            <ac:spMk id="783" creationId="{4BA5165C-9DBE-451D-61A0-32F17CCCA779}"/>
          </ac:spMkLst>
        </pc:spChg>
        <pc:spChg chg="add del mod">
          <ac:chgData name="Steiner Andreas 6206 ED" userId="e6377c33-a923-4f14-8587-531c474c7b48" providerId="ADAL" clId="{6ECD27E6-B224-41CD-B4E0-E297462320DD}" dt="2023-11-24T11:34:59.659" v="120685"/>
          <ac:spMkLst>
            <pc:docMk/>
            <pc:sldMk cId="3795759164" sldId="691"/>
            <ac:spMk id="784" creationId="{33CC3768-FC3B-4C13-CB98-2A6A5F14E2C2}"/>
          </ac:spMkLst>
        </pc:spChg>
        <pc:spChg chg="add del mod">
          <ac:chgData name="Steiner Andreas 6206 ED" userId="e6377c33-a923-4f14-8587-531c474c7b48" providerId="ADAL" clId="{6ECD27E6-B224-41CD-B4E0-E297462320DD}" dt="2023-11-24T11:35:01.495" v="120840"/>
          <ac:spMkLst>
            <pc:docMk/>
            <pc:sldMk cId="3795759164" sldId="691"/>
            <ac:spMk id="785" creationId="{E4906431-4A67-BFF9-8B4D-94C64D2D3E1D}"/>
          </ac:spMkLst>
        </pc:spChg>
        <pc:spChg chg="add del mod">
          <ac:chgData name="Steiner Andreas 6206 ED" userId="e6377c33-a923-4f14-8587-531c474c7b48" providerId="ADAL" clId="{6ECD27E6-B224-41CD-B4E0-E297462320DD}" dt="2023-11-24T11:35:03.365" v="120995"/>
          <ac:spMkLst>
            <pc:docMk/>
            <pc:sldMk cId="3795759164" sldId="691"/>
            <ac:spMk id="786" creationId="{93B8B271-CAF5-71CD-1C6E-3D743557A305}"/>
          </ac:spMkLst>
        </pc:spChg>
        <pc:spChg chg="add del mod">
          <ac:chgData name="Steiner Andreas 6206 ED" userId="e6377c33-a923-4f14-8587-531c474c7b48" providerId="ADAL" clId="{6ECD27E6-B224-41CD-B4E0-E297462320DD}" dt="2023-11-24T11:35:05.267" v="121150"/>
          <ac:spMkLst>
            <pc:docMk/>
            <pc:sldMk cId="3795759164" sldId="691"/>
            <ac:spMk id="787" creationId="{102E4B26-0522-D963-F2E4-BB7D062ADB40}"/>
          </ac:spMkLst>
        </pc:spChg>
        <pc:spChg chg="add del mod">
          <ac:chgData name="Steiner Andreas 6206 ED" userId="e6377c33-a923-4f14-8587-531c474c7b48" providerId="ADAL" clId="{6ECD27E6-B224-41CD-B4E0-E297462320DD}" dt="2023-11-24T11:35:07.377" v="121305"/>
          <ac:spMkLst>
            <pc:docMk/>
            <pc:sldMk cId="3795759164" sldId="691"/>
            <ac:spMk id="788" creationId="{8B317B00-0865-1100-6476-74167CF81B28}"/>
          </ac:spMkLst>
        </pc:spChg>
        <pc:spChg chg="add del mod">
          <ac:chgData name="Steiner Andreas 6206 ED" userId="e6377c33-a923-4f14-8587-531c474c7b48" providerId="ADAL" clId="{6ECD27E6-B224-41CD-B4E0-E297462320DD}" dt="2023-11-24T11:35:09.413" v="121460"/>
          <ac:spMkLst>
            <pc:docMk/>
            <pc:sldMk cId="3795759164" sldId="691"/>
            <ac:spMk id="789" creationId="{52FDCFFA-997E-5557-B795-D69D603D1D28}"/>
          </ac:spMkLst>
        </pc:spChg>
        <pc:spChg chg="add del mod">
          <ac:chgData name="Steiner Andreas 6206 ED" userId="e6377c33-a923-4f14-8587-531c474c7b48" providerId="ADAL" clId="{6ECD27E6-B224-41CD-B4E0-E297462320DD}" dt="2023-11-24T11:35:11.375" v="121615"/>
          <ac:spMkLst>
            <pc:docMk/>
            <pc:sldMk cId="3795759164" sldId="691"/>
            <ac:spMk id="790" creationId="{0F8E34EB-A1E3-2CEA-E20D-AB7B3AAEF7B0}"/>
          </ac:spMkLst>
        </pc:spChg>
        <pc:spChg chg="add del mod">
          <ac:chgData name="Steiner Andreas 6206 ED" userId="e6377c33-a923-4f14-8587-531c474c7b48" providerId="ADAL" clId="{6ECD27E6-B224-41CD-B4E0-E297462320DD}" dt="2023-11-24T11:35:13.120" v="121770"/>
          <ac:spMkLst>
            <pc:docMk/>
            <pc:sldMk cId="3795759164" sldId="691"/>
            <ac:spMk id="791" creationId="{FC2A8F25-0B98-2108-8361-CDEEFEAA54BD}"/>
          </ac:spMkLst>
        </pc:spChg>
        <pc:spChg chg="add del mod">
          <ac:chgData name="Steiner Andreas 6206 ED" userId="e6377c33-a923-4f14-8587-531c474c7b48" providerId="ADAL" clId="{6ECD27E6-B224-41CD-B4E0-E297462320DD}" dt="2023-11-24T11:35:15.064" v="121925"/>
          <ac:spMkLst>
            <pc:docMk/>
            <pc:sldMk cId="3795759164" sldId="691"/>
            <ac:spMk id="792" creationId="{FA27E7FB-6255-CBB5-2802-2020411C93D6}"/>
          </ac:spMkLst>
        </pc:spChg>
        <pc:spChg chg="add del mod">
          <ac:chgData name="Steiner Andreas 6206 ED" userId="e6377c33-a923-4f14-8587-531c474c7b48" providerId="ADAL" clId="{6ECD27E6-B224-41CD-B4E0-E297462320DD}" dt="2023-11-24T11:35:16.744" v="122080"/>
          <ac:spMkLst>
            <pc:docMk/>
            <pc:sldMk cId="3795759164" sldId="691"/>
            <ac:spMk id="793" creationId="{239D2462-DF43-4092-ECCA-736631B32055}"/>
          </ac:spMkLst>
        </pc:spChg>
        <pc:spChg chg="add del mod">
          <ac:chgData name="Steiner Andreas 6206 ED" userId="e6377c33-a923-4f14-8587-531c474c7b48" providerId="ADAL" clId="{6ECD27E6-B224-41CD-B4E0-E297462320DD}" dt="2023-11-24T11:35:18.454" v="122235"/>
          <ac:spMkLst>
            <pc:docMk/>
            <pc:sldMk cId="3795759164" sldId="691"/>
            <ac:spMk id="794" creationId="{7FB93905-D254-B675-9C03-3CF763F49023}"/>
          </ac:spMkLst>
        </pc:spChg>
        <pc:spChg chg="add del mod">
          <ac:chgData name="Steiner Andreas 6206 ED" userId="e6377c33-a923-4f14-8587-531c474c7b48" providerId="ADAL" clId="{6ECD27E6-B224-41CD-B4E0-E297462320DD}" dt="2023-11-24T11:35:20.079" v="122390"/>
          <ac:spMkLst>
            <pc:docMk/>
            <pc:sldMk cId="3795759164" sldId="691"/>
            <ac:spMk id="795" creationId="{466DA2F1-29B7-82A8-45C3-A92A75C3D5B9}"/>
          </ac:spMkLst>
        </pc:spChg>
        <pc:spChg chg="add del mod">
          <ac:chgData name="Steiner Andreas 6206 ED" userId="e6377c33-a923-4f14-8587-531c474c7b48" providerId="ADAL" clId="{6ECD27E6-B224-41CD-B4E0-E297462320DD}" dt="2023-11-24T11:35:21.711" v="122545"/>
          <ac:spMkLst>
            <pc:docMk/>
            <pc:sldMk cId="3795759164" sldId="691"/>
            <ac:spMk id="796" creationId="{C525AE52-9113-DEE4-2D7E-39331DA92B14}"/>
          </ac:spMkLst>
        </pc:spChg>
        <pc:spChg chg="add del mod">
          <ac:chgData name="Steiner Andreas 6206 ED" userId="e6377c33-a923-4f14-8587-531c474c7b48" providerId="ADAL" clId="{6ECD27E6-B224-41CD-B4E0-E297462320DD}" dt="2023-11-24T11:35:23.417" v="122700"/>
          <ac:spMkLst>
            <pc:docMk/>
            <pc:sldMk cId="3795759164" sldId="691"/>
            <ac:spMk id="797" creationId="{187B9E93-D753-80C1-7B80-FD10ECF3EAE9}"/>
          </ac:spMkLst>
        </pc:spChg>
        <pc:spChg chg="add del mod">
          <ac:chgData name="Steiner Andreas 6206 ED" userId="e6377c33-a923-4f14-8587-531c474c7b48" providerId="ADAL" clId="{6ECD27E6-B224-41CD-B4E0-E297462320DD}" dt="2023-11-24T11:35:25.447" v="122855"/>
          <ac:spMkLst>
            <pc:docMk/>
            <pc:sldMk cId="3795759164" sldId="691"/>
            <ac:spMk id="798" creationId="{DE6B77BC-040F-49B2-3054-D4A15822CA3F}"/>
          </ac:spMkLst>
        </pc:spChg>
        <pc:spChg chg="add del mod">
          <ac:chgData name="Steiner Andreas 6206 ED" userId="e6377c33-a923-4f14-8587-531c474c7b48" providerId="ADAL" clId="{6ECD27E6-B224-41CD-B4E0-E297462320DD}" dt="2023-11-24T11:35:27.468" v="123010"/>
          <ac:spMkLst>
            <pc:docMk/>
            <pc:sldMk cId="3795759164" sldId="691"/>
            <ac:spMk id="799" creationId="{B51F9FC7-7207-C746-A9F4-D8CC131A3F96}"/>
          </ac:spMkLst>
        </pc:spChg>
        <pc:spChg chg="add del mod">
          <ac:chgData name="Steiner Andreas 6206 ED" userId="e6377c33-a923-4f14-8587-531c474c7b48" providerId="ADAL" clId="{6ECD27E6-B224-41CD-B4E0-E297462320DD}" dt="2023-11-24T11:35:29.342" v="123165"/>
          <ac:spMkLst>
            <pc:docMk/>
            <pc:sldMk cId="3795759164" sldId="691"/>
            <ac:spMk id="800" creationId="{9B24263C-EA3D-B257-5AB5-4E8A4D166E24}"/>
          </ac:spMkLst>
        </pc:spChg>
        <pc:spChg chg="add del mod">
          <ac:chgData name="Steiner Andreas 6206 ED" userId="e6377c33-a923-4f14-8587-531c474c7b48" providerId="ADAL" clId="{6ECD27E6-B224-41CD-B4E0-E297462320DD}" dt="2023-11-24T11:35:31.092" v="123320"/>
          <ac:spMkLst>
            <pc:docMk/>
            <pc:sldMk cId="3795759164" sldId="691"/>
            <ac:spMk id="801" creationId="{345BCF0B-276B-509E-B46E-3315445FEE3C}"/>
          </ac:spMkLst>
        </pc:spChg>
        <pc:spChg chg="add del mod">
          <ac:chgData name="Steiner Andreas 6206 ED" userId="e6377c33-a923-4f14-8587-531c474c7b48" providerId="ADAL" clId="{6ECD27E6-B224-41CD-B4E0-E297462320DD}" dt="2023-11-24T11:35:34.014" v="123475"/>
          <ac:spMkLst>
            <pc:docMk/>
            <pc:sldMk cId="3795759164" sldId="691"/>
            <ac:spMk id="802" creationId="{69C47E25-62ED-8427-BF86-35D24F30106C}"/>
          </ac:spMkLst>
        </pc:spChg>
        <pc:spChg chg="add del mod">
          <ac:chgData name="Steiner Andreas 6206 ED" userId="e6377c33-a923-4f14-8587-531c474c7b48" providerId="ADAL" clId="{6ECD27E6-B224-41CD-B4E0-E297462320DD}" dt="2023-11-24T11:35:35.831" v="123630"/>
          <ac:spMkLst>
            <pc:docMk/>
            <pc:sldMk cId="3795759164" sldId="691"/>
            <ac:spMk id="803" creationId="{85DEB159-B7AE-4ECB-C79F-B1D0348093F7}"/>
          </ac:spMkLst>
        </pc:spChg>
        <pc:spChg chg="add del mod">
          <ac:chgData name="Steiner Andreas 6206 ED" userId="e6377c33-a923-4f14-8587-531c474c7b48" providerId="ADAL" clId="{6ECD27E6-B224-41CD-B4E0-E297462320DD}" dt="2023-11-24T11:35:37.509" v="123785"/>
          <ac:spMkLst>
            <pc:docMk/>
            <pc:sldMk cId="3795759164" sldId="691"/>
            <ac:spMk id="804" creationId="{373BF773-80D4-D9E8-7BCD-259D8652905B}"/>
          </ac:spMkLst>
        </pc:spChg>
        <pc:spChg chg="add del mod">
          <ac:chgData name="Steiner Andreas 6206 ED" userId="e6377c33-a923-4f14-8587-531c474c7b48" providerId="ADAL" clId="{6ECD27E6-B224-41CD-B4E0-E297462320DD}" dt="2023-11-24T11:35:39.148" v="123940"/>
          <ac:spMkLst>
            <pc:docMk/>
            <pc:sldMk cId="3795759164" sldId="691"/>
            <ac:spMk id="805" creationId="{18F9DC2E-E5AA-EEF2-2F20-C2E6AB659D99}"/>
          </ac:spMkLst>
        </pc:spChg>
        <pc:spChg chg="add del mod">
          <ac:chgData name="Steiner Andreas 6206 ED" userId="e6377c33-a923-4f14-8587-531c474c7b48" providerId="ADAL" clId="{6ECD27E6-B224-41CD-B4E0-E297462320DD}" dt="2023-11-24T11:35:40.845" v="124095"/>
          <ac:spMkLst>
            <pc:docMk/>
            <pc:sldMk cId="3795759164" sldId="691"/>
            <ac:spMk id="806" creationId="{202E34B9-9106-BCD2-08D2-1502E6AC83E6}"/>
          </ac:spMkLst>
        </pc:spChg>
        <pc:spChg chg="add del mod">
          <ac:chgData name="Steiner Andreas 6206 ED" userId="e6377c33-a923-4f14-8587-531c474c7b48" providerId="ADAL" clId="{6ECD27E6-B224-41CD-B4E0-E297462320DD}" dt="2023-11-24T11:35:42.451" v="124250"/>
          <ac:spMkLst>
            <pc:docMk/>
            <pc:sldMk cId="3795759164" sldId="691"/>
            <ac:spMk id="807" creationId="{BAFA1B36-882E-AC3F-69C2-633D67B0EEC1}"/>
          </ac:spMkLst>
        </pc:spChg>
        <pc:spChg chg="add del mod">
          <ac:chgData name="Steiner Andreas 6206 ED" userId="e6377c33-a923-4f14-8587-531c474c7b48" providerId="ADAL" clId="{6ECD27E6-B224-41CD-B4E0-E297462320DD}" dt="2023-11-24T11:35:44.143" v="124405"/>
          <ac:spMkLst>
            <pc:docMk/>
            <pc:sldMk cId="3795759164" sldId="691"/>
            <ac:spMk id="808" creationId="{8A367E26-BEBF-FB2F-D071-957351FD2174}"/>
          </ac:spMkLst>
        </pc:spChg>
        <pc:spChg chg="add del mod">
          <ac:chgData name="Steiner Andreas 6206 ED" userId="e6377c33-a923-4f14-8587-531c474c7b48" providerId="ADAL" clId="{6ECD27E6-B224-41CD-B4E0-E297462320DD}" dt="2023-11-24T11:35:45.773" v="124560"/>
          <ac:spMkLst>
            <pc:docMk/>
            <pc:sldMk cId="3795759164" sldId="691"/>
            <ac:spMk id="809" creationId="{EB616433-2B0B-DB51-66A6-3487C1F0D612}"/>
          </ac:spMkLst>
        </pc:spChg>
        <pc:spChg chg="add del mod">
          <ac:chgData name="Steiner Andreas 6206 ED" userId="e6377c33-a923-4f14-8587-531c474c7b48" providerId="ADAL" clId="{6ECD27E6-B224-41CD-B4E0-E297462320DD}" dt="2023-11-24T11:35:47.493" v="124715"/>
          <ac:spMkLst>
            <pc:docMk/>
            <pc:sldMk cId="3795759164" sldId="691"/>
            <ac:spMk id="810" creationId="{101B7E7A-FB7A-6B7C-0C6F-68CF3B31F7D6}"/>
          </ac:spMkLst>
        </pc:spChg>
        <pc:spChg chg="add del mod">
          <ac:chgData name="Steiner Andreas 6206 ED" userId="e6377c33-a923-4f14-8587-531c474c7b48" providerId="ADAL" clId="{6ECD27E6-B224-41CD-B4E0-E297462320DD}" dt="2023-11-24T11:35:49.269" v="124870"/>
          <ac:spMkLst>
            <pc:docMk/>
            <pc:sldMk cId="3795759164" sldId="691"/>
            <ac:spMk id="811" creationId="{40F34F70-C1AC-8F00-6423-5D27D31A03BB}"/>
          </ac:spMkLst>
        </pc:spChg>
        <pc:spChg chg="add del mod">
          <ac:chgData name="Steiner Andreas 6206 ED" userId="e6377c33-a923-4f14-8587-531c474c7b48" providerId="ADAL" clId="{6ECD27E6-B224-41CD-B4E0-E297462320DD}" dt="2023-11-24T11:35:51.182" v="125025"/>
          <ac:spMkLst>
            <pc:docMk/>
            <pc:sldMk cId="3795759164" sldId="691"/>
            <ac:spMk id="812" creationId="{3971FB7B-3390-9E6B-0E00-1FBD4948310F}"/>
          </ac:spMkLst>
        </pc:spChg>
        <pc:spChg chg="add del mod">
          <ac:chgData name="Steiner Andreas 6206 ED" userId="e6377c33-a923-4f14-8587-531c474c7b48" providerId="ADAL" clId="{6ECD27E6-B224-41CD-B4E0-E297462320DD}" dt="2023-11-24T11:35:52.906" v="125180"/>
          <ac:spMkLst>
            <pc:docMk/>
            <pc:sldMk cId="3795759164" sldId="691"/>
            <ac:spMk id="813" creationId="{F7B25078-9F09-6DF7-C84A-BA2AE499374D}"/>
          </ac:spMkLst>
        </pc:spChg>
        <pc:spChg chg="add del mod">
          <ac:chgData name="Steiner Andreas 6206 ED" userId="e6377c33-a923-4f14-8587-531c474c7b48" providerId="ADAL" clId="{6ECD27E6-B224-41CD-B4E0-E297462320DD}" dt="2023-11-24T11:35:54.918" v="125335"/>
          <ac:spMkLst>
            <pc:docMk/>
            <pc:sldMk cId="3795759164" sldId="691"/>
            <ac:spMk id="814" creationId="{A6BB35D6-9F0A-F3A2-59E1-CDA1C0B05317}"/>
          </ac:spMkLst>
        </pc:spChg>
        <pc:spChg chg="add del mod">
          <ac:chgData name="Steiner Andreas 6206 ED" userId="e6377c33-a923-4f14-8587-531c474c7b48" providerId="ADAL" clId="{6ECD27E6-B224-41CD-B4E0-E297462320DD}" dt="2023-11-24T11:35:57.102" v="125490"/>
          <ac:spMkLst>
            <pc:docMk/>
            <pc:sldMk cId="3795759164" sldId="691"/>
            <ac:spMk id="815" creationId="{1CAE067B-87F9-C906-F848-8BA12EEBC3E2}"/>
          </ac:spMkLst>
        </pc:spChg>
        <pc:spChg chg="add del mod">
          <ac:chgData name="Steiner Andreas 6206 ED" userId="e6377c33-a923-4f14-8587-531c474c7b48" providerId="ADAL" clId="{6ECD27E6-B224-41CD-B4E0-E297462320DD}" dt="2023-11-24T11:35:58.882" v="125645"/>
          <ac:spMkLst>
            <pc:docMk/>
            <pc:sldMk cId="3795759164" sldId="691"/>
            <ac:spMk id="816" creationId="{846A8DC8-058C-AC70-F38F-CB91595B40D2}"/>
          </ac:spMkLst>
        </pc:spChg>
        <pc:spChg chg="add del mod">
          <ac:chgData name="Steiner Andreas 6206 ED" userId="e6377c33-a923-4f14-8587-531c474c7b48" providerId="ADAL" clId="{6ECD27E6-B224-41CD-B4E0-E297462320DD}" dt="2023-11-24T11:36:00.616" v="125800"/>
          <ac:spMkLst>
            <pc:docMk/>
            <pc:sldMk cId="3795759164" sldId="691"/>
            <ac:spMk id="817" creationId="{F9869F70-84D4-F702-5943-BDB18D6BE77E}"/>
          </ac:spMkLst>
        </pc:spChg>
        <pc:spChg chg="add del mod">
          <ac:chgData name="Steiner Andreas 6206 ED" userId="e6377c33-a923-4f14-8587-531c474c7b48" providerId="ADAL" clId="{6ECD27E6-B224-41CD-B4E0-E297462320DD}" dt="2023-11-24T11:36:02.347" v="125955"/>
          <ac:spMkLst>
            <pc:docMk/>
            <pc:sldMk cId="3795759164" sldId="691"/>
            <ac:spMk id="818" creationId="{61AA06D1-EBA3-E6BB-BB36-3AC1FB5F148C}"/>
          </ac:spMkLst>
        </pc:spChg>
        <pc:spChg chg="add del mod">
          <ac:chgData name="Steiner Andreas 6206 ED" userId="e6377c33-a923-4f14-8587-531c474c7b48" providerId="ADAL" clId="{6ECD27E6-B224-41CD-B4E0-E297462320DD}" dt="2023-11-24T11:36:04.098" v="126110"/>
          <ac:spMkLst>
            <pc:docMk/>
            <pc:sldMk cId="3795759164" sldId="691"/>
            <ac:spMk id="819" creationId="{CD28B001-1767-AC1B-21A2-F7C04CCAA853}"/>
          </ac:spMkLst>
        </pc:spChg>
        <pc:spChg chg="add del mod">
          <ac:chgData name="Steiner Andreas 6206 ED" userId="e6377c33-a923-4f14-8587-531c474c7b48" providerId="ADAL" clId="{6ECD27E6-B224-41CD-B4E0-E297462320DD}" dt="2023-11-24T11:36:05.874" v="126265"/>
          <ac:spMkLst>
            <pc:docMk/>
            <pc:sldMk cId="3795759164" sldId="691"/>
            <ac:spMk id="820" creationId="{9C3966E8-FFC6-B69B-D52E-33BA039F8D36}"/>
          </ac:spMkLst>
        </pc:spChg>
        <pc:spChg chg="add del mod">
          <ac:chgData name="Steiner Andreas 6206 ED" userId="e6377c33-a923-4f14-8587-531c474c7b48" providerId="ADAL" clId="{6ECD27E6-B224-41CD-B4E0-E297462320DD}" dt="2023-11-24T11:36:07.561" v="126420"/>
          <ac:spMkLst>
            <pc:docMk/>
            <pc:sldMk cId="3795759164" sldId="691"/>
            <ac:spMk id="821" creationId="{CE55EB1E-49AF-2C65-A2B7-7375E6B1A492}"/>
          </ac:spMkLst>
        </pc:spChg>
        <pc:spChg chg="add del mod">
          <ac:chgData name="Steiner Andreas 6206 ED" userId="e6377c33-a923-4f14-8587-531c474c7b48" providerId="ADAL" clId="{6ECD27E6-B224-41CD-B4E0-E297462320DD}" dt="2023-11-24T11:36:09.406" v="126575"/>
          <ac:spMkLst>
            <pc:docMk/>
            <pc:sldMk cId="3795759164" sldId="691"/>
            <ac:spMk id="822" creationId="{A9C89374-3727-3DC8-6B1D-54B3D79CB418}"/>
          </ac:spMkLst>
        </pc:spChg>
        <pc:spChg chg="add del mod">
          <ac:chgData name="Steiner Andreas 6206 ED" userId="e6377c33-a923-4f14-8587-531c474c7b48" providerId="ADAL" clId="{6ECD27E6-B224-41CD-B4E0-E297462320DD}" dt="2023-11-24T11:36:11.212" v="126730"/>
          <ac:spMkLst>
            <pc:docMk/>
            <pc:sldMk cId="3795759164" sldId="691"/>
            <ac:spMk id="823" creationId="{7214F87E-E3A1-2420-4353-3E80FD25695D}"/>
          </ac:spMkLst>
        </pc:spChg>
        <pc:spChg chg="add del mod">
          <ac:chgData name="Steiner Andreas 6206 ED" userId="e6377c33-a923-4f14-8587-531c474c7b48" providerId="ADAL" clId="{6ECD27E6-B224-41CD-B4E0-E297462320DD}" dt="2023-11-24T11:36:13.121" v="126885"/>
          <ac:spMkLst>
            <pc:docMk/>
            <pc:sldMk cId="3795759164" sldId="691"/>
            <ac:spMk id="824" creationId="{BE472D86-F4EF-4DA9-1C64-44B58088E425}"/>
          </ac:spMkLst>
        </pc:spChg>
        <pc:spChg chg="add del mod">
          <ac:chgData name="Steiner Andreas 6206 ED" userId="e6377c33-a923-4f14-8587-531c474c7b48" providerId="ADAL" clId="{6ECD27E6-B224-41CD-B4E0-E297462320DD}" dt="2023-11-24T11:36:15.009" v="127040"/>
          <ac:spMkLst>
            <pc:docMk/>
            <pc:sldMk cId="3795759164" sldId="691"/>
            <ac:spMk id="825" creationId="{427CA562-28E8-8995-B5C1-9ACF7496AC44}"/>
          </ac:spMkLst>
        </pc:spChg>
        <pc:spChg chg="add del mod">
          <ac:chgData name="Steiner Andreas 6206 ED" userId="e6377c33-a923-4f14-8587-531c474c7b48" providerId="ADAL" clId="{6ECD27E6-B224-41CD-B4E0-E297462320DD}" dt="2023-11-24T11:36:17.548" v="127195"/>
          <ac:spMkLst>
            <pc:docMk/>
            <pc:sldMk cId="3795759164" sldId="691"/>
            <ac:spMk id="826" creationId="{515A3D4F-8956-DECF-8113-AED00B12947A}"/>
          </ac:spMkLst>
        </pc:spChg>
        <pc:spChg chg="add del mod">
          <ac:chgData name="Steiner Andreas 6206 ED" userId="e6377c33-a923-4f14-8587-531c474c7b48" providerId="ADAL" clId="{6ECD27E6-B224-41CD-B4E0-E297462320DD}" dt="2023-11-24T11:36:20.134" v="127350"/>
          <ac:spMkLst>
            <pc:docMk/>
            <pc:sldMk cId="3795759164" sldId="691"/>
            <ac:spMk id="827" creationId="{7703E1AD-8689-31F3-DE4C-2D9A38AFBCD8}"/>
          </ac:spMkLst>
        </pc:spChg>
        <pc:spChg chg="add del mod">
          <ac:chgData name="Steiner Andreas 6206 ED" userId="e6377c33-a923-4f14-8587-531c474c7b48" providerId="ADAL" clId="{6ECD27E6-B224-41CD-B4E0-E297462320DD}" dt="2023-11-24T11:36:22.479" v="127505"/>
          <ac:spMkLst>
            <pc:docMk/>
            <pc:sldMk cId="3795759164" sldId="691"/>
            <ac:spMk id="828" creationId="{ED1E7FC9-83C3-BF97-D63D-CC25D1E3E28D}"/>
          </ac:spMkLst>
        </pc:spChg>
        <pc:spChg chg="add del mod">
          <ac:chgData name="Steiner Andreas 6206 ED" userId="e6377c33-a923-4f14-8587-531c474c7b48" providerId="ADAL" clId="{6ECD27E6-B224-41CD-B4E0-E297462320DD}" dt="2023-11-24T11:36:25.611" v="127660"/>
          <ac:spMkLst>
            <pc:docMk/>
            <pc:sldMk cId="3795759164" sldId="691"/>
            <ac:spMk id="829" creationId="{B634652C-C729-327B-C156-402732386FF0}"/>
          </ac:spMkLst>
        </pc:spChg>
        <pc:spChg chg="add del mod">
          <ac:chgData name="Steiner Andreas 6206 ED" userId="e6377c33-a923-4f14-8587-531c474c7b48" providerId="ADAL" clId="{6ECD27E6-B224-41CD-B4E0-E297462320DD}" dt="2023-11-24T11:36:28.444" v="127815"/>
          <ac:spMkLst>
            <pc:docMk/>
            <pc:sldMk cId="3795759164" sldId="691"/>
            <ac:spMk id="830" creationId="{2910601D-1488-003D-2C59-6ADB425B0865}"/>
          </ac:spMkLst>
        </pc:spChg>
        <pc:spChg chg="add del mod">
          <ac:chgData name="Steiner Andreas 6206 ED" userId="e6377c33-a923-4f14-8587-531c474c7b48" providerId="ADAL" clId="{6ECD27E6-B224-41CD-B4E0-E297462320DD}" dt="2023-11-24T11:36:31.109" v="127970"/>
          <ac:spMkLst>
            <pc:docMk/>
            <pc:sldMk cId="3795759164" sldId="691"/>
            <ac:spMk id="831" creationId="{521B33FF-A351-20B1-5D03-CAC86E5EA9EB}"/>
          </ac:spMkLst>
        </pc:spChg>
        <pc:spChg chg="add del mod">
          <ac:chgData name="Steiner Andreas 6206 ED" userId="e6377c33-a923-4f14-8587-531c474c7b48" providerId="ADAL" clId="{6ECD27E6-B224-41CD-B4E0-E297462320DD}" dt="2023-11-24T11:36:33.375" v="128125"/>
          <ac:spMkLst>
            <pc:docMk/>
            <pc:sldMk cId="3795759164" sldId="691"/>
            <ac:spMk id="832" creationId="{33A0229D-D759-F0D8-B2B2-68B2D1C2CC5A}"/>
          </ac:spMkLst>
        </pc:spChg>
        <pc:spChg chg="add del mod">
          <ac:chgData name="Steiner Andreas 6206 ED" userId="e6377c33-a923-4f14-8587-531c474c7b48" providerId="ADAL" clId="{6ECD27E6-B224-41CD-B4E0-E297462320DD}" dt="2023-11-24T11:36:35.432" v="128280"/>
          <ac:spMkLst>
            <pc:docMk/>
            <pc:sldMk cId="3795759164" sldId="691"/>
            <ac:spMk id="833" creationId="{AC9A9077-B526-31A2-F0F8-0F194D93645F}"/>
          </ac:spMkLst>
        </pc:spChg>
        <pc:spChg chg="add del mod">
          <ac:chgData name="Steiner Andreas 6206 ED" userId="e6377c33-a923-4f14-8587-531c474c7b48" providerId="ADAL" clId="{6ECD27E6-B224-41CD-B4E0-E297462320DD}" dt="2023-11-24T11:36:37.536" v="128435"/>
          <ac:spMkLst>
            <pc:docMk/>
            <pc:sldMk cId="3795759164" sldId="691"/>
            <ac:spMk id="834" creationId="{DD0AFAF5-47F4-C296-9040-EEB18F5FD2BE}"/>
          </ac:spMkLst>
        </pc:spChg>
        <pc:spChg chg="add del mod">
          <ac:chgData name="Steiner Andreas 6206 ED" userId="e6377c33-a923-4f14-8587-531c474c7b48" providerId="ADAL" clId="{6ECD27E6-B224-41CD-B4E0-E297462320DD}" dt="2023-11-24T11:36:39.751" v="128590"/>
          <ac:spMkLst>
            <pc:docMk/>
            <pc:sldMk cId="3795759164" sldId="691"/>
            <ac:spMk id="835" creationId="{68DF4C05-97DE-BEB5-0A70-8705B6490F7F}"/>
          </ac:spMkLst>
        </pc:spChg>
        <pc:spChg chg="add del mod">
          <ac:chgData name="Steiner Andreas 6206 ED" userId="e6377c33-a923-4f14-8587-531c474c7b48" providerId="ADAL" clId="{6ECD27E6-B224-41CD-B4E0-E297462320DD}" dt="2023-11-24T11:36:42.303" v="128745"/>
          <ac:spMkLst>
            <pc:docMk/>
            <pc:sldMk cId="3795759164" sldId="691"/>
            <ac:spMk id="836" creationId="{2291D545-6CE5-EF0B-1A41-2DBC2031FA7B}"/>
          </ac:spMkLst>
        </pc:spChg>
        <pc:spChg chg="add del mod">
          <ac:chgData name="Steiner Andreas 6206 ED" userId="e6377c33-a923-4f14-8587-531c474c7b48" providerId="ADAL" clId="{6ECD27E6-B224-41CD-B4E0-E297462320DD}" dt="2023-11-24T11:36:44.613" v="128900"/>
          <ac:spMkLst>
            <pc:docMk/>
            <pc:sldMk cId="3795759164" sldId="691"/>
            <ac:spMk id="837" creationId="{2B270C49-EBC8-6E25-F74D-4D751E702AA5}"/>
          </ac:spMkLst>
        </pc:spChg>
        <pc:spChg chg="add del mod">
          <ac:chgData name="Steiner Andreas 6206 ED" userId="e6377c33-a923-4f14-8587-531c474c7b48" providerId="ADAL" clId="{6ECD27E6-B224-41CD-B4E0-E297462320DD}" dt="2023-11-24T11:36:46.586" v="129055"/>
          <ac:spMkLst>
            <pc:docMk/>
            <pc:sldMk cId="3795759164" sldId="691"/>
            <ac:spMk id="838" creationId="{EAF7B652-48D8-CF75-A0E7-868869E1F90E}"/>
          </ac:spMkLst>
        </pc:spChg>
        <pc:spChg chg="add del mod">
          <ac:chgData name="Steiner Andreas 6206 ED" userId="e6377c33-a923-4f14-8587-531c474c7b48" providerId="ADAL" clId="{6ECD27E6-B224-41CD-B4E0-E297462320DD}" dt="2023-11-24T11:36:48.547" v="129210"/>
          <ac:spMkLst>
            <pc:docMk/>
            <pc:sldMk cId="3795759164" sldId="691"/>
            <ac:spMk id="839" creationId="{B3710231-B6B5-B9A6-FE83-E8D5C0CAC688}"/>
          </ac:spMkLst>
        </pc:spChg>
        <pc:spChg chg="add del mod">
          <ac:chgData name="Steiner Andreas 6206 ED" userId="e6377c33-a923-4f14-8587-531c474c7b48" providerId="ADAL" clId="{6ECD27E6-B224-41CD-B4E0-E297462320DD}" dt="2023-11-24T11:36:50.524" v="129365"/>
          <ac:spMkLst>
            <pc:docMk/>
            <pc:sldMk cId="3795759164" sldId="691"/>
            <ac:spMk id="840" creationId="{FDCB3C6D-6333-5A9F-F81D-BBB0B297BCD1}"/>
          </ac:spMkLst>
        </pc:spChg>
        <pc:spChg chg="add del mod">
          <ac:chgData name="Steiner Andreas 6206 ED" userId="e6377c33-a923-4f14-8587-531c474c7b48" providerId="ADAL" clId="{6ECD27E6-B224-41CD-B4E0-E297462320DD}" dt="2023-11-24T11:36:52.661" v="129520"/>
          <ac:spMkLst>
            <pc:docMk/>
            <pc:sldMk cId="3795759164" sldId="691"/>
            <ac:spMk id="841" creationId="{99CA8F76-F0E6-F5F1-2C2A-46BFD0C03A92}"/>
          </ac:spMkLst>
        </pc:spChg>
        <pc:spChg chg="add del mod">
          <ac:chgData name="Steiner Andreas 6206 ED" userId="e6377c33-a923-4f14-8587-531c474c7b48" providerId="ADAL" clId="{6ECD27E6-B224-41CD-B4E0-E297462320DD}" dt="2023-11-24T11:36:55.539" v="129675"/>
          <ac:spMkLst>
            <pc:docMk/>
            <pc:sldMk cId="3795759164" sldId="691"/>
            <ac:spMk id="842" creationId="{189B218A-5922-25C9-308B-51F1A390AC0E}"/>
          </ac:spMkLst>
        </pc:spChg>
        <pc:spChg chg="add del mod">
          <ac:chgData name="Steiner Andreas 6206 ED" userId="e6377c33-a923-4f14-8587-531c474c7b48" providerId="ADAL" clId="{6ECD27E6-B224-41CD-B4E0-E297462320DD}" dt="2023-11-24T11:36:57.783" v="129830"/>
          <ac:spMkLst>
            <pc:docMk/>
            <pc:sldMk cId="3795759164" sldId="691"/>
            <ac:spMk id="843" creationId="{223B8A66-E501-0BD4-DE3B-5379002480EA}"/>
          </ac:spMkLst>
        </pc:spChg>
        <pc:spChg chg="add del mod">
          <ac:chgData name="Steiner Andreas 6206 ED" userId="e6377c33-a923-4f14-8587-531c474c7b48" providerId="ADAL" clId="{6ECD27E6-B224-41CD-B4E0-E297462320DD}" dt="2023-11-24T11:37:00.136" v="129985"/>
          <ac:spMkLst>
            <pc:docMk/>
            <pc:sldMk cId="3795759164" sldId="691"/>
            <ac:spMk id="844" creationId="{C4F42DD0-9747-BB82-F555-0F82E610663B}"/>
          </ac:spMkLst>
        </pc:spChg>
        <pc:spChg chg="add del mod">
          <ac:chgData name="Steiner Andreas 6206 ED" userId="e6377c33-a923-4f14-8587-531c474c7b48" providerId="ADAL" clId="{6ECD27E6-B224-41CD-B4E0-E297462320DD}" dt="2023-11-24T11:37:01.963" v="130140"/>
          <ac:spMkLst>
            <pc:docMk/>
            <pc:sldMk cId="3795759164" sldId="691"/>
            <ac:spMk id="845" creationId="{5DC06A72-0723-5D76-8E7F-735B8D9446C7}"/>
          </ac:spMkLst>
        </pc:spChg>
        <pc:spChg chg="add del mod">
          <ac:chgData name="Steiner Andreas 6206 ED" userId="e6377c33-a923-4f14-8587-531c474c7b48" providerId="ADAL" clId="{6ECD27E6-B224-41CD-B4E0-E297462320DD}" dt="2023-11-24T11:37:03.700" v="130295"/>
          <ac:spMkLst>
            <pc:docMk/>
            <pc:sldMk cId="3795759164" sldId="691"/>
            <ac:spMk id="846" creationId="{D87D8E98-44E4-33DA-8673-BAC71C304019}"/>
          </ac:spMkLst>
        </pc:spChg>
        <pc:spChg chg="add del mod">
          <ac:chgData name="Steiner Andreas 6206 ED" userId="e6377c33-a923-4f14-8587-531c474c7b48" providerId="ADAL" clId="{6ECD27E6-B224-41CD-B4E0-E297462320DD}" dt="2023-11-24T11:37:05.587" v="130450"/>
          <ac:spMkLst>
            <pc:docMk/>
            <pc:sldMk cId="3795759164" sldId="691"/>
            <ac:spMk id="847" creationId="{967E076D-3280-E780-5482-A7CF25830BE7}"/>
          </ac:spMkLst>
        </pc:spChg>
        <pc:spChg chg="add del mod">
          <ac:chgData name="Steiner Andreas 6206 ED" userId="e6377c33-a923-4f14-8587-531c474c7b48" providerId="ADAL" clId="{6ECD27E6-B224-41CD-B4E0-E297462320DD}" dt="2023-11-24T11:37:07.344" v="130605"/>
          <ac:spMkLst>
            <pc:docMk/>
            <pc:sldMk cId="3795759164" sldId="691"/>
            <ac:spMk id="848" creationId="{46697D24-D005-2CCF-0C51-BCEFD18E9384}"/>
          </ac:spMkLst>
        </pc:spChg>
        <pc:spChg chg="add del mod">
          <ac:chgData name="Steiner Andreas 6206 ED" userId="e6377c33-a923-4f14-8587-531c474c7b48" providerId="ADAL" clId="{6ECD27E6-B224-41CD-B4E0-E297462320DD}" dt="2023-11-24T11:37:09.070" v="130760"/>
          <ac:spMkLst>
            <pc:docMk/>
            <pc:sldMk cId="3795759164" sldId="691"/>
            <ac:spMk id="849" creationId="{4FA84D2F-0E2B-DD11-A904-F3EFC53F7EF6}"/>
          </ac:spMkLst>
        </pc:spChg>
        <pc:spChg chg="add del mod">
          <ac:chgData name="Steiner Andreas 6206 ED" userId="e6377c33-a923-4f14-8587-531c474c7b48" providerId="ADAL" clId="{6ECD27E6-B224-41CD-B4E0-E297462320DD}" dt="2023-11-24T11:37:10.720" v="130915"/>
          <ac:spMkLst>
            <pc:docMk/>
            <pc:sldMk cId="3795759164" sldId="691"/>
            <ac:spMk id="850" creationId="{530A963A-A020-BDF0-BE15-042D3C1F6F0E}"/>
          </ac:spMkLst>
        </pc:spChg>
        <pc:spChg chg="add del mod">
          <ac:chgData name="Steiner Andreas 6206 ED" userId="e6377c33-a923-4f14-8587-531c474c7b48" providerId="ADAL" clId="{6ECD27E6-B224-41CD-B4E0-E297462320DD}" dt="2023-11-24T11:37:12.430" v="131070"/>
          <ac:spMkLst>
            <pc:docMk/>
            <pc:sldMk cId="3795759164" sldId="691"/>
            <ac:spMk id="851" creationId="{DC8AFB00-EEB2-F4D8-568E-B0DC95933477}"/>
          </ac:spMkLst>
        </pc:spChg>
        <pc:spChg chg="add del mod">
          <ac:chgData name="Steiner Andreas 6206 ED" userId="e6377c33-a923-4f14-8587-531c474c7b48" providerId="ADAL" clId="{6ECD27E6-B224-41CD-B4E0-E297462320DD}" dt="2023-11-24T11:37:14.110" v="131225"/>
          <ac:spMkLst>
            <pc:docMk/>
            <pc:sldMk cId="3795759164" sldId="691"/>
            <ac:spMk id="852" creationId="{BF707EF8-E1EB-FB9B-18A2-3AD1D33AF543}"/>
          </ac:spMkLst>
        </pc:spChg>
        <pc:spChg chg="add del mod">
          <ac:chgData name="Steiner Andreas 6206 ED" userId="e6377c33-a923-4f14-8587-531c474c7b48" providerId="ADAL" clId="{6ECD27E6-B224-41CD-B4E0-E297462320DD}" dt="2023-11-24T11:37:16.132" v="131380"/>
          <ac:spMkLst>
            <pc:docMk/>
            <pc:sldMk cId="3795759164" sldId="691"/>
            <ac:spMk id="853" creationId="{6977ACF2-7E49-A6C8-FEFC-3C69FF152E15}"/>
          </ac:spMkLst>
        </pc:spChg>
        <pc:spChg chg="add del mod">
          <ac:chgData name="Steiner Andreas 6206 ED" userId="e6377c33-a923-4f14-8587-531c474c7b48" providerId="ADAL" clId="{6ECD27E6-B224-41CD-B4E0-E297462320DD}" dt="2023-11-24T11:37:18.127" v="131535"/>
          <ac:spMkLst>
            <pc:docMk/>
            <pc:sldMk cId="3795759164" sldId="691"/>
            <ac:spMk id="854" creationId="{3A69957F-5FA5-D20E-0F42-45724ECB5001}"/>
          </ac:spMkLst>
        </pc:spChg>
        <pc:spChg chg="add del mod">
          <ac:chgData name="Steiner Andreas 6206 ED" userId="e6377c33-a923-4f14-8587-531c474c7b48" providerId="ADAL" clId="{6ECD27E6-B224-41CD-B4E0-E297462320DD}" dt="2023-11-24T11:37:20.017" v="131690"/>
          <ac:spMkLst>
            <pc:docMk/>
            <pc:sldMk cId="3795759164" sldId="691"/>
            <ac:spMk id="855" creationId="{20C2965D-0E17-2945-C3D0-4A02E1EA00C3}"/>
          </ac:spMkLst>
        </pc:spChg>
        <pc:spChg chg="add del mod">
          <ac:chgData name="Steiner Andreas 6206 ED" userId="e6377c33-a923-4f14-8587-531c474c7b48" providerId="ADAL" clId="{6ECD27E6-B224-41CD-B4E0-E297462320DD}" dt="2023-11-24T11:37:21.928" v="131845"/>
          <ac:spMkLst>
            <pc:docMk/>
            <pc:sldMk cId="3795759164" sldId="691"/>
            <ac:spMk id="856" creationId="{AC89E772-F2AA-44CA-358B-E414E3E6A08A}"/>
          </ac:spMkLst>
        </pc:spChg>
        <pc:spChg chg="add del mod">
          <ac:chgData name="Steiner Andreas 6206 ED" userId="e6377c33-a923-4f14-8587-531c474c7b48" providerId="ADAL" clId="{6ECD27E6-B224-41CD-B4E0-E297462320DD}" dt="2023-11-24T11:37:23.704" v="132000"/>
          <ac:spMkLst>
            <pc:docMk/>
            <pc:sldMk cId="3795759164" sldId="691"/>
            <ac:spMk id="857" creationId="{5D7FA684-F984-BD08-1BAA-F5486A8DD7AB}"/>
          </ac:spMkLst>
        </pc:spChg>
        <pc:spChg chg="add del mod">
          <ac:chgData name="Steiner Andreas 6206 ED" userId="e6377c33-a923-4f14-8587-531c474c7b48" providerId="ADAL" clId="{6ECD27E6-B224-41CD-B4E0-E297462320DD}" dt="2023-11-24T11:37:25.419" v="132155"/>
          <ac:spMkLst>
            <pc:docMk/>
            <pc:sldMk cId="3795759164" sldId="691"/>
            <ac:spMk id="858" creationId="{FCB86941-02EC-825B-8A91-45971E9737FB}"/>
          </ac:spMkLst>
        </pc:spChg>
        <pc:spChg chg="add del mod">
          <ac:chgData name="Steiner Andreas 6206 ED" userId="e6377c33-a923-4f14-8587-531c474c7b48" providerId="ADAL" clId="{6ECD27E6-B224-41CD-B4E0-E297462320DD}" dt="2023-11-24T11:37:27.378" v="132310"/>
          <ac:spMkLst>
            <pc:docMk/>
            <pc:sldMk cId="3795759164" sldId="691"/>
            <ac:spMk id="859" creationId="{A498C0DF-E808-1774-374C-1E539F7781CB}"/>
          </ac:spMkLst>
        </pc:spChg>
        <pc:spChg chg="add del mod">
          <ac:chgData name="Steiner Andreas 6206 ED" userId="e6377c33-a923-4f14-8587-531c474c7b48" providerId="ADAL" clId="{6ECD27E6-B224-41CD-B4E0-E297462320DD}" dt="2023-11-24T11:37:30.058" v="132465"/>
          <ac:spMkLst>
            <pc:docMk/>
            <pc:sldMk cId="3795759164" sldId="691"/>
            <ac:spMk id="860" creationId="{24E762E3-7083-87ED-8BAF-F6EE73766E9D}"/>
          </ac:spMkLst>
        </pc:spChg>
        <pc:spChg chg="add del mod">
          <ac:chgData name="Steiner Andreas 6206 ED" userId="e6377c33-a923-4f14-8587-531c474c7b48" providerId="ADAL" clId="{6ECD27E6-B224-41CD-B4E0-E297462320DD}" dt="2023-11-24T11:37:32.681" v="132620"/>
          <ac:spMkLst>
            <pc:docMk/>
            <pc:sldMk cId="3795759164" sldId="691"/>
            <ac:spMk id="861" creationId="{CFE331FF-1CC6-EE4F-6867-68ABD7FC618B}"/>
          </ac:spMkLst>
        </pc:spChg>
        <pc:spChg chg="add del mod">
          <ac:chgData name="Steiner Andreas 6206 ED" userId="e6377c33-a923-4f14-8587-531c474c7b48" providerId="ADAL" clId="{6ECD27E6-B224-41CD-B4E0-E297462320DD}" dt="2023-11-24T11:37:35.557" v="132775"/>
          <ac:spMkLst>
            <pc:docMk/>
            <pc:sldMk cId="3795759164" sldId="691"/>
            <ac:spMk id="862" creationId="{537A048E-374D-7D80-10F5-A8862AA618AF}"/>
          </ac:spMkLst>
        </pc:spChg>
        <pc:spChg chg="add del mod">
          <ac:chgData name="Steiner Andreas 6206 ED" userId="e6377c33-a923-4f14-8587-531c474c7b48" providerId="ADAL" clId="{6ECD27E6-B224-41CD-B4E0-E297462320DD}" dt="2023-11-24T11:37:38.267" v="132930"/>
          <ac:spMkLst>
            <pc:docMk/>
            <pc:sldMk cId="3795759164" sldId="691"/>
            <ac:spMk id="863" creationId="{A10E1D6F-E152-4458-23BF-9782BC015F4F}"/>
          </ac:spMkLst>
        </pc:spChg>
        <pc:spChg chg="add del mod">
          <ac:chgData name="Steiner Andreas 6206 ED" userId="e6377c33-a923-4f14-8587-531c474c7b48" providerId="ADAL" clId="{6ECD27E6-B224-41CD-B4E0-E297462320DD}" dt="2023-11-24T11:37:40.830" v="133085"/>
          <ac:spMkLst>
            <pc:docMk/>
            <pc:sldMk cId="3795759164" sldId="691"/>
            <ac:spMk id="864" creationId="{5A976896-EA90-89F3-1706-A7950E4D253F}"/>
          </ac:spMkLst>
        </pc:spChg>
        <pc:spChg chg="add del mod">
          <ac:chgData name="Steiner Andreas 6206 ED" userId="e6377c33-a923-4f14-8587-531c474c7b48" providerId="ADAL" clId="{6ECD27E6-B224-41CD-B4E0-E297462320DD}" dt="2023-11-24T11:37:43.802" v="133240"/>
          <ac:spMkLst>
            <pc:docMk/>
            <pc:sldMk cId="3795759164" sldId="691"/>
            <ac:spMk id="865" creationId="{AB6D3A0C-5DCF-1EB6-1F15-14FEB2656AC1}"/>
          </ac:spMkLst>
        </pc:spChg>
        <pc:spChg chg="add del mod">
          <ac:chgData name="Steiner Andreas 6206 ED" userId="e6377c33-a923-4f14-8587-531c474c7b48" providerId="ADAL" clId="{6ECD27E6-B224-41CD-B4E0-E297462320DD}" dt="2023-11-24T11:37:47.963" v="133395"/>
          <ac:spMkLst>
            <pc:docMk/>
            <pc:sldMk cId="3795759164" sldId="691"/>
            <ac:spMk id="866" creationId="{4D5B6B2C-908A-CA0D-0E2D-344B8BB1A3FC}"/>
          </ac:spMkLst>
        </pc:spChg>
        <pc:spChg chg="add del mod">
          <ac:chgData name="Steiner Andreas 6206 ED" userId="e6377c33-a923-4f14-8587-531c474c7b48" providerId="ADAL" clId="{6ECD27E6-B224-41CD-B4E0-E297462320DD}" dt="2023-11-24T11:37:51.131" v="133550"/>
          <ac:spMkLst>
            <pc:docMk/>
            <pc:sldMk cId="3795759164" sldId="691"/>
            <ac:spMk id="867" creationId="{06729474-7022-6580-6092-0A9DFF263746}"/>
          </ac:spMkLst>
        </pc:spChg>
        <pc:spChg chg="add del mod">
          <ac:chgData name="Steiner Andreas 6206 ED" userId="e6377c33-a923-4f14-8587-531c474c7b48" providerId="ADAL" clId="{6ECD27E6-B224-41CD-B4E0-E297462320DD}" dt="2023-11-24T11:37:54.057" v="133705"/>
          <ac:spMkLst>
            <pc:docMk/>
            <pc:sldMk cId="3795759164" sldId="691"/>
            <ac:spMk id="868" creationId="{1C239352-FB8D-1D13-4921-7632BF812966}"/>
          </ac:spMkLst>
        </pc:spChg>
        <pc:spChg chg="add del mod">
          <ac:chgData name="Steiner Andreas 6206 ED" userId="e6377c33-a923-4f14-8587-531c474c7b48" providerId="ADAL" clId="{6ECD27E6-B224-41CD-B4E0-E297462320DD}" dt="2023-11-24T11:37:56.400" v="133860"/>
          <ac:spMkLst>
            <pc:docMk/>
            <pc:sldMk cId="3795759164" sldId="691"/>
            <ac:spMk id="869" creationId="{676B6D57-827E-3689-848F-06E39A36C068}"/>
          </ac:spMkLst>
        </pc:spChg>
        <pc:spChg chg="add del mod">
          <ac:chgData name="Steiner Andreas 6206 ED" userId="e6377c33-a923-4f14-8587-531c474c7b48" providerId="ADAL" clId="{6ECD27E6-B224-41CD-B4E0-E297462320DD}" dt="2023-11-24T11:37:58.998" v="134015"/>
          <ac:spMkLst>
            <pc:docMk/>
            <pc:sldMk cId="3795759164" sldId="691"/>
            <ac:spMk id="870" creationId="{C2EE2C3C-6215-1441-109D-978BD7A052A5}"/>
          </ac:spMkLst>
        </pc:spChg>
        <pc:spChg chg="add del mod">
          <ac:chgData name="Steiner Andreas 6206 ED" userId="e6377c33-a923-4f14-8587-531c474c7b48" providerId="ADAL" clId="{6ECD27E6-B224-41CD-B4E0-E297462320DD}" dt="2023-11-24T11:38:01.273" v="134170"/>
          <ac:spMkLst>
            <pc:docMk/>
            <pc:sldMk cId="3795759164" sldId="691"/>
            <ac:spMk id="871" creationId="{9B27B511-0441-C558-A49D-CAE733A3836F}"/>
          </ac:spMkLst>
        </pc:spChg>
        <pc:spChg chg="add del mod">
          <ac:chgData name="Steiner Andreas 6206 ED" userId="e6377c33-a923-4f14-8587-531c474c7b48" providerId="ADAL" clId="{6ECD27E6-B224-41CD-B4E0-E297462320DD}" dt="2023-11-24T11:38:03.818" v="134325"/>
          <ac:spMkLst>
            <pc:docMk/>
            <pc:sldMk cId="3795759164" sldId="691"/>
            <ac:spMk id="872" creationId="{01CBF9DA-EA4A-2B56-84DE-9FC06210C27B}"/>
          </ac:spMkLst>
        </pc:spChg>
        <pc:spChg chg="add del mod">
          <ac:chgData name="Steiner Andreas 6206 ED" userId="e6377c33-a923-4f14-8587-531c474c7b48" providerId="ADAL" clId="{6ECD27E6-B224-41CD-B4E0-E297462320DD}" dt="2023-11-24T11:38:06.159" v="134480"/>
          <ac:spMkLst>
            <pc:docMk/>
            <pc:sldMk cId="3795759164" sldId="691"/>
            <ac:spMk id="873" creationId="{3254A267-A077-D8D7-7537-AF5EFF5A8997}"/>
          </ac:spMkLst>
        </pc:spChg>
        <pc:spChg chg="add del mod">
          <ac:chgData name="Steiner Andreas 6206 ED" userId="e6377c33-a923-4f14-8587-531c474c7b48" providerId="ADAL" clId="{6ECD27E6-B224-41CD-B4E0-E297462320DD}" dt="2023-11-24T11:38:08.921" v="134635"/>
          <ac:spMkLst>
            <pc:docMk/>
            <pc:sldMk cId="3795759164" sldId="691"/>
            <ac:spMk id="874" creationId="{F3A8C65D-F94D-952C-10AD-27CEB1DB4835}"/>
          </ac:spMkLst>
        </pc:spChg>
        <pc:spChg chg="add del mod">
          <ac:chgData name="Steiner Andreas 6206 ED" userId="e6377c33-a923-4f14-8587-531c474c7b48" providerId="ADAL" clId="{6ECD27E6-B224-41CD-B4E0-E297462320DD}" dt="2023-11-24T11:38:11.898" v="134790"/>
          <ac:spMkLst>
            <pc:docMk/>
            <pc:sldMk cId="3795759164" sldId="691"/>
            <ac:spMk id="875" creationId="{350DA7F9-73FF-9A87-6D15-054237EEC1A8}"/>
          </ac:spMkLst>
        </pc:spChg>
        <pc:spChg chg="add del mod">
          <ac:chgData name="Steiner Andreas 6206 ED" userId="e6377c33-a923-4f14-8587-531c474c7b48" providerId="ADAL" clId="{6ECD27E6-B224-41CD-B4E0-E297462320DD}" dt="2023-11-24T11:38:14.121" v="134945"/>
          <ac:spMkLst>
            <pc:docMk/>
            <pc:sldMk cId="3795759164" sldId="691"/>
            <ac:spMk id="876" creationId="{CB90C27F-9587-9C58-8627-FE32CBC33ED9}"/>
          </ac:spMkLst>
        </pc:spChg>
        <pc:spChg chg="add del mod">
          <ac:chgData name="Steiner Andreas 6206 ED" userId="e6377c33-a923-4f14-8587-531c474c7b48" providerId="ADAL" clId="{6ECD27E6-B224-41CD-B4E0-E297462320DD}" dt="2023-11-24T11:38:16.616" v="135100"/>
          <ac:spMkLst>
            <pc:docMk/>
            <pc:sldMk cId="3795759164" sldId="691"/>
            <ac:spMk id="877" creationId="{81B32D06-EC5B-E8D9-D600-9A203F5EBE7E}"/>
          </ac:spMkLst>
        </pc:spChg>
        <pc:spChg chg="add del mod">
          <ac:chgData name="Steiner Andreas 6206 ED" userId="e6377c33-a923-4f14-8587-531c474c7b48" providerId="ADAL" clId="{6ECD27E6-B224-41CD-B4E0-E297462320DD}" dt="2023-11-24T11:38:19.378" v="135255"/>
          <ac:spMkLst>
            <pc:docMk/>
            <pc:sldMk cId="3795759164" sldId="691"/>
            <ac:spMk id="878" creationId="{F69CC0A2-F24D-387A-7A5B-1A8E927DE0F6}"/>
          </ac:spMkLst>
        </pc:spChg>
        <pc:spChg chg="add del mod">
          <ac:chgData name="Steiner Andreas 6206 ED" userId="e6377c33-a923-4f14-8587-531c474c7b48" providerId="ADAL" clId="{6ECD27E6-B224-41CD-B4E0-E297462320DD}" dt="2023-11-24T11:38:21.981" v="135410"/>
          <ac:spMkLst>
            <pc:docMk/>
            <pc:sldMk cId="3795759164" sldId="691"/>
            <ac:spMk id="879" creationId="{C2852850-4776-AFD5-D266-9F128C71D431}"/>
          </ac:spMkLst>
        </pc:spChg>
        <pc:spChg chg="add del mod">
          <ac:chgData name="Steiner Andreas 6206 ED" userId="e6377c33-a923-4f14-8587-531c474c7b48" providerId="ADAL" clId="{6ECD27E6-B224-41CD-B4E0-E297462320DD}" dt="2023-11-24T11:38:24.840" v="135565"/>
          <ac:spMkLst>
            <pc:docMk/>
            <pc:sldMk cId="3795759164" sldId="691"/>
            <ac:spMk id="880" creationId="{F6959455-EDCE-72EC-0561-271FD16FC3B7}"/>
          </ac:spMkLst>
        </pc:spChg>
        <pc:spChg chg="add del mod">
          <ac:chgData name="Steiner Andreas 6206 ED" userId="e6377c33-a923-4f14-8587-531c474c7b48" providerId="ADAL" clId="{6ECD27E6-B224-41CD-B4E0-E297462320DD}" dt="2023-11-24T11:38:27.610" v="135720"/>
          <ac:spMkLst>
            <pc:docMk/>
            <pc:sldMk cId="3795759164" sldId="691"/>
            <ac:spMk id="881" creationId="{BBE5051D-3D8B-F4B5-D5E5-769B20A87244}"/>
          </ac:spMkLst>
        </pc:spChg>
        <pc:spChg chg="add del mod">
          <ac:chgData name="Steiner Andreas 6206 ED" userId="e6377c33-a923-4f14-8587-531c474c7b48" providerId="ADAL" clId="{6ECD27E6-B224-41CD-B4E0-E297462320DD}" dt="2023-11-24T11:38:30.276" v="135875"/>
          <ac:spMkLst>
            <pc:docMk/>
            <pc:sldMk cId="3795759164" sldId="691"/>
            <ac:spMk id="882" creationId="{D744202E-EDEA-C96F-A239-F5381F853982}"/>
          </ac:spMkLst>
        </pc:spChg>
        <pc:spChg chg="add del mod">
          <ac:chgData name="Steiner Andreas 6206 ED" userId="e6377c33-a923-4f14-8587-531c474c7b48" providerId="ADAL" clId="{6ECD27E6-B224-41CD-B4E0-E297462320DD}" dt="2023-11-24T11:38:32.607" v="136030"/>
          <ac:spMkLst>
            <pc:docMk/>
            <pc:sldMk cId="3795759164" sldId="691"/>
            <ac:spMk id="883" creationId="{71F31DD1-A6EB-51EF-D62E-2FA9B90A60EE}"/>
          </ac:spMkLst>
        </pc:spChg>
        <pc:spChg chg="add del mod">
          <ac:chgData name="Steiner Andreas 6206 ED" userId="e6377c33-a923-4f14-8587-531c474c7b48" providerId="ADAL" clId="{6ECD27E6-B224-41CD-B4E0-E297462320DD}" dt="2023-11-24T11:38:35.108" v="136185"/>
          <ac:spMkLst>
            <pc:docMk/>
            <pc:sldMk cId="3795759164" sldId="691"/>
            <ac:spMk id="884" creationId="{2EEAE3DD-4046-979D-4268-4F4DCD01DE74}"/>
          </ac:spMkLst>
        </pc:spChg>
        <pc:spChg chg="add del mod">
          <ac:chgData name="Steiner Andreas 6206 ED" userId="e6377c33-a923-4f14-8587-531c474c7b48" providerId="ADAL" clId="{6ECD27E6-B224-41CD-B4E0-E297462320DD}" dt="2023-11-24T11:38:37.823" v="136340"/>
          <ac:spMkLst>
            <pc:docMk/>
            <pc:sldMk cId="3795759164" sldId="691"/>
            <ac:spMk id="885" creationId="{F6F52612-235E-D3CE-36CF-AFFF385ACCE9}"/>
          </ac:spMkLst>
        </pc:spChg>
        <pc:spChg chg="add del mod">
          <ac:chgData name="Steiner Andreas 6206 ED" userId="e6377c33-a923-4f14-8587-531c474c7b48" providerId="ADAL" clId="{6ECD27E6-B224-41CD-B4E0-E297462320DD}" dt="2023-11-24T11:38:40.511" v="136495"/>
          <ac:spMkLst>
            <pc:docMk/>
            <pc:sldMk cId="3795759164" sldId="691"/>
            <ac:spMk id="886" creationId="{15C129C3-F50D-D35E-B9C7-54E2FB32EE9F}"/>
          </ac:spMkLst>
        </pc:spChg>
        <pc:spChg chg="add del mod">
          <ac:chgData name="Steiner Andreas 6206 ED" userId="e6377c33-a923-4f14-8587-531c474c7b48" providerId="ADAL" clId="{6ECD27E6-B224-41CD-B4E0-E297462320DD}" dt="2023-11-24T11:38:42.915" v="136650"/>
          <ac:spMkLst>
            <pc:docMk/>
            <pc:sldMk cId="3795759164" sldId="691"/>
            <ac:spMk id="887" creationId="{44C0B208-2705-0870-0E8F-87478E89C5B4}"/>
          </ac:spMkLst>
        </pc:spChg>
        <pc:spChg chg="add del mod">
          <ac:chgData name="Steiner Andreas 6206 ED" userId="e6377c33-a923-4f14-8587-531c474c7b48" providerId="ADAL" clId="{6ECD27E6-B224-41CD-B4E0-E297462320DD}" dt="2023-11-24T11:38:45.281" v="136805"/>
          <ac:spMkLst>
            <pc:docMk/>
            <pc:sldMk cId="3795759164" sldId="691"/>
            <ac:spMk id="888" creationId="{F54D14A6-4D2A-6173-5F41-0DE4C7A50041}"/>
          </ac:spMkLst>
        </pc:spChg>
        <pc:spChg chg="add del mod">
          <ac:chgData name="Steiner Andreas 6206 ED" userId="e6377c33-a923-4f14-8587-531c474c7b48" providerId="ADAL" clId="{6ECD27E6-B224-41CD-B4E0-E297462320DD}" dt="2023-11-24T11:38:47.661" v="136960"/>
          <ac:spMkLst>
            <pc:docMk/>
            <pc:sldMk cId="3795759164" sldId="691"/>
            <ac:spMk id="889" creationId="{5F0CF6D7-501A-AD87-B4D1-144FE7A98199}"/>
          </ac:spMkLst>
        </pc:spChg>
        <pc:spChg chg="add del mod">
          <ac:chgData name="Steiner Andreas 6206 ED" userId="e6377c33-a923-4f14-8587-531c474c7b48" providerId="ADAL" clId="{6ECD27E6-B224-41CD-B4E0-E297462320DD}" dt="2023-11-24T11:38:50.676" v="137115"/>
          <ac:spMkLst>
            <pc:docMk/>
            <pc:sldMk cId="3795759164" sldId="691"/>
            <ac:spMk id="890" creationId="{335C8196-8540-44BD-140C-A0D2C7A89E21}"/>
          </ac:spMkLst>
        </pc:spChg>
        <pc:spChg chg="add del mod">
          <ac:chgData name="Steiner Andreas 6206 ED" userId="e6377c33-a923-4f14-8587-531c474c7b48" providerId="ADAL" clId="{6ECD27E6-B224-41CD-B4E0-E297462320DD}" dt="2023-11-24T11:38:53.099" v="137270"/>
          <ac:spMkLst>
            <pc:docMk/>
            <pc:sldMk cId="3795759164" sldId="691"/>
            <ac:spMk id="891" creationId="{F2F675B9-6577-6871-ABA3-B76F8E2D68C7}"/>
          </ac:spMkLst>
        </pc:spChg>
        <pc:spChg chg="add del mod">
          <ac:chgData name="Steiner Andreas 6206 ED" userId="e6377c33-a923-4f14-8587-531c474c7b48" providerId="ADAL" clId="{6ECD27E6-B224-41CD-B4E0-E297462320DD}" dt="2023-11-24T11:38:55.574" v="137425"/>
          <ac:spMkLst>
            <pc:docMk/>
            <pc:sldMk cId="3795759164" sldId="691"/>
            <ac:spMk id="892" creationId="{9E2A7909-38C4-A72F-1A08-7A8311A4B482}"/>
          </ac:spMkLst>
        </pc:spChg>
        <pc:spChg chg="add del mod">
          <ac:chgData name="Steiner Andreas 6206 ED" userId="e6377c33-a923-4f14-8587-531c474c7b48" providerId="ADAL" clId="{6ECD27E6-B224-41CD-B4E0-E297462320DD}" dt="2023-11-24T11:38:58.186" v="137580"/>
          <ac:spMkLst>
            <pc:docMk/>
            <pc:sldMk cId="3795759164" sldId="691"/>
            <ac:spMk id="893" creationId="{DEC391E9-2D95-1AF1-2E34-45C7F6AE67FE}"/>
          </ac:spMkLst>
        </pc:spChg>
        <pc:spChg chg="add del mod">
          <ac:chgData name="Steiner Andreas 6206 ED" userId="e6377c33-a923-4f14-8587-531c474c7b48" providerId="ADAL" clId="{6ECD27E6-B224-41CD-B4E0-E297462320DD}" dt="2023-11-24T11:39:00.417" v="137735"/>
          <ac:spMkLst>
            <pc:docMk/>
            <pc:sldMk cId="3795759164" sldId="691"/>
            <ac:spMk id="894" creationId="{7C9E8D9E-BF87-B0D0-6EF8-DE5A91EC2D0D}"/>
          </ac:spMkLst>
        </pc:spChg>
        <pc:spChg chg="add del mod">
          <ac:chgData name="Steiner Andreas 6206 ED" userId="e6377c33-a923-4f14-8587-531c474c7b48" providerId="ADAL" clId="{6ECD27E6-B224-41CD-B4E0-E297462320DD}" dt="2023-11-24T11:39:03.415" v="137890"/>
          <ac:spMkLst>
            <pc:docMk/>
            <pc:sldMk cId="3795759164" sldId="691"/>
            <ac:spMk id="895" creationId="{FE0DDB18-045A-FC80-4875-D1E97908B644}"/>
          </ac:spMkLst>
        </pc:spChg>
        <pc:spChg chg="add del mod">
          <ac:chgData name="Steiner Andreas 6206 ED" userId="e6377c33-a923-4f14-8587-531c474c7b48" providerId="ADAL" clId="{6ECD27E6-B224-41CD-B4E0-E297462320DD}" dt="2023-11-24T11:39:06.122" v="138045"/>
          <ac:spMkLst>
            <pc:docMk/>
            <pc:sldMk cId="3795759164" sldId="691"/>
            <ac:spMk id="896" creationId="{CEE9CCDB-92D7-E936-50A1-347D49D7C17B}"/>
          </ac:spMkLst>
        </pc:spChg>
        <pc:spChg chg="add del mod">
          <ac:chgData name="Steiner Andreas 6206 ED" userId="e6377c33-a923-4f14-8587-531c474c7b48" providerId="ADAL" clId="{6ECD27E6-B224-41CD-B4E0-E297462320DD}" dt="2023-11-24T11:39:08.625" v="138200"/>
          <ac:spMkLst>
            <pc:docMk/>
            <pc:sldMk cId="3795759164" sldId="691"/>
            <ac:spMk id="897" creationId="{E2FD0FAB-6FF7-DC86-7EC6-5FC9F81387D4}"/>
          </ac:spMkLst>
        </pc:spChg>
        <pc:spChg chg="add del mod">
          <ac:chgData name="Steiner Andreas 6206 ED" userId="e6377c33-a923-4f14-8587-531c474c7b48" providerId="ADAL" clId="{6ECD27E6-B224-41CD-B4E0-E297462320DD}" dt="2023-11-24T11:39:10.976" v="138355"/>
          <ac:spMkLst>
            <pc:docMk/>
            <pc:sldMk cId="3795759164" sldId="691"/>
            <ac:spMk id="898" creationId="{2665ED36-56B4-1FA1-86C9-1AC029222BF7}"/>
          </ac:spMkLst>
        </pc:spChg>
        <pc:spChg chg="add del mod">
          <ac:chgData name="Steiner Andreas 6206 ED" userId="e6377c33-a923-4f14-8587-531c474c7b48" providerId="ADAL" clId="{6ECD27E6-B224-41CD-B4E0-E297462320DD}" dt="2023-11-24T11:39:13.427" v="138510"/>
          <ac:spMkLst>
            <pc:docMk/>
            <pc:sldMk cId="3795759164" sldId="691"/>
            <ac:spMk id="899" creationId="{2C8BE147-CC03-44B7-5721-C8255DA40E4B}"/>
          </ac:spMkLst>
        </pc:spChg>
        <pc:spChg chg="add del mod">
          <ac:chgData name="Steiner Andreas 6206 ED" userId="e6377c33-a923-4f14-8587-531c474c7b48" providerId="ADAL" clId="{6ECD27E6-B224-41CD-B4E0-E297462320DD}" dt="2023-11-24T11:39:16.127" v="138665"/>
          <ac:spMkLst>
            <pc:docMk/>
            <pc:sldMk cId="3795759164" sldId="691"/>
            <ac:spMk id="900" creationId="{1FDD0408-4DB3-4CCC-98F8-2DC1292215D7}"/>
          </ac:spMkLst>
        </pc:spChg>
        <pc:spChg chg="add del mod">
          <ac:chgData name="Steiner Andreas 6206 ED" userId="e6377c33-a923-4f14-8587-531c474c7b48" providerId="ADAL" clId="{6ECD27E6-B224-41CD-B4E0-E297462320DD}" dt="2023-11-24T11:39:18.979" v="138820"/>
          <ac:spMkLst>
            <pc:docMk/>
            <pc:sldMk cId="3795759164" sldId="691"/>
            <ac:spMk id="901" creationId="{6CC879C8-28BB-CCA3-44EF-8FDA92E279C7}"/>
          </ac:spMkLst>
        </pc:spChg>
        <pc:spChg chg="add del mod">
          <ac:chgData name="Steiner Andreas 6206 ED" userId="e6377c33-a923-4f14-8587-531c474c7b48" providerId="ADAL" clId="{6ECD27E6-B224-41CD-B4E0-E297462320DD}" dt="2023-11-24T11:39:21.626" v="138975"/>
          <ac:spMkLst>
            <pc:docMk/>
            <pc:sldMk cId="3795759164" sldId="691"/>
            <ac:spMk id="902" creationId="{2507F874-5809-8F27-D258-6A68FA428F36}"/>
          </ac:spMkLst>
        </pc:spChg>
        <pc:spChg chg="add del mod">
          <ac:chgData name="Steiner Andreas 6206 ED" userId="e6377c33-a923-4f14-8587-531c474c7b48" providerId="ADAL" clId="{6ECD27E6-B224-41CD-B4E0-E297462320DD}" dt="2023-11-24T11:39:24.195" v="139130"/>
          <ac:spMkLst>
            <pc:docMk/>
            <pc:sldMk cId="3795759164" sldId="691"/>
            <ac:spMk id="903" creationId="{E7C131D5-7B27-672E-ABF8-5966FFA28AC8}"/>
          </ac:spMkLst>
        </pc:spChg>
        <pc:spChg chg="add del mod">
          <ac:chgData name="Steiner Andreas 6206 ED" userId="e6377c33-a923-4f14-8587-531c474c7b48" providerId="ADAL" clId="{6ECD27E6-B224-41CD-B4E0-E297462320DD}" dt="2023-11-24T11:39:26.974" v="139285"/>
          <ac:spMkLst>
            <pc:docMk/>
            <pc:sldMk cId="3795759164" sldId="691"/>
            <ac:spMk id="904" creationId="{481DE1C9-C552-9410-08A4-074572F9E6F4}"/>
          </ac:spMkLst>
        </pc:spChg>
        <pc:spChg chg="add del mod">
          <ac:chgData name="Steiner Andreas 6206 ED" userId="e6377c33-a923-4f14-8587-531c474c7b48" providerId="ADAL" clId="{6ECD27E6-B224-41CD-B4E0-E297462320DD}" dt="2023-11-24T11:39:29.599" v="139440"/>
          <ac:spMkLst>
            <pc:docMk/>
            <pc:sldMk cId="3795759164" sldId="691"/>
            <ac:spMk id="905" creationId="{4E42A136-73B8-127E-6A71-457EF00FA618}"/>
          </ac:spMkLst>
        </pc:spChg>
        <pc:spChg chg="add del mod">
          <ac:chgData name="Steiner Andreas 6206 ED" userId="e6377c33-a923-4f14-8587-531c474c7b48" providerId="ADAL" clId="{6ECD27E6-B224-41CD-B4E0-E297462320DD}" dt="2023-11-24T11:39:32.622" v="139595"/>
          <ac:spMkLst>
            <pc:docMk/>
            <pc:sldMk cId="3795759164" sldId="691"/>
            <ac:spMk id="906" creationId="{41D1A0AF-CAC2-62E8-11D7-D0C273F601FC}"/>
          </ac:spMkLst>
        </pc:spChg>
        <pc:spChg chg="add del mod">
          <ac:chgData name="Steiner Andreas 6206 ED" userId="e6377c33-a923-4f14-8587-531c474c7b48" providerId="ADAL" clId="{6ECD27E6-B224-41CD-B4E0-E297462320DD}" dt="2023-11-24T11:39:35.329" v="139750"/>
          <ac:spMkLst>
            <pc:docMk/>
            <pc:sldMk cId="3795759164" sldId="691"/>
            <ac:spMk id="907" creationId="{979B0C12-8D2E-69D7-E0BD-371BF3DAEB75}"/>
          </ac:spMkLst>
        </pc:spChg>
        <pc:spChg chg="add del mod">
          <ac:chgData name="Steiner Andreas 6206 ED" userId="e6377c33-a923-4f14-8587-531c474c7b48" providerId="ADAL" clId="{6ECD27E6-B224-41CD-B4E0-E297462320DD}" dt="2023-11-24T11:39:38.269" v="139905"/>
          <ac:spMkLst>
            <pc:docMk/>
            <pc:sldMk cId="3795759164" sldId="691"/>
            <ac:spMk id="908" creationId="{4F09453D-51FF-94E2-0DE8-F5B46AE3AFAA}"/>
          </ac:spMkLst>
        </pc:spChg>
        <pc:spChg chg="add del mod">
          <ac:chgData name="Steiner Andreas 6206 ED" userId="e6377c33-a923-4f14-8587-531c474c7b48" providerId="ADAL" clId="{6ECD27E6-B224-41CD-B4E0-E297462320DD}" dt="2023-11-24T11:39:40.934" v="140060"/>
          <ac:spMkLst>
            <pc:docMk/>
            <pc:sldMk cId="3795759164" sldId="691"/>
            <ac:spMk id="909" creationId="{06E48C55-7129-18FE-559C-6B2A4B6E694C}"/>
          </ac:spMkLst>
        </pc:spChg>
        <pc:spChg chg="add del mod">
          <ac:chgData name="Steiner Andreas 6206 ED" userId="e6377c33-a923-4f14-8587-531c474c7b48" providerId="ADAL" clId="{6ECD27E6-B224-41CD-B4E0-E297462320DD}" dt="2023-11-24T11:39:43.532" v="140215"/>
          <ac:spMkLst>
            <pc:docMk/>
            <pc:sldMk cId="3795759164" sldId="691"/>
            <ac:spMk id="910" creationId="{975C9581-710A-A910-8C35-4DF3C5029C6D}"/>
          </ac:spMkLst>
        </pc:spChg>
        <pc:spChg chg="add del mod">
          <ac:chgData name="Steiner Andreas 6206 ED" userId="e6377c33-a923-4f14-8587-531c474c7b48" providerId="ADAL" clId="{6ECD27E6-B224-41CD-B4E0-E297462320DD}" dt="2023-11-24T11:39:46.127" v="140370"/>
          <ac:spMkLst>
            <pc:docMk/>
            <pc:sldMk cId="3795759164" sldId="691"/>
            <ac:spMk id="911" creationId="{0B768165-4AC1-34AE-1C09-AA3907600047}"/>
          </ac:spMkLst>
        </pc:spChg>
        <pc:spChg chg="add del mod">
          <ac:chgData name="Steiner Andreas 6206 ED" userId="e6377c33-a923-4f14-8587-531c474c7b48" providerId="ADAL" clId="{6ECD27E6-B224-41CD-B4E0-E297462320DD}" dt="2023-11-24T11:39:48.562" v="140525"/>
          <ac:spMkLst>
            <pc:docMk/>
            <pc:sldMk cId="3795759164" sldId="691"/>
            <ac:spMk id="912" creationId="{5BFDE51F-D46C-B8CE-176F-496A971EDBE9}"/>
          </ac:spMkLst>
        </pc:spChg>
        <pc:spChg chg="add del mod">
          <ac:chgData name="Steiner Andreas 6206 ED" userId="e6377c33-a923-4f14-8587-531c474c7b48" providerId="ADAL" clId="{6ECD27E6-B224-41CD-B4E0-E297462320DD}" dt="2023-11-24T11:39:51.563" v="140680"/>
          <ac:spMkLst>
            <pc:docMk/>
            <pc:sldMk cId="3795759164" sldId="691"/>
            <ac:spMk id="913" creationId="{4094814E-D023-E6AB-BAF3-AF015ED57303}"/>
          </ac:spMkLst>
        </pc:spChg>
        <pc:spChg chg="add del mod">
          <ac:chgData name="Steiner Andreas 6206 ED" userId="e6377c33-a923-4f14-8587-531c474c7b48" providerId="ADAL" clId="{6ECD27E6-B224-41CD-B4E0-E297462320DD}" dt="2023-11-24T11:39:54.446" v="140835"/>
          <ac:spMkLst>
            <pc:docMk/>
            <pc:sldMk cId="3795759164" sldId="691"/>
            <ac:spMk id="914" creationId="{A70D7F29-75E0-5497-CB2F-D405F52E39A1}"/>
          </ac:spMkLst>
        </pc:spChg>
        <pc:spChg chg="add del mod">
          <ac:chgData name="Steiner Andreas 6206 ED" userId="e6377c33-a923-4f14-8587-531c474c7b48" providerId="ADAL" clId="{6ECD27E6-B224-41CD-B4E0-E297462320DD}" dt="2023-11-24T11:39:56.955" v="140990"/>
          <ac:spMkLst>
            <pc:docMk/>
            <pc:sldMk cId="3795759164" sldId="691"/>
            <ac:spMk id="915" creationId="{9E72EF4E-E5D0-A9C6-B1FD-E741FB0B1D10}"/>
          </ac:spMkLst>
        </pc:spChg>
        <pc:spChg chg="add del mod">
          <ac:chgData name="Steiner Andreas 6206 ED" userId="e6377c33-a923-4f14-8587-531c474c7b48" providerId="ADAL" clId="{6ECD27E6-B224-41CD-B4E0-E297462320DD}" dt="2023-11-24T11:39:59.323" v="141145"/>
          <ac:spMkLst>
            <pc:docMk/>
            <pc:sldMk cId="3795759164" sldId="691"/>
            <ac:spMk id="916" creationId="{900AF144-3CE6-0535-23AC-0ADEA8501FF0}"/>
          </ac:spMkLst>
        </pc:spChg>
        <pc:spChg chg="add del mod">
          <ac:chgData name="Steiner Andreas 6206 ED" userId="e6377c33-a923-4f14-8587-531c474c7b48" providerId="ADAL" clId="{6ECD27E6-B224-41CD-B4E0-E297462320DD}" dt="2023-11-24T11:40:02.072" v="141300"/>
          <ac:spMkLst>
            <pc:docMk/>
            <pc:sldMk cId="3795759164" sldId="691"/>
            <ac:spMk id="917" creationId="{C3564831-79E7-07DC-E950-3837DDD1D68C}"/>
          </ac:spMkLst>
        </pc:spChg>
        <pc:spChg chg="add del mod">
          <ac:chgData name="Steiner Andreas 6206 ED" userId="e6377c33-a923-4f14-8587-531c474c7b48" providerId="ADAL" clId="{6ECD27E6-B224-41CD-B4E0-E297462320DD}" dt="2023-11-24T11:40:04.924" v="141455"/>
          <ac:spMkLst>
            <pc:docMk/>
            <pc:sldMk cId="3795759164" sldId="691"/>
            <ac:spMk id="918" creationId="{3226FF6E-4C2D-3FD4-58E9-388F7745BF9A}"/>
          </ac:spMkLst>
        </pc:spChg>
        <pc:spChg chg="add del mod">
          <ac:chgData name="Steiner Andreas 6206 ED" userId="e6377c33-a923-4f14-8587-531c474c7b48" providerId="ADAL" clId="{6ECD27E6-B224-41CD-B4E0-E297462320DD}" dt="2023-11-24T11:40:07.691" v="141610"/>
          <ac:spMkLst>
            <pc:docMk/>
            <pc:sldMk cId="3795759164" sldId="691"/>
            <ac:spMk id="919" creationId="{EBAF92DB-23F4-0F8C-FF99-313B56E58C7C}"/>
          </ac:spMkLst>
        </pc:spChg>
        <pc:spChg chg="add del mod">
          <ac:chgData name="Steiner Andreas 6206 ED" userId="e6377c33-a923-4f14-8587-531c474c7b48" providerId="ADAL" clId="{6ECD27E6-B224-41CD-B4E0-E297462320DD}" dt="2023-11-24T11:40:10.115" v="141765"/>
          <ac:spMkLst>
            <pc:docMk/>
            <pc:sldMk cId="3795759164" sldId="691"/>
            <ac:spMk id="920" creationId="{0C862F81-2994-1E77-D93B-432F63D24C06}"/>
          </ac:spMkLst>
        </pc:spChg>
        <pc:spChg chg="add del mod">
          <ac:chgData name="Steiner Andreas 6206 ED" userId="e6377c33-a923-4f14-8587-531c474c7b48" providerId="ADAL" clId="{6ECD27E6-B224-41CD-B4E0-E297462320DD}" dt="2023-11-24T11:40:12.604" v="141920"/>
          <ac:spMkLst>
            <pc:docMk/>
            <pc:sldMk cId="3795759164" sldId="691"/>
            <ac:spMk id="921" creationId="{481AB30F-8277-DDB1-F167-EEE6B285546A}"/>
          </ac:spMkLst>
        </pc:spChg>
        <pc:spChg chg="add del mod">
          <ac:chgData name="Steiner Andreas 6206 ED" userId="e6377c33-a923-4f14-8587-531c474c7b48" providerId="ADAL" clId="{6ECD27E6-B224-41CD-B4E0-E297462320DD}" dt="2023-11-24T11:40:16.322" v="142075"/>
          <ac:spMkLst>
            <pc:docMk/>
            <pc:sldMk cId="3795759164" sldId="691"/>
            <ac:spMk id="922" creationId="{902F0199-9EC0-784E-6172-F0DCB2A37F6B}"/>
          </ac:spMkLst>
        </pc:spChg>
        <pc:spChg chg="add del mod">
          <ac:chgData name="Steiner Andreas 6206 ED" userId="e6377c33-a923-4f14-8587-531c474c7b48" providerId="ADAL" clId="{6ECD27E6-B224-41CD-B4E0-E297462320DD}" dt="2023-11-24T11:40:19.700" v="142230"/>
          <ac:spMkLst>
            <pc:docMk/>
            <pc:sldMk cId="3795759164" sldId="691"/>
            <ac:spMk id="923" creationId="{E12FF7D4-7F6C-BFDC-9591-F96CDF2C080B}"/>
          </ac:spMkLst>
        </pc:spChg>
        <pc:spChg chg="add del mod">
          <ac:chgData name="Steiner Andreas 6206 ED" userId="e6377c33-a923-4f14-8587-531c474c7b48" providerId="ADAL" clId="{6ECD27E6-B224-41CD-B4E0-E297462320DD}" dt="2023-11-24T11:40:22.505" v="142385"/>
          <ac:spMkLst>
            <pc:docMk/>
            <pc:sldMk cId="3795759164" sldId="691"/>
            <ac:spMk id="924" creationId="{167052B5-9404-4D1C-714E-F6461DF79500}"/>
          </ac:spMkLst>
        </pc:spChg>
        <pc:spChg chg="add del mod">
          <ac:chgData name="Steiner Andreas 6206 ED" userId="e6377c33-a923-4f14-8587-531c474c7b48" providerId="ADAL" clId="{6ECD27E6-B224-41CD-B4E0-E297462320DD}" dt="2023-11-24T11:40:25.184" v="142540"/>
          <ac:spMkLst>
            <pc:docMk/>
            <pc:sldMk cId="3795759164" sldId="691"/>
            <ac:spMk id="925" creationId="{6491C414-8191-9B43-8685-AFF0B6473953}"/>
          </ac:spMkLst>
        </pc:spChg>
        <pc:spChg chg="add del mod">
          <ac:chgData name="Steiner Andreas 6206 ED" userId="e6377c33-a923-4f14-8587-531c474c7b48" providerId="ADAL" clId="{6ECD27E6-B224-41CD-B4E0-E297462320DD}" dt="2023-11-24T11:40:28.291" v="142695"/>
          <ac:spMkLst>
            <pc:docMk/>
            <pc:sldMk cId="3795759164" sldId="691"/>
            <ac:spMk id="926" creationId="{1222FA8F-F930-1A2D-01D3-879F05CA2DBC}"/>
          </ac:spMkLst>
        </pc:spChg>
        <pc:spChg chg="add del mod">
          <ac:chgData name="Steiner Andreas 6206 ED" userId="e6377c33-a923-4f14-8587-531c474c7b48" providerId="ADAL" clId="{6ECD27E6-B224-41CD-B4E0-E297462320DD}" dt="2023-11-24T11:40:30.971" v="142850"/>
          <ac:spMkLst>
            <pc:docMk/>
            <pc:sldMk cId="3795759164" sldId="691"/>
            <ac:spMk id="927" creationId="{56247933-1F64-FC5B-31AA-5979B26ACD2B}"/>
          </ac:spMkLst>
        </pc:spChg>
        <pc:spChg chg="add del mod">
          <ac:chgData name="Steiner Andreas 6206 ED" userId="e6377c33-a923-4f14-8587-531c474c7b48" providerId="ADAL" clId="{6ECD27E6-B224-41CD-B4E0-E297462320DD}" dt="2023-11-24T11:40:33.529" v="143005"/>
          <ac:spMkLst>
            <pc:docMk/>
            <pc:sldMk cId="3795759164" sldId="691"/>
            <ac:spMk id="928" creationId="{6838ACD8-C18D-66BB-D182-EAB3830181DD}"/>
          </ac:spMkLst>
        </pc:spChg>
        <pc:spChg chg="add del mod">
          <ac:chgData name="Steiner Andreas 6206 ED" userId="e6377c33-a923-4f14-8587-531c474c7b48" providerId="ADAL" clId="{6ECD27E6-B224-41CD-B4E0-E297462320DD}" dt="2023-11-24T11:40:36.237" v="143160"/>
          <ac:spMkLst>
            <pc:docMk/>
            <pc:sldMk cId="3795759164" sldId="691"/>
            <ac:spMk id="929" creationId="{6D652660-7EEF-20FF-70AE-0408F0ED4EF1}"/>
          </ac:spMkLst>
        </pc:spChg>
        <pc:spChg chg="add del mod">
          <ac:chgData name="Steiner Andreas 6206 ED" userId="e6377c33-a923-4f14-8587-531c474c7b48" providerId="ADAL" clId="{6ECD27E6-B224-41CD-B4E0-E297462320DD}" dt="2023-11-24T11:40:39.270" v="143315"/>
          <ac:spMkLst>
            <pc:docMk/>
            <pc:sldMk cId="3795759164" sldId="691"/>
            <ac:spMk id="930" creationId="{834EE2AA-2A0E-2B40-5327-CEE938BA9C31}"/>
          </ac:spMkLst>
        </pc:spChg>
        <pc:spChg chg="add del mod">
          <ac:chgData name="Steiner Andreas 6206 ED" userId="e6377c33-a923-4f14-8587-531c474c7b48" providerId="ADAL" clId="{6ECD27E6-B224-41CD-B4E0-E297462320DD}" dt="2023-11-24T11:40:42.271" v="143470"/>
          <ac:spMkLst>
            <pc:docMk/>
            <pc:sldMk cId="3795759164" sldId="691"/>
            <ac:spMk id="931" creationId="{AF9D1E2A-6257-8C7D-4A1F-F4E63A967542}"/>
          </ac:spMkLst>
        </pc:spChg>
        <pc:spChg chg="add del mod">
          <ac:chgData name="Steiner Andreas 6206 ED" userId="e6377c33-a923-4f14-8587-531c474c7b48" providerId="ADAL" clId="{6ECD27E6-B224-41CD-B4E0-E297462320DD}" dt="2023-11-24T11:40:44.945" v="143625"/>
          <ac:spMkLst>
            <pc:docMk/>
            <pc:sldMk cId="3795759164" sldId="691"/>
            <ac:spMk id="932" creationId="{1D3206F6-B899-4F3E-A896-BA491E73FCC6}"/>
          </ac:spMkLst>
        </pc:spChg>
        <pc:spChg chg="add del mod">
          <ac:chgData name="Steiner Andreas 6206 ED" userId="e6377c33-a923-4f14-8587-531c474c7b48" providerId="ADAL" clId="{6ECD27E6-B224-41CD-B4E0-E297462320DD}" dt="2023-11-24T11:40:47.699" v="143780"/>
          <ac:spMkLst>
            <pc:docMk/>
            <pc:sldMk cId="3795759164" sldId="691"/>
            <ac:spMk id="933" creationId="{018139A5-495A-E479-102F-948F5EA45361}"/>
          </ac:spMkLst>
        </pc:spChg>
        <pc:spChg chg="add del mod">
          <ac:chgData name="Steiner Andreas 6206 ED" userId="e6377c33-a923-4f14-8587-531c474c7b48" providerId="ADAL" clId="{6ECD27E6-B224-41CD-B4E0-E297462320DD}" dt="2023-11-24T11:40:50.445" v="143935"/>
          <ac:spMkLst>
            <pc:docMk/>
            <pc:sldMk cId="3795759164" sldId="691"/>
            <ac:spMk id="934" creationId="{1C68CE1C-D201-61CE-79C5-C74D1145D666}"/>
          </ac:spMkLst>
        </pc:spChg>
        <pc:spChg chg="add del mod">
          <ac:chgData name="Steiner Andreas 6206 ED" userId="e6377c33-a923-4f14-8587-531c474c7b48" providerId="ADAL" clId="{6ECD27E6-B224-41CD-B4E0-E297462320DD}" dt="2023-11-24T11:40:53.323" v="144090"/>
          <ac:spMkLst>
            <pc:docMk/>
            <pc:sldMk cId="3795759164" sldId="691"/>
            <ac:spMk id="935" creationId="{D8962639-0D24-8754-E7BD-7EC00AF3D7AC}"/>
          </ac:spMkLst>
        </pc:spChg>
        <pc:spChg chg="add del mod">
          <ac:chgData name="Steiner Andreas 6206 ED" userId="e6377c33-a923-4f14-8587-531c474c7b48" providerId="ADAL" clId="{6ECD27E6-B224-41CD-B4E0-E297462320DD}" dt="2023-11-24T11:40:55.995" v="144245"/>
          <ac:spMkLst>
            <pc:docMk/>
            <pc:sldMk cId="3795759164" sldId="691"/>
            <ac:spMk id="936" creationId="{CFB92849-2840-C3BA-4AD5-AF8C40E0314E}"/>
          </ac:spMkLst>
        </pc:spChg>
        <pc:spChg chg="add del mod">
          <ac:chgData name="Steiner Andreas 6206 ED" userId="e6377c33-a923-4f14-8587-531c474c7b48" providerId="ADAL" clId="{6ECD27E6-B224-41CD-B4E0-E297462320DD}" dt="2023-11-24T11:40:58.572" v="144400"/>
          <ac:spMkLst>
            <pc:docMk/>
            <pc:sldMk cId="3795759164" sldId="691"/>
            <ac:spMk id="937" creationId="{9250F7D4-BE8B-55A4-416D-3BA38E71FDF1}"/>
          </ac:spMkLst>
        </pc:spChg>
        <pc:spChg chg="add del mod">
          <ac:chgData name="Steiner Andreas 6206 ED" userId="e6377c33-a923-4f14-8587-531c474c7b48" providerId="ADAL" clId="{6ECD27E6-B224-41CD-B4E0-E297462320DD}" dt="2023-11-24T11:41:01.153" v="144555"/>
          <ac:spMkLst>
            <pc:docMk/>
            <pc:sldMk cId="3795759164" sldId="691"/>
            <ac:spMk id="938" creationId="{49EFC36A-C946-A829-5E39-292CD2ACA19A}"/>
          </ac:spMkLst>
        </pc:spChg>
        <pc:spChg chg="add del mod">
          <ac:chgData name="Steiner Andreas 6206 ED" userId="e6377c33-a923-4f14-8587-531c474c7b48" providerId="ADAL" clId="{6ECD27E6-B224-41CD-B4E0-E297462320DD}" dt="2023-11-24T11:41:03.801" v="144710"/>
          <ac:spMkLst>
            <pc:docMk/>
            <pc:sldMk cId="3795759164" sldId="691"/>
            <ac:spMk id="939" creationId="{DEFFBE79-BA15-E3D2-CED9-D6EFD99AFE85}"/>
          </ac:spMkLst>
        </pc:spChg>
        <pc:spChg chg="add del mod">
          <ac:chgData name="Steiner Andreas 6206 ED" userId="e6377c33-a923-4f14-8587-531c474c7b48" providerId="ADAL" clId="{6ECD27E6-B224-41CD-B4E0-E297462320DD}" dt="2023-11-24T11:41:06.958" v="144865"/>
          <ac:spMkLst>
            <pc:docMk/>
            <pc:sldMk cId="3795759164" sldId="691"/>
            <ac:spMk id="940" creationId="{404C40E4-A3C8-D6CF-91F2-B2905117A3FA}"/>
          </ac:spMkLst>
        </pc:spChg>
        <pc:spChg chg="add del mod">
          <ac:chgData name="Steiner Andreas 6206 ED" userId="e6377c33-a923-4f14-8587-531c474c7b48" providerId="ADAL" clId="{6ECD27E6-B224-41CD-B4E0-E297462320DD}" dt="2023-11-24T11:41:10.090" v="145020"/>
          <ac:spMkLst>
            <pc:docMk/>
            <pc:sldMk cId="3795759164" sldId="691"/>
            <ac:spMk id="941" creationId="{3D001089-5FD5-80E5-1565-6096C621A767}"/>
          </ac:spMkLst>
        </pc:spChg>
        <pc:spChg chg="add del mod">
          <ac:chgData name="Steiner Andreas 6206 ED" userId="e6377c33-a923-4f14-8587-531c474c7b48" providerId="ADAL" clId="{6ECD27E6-B224-41CD-B4E0-E297462320DD}" dt="2023-11-24T11:41:12.925" v="145175"/>
          <ac:spMkLst>
            <pc:docMk/>
            <pc:sldMk cId="3795759164" sldId="691"/>
            <ac:spMk id="942" creationId="{0883AE52-CD2D-E6E4-9902-F95FFCB41F09}"/>
          </ac:spMkLst>
        </pc:spChg>
        <pc:spChg chg="add del mod">
          <ac:chgData name="Steiner Andreas 6206 ED" userId="e6377c33-a923-4f14-8587-531c474c7b48" providerId="ADAL" clId="{6ECD27E6-B224-41CD-B4E0-E297462320DD}" dt="2023-11-24T11:41:15.952" v="145330"/>
          <ac:spMkLst>
            <pc:docMk/>
            <pc:sldMk cId="3795759164" sldId="691"/>
            <ac:spMk id="943" creationId="{B06D7270-5673-71D6-DC13-614F1D58E8B2}"/>
          </ac:spMkLst>
        </pc:spChg>
        <pc:spChg chg="add del mod">
          <ac:chgData name="Steiner Andreas 6206 ED" userId="e6377c33-a923-4f14-8587-531c474c7b48" providerId="ADAL" clId="{6ECD27E6-B224-41CD-B4E0-E297462320DD}" dt="2023-11-24T11:41:19.182" v="145485"/>
          <ac:spMkLst>
            <pc:docMk/>
            <pc:sldMk cId="3795759164" sldId="691"/>
            <ac:spMk id="944" creationId="{85214069-955B-B5E2-7D6C-BD49CC95313D}"/>
          </ac:spMkLst>
        </pc:spChg>
        <pc:spChg chg="add del mod">
          <ac:chgData name="Steiner Andreas 6206 ED" userId="e6377c33-a923-4f14-8587-531c474c7b48" providerId="ADAL" clId="{6ECD27E6-B224-41CD-B4E0-E297462320DD}" dt="2023-11-24T11:41:21.715" v="145640"/>
          <ac:spMkLst>
            <pc:docMk/>
            <pc:sldMk cId="3795759164" sldId="691"/>
            <ac:spMk id="945" creationId="{1334E152-2736-0E9E-4919-1161F30596E0}"/>
          </ac:spMkLst>
        </pc:spChg>
        <pc:spChg chg="add del mod">
          <ac:chgData name="Steiner Andreas 6206 ED" userId="e6377c33-a923-4f14-8587-531c474c7b48" providerId="ADAL" clId="{6ECD27E6-B224-41CD-B4E0-E297462320DD}" dt="2023-11-24T11:41:25.604" v="145795"/>
          <ac:spMkLst>
            <pc:docMk/>
            <pc:sldMk cId="3795759164" sldId="691"/>
            <ac:spMk id="946" creationId="{E943935B-659A-00A4-CCA0-9CF0BD75E09C}"/>
          </ac:spMkLst>
        </pc:spChg>
        <pc:spChg chg="add del mod">
          <ac:chgData name="Steiner Andreas 6206 ED" userId="e6377c33-a923-4f14-8587-531c474c7b48" providerId="ADAL" clId="{6ECD27E6-B224-41CD-B4E0-E297462320DD}" dt="2023-11-24T11:41:28.588" v="145950"/>
          <ac:spMkLst>
            <pc:docMk/>
            <pc:sldMk cId="3795759164" sldId="691"/>
            <ac:spMk id="947" creationId="{51392ACC-3FCF-A6D1-E0A7-A91033362F17}"/>
          </ac:spMkLst>
        </pc:spChg>
        <pc:spChg chg="add del mod">
          <ac:chgData name="Steiner Andreas 6206 ED" userId="e6377c33-a923-4f14-8587-531c474c7b48" providerId="ADAL" clId="{6ECD27E6-B224-41CD-B4E0-E297462320DD}" dt="2023-11-24T11:41:31.323" v="146105"/>
          <ac:spMkLst>
            <pc:docMk/>
            <pc:sldMk cId="3795759164" sldId="691"/>
            <ac:spMk id="948" creationId="{BD5844F1-A9B4-15F9-ECE7-4ACD513A19C7}"/>
          </ac:spMkLst>
        </pc:spChg>
        <pc:spChg chg="add del mod">
          <ac:chgData name="Steiner Andreas 6206 ED" userId="e6377c33-a923-4f14-8587-531c474c7b48" providerId="ADAL" clId="{6ECD27E6-B224-41CD-B4E0-E297462320DD}" dt="2023-11-24T11:41:33.511" v="146260"/>
          <ac:spMkLst>
            <pc:docMk/>
            <pc:sldMk cId="3795759164" sldId="691"/>
            <ac:spMk id="949" creationId="{BCF95425-F810-BE41-5A43-569345EB8D85}"/>
          </ac:spMkLst>
        </pc:spChg>
        <pc:spChg chg="add del mod">
          <ac:chgData name="Steiner Andreas 6206 ED" userId="e6377c33-a923-4f14-8587-531c474c7b48" providerId="ADAL" clId="{6ECD27E6-B224-41CD-B4E0-E297462320DD}" dt="2023-11-24T11:41:35.634" v="146415"/>
          <ac:spMkLst>
            <pc:docMk/>
            <pc:sldMk cId="3795759164" sldId="691"/>
            <ac:spMk id="950" creationId="{787BAEFF-7D66-CF8F-255F-DD0BEB9CED5E}"/>
          </ac:spMkLst>
        </pc:spChg>
        <pc:spChg chg="add del mod">
          <ac:chgData name="Steiner Andreas 6206 ED" userId="e6377c33-a923-4f14-8587-531c474c7b48" providerId="ADAL" clId="{6ECD27E6-B224-41CD-B4E0-E297462320DD}" dt="2023-11-24T11:41:37.842" v="146570"/>
          <ac:spMkLst>
            <pc:docMk/>
            <pc:sldMk cId="3795759164" sldId="691"/>
            <ac:spMk id="951" creationId="{016728A5-F4EB-7F40-890C-0DEC90B2A885}"/>
          </ac:spMkLst>
        </pc:spChg>
        <pc:spChg chg="add del mod">
          <ac:chgData name="Steiner Andreas 6206 ED" userId="e6377c33-a923-4f14-8587-531c474c7b48" providerId="ADAL" clId="{6ECD27E6-B224-41CD-B4E0-E297462320DD}" dt="2023-11-24T11:41:40.593" v="146725"/>
          <ac:spMkLst>
            <pc:docMk/>
            <pc:sldMk cId="3795759164" sldId="691"/>
            <ac:spMk id="952" creationId="{AB8BB8FF-57F9-19AE-6CF8-112506E10E39}"/>
          </ac:spMkLst>
        </pc:spChg>
        <pc:spChg chg="add del mod">
          <ac:chgData name="Steiner Andreas 6206 ED" userId="e6377c33-a923-4f14-8587-531c474c7b48" providerId="ADAL" clId="{6ECD27E6-B224-41CD-B4E0-E297462320DD}" dt="2023-11-24T11:41:42.763" v="146880"/>
          <ac:spMkLst>
            <pc:docMk/>
            <pc:sldMk cId="3795759164" sldId="691"/>
            <ac:spMk id="953" creationId="{C42767B4-05F1-D744-9B7E-D9ABB8E4C9E8}"/>
          </ac:spMkLst>
        </pc:spChg>
        <pc:spChg chg="add del mod">
          <ac:chgData name="Steiner Andreas 6206 ED" userId="e6377c33-a923-4f14-8587-531c474c7b48" providerId="ADAL" clId="{6ECD27E6-B224-41CD-B4E0-E297462320DD}" dt="2023-11-24T11:41:44.837" v="147035"/>
          <ac:spMkLst>
            <pc:docMk/>
            <pc:sldMk cId="3795759164" sldId="691"/>
            <ac:spMk id="954" creationId="{356A5C5E-34E4-2C93-5D2C-2C3C8726383C}"/>
          </ac:spMkLst>
        </pc:spChg>
        <pc:spChg chg="add del mod">
          <ac:chgData name="Steiner Andreas 6206 ED" userId="e6377c33-a923-4f14-8587-531c474c7b48" providerId="ADAL" clId="{6ECD27E6-B224-41CD-B4E0-E297462320DD}" dt="2023-11-24T11:41:47.342" v="147190"/>
          <ac:spMkLst>
            <pc:docMk/>
            <pc:sldMk cId="3795759164" sldId="691"/>
            <ac:spMk id="955" creationId="{ADFAD139-10C7-47FC-5315-CD99A0593690}"/>
          </ac:spMkLst>
        </pc:spChg>
        <pc:spChg chg="add del mod">
          <ac:chgData name="Steiner Andreas 6206 ED" userId="e6377c33-a923-4f14-8587-531c474c7b48" providerId="ADAL" clId="{6ECD27E6-B224-41CD-B4E0-E297462320DD}" dt="2023-11-24T11:41:49.461" v="147345"/>
          <ac:spMkLst>
            <pc:docMk/>
            <pc:sldMk cId="3795759164" sldId="691"/>
            <ac:spMk id="956" creationId="{6E2B15F1-B042-AF47-72C6-9DC20ECC7875}"/>
          </ac:spMkLst>
        </pc:spChg>
        <pc:spChg chg="add del mod">
          <ac:chgData name="Steiner Andreas 6206 ED" userId="e6377c33-a923-4f14-8587-531c474c7b48" providerId="ADAL" clId="{6ECD27E6-B224-41CD-B4E0-E297462320DD}" dt="2023-11-24T11:41:51.779" v="147500"/>
          <ac:spMkLst>
            <pc:docMk/>
            <pc:sldMk cId="3795759164" sldId="691"/>
            <ac:spMk id="957" creationId="{B241FB5F-4A59-4D07-9BE2-5308E759ED26}"/>
          </ac:spMkLst>
        </pc:spChg>
        <pc:spChg chg="add del mod">
          <ac:chgData name="Steiner Andreas 6206 ED" userId="e6377c33-a923-4f14-8587-531c474c7b48" providerId="ADAL" clId="{6ECD27E6-B224-41CD-B4E0-E297462320DD}" dt="2023-11-24T11:41:54.202" v="147655"/>
          <ac:spMkLst>
            <pc:docMk/>
            <pc:sldMk cId="3795759164" sldId="691"/>
            <ac:spMk id="958" creationId="{687A47E1-E37C-1280-622D-C901C86B6983}"/>
          </ac:spMkLst>
        </pc:spChg>
        <pc:spChg chg="add del mod">
          <ac:chgData name="Steiner Andreas 6206 ED" userId="e6377c33-a923-4f14-8587-531c474c7b48" providerId="ADAL" clId="{6ECD27E6-B224-41CD-B4E0-E297462320DD}" dt="2023-11-24T11:41:57.288" v="147810"/>
          <ac:spMkLst>
            <pc:docMk/>
            <pc:sldMk cId="3795759164" sldId="691"/>
            <ac:spMk id="959" creationId="{35DBE633-6EBF-9890-5B69-88E9060B0FC3}"/>
          </ac:spMkLst>
        </pc:spChg>
        <pc:spChg chg="add del mod">
          <ac:chgData name="Steiner Andreas 6206 ED" userId="e6377c33-a923-4f14-8587-531c474c7b48" providerId="ADAL" clId="{6ECD27E6-B224-41CD-B4E0-E297462320DD}" dt="2023-11-24T11:42:00.649" v="147965"/>
          <ac:spMkLst>
            <pc:docMk/>
            <pc:sldMk cId="3795759164" sldId="691"/>
            <ac:spMk id="960" creationId="{9B242A57-CF95-2717-F73D-432A0EEB85E4}"/>
          </ac:spMkLst>
        </pc:spChg>
        <pc:spChg chg="add del mod">
          <ac:chgData name="Steiner Andreas 6206 ED" userId="e6377c33-a923-4f14-8587-531c474c7b48" providerId="ADAL" clId="{6ECD27E6-B224-41CD-B4E0-E297462320DD}" dt="2023-11-24T11:42:03.991" v="148120"/>
          <ac:spMkLst>
            <pc:docMk/>
            <pc:sldMk cId="3795759164" sldId="691"/>
            <ac:spMk id="961" creationId="{BF8DDA65-4B53-5F5D-D38D-1D6265F2ED72}"/>
          </ac:spMkLst>
        </pc:spChg>
        <pc:spChg chg="add del mod">
          <ac:chgData name="Steiner Andreas 6206 ED" userId="e6377c33-a923-4f14-8587-531c474c7b48" providerId="ADAL" clId="{6ECD27E6-B224-41CD-B4E0-E297462320DD}" dt="2023-11-24T11:42:06.487" v="148275"/>
          <ac:spMkLst>
            <pc:docMk/>
            <pc:sldMk cId="3795759164" sldId="691"/>
            <ac:spMk id="962" creationId="{E0084853-AC22-7DE1-097C-E85E24167303}"/>
          </ac:spMkLst>
        </pc:spChg>
        <pc:spChg chg="add del mod">
          <ac:chgData name="Steiner Andreas 6206 ED" userId="e6377c33-a923-4f14-8587-531c474c7b48" providerId="ADAL" clId="{6ECD27E6-B224-41CD-B4E0-E297462320DD}" dt="2023-11-24T11:42:08.753" v="148430"/>
          <ac:spMkLst>
            <pc:docMk/>
            <pc:sldMk cId="3795759164" sldId="691"/>
            <ac:spMk id="963" creationId="{FDF987A8-EA63-E265-3CD0-5633499C57E7}"/>
          </ac:spMkLst>
        </pc:spChg>
        <pc:spChg chg="add del mod">
          <ac:chgData name="Steiner Andreas 6206 ED" userId="e6377c33-a923-4f14-8587-531c474c7b48" providerId="ADAL" clId="{6ECD27E6-B224-41CD-B4E0-E297462320DD}" dt="2023-11-24T11:42:11.337" v="148585"/>
          <ac:spMkLst>
            <pc:docMk/>
            <pc:sldMk cId="3795759164" sldId="691"/>
            <ac:spMk id="964" creationId="{0230D0A7-D4C1-F429-19F2-99274E051513}"/>
          </ac:spMkLst>
        </pc:spChg>
        <pc:spChg chg="add del mod">
          <ac:chgData name="Steiner Andreas 6206 ED" userId="e6377c33-a923-4f14-8587-531c474c7b48" providerId="ADAL" clId="{6ECD27E6-B224-41CD-B4E0-E297462320DD}" dt="2023-11-24T11:42:13.943" v="148740"/>
          <ac:spMkLst>
            <pc:docMk/>
            <pc:sldMk cId="3795759164" sldId="691"/>
            <ac:spMk id="965" creationId="{EE3356CD-7D72-99E5-2A27-92ED7AB6A5CF}"/>
          </ac:spMkLst>
        </pc:spChg>
        <pc:spChg chg="add del mod">
          <ac:chgData name="Steiner Andreas 6206 ED" userId="e6377c33-a923-4f14-8587-531c474c7b48" providerId="ADAL" clId="{6ECD27E6-B224-41CD-B4E0-E297462320DD}" dt="2023-11-24T11:42:16.263" v="148895"/>
          <ac:spMkLst>
            <pc:docMk/>
            <pc:sldMk cId="3795759164" sldId="691"/>
            <ac:spMk id="966" creationId="{A90C6AF7-1C1D-A57B-C51A-32CB9FC9ADE6}"/>
          </ac:spMkLst>
        </pc:spChg>
        <pc:spChg chg="add del mod">
          <ac:chgData name="Steiner Andreas 6206 ED" userId="e6377c33-a923-4f14-8587-531c474c7b48" providerId="ADAL" clId="{6ECD27E6-B224-41CD-B4E0-E297462320DD}" dt="2023-11-24T11:42:18.360" v="149050"/>
          <ac:spMkLst>
            <pc:docMk/>
            <pc:sldMk cId="3795759164" sldId="691"/>
            <ac:spMk id="967" creationId="{D3F4C7B8-CC61-F635-7D66-3F3998715D31}"/>
          </ac:spMkLst>
        </pc:spChg>
        <pc:spChg chg="add del mod">
          <ac:chgData name="Steiner Andreas 6206 ED" userId="e6377c33-a923-4f14-8587-531c474c7b48" providerId="ADAL" clId="{6ECD27E6-B224-41CD-B4E0-E297462320DD}" dt="2023-11-24T11:42:20.420" v="149205"/>
          <ac:spMkLst>
            <pc:docMk/>
            <pc:sldMk cId="3795759164" sldId="691"/>
            <ac:spMk id="968" creationId="{0B90D152-CDFC-128F-586C-EA599278EBC6}"/>
          </ac:spMkLst>
        </pc:spChg>
        <pc:spChg chg="add del mod">
          <ac:chgData name="Steiner Andreas 6206 ED" userId="e6377c33-a923-4f14-8587-531c474c7b48" providerId="ADAL" clId="{6ECD27E6-B224-41CD-B4E0-E297462320DD}" dt="2023-11-24T11:42:22.495" v="149360"/>
          <ac:spMkLst>
            <pc:docMk/>
            <pc:sldMk cId="3795759164" sldId="691"/>
            <ac:spMk id="969" creationId="{88B7C816-9BA4-53AC-ECDA-3C1AC373D871}"/>
          </ac:spMkLst>
        </pc:spChg>
        <pc:spChg chg="add del mod">
          <ac:chgData name="Steiner Andreas 6206 ED" userId="e6377c33-a923-4f14-8587-531c474c7b48" providerId="ADAL" clId="{6ECD27E6-B224-41CD-B4E0-E297462320DD}" dt="2023-11-24T11:42:24.428" v="149515"/>
          <ac:spMkLst>
            <pc:docMk/>
            <pc:sldMk cId="3795759164" sldId="691"/>
            <ac:spMk id="970" creationId="{A96FB432-A538-477E-1D5D-6827B090B82C}"/>
          </ac:spMkLst>
        </pc:spChg>
        <pc:spChg chg="add del mod">
          <ac:chgData name="Steiner Andreas 6206 ED" userId="e6377c33-a923-4f14-8587-531c474c7b48" providerId="ADAL" clId="{6ECD27E6-B224-41CD-B4E0-E297462320DD}" dt="2023-11-24T11:42:26.370" v="149670"/>
          <ac:spMkLst>
            <pc:docMk/>
            <pc:sldMk cId="3795759164" sldId="691"/>
            <ac:spMk id="971" creationId="{91ABFA70-CACD-69DD-6386-C63E7443C76D}"/>
          </ac:spMkLst>
        </pc:spChg>
        <pc:spChg chg="add del mod">
          <ac:chgData name="Steiner Andreas 6206 ED" userId="e6377c33-a923-4f14-8587-531c474c7b48" providerId="ADAL" clId="{6ECD27E6-B224-41CD-B4E0-E297462320DD}" dt="2023-11-24T11:42:29.455" v="149825"/>
          <ac:spMkLst>
            <pc:docMk/>
            <pc:sldMk cId="3795759164" sldId="691"/>
            <ac:spMk id="972" creationId="{DB9D3177-95B3-ACAC-6B54-6F860916DC05}"/>
          </ac:spMkLst>
        </pc:spChg>
        <pc:spChg chg="add del mod">
          <ac:chgData name="Steiner Andreas 6206 ED" userId="e6377c33-a923-4f14-8587-531c474c7b48" providerId="ADAL" clId="{6ECD27E6-B224-41CD-B4E0-E297462320DD}" dt="2023-11-24T11:42:32.428" v="149980"/>
          <ac:spMkLst>
            <pc:docMk/>
            <pc:sldMk cId="3795759164" sldId="691"/>
            <ac:spMk id="973" creationId="{1C988793-73A3-1DBC-CF8C-1B9115646479}"/>
          </ac:spMkLst>
        </pc:spChg>
        <pc:spChg chg="add del mod">
          <ac:chgData name="Steiner Andreas 6206 ED" userId="e6377c33-a923-4f14-8587-531c474c7b48" providerId="ADAL" clId="{6ECD27E6-B224-41CD-B4E0-E297462320DD}" dt="2023-11-24T11:42:35.720" v="150135"/>
          <ac:spMkLst>
            <pc:docMk/>
            <pc:sldMk cId="3795759164" sldId="691"/>
            <ac:spMk id="974" creationId="{4CB28FDA-820A-C51B-3029-68F3CBC65565}"/>
          </ac:spMkLst>
        </pc:spChg>
        <pc:spChg chg="add del mod">
          <ac:chgData name="Steiner Andreas 6206 ED" userId="e6377c33-a923-4f14-8587-531c474c7b48" providerId="ADAL" clId="{6ECD27E6-B224-41CD-B4E0-E297462320DD}" dt="2023-11-24T11:42:38.022" v="150290"/>
          <ac:spMkLst>
            <pc:docMk/>
            <pc:sldMk cId="3795759164" sldId="691"/>
            <ac:spMk id="975" creationId="{38C47EDF-0FAC-6D18-8BD2-9938EB1EB5FA}"/>
          </ac:spMkLst>
        </pc:spChg>
        <pc:spChg chg="add del mod">
          <ac:chgData name="Steiner Andreas 6206 ED" userId="e6377c33-a923-4f14-8587-531c474c7b48" providerId="ADAL" clId="{6ECD27E6-B224-41CD-B4E0-E297462320DD}" dt="2023-11-24T11:42:40.123" v="150445"/>
          <ac:spMkLst>
            <pc:docMk/>
            <pc:sldMk cId="3795759164" sldId="691"/>
            <ac:spMk id="976" creationId="{8C976B12-4B4B-5090-9CD2-F434B1193EF1}"/>
          </ac:spMkLst>
        </pc:spChg>
        <pc:spChg chg="add del mod">
          <ac:chgData name="Steiner Andreas 6206 ED" userId="e6377c33-a923-4f14-8587-531c474c7b48" providerId="ADAL" clId="{6ECD27E6-B224-41CD-B4E0-E297462320DD}" dt="2023-11-24T11:42:42.183" v="150600"/>
          <ac:spMkLst>
            <pc:docMk/>
            <pc:sldMk cId="3795759164" sldId="691"/>
            <ac:spMk id="977" creationId="{CE4579B8-32EB-F5E6-6ACA-1914EBCEAA00}"/>
          </ac:spMkLst>
        </pc:spChg>
        <pc:spChg chg="add del mod">
          <ac:chgData name="Steiner Andreas 6206 ED" userId="e6377c33-a923-4f14-8587-531c474c7b48" providerId="ADAL" clId="{6ECD27E6-B224-41CD-B4E0-E297462320DD}" dt="2023-11-24T11:42:44.280" v="150755"/>
          <ac:spMkLst>
            <pc:docMk/>
            <pc:sldMk cId="3795759164" sldId="691"/>
            <ac:spMk id="978" creationId="{7AC72FFC-13C8-0DAC-836A-D866A9F29BA6}"/>
          </ac:spMkLst>
        </pc:spChg>
        <pc:spChg chg="add del mod">
          <ac:chgData name="Steiner Andreas 6206 ED" userId="e6377c33-a923-4f14-8587-531c474c7b48" providerId="ADAL" clId="{6ECD27E6-B224-41CD-B4E0-E297462320DD}" dt="2023-11-24T11:42:46.516" v="150910"/>
          <ac:spMkLst>
            <pc:docMk/>
            <pc:sldMk cId="3795759164" sldId="691"/>
            <ac:spMk id="979" creationId="{449138E0-E26D-BFE5-C791-95E37EB2FDF6}"/>
          </ac:spMkLst>
        </pc:spChg>
        <pc:spChg chg="add del mod">
          <ac:chgData name="Steiner Andreas 6206 ED" userId="e6377c33-a923-4f14-8587-531c474c7b48" providerId="ADAL" clId="{6ECD27E6-B224-41CD-B4E0-E297462320DD}" dt="2023-11-24T11:42:48.754" v="151065"/>
          <ac:spMkLst>
            <pc:docMk/>
            <pc:sldMk cId="3795759164" sldId="691"/>
            <ac:spMk id="980" creationId="{A2519079-5288-3E8A-F8FE-F341CC88CF4E}"/>
          </ac:spMkLst>
        </pc:spChg>
        <pc:spChg chg="add del mod">
          <ac:chgData name="Steiner Andreas 6206 ED" userId="e6377c33-a923-4f14-8587-531c474c7b48" providerId="ADAL" clId="{6ECD27E6-B224-41CD-B4E0-E297462320DD}" dt="2023-11-24T11:42:50.995" v="151220"/>
          <ac:spMkLst>
            <pc:docMk/>
            <pc:sldMk cId="3795759164" sldId="691"/>
            <ac:spMk id="981" creationId="{D53601CA-EDFA-E875-98F1-B6E454B2974C}"/>
          </ac:spMkLst>
        </pc:spChg>
        <pc:spChg chg="add del mod">
          <ac:chgData name="Steiner Andreas 6206 ED" userId="e6377c33-a923-4f14-8587-531c474c7b48" providerId="ADAL" clId="{6ECD27E6-B224-41CD-B4E0-E297462320DD}" dt="2023-11-24T11:42:53.347" v="151375"/>
          <ac:spMkLst>
            <pc:docMk/>
            <pc:sldMk cId="3795759164" sldId="691"/>
            <ac:spMk id="982" creationId="{5E766B54-2BE2-A505-0512-2ED865AA631C}"/>
          </ac:spMkLst>
        </pc:spChg>
        <pc:spChg chg="add del mod">
          <ac:chgData name="Steiner Andreas 6206 ED" userId="e6377c33-a923-4f14-8587-531c474c7b48" providerId="ADAL" clId="{6ECD27E6-B224-41CD-B4E0-E297462320DD}" dt="2023-11-24T11:42:55.595" v="151530"/>
          <ac:spMkLst>
            <pc:docMk/>
            <pc:sldMk cId="3795759164" sldId="691"/>
            <ac:spMk id="983" creationId="{28A35F19-5FFD-6E2B-DBE3-9BA826418176}"/>
          </ac:spMkLst>
        </pc:spChg>
        <pc:spChg chg="add del mod">
          <ac:chgData name="Steiner Andreas 6206 ED" userId="e6377c33-a923-4f14-8587-531c474c7b48" providerId="ADAL" clId="{6ECD27E6-B224-41CD-B4E0-E297462320DD}" dt="2023-11-24T11:42:58.045" v="151685"/>
          <ac:spMkLst>
            <pc:docMk/>
            <pc:sldMk cId="3795759164" sldId="691"/>
            <ac:spMk id="984" creationId="{0C059760-2860-3DAF-5135-61C3686822A4}"/>
          </ac:spMkLst>
        </pc:spChg>
        <pc:spChg chg="add del mod">
          <ac:chgData name="Steiner Andreas 6206 ED" userId="e6377c33-a923-4f14-8587-531c474c7b48" providerId="ADAL" clId="{6ECD27E6-B224-41CD-B4E0-E297462320DD}" dt="2023-11-24T11:43:01.767" v="151840"/>
          <ac:spMkLst>
            <pc:docMk/>
            <pc:sldMk cId="3795759164" sldId="691"/>
            <ac:spMk id="985" creationId="{91AE29D7-5A07-47D1-0BE2-A09D6BC897D8}"/>
          </ac:spMkLst>
        </pc:spChg>
        <pc:spChg chg="add del mod">
          <ac:chgData name="Steiner Andreas 6206 ED" userId="e6377c33-a923-4f14-8587-531c474c7b48" providerId="ADAL" clId="{6ECD27E6-B224-41CD-B4E0-E297462320DD}" dt="2023-11-24T11:43:04.066" v="151995"/>
          <ac:spMkLst>
            <pc:docMk/>
            <pc:sldMk cId="3795759164" sldId="691"/>
            <ac:spMk id="986" creationId="{0AC39090-C498-5C8B-C95A-7739B32414D7}"/>
          </ac:spMkLst>
        </pc:spChg>
        <pc:spChg chg="add del mod">
          <ac:chgData name="Steiner Andreas 6206 ED" userId="e6377c33-a923-4f14-8587-531c474c7b48" providerId="ADAL" clId="{6ECD27E6-B224-41CD-B4E0-E297462320DD}" dt="2023-11-24T11:43:06.285" v="152150"/>
          <ac:spMkLst>
            <pc:docMk/>
            <pc:sldMk cId="3795759164" sldId="691"/>
            <ac:spMk id="987" creationId="{E9A2F274-43C5-194F-57A4-42388AC9DF64}"/>
          </ac:spMkLst>
        </pc:spChg>
        <pc:spChg chg="add del mod">
          <ac:chgData name="Steiner Andreas 6206 ED" userId="e6377c33-a923-4f14-8587-531c474c7b48" providerId="ADAL" clId="{6ECD27E6-B224-41CD-B4E0-E297462320DD}" dt="2023-11-24T11:43:08.396" v="152305"/>
          <ac:spMkLst>
            <pc:docMk/>
            <pc:sldMk cId="3795759164" sldId="691"/>
            <ac:spMk id="988" creationId="{C5F856DC-5368-D2F6-899B-722F6858038B}"/>
          </ac:spMkLst>
        </pc:spChg>
        <pc:spChg chg="add del mod">
          <ac:chgData name="Steiner Andreas 6206 ED" userId="e6377c33-a923-4f14-8587-531c474c7b48" providerId="ADAL" clId="{6ECD27E6-B224-41CD-B4E0-E297462320DD}" dt="2023-11-24T11:43:10.555" v="152460"/>
          <ac:spMkLst>
            <pc:docMk/>
            <pc:sldMk cId="3795759164" sldId="691"/>
            <ac:spMk id="989" creationId="{E872F41F-3D6A-7555-9087-33222B4D935E}"/>
          </ac:spMkLst>
        </pc:spChg>
        <pc:spChg chg="add del mod">
          <ac:chgData name="Steiner Andreas 6206 ED" userId="e6377c33-a923-4f14-8587-531c474c7b48" providerId="ADAL" clId="{6ECD27E6-B224-41CD-B4E0-E297462320DD}" dt="2023-11-24T11:43:12.769" v="152615"/>
          <ac:spMkLst>
            <pc:docMk/>
            <pc:sldMk cId="3795759164" sldId="691"/>
            <ac:spMk id="990" creationId="{5B3C0042-42EA-DCA9-5896-D5A6916007F3}"/>
          </ac:spMkLst>
        </pc:spChg>
        <pc:spChg chg="add del mod">
          <ac:chgData name="Steiner Andreas 6206 ED" userId="e6377c33-a923-4f14-8587-531c474c7b48" providerId="ADAL" clId="{6ECD27E6-B224-41CD-B4E0-E297462320DD}" dt="2023-11-24T11:43:15.091" v="152770"/>
          <ac:spMkLst>
            <pc:docMk/>
            <pc:sldMk cId="3795759164" sldId="691"/>
            <ac:spMk id="991" creationId="{89104D01-8556-773F-59CF-348C25D4330D}"/>
          </ac:spMkLst>
        </pc:spChg>
        <pc:spChg chg="add del mod">
          <ac:chgData name="Steiner Andreas 6206 ED" userId="e6377c33-a923-4f14-8587-531c474c7b48" providerId="ADAL" clId="{6ECD27E6-B224-41CD-B4E0-E297462320DD}" dt="2023-11-24T11:43:18.136" v="152925"/>
          <ac:spMkLst>
            <pc:docMk/>
            <pc:sldMk cId="3795759164" sldId="691"/>
            <ac:spMk id="992" creationId="{736DCEF2-B80A-590F-2140-F9E528F3D88D}"/>
          </ac:spMkLst>
        </pc:spChg>
        <pc:spChg chg="add del mod">
          <ac:chgData name="Steiner Andreas 6206 ED" userId="e6377c33-a923-4f14-8587-531c474c7b48" providerId="ADAL" clId="{6ECD27E6-B224-41CD-B4E0-E297462320DD}" dt="2023-11-24T11:43:22.313" v="153080"/>
          <ac:spMkLst>
            <pc:docMk/>
            <pc:sldMk cId="3795759164" sldId="691"/>
            <ac:spMk id="993" creationId="{AF092F10-6CAC-DF0E-9248-EEE2537F2277}"/>
          </ac:spMkLst>
        </pc:spChg>
        <pc:spChg chg="add del mod">
          <ac:chgData name="Steiner Andreas 6206 ED" userId="e6377c33-a923-4f14-8587-531c474c7b48" providerId="ADAL" clId="{6ECD27E6-B224-41CD-B4E0-E297462320DD}" dt="2023-11-24T11:43:24.793" v="153235"/>
          <ac:spMkLst>
            <pc:docMk/>
            <pc:sldMk cId="3795759164" sldId="691"/>
            <ac:spMk id="994" creationId="{E6DB15A0-3B97-410F-D4A7-7068F4E7D348}"/>
          </ac:spMkLst>
        </pc:spChg>
        <pc:spChg chg="add del mod">
          <ac:chgData name="Steiner Andreas 6206 ED" userId="e6377c33-a923-4f14-8587-531c474c7b48" providerId="ADAL" clId="{6ECD27E6-B224-41CD-B4E0-E297462320DD}" dt="2023-11-24T11:43:27.068" v="153390"/>
          <ac:spMkLst>
            <pc:docMk/>
            <pc:sldMk cId="3795759164" sldId="691"/>
            <ac:spMk id="995" creationId="{BFA593BC-443B-8518-A3C4-6F1BB59A68CD}"/>
          </ac:spMkLst>
        </pc:spChg>
        <pc:spChg chg="add del mod">
          <ac:chgData name="Steiner Andreas 6206 ED" userId="e6377c33-a923-4f14-8587-531c474c7b48" providerId="ADAL" clId="{6ECD27E6-B224-41CD-B4E0-E297462320DD}" dt="2023-11-24T11:43:29.330" v="153545"/>
          <ac:spMkLst>
            <pc:docMk/>
            <pc:sldMk cId="3795759164" sldId="691"/>
            <ac:spMk id="996" creationId="{130BBCE7-C939-998B-FA36-1A1236F842AB}"/>
          </ac:spMkLst>
        </pc:spChg>
        <pc:spChg chg="add del mod">
          <ac:chgData name="Steiner Andreas 6206 ED" userId="e6377c33-a923-4f14-8587-531c474c7b48" providerId="ADAL" clId="{6ECD27E6-B224-41CD-B4E0-E297462320DD}" dt="2023-11-24T11:43:31.586" v="153700"/>
          <ac:spMkLst>
            <pc:docMk/>
            <pc:sldMk cId="3795759164" sldId="691"/>
            <ac:spMk id="997" creationId="{BF15FD7C-B6FA-E5D9-9D80-5FA6672A5697}"/>
          </ac:spMkLst>
        </pc:spChg>
        <pc:spChg chg="add del mod">
          <ac:chgData name="Steiner Andreas 6206 ED" userId="e6377c33-a923-4f14-8587-531c474c7b48" providerId="ADAL" clId="{6ECD27E6-B224-41CD-B4E0-E297462320DD}" dt="2023-11-24T11:43:34.287" v="153855"/>
          <ac:spMkLst>
            <pc:docMk/>
            <pc:sldMk cId="3795759164" sldId="691"/>
            <ac:spMk id="998" creationId="{3DC24F1A-AAF5-11CB-CE22-A9937ABE7F60}"/>
          </ac:spMkLst>
        </pc:spChg>
        <pc:spChg chg="add del mod">
          <ac:chgData name="Steiner Andreas 6206 ED" userId="e6377c33-a923-4f14-8587-531c474c7b48" providerId="ADAL" clId="{6ECD27E6-B224-41CD-B4E0-E297462320DD}" dt="2023-11-24T11:43:36.467" v="154010"/>
          <ac:spMkLst>
            <pc:docMk/>
            <pc:sldMk cId="3795759164" sldId="691"/>
            <ac:spMk id="999" creationId="{DE816ACC-89D4-2B69-C324-078B95384B79}"/>
          </ac:spMkLst>
        </pc:spChg>
        <pc:spChg chg="add del mod">
          <ac:chgData name="Steiner Andreas 6206 ED" userId="e6377c33-a923-4f14-8587-531c474c7b48" providerId="ADAL" clId="{6ECD27E6-B224-41CD-B4E0-E297462320DD}" dt="2023-11-24T11:43:38.661" v="154165"/>
          <ac:spMkLst>
            <pc:docMk/>
            <pc:sldMk cId="3795759164" sldId="691"/>
            <ac:spMk id="1000" creationId="{B043A16A-DC14-01DD-F058-7FF85E722D72}"/>
          </ac:spMkLst>
        </pc:spChg>
        <pc:spChg chg="add del mod">
          <ac:chgData name="Steiner Andreas 6206 ED" userId="e6377c33-a923-4f14-8587-531c474c7b48" providerId="ADAL" clId="{6ECD27E6-B224-41CD-B4E0-E297462320DD}" dt="2023-11-24T11:43:40.964" v="154320"/>
          <ac:spMkLst>
            <pc:docMk/>
            <pc:sldMk cId="3795759164" sldId="691"/>
            <ac:spMk id="1001" creationId="{6B1CAAAE-5157-3F47-4A06-CA781E815965}"/>
          </ac:spMkLst>
        </pc:spChg>
        <pc:spChg chg="add del mod">
          <ac:chgData name="Steiner Andreas 6206 ED" userId="e6377c33-a923-4f14-8587-531c474c7b48" providerId="ADAL" clId="{6ECD27E6-B224-41CD-B4E0-E297462320DD}" dt="2023-11-24T11:43:43.950" v="154475"/>
          <ac:spMkLst>
            <pc:docMk/>
            <pc:sldMk cId="3795759164" sldId="691"/>
            <ac:spMk id="1002" creationId="{F2FCC51D-68A9-3D0F-DC00-74E6EFE49C89}"/>
          </ac:spMkLst>
        </pc:spChg>
        <pc:spChg chg="add del mod">
          <ac:chgData name="Steiner Andreas 6206 ED" userId="e6377c33-a923-4f14-8587-531c474c7b48" providerId="ADAL" clId="{6ECD27E6-B224-41CD-B4E0-E297462320DD}" dt="2023-11-24T11:43:46.290" v="154630"/>
          <ac:spMkLst>
            <pc:docMk/>
            <pc:sldMk cId="3795759164" sldId="691"/>
            <ac:spMk id="1003" creationId="{AC13740B-92C5-AB05-9DD0-AC7F6C79FFDB}"/>
          </ac:spMkLst>
        </pc:spChg>
        <pc:spChg chg="add del mod">
          <ac:chgData name="Steiner Andreas 6206 ED" userId="e6377c33-a923-4f14-8587-531c474c7b48" providerId="ADAL" clId="{6ECD27E6-B224-41CD-B4E0-E297462320DD}" dt="2023-11-24T11:43:48.592" v="154785"/>
          <ac:spMkLst>
            <pc:docMk/>
            <pc:sldMk cId="3795759164" sldId="691"/>
            <ac:spMk id="1004" creationId="{18A1F8DC-95DB-C780-2893-7D620817FBAA}"/>
          </ac:spMkLst>
        </pc:spChg>
        <pc:spChg chg="add del mod">
          <ac:chgData name="Steiner Andreas 6206 ED" userId="e6377c33-a923-4f14-8587-531c474c7b48" providerId="ADAL" clId="{6ECD27E6-B224-41CD-B4E0-E297462320DD}" dt="2023-11-24T11:43:50.653" v="154940"/>
          <ac:spMkLst>
            <pc:docMk/>
            <pc:sldMk cId="3795759164" sldId="691"/>
            <ac:spMk id="1005" creationId="{FF7A5C2C-FB72-8A12-6A37-54685E228CA6}"/>
          </ac:spMkLst>
        </pc:spChg>
        <pc:spChg chg="add del mod">
          <ac:chgData name="Steiner Andreas 6206 ED" userId="e6377c33-a923-4f14-8587-531c474c7b48" providerId="ADAL" clId="{6ECD27E6-B224-41CD-B4E0-E297462320DD}" dt="2023-11-24T11:43:52.839" v="155095"/>
          <ac:spMkLst>
            <pc:docMk/>
            <pc:sldMk cId="3795759164" sldId="691"/>
            <ac:spMk id="1006" creationId="{DB9AB0FC-2B6D-8374-CC44-2C0716A0AFFD}"/>
          </ac:spMkLst>
        </pc:spChg>
        <pc:spChg chg="add del mod">
          <ac:chgData name="Steiner Andreas 6206 ED" userId="e6377c33-a923-4f14-8587-531c474c7b48" providerId="ADAL" clId="{6ECD27E6-B224-41CD-B4E0-E297462320DD}" dt="2023-11-24T11:43:55.839" v="155250"/>
          <ac:spMkLst>
            <pc:docMk/>
            <pc:sldMk cId="3795759164" sldId="691"/>
            <ac:spMk id="1007" creationId="{E020F205-C4B8-930E-A21D-9D47B80F3821}"/>
          </ac:spMkLst>
        </pc:spChg>
        <pc:spChg chg="add del mod">
          <ac:chgData name="Steiner Andreas 6206 ED" userId="e6377c33-a923-4f14-8587-531c474c7b48" providerId="ADAL" clId="{6ECD27E6-B224-41CD-B4E0-E297462320DD}" dt="2023-11-24T11:43:58.181" v="155405"/>
          <ac:spMkLst>
            <pc:docMk/>
            <pc:sldMk cId="3795759164" sldId="691"/>
            <ac:spMk id="1008" creationId="{939ED2E6-3320-43A9-D46B-D5AA34B032E5}"/>
          </ac:spMkLst>
        </pc:spChg>
        <pc:spChg chg="add del mod">
          <ac:chgData name="Steiner Andreas 6206 ED" userId="e6377c33-a923-4f14-8587-531c474c7b48" providerId="ADAL" clId="{6ECD27E6-B224-41CD-B4E0-E297462320DD}" dt="2023-11-24T11:44:00.289" v="155560"/>
          <ac:spMkLst>
            <pc:docMk/>
            <pc:sldMk cId="3795759164" sldId="691"/>
            <ac:spMk id="1009" creationId="{CBC03E7D-2414-C348-3FDD-43C4C9017171}"/>
          </ac:spMkLst>
        </pc:spChg>
        <pc:spChg chg="add del mod">
          <ac:chgData name="Steiner Andreas 6206 ED" userId="e6377c33-a923-4f14-8587-531c474c7b48" providerId="ADAL" clId="{6ECD27E6-B224-41CD-B4E0-E297462320DD}" dt="2023-11-24T11:44:02.296" v="155715"/>
          <ac:spMkLst>
            <pc:docMk/>
            <pc:sldMk cId="3795759164" sldId="691"/>
            <ac:spMk id="1010" creationId="{A4AF65DC-FF9F-EC85-BBBE-FDEC2B49238E}"/>
          </ac:spMkLst>
        </pc:spChg>
        <pc:spChg chg="add del mod">
          <ac:chgData name="Steiner Andreas 6206 ED" userId="e6377c33-a923-4f14-8587-531c474c7b48" providerId="ADAL" clId="{6ECD27E6-B224-41CD-B4E0-E297462320DD}" dt="2023-11-24T11:44:04.344" v="155870"/>
          <ac:spMkLst>
            <pc:docMk/>
            <pc:sldMk cId="3795759164" sldId="691"/>
            <ac:spMk id="1011" creationId="{CDC02C3C-D861-CDB3-0BD5-4FFF72783B08}"/>
          </ac:spMkLst>
        </pc:spChg>
        <pc:spChg chg="add del mod">
          <ac:chgData name="Steiner Andreas 6206 ED" userId="e6377c33-a923-4f14-8587-531c474c7b48" providerId="ADAL" clId="{6ECD27E6-B224-41CD-B4E0-E297462320DD}" dt="2023-11-24T11:44:06.348" v="156025"/>
          <ac:spMkLst>
            <pc:docMk/>
            <pc:sldMk cId="3795759164" sldId="691"/>
            <ac:spMk id="1012" creationId="{BF99EE63-5203-BECB-42F4-970A533B40A4}"/>
          </ac:spMkLst>
        </pc:spChg>
        <pc:spChg chg="add del mod">
          <ac:chgData name="Steiner Andreas 6206 ED" userId="e6377c33-a923-4f14-8587-531c474c7b48" providerId="ADAL" clId="{6ECD27E6-B224-41CD-B4E0-E297462320DD}" dt="2023-11-24T11:44:08.535" v="156180"/>
          <ac:spMkLst>
            <pc:docMk/>
            <pc:sldMk cId="3795759164" sldId="691"/>
            <ac:spMk id="1013" creationId="{2E29D408-E0CA-E376-79EB-4E06233BB3BE}"/>
          </ac:spMkLst>
        </pc:spChg>
        <pc:spChg chg="add del mod">
          <ac:chgData name="Steiner Andreas 6206 ED" userId="e6377c33-a923-4f14-8587-531c474c7b48" providerId="ADAL" clId="{6ECD27E6-B224-41CD-B4E0-E297462320DD}" dt="2023-11-24T11:44:10.594" v="156335"/>
          <ac:spMkLst>
            <pc:docMk/>
            <pc:sldMk cId="3795759164" sldId="691"/>
            <ac:spMk id="1014" creationId="{F791B2C8-A37B-8920-69EE-C8F1E60F1288}"/>
          </ac:spMkLst>
        </pc:spChg>
        <pc:spChg chg="add del mod">
          <ac:chgData name="Steiner Andreas 6206 ED" userId="e6377c33-a923-4f14-8587-531c474c7b48" providerId="ADAL" clId="{6ECD27E6-B224-41CD-B4E0-E297462320DD}" dt="2023-11-24T11:44:12.592" v="156490"/>
          <ac:spMkLst>
            <pc:docMk/>
            <pc:sldMk cId="3795759164" sldId="691"/>
            <ac:spMk id="1015" creationId="{5E2B2AC2-3A5E-3EA9-0E1B-F41537EECACE}"/>
          </ac:spMkLst>
        </pc:spChg>
        <pc:spChg chg="add del mod">
          <ac:chgData name="Steiner Andreas 6206 ED" userId="e6377c33-a923-4f14-8587-531c474c7b48" providerId="ADAL" clId="{6ECD27E6-B224-41CD-B4E0-E297462320DD}" dt="2023-11-24T11:44:14.591" v="156645"/>
          <ac:spMkLst>
            <pc:docMk/>
            <pc:sldMk cId="3795759164" sldId="691"/>
            <ac:spMk id="1016" creationId="{12034F19-1F24-90E8-26B2-C74FD3F9E645}"/>
          </ac:spMkLst>
        </pc:spChg>
        <pc:spChg chg="add del mod">
          <ac:chgData name="Steiner Andreas 6206 ED" userId="e6377c33-a923-4f14-8587-531c474c7b48" providerId="ADAL" clId="{6ECD27E6-B224-41CD-B4E0-E297462320DD}" dt="2023-11-24T11:44:16.579" v="156800"/>
          <ac:spMkLst>
            <pc:docMk/>
            <pc:sldMk cId="3795759164" sldId="691"/>
            <ac:spMk id="1017" creationId="{5E770337-2FD2-FDD4-2630-D38963FD9FE2}"/>
          </ac:spMkLst>
        </pc:spChg>
        <pc:spChg chg="add del mod">
          <ac:chgData name="Steiner Andreas 6206 ED" userId="e6377c33-a923-4f14-8587-531c474c7b48" providerId="ADAL" clId="{6ECD27E6-B224-41CD-B4E0-E297462320DD}" dt="2023-11-24T11:44:18.676" v="156955"/>
          <ac:spMkLst>
            <pc:docMk/>
            <pc:sldMk cId="3795759164" sldId="691"/>
            <ac:spMk id="1018" creationId="{17DF271E-4C1B-250D-92B3-DE635050E98B}"/>
          </ac:spMkLst>
        </pc:spChg>
        <pc:spChg chg="add del mod">
          <ac:chgData name="Steiner Andreas 6206 ED" userId="e6377c33-a923-4f14-8587-531c474c7b48" providerId="ADAL" clId="{6ECD27E6-B224-41CD-B4E0-E297462320DD}" dt="2023-11-24T11:44:20.798" v="157110"/>
          <ac:spMkLst>
            <pc:docMk/>
            <pc:sldMk cId="3795759164" sldId="691"/>
            <ac:spMk id="1019" creationId="{61EAD26D-6099-8051-A028-3DE344107B59}"/>
          </ac:spMkLst>
        </pc:spChg>
        <pc:spChg chg="add del mod">
          <ac:chgData name="Steiner Andreas 6206 ED" userId="e6377c33-a923-4f14-8587-531c474c7b48" providerId="ADAL" clId="{6ECD27E6-B224-41CD-B4E0-E297462320DD}" dt="2023-11-24T11:44:23.109" v="157265"/>
          <ac:spMkLst>
            <pc:docMk/>
            <pc:sldMk cId="3795759164" sldId="691"/>
            <ac:spMk id="1020" creationId="{AADA5FDE-1C04-9CCB-15B5-DF85BCDCA736}"/>
          </ac:spMkLst>
        </pc:spChg>
        <pc:spChg chg="add del mod">
          <ac:chgData name="Steiner Andreas 6206 ED" userId="e6377c33-a923-4f14-8587-531c474c7b48" providerId="ADAL" clId="{6ECD27E6-B224-41CD-B4E0-E297462320DD}" dt="2023-11-24T11:44:25.279" v="157420"/>
          <ac:spMkLst>
            <pc:docMk/>
            <pc:sldMk cId="3795759164" sldId="691"/>
            <ac:spMk id="1021" creationId="{934D3558-4CF7-A008-2309-413CCB833900}"/>
          </ac:spMkLst>
        </pc:spChg>
        <pc:spChg chg="add del mod">
          <ac:chgData name="Steiner Andreas 6206 ED" userId="e6377c33-a923-4f14-8587-531c474c7b48" providerId="ADAL" clId="{6ECD27E6-B224-41CD-B4E0-E297462320DD}" dt="2023-11-24T11:44:30.688" v="157575"/>
          <ac:spMkLst>
            <pc:docMk/>
            <pc:sldMk cId="3795759164" sldId="691"/>
            <ac:spMk id="1022" creationId="{833E6895-2AD6-B220-0C46-15372C17628D}"/>
          </ac:spMkLst>
        </pc:spChg>
        <pc:spChg chg="add mod">
          <ac:chgData name="Steiner Andreas 6206 ED" userId="e6377c33-a923-4f14-8587-531c474c7b48" providerId="ADAL" clId="{6ECD27E6-B224-41CD-B4E0-E297462320DD}" dt="2023-11-24T11:44:30.690" v="157576"/>
          <ac:spMkLst>
            <pc:docMk/>
            <pc:sldMk cId="3795759164" sldId="691"/>
            <ac:spMk id="1023" creationId="{2EEAC156-6DF0-1401-D23A-FF105C262C89}"/>
          </ac:spMkLst>
        </pc:spChg>
      </pc:sldChg>
      <pc:sldChg chg="addSp delSp modSp mod">
        <pc:chgData name="Steiner Andreas 6206 ED" userId="e6377c33-a923-4f14-8587-531c474c7b48" providerId="ADAL" clId="{6ECD27E6-B224-41CD-B4E0-E297462320DD}" dt="2023-11-24T11:44:30.470" v="157538"/>
        <pc:sldMkLst>
          <pc:docMk/>
          <pc:sldMk cId="3439677884" sldId="2147473972"/>
        </pc:sldMkLst>
        <pc:spChg chg="mod">
          <ac:chgData name="Steiner Andreas 6206 ED" userId="e6377c33-a923-4f14-8587-531c474c7b48" providerId="ADAL" clId="{6ECD27E6-B224-41CD-B4E0-E297462320DD}" dt="2023-11-24T11:44:30.468" v="157534" actId="20577"/>
          <ac:spMkLst>
            <pc:docMk/>
            <pc:sldMk cId="3439677884" sldId="2147473972"/>
            <ac:spMk id="3" creationId="{94625422-E791-16A2-58EC-31B35811A76E}"/>
          </ac:spMkLst>
        </pc:spChg>
        <pc:spChg chg="del">
          <ac:chgData name="Steiner Andreas 6206 ED" userId="e6377c33-a923-4f14-8587-531c474c7b48" providerId="ADAL" clId="{6ECD27E6-B224-41CD-B4E0-E297462320DD}" dt="2023-11-23T19:49:53.398" v="23"/>
          <ac:spMkLst>
            <pc:docMk/>
            <pc:sldMk cId="3439677884" sldId="2147473972"/>
            <ac:spMk id="5" creationId="{F2F3BD0F-2E61-692E-67EB-8189307D5BCD}"/>
          </ac:spMkLst>
        </pc:spChg>
        <pc:spChg chg="add del mod">
          <ac:chgData name="Steiner Andreas 6206 ED" userId="e6377c33-a923-4f14-8587-531c474c7b48" providerId="ADAL" clId="{6ECD27E6-B224-41CD-B4E0-E297462320DD}" dt="2023-11-23T19:49:53.400" v="26"/>
          <ac:spMkLst>
            <pc:docMk/>
            <pc:sldMk cId="3439677884" sldId="2147473972"/>
            <ac:spMk id="7" creationId="{BE3F31CE-497B-CAE8-207A-6AC1C54B1A78}"/>
          </ac:spMkLst>
        </pc:spChg>
        <pc:spChg chg="add del mod">
          <ac:chgData name="Steiner Andreas 6206 ED" userId="e6377c33-a923-4f14-8587-531c474c7b48" providerId="ADAL" clId="{6ECD27E6-B224-41CD-B4E0-E297462320DD}" dt="2023-11-23T19:49:54.327" v="212"/>
          <ac:spMkLst>
            <pc:docMk/>
            <pc:sldMk cId="3439677884" sldId="2147473972"/>
            <ac:spMk id="8" creationId="{CCA24E65-2D59-05B1-2853-7240D18FC54C}"/>
          </ac:spMkLst>
        </pc:spChg>
        <pc:spChg chg="add del mod">
          <ac:chgData name="Steiner Andreas 6206 ED" userId="e6377c33-a923-4f14-8587-531c474c7b48" providerId="ADAL" clId="{6ECD27E6-B224-41CD-B4E0-E297462320DD}" dt="2023-11-23T19:50:25.036" v="367"/>
          <ac:spMkLst>
            <pc:docMk/>
            <pc:sldMk cId="3439677884" sldId="2147473972"/>
            <ac:spMk id="61" creationId="{3C2D43A3-F63D-8F09-871B-407C027356A4}"/>
          </ac:spMkLst>
        </pc:spChg>
        <pc:spChg chg="add del mod">
          <ac:chgData name="Steiner Andreas 6206 ED" userId="e6377c33-a923-4f14-8587-531c474c7b48" providerId="ADAL" clId="{6ECD27E6-B224-41CD-B4E0-E297462320DD}" dt="2023-11-23T19:50:34.850" v="522"/>
          <ac:spMkLst>
            <pc:docMk/>
            <pc:sldMk cId="3439677884" sldId="2147473972"/>
            <ac:spMk id="62" creationId="{BCF00A93-45D3-83A2-E485-EED3C65735FE}"/>
          </ac:spMkLst>
        </pc:spChg>
        <pc:spChg chg="add del mod">
          <ac:chgData name="Steiner Andreas 6206 ED" userId="e6377c33-a923-4f14-8587-531c474c7b48" providerId="ADAL" clId="{6ECD27E6-B224-41CD-B4E0-E297462320DD}" dt="2023-11-23T19:50:46.521" v="677"/>
          <ac:spMkLst>
            <pc:docMk/>
            <pc:sldMk cId="3439677884" sldId="2147473972"/>
            <ac:spMk id="63" creationId="{8B603C9D-0B07-1F50-F198-68787D65A2F8}"/>
          </ac:spMkLst>
        </pc:spChg>
        <pc:spChg chg="add del mod">
          <ac:chgData name="Steiner Andreas 6206 ED" userId="e6377c33-a923-4f14-8587-531c474c7b48" providerId="ADAL" clId="{6ECD27E6-B224-41CD-B4E0-E297462320DD}" dt="2023-11-23T19:50:58.223" v="832"/>
          <ac:spMkLst>
            <pc:docMk/>
            <pc:sldMk cId="3439677884" sldId="2147473972"/>
            <ac:spMk id="64" creationId="{7DD76999-8A79-0CDF-CAC9-067D6E045B7C}"/>
          </ac:spMkLst>
        </pc:spChg>
        <pc:spChg chg="add del mod">
          <ac:chgData name="Steiner Andreas 6206 ED" userId="e6377c33-a923-4f14-8587-531c474c7b48" providerId="ADAL" clId="{6ECD27E6-B224-41CD-B4E0-E297462320DD}" dt="2023-11-23T19:51:08.908" v="987"/>
          <ac:spMkLst>
            <pc:docMk/>
            <pc:sldMk cId="3439677884" sldId="2147473972"/>
            <ac:spMk id="65" creationId="{A4F57EB5-E98C-9A71-37EA-5404513C6A12}"/>
          </ac:spMkLst>
        </pc:spChg>
        <pc:spChg chg="add del mod">
          <ac:chgData name="Steiner Andreas 6206 ED" userId="e6377c33-a923-4f14-8587-531c474c7b48" providerId="ADAL" clId="{6ECD27E6-B224-41CD-B4E0-E297462320DD}" dt="2023-11-23T19:51:19.885" v="1142"/>
          <ac:spMkLst>
            <pc:docMk/>
            <pc:sldMk cId="3439677884" sldId="2147473972"/>
            <ac:spMk id="66" creationId="{EF246358-DCC8-53E4-6ADD-982906A624E1}"/>
          </ac:spMkLst>
        </pc:spChg>
        <pc:spChg chg="add del mod">
          <ac:chgData name="Steiner Andreas 6206 ED" userId="e6377c33-a923-4f14-8587-531c474c7b48" providerId="ADAL" clId="{6ECD27E6-B224-41CD-B4E0-E297462320DD}" dt="2023-11-23T19:51:31.431" v="1297"/>
          <ac:spMkLst>
            <pc:docMk/>
            <pc:sldMk cId="3439677884" sldId="2147473972"/>
            <ac:spMk id="67" creationId="{7B983851-50A3-EDC2-0D2C-F82C9CBBAEAB}"/>
          </ac:spMkLst>
        </pc:spChg>
        <pc:spChg chg="add del mod">
          <ac:chgData name="Steiner Andreas 6206 ED" userId="e6377c33-a923-4f14-8587-531c474c7b48" providerId="ADAL" clId="{6ECD27E6-B224-41CD-B4E0-E297462320DD}" dt="2023-11-23T19:51:42.024" v="1452"/>
          <ac:spMkLst>
            <pc:docMk/>
            <pc:sldMk cId="3439677884" sldId="2147473972"/>
            <ac:spMk id="68" creationId="{D71AD1C7-7401-38D9-198F-CDA469251B5C}"/>
          </ac:spMkLst>
        </pc:spChg>
        <pc:spChg chg="add del mod">
          <ac:chgData name="Steiner Andreas 6206 ED" userId="e6377c33-a923-4f14-8587-531c474c7b48" providerId="ADAL" clId="{6ECD27E6-B224-41CD-B4E0-E297462320DD}" dt="2023-11-23T19:51:53.465" v="1607"/>
          <ac:spMkLst>
            <pc:docMk/>
            <pc:sldMk cId="3439677884" sldId="2147473972"/>
            <ac:spMk id="69" creationId="{6E81A818-3C01-175B-60E0-2F4B22DBC409}"/>
          </ac:spMkLst>
        </pc:spChg>
        <pc:spChg chg="add del mod">
          <ac:chgData name="Steiner Andreas 6206 ED" userId="e6377c33-a923-4f14-8587-531c474c7b48" providerId="ADAL" clId="{6ECD27E6-B224-41CD-B4E0-E297462320DD}" dt="2023-11-23T19:52:05.022" v="1762"/>
          <ac:spMkLst>
            <pc:docMk/>
            <pc:sldMk cId="3439677884" sldId="2147473972"/>
            <ac:spMk id="70" creationId="{E2A9A7F7-EFC5-F3FD-0757-F99B29DCE404}"/>
          </ac:spMkLst>
        </pc:spChg>
        <pc:spChg chg="add del mod">
          <ac:chgData name="Steiner Andreas 6206 ED" userId="e6377c33-a923-4f14-8587-531c474c7b48" providerId="ADAL" clId="{6ECD27E6-B224-41CD-B4E0-E297462320DD}" dt="2023-11-23T19:52:16.706" v="1917"/>
          <ac:spMkLst>
            <pc:docMk/>
            <pc:sldMk cId="3439677884" sldId="2147473972"/>
            <ac:spMk id="71" creationId="{446D2457-E5B8-DAA2-999A-912939A47C89}"/>
          </ac:spMkLst>
        </pc:spChg>
        <pc:spChg chg="add del mod">
          <ac:chgData name="Steiner Andreas 6206 ED" userId="e6377c33-a923-4f14-8587-531c474c7b48" providerId="ADAL" clId="{6ECD27E6-B224-41CD-B4E0-E297462320DD}" dt="2023-11-23T19:52:28.417" v="2072"/>
          <ac:spMkLst>
            <pc:docMk/>
            <pc:sldMk cId="3439677884" sldId="2147473972"/>
            <ac:spMk id="72" creationId="{03788033-3CF7-955E-170D-F17C892719AD}"/>
          </ac:spMkLst>
        </pc:spChg>
        <pc:spChg chg="add del mod">
          <ac:chgData name="Steiner Andreas 6206 ED" userId="e6377c33-a923-4f14-8587-531c474c7b48" providerId="ADAL" clId="{6ECD27E6-B224-41CD-B4E0-E297462320DD}" dt="2023-11-23T19:52:40.093" v="2227"/>
          <ac:spMkLst>
            <pc:docMk/>
            <pc:sldMk cId="3439677884" sldId="2147473972"/>
            <ac:spMk id="73" creationId="{45FF50FD-562C-B0B7-205B-9295D52A357C}"/>
          </ac:spMkLst>
        </pc:spChg>
        <pc:spChg chg="add del mod">
          <ac:chgData name="Steiner Andreas 6206 ED" userId="e6377c33-a923-4f14-8587-531c474c7b48" providerId="ADAL" clId="{6ECD27E6-B224-41CD-B4E0-E297462320DD}" dt="2023-11-23T19:52:51.575" v="2382"/>
          <ac:spMkLst>
            <pc:docMk/>
            <pc:sldMk cId="3439677884" sldId="2147473972"/>
            <ac:spMk id="74" creationId="{E511361F-A6D1-312F-0D4B-A75E3807ABE8}"/>
          </ac:spMkLst>
        </pc:spChg>
        <pc:spChg chg="add del mod">
          <ac:chgData name="Steiner Andreas 6206 ED" userId="e6377c33-a923-4f14-8587-531c474c7b48" providerId="ADAL" clId="{6ECD27E6-B224-41CD-B4E0-E297462320DD}" dt="2023-11-23T19:53:03.154" v="2537"/>
          <ac:spMkLst>
            <pc:docMk/>
            <pc:sldMk cId="3439677884" sldId="2147473972"/>
            <ac:spMk id="75" creationId="{3AE2286A-EE68-8E57-C7F4-75305D7288D1}"/>
          </ac:spMkLst>
        </pc:spChg>
        <pc:spChg chg="add del mod">
          <ac:chgData name="Steiner Andreas 6206 ED" userId="e6377c33-a923-4f14-8587-531c474c7b48" providerId="ADAL" clId="{6ECD27E6-B224-41CD-B4E0-E297462320DD}" dt="2023-11-23T19:53:14.906" v="2692"/>
          <ac:spMkLst>
            <pc:docMk/>
            <pc:sldMk cId="3439677884" sldId="2147473972"/>
            <ac:spMk id="76" creationId="{906D709E-9080-31BE-BE7E-AC0F46F4C889}"/>
          </ac:spMkLst>
        </pc:spChg>
        <pc:spChg chg="add del mod">
          <ac:chgData name="Steiner Andreas 6206 ED" userId="e6377c33-a923-4f14-8587-531c474c7b48" providerId="ADAL" clId="{6ECD27E6-B224-41CD-B4E0-E297462320DD}" dt="2023-11-23T19:53:26.586" v="2847"/>
          <ac:spMkLst>
            <pc:docMk/>
            <pc:sldMk cId="3439677884" sldId="2147473972"/>
            <ac:spMk id="77" creationId="{ABD52EAC-20B7-3A98-64CC-950A5391AD18}"/>
          </ac:spMkLst>
        </pc:spChg>
        <pc:spChg chg="add del mod">
          <ac:chgData name="Steiner Andreas 6206 ED" userId="e6377c33-a923-4f14-8587-531c474c7b48" providerId="ADAL" clId="{6ECD27E6-B224-41CD-B4E0-E297462320DD}" dt="2023-11-23T19:53:38.234" v="3002"/>
          <ac:spMkLst>
            <pc:docMk/>
            <pc:sldMk cId="3439677884" sldId="2147473972"/>
            <ac:spMk id="78" creationId="{3A4E28D6-905E-3BC4-7B68-C2D76F331CFC}"/>
          </ac:spMkLst>
        </pc:spChg>
        <pc:spChg chg="add del mod">
          <ac:chgData name="Steiner Andreas 6206 ED" userId="e6377c33-a923-4f14-8587-531c474c7b48" providerId="ADAL" clId="{6ECD27E6-B224-41CD-B4E0-E297462320DD}" dt="2023-11-23T19:53:49.902" v="3157"/>
          <ac:spMkLst>
            <pc:docMk/>
            <pc:sldMk cId="3439677884" sldId="2147473972"/>
            <ac:spMk id="79" creationId="{A5A08EF5-6CE6-0D4D-8A6D-B32AD89CA775}"/>
          </ac:spMkLst>
        </pc:spChg>
        <pc:spChg chg="add del mod">
          <ac:chgData name="Steiner Andreas 6206 ED" userId="e6377c33-a923-4f14-8587-531c474c7b48" providerId="ADAL" clId="{6ECD27E6-B224-41CD-B4E0-E297462320DD}" dt="2023-11-23T19:54:01.584" v="3312"/>
          <ac:spMkLst>
            <pc:docMk/>
            <pc:sldMk cId="3439677884" sldId="2147473972"/>
            <ac:spMk id="80" creationId="{1DFC404B-6422-3CCC-D6C2-0E1FF448CE86}"/>
          </ac:spMkLst>
        </pc:spChg>
        <pc:spChg chg="add del mod">
          <ac:chgData name="Steiner Andreas 6206 ED" userId="e6377c33-a923-4f14-8587-531c474c7b48" providerId="ADAL" clId="{6ECD27E6-B224-41CD-B4E0-E297462320DD}" dt="2023-11-23T19:54:13.273" v="3467"/>
          <ac:spMkLst>
            <pc:docMk/>
            <pc:sldMk cId="3439677884" sldId="2147473972"/>
            <ac:spMk id="81" creationId="{C3AEC10A-AF78-8067-748C-4E3CA68EB511}"/>
          </ac:spMkLst>
        </pc:spChg>
        <pc:spChg chg="add del mod">
          <ac:chgData name="Steiner Andreas 6206 ED" userId="e6377c33-a923-4f14-8587-531c474c7b48" providerId="ADAL" clId="{6ECD27E6-B224-41CD-B4E0-E297462320DD}" dt="2023-11-23T19:54:24.933" v="3622"/>
          <ac:spMkLst>
            <pc:docMk/>
            <pc:sldMk cId="3439677884" sldId="2147473972"/>
            <ac:spMk id="82" creationId="{960CEC40-C40F-FB60-963C-797BFD71A840}"/>
          </ac:spMkLst>
        </pc:spChg>
        <pc:spChg chg="add del mod">
          <ac:chgData name="Steiner Andreas 6206 ED" userId="e6377c33-a923-4f14-8587-531c474c7b48" providerId="ADAL" clId="{6ECD27E6-B224-41CD-B4E0-E297462320DD}" dt="2023-11-23T19:54:36.638" v="3777"/>
          <ac:spMkLst>
            <pc:docMk/>
            <pc:sldMk cId="3439677884" sldId="2147473972"/>
            <ac:spMk id="83" creationId="{F7FDE6F6-7FD7-5E0D-AF68-F081C73FB69D}"/>
          </ac:spMkLst>
        </pc:spChg>
        <pc:spChg chg="add del mod">
          <ac:chgData name="Steiner Andreas 6206 ED" userId="e6377c33-a923-4f14-8587-531c474c7b48" providerId="ADAL" clId="{6ECD27E6-B224-41CD-B4E0-E297462320DD}" dt="2023-11-23T19:54:48.060" v="3932"/>
          <ac:spMkLst>
            <pc:docMk/>
            <pc:sldMk cId="3439677884" sldId="2147473972"/>
            <ac:spMk id="84" creationId="{02641243-F40A-9BF9-7D4B-0B89AB721182}"/>
          </ac:spMkLst>
        </pc:spChg>
        <pc:spChg chg="add del mod">
          <ac:chgData name="Steiner Andreas 6206 ED" userId="e6377c33-a923-4f14-8587-531c474c7b48" providerId="ADAL" clId="{6ECD27E6-B224-41CD-B4E0-E297462320DD}" dt="2023-11-23T19:54:59.608" v="4087"/>
          <ac:spMkLst>
            <pc:docMk/>
            <pc:sldMk cId="3439677884" sldId="2147473972"/>
            <ac:spMk id="85" creationId="{8B4E3FFD-9949-627B-87D8-05BBC59AFE23}"/>
          </ac:spMkLst>
        </pc:spChg>
        <pc:spChg chg="add del mod">
          <ac:chgData name="Steiner Andreas 6206 ED" userId="e6377c33-a923-4f14-8587-531c474c7b48" providerId="ADAL" clId="{6ECD27E6-B224-41CD-B4E0-E297462320DD}" dt="2023-11-23T19:55:11.355" v="4242"/>
          <ac:spMkLst>
            <pc:docMk/>
            <pc:sldMk cId="3439677884" sldId="2147473972"/>
            <ac:spMk id="86" creationId="{2FA168F9-0BE9-8320-0275-F7B298FF70BE}"/>
          </ac:spMkLst>
        </pc:spChg>
        <pc:spChg chg="add del mod">
          <ac:chgData name="Steiner Andreas 6206 ED" userId="e6377c33-a923-4f14-8587-531c474c7b48" providerId="ADAL" clId="{6ECD27E6-B224-41CD-B4E0-E297462320DD}" dt="2023-11-23T19:55:23.039" v="4397"/>
          <ac:spMkLst>
            <pc:docMk/>
            <pc:sldMk cId="3439677884" sldId="2147473972"/>
            <ac:spMk id="87" creationId="{AC01B6AE-2FB6-6658-B81D-2426D9562081}"/>
          </ac:spMkLst>
        </pc:spChg>
        <pc:spChg chg="add del mod">
          <ac:chgData name="Steiner Andreas 6206 ED" userId="e6377c33-a923-4f14-8587-531c474c7b48" providerId="ADAL" clId="{6ECD27E6-B224-41CD-B4E0-E297462320DD}" dt="2023-11-23T19:55:34.677" v="4552"/>
          <ac:spMkLst>
            <pc:docMk/>
            <pc:sldMk cId="3439677884" sldId="2147473972"/>
            <ac:spMk id="88" creationId="{7B9E4B40-3CF4-2225-6D5D-078E72B151AE}"/>
          </ac:spMkLst>
        </pc:spChg>
        <pc:spChg chg="add del mod">
          <ac:chgData name="Steiner Andreas 6206 ED" userId="e6377c33-a923-4f14-8587-531c474c7b48" providerId="ADAL" clId="{6ECD27E6-B224-41CD-B4E0-E297462320DD}" dt="2023-11-23T19:55:46.104" v="4707"/>
          <ac:spMkLst>
            <pc:docMk/>
            <pc:sldMk cId="3439677884" sldId="2147473972"/>
            <ac:spMk id="89" creationId="{FF56F81E-ABEC-48DA-2FD7-042935E3B2C2}"/>
          </ac:spMkLst>
        </pc:spChg>
        <pc:spChg chg="add del mod">
          <ac:chgData name="Steiner Andreas 6206 ED" userId="e6377c33-a923-4f14-8587-531c474c7b48" providerId="ADAL" clId="{6ECD27E6-B224-41CD-B4E0-E297462320DD}" dt="2023-11-23T19:55:57.678" v="4862"/>
          <ac:spMkLst>
            <pc:docMk/>
            <pc:sldMk cId="3439677884" sldId="2147473972"/>
            <ac:spMk id="90" creationId="{A07F8CA4-A4AA-2C2F-3DA9-396DF44FD957}"/>
          </ac:spMkLst>
        </pc:spChg>
        <pc:spChg chg="add del mod">
          <ac:chgData name="Steiner Andreas 6206 ED" userId="e6377c33-a923-4f14-8587-531c474c7b48" providerId="ADAL" clId="{6ECD27E6-B224-41CD-B4E0-E297462320DD}" dt="2023-11-23T19:56:09.352" v="5017"/>
          <ac:spMkLst>
            <pc:docMk/>
            <pc:sldMk cId="3439677884" sldId="2147473972"/>
            <ac:spMk id="91" creationId="{EFFFC763-34D1-11D0-2402-82B3B502930A}"/>
          </ac:spMkLst>
        </pc:spChg>
        <pc:spChg chg="add del mod">
          <ac:chgData name="Steiner Andreas 6206 ED" userId="e6377c33-a923-4f14-8587-531c474c7b48" providerId="ADAL" clId="{6ECD27E6-B224-41CD-B4E0-E297462320DD}" dt="2023-11-23T19:56:21.047" v="5172"/>
          <ac:spMkLst>
            <pc:docMk/>
            <pc:sldMk cId="3439677884" sldId="2147473972"/>
            <ac:spMk id="92" creationId="{527312FB-9F04-96E8-CF6C-8117FC065BF2}"/>
          </ac:spMkLst>
        </pc:spChg>
        <pc:spChg chg="add del mod">
          <ac:chgData name="Steiner Andreas 6206 ED" userId="e6377c33-a923-4f14-8587-531c474c7b48" providerId="ADAL" clId="{6ECD27E6-B224-41CD-B4E0-E297462320DD}" dt="2023-11-23T19:56:32.741" v="5327"/>
          <ac:spMkLst>
            <pc:docMk/>
            <pc:sldMk cId="3439677884" sldId="2147473972"/>
            <ac:spMk id="93" creationId="{6A0F33C3-0F4B-E54F-A813-7EAA91B5A5D2}"/>
          </ac:spMkLst>
        </pc:spChg>
        <pc:spChg chg="add del mod">
          <ac:chgData name="Steiner Andreas 6206 ED" userId="e6377c33-a923-4f14-8587-531c474c7b48" providerId="ADAL" clId="{6ECD27E6-B224-41CD-B4E0-E297462320DD}" dt="2023-11-23T19:56:44.180" v="5482"/>
          <ac:spMkLst>
            <pc:docMk/>
            <pc:sldMk cId="3439677884" sldId="2147473972"/>
            <ac:spMk id="94" creationId="{BF1E17EE-9F12-91A2-C136-A6FAE9895FB5}"/>
          </ac:spMkLst>
        </pc:spChg>
        <pc:spChg chg="add del mod">
          <ac:chgData name="Steiner Andreas 6206 ED" userId="e6377c33-a923-4f14-8587-531c474c7b48" providerId="ADAL" clId="{6ECD27E6-B224-41CD-B4E0-E297462320DD}" dt="2023-11-23T19:56:54.464" v="5637"/>
          <ac:spMkLst>
            <pc:docMk/>
            <pc:sldMk cId="3439677884" sldId="2147473972"/>
            <ac:spMk id="95" creationId="{21F12E8F-F718-E81D-16E2-29103AE27AED}"/>
          </ac:spMkLst>
        </pc:spChg>
        <pc:spChg chg="add del mod">
          <ac:chgData name="Steiner Andreas 6206 ED" userId="e6377c33-a923-4f14-8587-531c474c7b48" providerId="ADAL" clId="{6ECD27E6-B224-41CD-B4E0-E297462320DD}" dt="2023-11-23T19:57:05.929" v="5792"/>
          <ac:spMkLst>
            <pc:docMk/>
            <pc:sldMk cId="3439677884" sldId="2147473972"/>
            <ac:spMk id="96" creationId="{02F4783F-BA37-4398-FD68-FB01FA6B41B4}"/>
          </ac:spMkLst>
        </pc:spChg>
        <pc:spChg chg="add del mod">
          <ac:chgData name="Steiner Andreas 6206 ED" userId="e6377c33-a923-4f14-8587-531c474c7b48" providerId="ADAL" clId="{6ECD27E6-B224-41CD-B4E0-E297462320DD}" dt="2023-11-23T19:57:17.585" v="5947"/>
          <ac:spMkLst>
            <pc:docMk/>
            <pc:sldMk cId="3439677884" sldId="2147473972"/>
            <ac:spMk id="97" creationId="{EDD6C2E8-775C-D96A-A69F-3514FB72A8CD}"/>
          </ac:spMkLst>
        </pc:spChg>
        <pc:spChg chg="add del mod">
          <ac:chgData name="Steiner Andreas 6206 ED" userId="e6377c33-a923-4f14-8587-531c474c7b48" providerId="ADAL" clId="{6ECD27E6-B224-41CD-B4E0-E297462320DD}" dt="2023-11-23T19:57:29.145" v="6102"/>
          <ac:spMkLst>
            <pc:docMk/>
            <pc:sldMk cId="3439677884" sldId="2147473972"/>
            <ac:spMk id="98" creationId="{E5A5C199-5E88-5883-EFA0-C4051B648B69}"/>
          </ac:spMkLst>
        </pc:spChg>
        <pc:spChg chg="add del mod">
          <ac:chgData name="Steiner Andreas 6206 ED" userId="e6377c33-a923-4f14-8587-531c474c7b48" providerId="ADAL" clId="{6ECD27E6-B224-41CD-B4E0-E297462320DD}" dt="2023-11-23T19:57:40.703" v="6257"/>
          <ac:spMkLst>
            <pc:docMk/>
            <pc:sldMk cId="3439677884" sldId="2147473972"/>
            <ac:spMk id="99" creationId="{858C4B1A-8EDA-D5B6-D451-E800DB9AF670}"/>
          </ac:spMkLst>
        </pc:spChg>
        <pc:spChg chg="add del mod">
          <ac:chgData name="Steiner Andreas 6206 ED" userId="e6377c33-a923-4f14-8587-531c474c7b48" providerId="ADAL" clId="{6ECD27E6-B224-41CD-B4E0-E297462320DD}" dt="2023-11-23T19:57:52.376" v="6412"/>
          <ac:spMkLst>
            <pc:docMk/>
            <pc:sldMk cId="3439677884" sldId="2147473972"/>
            <ac:spMk id="100" creationId="{47239755-E1C7-4838-6ED3-3C76FCBA887B}"/>
          </ac:spMkLst>
        </pc:spChg>
        <pc:spChg chg="add del mod">
          <ac:chgData name="Steiner Andreas 6206 ED" userId="e6377c33-a923-4f14-8587-531c474c7b48" providerId="ADAL" clId="{6ECD27E6-B224-41CD-B4E0-E297462320DD}" dt="2023-11-23T19:58:04.061" v="6567"/>
          <ac:spMkLst>
            <pc:docMk/>
            <pc:sldMk cId="3439677884" sldId="2147473972"/>
            <ac:spMk id="101" creationId="{9757DB94-A7C6-9194-FCFF-E044FC1D4440}"/>
          </ac:spMkLst>
        </pc:spChg>
        <pc:spChg chg="add del mod">
          <ac:chgData name="Steiner Andreas 6206 ED" userId="e6377c33-a923-4f14-8587-531c474c7b48" providerId="ADAL" clId="{6ECD27E6-B224-41CD-B4E0-E297462320DD}" dt="2023-11-23T19:58:15.526" v="6722"/>
          <ac:spMkLst>
            <pc:docMk/>
            <pc:sldMk cId="3439677884" sldId="2147473972"/>
            <ac:spMk id="102" creationId="{A47275B5-829F-EE90-3BAE-4C97A9CF2CFB}"/>
          </ac:spMkLst>
        </pc:spChg>
        <pc:spChg chg="add del mod">
          <ac:chgData name="Steiner Andreas 6206 ED" userId="e6377c33-a923-4f14-8587-531c474c7b48" providerId="ADAL" clId="{6ECD27E6-B224-41CD-B4E0-E297462320DD}" dt="2023-11-23T19:58:27.597" v="6877"/>
          <ac:spMkLst>
            <pc:docMk/>
            <pc:sldMk cId="3439677884" sldId="2147473972"/>
            <ac:spMk id="103" creationId="{8F28A4D9-98D0-1921-2457-3FE6A0F15FDF}"/>
          </ac:spMkLst>
        </pc:spChg>
        <pc:spChg chg="add del mod">
          <ac:chgData name="Steiner Andreas 6206 ED" userId="e6377c33-a923-4f14-8587-531c474c7b48" providerId="ADAL" clId="{6ECD27E6-B224-41CD-B4E0-E297462320DD}" dt="2023-11-23T19:58:39.299" v="7032"/>
          <ac:spMkLst>
            <pc:docMk/>
            <pc:sldMk cId="3439677884" sldId="2147473972"/>
            <ac:spMk id="104" creationId="{A6AD448D-308A-0C87-FB55-1E13DF961591}"/>
          </ac:spMkLst>
        </pc:spChg>
        <pc:spChg chg="add del mod">
          <ac:chgData name="Steiner Andreas 6206 ED" userId="e6377c33-a923-4f14-8587-531c474c7b48" providerId="ADAL" clId="{6ECD27E6-B224-41CD-B4E0-E297462320DD}" dt="2023-11-23T19:58:51.020" v="7187"/>
          <ac:spMkLst>
            <pc:docMk/>
            <pc:sldMk cId="3439677884" sldId="2147473972"/>
            <ac:spMk id="105" creationId="{7D9ABC88-A529-7621-BE04-DC349013598E}"/>
          </ac:spMkLst>
        </pc:spChg>
        <pc:spChg chg="add del mod">
          <ac:chgData name="Steiner Andreas 6206 ED" userId="e6377c33-a923-4f14-8587-531c474c7b48" providerId="ADAL" clId="{6ECD27E6-B224-41CD-B4E0-E297462320DD}" dt="2023-11-23T19:59:02.472" v="7342"/>
          <ac:spMkLst>
            <pc:docMk/>
            <pc:sldMk cId="3439677884" sldId="2147473972"/>
            <ac:spMk id="106" creationId="{0FE9EFBA-755A-B91A-BE21-FC9DF5F8DA3F}"/>
          </ac:spMkLst>
        </pc:spChg>
        <pc:spChg chg="add del mod">
          <ac:chgData name="Steiner Andreas 6206 ED" userId="e6377c33-a923-4f14-8587-531c474c7b48" providerId="ADAL" clId="{6ECD27E6-B224-41CD-B4E0-E297462320DD}" dt="2023-11-24T08:31:41.171" v="7497"/>
          <ac:spMkLst>
            <pc:docMk/>
            <pc:sldMk cId="3439677884" sldId="2147473972"/>
            <ac:spMk id="107" creationId="{9EB7CFF9-FCB2-E9C8-AC6A-0BB88D007DD0}"/>
          </ac:spMkLst>
        </pc:spChg>
        <pc:spChg chg="add del mod">
          <ac:chgData name="Steiner Andreas 6206 ED" userId="e6377c33-a923-4f14-8587-531c474c7b48" providerId="ADAL" clId="{6ECD27E6-B224-41CD-B4E0-E297462320DD}" dt="2023-11-24T08:31:45.026" v="7652"/>
          <ac:spMkLst>
            <pc:docMk/>
            <pc:sldMk cId="3439677884" sldId="2147473972"/>
            <ac:spMk id="108" creationId="{973797D2-F515-A9A7-8540-18E751E9CC16}"/>
          </ac:spMkLst>
        </pc:spChg>
        <pc:spChg chg="add del mod">
          <ac:chgData name="Steiner Andreas 6206 ED" userId="e6377c33-a923-4f14-8587-531c474c7b48" providerId="ADAL" clId="{6ECD27E6-B224-41CD-B4E0-E297462320DD}" dt="2023-11-24T08:31:46.864" v="7807"/>
          <ac:spMkLst>
            <pc:docMk/>
            <pc:sldMk cId="3439677884" sldId="2147473972"/>
            <ac:spMk id="109" creationId="{F4049C37-0468-FFEE-55F5-6096B1881D9C}"/>
          </ac:spMkLst>
        </pc:spChg>
        <pc:spChg chg="add del mod">
          <ac:chgData name="Steiner Andreas 6206 ED" userId="e6377c33-a923-4f14-8587-531c474c7b48" providerId="ADAL" clId="{6ECD27E6-B224-41CD-B4E0-E297462320DD}" dt="2023-11-24T08:31:48.698" v="7962"/>
          <ac:spMkLst>
            <pc:docMk/>
            <pc:sldMk cId="3439677884" sldId="2147473972"/>
            <ac:spMk id="110" creationId="{DF1D0448-D0F3-C809-71D4-44C35DB20143}"/>
          </ac:spMkLst>
        </pc:spChg>
        <pc:spChg chg="add del mod">
          <ac:chgData name="Steiner Andreas 6206 ED" userId="e6377c33-a923-4f14-8587-531c474c7b48" providerId="ADAL" clId="{6ECD27E6-B224-41CD-B4E0-E297462320DD}" dt="2023-11-24T08:31:50.588" v="8117"/>
          <ac:spMkLst>
            <pc:docMk/>
            <pc:sldMk cId="3439677884" sldId="2147473972"/>
            <ac:spMk id="111" creationId="{549DB76A-B5E5-063E-E065-D7F73CEAB4E2}"/>
          </ac:spMkLst>
        </pc:spChg>
        <pc:spChg chg="add del mod">
          <ac:chgData name="Steiner Andreas 6206 ED" userId="e6377c33-a923-4f14-8587-531c474c7b48" providerId="ADAL" clId="{6ECD27E6-B224-41CD-B4E0-E297462320DD}" dt="2023-11-24T08:31:52.367" v="8272"/>
          <ac:spMkLst>
            <pc:docMk/>
            <pc:sldMk cId="3439677884" sldId="2147473972"/>
            <ac:spMk id="112" creationId="{CF2A8F44-1F5F-2FBB-129F-2A0FED60F143}"/>
          </ac:spMkLst>
        </pc:spChg>
        <pc:spChg chg="add del mod">
          <ac:chgData name="Steiner Andreas 6206 ED" userId="e6377c33-a923-4f14-8587-531c474c7b48" providerId="ADAL" clId="{6ECD27E6-B224-41CD-B4E0-E297462320DD}" dt="2023-11-24T08:31:54.197" v="8427"/>
          <ac:spMkLst>
            <pc:docMk/>
            <pc:sldMk cId="3439677884" sldId="2147473972"/>
            <ac:spMk id="113" creationId="{83662B7E-7879-7308-7B8A-69B9B1A73580}"/>
          </ac:spMkLst>
        </pc:spChg>
        <pc:spChg chg="add del mod">
          <ac:chgData name="Steiner Andreas 6206 ED" userId="e6377c33-a923-4f14-8587-531c474c7b48" providerId="ADAL" clId="{6ECD27E6-B224-41CD-B4E0-E297462320DD}" dt="2023-11-24T08:31:56.035" v="8582"/>
          <ac:spMkLst>
            <pc:docMk/>
            <pc:sldMk cId="3439677884" sldId="2147473972"/>
            <ac:spMk id="114" creationId="{C88DC5AC-2029-C8AB-D136-F74123E46936}"/>
          </ac:spMkLst>
        </pc:spChg>
        <pc:spChg chg="add del mod">
          <ac:chgData name="Steiner Andreas 6206 ED" userId="e6377c33-a923-4f14-8587-531c474c7b48" providerId="ADAL" clId="{6ECD27E6-B224-41CD-B4E0-E297462320DD}" dt="2023-11-24T08:31:57.874" v="8737"/>
          <ac:spMkLst>
            <pc:docMk/>
            <pc:sldMk cId="3439677884" sldId="2147473972"/>
            <ac:spMk id="115" creationId="{E2FD23CB-4713-48DC-9BC5-2051C49981B9}"/>
          </ac:spMkLst>
        </pc:spChg>
        <pc:spChg chg="add del mod">
          <ac:chgData name="Steiner Andreas 6206 ED" userId="e6377c33-a923-4f14-8587-531c474c7b48" providerId="ADAL" clId="{6ECD27E6-B224-41CD-B4E0-E297462320DD}" dt="2023-11-24T08:32:00.416" v="8892"/>
          <ac:spMkLst>
            <pc:docMk/>
            <pc:sldMk cId="3439677884" sldId="2147473972"/>
            <ac:spMk id="116" creationId="{059A13B7-6185-061C-6FA6-AC9E00EEA5E3}"/>
          </ac:spMkLst>
        </pc:spChg>
        <pc:spChg chg="add del mod">
          <ac:chgData name="Steiner Andreas 6206 ED" userId="e6377c33-a923-4f14-8587-531c474c7b48" providerId="ADAL" clId="{6ECD27E6-B224-41CD-B4E0-E297462320DD}" dt="2023-11-24T08:32:02.851" v="9047"/>
          <ac:spMkLst>
            <pc:docMk/>
            <pc:sldMk cId="3439677884" sldId="2147473972"/>
            <ac:spMk id="117" creationId="{85B15517-651F-CAF4-CCC3-0718AC4EFFC1}"/>
          </ac:spMkLst>
        </pc:spChg>
        <pc:spChg chg="add del mod">
          <ac:chgData name="Steiner Andreas 6206 ED" userId="e6377c33-a923-4f14-8587-531c474c7b48" providerId="ADAL" clId="{6ECD27E6-B224-41CD-B4E0-E297462320DD}" dt="2023-11-24T08:32:04.951" v="9202"/>
          <ac:spMkLst>
            <pc:docMk/>
            <pc:sldMk cId="3439677884" sldId="2147473972"/>
            <ac:spMk id="118" creationId="{59312733-C054-3E5C-90A1-09C985A98BEF}"/>
          </ac:spMkLst>
        </pc:spChg>
        <pc:spChg chg="add del mod">
          <ac:chgData name="Steiner Andreas 6206 ED" userId="e6377c33-a923-4f14-8587-531c474c7b48" providerId="ADAL" clId="{6ECD27E6-B224-41CD-B4E0-E297462320DD}" dt="2023-11-24T08:32:06.860" v="9357"/>
          <ac:spMkLst>
            <pc:docMk/>
            <pc:sldMk cId="3439677884" sldId="2147473972"/>
            <ac:spMk id="119" creationId="{1B33AD36-BE65-A097-68B4-65F0D7F67B00}"/>
          </ac:spMkLst>
        </pc:spChg>
        <pc:spChg chg="add del mod">
          <ac:chgData name="Steiner Andreas 6206 ED" userId="e6377c33-a923-4f14-8587-531c474c7b48" providerId="ADAL" clId="{6ECD27E6-B224-41CD-B4E0-E297462320DD}" dt="2023-11-24T08:32:09.176" v="9512"/>
          <ac:spMkLst>
            <pc:docMk/>
            <pc:sldMk cId="3439677884" sldId="2147473972"/>
            <ac:spMk id="120" creationId="{961FE3B8-A878-464B-D0CB-3CE2BCC193E6}"/>
          </ac:spMkLst>
        </pc:spChg>
        <pc:spChg chg="add del mod">
          <ac:chgData name="Steiner Andreas 6206 ED" userId="e6377c33-a923-4f14-8587-531c474c7b48" providerId="ADAL" clId="{6ECD27E6-B224-41CD-B4E0-E297462320DD}" dt="2023-11-24T08:32:11.419" v="9667"/>
          <ac:spMkLst>
            <pc:docMk/>
            <pc:sldMk cId="3439677884" sldId="2147473972"/>
            <ac:spMk id="121" creationId="{BA9CCC99-4D79-AD41-4868-9DB6394D8D50}"/>
          </ac:spMkLst>
        </pc:spChg>
        <pc:spChg chg="add del mod">
          <ac:chgData name="Steiner Andreas 6206 ED" userId="e6377c33-a923-4f14-8587-531c474c7b48" providerId="ADAL" clId="{6ECD27E6-B224-41CD-B4E0-E297462320DD}" dt="2023-11-24T08:32:13.714" v="9822"/>
          <ac:spMkLst>
            <pc:docMk/>
            <pc:sldMk cId="3439677884" sldId="2147473972"/>
            <ac:spMk id="122" creationId="{E0ACB923-F0F7-97D0-E80F-6601CF606F73}"/>
          </ac:spMkLst>
        </pc:spChg>
        <pc:spChg chg="add del mod">
          <ac:chgData name="Steiner Andreas 6206 ED" userId="e6377c33-a923-4f14-8587-531c474c7b48" providerId="ADAL" clId="{6ECD27E6-B224-41CD-B4E0-E297462320DD}" dt="2023-11-24T08:32:15.590" v="9977"/>
          <ac:spMkLst>
            <pc:docMk/>
            <pc:sldMk cId="3439677884" sldId="2147473972"/>
            <ac:spMk id="123" creationId="{0259182C-EFB3-A96E-9471-15D0C0112136}"/>
          </ac:spMkLst>
        </pc:spChg>
        <pc:spChg chg="add del mod">
          <ac:chgData name="Steiner Andreas 6206 ED" userId="e6377c33-a923-4f14-8587-531c474c7b48" providerId="ADAL" clId="{6ECD27E6-B224-41CD-B4E0-E297462320DD}" dt="2023-11-24T08:32:17.655" v="10132"/>
          <ac:spMkLst>
            <pc:docMk/>
            <pc:sldMk cId="3439677884" sldId="2147473972"/>
            <ac:spMk id="124" creationId="{89197274-8A83-7B22-7FA3-45E894EB8AF0}"/>
          </ac:spMkLst>
        </pc:spChg>
        <pc:spChg chg="add del mod">
          <ac:chgData name="Steiner Andreas 6206 ED" userId="e6377c33-a923-4f14-8587-531c474c7b48" providerId="ADAL" clId="{6ECD27E6-B224-41CD-B4E0-E297462320DD}" dt="2023-11-24T08:32:19.612" v="10287"/>
          <ac:spMkLst>
            <pc:docMk/>
            <pc:sldMk cId="3439677884" sldId="2147473972"/>
            <ac:spMk id="125" creationId="{08F9BB01-8C5A-0F56-66CE-1FC3E7FFA06C}"/>
          </ac:spMkLst>
        </pc:spChg>
        <pc:spChg chg="add del mod">
          <ac:chgData name="Steiner Andreas 6206 ED" userId="e6377c33-a923-4f14-8587-531c474c7b48" providerId="ADAL" clId="{6ECD27E6-B224-41CD-B4E0-E297462320DD}" dt="2023-11-24T08:32:21.565" v="10442"/>
          <ac:spMkLst>
            <pc:docMk/>
            <pc:sldMk cId="3439677884" sldId="2147473972"/>
            <ac:spMk id="126" creationId="{23F5617E-91FF-E12A-0DEE-386143613D15}"/>
          </ac:spMkLst>
        </pc:spChg>
        <pc:spChg chg="add del mod">
          <ac:chgData name="Steiner Andreas 6206 ED" userId="e6377c33-a923-4f14-8587-531c474c7b48" providerId="ADAL" clId="{6ECD27E6-B224-41CD-B4E0-E297462320DD}" dt="2023-11-24T08:32:23.640" v="10597"/>
          <ac:spMkLst>
            <pc:docMk/>
            <pc:sldMk cId="3439677884" sldId="2147473972"/>
            <ac:spMk id="127" creationId="{2FB0C5D9-1077-156A-5AFC-33BF7EB1646F}"/>
          </ac:spMkLst>
        </pc:spChg>
        <pc:spChg chg="add del mod">
          <ac:chgData name="Steiner Andreas 6206 ED" userId="e6377c33-a923-4f14-8587-531c474c7b48" providerId="ADAL" clId="{6ECD27E6-B224-41CD-B4E0-E297462320DD}" dt="2023-11-24T08:32:25.698" v="10752"/>
          <ac:spMkLst>
            <pc:docMk/>
            <pc:sldMk cId="3439677884" sldId="2147473972"/>
            <ac:spMk id="128" creationId="{42B68A0C-2C1D-2EEE-B55F-59394962164E}"/>
          </ac:spMkLst>
        </pc:spChg>
        <pc:spChg chg="add del mod">
          <ac:chgData name="Steiner Andreas 6206 ED" userId="e6377c33-a923-4f14-8587-531c474c7b48" providerId="ADAL" clId="{6ECD27E6-B224-41CD-B4E0-E297462320DD}" dt="2023-11-24T08:32:27.671" v="10907"/>
          <ac:spMkLst>
            <pc:docMk/>
            <pc:sldMk cId="3439677884" sldId="2147473972"/>
            <ac:spMk id="129" creationId="{0D0448B3-423E-8DD3-70D7-EF09929CC7B1}"/>
          </ac:spMkLst>
        </pc:spChg>
        <pc:spChg chg="add del mod">
          <ac:chgData name="Steiner Andreas 6206 ED" userId="e6377c33-a923-4f14-8587-531c474c7b48" providerId="ADAL" clId="{6ECD27E6-B224-41CD-B4E0-E297462320DD}" dt="2023-11-24T08:32:29.617" v="11062"/>
          <ac:spMkLst>
            <pc:docMk/>
            <pc:sldMk cId="3439677884" sldId="2147473972"/>
            <ac:spMk id="130" creationId="{83564431-5576-668E-F2EF-0DF0894B595A}"/>
          </ac:spMkLst>
        </pc:spChg>
        <pc:spChg chg="add del mod">
          <ac:chgData name="Steiner Andreas 6206 ED" userId="e6377c33-a923-4f14-8587-531c474c7b48" providerId="ADAL" clId="{6ECD27E6-B224-41CD-B4E0-E297462320DD}" dt="2023-11-24T08:32:31.560" v="11217"/>
          <ac:spMkLst>
            <pc:docMk/>
            <pc:sldMk cId="3439677884" sldId="2147473972"/>
            <ac:spMk id="131" creationId="{CDFB0CBF-C5D0-BF5C-4CF6-E546EF218F3D}"/>
          </ac:spMkLst>
        </pc:spChg>
        <pc:spChg chg="add del mod">
          <ac:chgData name="Steiner Andreas 6206 ED" userId="e6377c33-a923-4f14-8587-531c474c7b48" providerId="ADAL" clId="{6ECD27E6-B224-41CD-B4E0-E297462320DD}" dt="2023-11-24T08:32:33.904" v="11372"/>
          <ac:spMkLst>
            <pc:docMk/>
            <pc:sldMk cId="3439677884" sldId="2147473972"/>
            <ac:spMk id="132" creationId="{958A5DDC-6C38-330F-2324-04D083164C57}"/>
          </ac:spMkLst>
        </pc:spChg>
        <pc:spChg chg="add del mod">
          <ac:chgData name="Steiner Andreas 6206 ED" userId="e6377c33-a923-4f14-8587-531c474c7b48" providerId="ADAL" clId="{6ECD27E6-B224-41CD-B4E0-E297462320DD}" dt="2023-11-24T08:32:36.385" v="11527"/>
          <ac:spMkLst>
            <pc:docMk/>
            <pc:sldMk cId="3439677884" sldId="2147473972"/>
            <ac:spMk id="133" creationId="{2631A4B1-2DFF-4A34-F587-33CF8D85935C}"/>
          </ac:spMkLst>
        </pc:spChg>
        <pc:spChg chg="add del mod">
          <ac:chgData name="Steiner Andreas 6206 ED" userId="e6377c33-a923-4f14-8587-531c474c7b48" providerId="ADAL" clId="{6ECD27E6-B224-41CD-B4E0-E297462320DD}" dt="2023-11-24T08:32:38.332" v="11682"/>
          <ac:spMkLst>
            <pc:docMk/>
            <pc:sldMk cId="3439677884" sldId="2147473972"/>
            <ac:spMk id="134" creationId="{A896E33B-2512-04CF-A0DE-9782FEC30517}"/>
          </ac:spMkLst>
        </pc:spChg>
        <pc:spChg chg="add del mod">
          <ac:chgData name="Steiner Andreas 6206 ED" userId="e6377c33-a923-4f14-8587-531c474c7b48" providerId="ADAL" clId="{6ECD27E6-B224-41CD-B4E0-E297462320DD}" dt="2023-11-24T08:32:40.399" v="11837"/>
          <ac:spMkLst>
            <pc:docMk/>
            <pc:sldMk cId="3439677884" sldId="2147473972"/>
            <ac:spMk id="135" creationId="{359CE594-45E1-C33D-7728-D1C2F1B4B0DF}"/>
          </ac:spMkLst>
        </pc:spChg>
        <pc:spChg chg="add del mod">
          <ac:chgData name="Steiner Andreas 6206 ED" userId="e6377c33-a923-4f14-8587-531c474c7b48" providerId="ADAL" clId="{6ECD27E6-B224-41CD-B4E0-E297462320DD}" dt="2023-11-24T08:32:42.608" v="11992"/>
          <ac:spMkLst>
            <pc:docMk/>
            <pc:sldMk cId="3439677884" sldId="2147473972"/>
            <ac:spMk id="136" creationId="{53380233-5F0A-2DE3-94C6-632BBD40B2E4}"/>
          </ac:spMkLst>
        </pc:spChg>
        <pc:spChg chg="add del mod">
          <ac:chgData name="Steiner Andreas 6206 ED" userId="e6377c33-a923-4f14-8587-531c474c7b48" providerId="ADAL" clId="{6ECD27E6-B224-41CD-B4E0-E297462320DD}" dt="2023-11-24T08:32:44.728" v="12147"/>
          <ac:spMkLst>
            <pc:docMk/>
            <pc:sldMk cId="3439677884" sldId="2147473972"/>
            <ac:spMk id="137" creationId="{6393A724-8A54-F5AA-5F32-F26952642606}"/>
          </ac:spMkLst>
        </pc:spChg>
        <pc:spChg chg="add del mod">
          <ac:chgData name="Steiner Andreas 6206 ED" userId="e6377c33-a923-4f14-8587-531c474c7b48" providerId="ADAL" clId="{6ECD27E6-B224-41CD-B4E0-E297462320DD}" dt="2023-11-24T08:32:46.841" v="12302"/>
          <ac:spMkLst>
            <pc:docMk/>
            <pc:sldMk cId="3439677884" sldId="2147473972"/>
            <ac:spMk id="138" creationId="{CB955B36-CE8F-503F-A840-94E550BBC7A4}"/>
          </ac:spMkLst>
        </pc:spChg>
        <pc:spChg chg="add del mod">
          <ac:chgData name="Steiner Andreas 6206 ED" userId="e6377c33-a923-4f14-8587-531c474c7b48" providerId="ADAL" clId="{6ECD27E6-B224-41CD-B4E0-E297462320DD}" dt="2023-11-24T08:32:49" v="12457"/>
          <ac:spMkLst>
            <pc:docMk/>
            <pc:sldMk cId="3439677884" sldId="2147473972"/>
            <ac:spMk id="139" creationId="{4C3E83F6-4B63-D26E-BB27-D8BE4990AFDE}"/>
          </ac:spMkLst>
        </pc:spChg>
        <pc:spChg chg="add del mod">
          <ac:chgData name="Steiner Andreas 6206 ED" userId="e6377c33-a923-4f14-8587-531c474c7b48" providerId="ADAL" clId="{6ECD27E6-B224-41CD-B4E0-E297462320DD}" dt="2023-11-24T08:32:50.960" v="12612"/>
          <ac:spMkLst>
            <pc:docMk/>
            <pc:sldMk cId="3439677884" sldId="2147473972"/>
            <ac:spMk id="140" creationId="{2891A0AA-3982-AF25-D7E1-A3AF95FF149B}"/>
          </ac:spMkLst>
        </pc:spChg>
        <pc:spChg chg="add del mod">
          <ac:chgData name="Steiner Andreas 6206 ED" userId="e6377c33-a923-4f14-8587-531c474c7b48" providerId="ADAL" clId="{6ECD27E6-B224-41CD-B4E0-E297462320DD}" dt="2023-11-24T08:32:52.963" v="12767"/>
          <ac:spMkLst>
            <pc:docMk/>
            <pc:sldMk cId="3439677884" sldId="2147473972"/>
            <ac:spMk id="141" creationId="{1AE40125-F2F8-1470-BAC7-2173626CC255}"/>
          </ac:spMkLst>
        </pc:spChg>
        <pc:spChg chg="add del mod">
          <ac:chgData name="Steiner Andreas 6206 ED" userId="e6377c33-a923-4f14-8587-531c474c7b48" providerId="ADAL" clId="{6ECD27E6-B224-41CD-B4E0-E297462320DD}" dt="2023-11-24T08:32:54.945" v="12922"/>
          <ac:spMkLst>
            <pc:docMk/>
            <pc:sldMk cId="3439677884" sldId="2147473972"/>
            <ac:spMk id="142" creationId="{448FF66F-64FF-BB8A-C6DB-2D72D3D23113}"/>
          </ac:spMkLst>
        </pc:spChg>
        <pc:spChg chg="add del mod">
          <ac:chgData name="Steiner Andreas 6206 ED" userId="e6377c33-a923-4f14-8587-531c474c7b48" providerId="ADAL" clId="{6ECD27E6-B224-41CD-B4E0-E297462320DD}" dt="2023-11-24T08:32:56.888" v="13077"/>
          <ac:spMkLst>
            <pc:docMk/>
            <pc:sldMk cId="3439677884" sldId="2147473972"/>
            <ac:spMk id="143" creationId="{96883946-EE7C-243A-2479-36A4A55DF84E}"/>
          </ac:spMkLst>
        </pc:spChg>
        <pc:spChg chg="add del mod">
          <ac:chgData name="Steiner Andreas 6206 ED" userId="e6377c33-a923-4f14-8587-531c474c7b48" providerId="ADAL" clId="{6ECD27E6-B224-41CD-B4E0-E297462320DD}" dt="2023-11-24T08:32:58.954" v="13232"/>
          <ac:spMkLst>
            <pc:docMk/>
            <pc:sldMk cId="3439677884" sldId="2147473972"/>
            <ac:spMk id="144" creationId="{8FE404E8-8213-2C4D-83FE-0A734543F7F4}"/>
          </ac:spMkLst>
        </pc:spChg>
        <pc:spChg chg="add del mod">
          <ac:chgData name="Steiner Andreas 6206 ED" userId="e6377c33-a923-4f14-8587-531c474c7b48" providerId="ADAL" clId="{6ECD27E6-B224-41CD-B4E0-E297462320DD}" dt="2023-11-24T08:33:01.049" v="13387"/>
          <ac:spMkLst>
            <pc:docMk/>
            <pc:sldMk cId="3439677884" sldId="2147473972"/>
            <ac:spMk id="145" creationId="{B323C8CB-360A-AE9E-74FC-7BC7A2949501}"/>
          </ac:spMkLst>
        </pc:spChg>
        <pc:spChg chg="add del mod">
          <ac:chgData name="Steiner Andreas 6206 ED" userId="e6377c33-a923-4f14-8587-531c474c7b48" providerId="ADAL" clId="{6ECD27E6-B224-41CD-B4E0-E297462320DD}" dt="2023-11-24T08:33:03.352" v="13542"/>
          <ac:spMkLst>
            <pc:docMk/>
            <pc:sldMk cId="3439677884" sldId="2147473972"/>
            <ac:spMk id="146" creationId="{7ED33BCD-EF85-EF88-9C5E-89A31822ED35}"/>
          </ac:spMkLst>
        </pc:spChg>
        <pc:spChg chg="add del mod">
          <ac:chgData name="Steiner Andreas 6206 ED" userId="e6377c33-a923-4f14-8587-531c474c7b48" providerId="ADAL" clId="{6ECD27E6-B224-41CD-B4E0-E297462320DD}" dt="2023-11-24T08:33:05.742" v="13697"/>
          <ac:spMkLst>
            <pc:docMk/>
            <pc:sldMk cId="3439677884" sldId="2147473972"/>
            <ac:spMk id="147" creationId="{8FA2F42F-8111-5A6A-BAD3-948A08AA6AED}"/>
          </ac:spMkLst>
        </pc:spChg>
        <pc:spChg chg="add del mod">
          <ac:chgData name="Steiner Andreas 6206 ED" userId="e6377c33-a923-4f14-8587-531c474c7b48" providerId="ADAL" clId="{6ECD27E6-B224-41CD-B4E0-E297462320DD}" dt="2023-11-24T08:33:07.976" v="13852"/>
          <ac:spMkLst>
            <pc:docMk/>
            <pc:sldMk cId="3439677884" sldId="2147473972"/>
            <ac:spMk id="148" creationId="{520BD41D-A0FD-2964-8B2F-A4D7CFA5A11A}"/>
          </ac:spMkLst>
        </pc:spChg>
        <pc:spChg chg="add del mod">
          <ac:chgData name="Steiner Andreas 6206 ED" userId="e6377c33-a923-4f14-8587-531c474c7b48" providerId="ADAL" clId="{6ECD27E6-B224-41CD-B4E0-E297462320DD}" dt="2023-11-24T08:33:10.430" v="14007"/>
          <ac:spMkLst>
            <pc:docMk/>
            <pc:sldMk cId="3439677884" sldId="2147473972"/>
            <ac:spMk id="149" creationId="{CF9BD8AD-514E-B37C-B0A9-C99FFFD3F71A}"/>
          </ac:spMkLst>
        </pc:spChg>
        <pc:spChg chg="add del mod">
          <ac:chgData name="Steiner Andreas 6206 ED" userId="e6377c33-a923-4f14-8587-531c474c7b48" providerId="ADAL" clId="{6ECD27E6-B224-41CD-B4E0-E297462320DD}" dt="2023-11-24T08:33:12.436" v="14162"/>
          <ac:spMkLst>
            <pc:docMk/>
            <pc:sldMk cId="3439677884" sldId="2147473972"/>
            <ac:spMk id="150" creationId="{6CC27C79-30B9-4384-54A5-611D10515B60}"/>
          </ac:spMkLst>
        </pc:spChg>
        <pc:spChg chg="add del mod">
          <ac:chgData name="Steiner Andreas 6206 ED" userId="e6377c33-a923-4f14-8587-531c474c7b48" providerId="ADAL" clId="{6ECD27E6-B224-41CD-B4E0-E297462320DD}" dt="2023-11-24T08:33:14.343" v="14317"/>
          <ac:spMkLst>
            <pc:docMk/>
            <pc:sldMk cId="3439677884" sldId="2147473972"/>
            <ac:spMk id="151" creationId="{79205E23-CFB9-04D7-60D9-BC1A900E3342}"/>
          </ac:spMkLst>
        </pc:spChg>
        <pc:spChg chg="add del mod">
          <ac:chgData name="Steiner Andreas 6206 ED" userId="e6377c33-a923-4f14-8587-531c474c7b48" providerId="ADAL" clId="{6ECD27E6-B224-41CD-B4E0-E297462320DD}" dt="2023-11-24T08:33:16.331" v="14472"/>
          <ac:spMkLst>
            <pc:docMk/>
            <pc:sldMk cId="3439677884" sldId="2147473972"/>
            <ac:spMk id="152" creationId="{D4DC4E1B-60F6-1BE2-7E9A-E8912A60C404}"/>
          </ac:spMkLst>
        </pc:spChg>
        <pc:spChg chg="add del mod">
          <ac:chgData name="Steiner Andreas 6206 ED" userId="e6377c33-a923-4f14-8587-531c474c7b48" providerId="ADAL" clId="{6ECD27E6-B224-41CD-B4E0-E297462320DD}" dt="2023-11-24T08:33:18.588" v="14627"/>
          <ac:spMkLst>
            <pc:docMk/>
            <pc:sldMk cId="3439677884" sldId="2147473972"/>
            <ac:spMk id="153" creationId="{33533E7A-E9D5-0A31-8426-730F25E40198}"/>
          </ac:spMkLst>
        </pc:spChg>
        <pc:spChg chg="add del mod">
          <ac:chgData name="Steiner Andreas 6206 ED" userId="e6377c33-a923-4f14-8587-531c474c7b48" providerId="ADAL" clId="{6ECD27E6-B224-41CD-B4E0-E297462320DD}" dt="2023-11-24T08:33:20.793" v="14782"/>
          <ac:spMkLst>
            <pc:docMk/>
            <pc:sldMk cId="3439677884" sldId="2147473972"/>
            <ac:spMk id="154" creationId="{F7ACD4E4-B716-5CA4-4270-0812C0867E3B}"/>
          </ac:spMkLst>
        </pc:spChg>
        <pc:spChg chg="add del mod">
          <ac:chgData name="Steiner Andreas 6206 ED" userId="e6377c33-a923-4f14-8587-531c474c7b48" providerId="ADAL" clId="{6ECD27E6-B224-41CD-B4E0-E297462320DD}" dt="2023-11-24T08:33:23.280" v="14937"/>
          <ac:spMkLst>
            <pc:docMk/>
            <pc:sldMk cId="3439677884" sldId="2147473972"/>
            <ac:spMk id="155" creationId="{32B57704-1A8D-3F01-3116-F72B6FAC8278}"/>
          </ac:spMkLst>
        </pc:spChg>
        <pc:spChg chg="add del mod">
          <ac:chgData name="Steiner Andreas 6206 ED" userId="e6377c33-a923-4f14-8587-531c474c7b48" providerId="ADAL" clId="{6ECD27E6-B224-41CD-B4E0-E297462320DD}" dt="2023-11-24T08:33:25.711" v="15092"/>
          <ac:spMkLst>
            <pc:docMk/>
            <pc:sldMk cId="3439677884" sldId="2147473972"/>
            <ac:spMk id="156" creationId="{A6C5BFAF-068B-0448-B5F9-09418CCD804A}"/>
          </ac:spMkLst>
        </pc:spChg>
        <pc:spChg chg="add del mod">
          <ac:chgData name="Steiner Andreas 6206 ED" userId="e6377c33-a923-4f14-8587-531c474c7b48" providerId="ADAL" clId="{6ECD27E6-B224-41CD-B4E0-E297462320DD}" dt="2023-11-24T08:33:27.909" v="15247"/>
          <ac:spMkLst>
            <pc:docMk/>
            <pc:sldMk cId="3439677884" sldId="2147473972"/>
            <ac:spMk id="157" creationId="{01EE718E-F26D-08E7-608E-6C94BB0733C8}"/>
          </ac:spMkLst>
        </pc:spChg>
        <pc:spChg chg="add del mod">
          <ac:chgData name="Steiner Andreas 6206 ED" userId="e6377c33-a923-4f14-8587-531c474c7b48" providerId="ADAL" clId="{6ECD27E6-B224-41CD-B4E0-E297462320DD}" dt="2023-11-24T08:33:30.407" v="15402"/>
          <ac:spMkLst>
            <pc:docMk/>
            <pc:sldMk cId="3439677884" sldId="2147473972"/>
            <ac:spMk id="158" creationId="{50FC7295-5940-72AA-36B2-50C29E5D62EA}"/>
          </ac:spMkLst>
        </pc:spChg>
        <pc:spChg chg="add del mod">
          <ac:chgData name="Steiner Andreas 6206 ED" userId="e6377c33-a923-4f14-8587-531c474c7b48" providerId="ADAL" clId="{6ECD27E6-B224-41CD-B4E0-E297462320DD}" dt="2023-11-24T08:33:33.103" v="15557"/>
          <ac:spMkLst>
            <pc:docMk/>
            <pc:sldMk cId="3439677884" sldId="2147473972"/>
            <ac:spMk id="159" creationId="{1A556DD1-AB37-C79D-7592-CFF82B849B3F}"/>
          </ac:spMkLst>
        </pc:spChg>
        <pc:spChg chg="add del mod">
          <ac:chgData name="Steiner Andreas 6206 ED" userId="e6377c33-a923-4f14-8587-531c474c7b48" providerId="ADAL" clId="{6ECD27E6-B224-41CD-B4E0-E297462320DD}" dt="2023-11-24T08:33:35.574" v="15712"/>
          <ac:spMkLst>
            <pc:docMk/>
            <pc:sldMk cId="3439677884" sldId="2147473972"/>
            <ac:spMk id="160" creationId="{6506425D-CB5F-3488-4D1B-A5F3776C096B}"/>
          </ac:spMkLst>
        </pc:spChg>
        <pc:spChg chg="add del mod">
          <ac:chgData name="Steiner Andreas 6206 ED" userId="e6377c33-a923-4f14-8587-531c474c7b48" providerId="ADAL" clId="{6ECD27E6-B224-41CD-B4E0-E297462320DD}" dt="2023-11-24T08:33:37.741" v="15867"/>
          <ac:spMkLst>
            <pc:docMk/>
            <pc:sldMk cId="3439677884" sldId="2147473972"/>
            <ac:spMk id="161" creationId="{A327BB45-5A4D-682A-2F77-3A024A1B10AB}"/>
          </ac:spMkLst>
        </pc:spChg>
        <pc:spChg chg="add del mod">
          <ac:chgData name="Steiner Andreas 6206 ED" userId="e6377c33-a923-4f14-8587-531c474c7b48" providerId="ADAL" clId="{6ECD27E6-B224-41CD-B4E0-E297462320DD}" dt="2023-11-24T08:33:40.021" v="16022"/>
          <ac:spMkLst>
            <pc:docMk/>
            <pc:sldMk cId="3439677884" sldId="2147473972"/>
            <ac:spMk id="162" creationId="{55C8B09C-CD13-3E8C-35D2-96CD71C6CC99}"/>
          </ac:spMkLst>
        </pc:spChg>
        <pc:spChg chg="add del mod">
          <ac:chgData name="Steiner Andreas 6206 ED" userId="e6377c33-a923-4f14-8587-531c474c7b48" providerId="ADAL" clId="{6ECD27E6-B224-41CD-B4E0-E297462320DD}" dt="2023-11-24T08:33:42.496" v="16177"/>
          <ac:spMkLst>
            <pc:docMk/>
            <pc:sldMk cId="3439677884" sldId="2147473972"/>
            <ac:spMk id="163" creationId="{CB11C830-8C35-5B49-371C-9D9FA85E149B}"/>
          </ac:spMkLst>
        </pc:spChg>
        <pc:spChg chg="add del mod">
          <ac:chgData name="Steiner Andreas 6206 ED" userId="e6377c33-a923-4f14-8587-531c474c7b48" providerId="ADAL" clId="{6ECD27E6-B224-41CD-B4E0-E297462320DD}" dt="2023-11-24T08:33:45.211" v="16332"/>
          <ac:spMkLst>
            <pc:docMk/>
            <pc:sldMk cId="3439677884" sldId="2147473972"/>
            <ac:spMk id="164" creationId="{F7345148-6A62-1E46-AF6F-C3C847875622}"/>
          </ac:spMkLst>
        </pc:spChg>
        <pc:spChg chg="add del mod">
          <ac:chgData name="Steiner Andreas 6206 ED" userId="e6377c33-a923-4f14-8587-531c474c7b48" providerId="ADAL" clId="{6ECD27E6-B224-41CD-B4E0-E297462320DD}" dt="2023-11-24T08:33:47.405" v="16487"/>
          <ac:spMkLst>
            <pc:docMk/>
            <pc:sldMk cId="3439677884" sldId="2147473972"/>
            <ac:spMk id="165" creationId="{815C9A0C-D5B6-16D5-67D2-4A898821925F}"/>
          </ac:spMkLst>
        </pc:spChg>
        <pc:spChg chg="add del mod">
          <ac:chgData name="Steiner Andreas 6206 ED" userId="e6377c33-a923-4f14-8587-531c474c7b48" providerId="ADAL" clId="{6ECD27E6-B224-41CD-B4E0-E297462320DD}" dt="2023-11-24T08:33:50.006" v="16642"/>
          <ac:spMkLst>
            <pc:docMk/>
            <pc:sldMk cId="3439677884" sldId="2147473972"/>
            <ac:spMk id="166" creationId="{F9727A46-0435-9C0D-8530-F30F600CF445}"/>
          </ac:spMkLst>
        </pc:spChg>
        <pc:spChg chg="add del mod">
          <ac:chgData name="Steiner Andreas 6206 ED" userId="e6377c33-a923-4f14-8587-531c474c7b48" providerId="ADAL" clId="{6ECD27E6-B224-41CD-B4E0-E297462320DD}" dt="2023-11-24T08:33:52.563" v="16797"/>
          <ac:spMkLst>
            <pc:docMk/>
            <pc:sldMk cId="3439677884" sldId="2147473972"/>
            <ac:spMk id="167" creationId="{B5C1FC8F-AF38-54E8-629B-682F16478456}"/>
          </ac:spMkLst>
        </pc:spChg>
        <pc:spChg chg="add del mod">
          <ac:chgData name="Steiner Andreas 6206 ED" userId="e6377c33-a923-4f14-8587-531c474c7b48" providerId="ADAL" clId="{6ECD27E6-B224-41CD-B4E0-E297462320DD}" dt="2023-11-24T08:33:54.717" v="16952"/>
          <ac:spMkLst>
            <pc:docMk/>
            <pc:sldMk cId="3439677884" sldId="2147473972"/>
            <ac:spMk id="168" creationId="{D533956F-CBC1-8658-1495-FFA992E2D292}"/>
          </ac:spMkLst>
        </pc:spChg>
        <pc:spChg chg="add del mod">
          <ac:chgData name="Steiner Andreas 6206 ED" userId="e6377c33-a923-4f14-8587-531c474c7b48" providerId="ADAL" clId="{6ECD27E6-B224-41CD-B4E0-E297462320DD}" dt="2023-11-24T08:33:57.037" v="17107"/>
          <ac:spMkLst>
            <pc:docMk/>
            <pc:sldMk cId="3439677884" sldId="2147473972"/>
            <ac:spMk id="169" creationId="{7862E87D-C284-8848-439A-6A2F7D2E4719}"/>
          </ac:spMkLst>
        </pc:spChg>
        <pc:spChg chg="add del mod">
          <ac:chgData name="Steiner Andreas 6206 ED" userId="e6377c33-a923-4f14-8587-531c474c7b48" providerId="ADAL" clId="{6ECD27E6-B224-41CD-B4E0-E297462320DD}" dt="2023-11-24T08:33:59.534" v="17262"/>
          <ac:spMkLst>
            <pc:docMk/>
            <pc:sldMk cId="3439677884" sldId="2147473972"/>
            <ac:spMk id="170" creationId="{BD29F5B2-90FE-BC84-600B-3EA4971F1B94}"/>
          </ac:spMkLst>
        </pc:spChg>
        <pc:spChg chg="add del mod">
          <ac:chgData name="Steiner Andreas 6206 ED" userId="e6377c33-a923-4f14-8587-531c474c7b48" providerId="ADAL" clId="{6ECD27E6-B224-41CD-B4E0-E297462320DD}" dt="2023-11-24T08:34:01.497" v="17417"/>
          <ac:spMkLst>
            <pc:docMk/>
            <pc:sldMk cId="3439677884" sldId="2147473972"/>
            <ac:spMk id="171" creationId="{D1BFCA0B-4CC1-B8AF-05F0-4419D4045510}"/>
          </ac:spMkLst>
        </pc:spChg>
        <pc:spChg chg="add del mod">
          <ac:chgData name="Steiner Andreas 6206 ED" userId="e6377c33-a923-4f14-8587-531c474c7b48" providerId="ADAL" clId="{6ECD27E6-B224-41CD-B4E0-E297462320DD}" dt="2023-11-24T08:34:03.880" v="17572"/>
          <ac:spMkLst>
            <pc:docMk/>
            <pc:sldMk cId="3439677884" sldId="2147473972"/>
            <ac:spMk id="172" creationId="{3643B1D6-5501-336A-883F-54552F85581E}"/>
          </ac:spMkLst>
        </pc:spChg>
        <pc:spChg chg="add del mod">
          <ac:chgData name="Steiner Andreas 6206 ED" userId="e6377c33-a923-4f14-8587-531c474c7b48" providerId="ADAL" clId="{6ECD27E6-B224-41CD-B4E0-E297462320DD}" dt="2023-11-24T08:34:05.821" v="17727"/>
          <ac:spMkLst>
            <pc:docMk/>
            <pc:sldMk cId="3439677884" sldId="2147473972"/>
            <ac:spMk id="173" creationId="{B5468C0D-5E9B-BC6B-A670-D063BC650BA4}"/>
          </ac:spMkLst>
        </pc:spChg>
        <pc:spChg chg="add del mod">
          <ac:chgData name="Steiner Andreas 6206 ED" userId="e6377c33-a923-4f14-8587-531c474c7b48" providerId="ADAL" clId="{6ECD27E6-B224-41CD-B4E0-E297462320DD}" dt="2023-11-24T08:34:07.909" v="17882"/>
          <ac:spMkLst>
            <pc:docMk/>
            <pc:sldMk cId="3439677884" sldId="2147473972"/>
            <ac:spMk id="174" creationId="{556DFCB0-B754-4FC8-7BEA-8FEE51B5F9BC}"/>
          </ac:spMkLst>
        </pc:spChg>
        <pc:spChg chg="add del mod">
          <ac:chgData name="Steiner Andreas 6206 ED" userId="e6377c33-a923-4f14-8587-531c474c7b48" providerId="ADAL" clId="{6ECD27E6-B224-41CD-B4E0-E297462320DD}" dt="2023-11-24T08:34:09.862" v="18037"/>
          <ac:spMkLst>
            <pc:docMk/>
            <pc:sldMk cId="3439677884" sldId="2147473972"/>
            <ac:spMk id="175" creationId="{496C23FA-8F6C-4ECF-7FF0-834B134C67C8}"/>
          </ac:spMkLst>
        </pc:spChg>
        <pc:spChg chg="add del mod">
          <ac:chgData name="Steiner Andreas 6206 ED" userId="e6377c33-a923-4f14-8587-531c474c7b48" providerId="ADAL" clId="{6ECD27E6-B224-41CD-B4E0-E297462320DD}" dt="2023-11-24T08:34:11.916" v="18192"/>
          <ac:spMkLst>
            <pc:docMk/>
            <pc:sldMk cId="3439677884" sldId="2147473972"/>
            <ac:spMk id="176" creationId="{04ACD515-C475-91E6-C839-2D65D316382A}"/>
          </ac:spMkLst>
        </pc:spChg>
        <pc:spChg chg="add del mod">
          <ac:chgData name="Steiner Andreas 6206 ED" userId="e6377c33-a923-4f14-8587-531c474c7b48" providerId="ADAL" clId="{6ECD27E6-B224-41CD-B4E0-E297462320DD}" dt="2023-11-24T08:34:14.182" v="18347"/>
          <ac:spMkLst>
            <pc:docMk/>
            <pc:sldMk cId="3439677884" sldId="2147473972"/>
            <ac:spMk id="177" creationId="{2182FE22-BCCB-ADC6-A3F5-F851E894EC69}"/>
          </ac:spMkLst>
        </pc:spChg>
        <pc:spChg chg="add del mod">
          <ac:chgData name="Steiner Andreas 6206 ED" userId="e6377c33-a923-4f14-8587-531c474c7b48" providerId="ADAL" clId="{6ECD27E6-B224-41CD-B4E0-E297462320DD}" dt="2023-11-24T08:34:16.300" v="18502"/>
          <ac:spMkLst>
            <pc:docMk/>
            <pc:sldMk cId="3439677884" sldId="2147473972"/>
            <ac:spMk id="178" creationId="{3B8D9983-75B5-FE04-EAA0-DCF05D1E71C7}"/>
          </ac:spMkLst>
        </pc:spChg>
        <pc:spChg chg="add del mod">
          <ac:chgData name="Steiner Andreas 6206 ED" userId="e6377c33-a923-4f14-8587-531c474c7b48" providerId="ADAL" clId="{6ECD27E6-B224-41CD-B4E0-E297462320DD}" dt="2023-11-24T08:34:18.430" v="18657"/>
          <ac:spMkLst>
            <pc:docMk/>
            <pc:sldMk cId="3439677884" sldId="2147473972"/>
            <ac:spMk id="179" creationId="{05AD33AA-CD93-E576-913E-0F9E9EEC63E2}"/>
          </ac:spMkLst>
        </pc:spChg>
        <pc:spChg chg="add del mod">
          <ac:chgData name="Steiner Andreas 6206 ED" userId="e6377c33-a923-4f14-8587-531c474c7b48" providerId="ADAL" clId="{6ECD27E6-B224-41CD-B4E0-E297462320DD}" dt="2023-11-24T08:34:20.613" v="18812"/>
          <ac:spMkLst>
            <pc:docMk/>
            <pc:sldMk cId="3439677884" sldId="2147473972"/>
            <ac:spMk id="180" creationId="{1F5D3037-8588-BACE-1485-E66080C5795A}"/>
          </ac:spMkLst>
        </pc:spChg>
        <pc:spChg chg="add del mod">
          <ac:chgData name="Steiner Andreas 6206 ED" userId="e6377c33-a923-4f14-8587-531c474c7b48" providerId="ADAL" clId="{6ECD27E6-B224-41CD-B4E0-E297462320DD}" dt="2023-11-24T08:34:22.564" v="18967"/>
          <ac:spMkLst>
            <pc:docMk/>
            <pc:sldMk cId="3439677884" sldId="2147473972"/>
            <ac:spMk id="181" creationId="{6B63C565-3CDD-3640-D71B-671F92359515}"/>
          </ac:spMkLst>
        </pc:spChg>
        <pc:spChg chg="add del mod">
          <ac:chgData name="Steiner Andreas 6206 ED" userId="e6377c33-a923-4f14-8587-531c474c7b48" providerId="ADAL" clId="{6ECD27E6-B224-41CD-B4E0-E297462320DD}" dt="2023-11-24T08:34:25.809" v="19122"/>
          <ac:spMkLst>
            <pc:docMk/>
            <pc:sldMk cId="3439677884" sldId="2147473972"/>
            <ac:spMk id="182" creationId="{D17F8818-D1F1-943F-6A18-525CDEB09FE9}"/>
          </ac:spMkLst>
        </pc:spChg>
        <pc:spChg chg="add del mod">
          <ac:chgData name="Steiner Andreas 6206 ED" userId="e6377c33-a923-4f14-8587-531c474c7b48" providerId="ADAL" clId="{6ECD27E6-B224-41CD-B4E0-E297462320DD}" dt="2023-11-24T08:34:28.582" v="19277"/>
          <ac:spMkLst>
            <pc:docMk/>
            <pc:sldMk cId="3439677884" sldId="2147473972"/>
            <ac:spMk id="183" creationId="{47F62052-C5E4-3676-71A0-FD7818131311}"/>
          </ac:spMkLst>
        </pc:spChg>
        <pc:spChg chg="add del mod">
          <ac:chgData name="Steiner Andreas 6206 ED" userId="e6377c33-a923-4f14-8587-531c474c7b48" providerId="ADAL" clId="{6ECD27E6-B224-41CD-B4E0-E297462320DD}" dt="2023-11-24T08:34:31.235" v="19432"/>
          <ac:spMkLst>
            <pc:docMk/>
            <pc:sldMk cId="3439677884" sldId="2147473972"/>
            <ac:spMk id="184" creationId="{32838936-A0BA-0A2A-97D7-DEFA40C640BF}"/>
          </ac:spMkLst>
        </pc:spChg>
        <pc:spChg chg="add del mod">
          <ac:chgData name="Steiner Andreas 6206 ED" userId="e6377c33-a923-4f14-8587-531c474c7b48" providerId="ADAL" clId="{6ECD27E6-B224-41CD-B4E0-E297462320DD}" dt="2023-11-24T08:34:33.432" v="19587"/>
          <ac:spMkLst>
            <pc:docMk/>
            <pc:sldMk cId="3439677884" sldId="2147473972"/>
            <ac:spMk id="185" creationId="{4484F7AD-12A7-65C6-3E63-7B5476AAFAB6}"/>
          </ac:spMkLst>
        </pc:spChg>
        <pc:spChg chg="add del mod">
          <ac:chgData name="Steiner Andreas 6206 ED" userId="e6377c33-a923-4f14-8587-531c474c7b48" providerId="ADAL" clId="{6ECD27E6-B224-41CD-B4E0-E297462320DD}" dt="2023-11-24T08:34:35.647" v="19742"/>
          <ac:spMkLst>
            <pc:docMk/>
            <pc:sldMk cId="3439677884" sldId="2147473972"/>
            <ac:spMk id="186" creationId="{1E01ACFC-DFA8-2431-B025-A62F8F1FD90B}"/>
          </ac:spMkLst>
        </pc:spChg>
        <pc:spChg chg="add del mod">
          <ac:chgData name="Steiner Andreas 6206 ED" userId="e6377c33-a923-4f14-8587-531c474c7b48" providerId="ADAL" clId="{6ECD27E6-B224-41CD-B4E0-E297462320DD}" dt="2023-11-24T08:34:37.937" v="19897"/>
          <ac:spMkLst>
            <pc:docMk/>
            <pc:sldMk cId="3439677884" sldId="2147473972"/>
            <ac:spMk id="187" creationId="{A023E619-DF1F-6762-7098-74DA61CF0ABF}"/>
          </ac:spMkLst>
        </pc:spChg>
        <pc:spChg chg="add del mod">
          <ac:chgData name="Steiner Andreas 6206 ED" userId="e6377c33-a923-4f14-8587-531c474c7b48" providerId="ADAL" clId="{6ECD27E6-B224-41CD-B4E0-E297462320DD}" dt="2023-11-24T08:34:40.223" v="20052"/>
          <ac:spMkLst>
            <pc:docMk/>
            <pc:sldMk cId="3439677884" sldId="2147473972"/>
            <ac:spMk id="188" creationId="{197DE8A6-C415-FD78-D2BC-EFB34CE21DED}"/>
          </ac:spMkLst>
        </pc:spChg>
        <pc:spChg chg="add del mod">
          <ac:chgData name="Steiner Andreas 6206 ED" userId="e6377c33-a923-4f14-8587-531c474c7b48" providerId="ADAL" clId="{6ECD27E6-B224-41CD-B4E0-E297462320DD}" dt="2023-11-24T08:34:42.887" v="20207"/>
          <ac:spMkLst>
            <pc:docMk/>
            <pc:sldMk cId="3439677884" sldId="2147473972"/>
            <ac:spMk id="189" creationId="{32D38B61-401C-673B-AC86-5F47556BD0A4}"/>
          </ac:spMkLst>
        </pc:spChg>
        <pc:spChg chg="add del mod">
          <ac:chgData name="Steiner Andreas 6206 ED" userId="e6377c33-a923-4f14-8587-531c474c7b48" providerId="ADAL" clId="{6ECD27E6-B224-41CD-B4E0-E297462320DD}" dt="2023-11-24T08:34:45.312" v="20362"/>
          <ac:spMkLst>
            <pc:docMk/>
            <pc:sldMk cId="3439677884" sldId="2147473972"/>
            <ac:spMk id="190" creationId="{0EE9BBCC-0E8B-677C-9AB9-781E084A6CF4}"/>
          </ac:spMkLst>
        </pc:spChg>
        <pc:spChg chg="add del mod">
          <ac:chgData name="Steiner Andreas 6206 ED" userId="e6377c33-a923-4f14-8587-531c474c7b48" providerId="ADAL" clId="{6ECD27E6-B224-41CD-B4E0-E297462320DD}" dt="2023-11-24T08:34:47.559" v="20517"/>
          <ac:spMkLst>
            <pc:docMk/>
            <pc:sldMk cId="3439677884" sldId="2147473972"/>
            <ac:spMk id="191" creationId="{C850BFA5-9D8B-E866-C415-C2F47046BE48}"/>
          </ac:spMkLst>
        </pc:spChg>
        <pc:spChg chg="add del mod">
          <ac:chgData name="Steiner Andreas 6206 ED" userId="e6377c33-a923-4f14-8587-531c474c7b48" providerId="ADAL" clId="{6ECD27E6-B224-41CD-B4E0-E297462320DD}" dt="2023-11-24T08:34:49.851" v="20672"/>
          <ac:spMkLst>
            <pc:docMk/>
            <pc:sldMk cId="3439677884" sldId="2147473972"/>
            <ac:spMk id="192" creationId="{C50417E5-153C-136D-BB8E-691DE8206FB8}"/>
          </ac:spMkLst>
        </pc:spChg>
        <pc:spChg chg="add del mod">
          <ac:chgData name="Steiner Andreas 6206 ED" userId="e6377c33-a923-4f14-8587-531c474c7b48" providerId="ADAL" clId="{6ECD27E6-B224-41CD-B4E0-E297462320DD}" dt="2023-11-24T08:34:52.471" v="20827"/>
          <ac:spMkLst>
            <pc:docMk/>
            <pc:sldMk cId="3439677884" sldId="2147473972"/>
            <ac:spMk id="193" creationId="{7622F6B8-55B5-AF29-C541-AB6F480446AB}"/>
          </ac:spMkLst>
        </pc:spChg>
        <pc:spChg chg="add del mod">
          <ac:chgData name="Steiner Andreas 6206 ED" userId="e6377c33-a923-4f14-8587-531c474c7b48" providerId="ADAL" clId="{6ECD27E6-B224-41CD-B4E0-E297462320DD}" dt="2023-11-24T08:34:54.997" v="20982"/>
          <ac:spMkLst>
            <pc:docMk/>
            <pc:sldMk cId="3439677884" sldId="2147473972"/>
            <ac:spMk id="194" creationId="{6C8322A9-38DA-EA8A-98CA-2131C5810456}"/>
          </ac:spMkLst>
        </pc:spChg>
        <pc:spChg chg="add del mod">
          <ac:chgData name="Steiner Andreas 6206 ED" userId="e6377c33-a923-4f14-8587-531c474c7b48" providerId="ADAL" clId="{6ECD27E6-B224-41CD-B4E0-E297462320DD}" dt="2023-11-24T08:34:57.313" v="21137"/>
          <ac:spMkLst>
            <pc:docMk/>
            <pc:sldMk cId="3439677884" sldId="2147473972"/>
            <ac:spMk id="195" creationId="{3BD3C027-7490-3EBA-B66F-FA310BA4B218}"/>
          </ac:spMkLst>
        </pc:spChg>
        <pc:spChg chg="add del mod">
          <ac:chgData name="Steiner Andreas 6206 ED" userId="e6377c33-a923-4f14-8587-531c474c7b48" providerId="ADAL" clId="{6ECD27E6-B224-41CD-B4E0-E297462320DD}" dt="2023-11-24T08:34:59.795" v="21292"/>
          <ac:spMkLst>
            <pc:docMk/>
            <pc:sldMk cId="3439677884" sldId="2147473972"/>
            <ac:spMk id="196" creationId="{7C37CC20-C732-AFCD-D033-838ABBF66BE7}"/>
          </ac:spMkLst>
        </pc:spChg>
        <pc:spChg chg="add del mod">
          <ac:chgData name="Steiner Andreas 6206 ED" userId="e6377c33-a923-4f14-8587-531c474c7b48" providerId="ADAL" clId="{6ECD27E6-B224-41CD-B4E0-E297462320DD}" dt="2023-11-24T08:35:02.400" v="21447"/>
          <ac:spMkLst>
            <pc:docMk/>
            <pc:sldMk cId="3439677884" sldId="2147473972"/>
            <ac:spMk id="197" creationId="{A73511DE-4DDF-7B21-FAD5-F4AC6BF00090}"/>
          </ac:spMkLst>
        </pc:spChg>
        <pc:spChg chg="add del mod">
          <ac:chgData name="Steiner Andreas 6206 ED" userId="e6377c33-a923-4f14-8587-531c474c7b48" providerId="ADAL" clId="{6ECD27E6-B224-41CD-B4E0-E297462320DD}" dt="2023-11-24T08:35:04.857" v="21602"/>
          <ac:spMkLst>
            <pc:docMk/>
            <pc:sldMk cId="3439677884" sldId="2147473972"/>
            <ac:spMk id="198" creationId="{2105C9BC-9615-AC61-A768-5E287E8340B5}"/>
          </ac:spMkLst>
        </pc:spChg>
        <pc:spChg chg="add del mod">
          <ac:chgData name="Steiner Andreas 6206 ED" userId="e6377c33-a923-4f14-8587-531c474c7b48" providerId="ADAL" clId="{6ECD27E6-B224-41CD-B4E0-E297462320DD}" dt="2023-11-24T08:35:07.399" v="21757"/>
          <ac:spMkLst>
            <pc:docMk/>
            <pc:sldMk cId="3439677884" sldId="2147473972"/>
            <ac:spMk id="199" creationId="{BFFA226D-1617-CE72-94BA-3AA1A8166071}"/>
          </ac:spMkLst>
        </pc:spChg>
        <pc:spChg chg="add del mod">
          <ac:chgData name="Steiner Andreas 6206 ED" userId="e6377c33-a923-4f14-8587-531c474c7b48" providerId="ADAL" clId="{6ECD27E6-B224-41CD-B4E0-E297462320DD}" dt="2023-11-24T08:35:10.022" v="21912"/>
          <ac:spMkLst>
            <pc:docMk/>
            <pc:sldMk cId="3439677884" sldId="2147473972"/>
            <ac:spMk id="200" creationId="{024CE81B-0836-D2C0-EAB3-77B9D6761A0F}"/>
          </ac:spMkLst>
        </pc:spChg>
        <pc:spChg chg="add del mod">
          <ac:chgData name="Steiner Andreas 6206 ED" userId="e6377c33-a923-4f14-8587-531c474c7b48" providerId="ADAL" clId="{6ECD27E6-B224-41CD-B4E0-E297462320DD}" dt="2023-11-24T08:35:12.457" v="22067"/>
          <ac:spMkLst>
            <pc:docMk/>
            <pc:sldMk cId="3439677884" sldId="2147473972"/>
            <ac:spMk id="201" creationId="{7F3885CE-8957-B5E8-D381-18E0A7A6F876}"/>
          </ac:spMkLst>
        </pc:spChg>
        <pc:spChg chg="add del mod">
          <ac:chgData name="Steiner Andreas 6206 ED" userId="e6377c33-a923-4f14-8587-531c474c7b48" providerId="ADAL" clId="{6ECD27E6-B224-41CD-B4E0-E297462320DD}" dt="2023-11-24T08:35:14.587" v="22222"/>
          <ac:spMkLst>
            <pc:docMk/>
            <pc:sldMk cId="3439677884" sldId="2147473972"/>
            <ac:spMk id="202" creationId="{405488E7-0D19-54E1-382B-F22B9F759BA9}"/>
          </ac:spMkLst>
        </pc:spChg>
        <pc:spChg chg="add del mod">
          <ac:chgData name="Steiner Andreas 6206 ED" userId="e6377c33-a923-4f14-8587-531c474c7b48" providerId="ADAL" clId="{6ECD27E6-B224-41CD-B4E0-E297462320DD}" dt="2023-11-24T08:35:16.894" v="22377"/>
          <ac:spMkLst>
            <pc:docMk/>
            <pc:sldMk cId="3439677884" sldId="2147473972"/>
            <ac:spMk id="203" creationId="{DD75D898-745F-2C6D-5B48-F8737F37CCD7}"/>
          </ac:spMkLst>
        </pc:spChg>
        <pc:spChg chg="add del mod">
          <ac:chgData name="Steiner Andreas 6206 ED" userId="e6377c33-a923-4f14-8587-531c474c7b48" providerId="ADAL" clId="{6ECD27E6-B224-41CD-B4E0-E297462320DD}" dt="2023-11-24T08:35:19.336" v="22532"/>
          <ac:spMkLst>
            <pc:docMk/>
            <pc:sldMk cId="3439677884" sldId="2147473972"/>
            <ac:spMk id="204" creationId="{D95EBBED-AE92-F4E0-D6E7-6B22AEC30E41}"/>
          </ac:spMkLst>
        </pc:spChg>
        <pc:spChg chg="add del mod">
          <ac:chgData name="Steiner Andreas 6206 ED" userId="e6377c33-a923-4f14-8587-531c474c7b48" providerId="ADAL" clId="{6ECD27E6-B224-41CD-B4E0-E297462320DD}" dt="2023-11-24T08:35:21.798" v="22687"/>
          <ac:spMkLst>
            <pc:docMk/>
            <pc:sldMk cId="3439677884" sldId="2147473972"/>
            <ac:spMk id="205" creationId="{86783776-3F78-168B-F5A5-31D7587AA9D4}"/>
          </ac:spMkLst>
        </pc:spChg>
        <pc:spChg chg="add del mod">
          <ac:chgData name="Steiner Andreas 6206 ED" userId="e6377c33-a923-4f14-8587-531c474c7b48" providerId="ADAL" clId="{6ECD27E6-B224-41CD-B4E0-E297462320DD}" dt="2023-11-24T08:35:24.124" v="22842"/>
          <ac:spMkLst>
            <pc:docMk/>
            <pc:sldMk cId="3439677884" sldId="2147473972"/>
            <ac:spMk id="206" creationId="{449DD635-73A4-61CB-BAA5-968222B7678B}"/>
          </ac:spMkLst>
        </pc:spChg>
        <pc:spChg chg="add del mod">
          <ac:chgData name="Steiner Andreas 6206 ED" userId="e6377c33-a923-4f14-8587-531c474c7b48" providerId="ADAL" clId="{6ECD27E6-B224-41CD-B4E0-E297462320DD}" dt="2023-11-24T08:35:26.745" v="22997"/>
          <ac:spMkLst>
            <pc:docMk/>
            <pc:sldMk cId="3439677884" sldId="2147473972"/>
            <ac:spMk id="207" creationId="{0E715F73-33B8-1520-9B27-0CDA64B319C0}"/>
          </ac:spMkLst>
        </pc:spChg>
        <pc:spChg chg="add del mod">
          <ac:chgData name="Steiner Andreas 6206 ED" userId="e6377c33-a923-4f14-8587-531c474c7b48" providerId="ADAL" clId="{6ECD27E6-B224-41CD-B4E0-E297462320DD}" dt="2023-11-24T08:35:29.327" v="23152"/>
          <ac:spMkLst>
            <pc:docMk/>
            <pc:sldMk cId="3439677884" sldId="2147473972"/>
            <ac:spMk id="208" creationId="{6E90133B-51EB-6C5D-6889-F94AF09824A0}"/>
          </ac:spMkLst>
        </pc:spChg>
        <pc:spChg chg="add del mod">
          <ac:chgData name="Steiner Andreas 6206 ED" userId="e6377c33-a923-4f14-8587-531c474c7b48" providerId="ADAL" clId="{6ECD27E6-B224-41CD-B4E0-E297462320DD}" dt="2023-11-24T08:35:31.807" v="23307"/>
          <ac:spMkLst>
            <pc:docMk/>
            <pc:sldMk cId="3439677884" sldId="2147473972"/>
            <ac:spMk id="209" creationId="{25746730-643B-2C0C-2085-56C7311BEC4A}"/>
          </ac:spMkLst>
        </pc:spChg>
        <pc:spChg chg="add del mod">
          <ac:chgData name="Steiner Andreas 6206 ED" userId="e6377c33-a923-4f14-8587-531c474c7b48" providerId="ADAL" clId="{6ECD27E6-B224-41CD-B4E0-E297462320DD}" dt="2023-11-24T08:35:34.227" v="23462"/>
          <ac:spMkLst>
            <pc:docMk/>
            <pc:sldMk cId="3439677884" sldId="2147473972"/>
            <ac:spMk id="210" creationId="{81EE944A-BA8C-34E3-DD6C-4BA2FF7276DA}"/>
          </ac:spMkLst>
        </pc:spChg>
        <pc:spChg chg="add del mod">
          <ac:chgData name="Steiner Andreas 6206 ED" userId="e6377c33-a923-4f14-8587-531c474c7b48" providerId="ADAL" clId="{6ECD27E6-B224-41CD-B4E0-E297462320DD}" dt="2023-11-24T08:35:36.544" v="23617"/>
          <ac:spMkLst>
            <pc:docMk/>
            <pc:sldMk cId="3439677884" sldId="2147473972"/>
            <ac:spMk id="211" creationId="{4C88D95E-3691-F8B9-211E-E6B52D7FDA0C}"/>
          </ac:spMkLst>
        </pc:spChg>
        <pc:spChg chg="add del mod">
          <ac:chgData name="Steiner Andreas 6206 ED" userId="e6377c33-a923-4f14-8587-531c474c7b48" providerId="ADAL" clId="{6ECD27E6-B224-41CD-B4E0-E297462320DD}" dt="2023-11-24T08:35:38.902" v="23772"/>
          <ac:spMkLst>
            <pc:docMk/>
            <pc:sldMk cId="3439677884" sldId="2147473972"/>
            <ac:spMk id="212" creationId="{7B2000E6-87CE-FDBA-2C85-B21F17933B1B}"/>
          </ac:spMkLst>
        </pc:spChg>
        <pc:spChg chg="add del mod">
          <ac:chgData name="Steiner Andreas 6206 ED" userId="e6377c33-a923-4f14-8587-531c474c7b48" providerId="ADAL" clId="{6ECD27E6-B224-41CD-B4E0-E297462320DD}" dt="2023-11-24T08:35:41.623" v="23927"/>
          <ac:spMkLst>
            <pc:docMk/>
            <pc:sldMk cId="3439677884" sldId="2147473972"/>
            <ac:spMk id="213" creationId="{3CA380CF-A597-A7C7-3B19-6034F2EAEC6D}"/>
          </ac:spMkLst>
        </pc:spChg>
        <pc:spChg chg="add del mod">
          <ac:chgData name="Steiner Andreas 6206 ED" userId="e6377c33-a923-4f14-8587-531c474c7b48" providerId="ADAL" clId="{6ECD27E6-B224-41CD-B4E0-E297462320DD}" dt="2023-11-24T08:35:44.028" v="24082"/>
          <ac:spMkLst>
            <pc:docMk/>
            <pc:sldMk cId="3439677884" sldId="2147473972"/>
            <ac:spMk id="214" creationId="{FEDA9432-3123-8E45-6BE4-F475D3C0DF28}"/>
          </ac:spMkLst>
        </pc:spChg>
        <pc:spChg chg="add del mod">
          <ac:chgData name="Steiner Andreas 6206 ED" userId="e6377c33-a923-4f14-8587-531c474c7b48" providerId="ADAL" clId="{6ECD27E6-B224-41CD-B4E0-E297462320DD}" dt="2023-11-24T08:35:46.393" v="24237"/>
          <ac:spMkLst>
            <pc:docMk/>
            <pc:sldMk cId="3439677884" sldId="2147473972"/>
            <ac:spMk id="215" creationId="{1DC03DD2-57C3-E762-850B-C784D60C1194}"/>
          </ac:spMkLst>
        </pc:spChg>
        <pc:spChg chg="add del mod">
          <ac:chgData name="Steiner Andreas 6206 ED" userId="e6377c33-a923-4f14-8587-531c474c7b48" providerId="ADAL" clId="{6ECD27E6-B224-41CD-B4E0-E297462320DD}" dt="2023-11-24T08:35:48.585" v="24392"/>
          <ac:spMkLst>
            <pc:docMk/>
            <pc:sldMk cId="3439677884" sldId="2147473972"/>
            <ac:spMk id="216" creationId="{FE9CCE94-0FE4-E806-89E8-CC569B3B8A98}"/>
          </ac:spMkLst>
        </pc:spChg>
        <pc:spChg chg="add del mod">
          <ac:chgData name="Steiner Andreas 6206 ED" userId="e6377c33-a923-4f14-8587-531c474c7b48" providerId="ADAL" clId="{6ECD27E6-B224-41CD-B4E0-E297462320DD}" dt="2023-11-24T08:35:50.896" v="24547"/>
          <ac:spMkLst>
            <pc:docMk/>
            <pc:sldMk cId="3439677884" sldId="2147473972"/>
            <ac:spMk id="217" creationId="{D94F0773-1F52-EB2F-2D23-DF138A4171AA}"/>
          </ac:spMkLst>
        </pc:spChg>
        <pc:spChg chg="add del mod">
          <ac:chgData name="Steiner Andreas 6206 ED" userId="e6377c33-a923-4f14-8587-531c474c7b48" providerId="ADAL" clId="{6ECD27E6-B224-41CD-B4E0-E297462320DD}" dt="2023-11-24T08:35:53.755" v="24702"/>
          <ac:spMkLst>
            <pc:docMk/>
            <pc:sldMk cId="3439677884" sldId="2147473972"/>
            <ac:spMk id="218" creationId="{BFE4E3A5-755E-19DA-6EC6-6BB077B73F99}"/>
          </ac:spMkLst>
        </pc:spChg>
        <pc:spChg chg="add del mod">
          <ac:chgData name="Steiner Andreas 6206 ED" userId="e6377c33-a923-4f14-8587-531c474c7b48" providerId="ADAL" clId="{6ECD27E6-B224-41CD-B4E0-E297462320DD}" dt="2023-11-24T08:35:56.322" v="24857"/>
          <ac:spMkLst>
            <pc:docMk/>
            <pc:sldMk cId="3439677884" sldId="2147473972"/>
            <ac:spMk id="219" creationId="{B756C5C4-D47C-F30E-45D9-0E5EE3E95B4B}"/>
          </ac:spMkLst>
        </pc:spChg>
        <pc:spChg chg="add del mod">
          <ac:chgData name="Steiner Andreas 6206 ED" userId="e6377c33-a923-4f14-8587-531c474c7b48" providerId="ADAL" clId="{6ECD27E6-B224-41CD-B4E0-E297462320DD}" dt="2023-11-24T08:35:58.799" v="25012"/>
          <ac:spMkLst>
            <pc:docMk/>
            <pc:sldMk cId="3439677884" sldId="2147473972"/>
            <ac:spMk id="220" creationId="{DC1A6A80-2711-1B64-7048-0AB7901948EC}"/>
          </ac:spMkLst>
        </pc:spChg>
        <pc:spChg chg="add del mod">
          <ac:chgData name="Steiner Andreas 6206 ED" userId="e6377c33-a923-4f14-8587-531c474c7b48" providerId="ADAL" clId="{6ECD27E6-B224-41CD-B4E0-E297462320DD}" dt="2023-11-24T08:36:01.248" v="25167"/>
          <ac:spMkLst>
            <pc:docMk/>
            <pc:sldMk cId="3439677884" sldId="2147473972"/>
            <ac:spMk id="221" creationId="{C20C7BBD-BE01-A69B-F6BE-AF26DEAEB9C4}"/>
          </ac:spMkLst>
        </pc:spChg>
        <pc:spChg chg="add del mod">
          <ac:chgData name="Steiner Andreas 6206 ED" userId="e6377c33-a923-4f14-8587-531c474c7b48" providerId="ADAL" clId="{6ECD27E6-B224-41CD-B4E0-E297462320DD}" dt="2023-11-24T08:36:03.744" v="25322"/>
          <ac:spMkLst>
            <pc:docMk/>
            <pc:sldMk cId="3439677884" sldId="2147473972"/>
            <ac:spMk id="222" creationId="{3D36B429-4481-88A9-A488-80640B5F4636}"/>
          </ac:spMkLst>
        </pc:spChg>
        <pc:spChg chg="add del mod">
          <ac:chgData name="Steiner Andreas 6206 ED" userId="e6377c33-a923-4f14-8587-531c474c7b48" providerId="ADAL" clId="{6ECD27E6-B224-41CD-B4E0-E297462320DD}" dt="2023-11-24T08:36:06.409" v="25477"/>
          <ac:spMkLst>
            <pc:docMk/>
            <pc:sldMk cId="3439677884" sldId="2147473972"/>
            <ac:spMk id="223" creationId="{20F38373-0D6C-BE3E-9EB5-3B753684006E}"/>
          </ac:spMkLst>
        </pc:spChg>
        <pc:spChg chg="add del mod">
          <ac:chgData name="Steiner Andreas 6206 ED" userId="e6377c33-a923-4f14-8587-531c474c7b48" providerId="ADAL" clId="{6ECD27E6-B224-41CD-B4E0-E297462320DD}" dt="2023-11-24T08:36:08.944" v="25632"/>
          <ac:spMkLst>
            <pc:docMk/>
            <pc:sldMk cId="3439677884" sldId="2147473972"/>
            <ac:spMk id="224" creationId="{5C265DA3-EBF3-831E-5122-97A0474241AA}"/>
          </ac:spMkLst>
        </pc:spChg>
        <pc:spChg chg="add del mod">
          <ac:chgData name="Steiner Andreas 6206 ED" userId="e6377c33-a923-4f14-8587-531c474c7b48" providerId="ADAL" clId="{6ECD27E6-B224-41CD-B4E0-E297462320DD}" dt="2023-11-24T08:36:11.394" v="25787"/>
          <ac:spMkLst>
            <pc:docMk/>
            <pc:sldMk cId="3439677884" sldId="2147473972"/>
            <ac:spMk id="225" creationId="{2EC68BA1-6B3A-0B61-3D7D-7F9BAC4C728D}"/>
          </ac:spMkLst>
        </pc:spChg>
        <pc:spChg chg="add del mod">
          <ac:chgData name="Steiner Andreas 6206 ED" userId="e6377c33-a923-4f14-8587-531c474c7b48" providerId="ADAL" clId="{6ECD27E6-B224-41CD-B4E0-E297462320DD}" dt="2023-11-24T08:36:13.845" v="25942"/>
          <ac:spMkLst>
            <pc:docMk/>
            <pc:sldMk cId="3439677884" sldId="2147473972"/>
            <ac:spMk id="226" creationId="{A14C98CA-BF1F-C5C0-08AA-0D2B94C4F4D0}"/>
          </ac:spMkLst>
        </pc:spChg>
        <pc:spChg chg="add del mod">
          <ac:chgData name="Steiner Andreas 6206 ED" userId="e6377c33-a923-4f14-8587-531c474c7b48" providerId="ADAL" clId="{6ECD27E6-B224-41CD-B4E0-E297462320DD}" dt="2023-11-24T08:36:16.483" v="26097"/>
          <ac:spMkLst>
            <pc:docMk/>
            <pc:sldMk cId="3439677884" sldId="2147473972"/>
            <ac:spMk id="227" creationId="{A2AF1C79-508E-18B7-5529-FD010B804CAA}"/>
          </ac:spMkLst>
        </pc:spChg>
        <pc:spChg chg="add del mod">
          <ac:chgData name="Steiner Andreas 6206 ED" userId="e6377c33-a923-4f14-8587-531c474c7b48" providerId="ADAL" clId="{6ECD27E6-B224-41CD-B4E0-E297462320DD}" dt="2023-11-24T08:36:19.060" v="26252"/>
          <ac:spMkLst>
            <pc:docMk/>
            <pc:sldMk cId="3439677884" sldId="2147473972"/>
            <ac:spMk id="228" creationId="{20FF6ECD-3138-1D3A-2CEF-9B439A0B4F7C}"/>
          </ac:spMkLst>
        </pc:spChg>
        <pc:spChg chg="add del mod">
          <ac:chgData name="Steiner Andreas 6206 ED" userId="e6377c33-a923-4f14-8587-531c474c7b48" providerId="ADAL" clId="{6ECD27E6-B224-41CD-B4E0-E297462320DD}" dt="2023-11-24T08:36:21.379" v="26407"/>
          <ac:spMkLst>
            <pc:docMk/>
            <pc:sldMk cId="3439677884" sldId="2147473972"/>
            <ac:spMk id="229" creationId="{F5858C32-E499-2E30-6B4F-6F6B384D978C}"/>
          </ac:spMkLst>
        </pc:spChg>
        <pc:spChg chg="add del mod">
          <ac:chgData name="Steiner Andreas 6206 ED" userId="e6377c33-a923-4f14-8587-531c474c7b48" providerId="ADAL" clId="{6ECD27E6-B224-41CD-B4E0-E297462320DD}" dt="2023-11-24T08:36:23.808" v="26562"/>
          <ac:spMkLst>
            <pc:docMk/>
            <pc:sldMk cId="3439677884" sldId="2147473972"/>
            <ac:spMk id="230" creationId="{F05D05F4-17FA-4A84-0A4E-44E58BA08C75}"/>
          </ac:spMkLst>
        </pc:spChg>
        <pc:spChg chg="add del mod">
          <ac:chgData name="Steiner Andreas 6206 ED" userId="e6377c33-a923-4f14-8587-531c474c7b48" providerId="ADAL" clId="{6ECD27E6-B224-41CD-B4E0-E297462320DD}" dt="2023-11-24T08:36:26.365" v="26717"/>
          <ac:spMkLst>
            <pc:docMk/>
            <pc:sldMk cId="3439677884" sldId="2147473972"/>
            <ac:spMk id="231" creationId="{BAA5F2C1-7EA8-0392-AFEB-A4B17834AC1E}"/>
          </ac:spMkLst>
        </pc:spChg>
        <pc:spChg chg="add del mod">
          <ac:chgData name="Steiner Andreas 6206 ED" userId="e6377c33-a923-4f14-8587-531c474c7b48" providerId="ADAL" clId="{6ECD27E6-B224-41CD-B4E0-E297462320DD}" dt="2023-11-24T08:36:29.131" v="26872"/>
          <ac:spMkLst>
            <pc:docMk/>
            <pc:sldMk cId="3439677884" sldId="2147473972"/>
            <ac:spMk id="232" creationId="{A705F59C-03F5-3B2A-7558-9D7BD7DAF98B}"/>
          </ac:spMkLst>
        </pc:spChg>
        <pc:spChg chg="add del mod">
          <ac:chgData name="Steiner Andreas 6206 ED" userId="e6377c33-a923-4f14-8587-531c474c7b48" providerId="ADAL" clId="{6ECD27E6-B224-41CD-B4E0-E297462320DD}" dt="2023-11-24T08:36:31.838" v="27027"/>
          <ac:spMkLst>
            <pc:docMk/>
            <pc:sldMk cId="3439677884" sldId="2147473972"/>
            <ac:spMk id="233" creationId="{D6960792-D424-1BB4-82A1-AE0E3C87EBFF}"/>
          </ac:spMkLst>
        </pc:spChg>
        <pc:spChg chg="add del mod">
          <ac:chgData name="Steiner Andreas 6206 ED" userId="e6377c33-a923-4f14-8587-531c474c7b48" providerId="ADAL" clId="{6ECD27E6-B224-41CD-B4E0-E297462320DD}" dt="2023-11-24T08:36:34.515" v="27182"/>
          <ac:spMkLst>
            <pc:docMk/>
            <pc:sldMk cId="3439677884" sldId="2147473972"/>
            <ac:spMk id="234" creationId="{0F38E89B-2944-2CA7-790A-03B71776BC12}"/>
          </ac:spMkLst>
        </pc:spChg>
        <pc:spChg chg="add del mod">
          <ac:chgData name="Steiner Andreas 6206 ED" userId="e6377c33-a923-4f14-8587-531c474c7b48" providerId="ADAL" clId="{6ECD27E6-B224-41CD-B4E0-E297462320DD}" dt="2023-11-24T08:36:37.042" v="27337"/>
          <ac:spMkLst>
            <pc:docMk/>
            <pc:sldMk cId="3439677884" sldId="2147473972"/>
            <ac:spMk id="235" creationId="{48CB8966-C0D6-0B96-DF50-30A75C9001D0}"/>
          </ac:spMkLst>
        </pc:spChg>
        <pc:spChg chg="add del mod">
          <ac:chgData name="Steiner Andreas 6206 ED" userId="e6377c33-a923-4f14-8587-531c474c7b48" providerId="ADAL" clId="{6ECD27E6-B224-41CD-B4E0-E297462320DD}" dt="2023-11-24T08:36:39.561" v="27492"/>
          <ac:spMkLst>
            <pc:docMk/>
            <pc:sldMk cId="3439677884" sldId="2147473972"/>
            <ac:spMk id="236" creationId="{5649DFBB-C64A-0D09-FAEA-5F8E5CA21453}"/>
          </ac:spMkLst>
        </pc:spChg>
        <pc:spChg chg="add del mod">
          <ac:chgData name="Steiner Andreas 6206 ED" userId="e6377c33-a923-4f14-8587-531c474c7b48" providerId="ADAL" clId="{6ECD27E6-B224-41CD-B4E0-E297462320DD}" dt="2023-11-24T08:36:42.393" v="27647"/>
          <ac:spMkLst>
            <pc:docMk/>
            <pc:sldMk cId="3439677884" sldId="2147473972"/>
            <ac:spMk id="237" creationId="{655C0AA8-012C-05FC-9E7D-95AA498CA151}"/>
          </ac:spMkLst>
        </pc:spChg>
        <pc:spChg chg="add del mod">
          <ac:chgData name="Steiner Andreas 6206 ED" userId="e6377c33-a923-4f14-8587-531c474c7b48" providerId="ADAL" clId="{6ECD27E6-B224-41CD-B4E0-E297462320DD}" dt="2023-11-24T08:36:44.908" v="27802"/>
          <ac:spMkLst>
            <pc:docMk/>
            <pc:sldMk cId="3439677884" sldId="2147473972"/>
            <ac:spMk id="238" creationId="{D7823D63-B05B-ECF3-9EA9-DF6453BA61A3}"/>
          </ac:spMkLst>
        </pc:spChg>
        <pc:spChg chg="add del mod">
          <ac:chgData name="Steiner Andreas 6206 ED" userId="e6377c33-a923-4f14-8587-531c474c7b48" providerId="ADAL" clId="{6ECD27E6-B224-41CD-B4E0-E297462320DD}" dt="2023-11-24T08:36:47.260" v="27957"/>
          <ac:spMkLst>
            <pc:docMk/>
            <pc:sldMk cId="3439677884" sldId="2147473972"/>
            <ac:spMk id="239" creationId="{148445C2-D20E-0BEB-1ECF-7EFF598DB9CA}"/>
          </ac:spMkLst>
        </pc:spChg>
        <pc:spChg chg="add del mod">
          <ac:chgData name="Steiner Andreas 6206 ED" userId="e6377c33-a923-4f14-8587-531c474c7b48" providerId="ADAL" clId="{6ECD27E6-B224-41CD-B4E0-E297462320DD}" dt="2023-11-24T08:36:49.716" v="28112"/>
          <ac:spMkLst>
            <pc:docMk/>
            <pc:sldMk cId="3439677884" sldId="2147473972"/>
            <ac:spMk id="240" creationId="{525A2F3E-9A2E-2077-49E8-C52FCE57BB2D}"/>
          </ac:spMkLst>
        </pc:spChg>
        <pc:spChg chg="add del mod">
          <ac:chgData name="Steiner Andreas 6206 ED" userId="e6377c33-a923-4f14-8587-531c474c7b48" providerId="ADAL" clId="{6ECD27E6-B224-41CD-B4E0-E297462320DD}" dt="2023-11-24T08:36:52.608" v="28267"/>
          <ac:spMkLst>
            <pc:docMk/>
            <pc:sldMk cId="3439677884" sldId="2147473972"/>
            <ac:spMk id="241" creationId="{442EED5B-7A38-E3C2-8841-890FF812E8F2}"/>
          </ac:spMkLst>
        </pc:spChg>
        <pc:spChg chg="add del mod">
          <ac:chgData name="Steiner Andreas 6206 ED" userId="e6377c33-a923-4f14-8587-531c474c7b48" providerId="ADAL" clId="{6ECD27E6-B224-41CD-B4E0-E297462320DD}" dt="2023-11-24T08:36:55.823" v="28422"/>
          <ac:spMkLst>
            <pc:docMk/>
            <pc:sldMk cId="3439677884" sldId="2147473972"/>
            <ac:spMk id="242" creationId="{FF996C70-34B3-44D8-3AB5-9396093E0E10}"/>
          </ac:spMkLst>
        </pc:spChg>
        <pc:spChg chg="add del mod">
          <ac:chgData name="Steiner Andreas 6206 ED" userId="e6377c33-a923-4f14-8587-531c474c7b48" providerId="ADAL" clId="{6ECD27E6-B224-41CD-B4E0-E297462320DD}" dt="2023-11-24T08:36:58.573" v="28577"/>
          <ac:spMkLst>
            <pc:docMk/>
            <pc:sldMk cId="3439677884" sldId="2147473972"/>
            <ac:spMk id="243" creationId="{7DAEC76B-364A-8FA0-5040-68A679C8E262}"/>
          </ac:spMkLst>
        </pc:spChg>
        <pc:spChg chg="add del mod">
          <ac:chgData name="Steiner Andreas 6206 ED" userId="e6377c33-a923-4f14-8587-531c474c7b48" providerId="ADAL" clId="{6ECD27E6-B224-41CD-B4E0-E297462320DD}" dt="2023-11-24T08:37:01.423" v="28732"/>
          <ac:spMkLst>
            <pc:docMk/>
            <pc:sldMk cId="3439677884" sldId="2147473972"/>
            <ac:spMk id="244" creationId="{E07219F7-5273-2ECF-3C1A-455CC5252230}"/>
          </ac:spMkLst>
        </pc:spChg>
        <pc:spChg chg="add del mod">
          <ac:chgData name="Steiner Andreas 6206 ED" userId="e6377c33-a923-4f14-8587-531c474c7b48" providerId="ADAL" clId="{6ECD27E6-B224-41CD-B4E0-E297462320DD}" dt="2023-11-24T08:37:04.037" v="28887"/>
          <ac:spMkLst>
            <pc:docMk/>
            <pc:sldMk cId="3439677884" sldId="2147473972"/>
            <ac:spMk id="245" creationId="{B235E075-D5EB-0B7E-A597-E0DFB6F2FB2A}"/>
          </ac:spMkLst>
        </pc:spChg>
        <pc:spChg chg="add del mod">
          <ac:chgData name="Steiner Andreas 6206 ED" userId="e6377c33-a923-4f14-8587-531c474c7b48" providerId="ADAL" clId="{6ECD27E6-B224-41CD-B4E0-E297462320DD}" dt="2023-11-24T08:37:06.935" v="29042"/>
          <ac:spMkLst>
            <pc:docMk/>
            <pc:sldMk cId="3439677884" sldId="2147473972"/>
            <ac:spMk id="246" creationId="{6BCC9C3C-B1D5-6940-4161-5BF1298087ED}"/>
          </ac:spMkLst>
        </pc:spChg>
        <pc:spChg chg="add del mod">
          <ac:chgData name="Steiner Andreas 6206 ED" userId="e6377c33-a923-4f14-8587-531c474c7b48" providerId="ADAL" clId="{6ECD27E6-B224-41CD-B4E0-E297462320DD}" dt="2023-11-24T08:37:09.542" v="29197"/>
          <ac:spMkLst>
            <pc:docMk/>
            <pc:sldMk cId="3439677884" sldId="2147473972"/>
            <ac:spMk id="247" creationId="{E0702520-C99B-D8E9-73AF-8FA841672381}"/>
          </ac:spMkLst>
        </pc:spChg>
        <pc:spChg chg="add del mod">
          <ac:chgData name="Steiner Andreas 6206 ED" userId="e6377c33-a923-4f14-8587-531c474c7b48" providerId="ADAL" clId="{6ECD27E6-B224-41CD-B4E0-E297462320DD}" dt="2023-11-24T08:37:12.312" v="29352"/>
          <ac:spMkLst>
            <pc:docMk/>
            <pc:sldMk cId="3439677884" sldId="2147473972"/>
            <ac:spMk id="248" creationId="{6868A126-382D-980E-589C-0EFD55B9091E}"/>
          </ac:spMkLst>
        </pc:spChg>
        <pc:spChg chg="add del mod">
          <ac:chgData name="Steiner Andreas 6206 ED" userId="e6377c33-a923-4f14-8587-531c474c7b48" providerId="ADAL" clId="{6ECD27E6-B224-41CD-B4E0-E297462320DD}" dt="2023-11-24T08:37:15.385" v="29507"/>
          <ac:spMkLst>
            <pc:docMk/>
            <pc:sldMk cId="3439677884" sldId="2147473972"/>
            <ac:spMk id="249" creationId="{F476CAB5-7B30-AA77-2614-C9EEBB14A3BE}"/>
          </ac:spMkLst>
        </pc:spChg>
        <pc:spChg chg="add del mod">
          <ac:chgData name="Steiner Andreas 6206 ED" userId="e6377c33-a923-4f14-8587-531c474c7b48" providerId="ADAL" clId="{6ECD27E6-B224-41CD-B4E0-E297462320DD}" dt="2023-11-24T08:37:18.403" v="29662"/>
          <ac:spMkLst>
            <pc:docMk/>
            <pc:sldMk cId="3439677884" sldId="2147473972"/>
            <ac:spMk id="250" creationId="{728EAEC1-F776-0292-90F2-C970BAC98226}"/>
          </ac:spMkLst>
        </pc:spChg>
        <pc:spChg chg="add del mod">
          <ac:chgData name="Steiner Andreas 6206 ED" userId="e6377c33-a923-4f14-8587-531c474c7b48" providerId="ADAL" clId="{6ECD27E6-B224-41CD-B4E0-E297462320DD}" dt="2023-11-24T08:37:20.880" v="29817"/>
          <ac:spMkLst>
            <pc:docMk/>
            <pc:sldMk cId="3439677884" sldId="2147473972"/>
            <ac:spMk id="251" creationId="{4183DB93-A150-A80D-DF77-7FD7E76BA384}"/>
          </ac:spMkLst>
        </pc:spChg>
        <pc:spChg chg="add del mod">
          <ac:chgData name="Steiner Andreas 6206 ED" userId="e6377c33-a923-4f14-8587-531c474c7b48" providerId="ADAL" clId="{6ECD27E6-B224-41CD-B4E0-E297462320DD}" dt="2023-11-24T08:37:23.674" v="29972"/>
          <ac:spMkLst>
            <pc:docMk/>
            <pc:sldMk cId="3439677884" sldId="2147473972"/>
            <ac:spMk id="252" creationId="{C047848E-CB9D-E390-A6D4-30D1AE592A2C}"/>
          </ac:spMkLst>
        </pc:spChg>
        <pc:spChg chg="add del mod">
          <ac:chgData name="Steiner Andreas 6206 ED" userId="e6377c33-a923-4f14-8587-531c474c7b48" providerId="ADAL" clId="{6ECD27E6-B224-41CD-B4E0-E297462320DD}" dt="2023-11-24T08:37:26.261" v="30127"/>
          <ac:spMkLst>
            <pc:docMk/>
            <pc:sldMk cId="3439677884" sldId="2147473972"/>
            <ac:spMk id="253" creationId="{B9BB8BB8-04D5-FB5E-9C73-572A7B30F160}"/>
          </ac:spMkLst>
        </pc:spChg>
        <pc:spChg chg="add del mod">
          <ac:chgData name="Steiner Andreas 6206 ED" userId="e6377c33-a923-4f14-8587-531c474c7b48" providerId="ADAL" clId="{6ECD27E6-B224-41CD-B4E0-E297462320DD}" dt="2023-11-24T08:37:29.319" v="30282"/>
          <ac:spMkLst>
            <pc:docMk/>
            <pc:sldMk cId="3439677884" sldId="2147473972"/>
            <ac:spMk id="254" creationId="{20BA57B0-7CE8-8C9A-0D5D-E1B82AAF912C}"/>
          </ac:spMkLst>
        </pc:spChg>
        <pc:spChg chg="add del mod">
          <ac:chgData name="Steiner Andreas 6206 ED" userId="e6377c33-a923-4f14-8587-531c474c7b48" providerId="ADAL" clId="{6ECD27E6-B224-41CD-B4E0-E297462320DD}" dt="2023-11-24T08:37:32.430" v="30437"/>
          <ac:spMkLst>
            <pc:docMk/>
            <pc:sldMk cId="3439677884" sldId="2147473972"/>
            <ac:spMk id="255" creationId="{002CB8FF-33D7-A95F-7440-CE21349D95A6}"/>
          </ac:spMkLst>
        </pc:spChg>
        <pc:spChg chg="add del mod">
          <ac:chgData name="Steiner Andreas 6206 ED" userId="e6377c33-a923-4f14-8587-531c474c7b48" providerId="ADAL" clId="{6ECD27E6-B224-41CD-B4E0-E297462320DD}" dt="2023-11-24T08:37:35.029" v="30592"/>
          <ac:spMkLst>
            <pc:docMk/>
            <pc:sldMk cId="3439677884" sldId="2147473972"/>
            <ac:spMk id="256" creationId="{0154A4E3-0894-3B9C-DA5C-EDF1B41F1A1B}"/>
          </ac:spMkLst>
        </pc:spChg>
        <pc:spChg chg="add del mod">
          <ac:chgData name="Steiner Andreas 6206 ED" userId="e6377c33-a923-4f14-8587-531c474c7b48" providerId="ADAL" clId="{6ECD27E6-B224-41CD-B4E0-E297462320DD}" dt="2023-11-24T08:37:37.719" v="30747"/>
          <ac:spMkLst>
            <pc:docMk/>
            <pc:sldMk cId="3439677884" sldId="2147473972"/>
            <ac:spMk id="257" creationId="{37E54871-2297-F82A-0D90-1F7D198C6A4E}"/>
          </ac:spMkLst>
        </pc:spChg>
        <pc:spChg chg="add del mod">
          <ac:chgData name="Steiner Andreas 6206 ED" userId="e6377c33-a923-4f14-8587-531c474c7b48" providerId="ADAL" clId="{6ECD27E6-B224-41CD-B4E0-E297462320DD}" dt="2023-11-24T08:37:40.932" v="30902"/>
          <ac:spMkLst>
            <pc:docMk/>
            <pc:sldMk cId="3439677884" sldId="2147473972"/>
            <ac:spMk id="258" creationId="{032E0D1D-DB88-F180-FEED-6E74D568D574}"/>
          </ac:spMkLst>
        </pc:spChg>
        <pc:spChg chg="add del mod">
          <ac:chgData name="Steiner Andreas 6206 ED" userId="e6377c33-a923-4f14-8587-531c474c7b48" providerId="ADAL" clId="{6ECD27E6-B224-41CD-B4E0-E297462320DD}" dt="2023-11-24T08:37:44.523" v="31057"/>
          <ac:spMkLst>
            <pc:docMk/>
            <pc:sldMk cId="3439677884" sldId="2147473972"/>
            <ac:spMk id="259" creationId="{C66541DF-368C-B41A-383E-A101B17382D4}"/>
          </ac:spMkLst>
        </pc:spChg>
        <pc:spChg chg="add del mod">
          <ac:chgData name="Steiner Andreas 6206 ED" userId="e6377c33-a923-4f14-8587-531c474c7b48" providerId="ADAL" clId="{6ECD27E6-B224-41CD-B4E0-E297462320DD}" dt="2023-11-24T08:37:47.397" v="31212"/>
          <ac:spMkLst>
            <pc:docMk/>
            <pc:sldMk cId="3439677884" sldId="2147473972"/>
            <ac:spMk id="260" creationId="{66C2DA83-2D08-DCA5-E34A-1426784CEAA5}"/>
          </ac:spMkLst>
        </pc:spChg>
        <pc:spChg chg="add del mod">
          <ac:chgData name="Steiner Andreas 6206 ED" userId="e6377c33-a923-4f14-8587-531c474c7b48" providerId="ADAL" clId="{6ECD27E6-B224-41CD-B4E0-E297462320DD}" dt="2023-11-24T08:37:50.169" v="31367"/>
          <ac:spMkLst>
            <pc:docMk/>
            <pc:sldMk cId="3439677884" sldId="2147473972"/>
            <ac:spMk id="261" creationId="{F39AB135-3743-A938-AA4D-158E5DDD0B74}"/>
          </ac:spMkLst>
        </pc:spChg>
        <pc:spChg chg="add del mod">
          <ac:chgData name="Steiner Andreas 6206 ED" userId="e6377c33-a923-4f14-8587-531c474c7b48" providerId="ADAL" clId="{6ECD27E6-B224-41CD-B4E0-E297462320DD}" dt="2023-11-24T08:37:52.817" v="31522"/>
          <ac:spMkLst>
            <pc:docMk/>
            <pc:sldMk cId="3439677884" sldId="2147473972"/>
            <ac:spMk id="262" creationId="{027F070C-CE12-558C-5E35-899F9CCBEA97}"/>
          </ac:spMkLst>
        </pc:spChg>
        <pc:spChg chg="add del mod">
          <ac:chgData name="Steiner Andreas 6206 ED" userId="e6377c33-a923-4f14-8587-531c474c7b48" providerId="ADAL" clId="{6ECD27E6-B224-41CD-B4E0-E297462320DD}" dt="2023-11-24T08:37:56.690" v="31677"/>
          <ac:spMkLst>
            <pc:docMk/>
            <pc:sldMk cId="3439677884" sldId="2147473972"/>
            <ac:spMk id="263" creationId="{008369C3-EB20-9890-0E4A-F77080817925}"/>
          </ac:spMkLst>
        </pc:spChg>
        <pc:spChg chg="add del mod">
          <ac:chgData name="Steiner Andreas 6206 ED" userId="e6377c33-a923-4f14-8587-531c474c7b48" providerId="ADAL" clId="{6ECD27E6-B224-41CD-B4E0-E297462320DD}" dt="2023-11-24T08:37:59.598" v="31832"/>
          <ac:spMkLst>
            <pc:docMk/>
            <pc:sldMk cId="3439677884" sldId="2147473972"/>
            <ac:spMk id="264" creationId="{699D1499-C14A-9DB8-6318-0666C9BF4EFE}"/>
          </ac:spMkLst>
        </pc:spChg>
        <pc:spChg chg="add del mod">
          <ac:chgData name="Steiner Andreas 6206 ED" userId="e6377c33-a923-4f14-8587-531c474c7b48" providerId="ADAL" clId="{6ECD27E6-B224-41CD-B4E0-E297462320DD}" dt="2023-11-24T08:38:02.624" v="31987"/>
          <ac:spMkLst>
            <pc:docMk/>
            <pc:sldMk cId="3439677884" sldId="2147473972"/>
            <ac:spMk id="265" creationId="{2E05498D-BED9-A843-AEB4-B8BC8C58399D}"/>
          </ac:spMkLst>
        </pc:spChg>
        <pc:spChg chg="add del mod">
          <ac:chgData name="Steiner Andreas 6206 ED" userId="e6377c33-a923-4f14-8587-531c474c7b48" providerId="ADAL" clId="{6ECD27E6-B224-41CD-B4E0-E297462320DD}" dt="2023-11-24T08:38:05.509" v="32142"/>
          <ac:spMkLst>
            <pc:docMk/>
            <pc:sldMk cId="3439677884" sldId="2147473972"/>
            <ac:spMk id="266" creationId="{7237B408-F8E9-A34E-3C7F-BFA19F964CB5}"/>
          </ac:spMkLst>
        </pc:spChg>
        <pc:spChg chg="add del mod">
          <ac:chgData name="Steiner Andreas 6206 ED" userId="e6377c33-a923-4f14-8587-531c474c7b48" providerId="ADAL" clId="{6ECD27E6-B224-41CD-B4E0-E297462320DD}" dt="2023-11-24T08:38:08.560" v="32297"/>
          <ac:spMkLst>
            <pc:docMk/>
            <pc:sldMk cId="3439677884" sldId="2147473972"/>
            <ac:spMk id="267" creationId="{765303E2-8A0F-EA32-F415-1E51F8431915}"/>
          </ac:spMkLst>
        </pc:spChg>
        <pc:spChg chg="add del mod">
          <ac:chgData name="Steiner Andreas 6206 ED" userId="e6377c33-a923-4f14-8587-531c474c7b48" providerId="ADAL" clId="{6ECD27E6-B224-41CD-B4E0-E297462320DD}" dt="2023-11-24T08:38:11.368" v="32452"/>
          <ac:spMkLst>
            <pc:docMk/>
            <pc:sldMk cId="3439677884" sldId="2147473972"/>
            <ac:spMk id="268" creationId="{613CE4F4-543F-C135-6057-AF635305DBC3}"/>
          </ac:spMkLst>
        </pc:spChg>
        <pc:spChg chg="add del mod">
          <ac:chgData name="Steiner Andreas 6206 ED" userId="e6377c33-a923-4f14-8587-531c474c7b48" providerId="ADAL" clId="{6ECD27E6-B224-41CD-B4E0-E297462320DD}" dt="2023-11-24T08:38:14.029" v="32607"/>
          <ac:spMkLst>
            <pc:docMk/>
            <pc:sldMk cId="3439677884" sldId="2147473972"/>
            <ac:spMk id="269" creationId="{A1F292A8-77EB-827C-84D1-FBA7103B7921}"/>
          </ac:spMkLst>
        </pc:spChg>
        <pc:spChg chg="add del mod">
          <ac:chgData name="Steiner Andreas 6206 ED" userId="e6377c33-a923-4f14-8587-531c474c7b48" providerId="ADAL" clId="{6ECD27E6-B224-41CD-B4E0-E297462320DD}" dt="2023-11-24T08:38:16.721" v="32762"/>
          <ac:spMkLst>
            <pc:docMk/>
            <pc:sldMk cId="3439677884" sldId="2147473972"/>
            <ac:spMk id="270" creationId="{B724755F-9124-C428-91CF-5F3A3F77BC3A}"/>
          </ac:spMkLst>
        </pc:spChg>
        <pc:spChg chg="add del mod">
          <ac:chgData name="Steiner Andreas 6206 ED" userId="e6377c33-a923-4f14-8587-531c474c7b48" providerId="ADAL" clId="{6ECD27E6-B224-41CD-B4E0-E297462320DD}" dt="2023-11-24T08:38:19.542" v="32917"/>
          <ac:spMkLst>
            <pc:docMk/>
            <pc:sldMk cId="3439677884" sldId="2147473972"/>
            <ac:spMk id="271" creationId="{A2D4B066-6890-CC30-8731-5DDD9D037433}"/>
          </ac:spMkLst>
        </pc:spChg>
        <pc:spChg chg="add del mod">
          <ac:chgData name="Steiner Andreas 6206 ED" userId="e6377c33-a923-4f14-8587-531c474c7b48" providerId="ADAL" clId="{6ECD27E6-B224-41CD-B4E0-E297462320DD}" dt="2023-11-24T08:38:22.461" v="33072"/>
          <ac:spMkLst>
            <pc:docMk/>
            <pc:sldMk cId="3439677884" sldId="2147473972"/>
            <ac:spMk id="272" creationId="{AA021A7E-842F-DFB0-21D5-5D9B6A3F458F}"/>
          </ac:spMkLst>
        </pc:spChg>
        <pc:spChg chg="add del mod">
          <ac:chgData name="Steiner Andreas 6206 ED" userId="e6377c33-a923-4f14-8587-531c474c7b48" providerId="ADAL" clId="{6ECD27E6-B224-41CD-B4E0-E297462320DD}" dt="2023-11-24T08:38:25.316" v="33227"/>
          <ac:spMkLst>
            <pc:docMk/>
            <pc:sldMk cId="3439677884" sldId="2147473972"/>
            <ac:spMk id="273" creationId="{88B64E3A-5A10-5A51-A4F7-046AEE8A08A8}"/>
          </ac:spMkLst>
        </pc:spChg>
        <pc:spChg chg="add del mod">
          <ac:chgData name="Steiner Andreas 6206 ED" userId="e6377c33-a923-4f14-8587-531c474c7b48" providerId="ADAL" clId="{6ECD27E6-B224-41CD-B4E0-E297462320DD}" dt="2023-11-24T08:38:28.882" v="33382"/>
          <ac:spMkLst>
            <pc:docMk/>
            <pc:sldMk cId="3439677884" sldId="2147473972"/>
            <ac:spMk id="274" creationId="{552D28D0-D18A-32E3-69EB-F297783653F8}"/>
          </ac:spMkLst>
        </pc:spChg>
        <pc:spChg chg="add del mod">
          <ac:chgData name="Steiner Andreas 6206 ED" userId="e6377c33-a923-4f14-8587-531c474c7b48" providerId="ADAL" clId="{6ECD27E6-B224-41CD-B4E0-E297462320DD}" dt="2023-11-24T08:38:32.004" v="33537"/>
          <ac:spMkLst>
            <pc:docMk/>
            <pc:sldMk cId="3439677884" sldId="2147473972"/>
            <ac:spMk id="275" creationId="{3CF73D21-A1CA-12E4-B46B-F448D5105E5F}"/>
          </ac:spMkLst>
        </pc:spChg>
        <pc:spChg chg="add del mod">
          <ac:chgData name="Steiner Andreas 6206 ED" userId="e6377c33-a923-4f14-8587-531c474c7b48" providerId="ADAL" clId="{6ECD27E6-B224-41CD-B4E0-E297462320DD}" dt="2023-11-24T08:38:34.820" v="33692"/>
          <ac:spMkLst>
            <pc:docMk/>
            <pc:sldMk cId="3439677884" sldId="2147473972"/>
            <ac:spMk id="276" creationId="{14C4705F-52A9-1027-0F9D-5AD97E76CA63}"/>
          </ac:spMkLst>
        </pc:spChg>
        <pc:spChg chg="add del mod">
          <ac:chgData name="Steiner Andreas 6206 ED" userId="e6377c33-a923-4f14-8587-531c474c7b48" providerId="ADAL" clId="{6ECD27E6-B224-41CD-B4E0-E297462320DD}" dt="2023-11-24T08:38:37.465" v="33847"/>
          <ac:spMkLst>
            <pc:docMk/>
            <pc:sldMk cId="3439677884" sldId="2147473972"/>
            <ac:spMk id="277" creationId="{6CBC1F06-20F0-9E0F-ED6D-BE4F8DC6A885}"/>
          </ac:spMkLst>
        </pc:spChg>
        <pc:spChg chg="add del mod">
          <ac:chgData name="Steiner Andreas 6206 ED" userId="e6377c33-a923-4f14-8587-531c474c7b48" providerId="ADAL" clId="{6ECD27E6-B224-41CD-B4E0-E297462320DD}" dt="2023-11-24T08:38:39.954" v="34002"/>
          <ac:spMkLst>
            <pc:docMk/>
            <pc:sldMk cId="3439677884" sldId="2147473972"/>
            <ac:spMk id="278" creationId="{AD8BE4BF-D4E4-BCDB-4983-FE00E89980EB}"/>
          </ac:spMkLst>
        </pc:spChg>
        <pc:spChg chg="add del mod">
          <ac:chgData name="Steiner Andreas 6206 ED" userId="e6377c33-a923-4f14-8587-531c474c7b48" providerId="ADAL" clId="{6ECD27E6-B224-41CD-B4E0-E297462320DD}" dt="2023-11-24T08:38:42.510" v="34157"/>
          <ac:spMkLst>
            <pc:docMk/>
            <pc:sldMk cId="3439677884" sldId="2147473972"/>
            <ac:spMk id="279" creationId="{0D7E2F67-FDE7-8E8B-F0D4-6D4FDE37F578}"/>
          </ac:spMkLst>
        </pc:spChg>
        <pc:spChg chg="add del mod">
          <ac:chgData name="Steiner Andreas 6206 ED" userId="e6377c33-a923-4f14-8587-531c474c7b48" providerId="ADAL" clId="{6ECD27E6-B224-41CD-B4E0-E297462320DD}" dt="2023-11-24T08:38:46.494" v="34312"/>
          <ac:spMkLst>
            <pc:docMk/>
            <pc:sldMk cId="3439677884" sldId="2147473972"/>
            <ac:spMk id="280" creationId="{027A3515-BA93-8B2C-5EEB-1506E5491E47}"/>
          </ac:spMkLst>
        </pc:spChg>
        <pc:spChg chg="add del mod">
          <ac:chgData name="Steiner Andreas 6206 ED" userId="e6377c33-a923-4f14-8587-531c474c7b48" providerId="ADAL" clId="{6ECD27E6-B224-41CD-B4E0-E297462320DD}" dt="2023-11-24T08:38:49.248" v="34467"/>
          <ac:spMkLst>
            <pc:docMk/>
            <pc:sldMk cId="3439677884" sldId="2147473972"/>
            <ac:spMk id="281" creationId="{55E36E3C-B070-A7CF-1216-E1B4E7A76990}"/>
          </ac:spMkLst>
        </pc:spChg>
        <pc:spChg chg="add del mod">
          <ac:chgData name="Steiner Andreas 6206 ED" userId="e6377c33-a923-4f14-8587-531c474c7b48" providerId="ADAL" clId="{6ECD27E6-B224-41CD-B4E0-E297462320DD}" dt="2023-11-24T08:38:52.004" v="34622"/>
          <ac:spMkLst>
            <pc:docMk/>
            <pc:sldMk cId="3439677884" sldId="2147473972"/>
            <ac:spMk id="282" creationId="{B60D6EE6-89A8-0491-9951-F47F4E76D098}"/>
          </ac:spMkLst>
        </pc:spChg>
        <pc:spChg chg="add del mod">
          <ac:chgData name="Steiner Andreas 6206 ED" userId="e6377c33-a923-4f14-8587-531c474c7b48" providerId="ADAL" clId="{6ECD27E6-B224-41CD-B4E0-E297462320DD}" dt="2023-11-24T08:38:54.887" v="34777"/>
          <ac:spMkLst>
            <pc:docMk/>
            <pc:sldMk cId="3439677884" sldId="2147473972"/>
            <ac:spMk id="283" creationId="{AFAB7E97-A5C1-BBFB-BA7C-F8D41E77BC15}"/>
          </ac:spMkLst>
        </pc:spChg>
        <pc:spChg chg="add del mod">
          <ac:chgData name="Steiner Andreas 6206 ED" userId="e6377c33-a923-4f14-8587-531c474c7b48" providerId="ADAL" clId="{6ECD27E6-B224-41CD-B4E0-E297462320DD}" dt="2023-11-24T08:38:57.986" v="34932"/>
          <ac:spMkLst>
            <pc:docMk/>
            <pc:sldMk cId="3439677884" sldId="2147473972"/>
            <ac:spMk id="284" creationId="{DB6A328C-B6F6-8F1F-7706-3930C6B16DC0}"/>
          </ac:spMkLst>
        </pc:spChg>
        <pc:spChg chg="add del mod">
          <ac:chgData name="Steiner Andreas 6206 ED" userId="e6377c33-a923-4f14-8587-531c474c7b48" providerId="ADAL" clId="{6ECD27E6-B224-41CD-B4E0-E297462320DD}" dt="2023-11-24T08:39:01.413" v="35087"/>
          <ac:spMkLst>
            <pc:docMk/>
            <pc:sldMk cId="3439677884" sldId="2147473972"/>
            <ac:spMk id="285" creationId="{CDB95683-8419-53D9-750B-C1C7E1ECE0A0}"/>
          </ac:spMkLst>
        </pc:spChg>
        <pc:spChg chg="add del mod">
          <ac:chgData name="Steiner Andreas 6206 ED" userId="e6377c33-a923-4f14-8587-531c474c7b48" providerId="ADAL" clId="{6ECD27E6-B224-41CD-B4E0-E297462320DD}" dt="2023-11-24T08:39:04.807" v="35242"/>
          <ac:spMkLst>
            <pc:docMk/>
            <pc:sldMk cId="3439677884" sldId="2147473972"/>
            <ac:spMk id="286" creationId="{11B151E3-1E2D-C0BC-D3E0-2842939617D7}"/>
          </ac:spMkLst>
        </pc:spChg>
        <pc:spChg chg="add del mod">
          <ac:chgData name="Steiner Andreas 6206 ED" userId="e6377c33-a923-4f14-8587-531c474c7b48" providerId="ADAL" clId="{6ECD27E6-B224-41CD-B4E0-E297462320DD}" dt="2023-11-24T08:39:07.658" v="35397"/>
          <ac:spMkLst>
            <pc:docMk/>
            <pc:sldMk cId="3439677884" sldId="2147473972"/>
            <ac:spMk id="287" creationId="{881CCDA8-45E0-2009-A10D-AFF7EA1BECF8}"/>
          </ac:spMkLst>
        </pc:spChg>
        <pc:spChg chg="add del mod">
          <ac:chgData name="Steiner Andreas 6206 ED" userId="e6377c33-a923-4f14-8587-531c474c7b48" providerId="ADAL" clId="{6ECD27E6-B224-41CD-B4E0-E297462320DD}" dt="2023-11-24T08:39:12.223" v="35552"/>
          <ac:spMkLst>
            <pc:docMk/>
            <pc:sldMk cId="3439677884" sldId="2147473972"/>
            <ac:spMk id="288" creationId="{65C92D70-9571-F4D0-1E88-D9AC604C3EB9}"/>
          </ac:spMkLst>
        </pc:spChg>
        <pc:spChg chg="add del mod">
          <ac:chgData name="Steiner Andreas 6206 ED" userId="e6377c33-a923-4f14-8587-531c474c7b48" providerId="ADAL" clId="{6ECD27E6-B224-41CD-B4E0-E297462320DD}" dt="2023-11-24T08:39:15.087" v="35707"/>
          <ac:spMkLst>
            <pc:docMk/>
            <pc:sldMk cId="3439677884" sldId="2147473972"/>
            <ac:spMk id="289" creationId="{286F757A-6105-BD10-ED0F-E3E67D7FFB84}"/>
          </ac:spMkLst>
        </pc:spChg>
        <pc:spChg chg="add del mod">
          <ac:chgData name="Steiner Andreas 6206 ED" userId="e6377c33-a923-4f14-8587-531c474c7b48" providerId="ADAL" clId="{6ECD27E6-B224-41CD-B4E0-E297462320DD}" dt="2023-11-24T08:39:17.643" v="35862"/>
          <ac:spMkLst>
            <pc:docMk/>
            <pc:sldMk cId="3439677884" sldId="2147473972"/>
            <ac:spMk id="290" creationId="{61081DAC-738D-BE6E-6DED-7127E8F1244B}"/>
          </ac:spMkLst>
        </pc:spChg>
        <pc:spChg chg="add del mod">
          <ac:chgData name="Steiner Andreas 6206 ED" userId="e6377c33-a923-4f14-8587-531c474c7b48" providerId="ADAL" clId="{6ECD27E6-B224-41CD-B4E0-E297462320DD}" dt="2023-11-24T08:39:20.341" v="36017"/>
          <ac:spMkLst>
            <pc:docMk/>
            <pc:sldMk cId="3439677884" sldId="2147473972"/>
            <ac:spMk id="291" creationId="{267E344E-A7ED-B5FE-547A-5431DCEAB5C3}"/>
          </ac:spMkLst>
        </pc:spChg>
        <pc:spChg chg="add del mod">
          <ac:chgData name="Steiner Andreas 6206 ED" userId="e6377c33-a923-4f14-8587-531c474c7b48" providerId="ADAL" clId="{6ECD27E6-B224-41CD-B4E0-E297462320DD}" dt="2023-11-24T08:39:23.326" v="36172"/>
          <ac:spMkLst>
            <pc:docMk/>
            <pc:sldMk cId="3439677884" sldId="2147473972"/>
            <ac:spMk id="292" creationId="{D53D422B-EF0A-5D27-4F38-983E171AF2D5}"/>
          </ac:spMkLst>
        </pc:spChg>
        <pc:spChg chg="add del mod">
          <ac:chgData name="Steiner Andreas 6206 ED" userId="e6377c33-a923-4f14-8587-531c474c7b48" providerId="ADAL" clId="{6ECD27E6-B224-41CD-B4E0-E297462320DD}" dt="2023-11-24T08:39:26.231" v="36327"/>
          <ac:spMkLst>
            <pc:docMk/>
            <pc:sldMk cId="3439677884" sldId="2147473972"/>
            <ac:spMk id="293" creationId="{2CFD70D5-A170-6701-8F63-C069DCF67AFB}"/>
          </ac:spMkLst>
        </pc:spChg>
        <pc:spChg chg="add del mod">
          <ac:chgData name="Steiner Andreas 6206 ED" userId="e6377c33-a923-4f14-8587-531c474c7b48" providerId="ADAL" clId="{6ECD27E6-B224-41CD-B4E0-E297462320DD}" dt="2023-11-24T08:39:28.956" v="36482"/>
          <ac:spMkLst>
            <pc:docMk/>
            <pc:sldMk cId="3439677884" sldId="2147473972"/>
            <ac:spMk id="294" creationId="{7487A3B2-B290-DDFC-2B3F-732E2358B265}"/>
          </ac:spMkLst>
        </pc:spChg>
        <pc:spChg chg="add del mod">
          <ac:chgData name="Steiner Andreas 6206 ED" userId="e6377c33-a923-4f14-8587-531c474c7b48" providerId="ADAL" clId="{6ECD27E6-B224-41CD-B4E0-E297462320DD}" dt="2023-11-24T08:39:31.553" v="36637"/>
          <ac:spMkLst>
            <pc:docMk/>
            <pc:sldMk cId="3439677884" sldId="2147473972"/>
            <ac:spMk id="295" creationId="{FD9423D2-2537-4CC0-A0D6-C45D82105417}"/>
          </ac:spMkLst>
        </pc:spChg>
        <pc:spChg chg="add del mod">
          <ac:chgData name="Steiner Andreas 6206 ED" userId="e6377c33-a923-4f14-8587-531c474c7b48" providerId="ADAL" clId="{6ECD27E6-B224-41CD-B4E0-E297462320DD}" dt="2023-11-24T08:39:34.102" v="36792"/>
          <ac:spMkLst>
            <pc:docMk/>
            <pc:sldMk cId="3439677884" sldId="2147473972"/>
            <ac:spMk id="296" creationId="{AA49D259-BC8A-0B8C-FBD8-927EA9AA3AAD}"/>
          </ac:spMkLst>
        </pc:spChg>
        <pc:spChg chg="add del mod">
          <ac:chgData name="Steiner Andreas 6206 ED" userId="e6377c33-a923-4f14-8587-531c474c7b48" providerId="ADAL" clId="{6ECD27E6-B224-41CD-B4E0-E297462320DD}" dt="2023-11-24T08:39:36.974" v="36947"/>
          <ac:spMkLst>
            <pc:docMk/>
            <pc:sldMk cId="3439677884" sldId="2147473972"/>
            <ac:spMk id="297" creationId="{4301C2BC-1CC9-F4A4-797C-9F66E3F0C40C}"/>
          </ac:spMkLst>
        </pc:spChg>
        <pc:spChg chg="add del mod">
          <ac:chgData name="Steiner Andreas 6206 ED" userId="e6377c33-a923-4f14-8587-531c474c7b48" providerId="ADAL" clId="{6ECD27E6-B224-41CD-B4E0-E297462320DD}" dt="2023-11-24T08:39:39.641" v="37102"/>
          <ac:spMkLst>
            <pc:docMk/>
            <pc:sldMk cId="3439677884" sldId="2147473972"/>
            <ac:spMk id="298" creationId="{4672A23D-BD37-A633-739C-FFAD025F6D78}"/>
          </ac:spMkLst>
        </pc:spChg>
        <pc:spChg chg="add del mod">
          <ac:chgData name="Steiner Andreas 6206 ED" userId="e6377c33-a923-4f14-8587-531c474c7b48" providerId="ADAL" clId="{6ECD27E6-B224-41CD-B4E0-E297462320DD}" dt="2023-11-24T08:39:42.127" v="37257"/>
          <ac:spMkLst>
            <pc:docMk/>
            <pc:sldMk cId="3439677884" sldId="2147473972"/>
            <ac:spMk id="299" creationId="{3D1AB02B-2F16-C445-9370-2BE688E86C63}"/>
          </ac:spMkLst>
        </pc:spChg>
        <pc:spChg chg="add del mod">
          <ac:chgData name="Steiner Andreas 6206 ED" userId="e6377c33-a923-4f14-8587-531c474c7b48" providerId="ADAL" clId="{6ECD27E6-B224-41CD-B4E0-E297462320DD}" dt="2023-11-24T08:39:44.652" v="37412"/>
          <ac:spMkLst>
            <pc:docMk/>
            <pc:sldMk cId="3439677884" sldId="2147473972"/>
            <ac:spMk id="300" creationId="{DA51C038-C3CC-9CC2-4C90-29D52C8C8FB5}"/>
          </ac:spMkLst>
        </pc:spChg>
        <pc:spChg chg="add del mod">
          <ac:chgData name="Steiner Andreas 6206 ED" userId="e6377c33-a923-4f14-8587-531c474c7b48" providerId="ADAL" clId="{6ECD27E6-B224-41CD-B4E0-E297462320DD}" dt="2023-11-24T08:39:47.513" v="37567"/>
          <ac:spMkLst>
            <pc:docMk/>
            <pc:sldMk cId="3439677884" sldId="2147473972"/>
            <ac:spMk id="301" creationId="{48EF869F-024A-A4C8-2486-C5A42F99AA00}"/>
          </ac:spMkLst>
        </pc:spChg>
        <pc:spChg chg="add del mod">
          <ac:chgData name="Steiner Andreas 6206 ED" userId="e6377c33-a923-4f14-8587-531c474c7b48" providerId="ADAL" clId="{6ECD27E6-B224-41CD-B4E0-E297462320DD}" dt="2023-11-24T08:39:50.370" v="37722"/>
          <ac:spMkLst>
            <pc:docMk/>
            <pc:sldMk cId="3439677884" sldId="2147473972"/>
            <ac:spMk id="302" creationId="{AC700332-8FE9-1230-E478-4684460B4707}"/>
          </ac:spMkLst>
        </pc:spChg>
        <pc:spChg chg="add del mod">
          <ac:chgData name="Steiner Andreas 6206 ED" userId="e6377c33-a923-4f14-8587-531c474c7b48" providerId="ADAL" clId="{6ECD27E6-B224-41CD-B4E0-E297462320DD}" dt="2023-11-24T08:39:52.911" v="37877"/>
          <ac:spMkLst>
            <pc:docMk/>
            <pc:sldMk cId="3439677884" sldId="2147473972"/>
            <ac:spMk id="303" creationId="{E8760503-A3D2-953B-D172-260E5F9D733F}"/>
          </ac:spMkLst>
        </pc:spChg>
        <pc:spChg chg="add del mod">
          <ac:chgData name="Steiner Andreas 6206 ED" userId="e6377c33-a923-4f14-8587-531c474c7b48" providerId="ADAL" clId="{6ECD27E6-B224-41CD-B4E0-E297462320DD}" dt="2023-11-24T08:39:55.912" v="38032"/>
          <ac:spMkLst>
            <pc:docMk/>
            <pc:sldMk cId="3439677884" sldId="2147473972"/>
            <ac:spMk id="304" creationId="{507322B5-B93C-21F7-D5EF-17E31D93BF99}"/>
          </ac:spMkLst>
        </pc:spChg>
        <pc:spChg chg="add del mod">
          <ac:chgData name="Steiner Andreas 6206 ED" userId="e6377c33-a923-4f14-8587-531c474c7b48" providerId="ADAL" clId="{6ECD27E6-B224-41CD-B4E0-E297462320DD}" dt="2023-11-24T08:39:58.871" v="38187"/>
          <ac:spMkLst>
            <pc:docMk/>
            <pc:sldMk cId="3439677884" sldId="2147473972"/>
            <ac:spMk id="305" creationId="{18F510C8-7A4B-FA11-DEEC-9D7EBC471BCF}"/>
          </ac:spMkLst>
        </pc:spChg>
        <pc:spChg chg="add del mod">
          <ac:chgData name="Steiner Andreas 6206 ED" userId="e6377c33-a923-4f14-8587-531c474c7b48" providerId="ADAL" clId="{6ECD27E6-B224-41CD-B4E0-E297462320DD}" dt="2023-11-24T08:40:02.460" v="38342"/>
          <ac:spMkLst>
            <pc:docMk/>
            <pc:sldMk cId="3439677884" sldId="2147473972"/>
            <ac:spMk id="306" creationId="{39F3F010-18CB-0F13-056C-0465A5D87151}"/>
          </ac:spMkLst>
        </pc:spChg>
        <pc:spChg chg="add del mod">
          <ac:chgData name="Steiner Andreas 6206 ED" userId="e6377c33-a923-4f14-8587-531c474c7b48" providerId="ADAL" clId="{6ECD27E6-B224-41CD-B4E0-E297462320DD}" dt="2023-11-24T08:40:05.154" v="38497"/>
          <ac:spMkLst>
            <pc:docMk/>
            <pc:sldMk cId="3439677884" sldId="2147473972"/>
            <ac:spMk id="307" creationId="{89D6D875-E84A-AFE1-00EE-C1C9F6EAA55B}"/>
          </ac:spMkLst>
        </pc:spChg>
        <pc:spChg chg="add del mod">
          <ac:chgData name="Steiner Andreas 6206 ED" userId="e6377c33-a923-4f14-8587-531c474c7b48" providerId="ADAL" clId="{6ECD27E6-B224-41CD-B4E0-E297462320DD}" dt="2023-11-24T08:40:07.705" v="38652"/>
          <ac:spMkLst>
            <pc:docMk/>
            <pc:sldMk cId="3439677884" sldId="2147473972"/>
            <ac:spMk id="308" creationId="{A083BA32-6E46-0608-5404-D553CEA6E330}"/>
          </ac:spMkLst>
        </pc:spChg>
        <pc:spChg chg="add del mod">
          <ac:chgData name="Steiner Andreas 6206 ED" userId="e6377c33-a923-4f14-8587-531c474c7b48" providerId="ADAL" clId="{6ECD27E6-B224-41CD-B4E0-E297462320DD}" dt="2023-11-24T08:40:10.403" v="38807"/>
          <ac:spMkLst>
            <pc:docMk/>
            <pc:sldMk cId="3439677884" sldId="2147473972"/>
            <ac:spMk id="309" creationId="{6D7D8D72-65EF-8FB4-1960-BAE651549C63}"/>
          </ac:spMkLst>
        </pc:spChg>
        <pc:spChg chg="add del mod">
          <ac:chgData name="Steiner Andreas 6206 ED" userId="e6377c33-a923-4f14-8587-531c474c7b48" providerId="ADAL" clId="{6ECD27E6-B224-41CD-B4E0-E297462320DD}" dt="2023-11-24T08:40:13.476" v="38962"/>
          <ac:spMkLst>
            <pc:docMk/>
            <pc:sldMk cId="3439677884" sldId="2147473972"/>
            <ac:spMk id="310" creationId="{932399C2-20D6-DA09-5325-543C1895B20C}"/>
          </ac:spMkLst>
        </pc:spChg>
        <pc:spChg chg="add del mod">
          <ac:chgData name="Steiner Andreas 6206 ED" userId="e6377c33-a923-4f14-8587-531c474c7b48" providerId="ADAL" clId="{6ECD27E6-B224-41CD-B4E0-E297462320DD}" dt="2023-11-24T08:40:16.295" v="39117"/>
          <ac:spMkLst>
            <pc:docMk/>
            <pc:sldMk cId="3439677884" sldId="2147473972"/>
            <ac:spMk id="311" creationId="{2A65CF65-C8AE-DE20-E259-28F802AB9536}"/>
          </ac:spMkLst>
        </pc:spChg>
        <pc:spChg chg="add del mod">
          <ac:chgData name="Steiner Andreas 6206 ED" userId="e6377c33-a923-4f14-8587-531c474c7b48" providerId="ADAL" clId="{6ECD27E6-B224-41CD-B4E0-E297462320DD}" dt="2023-11-24T08:40:18.830" v="39272"/>
          <ac:spMkLst>
            <pc:docMk/>
            <pc:sldMk cId="3439677884" sldId="2147473972"/>
            <ac:spMk id="312" creationId="{85F0E591-28A8-61DB-FCA4-52DFF58F4A17}"/>
          </ac:spMkLst>
        </pc:spChg>
        <pc:spChg chg="add del mod">
          <ac:chgData name="Steiner Andreas 6206 ED" userId="e6377c33-a923-4f14-8587-531c474c7b48" providerId="ADAL" clId="{6ECD27E6-B224-41CD-B4E0-E297462320DD}" dt="2023-11-24T08:40:21.258" v="39427"/>
          <ac:spMkLst>
            <pc:docMk/>
            <pc:sldMk cId="3439677884" sldId="2147473972"/>
            <ac:spMk id="313" creationId="{681DCD3F-0961-26EC-5AC1-3680640C19B6}"/>
          </ac:spMkLst>
        </pc:spChg>
        <pc:spChg chg="add del mod">
          <ac:chgData name="Steiner Andreas 6206 ED" userId="e6377c33-a923-4f14-8587-531c474c7b48" providerId="ADAL" clId="{6ECD27E6-B224-41CD-B4E0-E297462320DD}" dt="2023-11-24T08:40:23.767" v="39582"/>
          <ac:spMkLst>
            <pc:docMk/>
            <pc:sldMk cId="3439677884" sldId="2147473972"/>
            <ac:spMk id="314" creationId="{31BFB11A-2A08-D1DE-DA0E-ED454FB4B694}"/>
          </ac:spMkLst>
        </pc:spChg>
        <pc:spChg chg="add del mod">
          <ac:chgData name="Steiner Andreas 6206 ED" userId="e6377c33-a923-4f14-8587-531c474c7b48" providerId="ADAL" clId="{6ECD27E6-B224-41CD-B4E0-E297462320DD}" dt="2023-11-24T08:40:26.826" v="39737"/>
          <ac:spMkLst>
            <pc:docMk/>
            <pc:sldMk cId="3439677884" sldId="2147473972"/>
            <ac:spMk id="315" creationId="{366F043E-021E-3B2F-0E9B-69FEE683E8E9}"/>
          </ac:spMkLst>
        </pc:spChg>
        <pc:spChg chg="add del mod">
          <ac:chgData name="Steiner Andreas 6206 ED" userId="e6377c33-a923-4f14-8587-531c474c7b48" providerId="ADAL" clId="{6ECD27E6-B224-41CD-B4E0-E297462320DD}" dt="2023-11-24T08:40:29.487" v="39892"/>
          <ac:spMkLst>
            <pc:docMk/>
            <pc:sldMk cId="3439677884" sldId="2147473972"/>
            <ac:spMk id="316" creationId="{660201A8-9721-C272-0CB4-9497EDF2C339}"/>
          </ac:spMkLst>
        </pc:spChg>
        <pc:spChg chg="add del mod">
          <ac:chgData name="Steiner Andreas 6206 ED" userId="e6377c33-a923-4f14-8587-531c474c7b48" providerId="ADAL" clId="{6ECD27E6-B224-41CD-B4E0-E297462320DD}" dt="2023-11-24T08:40:32.030" v="40047"/>
          <ac:spMkLst>
            <pc:docMk/>
            <pc:sldMk cId="3439677884" sldId="2147473972"/>
            <ac:spMk id="317" creationId="{FD952213-4FE2-192B-C238-4E5C542E56BD}"/>
          </ac:spMkLst>
        </pc:spChg>
        <pc:spChg chg="add del mod">
          <ac:chgData name="Steiner Andreas 6206 ED" userId="e6377c33-a923-4f14-8587-531c474c7b48" providerId="ADAL" clId="{6ECD27E6-B224-41CD-B4E0-E297462320DD}" dt="2023-11-24T08:40:34.616" v="40202"/>
          <ac:spMkLst>
            <pc:docMk/>
            <pc:sldMk cId="3439677884" sldId="2147473972"/>
            <ac:spMk id="318" creationId="{53466DAE-0F22-88C4-5902-7BB42BAF6145}"/>
          </ac:spMkLst>
        </pc:spChg>
        <pc:spChg chg="add del mod">
          <ac:chgData name="Steiner Andreas 6206 ED" userId="e6377c33-a923-4f14-8587-531c474c7b48" providerId="ADAL" clId="{6ECD27E6-B224-41CD-B4E0-E297462320DD}" dt="2023-11-24T08:40:37.809" v="40357"/>
          <ac:spMkLst>
            <pc:docMk/>
            <pc:sldMk cId="3439677884" sldId="2147473972"/>
            <ac:spMk id="319" creationId="{3FAF1D59-3BF6-30B7-657D-D2B91A38D630}"/>
          </ac:spMkLst>
        </pc:spChg>
        <pc:spChg chg="add del mod">
          <ac:chgData name="Steiner Andreas 6206 ED" userId="e6377c33-a923-4f14-8587-531c474c7b48" providerId="ADAL" clId="{6ECD27E6-B224-41CD-B4E0-E297462320DD}" dt="2023-11-24T08:40:40.629" v="40512"/>
          <ac:spMkLst>
            <pc:docMk/>
            <pc:sldMk cId="3439677884" sldId="2147473972"/>
            <ac:spMk id="320" creationId="{9CD8D5EB-AC6E-92B6-A761-B28F024630B8}"/>
          </ac:spMkLst>
        </pc:spChg>
        <pc:spChg chg="add del mod">
          <ac:chgData name="Steiner Andreas 6206 ED" userId="e6377c33-a923-4f14-8587-531c474c7b48" providerId="ADAL" clId="{6ECD27E6-B224-41CD-B4E0-E297462320DD}" dt="2023-11-24T08:40:43.545" v="40667"/>
          <ac:spMkLst>
            <pc:docMk/>
            <pc:sldMk cId="3439677884" sldId="2147473972"/>
            <ac:spMk id="321" creationId="{448EE8C3-311C-4703-B4DE-E67E1C42E726}"/>
          </ac:spMkLst>
        </pc:spChg>
        <pc:spChg chg="add del mod">
          <ac:chgData name="Steiner Andreas 6206 ED" userId="e6377c33-a923-4f14-8587-531c474c7b48" providerId="ADAL" clId="{6ECD27E6-B224-41CD-B4E0-E297462320DD}" dt="2023-11-24T08:40:45.997" v="40822"/>
          <ac:spMkLst>
            <pc:docMk/>
            <pc:sldMk cId="3439677884" sldId="2147473972"/>
            <ac:spMk id="322" creationId="{DD7FB1DF-E3DA-09DF-06F1-D8F609C964AD}"/>
          </ac:spMkLst>
        </pc:spChg>
        <pc:spChg chg="add del mod">
          <ac:chgData name="Steiner Andreas 6206 ED" userId="e6377c33-a923-4f14-8587-531c474c7b48" providerId="ADAL" clId="{6ECD27E6-B224-41CD-B4E0-E297462320DD}" dt="2023-11-24T08:40:48.674" v="40977"/>
          <ac:spMkLst>
            <pc:docMk/>
            <pc:sldMk cId="3439677884" sldId="2147473972"/>
            <ac:spMk id="323" creationId="{9BAE78D5-828E-8E70-AD87-BE35D28F7F07}"/>
          </ac:spMkLst>
        </pc:spChg>
        <pc:spChg chg="add del mod">
          <ac:chgData name="Steiner Andreas 6206 ED" userId="e6377c33-a923-4f14-8587-531c474c7b48" providerId="ADAL" clId="{6ECD27E6-B224-41CD-B4E0-E297462320DD}" dt="2023-11-24T08:40:51.633" v="41132"/>
          <ac:spMkLst>
            <pc:docMk/>
            <pc:sldMk cId="3439677884" sldId="2147473972"/>
            <ac:spMk id="324" creationId="{C1DCEE7F-945E-7857-F1D8-CED2A1B3D019}"/>
          </ac:spMkLst>
        </pc:spChg>
        <pc:spChg chg="add del mod">
          <ac:chgData name="Steiner Andreas 6206 ED" userId="e6377c33-a923-4f14-8587-531c474c7b48" providerId="ADAL" clId="{6ECD27E6-B224-41CD-B4E0-E297462320DD}" dt="2023-11-24T08:40:54.151" v="41287"/>
          <ac:spMkLst>
            <pc:docMk/>
            <pc:sldMk cId="3439677884" sldId="2147473972"/>
            <ac:spMk id="325" creationId="{DB0086D8-0495-461F-1EB3-005BE1B481CC}"/>
          </ac:spMkLst>
        </pc:spChg>
        <pc:spChg chg="add del mod">
          <ac:chgData name="Steiner Andreas 6206 ED" userId="e6377c33-a923-4f14-8587-531c474c7b48" providerId="ADAL" clId="{6ECD27E6-B224-41CD-B4E0-E297462320DD}" dt="2023-11-24T08:40:56.603" v="41442"/>
          <ac:spMkLst>
            <pc:docMk/>
            <pc:sldMk cId="3439677884" sldId="2147473972"/>
            <ac:spMk id="326" creationId="{6F16DDCF-7BAB-5260-9037-2F75E449BC35}"/>
          </ac:spMkLst>
        </pc:spChg>
        <pc:spChg chg="add del mod">
          <ac:chgData name="Steiner Andreas 6206 ED" userId="e6377c33-a923-4f14-8587-531c474c7b48" providerId="ADAL" clId="{6ECD27E6-B224-41CD-B4E0-E297462320DD}" dt="2023-11-24T08:40:59.319" v="41597"/>
          <ac:spMkLst>
            <pc:docMk/>
            <pc:sldMk cId="3439677884" sldId="2147473972"/>
            <ac:spMk id="327" creationId="{1416A53B-70B9-BC3F-BEB6-C2C5A7AD2ECD}"/>
          </ac:spMkLst>
        </pc:spChg>
        <pc:spChg chg="add del mod">
          <ac:chgData name="Steiner Andreas 6206 ED" userId="e6377c33-a923-4f14-8587-531c474c7b48" providerId="ADAL" clId="{6ECD27E6-B224-41CD-B4E0-E297462320DD}" dt="2023-11-24T08:41:02.229" v="41752"/>
          <ac:spMkLst>
            <pc:docMk/>
            <pc:sldMk cId="3439677884" sldId="2147473972"/>
            <ac:spMk id="328" creationId="{D25E2185-55BC-DE3D-411F-5447A15F47F8}"/>
          </ac:spMkLst>
        </pc:spChg>
        <pc:spChg chg="add del mod">
          <ac:chgData name="Steiner Andreas 6206 ED" userId="e6377c33-a923-4f14-8587-531c474c7b48" providerId="ADAL" clId="{6ECD27E6-B224-41CD-B4E0-E297462320DD}" dt="2023-11-24T08:41:05.017" v="41907"/>
          <ac:spMkLst>
            <pc:docMk/>
            <pc:sldMk cId="3439677884" sldId="2147473972"/>
            <ac:spMk id="329" creationId="{DAAD1906-F042-F6A6-CCEC-32550B2E0660}"/>
          </ac:spMkLst>
        </pc:spChg>
        <pc:spChg chg="add del mod">
          <ac:chgData name="Steiner Andreas 6206 ED" userId="e6377c33-a923-4f14-8587-531c474c7b48" providerId="ADAL" clId="{6ECD27E6-B224-41CD-B4E0-E297462320DD}" dt="2023-11-24T08:41:07.915" v="42062"/>
          <ac:spMkLst>
            <pc:docMk/>
            <pc:sldMk cId="3439677884" sldId="2147473972"/>
            <ac:spMk id="330" creationId="{9639D8D2-61BB-ADAB-7C04-7BDD1B5287C3}"/>
          </ac:spMkLst>
        </pc:spChg>
        <pc:spChg chg="add del mod">
          <ac:chgData name="Steiner Andreas 6206 ED" userId="e6377c33-a923-4f14-8587-531c474c7b48" providerId="ADAL" clId="{6ECD27E6-B224-41CD-B4E0-E297462320DD}" dt="2023-11-24T08:41:12.059" v="42217"/>
          <ac:spMkLst>
            <pc:docMk/>
            <pc:sldMk cId="3439677884" sldId="2147473972"/>
            <ac:spMk id="331" creationId="{A2713403-474B-FB0A-0AF1-79C6D5CE88F6}"/>
          </ac:spMkLst>
        </pc:spChg>
        <pc:spChg chg="add del mod">
          <ac:chgData name="Steiner Andreas 6206 ED" userId="e6377c33-a923-4f14-8587-531c474c7b48" providerId="ADAL" clId="{6ECD27E6-B224-41CD-B4E0-E297462320DD}" dt="2023-11-24T08:41:15.039" v="42372"/>
          <ac:spMkLst>
            <pc:docMk/>
            <pc:sldMk cId="3439677884" sldId="2147473972"/>
            <ac:spMk id="332" creationId="{A7E26AA9-FDCB-BC2F-34B2-1E3347B37F7E}"/>
          </ac:spMkLst>
        </pc:spChg>
        <pc:spChg chg="add del mod">
          <ac:chgData name="Steiner Andreas 6206 ED" userId="e6377c33-a923-4f14-8587-531c474c7b48" providerId="ADAL" clId="{6ECD27E6-B224-41CD-B4E0-E297462320DD}" dt="2023-11-24T08:41:17.217" v="42527"/>
          <ac:spMkLst>
            <pc:docMk/>
            <pc:sldMk cId="3439677884" sldId="2147473972"/>
            <ac:spMk id="333" creationId="{78E7F6D0-4CA0-E9AF-6C87-E699A6040F59}"/>
          </ac:spMkLst>
        </pc:spChg>
        <pc:spChg chg="add del mod">
          <ac:chgData name="Steiner Andreas 6206 ED" userId="e6377c33-a923-4f14-8587-531c474c7b48" providerId="ADAL" clId="{6ECD27E6-B224-41CD-B4E0-E297462320DD}" dt="2023-11-24T08:41:19.632" v="42682"/>
          <ac:spMkLst>
            <pc:docMk/>
            <pc:sldMk cId="3439677884" sldId="2147473972"/>
            <ac:spMk id="334" creationId="{B63C5272-273C-D8DC-C0AF-DE665542FF82}"/>
          </ac:spMkLst>
        </pc:spChg>
        <pc:spChg chg="add del mod">
          <ac:chgData name="Steiner Andreas 6206 ED" userId="e6377c33-a923-4f14-8587-531c474c7b48" providerId="ADAL" clId="{6ECD27E6-B224-41CD-B4E0-E297462320DD}" dt="2023-11-24T08:41:21.972" v="42837"/>
          <ac:spMkLst>
            <pc:docMk/>
            <pc:sldMk cId="3439677884" sldId="2147473972"/>
            <ac:spMk id="335" creationId="{C3CBAAFE-ED6F-E18A-8FB3-63A4222B1751}"/>
          </ac:spMkLst>
        </pc:spChg>
        <pc:spChg chg="add del mod">
          <ac:chgData name="Steiner Andreas 6206 ED" userId="e6377c33-a923-4f14-8587-531c474c7b48" providerId="ADAL" clId="{6ECD27E6-B224-41CD-B4E0-E297462320DD}" dt="2023-11-24T08:41:24.102" v="42992"/>
          <ac:spMkLst>
            <pc:docMk/>
            <pc:sldMk cId="3439677884" sldId="2147473972"/>
            <ac:spMk id="336" creationId="{EBEE686D-FDBB-55A7-A900-F24F02765BDD}"/>
          </ac:spMkLst>
        </pc:spChg>
        <pc:spChg chg="add del mod">
          <ac:chgData name="Steiner Andreas 6206 ED" userId="e6377c33-a923-4f14-8587-531c474c7b48" providerId="ADAL" clId="{6ECD27E6-B224-41CD-B4E0-E297462320DD}" dt="2023-11-24T08:41:26.500" v="43147"/>
          <ac:spMkLst>
            <pc:docMk/>
            <pc:sldMk cId="3439677884" sldId="2147473972"/>
            <ac:spMk id="337" creationId="{A7B9B4F2-7A70-3225-D9D3-0ED327AE8773}"/>
          </ac:spMkLst>
        </pc:spChg>
        <pc:spChg chg="add del mod">
          <ac:chgData name="Steiner Andreas 6206 ED" userId="e6377c33-a923-4f14-8587-531c474c7b48" providerId="ADAL" clId="{6ECD27E6-B224-41CD-B4E0-E297462320DD}" dt="2023-11-24T08:41:28.794" v="43302"/>
          <ac:spMkLst>
            <pc:docMk/>
            <pc:sldMk cId="3439677884" sldId="2147473972"/>
            <ac:spMk id="338" creationId="{BEB9380C-D8EF-5D43-7BC8-4E54748AF4E2}"/>
          </ac:spMkLst>
        </pc:spChg>
        <pc:spChg chg="add del mod">
          <ac:chgData name="Steiner Andreas 6206 ED" userId="e6377c33-a923-4f14-8587-531c474c7b48" providerId="ADAL" clId="{6ECD27E6-B224-41CD-B4E0-E297462320DD}" dt="2023-11-24T08:41:30.953" v="43457"/>
          <ac:spMkLst>
            <pc:docMk/>
            <pc:sldMk cId="3439677884" sldId="2147473972"/>
            <ac:spMk id="339" creationId="{A77DF7DF-FE92-3399-B8DB-401B9A900459}"/>
          </ac:spMkLst>
        </pc:spChg>
        <pc:spChg chg="add del mod">
          <ac:chgData name="Steiner Andreas 6206 ED" userId="e6377c33-a923-4f14-8587-531c474c7b48" providerId="ADAL" clId="{6ECD27E6-B224-41CD-B4E0-E297462320DD}" dt="2023-11-24T08:41:35.055" v="43612"/>
          <ac:spMkLst>
            <pc:docMk/>
            <pc:sldMk cId="3439677884" sldId="2147473972"/>
            <ac:spMk id="340" creationId="{408C1A92-92BA-4FEE-0A6B-066A4757E681}"/>
          </ac:spMkLst>
        </pc:spChg>
        <pc:spChg chg="add del mod">
          <ac:chgData name="Steiner Andreas 6206 ED" userId="e6377c33-a923-4f14-8587-531c474c7b48" providerId="ADAL" clId="{6ECD27E6-B224-41CD-B4E0-E297462320DD}" dt="2023-11-24T08:41:38.123" v="43767"/>
          <ac:spMkLst>
            <pc:docMk/>
            <pc:sldMk cId="3439677884" sldId="2147473972"/>
            <ac:spMk id="341" creationId="{BB572B87-F8E0-E1A3-67A1-4230B34DFA2C}"/>
          </ac:spMkLst>
        </pc:spChg>
        <pc:spChg chg="add del mod">
          <ac:chgData name="Steiner Andreas 6206 ED" userId="e6377c33-a923-4f14-8587-531c474c7b48" providerId="ADAL" clId="{6ECD27E6-B224-41CD-B4E0-E297462320DD}" dt="2023-11-24T08:41:40.653" v="43922"/>
          <ac:spMkLst>
            <pc:docMk/>
            <pc:sldMk cId="3439677884" sldId="2147473972"/>
            <ac:spMk id="342" creationId="{8A071069-F4FE-D05C-4BF9-2CF0BFA08C82}"/>
          </ac:spMkLst>
        </pc:spChg>
        <pc:spChg chg="add del mod">
          <ac:chgData name="Steiner Andreas 6206 ED" userId="e6377c33-a923-4f14-8587-531c474c7b48" providerId="ADAL" clId="{6ECD27E6-B224-41CD-B4E0-E297462320DD}" dt="2023-11-24T08:41:43.027" v="44077"/>
          <ac:spMkLst>
            <pc:docMk/>
            <pc:sldMk cId="3439677884" sldId="2147473972"/>
            <ac:spMk id="343" creationId="{E9A0F778-05EF-D79C-0A25-299030793875}"/>
          </ac:spMkLst>
        </pc:spChg>
        <pc:spChg chg="add del mod">
          <ac:chgData name="Steiner Andreas 6206 ED" userId="e6377c33-a923-4f14-8587-531c474c7b48" providerId="ADAL" clId="{6ECD27E6-B224-41CD-B4E0-E297462320DD}" dt="2023-11-24T08:41:44.968" v="44232"/>
          <ac:spMkLst>
            <pc:docMk/>
            <pc:sldMk cId="3439677884" sldId="2147473972"/>
            <ac:spMk id="344" creationId="{F25DEB29-AE5B-A226-D223-4BE3DD006895}"/>
          </ac:spMkLst>
        </pc:spChg>
        <pc:spChg chg="add del mod">
          <ac:chgData name="Steiner Andreas 6206 ED" userId="e6377c33-a923-4f14-8587-531c474c7b48" providerId="ADAL" clId="{6ECD27E6-B224-41CD-B4E0-E297462320DD}" dt="2023-11-24T08:41:46.880" v="44387"/>
          <ac:spMkLst>
            <pc:docMk/>
            <pc:sldMk cId="3439677884" sldId="2147473972"/>
            <ac:spMk id="345" creationId="{B42ACC8A-18BB-399F-8F74-8B1D4D747AAE}"/>
          </ac:spMkLst>
        </pc:spChg>
        <pc:spChg chg="add del mod">
          <ac:chgData name="Steiner Andreas 6206 ED" userId="e6377c33-a923-4f14-8587-531c474c7b48" providerId="ADAL" clId="{6ECD27E6-B224-41CD-B4E0-E297462320DD}" dt="2023-11-24T08:41:48.883" v="44542"/>
          <ac:spMkLst>
            <pc:docMk/>
            <pc:sldMk cId="3439677884" sldId="2147473972"/>
            <ac:spMk id="346" creationId="{C8CEB83D-1AEB-7567-91AB-7F932C2BDA35}"/>
          </ac:spMkLst>
        </pc:spChg>
        <pc:spChg chg="add del mod">
          <ac:chgData name="Steiner Andreas 6206 ED" userId="e6377c33-a923-4f14-8587-531c474c7b48" providerId="ADAL" clId="{6ECD27E6-B224-41CD-B4E0-E297462320DD}" dt="2023-11-24T08:41:50.777" v="44697"/>
          <ac:spMkLst>
            <pc:docMk/>
            <pc:sldMk cId="3439677884" sldId="2147473972"/>
            <ac:spMk id="347" creationId="{08C667D7-57D1-D87F-D1D0-F8BE78A6272A}"/>
          </ac:spMkLst>
        </pc:spChg>
        <pc:spChg chg="add del mod">
          <ac:chgData name="Steiner Andreas 6206 ED" userId="e6377c33-a923-4f14-8587-531c474c7b48" providerId="ADAL" clId="{6ECD27E6-B224-41CD-B4E0-E297462320DD}" dt="2023-11-24T08:41:53.078" v="44852"/>
          <ac:spMkLst>
            <pc:docMk/>
            <pc:sldMk cId="3439677884" sldId="2147473972"/>
            <ac:spMk id="348" creationId="{A069206E-D46C-130F-A30B-EC59C07B69AF}"/>
          </ac:spMkLst>
        </pc:spChg>
        <pc:spChg chg="add del mod">
          <ac:chgData name="Steiner Andreas 6206 ED" userId="e6377c33-a923-4f14-8587-531c474c7b48" providerId="ADAL" clId="{6ECD27E6-B224-41CD-B4E0-E297462320DD}" dt="2023-11-24T08:41:55.026" v="45007"/>
          <ac:spMkLst>
            <pc:docMk/>
            <pc:sldMk cId="3439677884" sldId="2147473972"/>
            <ac:spMk id="349" creationId="{42B21939-8C0D-2530-B83E-2F2AD4012CC0}"/>
          </ac:spMkLst>
        </pc:spChg>
        <pc:spChg chg="add del mod">
          <ac:chgData name="Steiner Andreas 6206 ED" userId="e6377c33-a923-4f14-8587-531c474c7b48" providerId="ADAL" clId="{6ECD27E6-B224-41CD-B4E0-E297462320DD}" dt="2023-11-24T08:41:57.284" v="45162"/>
          <ac:spMkLst>
            <pc:docMk/>
            <pc:sldMk cId="3439677884" sldId="2147473972"/>
            <ac:spMk id="350" creationId="{B522ACB0-3BF7-9438-10CB-2F3BE61CC85D}"/>
          </ac:spMkLst>
        </pc:spChg>
        <pc:spChg chg="add del mod">
          <ac:chgData name="Steiner Andreas 6206 ED" userId="e6377c33-a923-4f14-8587-531c474c7b48" providerId="ADAL" clId="{6ECD27E6-B224-41CD-B4E0-E297462320DD}" dt="2023-11-24T08:41:59.358" v="45317"/>
          <ac:spMkLst>
            <pc:docMk/>
            <pc:sldMk cId="3439677884" sldId="2147473972"/>
            <ac:spMk id="351" creationId="{CE479414-93EC-38A8-074F-244BDD1027DD}"/>
          </ac:spMkLst>
        </pc:spChg>
        <pc:spChg chg="add del mod">
          <ac:chgData name="Steiner Andreas 6206 ED" userId="e6377c33-a923-4f14-8587-531c474c7b48" providerId="ADAL" clId="{6ECD27E6-B224-41CD-B4E0-E297462320DD}" dt="2023-11-24T08:42:01.698" v="45472"/>
          <ac:spMkLst>
            <pc:docMk/>
            <pc:sldMk cId="3439677884" sldId="2147473972"/>
            <ac:spMk id="352" creationId="{7A9B4E8D-525A-5D7C-2E5E-C71BF45E7A9B}"/>
          </ac:spMkLst>
        </pc:spChg>
        <pc:spChg chg="add del mod">
          <ac:chgData name="Steiner Andreas 6206 ED" userId="e6377c33-a923-4f14-8587-531c474c7b48" providerId="ADAL" clId="{6ECD27E6-B224-41CD-B4E0-E297462320DD}" dt="2023-11-24T08:42:03.702" v="45627"/>
          <ac:spMkLst>
            <pc:docMk/>
            <pc:sldMk cId="3439677884" sldId="2147473972"/>
            <ac:spMk id="353" creationId="{67A3528B-FF57-01B6-3194-FB5A6FFCA473}"/>
          </ac:spMkLst>
        </pc:spChg>
        <pc:spChg chg="add del mod">
          <ac:chgData name="Steiner Andreas 6206 ED" userId="e6377c33-a923-4f14-8587-531c474c7b48" providerId="ADAL" clId="{6ECD27E6-B224-41CD-B4E0-E297462320DD}" dt="2023-11-24T08:42:05.673" v="45782"/>
          <ac:spMkLst>
            <pc:docMk/>
            <pc:sldMk cId="3439677884" sldId="2147473972"/>
            <ac:spMk id="354" creationId="{4FEF3CFA-9AD9-FD2F-892C-4F2A967F174E}"/>
          </ac:spMkLst>
        </pc:spChg>
        <pc:spChg chg="add del mod">
          <ac:chgData name="Steiner Andreas 6206 ED" userId="e6377c33-a923-4f14-8587-531c474c7b48" providerId="ADAL" clId="{6ECD27E6-B224-41CD-B4E0-E297462320DD}" dt="2023-11-24T08:42:07.570" v="45937"/>
          <ac:spMkLst>
            <pc:docMk/>
            <pc:sldMk cId="3439677884" sldId="2147473972"/>
            <ac:spMk id="355" creationId="{43E55E5B-7710-2772-83E8-EE6FA50A94EE}"/>
          </ac:spMkLst>
        </pc:spChg>
        <pc:spChg chg="add del mod">
          <ac:chgData name="Steiner Andreas 6206 ED" userId="e6377c33-a923-4f14-8587-531c474c7b48" providerId="ADAL" clId="{6ECD27E6-B224-41CD-B4E0-E297462320DD}" dt="2023-11-24T08:42:09.473" v="46092"/>
          <ac:spMkLst>
            <pc:docMk/>
            <pc:sldMk cId="3439677884" sldId="2147473972"/>
            <ac:spMk id="356" creationId="{5942AA37-EB17-5B90-6460-DFA4C30155AD}"/>
          </ac:spMkLst>
        </pc:spChg>
        <pc:spChg chg="add del mod">
          <ac:chgData name="Steiner Andreas 6206 ED" userId="e6377c33-a923-4f14-8587-531c474c7b48" providerId="ADAL" clId="{6ECD27E6-B224-41CD-B4E0-E297462320DD}" dt="2023-11-24T08:42:11.734" v="46247"/>
          <ac:spMkLst>
            <pc:docMk/>
            <pc:sldMk cId="3439677884" sldId="2147473972"/>
            <ac:spMk id="357" creationId="{BC223781-7051-27C5-9E84-BB84542F1369}"/>
          </ac:spMkLst>
        </pc:spChg>
        <pc:spChg chg="add del mod">
          <ac:chgData name="Steiner Andreas 6206 ED" userId="e6377c33-a923-4f14-8587-531c474c7b48" providerId="ADAL" clId="{6ECD27E6-B224-41CD-B4E0-E297462320DD}" dt="2023-11-24T08:42:14.055" v="46402"/>
          <ac:spMkLst>
            <pc:docMk/>
            <pc:sldMk cId="3439677884" sldId="2147473972"/>
            <ac:spMk id="358" creationId="{E859D1A9-62BC-B4DF-3CCC-CD99B2D90530}"/>
          </ac:spMkLst>
        </pc:spChg>
        <pc:spChg chg="add del mod">
          <ac:chgData name="Steiner Andreas 6206 ED" userId="e6377c33-a923-4f14-8587-531c474c7b48" providerId="ADAL" clId="{6ECD27E6-B224-41CD-B4E0-E297462320DD}" dt="2023-11-24T08:42:16.742" v="46557"/>
          <ac:spMkLst>
            <pc:docMk/>
            <pc:sldMk cId="3439677884" sldId="2147473972"/>
            <ac:spMk id="359" creationId="{C9AB526B-9C68-85BE-5F78-C59A15F905B4}"/>
          </ac:spMkLst>
        </pc:spChg>
        <pc:spChg chg="add del mod">
          <ac:chgData name="Steiner Andreas 6206 ED" userId="e6377c33-a923-4f14-8587-531c474c7b48" providerId="ADAL" clId="{6ECD27E6-B224-41CD-B4E0-E297462320DD}" dt="2023-11-24T08:42:18.825" v="46712"/>
          <ac:spMkLst>
            <pc:docMk/>
            <pc:sldMk cId="3439677884" sldId="2147473972"/>
            <ac:spMk id="360" creationId="{7808D9A8-4D8D-D36E-822B-A879FC222D6D}"/>
          </ac:spMkLst>
        </pc:spChg>
        <pc:spChg chg="add del mod">
          <ac:chgData name="Steiner Andreas 6206 ED" userId="e6377c33-a923-4f14-8587-531c474c7b48" providerId="ADAL" clId="{6ECD27E6-B224-41CD-B4E0-E297462320DD}" dt="2023-11-24T08:42:21.102" v="46867"/>
          <ac:spMkLst>
            <pc:docMk/>
            <pc:sldMk cId="3439677884" sldId="2147473972"/>
            <ac:spMk id="361" creationId="{1F07E864-675F-DB3A-1CCB-C766FF7986CC}"/>
          </ac:spMkLst>
        </pc:spChg>
        <pc:spChg chg="add del mod">
          <ac:chgData name="Steiner Andreas 6206 ED" userId="e6377c33-a923-4f14-8587-531c474c7b48" providerId="ADAL" clId="{6ECD27E6-B224-41CD-B4E0-E297462320DD}" dt="2023-11-24T08:42:23.727" v="47022"/>
          <ac:spMkLst>
            <pc:docMk/>
            <pc:sldMk cId="3439677884" sldId="2147473972"/>
            <ac:spMk id="362" creationId="{07390189-E767-F5EA-B183-D0187A8A1FA2}"/>
          </ac:spMkLst>
        </pc:spChg>
        <pc:spChg chg="add del mod">
          <ac:chgData name="Steiner Andreas 6206 ED" userId="e6377c33-a923-4f14-8587-531c474c7b48" providerId="ADAL" clId="{6ECD27E6-B224-41CD-B4E0-E297462320DD}" dt="2023-11-24T08:42:25.823" v="47177"/>
          <ac:spMkLst>
            <pc:docMk/>
            <pc:sldMk cId="3439677884" sldId="2147473972"/>
            <ac:spMk id="363" creationId="{D82C5CF4-6C53-25A1-7ADA-B67413848F81}"/>
          </ac:spMkLst>
        </pc:spChg>
        <pc:spChg chg="add del mod">
          <ac:chgData name="Steiner Andreas 6206 ED" userId="e6377c33-a923-4f14-8587-531c474c7b48" providerId="ADAL" clId="{6ECD27E6-B224-41CD-B4E0-E297462320DD}" dt="2023-11-24T08:42:27.714" v="47332"/>
          <ac:spMkLst>
            <pc:docMk/>
            <pc:sldMk cId="3439677884" sldId="2147473972"/>
            <ac:spMk id="364" creationId="{2BB44DEB-E2D9-851E-D695-8F1A7D0D0F21}"/>
          </ac:spMkLst>
        </pc:spChg>
        <pc:spChg chg="add del mod">
          <ac:chgData name="Steiner Andreas 6206 ED" userId="e6377c33-a923-4f14-8587-531c474c7b48" providerId="ADAL" clId="{6ECD27E6-B224-41CD-B4E0-E297462320DD}" dt="2023-11-24T08:42:29.445" v="47487"/>
          <ac:spMkLst>
            <pc:docMk/>
            <pc:sldMk cId="3439677884" sldId="2147473972"/>
            <ac:spMk id="365" creationId="{D36F6ADD-E174-532D-3C21-6200FD425275}"/>
          </ac:spMkLst>
        </pc:spChg>
        <pc:spChg chg="add del mod">
          <ac:chgData name="Steiner Andreas 6206 ED" userId="e6377c33-a923-4f14-8587-531c474c7b48" providerId="ADAL" clId="{6ECD27E6-B224-41CD-B4E0-E297462320DD}" dt="2023-11-24T08:42:31.356" v="47642"/>
          <ac:spMkLst>
            <pc:docMk/>
            <pc:sldMk cId="3439677884" sldId="2147473972"/>
            <ac:spMk id="366" creationId="{A813CF6B-487C-DB5D-83D1-5ECAA3F5715A}"/>
          </ac:spMkLst>
        </pc:spChg>
        <pc:spChg chg="add del mod">
          <ac:chgData name="Steiner Andreas 6206 ED" userId="e6377c33-a923-4f14-8587-531c474c7b48" providerId="ADAL" clId="{6ECD27E6-B224-41CD-B4E0-E297462320DD}" dt="2023-11-24T08:42:33.333" v="47797"/>
          <ac:spMkLst>
            <pc:docMk/>
            <pc:sldMk cId="3439677884" sldId="2147473972"/>
            <ac:spMk id="367" creationId="{AB01DA67-0B73-C183-1956-509B7DF18A2B}"/>
          </ac:spMkLst>
        </pc:spChg>
        <pc:spChg chg="add del mod">
          <ac:chgData name="Steiner Andreas 6206 ED" userId="e6377c33-a923-4f14-8587-531c474c7b48" providerId="ADAL" clId="{6ECD27E6-B224-41CD-B4E0-E297462320DD}" dt="2023-11-24T08:42:35.426" v="47952"/>
          <ac:spMkLst>
            <pc:docMk/>
            <pc:sldMk cId="3439677884" sldId="2147473972"/>
            <ac:spMk id="368" creationId="{1565AB5B-163A-32FF-0DD9-87947E796FB2}"/>
          </ac:spMkLst>
        </pc:spChg>
        <pc:spChg chg="add del mod">
          <ac:chgData name="Steiner Andreas 6206 ED" userId="e6377c33-a923-4f14-8587-531c474c7b48" providerId="ADAL" clId="{6ECD27E6-B224-41CD-B4E0-E297462320DD}" dt="2023-11-24T08:42:37.314" v="48107"/>
          <ac:spMkLst>
            <pc:docMk/>
            <pc:sldMk cId="3439677884" sldId="2147473972"/>
            <ac:spMk id="369" creationId="{85839D87-AA86-24C3-AC3D-407508F25CE4}"/>
          </ac:spMkLst>
        </pc:spChg>
        <pc:spChg chg="add del mod">
          <ac:chgData name="Steiner Andreas 6206 ED" userId="e6377c33-a923-4f14-8587-531c474c7b48" providerId="ADAL" clId="{6ECD27E6-B224-41CD-B4E0-E297462320DD}" dt="2023-11-24T08:42:39.176" v="48262"/>
          <ac:spMkLst>
            <pc:docMk/>
            <pc:sldMk cId="3439677884" sldId="2147473972"/>
            <ac:spMk id="370" creationId="{CA520943-C90F-BCC9-12BA-D3DAFE53D34E}"/>
          </ac:spMkLst>
        </pc:spChg>
        <pc:spChg chg="add del mod">
          <ac:chgData name="Steiner Andreas 6206 ED" userId="e6377c33-a923-4f14-8587-531c474c7b48" providerId="ADAL" clId="{6ECD27E6-B224-41CD-B4E0-E297462320DD}" dt="2023-11-24T08:42:41.260" v="48417"/>
          <ac:spMkLst>
            <pc:docMk/>
            <pc:sldMk cId="3439677884" sldId="2147473972"/>
            <ac:spMk id="371" creationId="{0193A2CA-3439-DEBC-1890-F33CEAFCCF4E}"/>
          </ac:spMkLst>
        </pc:spChg>
        <pc:spChg chg="add del mod">
          <ac:chgData name="Steiner Andreas 6206 ED" userId="e6377c33-a923-4f14-8587-531c474c7b48" providerId="ADAL" clId="{6ECD27E6-B224-41CD-B4E0-E297462320DD}" dt="2023-11-24T08:42:43.370" v="48572"/>
          <ac:spMkLst>
            <pc:docMk/>
            <pc:sldMk cId="3439677884" sldId="2147473972"/>
            <ac:spMk id="372" creationId="{6580C770-16BE-ACC1-6FAE-3A1ABCB813EC}"/>
          </ac:spMkLst>
        </pc:spChg>
        <pc:spChg chg="add del mod">
          <ac:chgData name="Steiner Andreas 6206 ED" userId="e6377c33-a923-4f14-8587-531c474c7b48" providerId="ADAL" clId="{6ECD27E6-B224-41CD-B4E0-E297462320DD}" dt="2023-11-24T08:42:45.366" v="48727"/>
          <ac:spMkLst>
            <pc:docMk/>
            <pc:sldMk cId="3439677884" sldId="2147473972"/>
            <ac:spMk id="373" creationId="{3CC252F9-1FD7-9CC1-74DE-9D08CBF24229}"/>
          </ac:spMkLst>
        </pc:spChg>
        <pc:spChg chg="add del mod">
          <ac:chgData name="Steiner Andreas 6206 ED" userId="e6377c33-a923-4f14-8587-531c474c7b48" providerId="ADAL" clId="{6ECD27E6-B224-41CD-B4E0-E297462320DD}" dt="2023-11-24T08:42:47.307" v="48882"/>
          <ac:spMkLst>
            <pc:docMk/>
            <pc:sldMk cId="3439677884" sldId="2147473972"/>
            <ac:spMk id="374" creationId="{B8691E0D-E639-9834-5D69-5584895BE151}"/>
          </ac:spMkLst>
        </pc:spChg>
        <pc:spChg chg="add del mod">
          <ac:chgData name="Steiner Andreas 6206 ED" userId="e6377c33-a923-4f14-8587-531c474c7b48" providerId="ADAL" clId="{6ECD27E6-B224-41CD-B4E0-E297462320DD}" dt="2023-11-24T08:42:49.143" v="49037"/>
          <ac:spMkLst>
            <pc:docMk/>
            <pc:sldMk cId="3439677884" sldId="2147473972"/>
            <ac:spMk id="375" creationId="{12C42216-243E-7B77-9464-A7EE17EF0CA3}"/>
          </ac:spMkLst>
        </pc:spChg>
        <pc:spChg chg="add del mod">
          <ac:chgData name="Steiner Andreas 6206 ED" userId="e6377c33-a923-4f14-8587-531c474c7b48" providerId="ADAL" clId="{6ECD27E6-B224-41CD-B4E0-E297462320DD}" dt="2023-11-24T08:42:50.989" v="49192"/>
          <ac:spMkLst>
            <pc:docMk/>
            <pc:sldMk cId="3439677884" sldId="2147473972"/>
            <ac:spMk id="376" creationId="{1229424B-ED60-0BAF-F277-64EC3E21167E}"/>
          </ac:spMkLst>
        </pc:spChg>
        <pc:spChg chg="add del mod">
          <ac:chgData name="Steiner Andreas 6206 ED" userId="e6377c33-a923-4f14-8587-531c474c7b48" providerId="ADAL" clId="{6ECD27E6-B224-41CD-B4E0-E297462320DD}" dt="2023-11-24T08:42:53.060" v="49347"/>
          <ac:spMkLst>
            <pc:docMk/>
            <pc:sldMk cId="3439677884" sldId="2147473972"/>
            <ac:spMk id="377" creationId="{BA33A006-4A5E-72C3-FB5D-DFE67ACA5B97}"/>
          </ac:spMkLst>
        </pc:spChg>
        <pc:spChg chg="add del mod">
          <ac:chgData name="Steiner Andreas 6206 ED" userId="e6377c33-a923-4f14-8587-531c474c7b48" providerId="ADAL" clId="{6ECD27E6-B224-41CD-B4E0-E297462320DD}" dt="2023-11-24T08:42:55.624" v="49502"/>
          <ac:spMkLst>
            <pc:docMk/>
            <pc:sldMk cId="3439677884" sldId="2147473972"/>
            <ac:spMk id="378" creationId="{786ABB6D-403C-9802-8303-187704536B8E}"/>
          </ac:spMkLst>
        </pc:spChg>
        <pc:spChg chg="add del mod">
          <ac:chgData name="Steiner Andreas 6206 ED" userId="e6377c33-a923-4f14-8587-531c474c7b48" providerId="ADAL" clId="{6ECD27E6-B224-41CD-B4E0-E297462320DD}" dt="2023-11-24T08:42:57.764" v="49657"/>
          <ac:spMkLst>
            <pc:docMk/>
            <pc:sldMk cId="3439677884" sldId="2147473972"/>
            <ac:spMk id="379" creationId="{434EDD46-3845-912F-725A-99E01E3D85C8}"/>
          </ac:spMkLst>
        </pc:spChg>
        <pc:spChg chg="add del mod">
          <ac:chgData name="Steiner Andreas 6206 ED" userId="e6377c33-a923-4f14-8587-531c474c7b48" providerId="ADAL" clId="{6ECD27E6-B224-41CD-B4E0-E297462320DD}" dt="2023-11-24T08:42:59.716" v="49812"/>
          <ac:spMkLst>
            <pc:docMk/>
            <pc:sldMk cId="3439677884" sldId="2147473972"/>
            <ac:spMk id="380" creationId="{6EA99623-B828-3F12-FB2B-B9E0CA8A7742}"/>
          </ac:spMkLst>
        </pc:spChg>
        <pc:spChg chg="add del mod">
          <ac:chgData name="Steiner Andreas 6206 ED" userId="e6377c33-a923-4f14-8587-531c474c7b48" providerId="ADAL" clId="{6ECD27E6-B224-41CD-B4E0-E297462320DD}" dt="2023-11-24T08:43:01.699" v="49967"/>
          <ac:spMkLst>
            <pc:docMk/>
            <pc:sldMk cId="3439677884" sldId="2147473972"/>
            <ac:spMk id="381" creationId="{DE1CF421-C73D-570C-A57C-825B4DA21FA1}"/>
          </ac:spMkLst>
        </pc:spChg>
        <pc:spChg chg="add del mod">
          <ac:chgData name="Steiner Andreas 6206 ED" userId="e6377c33-a923-4f14-8587-531c474c7b48" providerId="ADAL" clId="{6ECD27E6-B224-41CD-B4E0-E297462320DD}" dt="2023-11-24T08:43:03.694" v="50122"/>
          <ac:spMkLst>
            <pc:docMk/>
            <pc:sldMk cId="3439677884" sldId="2147473972"/>
            <ac:spMk id="382" creationId="{52B5CD77-9153-3315-5D4C-CE6967DFE602}"/>
          </ac:spMkLst>
        </pc:spChg>
        <pc:spChg chg="add del mod">
          <ac:chgData name="Steiner Andreas 6206 ED" userId="e6377c33-a923-4f14-8587-531c474c7b48" providerId="ADAL" clId="{6ECD27E6-B224-41CD-B4E0-E297462320DD}" dt="2023-11-24T08:43:05.556" v="50277"/>
          <ac:spMkLst>
            <pc:docMk/>
            <pc:sldMk cId="3439677884" sldId="2147473972"/>
            <ac:spMk id="383" creationId="{7A51A64F-10FF-70BC-E5DF-E0082D348145}"/>
          </ac:spMkLst>
        </pc:spChg>
        <pc:spChg chg="add del mod">
          <ac:chgData name="Steiner Andreas 6206 ED" userId="e6377c33-a923-4f14-8587-531c474c7b48" providerId="ADAL" clId="{6ECD27E6-B224-41CD-B4E0-E297462320DD}" dt="2023-11-24T08:43:07.686" v="50432"/>
          <ac:spMkLst>
            <pc:docMk/>
            <pc:sldMk cId="3439677884" sldId="2147473972"/>
            <ac:spMk id="384" creationId="{8C8DD781-C0B0-60A4-206C-751229AC5AC2}"/>
          </ac:spMkLst>
        </pc:spChg>
        <pc:spChg chg="add del mod">
          <ac:chgData name="Steiner Andreas 6206 ED" userId="e6377c33-a923-4f14-8587-531c474c7b48" providerId="ADAL" clId="{6ECD27E6-B224-41CD-B4E0-E297462320DD}" dt="2023-11-24T08:43:09.860" v="50587"/>
          <ac:spMkLst>
            <pc:docMk/>
            <pc:sldMk cId="3439677884" sldId="2147473972"/>
            <ac:spMk id="385" creationId="{55B11294-9B8A-8363-091A-6FF40492E699}"/>
          </ac:spMkLst>
        </pc:spChg>
        <pc:spChg chg="add del mod">
          <ac:chgData name="Steiner Andreas 6206 ED" userId="e6377c33-a923-4f14-8587-531c474c7b48" providerId="ADAL" clId="{6ECD27E6-B224-41CD-B4E0-E297462320DD}" dt="2023-11-24T08:43:11.678" v="50742"/>
          <ac:spMkLst>
            <pc:docMk/>
            <pc:sldMk cId="3439677884" sldId="2147473972"/>
            <ac:spMk id="386" creationId="{D9BE47E6-3FA7-E376-3CBA-D2239649ABBE}"/>
          </ac:spMkLst>
        </pc:spChg>
        <pc:spChg chg="add del mod">
          <ac:chgData name="Steiner Andreas 6206 ED" userId="e6377c33-a923-4f14-8587-531c474c7b48" providerId="ADAL" clId="{6ECD27E6-B224-41CD-B4E0-E297462320DD}" dt="2023-11-24T08:43:13.727" v="50897"/>
          <ac:spMkLst>
            <pc:docMk/>
            <pc:sldMk cId="3439677884" sldId="2147473972"/>
            <ac:spMk id="387" creationId="{C33A7E5B-6D10-7B49-4244-3D8A1B1EF393}"/>
          </ac:spMkLst>
        </pc:spChg>
        <pc:spChg chg="add del mod">
          <ac:chgData name="Steiner Andreas 6206 ED" userId="e6377c33-a923-4f14-8587-531c474c7b48" providerId="ADAL" clId="{6ECD27E6-B224-41CD-B4E0-E297462320DD}" dt="2023-11-24T08:43:15.668" v="51052"/>
          <ac:spMkLst>
            <pc:docMk/>
            <pc:sldMk cId="3439677884" sldId="2147473972"/>
            <ac:spMk id="388" creationId="{6563884F-87C8-D534-E8EA-487D9DA50F30}"/>
          </ac:spMkLst>
        </pc:spChg>
        <pc:spChg chg="add del mod">
          <ac:chgData name="Steiner Andreas 6206 ED" userId="e6377c33-a923-4f14-8587-531c474c7b48" providerId="ADAL" clId="{6ECD27E6-B224-41CD-B4E0-E297462320DD}" dt="2023-11-24T08:43:17.800" v="51207"/>
          <ac:spMkLst>
            <pc:docMk/>
            <pc:sldMk cId="3439677884" sldId="2147473972"/>
            <ac:spMk id="389" creationId="{970E4E71-2677-E99F-D69A-3A83EF5ACFC9}"/>
          </ac:spMkLst>
        </pc:spChg>
        <pc:spChg chg="add del mod">
          <ac:chgData name="Steiner Andreas 6206 ED" userId="e6377c33-a923-4f14-8587-531c474c7b48" providerId="ADAL" clId="{6ECD27E6-B224-41CD-B4E0-E297462320DD}" dt="2023-11-24T08:43:19.755" v="51362"/>
          <ac:spMkLst>
            <pc:docMk/>
            <pc:sldMk cId="3439677884" sldId="2147473972"/>
            <ac:spMk id="390" creationId="{BD20E5F0-967C-8D3C-262B-F80374AD05F7}"/>
          </ac:spMkLst>
        </pc:spChg>
        <pc:spChg chg="add del mod">
          <ac:chgData name="Steiner Andreas 6206 ED" userId="e6377c33-a923-4f14-8587-531c474c7b48" providerId="ADAL" clId="{6ECD27E6-B224-41CD-B4E0-E297462320DD}" dt="2023-11-24T08:43:21.692" v="51517"/>
          <ac:spMkLst>
            <pc:docMk/>
            <pc:sldMk cId="3439677884" sldId="2147473972"/>
            <ac:spMk id="391" creationId="{A435CE8A-8553-819B-C34C-32BBBB7A1993}"/>
          </ac:spMkLst>
        </pc:spChg>
        <pc:spChg chg="add del mod">
          <ac:chgData name="Steiner Andreas 6206 ED" userId="e6377c33-a923-4f14-8587-531c474c7b48" providerId="ADAL" clId="{6ECD27E6-B224-41CD-B4E0-E297462320DD}" dt="2023-11-24T08:43:23.621" v="51672"/>
          <ac:spMkLst>
            <pc:docMk/>
            <pc:sldMk cId="3439677884" sldId="2147473972"/>
            <ac:spMk id="392" creationId="{B69E2B2C-A74C-8D1B-45DF-B13FD856C6C4}"/>
          </ac:spMkLst>
        </pc:spChg>
        <pc:spChg chg="add del mod">
          <ac:chgData name="Steiner Andreas 6206 ED" userId="e6377c33-a923-4f14-8587-531c474c7b48" providerId="ADAL" clId="{6ECD27E6-B224-41CD-B4E0-E297462320DD}" dt="2023-11-24T08:43:25.512" v="51827"/>
          <ac:spMkLst>
            <pc:docMk/>
            <pc:sldMk cId="3439677884" sldId="2147473972"/>
            <ac:spMk id="393" creationId="{EA51D90B-71AB-578F-20D9-9A85F77F0EE9}"/>
          </ac:spMkLst>
        </pc:spChg>
        <pc:spChg chg="add del mod">
          <ac:chgData name="Steiner Andreas 6206 ED" userId="e6377c33-a923-4f14-8587-531c474c7b48" providerId="ADAL" clId="{6ECD27E6-B224-41CD-B4E0-E297462320DD}" dt="2023-11-24T08:43:27.344" v="51982"/>
          <ac:spMkLst>
            <pc:docMk/>
            <pc:sldMk cId="3439677884" sldId="2147473972"/>
            <ac:spMk id="394" creationId="{736C4C2F-6B5E-4A3A-4189-79BF6C922C00}"/>
          </ac:spMkLst>
        </pc:spChg>
        <pc:spChg chg="add del mod">
          <ac:chgData name="Steiner Andreas 6206 ED" userId="e6377c33-a923-4f14-8587-531c474c7b48" providerId="ADAL" clId="{6ECD27E6-B224-41CD-B4E0-E297462320DD}" dt="2023-11-24T08:43:29.168" v="52137"/>
          <ac:spMkLst>
            <pc:docMk/>
            <pc:sldMk cId="3439677884" sldId="2147473972"/>
            <ac:spMk id="395" creationId="{CB09F349-D69F-0913-0ADD-6ECBC26CB2B5}"/>
          </ac:spMkLst>
        </pc:spChg>
        <pc:spChg chg="add del mod">
          <ac:chgData name="Steiner Andreas 6206 ED" userId="e6377c33-a923-4f14-8587-531c474c7b48" providerId="ADAL" clId="{6ECD27E6-B224-41CD-B4E0-E297462320DD}" dt="2023-11-24T08:43:31.614" v="52292"/>
          <ac:spMkLst>
            <pc:docMk/>
            <pc:sldMk cId="3439677884" sldId="2147473972"/>
            <ac:spMk id="396" creationId="{FC107944-D83C-B2E8-0A23-A49F18B90B00}"/>
          </ac:spMkLst>
        </pc:spChg>
        <pc:spChg chg="add del mod">
          <ac:chgData name="Steiner Andreas 6206 ED" userId="e6377c33-a923-4f14-8587-531c474c7b48" providerId="ADAL" clId="{6ECD27E6-B224-41CD-B4E0-E297462320DD}" dt="2023-11-24T08:43:34.290" v="52447"/>
          <ac:spMkLst>
            <pc:docMk/>
            <pc:sldMk cId="3439677884" sldId="2147473972"/>
            <ac:spMk id="397" creationId="{4EAE9F47-114C-48FA-9145-310A309DC0EC}"/>
          </ac:spMkLst>
        </pc:spChg>
        <pc:spChg chg="add del mod">
          <ac:chgData name="Steiner Andreas 6206 ED" userId="e6377c33-a923-4f14-8587-531c474c7b48" providerId="ADAL" clId="{6ECD27E6-B224-41CD-B4E0-E297462320DD}" dt="2023-11-24T08:43:36.410" v="52602"/>
          <ac:spMkLst>
            <pc:docMk/>
            <pc:sldMk cId="3439677884" sldId="2147473972"/>
            <ac:spMk id="398" creationId="{B3CF99CC-85E5-6998-8464-8D9D5D2D0EFB}"/>
          </ac:spMkLst>
        </pc:spChg>
        <pc:spChg chg="add del mod">
          <ac:chgData name="Steiner Andreas 6206 ED" userId="e6377c33-a923-4f14-8587-531c474c7b48" providerId="ADAL" clId="{6ECD27E6-B224-41CD-B4E0-E297462320DD}" dt="2023-11-24T08:43:38.367" v="52757"/>
          <ac:spMkLst>
            <pc:docMk/>
            <pc:sldMk cId="3439677884" sldId="2147473972"/>
            <ac:spMk id="399" creationId="{2728F1B2-080E-0127-19E5-8242B3EE9FC4}"/>
          </ac:spMkLst>
        </pc:spChg>
        <pc:spChg chg="add del mod">
          <ac:chgData name="Steiner Andreas 6206 ED" userId="e6377c33-a923-4f14-8587-531c474c7b48" providerId="ADAL" clId="{6ECD27E6-B224-41CD-B4E0-E297462320DD}" dt="2023-11-24T08:43:40.634" v="52912"/>
          <ac:spMkLst>
            <pc:docMk/>
            <pc:sldMk cId="3439677884" sldId="2147473972"/>
            <ac:spMk id="400" creationId="{4E96DE91-B634-61D3-A174-920EC9A3C104}"/>
          </ac:spMkLst>
        </pc:spChg>
        <pc:spChg chg="add del mod">
          <ac:chgData name="Steiner Andreas 6206 ED" userId="e6377c33-a923-4f14-8587-531c474c7b48" providerId="ADAL" clId="{6ECD27E6-B224-41CD-B4E0-E297462320DD}" dt="2023-11-24T08:43:42.635" v="53067"/>
          <ac:spMkLst>
            <pc:docMk/>
            <pc:sldMk cId="3439677884" sldId="2147473972"/>
            <ac:spMk id="401" creationId="{DDF408B2-A1C7-0BDD-C146-6CC035D10BD2}"/>
          </ac:spMkLst>
        </pc:spChg>
        <pc:spChg chg="add del mod">
          <ac:chgData name="Steiner Andreas 6206 ED" userId="e6377c33-a923-4f14-8587-531c474c7b48" providerId="ADAL" clId="{6ECD27E6-B224-41CD-B4E0-E297462320DD}" dt="2023-11-24T08:43:44.477" v="53222"/>
          <ac:spMkLst>
            <pc:docMk/>
            <pc:sldMk cId="3439677884" sldId="2147473972"/>
            <ac:spMk id="402" creationId="{32C111EB-C239-95A4-0A48-E1D0F65C6482}"/>
          </ac:spMkLst>
        </pc:spChg>
        <pc:spChg chg="add del mod">
          <ac:chgData name="Steiner Andreas 6206 ED" userId="e6377c33-a923-4f14-8587-531c474c7b48" providerId="ADAL" clId="{6ECD27E6-B224-41CD-B4E0-E297462320DD}" dt="2023-11-24T08:43:46.215" v="53377"/>
          <ac:spMkLst>
            <pc:docMk/>
            <pc:sldMk cId="3439677884" sldId="2147473972"/>
            <ac:spMk id="403" creationId="{8C46EC4F-5550-919A-86EB-C53E3824F36C}"/>
          </ac:spMkLst>
        </pc:spChg>
        <pc:spChg chg="add del mod">
          <ac:chgData name="Steiner Andreas 6206 ED" userId="e6377c33-a923-4f14-8587-531c474c7b48" providerId="ADAL" clId="{6ECD27E6-B224-41CD-B4E0-E297462320DD}" dt="2023-11-24T08:43:48.168" v="53532"/>
          <ac:spMkLst>
            <pc:docMk/>
            <pc:sldMk cId="3439677884" sldId="2147473972"/>
            <ac:spMk id="404" creationId="{D14FDDC5-DC84-CE97-B0C4-8113FDF70B6E}"/>
          </ac:spMkLst>
        </pc:spChg>
        <pc:spChg chg="add del mod">
          <ac:chgData name="Steiner Andreas 6206 ED" userId="e6377c33-a923-4f14-8587-531c474c7b48" providerId="ADAL" clId="{6ECD27E6-B224-41CD-B4E0-E297462320DD}" dt="2023-11-24T08:43:50.155" v="53687"/>
          <ac:spMkLst>
            <pc:docMk/>
            <pc:sldMk cId="3439677884" sldId="2147473972"/>
            <ac:spMk id="405" creationId="{6286F1A6-AB0C-D675-7E4B-3F636D7C48BE}"/>
          </ac:spMkLst>
        </pc:spChg>
        <pc:spChg chg="add del mod">
          <ac:chgData name="Steiner Andreas 6206 ED" userId="e6377c33-a923-4f14-8587-531c474c7b48" providerId="ADAL" clId="{6ECD27E6-B224-41CD-B4E0-E297462320DD}" dt="2023-11-24T08:43:52.124" v="53842"/>
          <ac:spMkLst>
            <pc:docMk/>
            <pc:sldMk cId="3439677884" sldId="2147473972"/>
            <ac:spMk id="406" creationId="{CB13A70B-B497-A6FD-CC46-AD496B32773A}"/>
          </ac:spMkLst>
        </pc:spChg>
        <pc:spChg chg="add del mod">
          <ac:chgData name="Steiner Andreas 6206 ED" userId="e6377c33-a923-4f14-8587-531c474c7b48" providerId="ADAL" clId="{6ECD27E6-B224-41CD-B4E0-E297462320DD}" dt="2023-11-24T08:43:54.906" v="53997"/>
          <ac:spMkLst>
            <pc:docMk/>
            <pc:sldMk cId="3439677884" sldId="2147473972"/>
            <ac:spMk id="407" creationId="{1675BA04-6442-3607-4235-B1C9EAC10D60}"/>
          </ac:spMkLst>
        </pc:spChg>
        <pc:spChg chg="add del mod">
          <ac:chgData name="Steiner Andreas 6206 ED" userId="e6377c33-a923-4f14-8587-531c474c7b48" providerId="ADAL" clId="{6ECD27E6-B224-41CD-B4E0-E297462320DD}" dt="2023-11-24T08:43:56.995" v="54152"/>
          <ac:spMkLst>
            <pc:docMk/>
            <pc:sldMk cId="3439677884" sldId="2147473972"/>
            <ac:spMk id="408" creationId="{0F9B6C61-392C-A185-5229-3C5D55D4277F}"/>
          </ac:spMkLst>
        </pc:spChg>
        <pc:spChg chg="add del mod">
          <ac:chgData name="Steiner Andreas 6206 ED" userId="e6377c33-a923-4f14-8587-531c474c7b48" providerId="ADAL" clId="{6ECD27E6-B224-41CD-B4E0-E297462320DD}" dt="2023-11-24T08:43:59.104" v="54307"/>
          <ac:spMkLst>
            <pc:docMk/>
            <pc:sldMk cId="3439677884" sldId="2147473972"/>
            <ac:spMk id="409" creationId="{62A185B7-FCBB-9016-EC71-7F8C0D4287E7}"/>
          </ac:spMkLst>
        </pc:spChg>
        <pc:spChg chg="add del mod">
          <ac:chgData name="Steiner Andreas 6206 ED" userId="e6377c33-a923-4f14-8587-531c474c7b48" providerId="ADAL" clId="{6ECD27E6-B224-41CD-B4E0-E297462320DD}" dt="2023-11-24T08:44:01.407" v="54462"/>
          <ac:spMkLst>
            <pc:docMk/>
            <pc:sldMk cId="3439677884" sldId="2147473972"/>
            <ac:spMk id="410" creationId="{CE78D359-A292-EDFB-C978-3A03B55BFD3D}"/>
          </ac:spMkLst>
        </pc:spChg>
        <pc:spChg chg="add del mod">
          <ac:chgData name="Steiner Andreas 6206 ED" userId="e6377c33-a923-4f14-8587-531c474c7b48" providerId="ADAL" clId="{6ECD27E6-B224-41CD-B4E0-E297462320DD}" dt="2023-11-24T08:44:03.531" v="54617"/>
          <ac:spMkLst>
            <pc:docMk/>
            <pc:sldMk cId="3439677884" sldId="2147473972"/>
            <ac:spMk id="411" creationId="{722496D8-8E73-E67C-F4C8-E8868025E4CB}"/>
          </ac:spMkLst>
        </pc:spChg>
        <pc:spChg chg="add del mod">
          <ac:chgData name="Steiner Andreas 6206 ED" userId="e6377c33-a923-4f14-8587-531c474c7b48" providerId="ADAL" clId="{6ECD27E6-B224-41CD-B4E0-E297462320DD}" dt="2023-11-24T08:44:05.661" v="54772"/>
          <ac:spMkLst>
            <pc:docMk/>
            <pc:sldMk cId="3439677884" sldId="2147473972"/>
            <ac:spMk id="412" creationId="{E691EB2F-65C7-7D58-B74B-5A60AD34676B}"/>
          </ac:spMkLst>
        </pc:spChg>
        <pc:spChg chg="add del mod">
          <ac:chgData name="Steiner Andreas 6206 ED" userId="e6377c33-a923-4f14-8587-531c474c7b48" providerId="ADAL" clId="{6ECD27E6-B224-41CD-B4E0-E297462320DD}" dt="2023-11-24T08:44:07.620" v="54927"/>
          <ac:spMkLst>
            <pc:docMk/>
            <pc:sldMk cId="3439677884" sldId="2147473972"/>
            <ac:spMk id="413" creationId="{27BCAE79-3D11-E64F-6135-85B83F0351D4}"/>
          </ac:spMkLst>
        </pc:spChg>
        <pc:spChg chg="add del mod">
          <ac:chgData name="Steiner Andreas 6206 ED" userId="e6377c33-a923-4f14-8587-531c474c7b48" providerId="ADAL" clId="{6ECD27E6-B224-41CD-B4E0-E297462320DD}" dt="2023-11-24T08:44:09.646" v="55082"/>
          <ac:spMkLst>
            <pc:docMk/>
            <pc:sldMk cId="3439677884" sldId="2147473972"/>
            <ac:spMk id="414" creationId="{A613A6B4-4869-8AF8-DEBC-8634E0A73794}"/>
          </ac:spMkLst>
        </pc:spChg>
        <pc:spChg chg="add del mod">
          <ac:chgData name="Steiner Andreas 6206 ED" userId="e6377c33-a923-4f14-8587-531c474c7b48" providerId="ADAL" clId="{6ECD27E6-B224-41CD-B4E0-E297462320DD}" dt="2023-11-24T08:44:11.570" v="55237"/>
          <ac:spMkLst>
            <pc:docMk/>
            <pc:sldMk cId="3439677884" sldId="2147473972"/>
            <ac:spMk id="415" creationId="{F9970B26-C9E1-92F5-DC74-72FB9F9BBF82}"/>
          </ac:spMkLst>
        </pc:spChg>
        <pc:spChg chg="add del mod">
          <ac:chgData name="Steiner Andreas 6206 ED" userId="e6377c33-a923-4f14-8587-531c474c7b48" providerId="ADAL" clId="{6ECD27E6-B224-41CD-B4E0-E297462320DD}" dt="2023-11-24T08:44:13.791" v="55392"/>
          <ac:spMkLst>
            <pc:docMk/>
            <pc:sldMk cId="3439677884" sldId="2147473972"/>
            <ac:spMk id="416" creationId="{947633F6-880A-9DE7-2463-BD82EEF76EC9}"/>
          </ac:spMkLst>
        </pc:spChg>
        <pc:spChg chg="add del mod">
          <ac:chgData name="Steiner Andreas 6206 ED" userId="e6377c33-a923-4f14-8587-531c474c7b48" providerId="ADAL" clId="{6ECD27E6-B224-41CD-B4E0-E297462320DD}" dt="2023-11-24T08:44:15.829" v="55547"/>
          <ac:spMkLst>
            <pc:docMk/>
            <pc:sldMk cId="3439677884" sldId="2147473972"/>
            <ac:spMk id="417" creationId="{92B612F9-D9AA-BA46-6D25-B9761B483D87}"/>
          </ac:spMkLst>
        </pc:spChg>
        <pc:spChg chg="add del mod">
          <ac:chgData name="Steiner Andreas 6206 ED" userId="e6377c33-a923-4f14-8587-531c474c7b48" providerId="ADAL" clId="{6ECD27E6-B224-41CD-B4E0-E297462320DD}" dt="2023-11-24T08:44:18.304" v="55702"/>
          <ac:spMkLst>
            <pc:docMk/>
            <pc:sldMk cId="3439677884" sldId="2147473972"/>
            <ac:spMk id="418" creationId="{AF9E67FB-F186-F2BA-220A-940699FD979F}"/>
          </ac:spMkLst>
        </pc:spChg>
        <pc:spChg chg="add del mod">
          <ac:chgData name="Steiner Andreas 6206 ED" userId="e6377c33-a923-4f14-8587-531c474c7b48" providerId="ADAL" clId="{6ECD27E6-B224-41CD-B4E0-E297462320DD}" dt="2023-11-24T08:44:21.051" v="55857"/>
          <ac:spMkLst>
            <pc:docMk/>
            <pc:sldMk cId="3439677884" sldId="2147473972"/>
            <ac:spMk id="419" creationId="{B59CEF27-8B51-2C6A-CB32-A788F8D358CD}"/>
          </ac:spMkLst>
        </pc:spChg>
        <pc:spChg chg="add del mod">
          <ac:chgData name="Steiner Andreas 6206 ED" userId="e6377c33-a923-4f14-8587-531c474c7b48" providerId="ADAL" clId="{6ECD27E6-B224-41CD-B4E0-E297462320DD}" dt="2023-11-24T08:44:23.583" v="56012"/>
          <ac:spMkLst>
            <pc:docMk/>
            <pc:sldMk cId="3439677884" sldId="2147473972"/>
            <ac:spMk id="420" creationId="{F5444B8A-6EE4-BF9B-E657-7E0F5E2F401E}"/>
          </ac:spMkLst>
        </pc:spChg>
        <pc:spChg chg="add del mod">
          <ac:chgData name="Steiner Andreas 6206 ED" userId="e6377c33-a923-4f14-8587-531c474c7b48" providerId="ADAL" clId="{6ECD27E6-B224-41CD-B4E0-E297462320DD}" dt="2023-11-24T08:44:25.496" v="56167"/>
          <ac:spMkLst>
            <pc:docMk/>
            <pc:sldMk cId="3439677884" sldId="2147473972"/>
            <ac:spMk id="421" creationId="{CAEC1EA2-3DE9-B480-2B11-03E4A7E93159}"/>
          </ac:spMkLst>
        </pc:spChg>
        <pc:spChg chg="add del mod">
          <ac:chgData name="Steiner Andreas 6206 ED" userId="e6377c33-a923-4f14-8587-531c474c7b48" providerId="ADAL" clId="{6ECD27E6-B224-41CD-B4E0-E297462320DD}" dt="2023-11-24T08:44:27.706" v="56322"/>
          <ac:spMkLst>
            <pc:docMk/>
            <pc:sldMk cId="3439677884" sldId="2147473972"/>
            <ac:spMk id="422" creationId="{8E9A188F-D5BE-1197-87B5-1A002E5CE054}"/>
          </ac:spMkLst>
        </pc:spChg>
        <pc:spChg chg="add del mod">
          <ac:chgData name="Steiner Andreas 6206 ED" userId="e6377c33-a923-4f14-8587-531c474c7b48" providerId="ADAL" clId="{6ECD27E6-B224-41CD-B4E0-E297462320DD}" dt="2023-11-24T08:44:29.728" v="56477"/>
          <ac:spMkLst>
            <pc:docMk/>
            <pc:sldMk cId="3439677884" sldId="2147473972"/>
            <ac:spMk id="423" creationId="{833FDEE9-2D84-2FCB-B572-FFFD039B1E2F}"/>
          </ac:spMkLst>
        </pc:spChg>
        <pc:spChg chg="add del mod">
          <ac:chgData name="Steiner Andreas 6206 ED" userId="e6377c33-a923-4f14-8587-531c474c7b48" providerId="ADAL" clId="{6ECD27E6-B224-41CD-B4E0-E297462320DD}" dt="2023-11-24T08:44:31.696" v="56632"/>
          <ac:spMkLst>
            <pc:docMk/>
            <pc:sldMk cId="3439677884" sldId="2147473972"/>
            <ac:spMk id="424" creationId="{3A4D7B96-9AC2-E517-65EC-CECEDC2ABB37}"/>
          </ac:spMkLst>
        </pc:spChg>
        <pc:spChg chg="add del mod">
          <ac:chgData name="Steiner Andreas 6206 ED" userId="e6377c33-a923-4f14-8587-531c474c7b48" providerId="ADAL" clId="{6ECD27E6-B224-41CD-B4E0-E297462320DD}" dt="2023-11-24T08:44:33.638" v="56787"/>
          <ac:spMkLst>
            <pc:docMk/>
            <pc:sldMk cId="3439677884" sldId="2147473972"/>
            <ac:spMk id="425" creationId="{11E994CE-D3BA-ABCA-A560-65F3740EF38E}"/>
          </ac:spMkLst>
        </pc:spChg>
        <pc:spChg chg="add del mod">
          <ac:chgData name="Steiner Andreas 6206 ED" userId="e6377c33-a923-4f14-8587-531c474c7b48" providerId="ADAL" clId="{6ECD27E6-B224-41CD-B4E0-E297462320DD}" dt="2023-11-24T08:44:35.904" v="56942"/>
          <ac:spMkLst>
            <pc:docMk/>
            <pc:sldMk cId="3439677884" sldId="2147473972"/>
            <ac:spMk id="426" creationId="{F7596A40-1A9A-D983-9BF0-E2B954C07F93}"/>
          </ac:spMkLst>
        </pc:spChg>
        <pc:spChg chg="add del mod">
          <ac:chgData name="Steiner Andreas 6206 ED" userId="e6377c33-a923-4f14-8587-531c474c7b48" providerId="ADAL" clId="{6ECD27E6-B224-41CD-B4E0-E297462320DD}" dt="2023-11-24T08:44:38.529" v="57097"/>
          <ac:spMkLst>
            <pc:docMk/>
            <pc:sldMk cId="3439677884" sldId="2147473972"/>
            <ac:spMk id="427" creationId="{684A70CC-AACF-BBF1-F981-D33DA8E3727F}"/>
          </ac:spMkLst>
        </pc:spChg>
        <pc:spChg chg="add del mod">
          <ac:chgData name="Steiner Andreas 6206 ED" userId="e6377c33-a923-4f14-8587-531c474c7b48" providerId="ADAL" clId="{6ECD27E6-B224-41CD-B4E0-E297462320DD}" dt="2023-11-24T08:44:40.912" v="57252"/>
          <ac:spMkLst>
            <pc:docMk/>
            <pc:sldMk cId="3439677884" sldId="2147473972"/>
            <ac:spMk id="428" creationId="{D45EA4B9-76AE-A76F-964E-BC62F8A3008E}"/>
          </ac:spMkLst>
        </pc:spChg>
        <pc:spChg chg="add del mod">
          <ac:chgData name="Steiner Andreas 6206 ED" userId="e6377c33-a923-4f14-8587-531c474c7b48" providerId="ADAL" clId="{6ECD27E6-B224-41CD-B4E0-E297462320DD}" dt="2023-11-24T08:44:43.149" v="57407"/>
          <ac:spMkLst>
            <pc:docMk/>
            <pc:sldMk cId="3439677884" sldId="2147473972"/>
            <ac:spMk id="429" creationId="{3430F642-26CB-20A8-C620-BC8A66C96C37}"/>
          </ac:spMkLst>
        </pc:spChg>
        <pc:spChg chg="add del mod">
          <ac:chgData name="Steiner Andreas 6206 ED" userId="e6377c33-a923-4f14-8587-531c474c7b48" providerId="ADAL" clId="{6ECD27E6-B224-41CD-B4E0-E297462320DD}" dt="2023-11-24T08:44:45.310" v="57562"/>
          <ac:spMkLst>
            <pc:docMk/>
            <pc:sldMk cId="3439677884" sldId="2147473972"/>
            <ac:spMk id="430" creationId="{E82FB54C-5A1A-D755-3458-3E5C6CB837AA}"/>
          </ac:spMkLst>
        </pc:spChg>
        <pc:spChg chg="add del mod">
          <ac:chgData name="Steiner Andreas 6206 ED" userId="e6377c33-a923-4f14-8587-531c474c7b48" providerId="ADAL" clId="{6ECD27E6-B224-41CD-B4E0-E297462320DD}" dt="2023-11-24T08:44:47.816" v="57717"/>
          <ac:spMkLst>
            <pc:docMk/>
            <pc:sldMk cId="3439677884" sldId="2147473972"/>
            <ac:spMk id="431" creationId="{42895F57-EA3B-4E32-F797-4640A95FCBD3}"/>
          </ac:spMkLst>
        </pc:spChg>
        <pc:spChg chg="add del mod">
          <ac:chgData name="Steiner Andreas 6206 ED" userId="e6377c33-a923-4f14-8587-531c474c7b48" providerId="ADAL" clId="{6ECD27E6-B224-41CD-B4E0-E297462320DD}" dt="2023-11-24T08:44:50.305" v="57872"/>
          <ac:spMkLst>
            <pc:docMk/>
            <pc:sldMk cId="3439677884" sldId="2147473972"/>
            <ac:spMk id="432" creationId="{BB872994-C0A8-ECCB-441F-2EBF7939706A}"/>
          </ac:spMkLst>
        </pc:spChg>
        <pc:spChg chg="add del mod">
          <ac:chgData name="Steiner Andreas 6206 ED" userId="e6377c33-a923-4f14-8587-531c474c7b48" providerId="ADAL" clId="{6ECD27E6-B224-41CD-B4E0-E297462320DD}" dt="2023-11-24T08:44:52.466" v="58027"/>
          <ac:spMkLst>
            <pc:docMk/>
            <pc:sldMk cId="3439677884" sldId="2147473972"/>
            <ac:spMk id="433" creationId="{1EDCF6C0-3892-96DD-9F6C-B43DC89BEF54}"/>
          </ac:spMkLst>
        </pc:spChg>
        <pc:spChg chg="add del mod">
          <ac:chgData name="Steiner Andreas 6206 ED" userId="e6377c33-a923-4f14-8587-531c474c7b48" providerId="ADAL" clId="{6ECD27E6-B224-41CD-B4E0-E297462320DD}" dt="2023-11-24T08:44:54.655" v="58182"/>
          <ac:spMkLst>
            <pc:docMk/>
            <pc:sldMk cId="3439677884" sldId="2147473972"/>
            <ac:spMk id="434" creationId="{D78553A2-2817-3C2D-B1A2-2B664E6DD16E}"/>
          </ac:spMkLst>
        </pc:spChg>
        <pc:spChg chg="add del mod">
          <ac:chgData name="Steiner Andreas 6206 ED" userId="e6377c33-a923-4f14-8587-531c474c7b48" providerId="ADAL" clId="{6ECD27E6-B224-41CD-B4E0-E297462320DD}" dt="2023-11-24T08:44:56.714" v="58337"/>
          <ac:spMkLst>
            <pc:docMk/>
            <pc:sldMk cId="3439677884" sldId="2147473972"/>
            <ac:spMk id="435" creationId="{9A6BA82B-4A71-E061-0040-BD8EF3C2F7E8}"/>
          </ac:spMkLst>
        </pc:spChg>
        <pc:spChg chg="add del mod">
          <ac:chgData name="Steiner Andreas 6206 ED" userId="e6377c33-a923-4f14-8587-531c474c7b48" providerId="ADAL" clId="{6ECD27E6-B224-41CD-B4E0-E297462320DD}" dt="2023-11-24T08:44:58.644" v="58492"/>
          <ac:spMkLst>
            <pc:docMk/>
            <pc:sldMk cId="3439677884" sldId="2147473972"/>
            <ac:spMk id="436" creationId="{2FA4E9A7-6CC3-B91F-B689-6358277420A2}"/>
          </ac:spMkLst>
        </pc:spChg>
        <pc:spChg chg="add del mod">
          <ac:chgData name="Steiner Andreas 6206 ED" userId="e6377c33-a923-4f14-8587-531c474c7b48" providerId="ADAL" clId="{6ECD27E6-B224-41CD-B4E0-E297462320DD}" dt="2023-11-24T08:45:00.772" v="58647"/>
          <ac:spMkLst>
            <pc:docMk/>
            <pc:sldMk cId="3439677884" sldId="2147473972"/>
            <ac:spMk id="437" creationId="{30D2C7FE-7408-BD3E-FE0F-56BCD807D4E8}"/>
          </ac:spMkLst>
        </pc:spChg>
        <pc:spChg chg="add del mod">
          <ac:chgData name="Steiner Andreas 6206 ED" userId="e6377c33-a923-4f14-8587-531c474c7b48" providerId="ADAL" clId="{6ECD27E6-B224-41CD-B4E0-E297462320DD}" dt="2023-11-24T08:45:02.731" v="58802"/>
          <ac:spMkLst>
            <pc:docMk/>
            <pc:sldMk cId="3439677884" sldId="2147473972"/>
            <ac:spMk id="438" creationId="{3186C649-1A31-0CB3-1BC8-CF79E0239057}"/>
          </ac:spMkLst>
        </pc:spChg>
        <pc:spChg chg="add del mod">
          <ac:chgData name="Steiner Andreas 6206 ED" userId="e6377c33-a923-4f14-8587-531c474c7b48" providerId="ADAL" clId="{6ECD27E6-B224-41CD-B4E0-E297462320DD}" dt="2023-11-24T08:45:04.593" v="58957"/>
          <ac:spMkLst>
            <pc:docMk/>
            <pc:sldMk cId="3439677884" sldId="2147473972"/>
            <ac:spMk id="439" creationId="{48B0E133-C986-AD45-B894-5974CB7CF29F}"/>
          </ac:spMkLst>
        </pc:spChg>
        <pc:spChg chg="add del mod">
          <ac:chgData name="Steiner Andreas 6206 ED" userId="e6377c33-a923-4f14-8587-531c474c7b48" providerId="ADAL" clId="{6ECD27E6-B224-41CD-B4E0-E297462320DD}" dt="2023-11-24T08:45:06.443" v="59112"/>
          <ac:spMkLst>
            <pc:docMk/>
            <pc:sldMk cId="3439677884" sldId="2147473972"/>
            <ac:spMk id="440" creationId="{3363BCAB-1D0D-50CF-1494-F5E54447142E}"/>
          </ac:spMkLst>
        </pc:spChg>
        <pc:spChg chg="add del mod">
          <ac:chgData name="Steiner Andreas 6206 ED" userId="e6377c33-a923-4f14-8587-531c474c7b48" providerId="ADAL" clId="{6ECD27E6-B224-41CD-B4E0-E297462320DD}" dt="2023-11-24T08:45:08.287" v="59267"/>
          <ac:spMkLst>
            <pc:docMk/>
            <pc:sldMk cId="3439677884" sldId="2147473972"/>
            <ac:spMk id="441" creationId="{7247C4BE-9080-01F1-1D64-C698B2DC11C3}"/>
          </ac:spMkLst>
        </pc:spChg>
        <pc:spChg chg="add del mod">
          <ac:chgData name="Steiner Andreas 6206 ED" userId="e6377c33-a923-4f14-8587-531c474c7b48" providerId="ADAL" clId="{6ECD27E6-B224-41CD-B4E0-E297462320DD}" dt="2023-11-24T08:45:10.083" v="59422"/>
          <ac:spMkLst>
            <pc:docMk/>
            <pc:sldMk cId="3439677884" sldId="2147473972"/>
            <ac:spMk id="442" creationId="{F398F663-57CA-6FC3-CCB5-9FF09081DE07}"/>
          </ac:spMkLst>
        </pc:spChg>
        <pc:spChg chg="add del mod">
          <ac:chgData name="Steiner Andreas 6206 ED" userId="e6377c33-a923-4f14-8587-531c474c7b48" providerId="ADAL" clId="{6ECD27E6-B224-41CD-B4E0-E297462320DD}" dt="2023-11-24T08:45:12.162" v="59577"/>
          <ac:spMkLst>
            <pc:docMk/>
            <pc:sldMk cId="3439677884" sldId="2147473972"/>
            <ac:spMk id="443" creationId="{3523A248-43F1-BFA2-FA4D-9027E190A8DB}"/>
          </ac:spMkLst>
        </pc:spChg>
        <pc:spChg chg="add del mod">
          <ac:chgData name="Steiner Andreas 6206 ED" userId="e6377c33-a923-4f14-8587-531c474c7b48" providerId="ADAL" clId="{6ECD27E6-B224-41CD-B4E0-E297462320DD}" dt="2023-11-24T08:45:14.083" v="59732"/>
          <ac:spMkLst>
            <pc:docMk/>
            <pc:sldMk cId="3439677884" sldId="2147473972"/>
            <ac:spMk id="444" creationId="{EA0CE122-78B8-BABF-0BBE-1824EEB01AD0}"/>
          </ac:spMkLst>
        </pc:spChg>
        <pc:spChg chg="add del mod">
          <ac:chgData name="Steiner Andreas 6206 ED" userId="e6377c33-a923-4f14-8587-531c474c7b48" providerId="ADAL" clId="{6ECD27E6-B224-41CD-B4E0-E297462320DD}" dt="2023-11-24T08:45:16.162" v="59887"/>
          <ac:spMkLst>
            <pc:docMk/>
            <pc:sldMk cId="3439677884" sldId="2147473972"/>
            <ac:spMk id="445" creationId="{CACFE484-5E95-BFBB-E438-D04412EBAD57}"/>
          </ac:spMkLst>
        </pc:spChg>
        <pc:spChg chg="add del mod">
          <ac:chgData name="Steiner Andreas 6206 ED" userId="e6377c33-a923-4f14-8587-531c474c7b48" providerId="ADAL" clId="{6ECD27E6-B224-41CD-B4E0-E297462320DD}" dt="2023-11-24T08:45:18.111" v="60042"/>
          <ac:spMkLst>
            <pc:docMk/>
            <pc:sldMk cId="3439677884" sldId="2147473972"/>
            <ac:spMk id="446" creationId="{95B0DF8E-63E5-55F1-6AB2-2041CB49900E}"/>
          </ac:spMkLst>
        </pc:spChg>
        <pc:spChg chg="add del mod">
          <ac:chgData name="Steiner Andreas 6206 ED" userId="e6377c33-a923-4f14-8587-531c474c7b48" providerId="ADAL" clId="{6ECD27E6-B224-41CD-B4E0-E297462320DD}" dt="2023-11-24T08:45:20.008" v="60197"/>
          <ac:spMkLst>
            <pc:docMk/>
            <pc:sldMk cId="3439677884" sldId="2147473972"/>
            <ac:spMk id="447" creationId="{8966BDB4-98E5-71B9-5DB6-B5BAF976CE96}"/>
          </ac:spMkLst>
        </pc:spChg>
        <pc:spChg chg="add del mod">
          <ac:chgData name="Steiner Andreas 6206 ED" userId="e6377c33-a923-4f14-8587-531c474c7b48" providerId="ADAL" clId="{6ECD27E6-B224-41CD-B4E0-E297462320DD}" dt="2023-11-24T08:45:22.079" v="60352"/>
          <ac:spMkLst>
            <pc:docMk/>
            <pc:sldMk cId="3439677884" sldId="2147473972"/>
            <ac:spMk id="448" creationId="{6C608BAF-7C80-9C42-C43E-71F704A7AFEA}"/>
          </ac:spMkLst>
        </pc:spChg>
        <pc:spChg chg="add del mod">
          <ac:chgData name="Steiner Andreas 6206 ED" userId="e6377c33-a923-4f14-8587-531c474c7b48" providerId="ADAL" clId="{6ECD27E6-B224-41CD-B4E0-E297462320DD}" dt="2023-11-24T08:45:24.302" v="60507"/>
          <ac:spMkLst>
            <pc:docMk/>
            <pc:sldMk cId="3439677884" sldId="2147473972"/>
            <ac:spMk id="449" creationId="{87CE0370-AB33-BC8F-A073-5383433C637C}"/>
          </ac:spMkLst>
        </pc:spChg>
        <pc:spChg chg="add del mod">
          <ac:chgData name="Steiner Andreas 6206 ED" userId="e6377c33-a923-4f14-8587-531c474c7b48" providerId="ADAL" clId="{6ECD27E6-B224-41CD-B4E0-E297462320DD}" dt="2023-11-24T08:45:26.317" v="60662"/>
          <ac:spMkLst>
            <pc:docMk/>
            <pc:sldMk cId="3439677884" sldId="2147473972"/>
            <ac:spMk id="450" creationId="{21EB2F0E-3507-0537-7154-3739733B76D3}"/>
          </ac:spMkLst>
        </pc:spChg>
        <pc:spChg chg="add del mod">
          <ac:chgData name="Steiner Andreas 6206 ED" userId="e6377c33-a923-4f14-8587-531c474c7b48" providerId="ADAL" clId="{6ECD27E6-B224-41CD-B4E0-E297462320DD}" dt="2023-11-24T08:45:28.219" v="60817"/>
          <ac:spMkLst>
            <pc:docMk/>
            <pc:sldMk cId="3439677884" sldId="2147473972"/>
            <ac:spMk id="451" creationId="{CEB209C0-EE7C-F813-B4DA-19632CD25C11}"/>
          </ac:spMkLst>
        </pc:spChg>
        <pc:spChg chg="add del mod">
          <ac:chgData name="Steiner Andreas 6206 ED" userId="e6377c33-a923-4f14-8587-531c474c7b48" providerId="ADAL" clId="{6ECD27E6-B224-41CD-B4E0-E297462320DD}" dt="2023-11-24T08:45:30.041" v="60972"/>
          <ac:spMkLst>
            <pc:docMk/>
            <pc:sldMk cId="3439677884" sldId="2147473972"/>
            <ac:spMk id="452" creationId="{D2DF44F2-3073-217F-0DD5-CDF90F6F5C3D}"/>
          </ac:spMkLst>
        </pc:spChg>
        <pc:spChg chg="add del mod">
          <ac:chgData name="Steiner Andreas 6206 ED" userId="e6377c33-a923-4f14-8587-531c474c7b48" providerId="ADAL" clId="{6ECD27E6-B224-41CD-B4E0-E297462320DD}" dt="2023-11-24T08:45:31.909" v="61127"/>
          <ac:spMkLst>
            <pc:docMk/>
            <pc:sldMk cId="3439677884" sldId="2147473972"/>
            <ac:spMk id="453" creationId="{7E35C8DB-40F4-B892-4800-FA9C88093D06}"/>
          </ac:spMkLst>
        </pc:spChg>
        <pc:spChg chg="add del mod">
          <ac:chgData name="Steiner Andreas 6206 ED" userId="e6377c33-a923-4f14-8587-531c474c7b48" providerId="ADAL" clId="{6ECD27E6-B224-41CD-B4E0-E297462320DD}" dt="2023-11-24T08:45:33.964" v="61282"/>
          <ac:spMkLst>
            <pc:docMk/>
            <pc:sldMk cId="3439677884" sldId="2147473972"/>
            <ac:spMk id="454" creationId="{B2162423-C347-1649-5A96-0C25E19B2FF7}"/>
          </ac:spMkLst>
        </pc:spChg>
        <pc:spChg chg="add del mod">
          <ac:chgData name="Steiner Andreas 6206 ED" userId="e6377c33-a923-4f14-8587-531c474c7b48" providerId="ADAL" clId="{6ECD27E6-B224-41CD-B4E0-E297462320DD}" dt="2023-11-24T08:45:36.041" v="61437"/>
          <ac:spMkLst>
            <pc:docMk/>
            <pc:sldMk cId="3439677884" sldId="2147473972"/>
            <ac:spMk id="455" creationId="{AAEC82EB-AB74-FFAC-F0BE-53D16F14391B}"/>
          </ac:spMkLst>
        </pc:spChg>
        <pc:spChg chg="add del mod">
          <ac:chgData name="Steiner Andreas 6206 ED" userId="e6377c33-a923-4f14-8587-531c474c7b48" providerId="ADAL" clId="{6ECD27E6-B224-41CD-B4E0-E297462320DD}" dt="2023-11-24T08:45:37.987" v="61592"/>
          <ac:spMkLst>
            <pc:docMk/>
            <pc:sldMk cId="3439677884" sldId="2147473972"/>
            <ac:spMk id="456" creationId="{0C093D61-35F5-DEA8-9DCD-AA37446053AB}"/>
          </ac:spMkLst>
        </pc:spChg>
        <pc:spChg chg="add del mod">
          <ac:chgData name="Steiner Andreas 6206 ED" userId="e6377c33-a923-4f14-8587-531c474c7b48" providerId="ADAL" clId="{6ECD27E6-B224-41CD-B4E0-E297462320DD}" dt="2023-11-24T08:45:39.851" v="61747"/>
          <ac:spMkLst>
            <pc:docMk/>
            <pc:sldMk cId="3439677884" sldId="2147473972"/>
            <ac:spMk id="457" creationId="{77FC0B81-C0D4-9341-E196-32F432CB4813}"/>
          </ac:spMkLst>
        </pc:spChg>
        <pc:spChg chg="add del mod">
          <ac:chgData name="Steiner Andreas 6206 ED" userId="e6377c33-a923-4f14-8587-531c474c7b48" providerId="ADAL" clId="{6ECD27E6-B224-41CD-B4E0-E297462320DD}" dt="2023-11-24T08:45:41.836" v="61902"/>
          <ac:spMkLst>
            <pc:docMk/>
            <pc:sldMk cId="3439677884" sldId="2147473972"/>
            <ac:spMk id="458" creationId="{F9933076-80C5-89BD-58E2-4EB670FB8705}"/>
          </ac:spMkLst>
        </pc:spChg>
        <pc:spChg chg="add del mod">
          <ac:chgData name="Steiner Andreas 6206 ED" userId="e6377c33-a923-4f14-8587-531c474c7b48" providerId="ADAL" clId="{6ECD27E6-B224-41CD-B4E0-E297462320DD}" dt="2023-11-24T08:45:43.851" v="62057"/>
          <ac:spMkLst>
            <pc:docMk/>
            <pc:sldMk cId="3439677884" sldId="2147473972"/>
            <ac:spMk id="459" creationId="{EEF50450-7EEC-DAC1-B216-A8C8C45C0558}"/>
          </ac:spMkLst>
        </pc:spChg>
        <pc:spChg chg="add del mod">
          <ac:chgData name="Steiner Andreas 6206 ED" userId="e6377c33-a923-4f14-8587-531c474c7b48" providerId="ADAL" clId="{6ECD27E6-B224-41CD-B4E0-E297462320DD}" dt="2023-11-24T08:45:45.943" v="62212"/>
          <ac:spMkLst>
            <pc:docMk/>
            <pc:sldMk cId="3439677884" sldId="2147473972"/>
            <ac:spMk id="460" creationId="{66CA2EC3-FF40-D888-CA87-59CDAF308B6B}"/>
          </ac:spMkLst>
        </pc:spChg>
        <pc:spChg chg="add del mod">
          <ac:chgData name="Steiner Andreas 6206 ED" userId="e6377c33-a923-4f14-8587-531c474c7b48" providerId="ADAL" clId="{6ECD27E6-B224-41CD-B4E0-E297462320DD}" dt="2023-11-24T08:45:47.836" v="62367"/>
          <ac:spMkLst>
            <pc:docMk/>
            <pc:sldMk cId="3439677884" sldId="2147473972"/>
            <ac:spMk id="461" creationId="{28EB76B9-2322-7F7B-E8E0-90609B58E816}"/>
          </ac:spMkLst>
        </pc:spChg>
        <pc:spChg chg="add del mod">
          <ac:chgData name="Steiner Andreas 6206 ED" userId="e6377c33-a923-4f14-8587-531c474c7b48" providerId="ADAL" clId="{6ECD27E6-B224-41CD-B4E0-E297462320DD}" dt="2023-11-24T08:45:50.076" v="62522"/>
          <ac:spMkLst>
            <pc:docMk/>
            <pc:sldMk cId="3439677884" sldId="2147473972"/>
            <ac:spMk id="462" creationId="{9127BAEB-AD46-1049-46EF-B7FDD5928108}"/>
          </ac:spMkLst>
        </pc:spChg>
        <pc:spChg chg="add del mod">
          <ac:chgData name="Steiner Andreas 6206 ED" userId="e6377c33-a923-4f14-8587-531c474c7b48" providerId="ADAL" clId="{6ECD27E6-B224-41CD-B4E0-E297462320DD}" dt="2023-11-24T08:45:52.196" v="62677"/>
          <ac:spMkLst>
            <pc:docMk/>
            <pc:sldMk cId="3439677884" sldId="2147473972"/>
            <ac:spMk id="463" creationId="{AC084C2E-5CB3-005B-37F6-97D75812AD22}"/>
          </ac:spMkLst>
        </pc:spChg>
        <pc:spChg chg="add del mod">
          <ac:chgData name="Steiner Andreas 6206 ED" userId="e6377c33-a923-4f14-8587-531c474c7b48" providerId="ADAL" clId="{6ECD27E6-B224-41CD-B4E0-E297462320DD}" dt="2023-11-24T08:45:54.189" v="62832"/>
          <ac:spMkLst>
            <pc:docMk/>
            <pc:sldMk cId="3439677884" sldId="2147473972"/>
            <ac:spMk id="464" creationId="{858B3693-EE4F-33B2-F6A9-986AAAAB27B0}"/>
          </ac:spMkLst>
        </pc:spChg>
        <pc:spChg chg="add del mod">
          <ac:chgData name="Steiner Andreas 6206 ED" userId="e6377c33-a923-4f14-8587-531c474c7b48" providerId="ADAL" clId="{6ECD27E6-B224-41CD-B4E0-E297462320DD}" dt="2023-11-24T08:45:56.319" v="62987"/>
          <ac:spMkLst>
            <pc:docMk/>
            <pc:sldMk cId="3439677884" sldId="2147473972"/>
            <ac:spMk id="465" creationId="{60B788C0-6BA0-3275-76C9-DA0347DD407B}"/>
          </ac:spMkLst>
        </pc:spChg>
        <pc:spChg chg="add del mod">
          <ac:chgData name="Steiner Andreas 6206 ED" userId="e6377c33-a923-4f14-8587-531c474c7b48" providerId="ADAL" clId="{6ECD27E6-B224-41CD-B4E0-E297462320DD}" dt="2023-11-24T08:45:58.427" v="63142"/>
          <ac:spMkLst>
            <pc:docMk/>
            <pc:sldMk cId="3439677884" sldId="2147473972"/>
            <ac:spMk id="466" creationId="{BB8F2289-1A74-86CA-07D2-01A7F135E392}"/>
          </ac:spMkLst>
        </pc:spChg>
        <pc:spChg chg="add del mod">
          <ac:chgData name="Steiner Andreas 6206 ED" userId="e6377c33-a923-4f14-8587-531c474c7b48" providerId="ADAL" clId="{6ECD27E6-B224-41CD-B4E0-E297462320DD}" dt="2023-11-24T08:46:00.498" v="63297"/>
          <ac:spMkLst>
            <pc:docMk/>
            <pc:sldMk cId="3439677884" sldId="2147473972"/>
            <ac:spMk id="467" creationId="{2E69DD70-0793-24D2-EBEB-C39156C7FDE8}"/>
          </ac:spMkLst>
        </pc:spChg>
        <pc:spChg chg="add del mod">
          <ac:chgData name="Steiner Andreas 6206 ED" userId="e6377c33-a923-4f14-8587-531c474c7b48" providerId="ADAL" clId="{6ECD27E6-B224-41CD-B4E0-E297462320DD}" dt="2023-11-24T08:46:02.578" v="63452"/>
          <ac:spMkLst>
            <pc:docMk/>
            <pc:sldMk cId="3439677884" sldId="2147473972"/>
            <ac:spMk id="468" creationId="{0776BE12-E9FA-FD3C-96D1-759CB87CD9F0}"/>
          </ac:spMkLst>
        </pc:spChg>
        <pc:spChg chg="add del mod">
          <ac:chgData name="Steiner Andreas 6206 ED" userId="e6377c33-a923-4f14-8587-531c474c7b48" providerId="ADAL" clId="{6ECD27E6-B224-41CD-B4E0-E297462320DD}" dt="2023-11-24T08:46:04.762" v="63607"/>
          <ac:spMkLst>
            <pc:docMk/>
            <pc:sldMk cId="3439677884" sldId="2147473972"/>
            <ac:spMk id="469" creationId="{7355598A-7F1B-9338-EB92-55A5392CD738}"/>
          </ac:spMkLst>
        </pc:spChg>
        <pc:spChg chg="add del mod">
          <ac:chgData name="Steiner Andreas 6206 ED" userId="e6377c33-a923-4f14-8587-531c474c7b48" providerId="ADAL" clId="{6ECD27E6-B224-41CD-B4E0-E297462320DD}" dt="2023-11-24T08:46:07.466" v="63762"/>
          <ac:spMkLst>
            <pc:docMk/>
            <pc:sldMk cId="3439677884" sldId="2147473972"/>
            <ac:spMk id="470" creationId="{C4F8F0F6-45BA-15F1-61AE-BCC4B95053C0}"/>
          </ac:spMkLst>
        </pc:spChg>
        <pc:spChg chg="add del mod">
          <ac:chgData name="Steiner Andreas 6206 ED" userId="e6377c33-a923-4f14-8587-531c474c7b48" providerId="ADAL" clId="{6ECD27E6-B224-41CD-B4E0-E297462320DD}" dt="2023-11-24T08:46:09.668" v="63917"/>
          <ac:spMkLst>
            <pc:docMk/>
            <pc:sldMk cId="3439677884" sldId="2147473972"/>
            <ac:spMk id="471" creationId="{EE34214E-AECE-2F0F-AFD6-1F70E1DBE482}"/>
          </ac:spMkLst>
        </pc:spChg>
        <pc:spChg chg="add del mod">
          <ac:chgData name="Steiner Andreas 6206 ED" userId="e6377c33-a923-4f14-8587-531c474c7b48" providerId="ADAL" clId="{6ECD27E6-B224-41CD-B4E0-E297462320DD}" dt="2023-11-24T08:46:11.822" v="64072"/>
          <ac:spMkLst>
            <pc:docMk/>
            <pc:sldMk cId="3439677884" sldId="2147473972"/>
            <ac:spMk id="472" creationId="{24DDFD20-A897-8408-0DE5-1F127ABB568A}"/>
          </ac:spMkLst>
        </pc:spChg>
        <pc:spChg chg="add del mod">
          <ac:chgData name="Steiner Andreas 6206 ED" userId="e6377c33-a923-4f14-8587-531c474c7b48" providerId="ADAL" clId="{6ECD27E6-B224-41CD-B4E0-E297462320DD}" dt="2023-11-24T08:46:13.992" v="64227"/>
          <ac:spMkLst>
            <pc:docMk/>
            <pc:sldMk cId="3439677884" sldId="2147473972"/>
            <ac:spMk id="473" creationId="{A83B7C27-DF45-B9D2-9573-D0E7D142B87A}"/>
          </ac:spMkLst>
        </pc:spChg>
        <pc:spChg chg="add del mod">
          <ac:chgData name="Steiner Andreas 6206 ED" userId="e6377c33-a923-4f14-8587-531c474c7b48" providerId="ADAL" clId="{6ECD27E6-B224-41CD-B4E0-E297462320DD}" dt="2023-11-24T08:46:16.231" v="64382"/>
          <ac:spMkLst>
            <pc:docMk/>
            <pc:sldMk cId="3439677884" sldId="2147473972"/>
            <ac:spMk id="474" creationId="{05A8AA52-00BB-76FA-7E59-BD9EB8ED4C3F}"/>
          </ac:spMkLst>
        </pc:spChg>
        <pc:spChg chg="add del mod">
          <ac:chgData name="Steiner Andreas 6206 ED" userId="e6377c33-a923-4f14-8587-531c474c7b48" providerId="ADAL" clId="{6ECD27E6-B224-41CD-B4E0-E297462320DD}" dt="2023-11-24T08:46:18.136" v="64537"/>
          <ac:spMkLst>
            <pc:docMk/>
            <pc:sldMk cId="3439677884" sldId="2147473972"/>
            <ac:spMk id="475" creationId="{DD34E66E-52DE-912E-59AD-6DC0D475DCFE}"/>
          </ac:spMkLst>
        </pc:spChg>
        <pc:spChg chg="add del mod">
          <ac:chgData name="Steiner Andreas 6206 ED" userId="e6377c33-a923-4f14-8587-531c474c7b48" providerId="ADAL" clId="{6ECD27E6-B224-41CD-B4E0-E297462320DD}" dt="2023-11-24T08:46:20.557" v="64692"/>
          <ac:spMkLst>
            <pc:docMk/>
            <pc:sldMk cId="3439677884" sldId="2147473972"/>
            <ac:spMk id="476" creationId="{AEBE9572-427D-2EB6-E48D-AC4A93D9D203}"/>
          </ac:spMkLst>
        </pc:spChg>
        <pc:spChg chg="add del mod">
          <ac:chgData name="Steiner Andreas 6206 ED" userId="e6377c33-a923-4f14-8587-531c474c7b48" providerId="ADAL" clId="{6ECD27E6-B224-41CD-B4E0-E297462320DD}" dt="2023-11-24T08:46:22.881" v="64847"/>
          <ac:spMkLst>
            <pc:docMk/>
            <pc:sldMk cId="3439677884" sldId="2147473972"/>
            <ac:spMk id="477" creationId="{AD4FACAC-82E9-C89E-0082-E9C2E2D5699E}"/>
          </ac:spMkLst>
        </pc:spChg>
        <pc:spChg chg="add del mod">
          <ac:chgData name="Steiner Andreas 6206 ED" userId="e6377c33-a923-4f14-8587-531c474c7b48" providerId="ADAL" clId="{6ECD27E6-B224-41CD-B4E0-E297462320DD}" dt="2023-11-24T08:46:25.150" v="65002"/>
          <ac:spMkLst>
            <pc:docMk/>
            <pc:sldMk cId="3439677884" sldId="2147473972"/>
            <ac:spMk id="478" creationId="{7CF0953E-1296-077B-F965-0959A3FA6869}"/>
          </ac:spMkLst>
        </pc:spChg>
        <pc:spChg chg="add del mod">
          <ac:chgData name="Steiner Andreas 6206 ED" userId="e6377c33-a923-4f14-8587-531c474c7b48" providerId="ADAL" clId="{6ECD27E6-B224-41CD-B4E0-E297462320DD}" dt="2023-11-24T08:46:27.497" v="65157"/>
          <ac:spMkLst>
            <pc:docMk/>
            <pc:sldMk cId="3439677884" sldId="2147473972"/>
            <ac:spMk id="479" creationId="{80967D0E-DAD8-D3A2-AACD-3C2112944B83}"/>
          </ac:spMkLst>
        </pc:spChg>
        <pc:spChg chg="add del mod">
          <ac:chgData name="Steiner Andreas 6206 ED" userId="e6377c33-a923-4f14-8587-531c474c7b48" providerId="ADAL" clId="{6ECD27E6-B224-41CD-B4E0-E297462320DD}" dt="2023-11-24T08:46:29.489" v="65312"/>
          <ac:spMkLst>
            <pc:docMk/>
            <pc:sldMk cId="3439677884" sldId="2147473972"/>
            <ac:spMk id="480" creationId="{CA5C3A70-889A-85F5-E48D-09D8336268B8}"/>
          </ac:spMkLst>
        </pc:spChg>
        <pc:spChg chg="add del mod">
          <ac:chgData name="Steiner Andreas 6206 ED" userId="e6377c33-a923-4f14-8587-531c474c7b48" providerId="ADAL" clId="{6ECD27E6-B224-41CD-B4E0-E297462320DD}" dt="2023-11-24T08:46:31.941" v="65467"/>
          <ac:spMkLst>
            <pc:docMk/>
            <pc:sldMk cId="3439677884" sldId="2147473972"/>
            <ac:spMk id="481" creationId="{69521ABB-6D08-C33F-95B7-438EDEEA49C0}"/>
          </ac:spMkLst>
        </pc:spChg>
        <pc:spChg chg="add del mod">
          <ac:chgData name="Steiner Andreas 6206 ED" userId="e6377c33-a923-4f14-8587-531c474c7b48" providerId="ADAL" clId="{6ECD27E6-B224-41CD-B4E0-E297462320DD}" dt="2023-11-24T08:46:34.067" v="65622"/>
          <ac:spMkLst>
            <pc:docMk/>
            <pc:sldMk cId="3439677884" sldId="2147473972"/>
            <ac:spMk id="482" creationId="{5470A62C-68D7-B556-6D8D-692B13B818C3}"/>
          </ac:spMkLst>
        </pc:spChg>
        <pc:spChg chg="add del mod">
          <ac:chgData name="Steiner Andreas 6206 ED" userId="e6377c33-a923-4f14-8587-531c474c7b48" providerId="ADAL" clId="{6ECD27E6-B224-41CD-B4E0-E297462320DD}" dt="2023-11-24T08:46:36.012" v="65777"/>
          <ac:spMkLst>
            <pc:docMk/>
            <pc:sldMk cId="3439677884" sldId="2147473972"/>
            <ac:spMk id="483" creationId="{EA6950EC-1F9F-980B-F97B-3F5D1913B376}"/>
          </ac:spMkLst>
        </pc:spChg>
        <pc:spChg chg="add del mod">
          <ac:chgData name="Steiner Andreas 6206 ED" userId="e6377c33-a923-4f14-8587-531c474c7b48" providerId="ADAL" clId="{6ECD27E6-B224-41CD-B4E0-E297462320DD}" dt="2023-11-24T08:46:38.067" v="65932"/>
          <ac:spMkLst>
            <pc:docMk/>
            <pc:sldMk cId="3439677884" sldId="2147473972"/>
            <ac:spMk id="484" creationId="{351E51DF-1536-50F3-011F-ACCF25959582}"/>
          </ac:spMkLst>
        </pc:spChg>
        <pc:spChg chg="add del mod">
          <ac:chgData name="Steiner Andreas 6206 ED" userId="e6377c33-a923-4f14-8587-531c474c7b48" providerId="ADAL" clId="{6ECD27E6-B224-41CD-B4E0-E297462320DD}" dt="2023-11-24T08:46:40.135" v="66087"/>
          <ac:spMkLst>
            <pc:docMk/>
            <pc:sldMk cId="3439677884" sldId="2147473972"/>
            <ac:spMk id="485" creationId="{2F8CD041-4917-742D-AF5C-C59CA8B1BCCD}"/>
          </ac:spMkLst>
        </pc:spChg>
        <pc:spChg chg="add del mod">
          <ac:chgData name="Steiner Andreas 6206 ED" userId="e6377c33-a923-4f14-8587-531c474c7b48" providerId="ADAL" clId="{6ECD27E6-B224-41CD-B4E0-E297462320DD}" dt="2023-11-24T08:46:42.379" v="66242"/>
          <ac:spMkLst>
            <pc:docMk/>
            <pc:sldMk cId="3439677884" sldId="2147473972"/>
            <ac:spMk id="486" creationId="{AC981C4B-5E81-BADA-34EA-2843848C7C6E}"/>
          </ac:spMkLst>
        </pc:spChg>
        <pc:spChg chg="add del mod">
          <ac:chgData name="Steiner Andreas 6206 ED" userId="e6377c33-a923-4f14-8587-531c474c7b48" providerId="ADAL" clId="{6ECD27E6-B224-41CD-B4E0-E297462320DD}" dt="2023-11-24T08:46:44.534" v="66397"/>
          <ac:spMkLst>
            <pc:docMk/>
            <pc:sldMk cId="3439677884" sldId="2147473972"/>
            <ac:spMk id="487" creationId="{8589BCB3-BF6E-C1FE-2B74-EE9743EBB9BC}"/>
          </ac:spMkLst>
        </pc:spChg>
        <pc:spChg chg="add del mod">
          <ac:chgData name="Steiner Andreas 6206 ED" userId="e6377c33-a923-4f14-8587-531c474c7b48" providerId="ADAL" clId="{6ECD27E6-B224-41CD-B4E0-E297462320DD}" dt="2023-11-24T08:46:46.599" v="66552"/>
          <ac:spMkLst>
            <pc:docMk/>
            <pc:sldMk cId="3439677884" sldId="2147473972"/>
            <ac:spMk id="488" creationId="{9431516A-0A77-ADDC-E5E5-70B91AE510D5}"/>
          </ac:spMkLst>
        </pc:spChg>
        <pc:spChg chg="add del mod">
          <ac:chgData name="Steiner Andreas 6206 ED" userId="e6377c33-a923-4f14-8587-531c474c7b48" providerId="ADAL" clId="{6ECD27E6-B224-41CD-B4E0-E297462320DD}" dt="2023-11-24T08:46:48.653" v="66707"/>
          <ac:spMkLst>
            <pc:docMk/>
            <pc:sldMk cId="3439677884" sldId="2147473972"/>
            <ac:spMk id="489" creationId="{28B23435-C778-6060-6681-729218C8FA64}"/>
          </ac:spMkLst>
        </pc:spChg>
        <pc:spChg chg="add del mod">
          <ac:chgData name="Steiner Andreas 6206 ED" userId="e6377c33-a923-4f14-8587-531c474c7b48" providerId="ADAL" clId="{6ECD27E6-B224-41CD-B4E0-E297462320DD}" dt="2023-11-24T08:46:50.676" v="66862"/>
          <ac:spMkLst>
            <pc:docMk/>
            <pc:sldMk cId="3439677884" sldId="2147473972"/>
            <ac:spMk id="490" creationId="{DA030921-6E1F-3A06-65B9-D9AAD293242F}"/>
          </ac:spMkLst>
        </pc:spChg>
        <pc:spChg chg="add del mod">
          <ac:chgData name="Steiner Andreas 6206 ED" userId="e6377c33-a923-4f14-8587-531c474c7b48" providerId="ADAL" clId="{6ECD27E6-B224-41CD-B4E0-E297462320DD}" dt="2023-11-24T08:46:52.877" v="67017"/>
          <ac:spMkLst>
            <pc:docMk/>
            <pc:sldMk cId="3439677884" sldId="2147473972"/>
            <ac:spMk id="491" creationId="{DD0A29A8-0037-53C2-6285-EA2EE2E2BC63}"/>
          </ac:spMkLst>
        </pc:spChg>
        <pc:spChg chg="add del mod">
          <ac:chgData name="Steiner Andreas 6206 ED" userId="e6377c33-a923-4f14-8587-531c474c7b48" providerId="ADAL" clId="{6ECD27E6-B224-41CD-B4E0-E297462320DD}" dt="2023-11-24T08:46:54.798" v="67172"/>
          <ac:spMkLst>
            <pc:docMk/>
            <pc:sldMk cId="3439677884" sldId="2147473972"/>
            <ac:spMk id="492" creationId="{CC722C1C-4A24-927C-EDBC-BFAB0645D8A0}"/>
          </ac:spMkLst>
        </pc:spChg>
        <pc:spChg chg="add del mod">
          <ac:chgData name="Steiner Andreas 6206 ED" userId="e6377c33-a923-4f14-8587-531c474c7b48" providerId="ADAL" clId="{6ECD27E6-B224-41CD-B4E0-E297462320DD}" dt="2023-11-24T08:46:56.809" v="67327"/>
          <ac:spMkLst>
            <pc:docMk/>
            <pc:sldMk cId="3439677884" sldId="2147473972"/>
            <ac:spMk id="493" creationId="{324903DF-22A7-B18A-EA2B-F5C0CBB96371}"/>
          </ac:spMkLst>
        </pc:spChg>
        <pc:spChg chg="add del mod">
          <ac:chgData name="Steiner Andreas 6206 ED" userId="e6377c33-a923-4f14-8587-531c474c7b48" providerId="ADAL" clId="{6ECD27E6-B224-41CD-B4E0-E297462320DD}" dt="2023-11-24T08:46:58.684" v="67482"/>
          <ac:spMkLst>
            <pc:docMk/>
            <pc:sldMk cId="3439677884" sldId="2147473972"/>
            <ac:spMk id="494" creationId="{DA047C7A-4734-1CC1-3FEC-EBFDA9EB1932}"/>
          </ac:spMkLst>
        </pc:spChg>
        <pc:spChg chg="add del mod">
          <ac:chgData name="Steiner Andreas 6206 ED" userId="e6377c33-a923-4f14-8587-531c474c7b48" providerId="ADAL" clId="{6ECD27E6-B224-41CD-B4E0-E297462320DD}" dt="2023-11-24T08:47:00.760" v="67637"/>
          <ac:spMkLst>
            <pc:docMk/>
            <pc:sldMk cId="3439677884" sldId="2147473972"/>
            <ac:spMk id="495" creationId="{5BC9794E-CD9F-E933-E42A-6123E23D3F2A}"/>
          </ac:spMkLst>
        </pc:spChg>
        <pc:spChg chg="add del mod">
          <ac:chgData name="Steiner Andreas 6206 ED" userId="e6377c33-a923-4f14-8587-531c474c7b48" providerId="ADAL" clId="{6ECD27E6-B224-41CD-B4E0-E297462320DD}" dt="2023-11-24T08:47:02.885" v="67792"/>
          <ac:spMkLst>
            <pc:docMk/>
            <pc:sldMk cId="3439677884" sldId="2147473972"/>
            <ac:spMk id="496" creationId="{9C79A491-F9E7-1C91-426A-2860A18D4E1E}"/>
          </ac:spMkLst>
        </pc:spChg>
        <pc:spChg chg="add del mod">
          <ac:chgData name="Steiner Andreas 6206 ED" userId="e6377c33-a923-4f14-8587-531c474c7b48" providerId="ADAL" clId="{6ECD27E6-B224-41CD-B4E0-E297462320DD}" dt="2023-11-24T08:47:04.953" v="67947"/>
          <ac:spMkLst>
            <pc:docMk/>
            <pc:sldMk cId="3439677884" sldId="2147473972"/>
            <ac:spMk id="497" creationId="{16373EFF-FF91-D5E4-77B9-0A8413A69A4A}"/>
          </ac:spMkLst>
        </pc:spChg>
        <pc:spChg chg="add del mod">
          <ac:chgData name="Steiner Andreas 6206 ED" userId="e6377c33-a923-4f14-8587-531c474c7b48" providerId="ADAL" clId="{6ECD27E6-B224-41CD-B4E0-E297462320DD}" dt="2023-11-24T08:47:06.731" v="68102"/>
          <ac:spMkLst>
            <pc:docMk/>
            <pc:sldMk cId="3439677884" sldId="2147473972"/>
            <ac:spMk id="498" creationId="{5B1673B9-0B9B-3ABD-3B69-154CC6184A49}"/>
          </ac:spMkLst>
        </pc:spChg>
        <pc:spChg chg="add del mod">
          <ac:chgData name="Steiner Andreas 6206 ED" userId="e6377c33-a923-4f14-8587-531c474c7b48" providerId="ADAL" clId="{6ECD27E6-B224-41CD-B4E0-E297462320DD}" dt="2023-11-24T08:47:08.599" v="68257"/>
          <ac:spMkLst>
            <pc:docMk/>
            <pc:sldMk cId="3439677884" sldId="2147473972"/>
            <ac:spMk id="499" creationId="{95C67EAC-B6F2-7862-C23A-07DB0411C883}"/>
          </ac:spMkLst>
        </pc:spChg>
        <pc:spChg chg="add del mod">
          <ac:chgData name="Steiner Andreas 6206 ED" userId="e6377c33-a923-4f14-8587-531c474c7b48" providerId="ADAL" clId="{6ECD27E6-B224-41CD-B4E0-E297462320DD}" dt="2023-11-24T08:47:10.464" v="68412"/>
          <ac:spMkLst>
            <pc:docMk/>
            <pc:sldMk cId="3439677884" sldId="2147473972"/>
            <ac:spMk id="500" creationId="{EA1E937C-8B14-C41E-922A-27C99EBB83FE}"/>
          </ac:spMkLst>
        </pc:spChg>
        <pc:spChg chg="add del mod">
          <ac:chgData name="Steiner Andreas 6206 ED" userId="e6377c33-a923-4f14-8587-531c474c7b48" providerId="ADAL" clId="{6ECD27E6-B224-41CD-B4E0-E297462320DD}" dt="2023-11-24T08:47:12.368" v="68567"/>
          <ac:spMkLst>
            <pc:docMk/>
            <pc:sldMk cId="3439677884" sldId="2147473972"/>
            <ac:spMk id="501" creationId="{9223843A-9198-24D9-A813-B5E6F958A7F7}"/>
          </ac:spMkLst>
        </pc:spChg>
        <pc:spChg chg="add del mod">
          <ac:chgData name="Steiner Andreas 6206 ED" userId="e6377c33-a923-4f14-8587-531c474c7b48" providerId="ADAL" clId="{6ECD27E6-B224-41CD-B4E0-E297462320DD}" dt="2023-11-24T08:47:14.464" v="68722"/>
          <ac:spMkLst>
            <pc:docMk/>
            <pc:sldMk cId="3439677884" sldId="2147473972"/>
            <ac:spMk id="502" creationId="{EEC1ADB1-B04B-EFD2-9BAF-99ADE8A9DE35}"/>
          </ac:spMkLst>
        </pc:spChg>
        <pc:spChg chg="add del mod">
          <ac:chgData name="Steiner Andreas 6206 ED" userId="e6377c33-a923-4f14-8587-531c474c7b48" providerId="ADAL" clId="{6ECD27E6-B224-41CD-B4E0-E297462320DD}" dt="2023-11-24T08:47:16.502" v="68877"/>
          <ac:spMkLst>
            <pc:docMk/>
            <pc:sldMk cId="3439677884" sldId="2147473972"/>
            <ac:spMk id="503" creationId="{C70E2779-987E-CE17-4BE9-B1A878926BE4}"/>
          </ac:spMkLst>
        </pc:spChg>
        <pc:spChg chg="add del mod">
          <ac:chgData name="Steiner Andreas 6206 ED" userId="e6377c33-a923-4f14-8587-531c474c7b48" providerId="ADAL" clId="{6ECD27E6-B224-41CD-B4E0-E297462320DD}" dt="2023-11-24T08:47:18.389" v="69032"/>
          <ac:spMkLst>
            <pc:docMk/>
            <pc:sldMk cId="3439677884" sldId="2147473972"/>
            <ac:spMk id="504" creationId="{3AA048EE-A36D-7DF3-5DBE-B4A2EF4ACC04}"/>
          </ac:spMkLst>
        </pc:spChg>
        <pc:spChg chg="add del mod">
          <ac:chgData name="Steiner Andreas 6206 ED" userId="e6377c33-a923-4f14-8587-531c474c7b48" providerId="ADAL" clId="{6ECD27E6-B224-41CD-B4E0-E297462320DD}" dt="2023-11-24T08:47:20.393" v="69187"/>
          <ac:spMkLst>
            <pc:docMk/>
            <pc:sldMk cId="3439677884" sldId="2147473972"/>
            <ac:spMk id="505" creationId="{29BE79F5-6E73-252D-12A9-3B6327B4F940}"/>
          </ac:spMkLst>
        </pc:spChg>
        <pc:spChg chg="add del mod">
          <ac:chgData name="Steiner Andreas 6206 ED" userId="e6377c33-a923-4f14-8587-531c474c7b48" providerId="ADAL" clId="{6ECD27E6-B224-41CD-B4E0-E297462320DD}" dt="2023-11-24T08:47:22.583" v="69342"/>
          <ac:spMkLst>
            <pc:docMk/>
            <pc:sldMk cId="3439677884" sldId="2147473972"/>
            <ac:spMk id="506" creationId="{36550024-B47F-4287-31AD-89D504383968}"/>
          </ac:spMkLst>
        </pc:spChg>
        <pc:spChg chg="add del mod">
          <ac:chgData name="Steiner Andreas 6206 ED" userId="e6377c33-a923-4f14-8587-531c474c7b48" providerId="ADAL" clId="{6ECD27E6-B224-41CD-B4E0-E297462320DD}" dt="2023-11-24T08:47:25.358" v="69497"/>
          <ac:spMkLst>
            <pc:docMk/>
            <pc:sldMk cId="3439677884" sldId="2147473972"/>
            <ac:spMk id="507" creationId="{EBACE698-6A8D-9E7D-D925-FCF89DB6F045}"/>
          </ac:spMkLst>
        </pc:spChg>
        <pc:spChg chg="add del mod">
          <ac:chgData name="Steiner Andreas 6206 ED" userId="e6377c33-a923-4f14-8587-531c474c7b48" providerId="ADAL" clId="{6ECD27E6-B224-41CD-B4E0-E297462320DD}" dt="2023-11-24T08:47:27.617" v="69652"/>
          <ac:spMkLst>
            <pc:docMk/>
            <pc:sldMk cId="3439677884" sldId="2147473972"/>
            <ac:spMk id="508" creationId="{5565EBB1-5315-2872-59B2-D06ECD323268}"/>
          </ac:spMkLst>
        </pc:spChg>
        <pc:spChg chg="add del mod">
          <ac:chgData name="Steiner Andreas 6206 ED" userId="e6377c33-a923-4f14-8587-531c474c7b48" providerId="ADAL" clId="{6ECD27E6-B224-41CD-B4E0-E297462320DD}" dt="2023-11-24T08:47:29.641" v="69807"/>
          <ac:spMkLst>
            <pc:docMk/>
            <pc:sldMk cId="3439677884" sldId="2147473972"/>
            <ac:spMk id="509" creationId="{D66DBAAA-ABD5-1883-21AF-D9A5D5B1DFD4}"/>
          </ac:spMkLst>
        </pc:spChg>
        <pc:spChg chg="add del mod">
          <ac:chgData name="Steiner Andreas 6206 ED" userId="e6377c33-a923-4f14-8587-531c474c7b48" providerId="ADAL" clId="{6ECD27E6-B224-41CD-B4E0-E297462320DD}" dt="2023-11-24T08:47:31.667" v="69962"/>
          <ac:spMkLst>
            <pc:docMk/>
            <pc:sldMk cId="3439677884" sldId="2147473972"/>
            <ac:spMk id="510" creationId="{32373B48-D3AF-DA3C-98BC-97670C7744DE}"/>
          </ac:spMkLst>
        </pc:spChg>
        <pc:spChg chg="add del mod">
          <ac:chgData name="Steiner Andreas 6206 ED" userId="e6377c33-a923-4f14-8587-531c474c7b48" providerId="ADAL" clId="{6ECD27E6-B224-41CD-B4E0-E297462320DD}" dt="2023-11-24T08:47:33.672" v="70117"/>
          <ac:spMkLst>
            <pc:docMk/>
            <pc:sldMk cId="3439677884" sldId="2147473972"/>
            <ac:spMk id="511" creationId="{362FF534-6201-9FDD-74BD-726A0CBF2EED}"/>
          </ac:spMkLst>
        </pc:spChg>
        <pc:spChg chg="add del mod">
          <ac:chgData name="Steiner Andreas 6206 ED" userId="e6377c33-a923-4f14-8587-531c474c7b48" providerId="ADAL" clId="{6ECD27E6-B224-41CD-B4E0-E297462320DD}" dt="2023-11-24T08:47:35.816" v="70272"/>
          <ac:spMkLst>
            <pc:docMk/>
            <pc:sldMk cId="3439677884" sldId="2147473972"/>
            <ac:spMk id="512" creationId="{139EED06-61BE-0492-F8B0-8F2F3B0CEE00}"/>
          </ac:spMkLst>
        </pc:spChg>
        <pc:spChg chg="add del mod">
          <ac:chgData name="Steiner Andreas 6206 ED" userId="e6377c33-a923-4f14-8587-531c474c7b48" providerId="ADAL" clId="{6ECD27E6-B224-41CD-B4E0-E297462320DD}" dt="2023-11-24T08:47:37.911" v="70427"/>
          <ac:spMkLst>
            <pc:docMk/>
            <pc:sldMk cId="3439677884" sldId="2147473972"/>
            <ac:spMk id="513" creationId="{81248A2E-49B6-F84A-5B17-7DF8D64B46F6}"/>
          </ac:spMkLst>
        </pc:spChg>
        <pc:spChg chg="add del mod">
          <ac:chgData name="Steiner Andreas 6206 ED" userId="e6377c33-a923-4f14-8587-531c474c7b48" providerId="ADAL" clId="{6ECD27E6-B224-41CD-B4E0-E297462320DD}" dt="2023-11-24T08:47:39.974" v="70582"/>
          <ac:spMkLst>
            <pc:docMk/>
            <pc:sldMk cId="3439677884" sldId="2147473972"/>
            <ac:spMk id="514" creationId="{52BD12A0-D517-5F38-93D0-99E0D71F4528}"/>
          </ac:spMkLst>
        </pc:spChg>
        <pc:spChg chg="add del mod">
          <ac:chgData name="Steiner Andreas 6206 ED" userId="e6377c33-a923-4f14-8587-531c474c7b48" providerId="ADAL" clId="{6ECD27E6-B224-41CD-B4E0-E297462320DD}" dt="2023-11-24T08:47:41.945" v="70737"/>
          <ac:spMkLst>
            <pc:docMk/>
            <pc:sldMk cId="3439677884" sldId="2147473972"/>
            <ac:spMk id="515" creationId="{DC6CCE15-7855-81B4-98AA-81BE1764EAD9}"/>
          </ac:spMkLst>
        </pc:spChg>
        <pc:spChg chg="add del mod">
          <ac:chgData name="Steiner Andreas 6206 ED" userId="e6377c33-a923-4f14-8587-531c474c7b48" providerId="ADAL" clId="{6ECD27E6-B224-41CD-B4E0-E297462320DD}" dt="2023-11-24T08:47:43.849" v="70892"/>
          <ac:spMkLst>
            <pc:docMk/>
            <pc:sldMk cId="3439677884" sldId="2147473972"/>
            <ac:spMk id="516" creationId="{C3542F76-EB84-1401-B717-7CE483B9EACD}"/>
          </ac:spMkLst>
        </pc:spChg>
        <pc:spChg chg="add del mod">
          <ac:chgData name="Steiner Andreas 6206 ED" userId="e6377c33-a923-4f14-8587-531c474c7b48" providerId="ADAL" clId="{6ECD27E6-B224-41CD-B4E0-E297462320DD}" dt="2023-11-24T08:47:45.775" v="71047"/>
          <ac:spMkLst>
            <pc:docMk/>
            <pc:sldMk cId="3439677884" sldId="2147473972"/>
            <ac:spMk id="517" creationId="{10BAB9DC-6405-74BB-2A6A-3566C0CDB422}"/>
          </ac:spMkLst>
        </pc:spChg>
        <pc:spChg chg="add del mod">
          <ac:chgData name="Steiner Andreas 6206 ED" userId="e6377c33-a923-4f14-8587-531c474c7b48" providerId="ADAL" clId="{6ECD27E6-B224-41CD-B4E0-E297462320DD}" dt="2023-11-24T08:47:47.820" v="71202"/>
          <ac:spMkLst>
            <pc:docMk/>
            <pc:sldMk cId="3439677884" sldId="2147473972"/>
            <ac:spMk id="518" creationId="{4D7F5AD9-AEED-78C8-74AF-F7B673EDDD91}"/>
          </ac:spMkLst>
        </pc:spChg>
        <pc:spChg chg="add del mod">
          <ac:chgData name="Steiner Andreas 6206 ED" userId="e6377c33-a923-4f14-8587-531c474c7b48" providerId="ADAL" clId="{6ECD27E6-B224-41CD-B4E0-E297462320DD}" dt="2023-11-24T08:47:49.924" v="71357"/>
          <ac:spMkLst>
            <pc:docMk/>
            <pc:sldMk cId="3439677884" sldId="2147473972"/>
            <ac:spMk id="519" creationId="{6EDCE130-DEC0-C2E5-2C31-E3F2AEA954FF}"/>
          </ac:spMkLst>
        </pc:spChg>
        <pc:spChg chg="add del mod">
          <ac:chgData name="Steiner Andreas 6206 ED" userId="e6377c33-a923-4f14-8587-531c474c7b48" providerId="ADAL" clId="{6ECD27E6-B224-41CD-B4E0-E297462320DD}" dt="2023-11-24T08:47:51.884" v="71512"/>
          <ac:spMkLst>
            <pc:docMk/>
            <pc:sldMk cId="3439677884" sldId="2147473972"/>
            <ac:spMk id="520" creationId="{09CFE60B-DF06-D43A-7ABB-F9B4D65FAAD5}"/>
          </ac:spMkLst>
        </pc:spChg>
        <pc:spChg chg="add del mod">
          <ac:chgData name="Steiner Andreas 6206 ED" userId="e6377c33-a923-4f14-8587-531c474c7b48" providerId="ADAL" clId="{6ECD27E6-B224-41CD-B4E0-E297462320DD}" dt="2023-11-24T08:47:53.852" v="71667"/>
          <ac:spMkLst>
            <pc:docMk/>
            <pc:sldMk cId="3439677884" sldId="2147473972"/>
            <ac:spMk id="521" creationId="{B9243A75-2BB8-8391-A21E-CA6F0927C99E}"/>
          </ac:spMkLst>
        </pc:spChg>
        <pc:spChg chg="add del mod">
          <ac:chgData name="Steiner Andreas 6206 ED" userId="e6377c33-a923-4f14-8587-531c474c7b48" providerId="ADAL" clId="{6ECD27E6-B224-41CD-B4E0-E297462320DD}" dt="2023-11-24T08:47:55.665" v="71822"/>
          <ac:spMkLst>
            <pc:docMk/>
            <pc:sldMk cId="3439677884" sldId="2147473972"/>
            <ac:spMk id="522" creationId="{79F21F47-5680-1920-C0EB-70B24AA1956C}"/>
          </ac:spMkLst>
        </pc:spChg>
        <pc:spChg chg="add del mod">
          <ac:chgData name="Steiner Andreas 6206 ED" userId="e6377c33-a923-4f14-8587-531c474c7b48" providerId="ADAL" clId="{6ECD27E6-B224-41CD-B4E0-E297462320DD}" dt="2023-11-24T08:47:57.629" v="71977"/>
          <ac:spMkLst>
            <pc:docMk/>
            <pc:sldMk cId="3439677884" sldId="2147473972"/>
            <ac:spMk id="523" creationId="{78DEB3D3-302C-7ABE-3FBD-CE1567ACA782}"/>
          </ac:spMkLst>
        </pc:spChg>
        <pc:spChg chg="add del mod">
          <ac:chgData name="Steiner Andreas 6206 ED" userId="e6377c33-a923-4f14-8587-531c474c7b48" providerId="ADAL" clId="{6ECD27E6-B224-41CD-B4E0-E297462320DD}" dt="2023-11-24T08:47:59.736" v="72132"/>
          <ac:spMkLst>
            <pc:docMk/>
            <pc:sldMk cId="3439677884" sldId="2147473972"/>
            <ac:spMk id="524" creationId="{F85EA043-4134-C784-FB27-2D51E3AA1ECA}"/>
          </ac:spMkLst>
        </pc:spChg>
        <pc:spChg chg="add del mod">
          <ac:chgData name="Steiner Andreas 6206 ED" userId="e6377c33-a923-4f14-8587-531c474c7b48" providerId="ADAL" clId="{6ECD27E6-B224-41CD-B4E0-E297462320DD}" dt="2023-11-24T08:48:01.892" v="72287"/>
          <ac:spMkLst>
            <pc:docMk/>
            <pc:sldMk cId="3439677884" sldId="2147473972"/>
            <ac:spMk id="525" creationId="{5BF9A3C1-D16F-AE08-DE1C-EFED212DA33D}"/>
          </ac:spMkLst>
        </pc:spChg>
        <pc:spChg chg="add del mod">
          <ac:chgData name="Steiner Andreas 6206 ED" userId="e6377c33-a923-4f14-8587-531c474c7b48" providerId="ADAL" clId="{6ECD27E6-B224-41CD-B4E0-E297462320DD}" dt="2023-11-24T08:48:03.922" v="72442"/>
          <ac:spMkLst>
            <pc:docMk/>
            <pc:sldMk cId="3439677884" sldId="2147473972"/>
            <ac:spMk id="526" creationId="{ADEAB8DB-AC40-F59C-FB92-CD02EB63748A}"/>
          </ac:spMkLst>
        </pc:spChg>
        <pc:spChg chg="add del mod">
          <ac:chgData name="Steiner Andreas 6206 ED" userId="e6377c33-a923-4f14-8587-531c474c7b48" providerId="ADAL" clId="{6ECD27E6-B224-41CD-B4E0-E297462320DD}" dt="2023-11-24T08:48:06.054" v="72597"/>
          <ac:spMkLst>
            <pc:docMk/>
            <pc:sldMk cId="3439677884" sldId="2147473972"/>
            <ac:spMk id="527" creationId="{8013E111-0C0D-175A-E807-1197FD0CD6D7}"/>
          </ac:spMkLst>
        </pc:spChg>
        <pc:spChg chg="add del mod">
          <ac:chgData name="Steiner Andreas 6206 ED" userId="e6377c33-a923-4f14-8587-531c474c7b48" providerId="ADAL" clId="{6ECD27E6-B224-41CD-B4E0-E297462320DD}" dt="2023-11-24T08:48:08.310" v="72752"/>
          <ac:spMkLst>
            <pc:docMk/>
            <pc:sldMk cId="3439677884" sldId="2147473972"/>
            <ac:spMk id="528" creationId="{B09621D0-0EB2-D9B2-E668-615B2308083B}"/>
          </ac:spMkLst>
        </pc:spChg>
        <pc:spChg chg="add del mod">
          <ac:chgData name="Steiner Andreas 6206 ED" userId="e6377c33-a923-4f14-8587-531c474c7b48" providerId="ADAL" clId="{6ECD27E6-B224-41CD-B4E0-E297462320DD}" dt="2023-11-24T08:48:10.322" v="72907"/>
          <ac:spMkLst>
            <pc:docMk/>
            <pc:sldMk cId="3439677884" sldId="2147473972"/>
            <ac:spMk id="529" creationId="{BAE7C2C9-52B3-4E54-B3BA-DD0E8EB7B83B}"/>
          </ac:spMkLst>
        </pc:spChg>
        <pc:spChg chg="add del mod">
          <ac:chgData name="Steiner Andreas 6206 ED" userId="e6377c33-a923-4f14-8587-531c474c7b48" providerId="ADAL" clId="{6ECD27E6-B224-41CD-B4E0-E297462320DD}" dt="2023-11-24T08:48:12.330" v="73062"/>
          <ac:spMkLst>
            <pc:docMk/>
            <pc:sldMk cId="3439677884" sldId="2147473972"/>
            <ac:spMk id="530" creationId="{319BAD02-DD7F-3194-F14D-DF6B561C7323}"/>
          </ac:spMkLst>
        </pc:spChg>
        <pc:spChg chg="add del mod">
          <ac:chgData name="Steiner Andreas 6206 ED" userId="e6377c33-a923-4f14-8587-531c474c7b48" providerId="ADAL" clId="{6ECD27E6-B224-41CD-B4E0-E297462320DD}" dt="2023-11-24T08:48:14.721" v="73217"/>
          <ac:spMkLst>
            <pc:docMk/>
            <pc:sldMk cId="3439677884" sldId="2147473972"/>
            <ac:spMk id="531" creationId="{FE2DFE63-3883-44E8-50BC-46C35D9C0207}"/>
          </ac:spMkLst>
        </pc:spChg>
        <pc:spChg chg="add del mod">
          <ac:chgData name="Steiner Andreas 6206 ED" userId="e6377c33-a923-4f14-8587-531c474c7b48" providerId="ADAL" clId="{6ECD27E6-B224-41CD-B4E0-E297462320DD}" dt="2023-11-24T08:48:17.519" v="73372"/>
          <ac:spMkLst>
            <pc:docMk/>
            <pc:sldMk cId="3439677884" sldId="2147473972"/>
            <ac:spMk id="532" creationId="{38514898-CDAC-C791-1ECA-6486B0A6FBF4}"/>
          </ac:spMkLst>
        </pc:spChg>
        <pc:spChg chg="add del mod">
          <ac:chgData name="Steiner Andreas 6206 ED" userId="e6377c33-a923-4f14-8587-531c474c7b48" providerId="ADAL" clId="{6ECD27E6-B224-41CD-B4E0-E297462320DD}" dt="2023-11-24T08:48:20.103" v="73527"/>
          <ac:spMkLst>
            <pc:docMk/>
            <pc:sldMk cId="3439677884" sldId="2147473972"/>
            <ac:spMk id="533" creationId="{7EAB2D5A-C45C-074C-8510-6E27ACE42C01}"/>
          </ac:spMkLst>
        </pc:spChg>
        <pc:spChg chg="add del mod">
          <ac:chgData name="Steiner Andreas 6206 ED" userId="e6377c33-a923-4f14-8587-531c474c7b48" providerId="ADAL" clId="{6ECD27E6-B224-41CD-B4E0-E297462320DD}" dt="2023-11-24T08:48:22.252" v="73682"/>
          <ac:spMkLst>
            <pc:docMk/>
            <pc:sldMk cId="3439677884" sldId="2147473972"/>
            <ac:spMk id="534" creationId="{DF9B76AA-4190-1777-A787-15B12970A177}"/>
          </ac:spMkLst>
        </pc:spChg>
        <pc:spChg chg="add del mod">
          <ac:chgData name="Steiner Andreas 6206 ED" userId="e6377c33-a923-4f14-8587-531c474c7b48" providerId="ADAL" clId="{6ECD27E6-B224-41CD-B4E0-E297462320DD}" dt="2023-11-24T08:48:24.369" v="73837"/>
          <ac:spMkLst>
            <pc:docMk/>
            <pc:sldMk cId="3439677884" sldId="2147473972"/>
            <ac:spMk id="535" creationId="{CF1F7C5E-22FC-4C40-F09E-8437FCE80043}"/>
          </ac:spMkLst>
        </pc:spChg>
        <pc:spChg chg="add del mod">
          <ac:chgData name="Steiner Andreas 6206 ED" userId="e6377c33-a923-4f14-8587-531c474c7b48" providerId="ADAL" clId="{6ECD27E6-B224-41CD-B4E0-E297462320DD}" dt="2023-11-24T08:48:26.471" v="73992"/>
          <ac:spMkLst>
            <pc:docMk/>
            <pc:sldMk cId="3439677884" sldId="2147473972"/>
            <ac:spMk id="536" creationId="{70A7DA50-D501-507F-14D1-691F6419BFB7}"/>
          </ac:spMkLst>
        </pc:spChg>
        <pc:spChg chg="add del mod">
          <ac:chgData name="Steiner Andreas 6206 ED" userId="e6377c33-a923-4f14-8587-531c474c7b48" providerId="ADAL" clId="{6ECD27E6-B224-41CD-B4E0-E297462320DD}" dt="2023-11-24T08:48:28.491" v="74147"/>
          <ac:spMkLst>
            <pc:docMk/>
            <pc:sldMk cId="3439677884" sldId="2147473972"/>
            <ac:spMk id="537" creationId="{B5449978-FF8A-FDC3-3AB2-A1C36C2BB3DD}"/>
          </ac:spMkLst>
        </pc:spChg>
        <pc:spChg chg="add del mod">
          <ac:chgData name="Steiner Andreas 6206 ED" userId="e6377c33-a923-4f14-8587-531c474c7b48" providerId="ADAL" clId="{6ECD27E6-B224-41CD-B4E0-E297462320DD}" dt="2023-11-24T08:48:30.361" v="74302"/>
          <ac:spMkLst>
            <pc:docMk/>
            <pc:sldMk cId="3439677884" sldId="2147473972"/>
            <ac:spMk id="538" creationId="{93353A93-475C-2FFA-360C-F8ABC025C2A2}"/>
          </ac:spMkLst>
        </pc:spChg>
        <pc:spChg chg="add del mod">
          <ac:chgData name="Steiner Andreas 6206 ED" userId="e6377c33-a923-4f14-8587-531c474c7b48" providerId="ADAL" clId="{6ECD27E6-B224-41CD-B4E0-E297462320DD}" dt="2023-11-24T08:48:32.330" v="74457"/>
          <ac:spMkLst>
            <pc:docMk/>
            <pc:sldMk cId="3439677884" sldId="2147473972"/>
            <ac:spMk id="539" creationId="{D79F2F0D-A885-519A-F827-BF968D52D1DE}"/>
          </ac:spMkLst>
        </pc:spChg>
        <pc:spChg chg="add del mod">
          <ac:chgData name="Steiner Andreas 6206 ED" userId="e6377c33-a923-4f14-8587-531c474c7b48" providerId="ADAL" clId="{6ECD27E6-B224-41CD-B4E0-E297462320DD}" dt="2023-11-24T08:48:34.596" v="74612"/>
          <ac:spMkLst>
            <pc:docMk/>
            <pc:sldMk cId="3439677884" sldId="2147473972"/>
            <ac:spMk id="540" creationId="{5814D430-EAD7-93F5-A981-B00727235051}"/>
          </ac:spMkLst>
        </pc:spChg>
        <pc:spChg chg="add del mod">
          <ac:chgData name="Steiner Andreas 6206 ED" userId="e6377c33-a923-4f14-8587-531c474c7b48" providerId="ADAL" clId="{6ECD27E6-B224-41CD-B4E0-E297462320DD}" dt="2023-11-24T08:48:36.722" v="74767"/>
          <ac:spMkLst>
            <pc:docMk/>
            <pc:sldMk cId="3439677884" sldId="2147473972"/>
            <ac:spMk id="541" creationId="{63721529-D4E0-6D4E-C419-CA75A930BDEF}"/>
          </ac:spMkLst>
        </pc:spChg>
        <pc:spChg chg="add del mod">
          <ac:chgData name="Steiner Andreas 6206 ED" userId="e6377c33-a923-4f14-8587-531c474c7b48" providerId="ADAL" clId="{6ECD27E6-B224-41CD-B4E0-E297462320DD}" dt="2023-11-24T08:48:38.807" v="74922"/>
          <ac:spMkLst>
            <pc:docMk/>
            <pc:sldMk cId="3439677884" sldId="2147473972"/>
            <ac:spMk id="542" creationId="{9761EBEF-0204-E705-A5CD-B811B5896435}"/>
          </ac:spMkLst>
        </pc:spChg>
        <pc:spChg chg="add del mod">
          <ac:chgData name="Steiner Andreas 6206 ED" userId="e6377c33-a923-4f14-8587-531c474c7b48" providerId="ADAL" clId="{6ECD27E6-B224-41CD-B4E0-E297462320DD}" dt="2023-11-24T08:48:40.914" v="75077"/>
          <ac:spMkLst>
            <pc:docMk/>
            <pc:sldMk cId="3439677884" sldId="2147473972"/>
            <ac:spMk id="543" creationId="{E94C4708-C149-253F-ADF6-5E95709D313C}"/>
          </ac:spMkLst>
        </pc:spChg>
        <pc:spChg chg="add del mod">
          <ac:chgData name="Steiner Andreas 6206 ED" userId="e6377c33-a923-4f14-8587-531c474c7b48" providerId="ADAL" clId="{6ECD27E6-B224-41CD-B4E0-E297462320DD}" dt="2023-11-24T08:48:43.367" v="75232"/>
          <ac:spMkLst>
            <pc:docMk/>
            <pc:sldMk cId="3439677884" sldId="2147473972"/>
            <ac:spMk id="544" creationId="{3E29C26C-4635-7DFA-3425-F885451AD8CB}"/>
          </ac:spMkLst>
        </pc:spChg>
        <pc:spChg chg="add del mod">
          <ac:chgData name="Steiner Andreas 6206 ED" userId="e6377c33-a923-4f14-8587-531c474c7b48" providerId="ADAL" clId="{6ECD27E6-B224-41CD-B4E0-E297462320DD}" dt="2023-11-24T08:48:45.637" v="75387"/>
          <ac:spMkLst>
            <pc:docMk/>
            <pc:sldMk cId="3439677884" sldId="2147473972"/>
            <ac:spMk id="545" creationId="{5BC21725-5A47-0EA1-87C2-2229A5812FA3}"/>
          </ac:spMkLst>
        </pc:spChg>
        <pc:spChg chg="add del mod">
          <ac:chgData name="Steiner Andreas 6206 ED" userId="e6377c33-a923-4f14-8587-531c474c7b48" providerId="ADAL" clId="{6ECD27E6-B224-41CD-B4E0-E297462320DD}" dt="2023-11-24T08:48:47.756" v="75542"/>
          <ac:spMkLst>
            <pc:docMk/>
            <pc:sldMk cId="3439677884" sldId="2147473972"/>
            <ac:spMk id="546" creationId="{DB92DDE8-4795-3E87-EA8B-35FDE86B2915}"/>
          </ac:spMkLst>
        </pc:spChg>
        <pc:spChg chg="add del mod">
          <ac:chgData name="Steiner Andreas 6206 ED" userId="e6377c33-a923-4f14-8587-531c474c7b48" providerId="ADAL" clId="{6ECD27E6-B224-41CD-B4E0-E297462320DD}" dt="2023-11-24T08:48:49.668" v="75697"/>
          <ac:spMkLst>
            <pc:docMk/>
            <pc:sldMk cId="3439677884" sldId="2147473972"/>
            <ac:spMk id="547" creationId="{DFF4B60E-821D-9298-77FA-BDC20208D343}"/>
          </ac:spMkLst>
        </pc:spChg>
        <pc:spChg chg="add del mod">
          <ac:chgData name="Steiner Andreas 6206 ED" userId="e6377c33-a923-4f14-8587-531c474c7b48" providerId="ADAL" clId="{6ECD27E6-B224-41CD-B4E0-E297462320DD}" dt="2023-11-24T08:48:51.882" v="75852"/>
          <ac:spMkLst>
            <pc:docMk/>
            <pc:sldMk cId="3439677884" sldId="2147473972"/>
            <ac:spMk id="548" creationId="{2F65F150-D9C4-7245-00A6-9DD18256A4B1}"/>
          </ac:spMkLst>
        </pc:spChg>
        <pc:spChg chg="add del mod">
          <ac:chgData name="Steiner Andreas 6206 ED" userId="e6377c33-a923-4f14-8587-531c474c7b48" providerId="ADAL" clId="{6ECD27E6-B224-41CD-B4E0-E297462320DD}" dt="2023-11-24T08:48:53.853" v="76007"/>
          <ac:spMkLst>
            <pc:docMk/>
            <pc:sldMk cId="3439677884" sldId="2147473972"/>
            <ac:spMk id="549" creationId="{301C18CB-A858-27EF-9239-E825D345E316}"/>
          </ac:spMkLst>
        </pc:spChg>
        <pc:spChg chg="add del mod">
          <ac:chgData name="Steiner Andreas 6206 ED" userId="e6377c33-a923-4f14-8587-531c474c7b48" providerId="ADAL" clId="{6ECD27E6-B224-41CD-B4E0-E297462320DD}" dt="2023-11-24T08:48:55.800" v="76162"/>
          <ac:spMkLst>
            <pc:docMk/>
            <pc:sldMk cId="3439677884" sldId="2147473972"/>
            <ac:spMk id="550" creationId="{237376C5-12D5-5A65-182B-6E5B7B2B765B}"/>
          </ac:spMkLst>
        </pc:spChg>
        <pc:spChg chg="add del mod">
          <ac:chgData name="Steiner Andreas 6206 ED" userId="e6377c33-a923-4f14-8587-531c474c7b48" providerId="ADAL" clId="{6ECD27E6-B224-41CD-B4E0-E297462320DD}" dt="2023-11-24T08:48:57.780" v="76317"/>
          <ac:spMkLst>
            <pc:docMk/>
            <pc:sldMk cId="3439677884" sldId="2147473972"/>
            <ac:spMk id="551" creationId="{3613EB17-4520-D736-5528-17FFACB588ED}"/>
          </ac:spMkLst>
        </pc:spChg>
        <pc:spChg chg="add del mod">
          <ac:chgData name="Steiner Andreas 6206 ED" userId="e6377c33-a923-4f14-8587-531c474c7b48" providerId="ADAL" clId="{6ECD27E6-B224-41CD-B4E0-E297462320DD}" dt="2023-11-24T08:48:59.828" v="76472"/>
          <ac:spMkLst>
            <pc:docMk/>
            <pc:sldMk cId="3439677884" sldId="2147473972"/>
            <ac:spMk id="552" creationId="{CDAD894B-C997-6E37-BFA2-F156363600CC}"/>
          </ac:spMkLst>
        </pc:spChg>
        <pc:spChg chg="add del mod">
          <ac:chgData name="Steiner Andreas 6206 ED" userId="e6377c33-a923-4f14-8587-531c474c7b48" providerId="ADAL" clId="{6ECD27E6-B224-41CD-B4E0-E297462320DD}" dt="2023-11-24T08:49:01.798" v="76627"/>
          <ac:spMkLst>
            <pc:docMk/>
            <pc:sldMk cId="3439677884" sldId="2147473972"/>
            <ac:spMk id="553" creationId="{7C571D48-A4B9-9512-1F36-A8A340F38B46}"/>
          </ac:spMkLst>
        </pc:spChg>
        <pc:spChg chg="add del mod">
          <ac:chgData name="Steiner Andreas 6206 ED" userId="e6377c33-a923-4f14-8587-531c474c7b48" providerId="ADAL" clId="{6ECD27E6-B224-41CD-B4E0-E297462320DD}" dt="2023-11-24T08:49:03.772" v="76782"/>
          <ac:spMkLst>
            <pc:docMk/>
            <pc:sldMk cId="3439677884" sldId="2147473972"/>
            <ac:spMk id="554" creationId="{25DDE385-5060-95F7-8F8F-1D88C45E7CA3}"/>
          </ac:spMkLst>
        </pc:spChg>
        <pc:spChg chg="add del mod">
          <ac:chgData name="Steiner Andreas 6206 ED" userId="e6377c33-a923-4f14-8587-531c474c7b48" providerId="ADAL" clId="{6ECD27E6-B224-41CD-B4E0-E297462320DD}" dt="2023-11-24T08:49:05.666" v="76937"/>
          <ac:spMkLst>
            <pc:docMk/>
            <pc:sldMk cId="3439677884" sldId="2147473972"/>
            <ac:spMk id="555" creationId="{7147B7D5-19BD-6618-8308-8B20C6009967}"/>
          </ac:spMkLst>
        </pc:spChg>
        <pc:spChg chg="add del mod">
          <ac:chgData name="Steiner Andreas 6206 ED" userId="e6377c33-a923-4f14-8587-531c474c7b48" providerId="ADAL" clId="{6ECD27E6-B224-41CD-B4E0-E297462320DD}" dt="2023-11-24T08:49:07.756" v="77092"/>
          <ac:spMkLst>
            <pc:docMk/>
            <pc:sldMk cId="3439677884" sldId="2147473972"/>
            <ac:spMk id="556" creationId="{F6C6C018-5D3E-81FF-21B8-979154A959C7}"/>
          </ac:spMkLst>
        </pc:spChg>
        <pc:spChg chg="add del mod">
          <ac:chgData name="Steiner Andreas 6206 ED" userId="e6377c33-a923-4f14-8587-531c474c7b48" providerId="ADAL" clId="{6ECD27E6-B224-41CD-B4E0-E297462320DD}" dt="2023-11-24T08:49:09.650" v="77247"/>
          <ac:spMkLst>
            <pc:docMk/>
            <pc:sldMk cId="3439677884" sldId="2147473972"/>
            <ac:spMk id="557" creationId="{368158AA-0B73-7C36-34A2-55B23F158CED}"/>
          </ac:spMkLst>
        </pc:spChg>
        <pc:spChg chg="add del mod">
          <ac:chgData name="Steiner Andreas 6206 ED" userId="e6377c33-a923-4f14-8587-531c474c7b48" providerId="ADAL" clId="{6ECD27E6-B224-41CD-B4E0-E297462320DD}" dt="2023-11-24T08:49:11.455" v="77402"/>
          <ac:spMkLst>
            <pc:docMk/>
            <pc:sldMk cId="3439677884" sldId="2147473972"/>
            <ac:spMk id="558" creationId="{4E945CCC-E37E-A976-C135-2FC8D41C738D}"/>
          </ac:spMkLst>
        </pc:spChg>
        <pc:spChg chg="add del mod">
          <ac:chgData name="Steiner Andreas 6206 ED" userId="e6377c33-a923-4f14-8587-531c474c7b48" providerId="ADAL" clId="{6ECD27E6-B224-41CD-B4E0-E297462320DD}" dt="2023-11-24T08:49:13.474" v="77557"/>
          <ac:spMkLst>
            <pc:docMk/>
            <pc:sldMk cId="3439677884" sldId="2147473972"/>
            <ac:spMk id="559" creationId="{DA04CAD4-24D6-C5A8-53A7-DDB77CB8D783}"/>
          </ac:spMkLst>
        </pc:spChg>
        <pc:spChg chg="add del mod">
          <ac:chgData name="Steiner Andreas 6206 ED" userId="e6377c33-a923-4f14-8587-531c474c7b48" providerId="ADAL" clId="{6ECD27E6-B224-41CD-B4E0-E297462320DD}" dt="2023-11-24T08:49:15.524" v="77712"/>
          <ac:spMkLst>
            <pc:docMk/>
            <pc:sldMk cId="3439677884" sldId="2147473972"/>
            <ac:spMk id="560" creationId="{891E7137-71EC-A7D8-9188-AD37051034D9}"/>
          </ac:spMkLst>
        </pc:spChg>
        <pc:spChg chg="add del mod">
          <ac:chgData name="Steiner Andreas 6206 ED" userId="e6377c33-a923-4f14-8587-531c474c7b48" providerId="ADAL" clId="{6ECD27E6-B224-41CD-B4E0-E297462320DD}" dt="2023-11-24T08:49:17.518" v="77867"/>
          <ac:spMkLst>
            <pc:docMk/>
            <pc:sldMk cId="3439677884" sldId="2147473972"/>
            <ac:spMk id="561" creationId="{D0BD09A5-FBD4-B3F7-8A9B-C5BEB69968C1}"/>
          </ac:spMkLst>
        </pc:spChg>
        <pc:spChg chg="add del mod">
          <ac:chgData name="Steiner Andreas 6206 ED" userId="e6377c33-a923-4f14-8587-531c474c7b48" providerId="ADAL" clId="{6ECD27E6-B224-41CD-B4E0-E297462320DD}" dt="2023-11-24T08:49:19.593" v="78022"/>
          <ac:spMkLst>
            <pc:docMk/>
            <pc:sldMk cId="3439677884" sldId="2147473972"/>
            <ac:spMk id="562" creationId="{B0D7644A-6629-1FDA-728F-E6858A53E12F}"/>
          </ac:spMkLst>
        </pc:spChg>
        <pc:spChg chg="add del mod">
          <ac:chgData name="Steiner Andreas 6206 ED" userId="e6377c33-a923-4f14-8587-531c474c7b48" providerId="ADAL" clId="{6ECD27E6-B224-41CD-B4E0-E297462320DD}" dt="2023-11-24T08:49:21.534" v="78177"/>
          <ac:spMkLst>
            <pc:docMk/>
            <pc:sldMk cId="3439677884" sldId="2147473972"/>
            <ac:spMk id="563" creationId="{A53E95DC-689C-B992-A5F4-B8C437BE0557}"/>
          </ac:spMkLst>
        </pc:spChg>
        <pc:spChg chg="add del mod">
          <ac:chgData name="Steiner Andreas 6206 ED" userId="e6377c33-a923-4f14-8587-531c474c7b48" providerId="ADAL" clId="{6ECD27E6-B224-41CD-B4E0-E297462320DD}" dt="2023-11-24T08:49:23.396" v="78332"/>
          <ac:spMkLst>
            <pc:docMk/>
            <pc:sldMk cId="3439677884" sldId="2147473972"/>
            <ac:spMk id="564" creationId="{2E7308DF-BA91-5425-16E8-B464D0D46E12}"/>
          </ac:spMkLst>
        </pc:spChg>
        <pc:spChg chg="add del mod">
          <ac:chgData name="Steiner Andreas 6206 ED" userId="e6377c33-a923-4f14-8587-531c474c7b48" providerId="ADAL" clId="{6ECD27E6-B224-41CD-B4E0-E297462320DD}" dt="2023-11-24T08:49:25.309" v="78487"/>
          <ac:spMkLst>
            <pc:docMk/>
            <pc:sldMk cId="3439677884" sldId="2147473972"/>
            <ac:spMk id="565" creationId="{249BDE18-FA34-C7A1-C1E9-3B711E9D3647}"/>
          </ac:spMkLst>
        </pc:spChg>
        <pc:spChg chg="add del mod">
          <ac:chgData name="Steiner Andreas 6206 ED" userId="e6377c33-a923-4f14-8587-531c474c7b48" providerId="ADAL" clId="{6ECD27E6-B224-41CD-B4E0-E297462320DD}" dt="2023-11-24T08:49:27.313" v="78642"/>
          <ac:spMkLst>
            <pc:docMk/>
            <pc:sldMk cId="3439677884" sldId="2147473972"/>
            <ac:spMk id="566" creationId="{3D01DCD1-0C1F-4895-1188-C4A0BB94EF94}"/>
          </ac:spMkLst>
        </pc:spChg>
        <pc:spChg chg="add del mod">
          <ac:chgData name="Steiner Andreas 6206 ED" userId="e6377c33-a923-4f14-8587-531c474c7b48" providerId="ADAL" clId="{6ECD27E6-B224-41CD-B4E0-E297462320DD}" dt="2023-11-24T08:49:29.327" v="78797"/>
          <ac:spMkLst>
            <pc:docMk/>
            <pc:sldMk cId="3439677884" sldId="2147473972"/>
            <ac:spMk id="567" creationId="{AEBFAF46-6F12-7ACF-5CEE-81FD6BFD6956}"/>
          </ac:spMkLst>
        </pc:spChg>
        <pc:spChg chg="add del mod">
          <ac:chgData name="Steiner Andreas 6206 ED" userId="e6377c33-a923-4f14-8587-531c474c7b48" providerId="ADAL" clId="{6ECD27E6-B224-41CD-B4E0-E297462320DD}" dt="2023-11-24T08:49:31.332" v="78952"/>
          <ac:spMkLst>
            <pc:docMk/>
            <pc:sldMk cId="3439677884" sldId="2147473972"/>
            <ac:spMk id="568" creationId="{5AEFE81C-DA08-F655-CF1C-EDB5D8990B37}"/>
          </ac:spMkLst>
        </pc:spChg>
        <pc:spChg chg="add del mod">
          <ac:chgData name="Steiner Andreas 6206 ED" userId="e6377c33-a923-4f14-8587-531c474c7b48" providerId="ADAL" clId="{6ECD27E6-B224-41CD-B4E0-E297462320DD}" dt="2023-11-24T08:49:33.221" v="79107"/>
          <ac:spMkLst>
            <pc:docMk/>
            <pc:sldMk cId="3439677884" sldId="2147473972"/>
            <ac:spMk id="569" creationId="{FD2DFF97-A981-5811-631F-F8E2DA97A7DF}"/>
          </ac:spMkLst>
        </pc:spChg>
        <pc:spChg chg="add del mod">
          <ac:chgData name="Steiner Andreas 6206 ED" userId="e6377c33-a923-4f14-8587-531c474c7b48" providerId="ADAL" clId="{6ECD27E6-B224-41CD-B4E0-E297462320DD}" dt="2023-11-24T08:49:35.141" v="79262"/>
          <ac:spMkLst>
            <pc:docMk/>
            <pc:sldMk cId="3439677884" sldId="2147473972"/>
            <ac:spMk id="570" creationId="{4B7B43B0-0543-9796-154A-E9D72B063266}"/>
          </ac:spMkLst>
        </pc:spChg>
        <pc:spChg chg="add del mod">
          <ac:chgData name="Steiner Andreas 6206 ED" userId="e6377c33-a923-4f14-8587-531c474c7b48" providerId="ADAL" clId="{6ECD27E6-B224-41CD-B4E0-E297462320DD}" dt="2023-11-24T08:49:36.981" v="79417"/>
          <ac:spMkLst>
            <pc:docMk/>
            <pc:sldMk cId="3439677884" sldId="2147473972"/>
            <ac:spMk id="571" creationId="{7546E40F-FCBE-CB2A-E501-CEEBA7C7494E}"/>
          </ac:spMkLst>
        </pc:spChg>
        <pc:spChg chg="add del mod">
          <ac:chgData name="Steiner Andreas 6206 ED" userId="e6377c33-a923-4f14-8587-531c474c7b48" providerId="ADAL" clId="{6ECD27E6-B224-41CD-B4E0-E297462320DD}" dt="2023-11-24T08:49:38.917" v="79572"/>
          <ac:spMkLst>
            <pc:docMk/>
            <pc:sldMk cId="3439677884" sldId="2147473972"/>
            <ac:spMk id="572" creationId="{CA671D38-5D71-0F83-9F34-C49D61676340}"/>
          </ac:spMkLst>
        </pc:spChg>
        <pc:spChg chg="add del mod">
          <ac:chgData name="Steiner Andreas 6206 ED" userId="e6377c33-a923-4f14-8587-531c474c7b48" providerId="ADAL" clId="{6ECD27E6-B224-41CD-B4E0-E297462320DD}" dt="2023-11-24T08:49:40.965" v="79727"/>
          <ac:spMkLst>
            <pc:docMk/>
            <pc:sldMk cId="3439677884" sldId="2147473972"/>
            <ac:spMk id="573" creationId="{18CE60A0-C315-A3BD-5465-EACFF7B245AA}"/>
          </ac:spMkLst>
        </pc:spChg>
        <pc:spChg chg="add del mod">
          <ac:chgData name="Steiner Andreas 6206 ED" userId="e6377c33-a923-4f14-8587-531c474c7b48" providerId="ADAL" clId="{6ECD27E6-B224-41CD-B4E0-E297462320DD}" dt="2023-11-24T08:49:42.927" v="79882"/>
          <ac:spMkLst>
            <pc:docMk/>
            <pc:sldMk cId="3439677884" sldId="2147473972"/>
            <ac:spMk id="574" creationId="{F75934D0-8555-6A85-C53D-D7337E501B09}"/>
          </ac:spMkLst>
        </pc:spChg>
        <pc:spChg chg="add del mod">
          <ac:chgData name="Steiner Andreas 6206 ED" userId="e6377c33-a923-4f14-8587-531c474c7b48" providerId="ADAL" clId="{6ECD27E6-B224-41CD-B4E0-E297462320DD}" dt="2023-11-24T08:49:44.865" v="80037"/>
          <ac:spMkLst>
            <pc:docMk/>
            <pc:sldMk cId="3439677884" sldId="2147473972"/>
            <ac:spMk id="575" creationId="{9DEDCC6F-D66B-F719-87C0-81CA281668E8}"/>
          </ac:spMkLst>
        </pc:spChg>
        <pc:spChg chg="add del mod">
          <ac:chgData name="Steiner Andreas 6206 ED" userId="e6377c33-a923-4f14-8587-531c474c7b48" providerId="ADAL" clId="{6ECD27E6-B224-41CD-B4E0-E297462320DD}" dt="2023-11-24T08:49:46.775" v="80192"/>
          <ac:spMkLst>
            <pc:docMk/>
            <pc:sldMk cId="3439677884" sldId="2147473972"/>
            <ac:spMk id="576" creationId="{05B10A8A-6926-ACCC-6ACF-01F776BABCE4}"/>
          </ac:spMkLst>
        </pc:spChg>
        <pc:spChg chg="add del mod">
          <ac:chgData name="Steiner Andreas 6206 ED" userId="e6377c33-a923-4f14-8587-531c474c7b48" providerId="ADAL" clId="{6ECD27E6-B224-41CD-B4E0-E297462320DD}" dt="2023-11-24T08:49:48.712" v="80347"/>
          <ac:spMkLst>
            <pc:docMk/>
            <pc:sldMk cId="3439677884" sldId="2147473972"/>
            <ac:spMk id="577" creationId="{595A2ECF-ED5A-DFDB-5108-AD6B966954E2}"/>
          </ac:spMkLst>
        </pc:spChg>
        <pc:spChg chg="add del mod">
          <ac:chgData name="Steiner Andreas 6206 ED" userId="e6377c33-a923-4f14-8587-531c474c7b48" providerId="ADAL" clId="{6ECD27E6-B224-41CD-B4E0-E297462320DD}" dt="2023-11-24T08:49:50.608" v="80502"/>
          <ac:spMkLst>
            <pc:docMk/>
            <pc:sldMk cId="3439677884" sldId="2147473972"/>
            <ac:spMk id="578" creationId="{12AC614C-7EF5-AC39-3107-15B43B8BC469}"/>
          </ac:spMkLst>
        </pc:spChg>
        <pc:spChg chg="add del mod">
          <ac:chgData name="Steiner Andreas 6206 ED" userId="e6377c33-a923-4f14-8587-531c474c7b48" providerId="ADAL" clId="{6ECD27E6-B224-41CD-B4E0-E297462320DD}" dt="2023-11-24T08:49:52.542" v="80657"/>
          <ac:spMkLst>
            <pc:docMk/>
            <pc:sldMk cId="3439677884" sldId="2147473972"/>
            <ac:spMk id="579" creationId="{89C0D84B-B090-306D-8D55-C4179F6C49C6}"/>
          </ac:spMkLst>
        </pc:spChg>
        <pc:spChg chg="add del mod">
          <ac:chgData name="Steiner Andreas 6206 ED" userId="e6377c33-a923-4f14-8587-531c474c7b48" providerId="ADAL" clId="{6ECD27E6-B224-41CD-B4E0-E297462320DD}" dt="2023-11-24T08:49:54.479" v="80812"/>
          <ac:spMkLst>
            <pc:docMk/>
            <pc:sldMk cId="3439677884" sldId="2147473972"/>
            <ac:spMk id="580" creationId="{7053B2F7-3FCF-799A-3BE2-7A7667E2CD20}"/>
          </ac:spMkLst>
        </pc:spChg>
        <pc:spChg chg="add del mod">
          <ac:chgData name="Steiner Andreas 6206 ED" userId="e6377c33-a923-4f14-8587-531c474c7b48" providerId="ADAL" clId="{6ECD27E6-B224-41CD-B4E0-E297462320DD}" dt="2023-11-24T08:49:56.349" v="80967"/>
          <ac:spMkLst>
            <pc:docMk/>
            <pc:sldMk cId="3439677884" sldId="2147473972"/>
            <ac:spMk id="581" creationId="{4EB6E25F-A4C7-80C7-8D81-DF9B18801601}"/>
          </ac:spMkLst>
        </pc:spChg>
        <pc:spChg chg="add del mod">
          <ac:chgData name="Steiner Andreas 6206 ED" userId="e6377c33-a923-4f14-8587-531c474c7b48" providerId="ADAL" clId="{6ECD27E6-B224-41CD-B4E0-E297462320DD}" dt="2023-11-24T08:49:58.224" v="81122"/>
          <ac:spMkLst>
            <pc:docMk/>
            <pc:sldMk cId="3439677884" sldId="2147473972"/>
            <ac:spMk id="582" creationId="{B5CA8E40-6450-A2AD-979C-165E82A421D3}"/>
          </ac:spMkLst>
        </pc:spChg>
        <pc:spChg chg="add del mod">
          <ac:chgData name="Steiner Andreas 6206 ED" userId="e6377c33-a923-4f14-8587-531c474c7b48" providerId="ADAL" clId="{6ECD27E6-B224-41CD-B4E0-E297462320DD}" dt="2023-11-24T08:50:00.165" v="81277"/>
          <ac:spMkLst>
            <pc:docMk/>
            <pc:sldMk cId="3439677884" sldId="2147473972"/>
            <ac:spMk id="583" creationId="{78BEAA37-3BB4-653F-FD1B-B7169E56F4A4}"/>
          </ac:spMkLst>
        </pc:spChg>
        <pc:spChg chg="add del mod">
          <ac:chgData name="Steiner Andreas 6206 ED" userId="e6377c33-a923-4f14-8587-531c474c7b48" providerId="ADAL" clId="{6ECD27E6-B224-41CD-B4E0-E297462320DD}" dt="2023-11-24T08:50:02.198" v="81432"/>
          <ac:spMkLst>
            <pc:docMk/>
            <pc:sldMk cId="3439677884" sldId="2147473972"/>
            <ac:spMk id="584" creationId="{EBC5C4D2-7A0A-3A01-7F78-CD0FB23670D5}"/>
          </ac:spMkLst>
        </pc:spChg>
        <pc:spChg chg="add del mod">
          <ac:chgData name="Steiner Andreas 6206 ED" userId="e6377c33-a923-4f14-8587-531c474c7b48" providerId="ADAL" clId="{6ECD27E6-B224-41CD-B4E0-E297462320DD}" dt="2023-11-24T08:50:04.239" v="81587"/>
          <ac:spMkLst>
            <pc:docMk/>
            <pc:sldMk cId="3439677884" sldId="2147473972"/>
            <ac:spMk id="585" creationId="{D96E1A03-618A-5354-2CE4-3CC25720EC2D}"/>
          </ac:spMkLst>
        </pc:spChg>
        <pc:spChg chg="add del mod">
          <ac:chgData name="Steiner Andreas 6206 ED" userId="e6377c33-a923-4f14-8587-531c474c7b48" providerId="ADAL" clId="{6ECD27E6-B224-41CD-B4E0-E297462320DD}" dt="2023-11-24T08:50:06.225" v="81742"/>
          <ac:spMkLst>
            <pc:docMk/>
            <pc:sldMk cId="3439677884" sldId="2147473972"/>
            <ac:spMk id="586" creationId="{01B4C342-5D56-A2D1-8A99-B5C93F87F872}"/>
          </ac:spMkLst>
        </pc:spChg>
        <pc:spChg chg="add del mod">
          <ac:chgData name="Steiner Andreas 6206 ED" userId="e6377c33-a923-4f14-8587-531c474c7b48" providerId="ADAL" clId="{6ECD27E6-B224-41CD-B4E0-E297462320DD}" dt="2023-11-24T08:50:08.144" v="81897"/>
          <ac:spMkLst>
            <pc:docMk/>
            <pc:sldMk cId="3439677884" sldId="2147473972"/>
            <ac:spMk id="587" creationId="{676B6576-90CA-7308-C084-B900456DE1EE}"/>
          </ac:spMkLst>
        </pc:spChg>
        <pc:spChg chg="add del mod">
          <ac:chgData name="Steiner Andreas 6206 ED" userId="e6377c33-a923-4f14-8587-531c474c7b48" providerId="ADAL" clId="{6ECD27E6-B224-41CD-B4E0-E297462320DD}" dt="2023-11-24T08:50:10.011" v="82052"/>
          <ac:spMkLst>
            <pc:docMk/>
            <pc:sldMk cId="3439677884" sldId="2147473972"/>
            <ac:spMk id="588" creationId="{A0B4C064-4CE0-5077-6AF6-8ED1C5614E42}"/>
          </ac:spMkLst>
        </pc:spChg>
        <pc:spChg chg="add del mod">
          <ac:chgData name="Steiner Andreas 6206 ED" userId="e6377c33-a923-4f14-8587-531c474c7b48" providerId="ADAL" clId="{6ECD27E6-B224-41CD-B4E0-E297462320DD}" dt="2023-11-24T08:50:11.921" v="82207"/>
          <ac:spMkLst>
            <pc:docMk/>
            <pc:sldMk cId="3439677884" sldId="2147473972"/>
            <ac:spMk id="589" creationId="{1A226782-8B6D-7390-1D02-A39F1952B51B}"/>
          </ac:spMkLst>
        </pc:spChg>
        <pc:spChg chg="add del mod">
          <ac:chgData name="Steiner Andreas 6206 ED" userId="e6377c33-a923-4f14-8587-531c474c7b48" providerId="ADAL" clId="{6ECD27E6-B224-41CD-B4E0-E297462320DD}" dt="2023-11-24T08:50:13.970" v="82362"/>
          <ac:spMkLst>
            <pc:docMk/>
            <pc:sldMk cId="3439677884" sldId="2147473972"/>
            <ac:spMk id="590" creationId="{BAB031DA-6345-D1E5-4469-3121C0C5D6CE}"/>
          </ac:spMkLst>
        </pc:spChg>
        <pc:spChg chg="add del mod">
          <ac:chgData name="Steiner Andreas 6206 ED" userId="e6377c33-a923-4f14-8587-531c474c7b48" providerId="ADAL" clId="{6ECD27E6-B224-41CD-B4E0-E297462320DD}" dt="2023-11-24T08:50:15.949" v="82517"/>
          <ac:spMkLst>
            <pc:docMk/>
            <pc:sldMk cId="3439677884" sldId="2147473972"/>
            <ac:spMk id="591" creationId="{95DB6578-613F-4D19-674E-4E434BEA0EA4}"/>
          </ac:spMkLst>
        </pc:spChg>
        <pc:spChg chg="add del mod">
          <ac:chgData name="Steiner Andreas 6206 ED" userId="e6377c33-a923-4f14-8587-531c474c7b48" providerId="ADAL" clId="{6ECD27E6-B224-41CD-B4E0-E297462320DD}" dt="2023-11-24T08:50:17.910" v="82672"/>
          <ac:spMkLst>
            <pc:docMk/>
            <pc:sldMk cId="3439677884" sldId="2147473972"/>
            <ac:spMk id="592" creationId="{32276929-1F91-C2C0-E656-43C5CFB82367}"/>
          </ac:spMkLst>
        </pc:spChg>
        <pc:spChg chg="add del mod">
          <ac:chgData name="Steiner Andreas 6206 ED" userId="e6377c33-a923-4f14-8587-531c474c7b48" providerId="ADAL" clId="{6ECD27E6-B224-41CD-B4E0-E297462320DD}" dt="2023-11-24T08:50:19.960" v="82827"/>
          <ac:spMkLst>
            <pc:docMk/>
            <pc:sldMk cId="3439677884" sldId="2147473972"/>
            <ac:spMk id="593" creationId="{72BB8FF8-30B8-CA71-8E73-CA6BC18FABD3}"/>
          </ac:spMkLst>
        </pc:spChg>
        <pc:spChg chg="add del mod">
          <ac:chgData name="Steiner Andreas 6206 ED" userId="e6377c33-a923-4f14-8587-531c474c7b48" providerId="ADAL" clId="{6ECD27E6-B224-41CD-B4E0-E297462320DD}" dt="2023-11-24T08:50:22.091" v="82982"/>
          <ac:spMkLst>
            <pc:docMk/>
            <pc:sldMk cId="3439677884" sldId="2147473972"/>
            <ac:spMk id="594" creationId="{469F151B-E032-BBD2-42BD-60BF692B6E92}"/>
          </ac:spMkLst>
        </pc:spChg>
        <pc:spChg chg="add del mod">
          <ac:chgData name="Steiner Andreas 6206 ED" userId="e6377c33-a923-4f14-8587-531c474c7b48" providerId="ADAL" clId="{6ECD27E6-B224-41CD-B4E0-E297462320DD}" dt="2023-11-24T08:50:24.091" v="83137"/>
          <ac:spMkLst>
            <pc:docMk/>
            <pc:sldMk cId="3439677884" sldId="2147473972"/>
            <ac:spMk id="595" creationId="{B726BFAE-057B-E34B-18A6-9176DD3C57C7}"/>
          </ac:spMkLst>
        </pc:spChg>
        <pc:spChg chg="add del mod">
          <ac:chgData name="Steiner Andreas 6206 ED" userId="e6377c33-a923-4f14-8587-531c474c7b48" providerId="ADAL" clId="{6ECD27E6-B224-41CD-B4E0-E297462320DD}" dt="2023-11-24T08:50:26.184" v="83292"/>
          <ac:spMkLst>
            <pc:docMk/>
            <pc:sldMk cId="3439677884" sldId="2147473972"/>
            <ac:spMk id="596" creationId="{CF3A1753-D5EF-6444-9741-E64228442A19}"/>
          </ac:spMkLst>
        </pc:spChg>
        <pc:spChg chg="add del mod">
          <ac:chgData name="Steiner Andreas 6206 ED" userId="e6377c33-a923-4f14-8587-531c474c7b48" providerId="ADAL" clId="{6ECD27E6-B224-41CD-B4E0-E297462320DD}" dt="2023-11-24T08:50:28.096" v="83447"/>
          <ac:spMkLst>
            <pc:docMk/>
            <pc:sldMk cId="3439677884" sldId="2147473972"/>
            <ac:spMk id="597" creationId="{5FDEF7D8-FE1C-FD5E-63BD-90FCCBD58E42}"/>
          </ac:spMkLst>
        </pc:spChg>
        <pc:spChg chg="add del mod">
          <ac:chgData name="Steiner Andreas 6206 ED" userId="e6377c33-a923-4f14-8587-531c474c7b48" providerId="ADAL" clId="{6ECD27E6-B224-41CD-B4E0-E297462320DD}" dt="2023-11-24T08:50:29.997" v="83602"/>
          <ac:spMkLst>
            <pc:docMk/>
            <pc:sldMk cId="3439677884" sldId="2147473972"/>
            <ac:spMk id="598" creationId="{D652AE40-5753-421A-739B-39CEAB44493C}"/>
          </ac:spMkLst>
        </pc:spChg>
        <pc:spChg chg="add del mod">
          <ac:chgData name="Steiner Andreas 6206 ED" userId="e6377c33-a923-4f14-8587-531c474c7b48" providerId="ADAL" clId="{6ECD27E6-B224-41CD-B4E0-E297462320DD}" dt="2023-11-24T08:50:32.019" v="83757"/>
          <ac:spMkLst>
            <pc:docMk/>
            <pc:sldMk cId="3439677884" sldId="2147473972"/>
            <ac:spMk id="599" creationId="{221309EF-3B3A-64D1-F21B-46E68E3358B9}"/>
          </ac:spMkLst>
        </pc:spChg>
        <pc:spChg chg="add del mod">
          <ac:chgData name="Steiner Andreas 6206 ED" userId="e6377c33-a923-4f14-8587-531c474c7b48" providerId="ADAL" clId="{6ECD27E6-B224-41CD-B4E0-E297462320DD}" dt="2023-11-24T08:50:34.079" v="83912"/>
          <ac:spMkLst>
            <pc:docMk/>
            <pc:sldMk cId="3439677884" sldId="2147473972"/>
            <ac:spMk id="600" creationId="{7832E4F8-A659-CD28-1D61-4BF6C06989FF}"/>
          </ac:spMkLst>
        </pc:spChg>
        <pc:spChg chg="add del mod">
          <ac:chgData name="Steiner Andreas 6206 ED" userId="e6377c33-a923-4f14-8587-531c474c7b48" providerId="ADAL" clId="{6ECD27E6-B224-41CD-B4E0-E297462320DD}" dt="2023-11-24T08:50:36.302" v="84067"/>
          <ac:spMkLst>
            <pc:docMk/>
            <pc:sldMk cId="3439677884" sldId="2147473972"/>
            <ac:spMk id="601" creationId="{2A6D4ECB-D4D8-B097-B0F6-F5EADCE27076}"/>
          </ac:spMkLst>
        </pc:spChg>
        <pc:spChg chg="add del mod">
          <ac:chgData name="Steiner Andreas 6206 ED" userId="e6377c33-a923-4f14-8587-531c474c7b48" providerId="ADAL" clId="{6ECD27E6-B224-41CD-B4E0-E297462320DD}" dt="2023-11-24T08:50:38.276" v="84222"/>
          <ac:spMkLst>
            <pc:docMk/>
            <pc:sldMk cId="3439677884" sldId="2147473972"/>
            <ac:spMk id="602" creationId="{EF935D0E-3E7B-2563-688B-18B1F1866FBD}"/>
          </ac:spMkLst>
        </pc:spChg>
        <pc:spChg chg="add del mod">
          <ac:chgData name="Steiner Andreas 6206 ED" userId="e6377c33-a923-4f14-8587-531c474c7b48" providerId="ADAL" clId="{6ECD27E6-B224-41CD-B4E0-E297462320DD}" dt="2023-11-24T08:50:40.236" v="84377"/>
          <ac:spMkLst>
            <pc:docMk/>
            <pc:sldMk cId="3439677884" sldId="2147473972"/>
            <ac:spMk id="603" creationId="{2752C9A7-3A6F-7292-FD3D-C061CE795450}"/>
          </ac:spMkLst>
        </pc:spChg>
        <pc:spChg chg="add del mod">
          <ac:chgData name="Steiner Andreas 6206 ED" userId="e6377c33-a923-4f14-8587-531c474c7b48" providerId="ADAL" clId="{6ECD27E6-B224-41CD-B4E0-E297462320DD}" dt="2023-11-24T08:50:42.260" v="84532"/>
          <ac:spMkLst>
            <pc:docMk/>
            <pc:sldMk cId="3439677884" sldId="2147473972"/>
            <ac:spMk id="604" creationId="{80818D02-7DD7-1C5F-2332-21A5AD29DEEA}"/>
          </ac:spMkLst>
        </pc:spChg>
        <pc:spChg chg="add del mod">
          <ac:chgData name="Steiner Andreas 6206 ED" userId="e6377c33-a923-4f14-8587-531c474c7b48" providerId="ADAL" clId="{6ECD27E6-B224-41CD-B4E0-E297462320DD}" dt="2023-11-24T08:50:44.365" v="84687"/>
          <ac:spMkLst>
            <pc:docMk/>
            <pc:sldMk cId="3439677884" sldId="2147473972"/>
            <ac:spMk id="605" creationId="{22DCE737-B287-C45A-6A64-C92FE610E65A}"/>
          </ac:spMkLst>
        </pc:spChg>
        <pc:spChg chg="add del mod">
          <ac:chgData name="Steiner Andreas 6206 ED" userId="e6377c33-a923-4f14-8587-531c474c7b48" providerId="ADAL" clId="{6ECD27E6-B224-41CD-B4E0-E297462320DD}" dt="2023-11-24T08:50:46.481" v="84842"/>
          <ac:spMkLst>
            <pc:docMk/>
            <pc:sldMk cId="3439677884" sldId="2147473972"/>
            <ac:spMk id="606" creationId="{C0DF1CE1-F657-9DBD-1E32-24A83B2E1ACF}"/>
          </ac:spMkLst>
        </pc:spChg>
        <pc:spChg chg="add del mod">
          <ac:chgData name="Steiner Andreas 6206 ED" userId="e6377c33-a923-4f14-8587-531c474c7b48" providerId="ADAL" clId="{6ECD27E6-B224-41CD-B4E0-E297462320DD}" dt="2023-11-24T08:50:48.633" v="84997"/>
          <ac:spMkLst>
            <pc:docMk/>
            <pc:sldMk cId="3439677884" sldId="2147473972"/>
            <ac:spMk id="607" creationId="{7C14BB85-F380-8B80-B27A-D02B04F07FE3}"/>
          </ac:spMkLst>
        </pc:spChg>
        <pc:spChg chg="add del mod">
          <ac:chgData name="Steiner Andreas 6206 ED" userId="e6377c33-a923-4f14-8587-531c474c7b48" providerId="ADAL" clId="{6ECD27E6-B224-41CD-B4E0-E297462320DD}" dt="2023-11-24T08:50:50.729" v="85152"/>
          <ac:spMkLst>
            <pc:docMk/>
            <pc:sldMk cId="3439677884" sldId="2147473972"/>
            <ac:spMk id="608" creationId="{338A7442-22A9-3FEA-0ACC-5B002F3EC236}"/>
          </ac:spMkLst>
        </pc:spChg>
        <pc:spChg chg="add del mod">
          <ac:chgData name="Steiner Andreas 6206 ED" userId="e6377c33-a923-4f14-8587-531c474c7b48" providerId="ADAL" clId="{6ECD27E6-B224-41CD-B4E0-E297462320DD}" dt="2023-11-24T08:50:52.877" v="85307"/>
          <ac:spMkLst>
            <pc:docMk/>
            <pc:sldMk cId="3439677884" sldId="2147473972"/>
            <ac:spMk id="609" creationId="{D68F8B73-6ABF-F336-4306-31E14C02C063}"/>
          </ac:spMkLst>
        </pc:spChg>
        <pc:spChg chg="add del mod">
          <ac:chgData name="Steiner Andreas 6206 ED" userId="e6377c33-a923-4f14-8587-531c474c7b48" providerId="ADAL" clId="{6ECD27E6-B224-41CD-B4E0-E297462320DD}" dt="2023-11-24T08:50:54.792" v="85462"/>
          <ac:spMkLst>
            <pc:docMk/>
            <pc:sldMk cId="3439677884" sldId="2147473972"/>
            <ac:spMk id="610" creationId="{A60FF74A-3341-3CC4-91A8-3CEF00C4416B}"/>
          </ac:spMkLst>
        </pc:spChg>
        <pc:spChg chg="add del mod">
          <ac:chgData name="Steiner Andreas 6206 ED" userId="e6377c33-a923-4f14-8587-531c474c7b48" providerId="ADAL" clId="{6ECD27E6-B224-41CD-B4E0-E297462320DD}" dt="2023-11-24T08:50:56.711" v="85617"/>
          <ac:spMkLst>
            <pc:docMk/>
            <pc:sldMk cId="3439677884" sldId="2147473972"/>
            <ac:spMk id="611" creationId="{439316F3-952B-D245-7526-C334F8FE5B5B}"/>
          </ac:spMkLst>
        </pc:spChg>
        <pc:spChg chg="add del mod">
          <ac:chgData name="Steiner Andreas 6206 ED" userId="e6377c33-a923-4f14-8587-531c474c7b48" providerId="ADAL" clId="{6ECD27E6-B224-41CD-B4E0-E297462320DD}" dt="2023-11-24T08:50:58.844" v="85772"/>
          <ac:spMkLst>
            <pc:docMk/>
            <pc:sldMk cId="3439677884" sldId="2147473972"/>
            <ac:spMk id="612" creationId="{92B1DBF3-F232-E7FA-4CCD-6D2DB67A5AF4}"/>
          </ac:spMkLst>
        </pc:spChg>
        <pc:spChg chg="add del mod">
          <ac:chgData name="Steiner Andreas 6206 ED" userId="e6377c33-a923-4f14-8587-531c474c7b48" providerId="ADAL" clId="{6ECD27E6-B224-41CD-B4E0-E297462320DD}" dt="2023-11-24T08:51:00.854" v="85927"/>
          <ac:spMkLst>
            <pc:docMk/>
            <pc:sldMk cId="3439677884" sldId="2147473972"/>
            <ac:spMk id="613" creationId="{237714E5-AD8B-0135-5B15-0098C8880F50}"/>
          </ac:spMkLst>
        </pc:spChg>
        <pc:spChg chg="add del mod">
          <ac:chgData name="Steiner Andreas 6206 ED" userId="e6377c33-a923-4f14-8587-531c474c7b48" providerId="ADAL" clId="{6ECD27E6-B224-41CD-B4E0-E297462320DD}" dt="2023-11-24T08:51:02.826" v="86082"/>
          <ac:spMkLst>
            <pc:docMk/>
            <pc:sldMk cId="3439677884" sldId="2147473972"/>
            <ac:spMk id="614" creationId="{6493C86A-95A3-D856-37D9-88C2F9972DBA}"/>
          </ac:spMkLst>
        </pc:spChg>
        <pc:spChg chg="add del mod">
          <ac:chgData name="Steiner Andreas 6206 ED" userId="e6377c33-a923-4f14-8587-531c474c7b48" providerId="ADAL" clId="{6ECD27E6-B224-41CD-B4E0-E297462320DD}" dt="2023-11-24T08:51:04.687" v="86237"/>
          <ac:spMkLst>
            <pc:docMk/>
            <pc:sldMk cId="3439677884" sldId="2147473972"/>
            <ac:spMk id="615" creationId="{26173725-21B9-9FDA-5FEC-ED09E3A3FFC1}"/>
          </ac:spMkLst>
        </pc:spChg>
        <pc:spChg chg="add del mod">
          <ac:chgData name="Steiner Andreas 6206 ED" userId="e6377c33-a923-4f14-8587-531c474c7b48" providerId="ADAL" clId="{6ECD27E6-B224-41CD-B4E0-E297462320DD}" dt="2023-11-24T08:51:06.607" v="86392"/>
          <ac:spMkLst>
            <pc:docMk/>
            <pc:sldMk cId="3439677884" sldId="2147473972"/>
            <ac:spMk id="616" creationId="{25AA8B92-F583-07CE-616D-040102687581}"/>
          </ac:spMkLst>
        </pc:spChg>
        <pc:spChg chg="add del mod">
          <ac:chgData name="Steiner Andreas 6206 ED" userId="e6377c33-a923-4f14-8587-531c474c7b48" providerId="ADAL" clId="{6ECD27E6-B224-41CD-B4E0-E297462320DD}" dt="2023-11-24T08:51:08.575" v="86547"/>
          <ac:spMkLst>
            <pc:docMk/>
            <pc:sldMk cId="3439677884" sldId="2147473972"/>
            <ac:spMk id="617" creationId="{F2A2F2A3-224A-76BD-F042-08F34EDED668}"/>
          </ac:spMkLst>
        </pc:spChg>
        <pc:spChg chg="add del mod">
          <ac:chgData name="Steiner Andreas 6206 ED" userId="e6377c33-a923-4f14-8587-531c474c7b48" providerId="ADAL" clId="{6ECD27E6-B224-41CD-B4E0-E297462320DD}" dt="2023-11-24T08:51:10.613" v="86702"/>
          <ac:spMkLst>
            <pc:docMk/>
            <pc:sldMk cId="3439677884" sldId="2147473972"/>
            <ac:spMk id="618" creationId="{2EF5C66A-7AA6-6A31-1031-2C36FD5B094E}"/>
          </ac:spMkLst>
        </pc:spChg>
        <pc:spChg chg="add del mod">
          <ac:chgData name="Steiner Andreas 6206 ED" userId="e6377c33-a923-4f14-8587-531c474c7b48" providerId="ADAL" clId="{6ECD27E6-B224-41CD-B4E0-E297462320DD}" dt="2023-11-24T08:51:12.491" v="86857"/>
          <ac:spMkLst>
            <pc:docMk/>
            <pc:sldMk cId="3439677884" sldId="2147473972"/>
            <ac:spMk id="619" creationId="{FD140C00-4C5F-D1DA-D7A8-14F61AFBE92B}"/>
          </ac:spMkLst>
        </pc:spChg>
        <pc:spChg chg="add del mod">
          <ac:chgData name="Steiner Andreas 6206 ED" userId="e6377c33-a923-4f14-8587-531c474c7b48" providerId="ADAL" clId="{6ECD27E6-B224-41CD-B4E0-E297462320DD}" dt="2023-11-24T08:51:14.640" v="87012"/>
          <ac:spMkLst>
            <pc:docMk/>
            <pc:sldMk cId="3439677884" sldId="2147473972"/>
            <ac:spMk id="620" creationId="{1D05FA55-1064-B787-7D00-E0F2AE0713CD}"/>
          </ac:spMkLst>
        </pc:spChg>
        <pc:spChg chg="add del mod">
          <ac:chgData name="Steiner Andreas 6206 ED" userId="e6377c33-a923-4f14-8587-531c474c7b48" providerId="ADAL" clId="{6ECD27E6-B224-41CD-B4E0-E297462320DD}" dt="2023-11-24T08:51:16.792" v="87167"/>
          <ac:spMkLst>
            <pc:docMk/>
            <pc:sldMk cId="3439677884" sldId="2147473972"/>
            <ac:spMk id="621" creationId="{BA94E0D4-E005-0C3D-C8B7-D8E1FD86122E}"/>
          </ac:spMkLst>
        </pc:spChg>
        <pc:spChg chg="add del mod">
          <ac:chgData name="Steiner Andreas 6206 ED" userId="e6377c33-a923-4f14-8587-531c474c7b48" providerId="ADAL" clId="{6ECD27E6-B224-41CD-B4E0-E297462320DD}" dt="2023-11-24T08:51:18.699" v="87322"/>
          <ac:spMkLst>
            <pc:docMk/>
            <pc:sldMk cId="3439677884" sldId="2147473972"/>
            <ac:spMk id="622" creationId="{EBEB6A05-DC45-796C-143B-2CDA38FEF097}"/>
          </ac:spMkLst>
        </pc:spChg>
        <pc:spChg chg="add del mod">
          <ac:chgData name="Steiner Andreas 6206 ED" userId="e6377c33-a923-4f14-8587-531c474c7b48" providerId="ADAL" clId="{6ECD27E6-B224-41CD-B4E0-E297462320DD}" dt="2023-11-24T08:51:20.729" v="87477"/>
          <ac:spMkLst>
            <pc:docMk/>
            <pc:sldMk cId="3439677884" sldId="2147473972"/>
            <ac:spMk id="623" creationId="{6AD6BDA6-FC81-186C-BB05-3C792134F894}"/>
          </ac:spMkLst>
        </pc:spChg>
        <pc:spChg chg="add del mod">
          <ac:chgData name="Steiner Andreas 6206 ED" userId="e6377c33-a923-4f14-8587-531c474c7b48" providerId="ADAL" clId="{6ECD27E6-B224-41CD-B4E0-E297462320DD}" dt="2023-11-24T08:51:22.658" v="87632"/>
          <ac:spMkLst>
            <pc:docMk/>
            <pc:sldMk cId="3439677884" sldId="2147473972"/>
            <ac:spMk id="624" creationId="{119BB670-53BE-726E-2CE3-6C0E33E7AC26}"/>
          </ac:spMkLst>
        </pc:spChg>
        <pc:spChg chg="add del mod">
          <ac:chgData name="Steiner Andreas 6206 ED" userId="e6377c33-a923-4f14-8587-531c474c7b48" providerId="ADAL" clId="{6ECD27E6-B224-41CD-B4E0-E297462320DD}" dt="2023-11-24T08:51:24.624" v="87787"/>
          <ac:spMkLst>
            <pc:docMk/>
            <pc:sldMk cId="3439677884" sldId="2147473972"/>
            <ac:spMk id="625" creationId="{87B899D7-A6C6-5409-A8C6-648F68BC8A64}"/>
          </ac:spMkLst>
        </pc:spChg>
        <pc:spChg chg="add del mod">
          <ac:chgData name="Steiner Andreas 6206 ED" userId="e6377c33-a923-4f14-8587-531c474c7b48" providerId="ADAL" clId="{6ECD27E6-B224-41CD-B4E0-E297462320DD}" dt="2023-11-24T08:51:26.504" v="87942"/>
          <ac:spMkLst>
            <pc:docMk/>
            <pc:sldMk cId="3439677884" sldId="2147473972"/>
            <ac:spMk id="626" creationId="{6E136C9B-DC6D-8982-10B8-3BAAED529415}"/>
          </ac:spMkLst>
        </pc:spChg>
        <pc:spChg chg="add del mod">
          <ac:chgData name="Steiner Andreas 6206 ED" userId="e6377c33-a923-4f14-8587-531c474c7b48" providerId="ADAL" clId="{6ECD27E6-B224-41CD-B4E0-E297462320DD}" dt="2023-11-24T08:51:28.391" v="88097"/>
          <ac:spMkLst>
            <pc:docMk/>
            <pc:sldMk cId="3439677884" sldId="2147473972"/>
            <ac:spMk id="627" creationId="{D5A77A02-82A8-1BF5-7FA5-13AB211097CE}"/>
          </ac:spMkLst>
        </pc:spChg>
        <pc:spChg chg="add del mod">
          <ac:chgData name="Steiner Andreas 6206 ED" userId="e6377c33-a923-4f14-8587-531c474c7b48" providerId="ADAL" clId="{6ECD27E6-B224-41CD-B4E0-E297462320DD}" dt="2023-11-24T08:51:30.325" v="88252"/>
          <ac:spMkLst>
            <pc:docMk/>
            <pc:sldMk cId="3439677884" sldId="2147473972"/>
            <ac:spMk id="628" creationId="{2333BBBD-B7EF-8C0A-4AE2-8C871F16417D}"/>
          </ac:spMkLst>
        </pc:spChg>
        <pc:spChg chg="add del mod">
          <ac:chgData name="Steiner Andreas 6206 ED" userId="e6377c33-a923-4f14-8587-531c474c7b48" providerId="ADAL" clId="{6ECD27E6-B224-41CD-B4E0-E297462320DD}" dt="2023-11-24T08:51:32.501" v="88407"/>
          <ac:spMkLst>
            <pc:docMk/>
            <pc:sldMk cId="3439677884" sldId="2147473972"/>
            <ac:spMk id="629" creationId="{4FD96520-6820-92E5-BB8E-F75D0E0C2223}"/>
          </ac:spMkLst>
        </pc:spChg>
        <pc:spChg chg="add del mod">
          <ac:chgData name="Steiner Andreas 6206 ED" userId="e6377c33-a923-4f14-8587-531c474c7b48" providerId="ADAL" clId="{6ECD27E6-B224-41CD-B4E0-E297462320DD}" dt="2023-11-24T08:51:34.490" v="88562"/>
          <ac:spMkLst>
            <pc:docMk/>
            <pc:sldMk cId="3439677884" sldId="2147473972"/>
            <ac:spMk id="630" creationId="{07225E0E-AA34-58E5-C35E-060D1E56BDF5}"/>
          </ac:spMkLst>
        </pc:spChg>
        <pc:spChg chg="add del mod">
          <ac:chgData name="Steiner Andreas 6206 ED" userId="e6377c33-a923-4f14-8587-531c474c7b48" providerId="ADAL" clId="{6ECD27E6-B224-41CD-B4E0-E297462320DD}" dt="2023-11-24T08:51:36.373" v="88717"/>
          <ac:spMkLst>
            <pc:docMk/>
            <pc:sldMk cId="3439677884" sldId="2147473972"/>
            <ac:spMk id="631" creationId="{428E5F9D-D69B-547F-4FEB-60E40EE65134}"/>
          </ac:spMkLst>
        </pc:spChg>
        <pc:spChg chg="add del mod">
          <ac:chgData name="Steiner Andreas 6206 ED" userId="e6377c33-a923-4f14-8587-531c474c7b48" providerId="ADAL" clId="{6ECD27E6-B224-41CD-B4E0-E297462320DD}" dt="2023-11-24T08:51:38.314" v="88872"/>
          <ac:spMkLst>
            <pc:docMk/>
            <pc:sldMk cId="3439677884" sldId="2147473972"/>
            <ac:spMk id="632" creationId="{CA0DB473-7FF8-1185-FB70-CD74B2E631F8}"/>
          </ac:spMkLst>
        </pc:spChg>
        <pc:spChg chg="add del mod">
          <ac:chgData name="Steiner Andreas 6206 ED" userId="e6377c33-a923-4f14-8587-531c474c7b48" providerId="ADAL" clId="{6ECD27E6-B224-41CD-B4E0-E297462320DD}" dt="2023-11-24T08:51:40.247" v="89027"/>
          <ac:spMkLst>
            <pc:docMk/>
            <pc:sldMk cId="3439677884" sldId="2147473972"/>
            <ac:spMk id="633" creationId="{7C1E9E89-3E67-573D-B052-2290A1872803}"/>
          </ac:spMkLst>
        </pc:spChg>
        <pc:spChg chg="add del mod">
          <ac:chgData name="Steiner Andreas 6206 ED" userId="e6377c33-a923-4f14-8587-531c474c7b48" providerId="ADAL" clId="{6ECD27E6-B224-41CD-B4E0-E297462320DD}" dt="2023-11-24T08:51:42.214" v="89182"/>
          <ac:spMkLst>
            <pc:docMk/>
            <pc:sldMk cId="3439677884" sldId="2147473972"/>
            <ac:spMk id="634" creationId="{68EF4030-752B-6D93-3FF9-37B6218F864B}"/>
          </ac:spMkLst>
        </pc:spChg>
        <pc:spChg chg="add del mod">
          <ac:chgData name="Steiner Andreas 6206 ED" userId="e6377c33-a923-4f14-8587-531c474c7b48" providerId="ADAL" clId="{6ECD27E6-B224-41CD-B4E0-E297462320DD}" dt="2023-11-24T08:51:44.314" v="89337"/>
          <ac:spMkLst>
            <pc:docMk/>
            <pc:sldMk cId="3439677884" sldId="2147473972"/>
            <ac:spMk id="635" creationId="{C27FD7F2-6CA3-AFF4-AFDB-2EC78AFDE75C}"/>
          </ac:spMkLst>
        </pc:spChg>
        <pc:spChg chg="add del mod">
          <ac:chgData name="Steiner Andreas 6206 ED" userId="e6377c33-a923-4f14-8587-531c474c7b48" providerId="ADAL" clId="{6ECD27E6-B224-41CD-B4E0-E297462320DD}" dt="2023-11-24T08:51:46.331" v="89492"/>
          <ac:spMkLst>
            <pc:docMk/>
            <pc:sldMk cId="3439677884" sldId="2147473972"/>
            <ac:spMk id="636" creationId="{7F6E67F0-CC71-B93E-8185-B7431AD6F9B1}"/>
          </ac:spMkLst>
        </pc:spChg>
        <pc:spChg chg="add del mod">
          <ac:chgData name="Steiner Andreas 6206 ED" userId="e6377c33-a923-4f14-8587-531c474c7b48" providerId="ADAL" clId="{6ECD27E6-B224-41CD-B4E0-E297462320DD}" dt="2023-11-24T08:51:48.224" v="89647"/>
          <ac:spMkLst>
            <pc:docMk/>
            <pc:sldMk cId="3439677884" sldId="2147473972"/>
            <ac:spMk id="637" creationId="{78E2E122-B792-3F6A-85CD-4B771D35AB1B}"/>
          </ac:spMkLst>
        </pc:spChg>
        <pc:spChg chg="add del mod">
          <ac:chgData name="Steiner Andreas 6206 ED" userId="e6377c33-a923-4f14-8587-531c474c7b48" providerId="ADAL" clId="{6ECD27E6-B224-41CD-B4E0-E297462320DD}" dt="2023-11-24T08:51:50.138" v="89802"/>
          <ac:spMkLst>
            <pc:docMk/>
            <pc:sldMk cId="3439677884" sldId="2147473972"/>
            <ac:spMk id="638" creationId="{3DEA1DEB-9DE0-7776-EE27-C62DA847B300}"/>
          </ac:spMkLst>
        </pc:spChg>
        <pc:spChg chg="add del mod">
          <ac:chgData name="Steiner Andreas 6206 ED" userId="e6377c33-a923-4f14-8587-531c474c7b48" providerId="ADAL" clId="{6ECD27E6-B224-41CD-B4E0-E297462320DD}" dt="2023-11-24T08:51:52.060" v="89957"/>
          <ac:spMkLst>
            <pc:docMk/>
            <pc:sldMk cId="3439677884" sldId="2147473972"/>
            <ac:spMk id="639" creationId="{AB383259-7AA9-85C1-294D-A20D7EE0696A}"/>
          </ac:spMkLst>
        </pc:spChg>
        <pc:spChg chg="add del mod">
          <ac:chgData name="Steiner Andreas 6206 ED" userId="e6377c33-a923-4f14-8587-531c474c7b48" providerId="ADAL" clId="{6ECD27E6-B224-41CD-B4E0-E297462320DD}" dt="2023-11-24T08:51:53.995" v="90112"/>
          <ac:spMkLst>
            <pc:docMk/>
            <pc:sldMk cId="3439677884" sldId="2147473972"/>
            <ac:spMk id="640" creationId="{DECCD902-2678-88CD-AAA2-505BC457115B}"/>
          </ac:spMkLst>
        </pc:spChg>
        <pc:spChg chg="add del mod">
          <ac:chgData name="Steiner Andreas 6206 ED" userId="e6377c33-a923-4f14-8587-531c474c7b48" providerId="ADAL" clId="{6ECD27E6-B224-41CD-B4E0-E297462320DD}" dt="2023-11-24T08:51:56.026" v="90267"/>
          <ac:spMkLst>
            <pc:docMk/>
            <pc:sldMk cId="3439677884" sldId="2147473972"/>
            <ac:spMk id="641" creationId="{EC0B13FE-614B-1C74-366B-935275DAA5DF}"/>
          </ac:spMkLst>
        </pc:spChg>
        <pc:spChg chg="add del mod">
          <ac:chgData name="Steiner Andreas 6206 ED" userId="e6377c33-a923-4f14-8587-531c474c7b48" providerId="ADAL" clId="{6ECD27E6-B224-41CD-B4E0-E297462320DD}" dt="2023-11-24T08:51:57.931" v="90422"/>
          <ac:spMkLst>
            <pc:docMk/>
            <pc:sldMk cId="3439677884" sldId="2147473972"/>
            <ac:spMk id="642" creationId="{EB5E1BE7-A542-CABD-B974-01159C650B70}"/>
          </ac:spMkLst>
        </pc:spChg>
        <pc:spChg chg="add del mod">
          <ac:chgData name="Steiner Andreas 6206 ED" userId="e6377c33-a923-4f14-8587-531c474c7b48" providerId="ADAL" clId="{6ECD27E6-B224-41CD-B4E0-E297462320DD}" dt="2023-11-24T08:52:00.053" v="90577"/>
          <ac:spMkLst>
            <pc:docMk/>
            <pc:sldMk cId="3439677884" sldId="2147473972"/>
            <ac:spMk id="643" creationId="{95CC93BC-EDEE-9909-3239-132F223D45DC}"/>
          </ac:spMkLst>
        </pc:spChg>
        <pc:spChg chg="add del mod">
          <ac:chgData name="Steiner Andreas 6206 ED" userId="e6377c33-a923-4f14-8587-531c474c7b48" providerId="ADAL" clId="{6ECD27E6-B224-41CD-B4E0-E297462320DD}" dt="2023-11-24T08:52:02.027" v="90732"/>
          <ac:spMkLst>
            <pc:docMk/>
            <pc:sldMk cId="3439677884" sldId="2147473972"/>
            <ac:spMk id="644" creationId="{D4060297-7852-1EA1-AE53-92F0D9DF54FC}"/>
          </ac:spMkLst>
        </pc:spChg>
        <pc:spChg chg="add del mod">
          <ac:chgData name="Steiner Andreas 6206 ED" userId="e6377c33-a923-4f14-8587-531c474c7b48" providerId="ADAL" clId="{6ECD27E6-B224-41CD-B4E0-E297462320DD}" dt="2023-11-24T08:52:03.963" v="90887"/>
          <ac:spMkLst>
            <pc:docMk/>
            <pc:sldMk cId="3439677884" sldId="2147473972"/>
            <ac:spMk id="645" creationId="{3FF0EE15-ACE4-13BC-33F6-F0A341041618}"/>
          </ac:spMkLst>
        </pc:spChg>
        <pc:spChg chg="add del mod">
          <ac:chgData name="Steiner Andreas 6206 ED" userId="e6377c33-a923-4f14-8587-531c474c7b48" providerId="ADAL" clId="{6ECD27E6-B224-41CD-B4E0-E297462320DD}" dt="2023-11-24T08:52:06.092" v="91042"/>
          <ac:spMkLst>
            <pc:docMk/>
            <pc:sldMk cId="3439677884" sldId="2147473972"/>
            <ac:spMk id="646" creationId="{ABAB8EDE-D1A9-E953-DEA0-88B94561F57B}"/>
          </ac:spMkLst>
        </pc:spChg>
        <pc:spChg chg="add del mod">
          <ac:chgData name="Steiner Andreas 6206 ED" userId="e6377c33-a923-4f14-8587-531c474c7b48" providerId="ADAL" clId="{6ECD27E6-B224-41CD-B4E0-E297462320DD}" dt="2023-11-24T08:52:08.117" v="91197"/>
          <ac:spMkLst>
            <pc:docMk/>
            <pc:sldMk cId="3439677884" sldId="2147473972"/>
            <ac:spMk id="647" creationId="{6D4A7531-07C0-439F-B13B-76CF3D6E6A17}"/>
          </ac:spMkLst>
        </pc:spChg>
        <pc:spChg chg="add del mod">
          <ac:chgData name="Steiner Andreas 6206 ED" userId="e6377c33-a923-4f14-8587-531c474c7b48" providerId="ADAL" clId="{6ECD27E6-B224-41CD-B4E0-E297462320DD}" dt="2023-11-24T08:52:09.997" v="91352"/>
          <ac:spMkLst>
            <pc:docMk/>
            <pc:sldMk cId="3439677884" sldId="2147473972"/>
            <ac:spMk id="648" creationId="{DA11F3D0-0BCA-C5A5-95E4-9212BFADD93D}"/>
          </ac:spMkLst>
        </pc:spChg>
        <pc:spChg chg="add del mod">
          <ac:chgData name="Steiner Andreas 6206 ED" userId="e6377c33-a923-4f14-8587-531c474c7b48" providerId="ADAL" clId="{6ECD27E6-B224-41CD-B4E0-E297462320DD}" dt="2023-11-24T08:52:11.867" v="91507"/>
          <ac:spMkLst>
            <pc:docMk/>
            <pc:sldMk cId="3439677884" sldId="2147473972"/>
            <ac:spMk id="649" creationId="{69B24C4D-0DB4-444A-5730-616CD414C2CD}"/>
          </ac:spMkLst>
        </pc:spChg>
        <pc:spChg chg="add del mod">
          <ac:chgData name="Steiner Andreas 6206 ED" userId="e6377c33-a923-4f14-8587-531c474c7b48" providerId="ADAL" clId="{6ECD27E6-B224-41CD-B4E0-E297462320DD}" dt="2023-11-24T08:52:13.768" v="91662"/>
          <ac:spMkLst>
            <pc:docMk/>
            <pc:sldMk cId="3439677884" sldId="2147473972"/>
            <ac:spMk id="650" creationId="{8BF959FE-EEC6-DC4D-0720-B729CC503057}"/>
          </ac:spMkLst>
        </pc:spChg>
        <pc:spChg chg="add del mod">
          <ac:chgData name="Steiner Andreas 6206 ED" userId="e6377c33-a923-4f14-8587-531c474c7b48" providerId="ADAL" clId="{6ECD27E6-B224-41CD-B4E0-E297462320DD}" dt="2023-11-24T08:52:15.709" v="91817"/>
          <ac:spMkLst>
            <pc:docMk/>
            <pc:sldMk cId="3439677884" sldId="2147473972"/>
            <ac:spMk id="651" creationId="{BF537462-F192-5B54-163F-7D36C7B0AFD5}"/>
          </ac:spMkLst>
        </pc:spChg>
        <pc:spChg chg="add del mod">
          <ac:chgData name="Steiner Andreas 6206 ED" userId="e6377c33-a923-4f14-8587-531c474c7b48" providerId="ADAL" clId="{6ECD27E6-B224-41CD-B4E0-E297462320DD}" dt="2023-11-24T08:52:17.846" v="91972"/>
          <ac:spMkLst>
            <pc:docMk/>
            <pc:sldMk cId="3439677884" sldId="2147473972"/>
            <ac:spMk id="652" creationId="{CFF737A0-4AF6-9235-7180-F1B4DF790D67}"/>
          </ac:spMkLst>
        </pc:spChg>
        <pc:spChg chg="add del mod">
          <ac:chgData name="Steiner Andreas 6206 ED" userId="e6377c33-a923-4f14-8587-531c474c7b48" providerId="ADAL" clId="{6ECD27E6-B224-41CD-B4E0-E297462320DD}" dt="2023-11-24T08:52:19.802" v="92127"/>
          <ac:spMkLst>
            <pc:docMk/>
            <pc:sldMk cId="3439677884" sldId="2147473972"/>
            <ac:spMk id="653" creationId="{4CB83689-8FBC-A340-7824-5913DAE154B4}"/>
          </ac:spMkLst>
        </pc:spChg>
        <pc:spChg chg="add del mod">
          <ac:chgData name="Steiner Andreas 6206 ED" userId="e6377c33-a923-4f14-8587-531c474c7b48" providerId="ADAL" clId="{6ECD27E6-B224-41CD-B4E0-E297462320DD}" dt="2023-11-24T08:52:21.675" v="92282"/>
          <ac:spMkLst>
            <pc:docMk/>
            <pc:sldMk cId="3439677884" sldId="2147473972"/>
            <ac:spMk id="654" creationId="{33030BE6-637B-65C9-D6B9-F0400CDE2BAB}"/>
          </ac:spMkLst>
        </pc:spChg>
        <pc:spChg chg="add del mod">
          <ac:chgData name="Steiner Andreas 6206 ED" userId="e6377c33-a923-4f14-8587-531c474c7b48" providerId="ADAL" clId="{6ECD27E6-B224-41CD-B4E0-E297462320DD}" dt="2023-11-24T08:52:23.712" v="92437"/>
          <ac:spMkLst>
            <pc:docMk/>
            <pc:sldMk cId="3439677884" sldId="2147473972"/>
            <ac:spMk id="655" creationId="{173F4D2F-CED0-A34A-47C1-5BAE2B745CC5}"/>
          </ac:spMkLst>
        </pc:spChg>
        <pc:spChg chg="add del mod">
          <ac:chgData name="Steiner Andreas 6206 ED" userId="e6377c33-a923-4f14-8587-531c474c7b48" providerId="ADAL" clId="{6ECD27E6-B224-41CD-B4E0-E297462320DD}" dt="2023-11-24T08:52:25.635" v="92592"/>
          <ac:spMkLst>
            <pc:docMk/>
            <pc:sldMk cId="3439677884" sldId="2147473972"/>
            <ac:spMk id="656" creationId="{CBB5B7B0-0D5C-F484-4007-B2DAB5429CAD}"/>
          </ac:spMkLst>
        </pc:spChg>
        <pc:spChg chg="add del mod">
          <ac:chgData name="Steiner Andreas 6206 ED" userId="e6377c33-a923-4f14-8587-531c474c7b48" providerId="ADAL" clId="{6ECD27E6-B224-41CD-B4E0-E297462320DD}" dt="2023-11-24T08:52:27.496" v="92747"/>
          <ac:spMkLst>
            <pc:docMk/>
            <pc:sldMk cId="3439677884" sldId="2147473972"/>
            <ac:spMk id="657" creationId="{EA577615-A22C-B605-6373-5BD6D537E521}"/>
          </ac:spMkLst>
        </pc:spChg>
        <pc:spChg chg="add del mod">
          <ac:chgData name="Steiner Andreas 6206 ED" userId="e6377c33-a923-4f14-8587-531c474c7b48" providerId="ADAL" clId="{6ECD27E6-B224-41CD-B4E0-E297462320DD}" dt="2023-11-24T08:52:29.520" v="92902"/>
          <ac:spMkLst>
            <pc:docMk/>
            <pc:sldMk cId="3439677884" sldId="2147473972"/>
            <ac:spMk id="658" creationId="{976BA205-41D6-E2DE-EDA1-F1FB41529CC1}"/>
          </ac:spMkLst>
        </pc:spChg>
        <pc:spChg chg="add del mod">
          <ac:chgData name="Steiner Andreas 6206 ED" userId="e6377c33-a923-4f14-8587-531c474c7b48" providerId="ADAL" clId="{6ECD27E6-B224-41CD-B4E0-E297462320DD}" dt="2023-11-24T08:52:31.506" v="93057"/>
          <ac:spMkLst>
            <pc:docMk/>
            <pc:sldMk cId="3439677884" sldId="2147473972"/>
            <ac:spMk id="659" creationId="{5E18E740-851A-0324-D301-F03B20CBDCC4}"/>
          </ac:spMkLst>
        </pc:spChg>
        <pc:spChg chg="add del mod">
          <ac:chgData name="Steiner Andreas 6206 ED" userId="e6377c33-a923-4f14-8587-531c474c7b48" providerId="ADAL" clId="{6ECD27E6-B224-41CD-B4E0-E297462320DD}" dt="2023-11-24T08:52:33.440" v="93212"/>
          <ac:spMkLst>
            <pc:docMk/>
            <pc:sldMk cId="3439677884" sldId="2147473972"/>
            <ac:spMk id="660" creationId="{63ADF220-8728-2339-D2AE-5FC1E8A2F441}"/>
          </ac:spMkLst>
        </pc:spChg>
        <pc:spChg chg="add del mod">
          <ac:chgData name="Steiner Andreas 6206 ED" userId="e6377c33-a923-4f14-8587-531c474c7b48" providerId="ADAL" clId="{6ECD27E6-B224-41CD-B4E0-E297462320DD}" dt="2023-11-24T08:52:35.317" v="93367"/>
          <ac:spMkLst>
            <pc:docMk/>
            <pc:sldMk cId="3439677884" sldId="2147473972"/>
            <ac:spMk id="661" creationId="{F947EBAE-170F-E468-ACB1-5753FBF00704}"/>
          </ac:spMkLst>
        </pc:spChg>
        <pc:spChg chg="add del mod">
          <ac:chgData name="Steiner Andreas 6206 ED" userId="e6377c33-a923-4f14-8587-531c474c7b48" providerId="ADAL" clId="{6ECD27E6-B224-41CD-B4E0-E297462320DD}" dt="2023-11-24T08:52:37.246" v="93522"/>
          <ac:spMkLst>
            <pc:docMk/>
            <pc:sldMk cId="3439677884" sldId="2147473972"/>
            <ac:spMk id="662" creationId="{C765709C-8158-2986-ADCB-6008312164A7}"/>
          </ac:spMkLst>
        </pc:spChg>
        <pc:spChg chg="add del mod">
          <ac:chgData name="Steiner Andreas 6206 ED" userId="e6377c33-a923-4f14-8587-531c474c7b48" providerId="ADAL" clId="{6ECD27E6-B224-41CD-B4E0-E297462320DD}" dt="2023-11-24T08:52:39.121" v="93677"/>
          <ac:spMkLst>
            <pc:docMk/>
            <pc:sldMk cId="3439677884" sldId="2147473972"/>
            <ac:spMk id="663" creationId="{46FA41E4-15C0-9BBC-4D03-DF11C908892D}"/>
          </ac:spMkLst>
        </pc:spChg>
        <pc:spChg chg="add del mod">
          <ac:chgData name="Steiner Andreas 6206 ED" userId="e6377c33-a923-4f14-8587-531c474c7b48" providerId="ADAL" clId="{6ECD27E6-B224-41CD-B4E0-E297462320DD}" dt="2023-11-24T08:52:41.173" v="93832"/>
          <ac:spMkLst>
            <pc:docMk/>
            <pc:sldMk cId="3439677884" sldId="2147473972"/>
            <ac:spMk id="664" creationId="{BAFB4DAA-6FE9-A7EF-57DF-6E50792F75F1}"/>
          </ac:spMkLst>
        </pc:spChg>
        <pc:spChg chg="add del mod">
          <ac:chgData name="Steiner Andreas 6206 ED" userId="e6377c33-a923-4f14-8587-531c474c7b48" providerId="ADAL" clId="{6ECD27E6-B224-41CD-B4E0-E297462320DD}" dt="2023-11-24T08:52:43.154" v="93987"/>
          <ac:spMkLst>
            <pc:docMk/>
            <pc:sldMk cId="3439677884" sldId="2147473972"/>
            <ac:spMk id="665" creationId="{87EE8287-22FA-3BB6-DF4E-161B554BA5B3}"/>
          </ac:spMkLst>
        </pc:spChg>
        <pc:spChg chg="add del mod">
          <ac:chgData name="Steiner Andreas 6206 ED" userId="e6377c33-a923-4f14-8587-531c474c7b48" providerId="ADAL" clId="{6ECD27E6-B224-41CD-B4E0-E297462320DD}" dt="2023-11-24T08:52:45.078" v="94142"/>
          <ac:spMkLst>
            <pc:docMk/>
            <pc:sldMk cId="3439677884" sldId="2147473972"/>
            <ac:spMk id="666" creationId="{DF0633F4-59BF-3A74-4E44-7AD246D30924}"/>
          </ac:spMkLst>
        </pc:spChg>
        <pc:spChg chg="add del mod">
          <ac:chgData name="Steiner Andreas 6206 ED" userId="e6377c33-a923-4f14-8587-531c474c7b48" providerId="ADAL" clId="{6ECD27E6-B224-41CD-B4E0-E297462320DD}" dt="2023-11-24T08:52:47.038" v="94297"/>
          <ac:spMkLst>
            <pc:docMk/>
            <pc:sldMk cId="3439677884" sldId="2147473972"/>
            <ac:spMk id="667" creationId="{7C36AF05-F547-044E-57D6-CB5533D6F83D}"/>
          </ac:spMkLst>
        </pc:spChg>
        <pc:spChg chg="add del mod">
          <ac:chgData name="Steiner Andreas 6206 ED" userId="e6377c33-a923-4f14-8587-531c474c7b48" providerId="ADAL" clId="{6ECD27E6-B224-41CD-B4E0-E297462320DD}" dt="2023-11-24T08:52:49.074" v="94452"/>
          <ac:spMkLst>
            <pc:docMk/>
            <pc:sldMk cId="3439677884" sldId="2147473972"/>
            <ac:spMk id="668" creationId="{5E3D657E-2C6E-891B-D202-DF4E6DC67762}"/>
          </ac:spMkLst>
        </pc:spChg>
        <pc:spChg chg="add del mod">
          <ac:chgData name="Steiner Andreas 6206 ED" userId="e6377c33-a923-4f14-8587-531c474c7b48" providerId="ADAL" clId="{6ECD27E6-B224-41CD-B4E0-E297462320DD}" dt="2023-11-24T08:52:51.294" v="94607"/>
          <ac:spMkLst>
            <pc:docMk/>
            <pc:sldMk cId="3439677884" sldId="2147473972"/>
            <ac:spMk id="669" creationId="{EE1F3E79-DEDA-78D2-B5A6-178647E01A00}"/>
          </ac:spMkLst>
        </pc:spChg>
        <pc:spChg chg="add del mod">
          <ac:chgData name="Steiner Andreas 6206 ED" userId="e6377c33-a923-4f14-8587-531c474c7b48" providerId="ADAL" clId="{6ECD27E6-B224-41CD-B4E0-E297462320DD}" dt="2023-11-24T08:52:53.266" v="94762"/>
          <ac:spMkLst>
            <pc:docMk/>
            <pc:sldMk cId="3439677884" sldId="2147473972"/>
            <ac:spMk id="670" creationId="{1F7861F4-6A8A-0B02-4ABA-A18F7FF6AA41}"/>
          </ac:spMkLst>
        </pc:spChg>
        <pc:spChg chg="add del mod">
          <ac:chgData name="Steiner Andreas 6206 ED" userId="e6377c33-a923-4f14-8587-531c474c7b48" providerId="ADAL" clId="{6ECD27E6-B224-41CD-B4E0-E297462320DD}" dt="2023-11-24T08:52:55.205" v="94917"/>
          <ac:spMkLst>
            <pc:docMk/>
            <pc:sldMk cId="3439677884" sldId="2147473972"/>
            <ac:spMk id="671" creationId="{E753F039-5545-0261-3541-EC9492C2F7D0}"/>
          </ac:spMkLst>
        </pc:spChg>
        <pc:spChg chg="add del mod">
          <ac:chgData name="Steiner Andreas 6206 ED" userId="e6377c33-a923-4f14-8587-531c474c7b48" providerId="ADAL" clId="{6ECD27E6-B224-41CD-B4E0-E297462320DD}" dt="2023-11-24T08:52:57.208" v="95072"/>
          <ac:spMkLst>
            <pc:docMk/>
            <pc:sldMk cId="3439677884" sldId="2147473972"/>
            <ac:spMk id="672" creationId="{EDBE5CF2-04F9-A95E-12D1-E7729C2A3014}"/>
          </ac:spMkLst>
        </pc:spChg>
        <pc:spChg chg="add del mod">
          <ac:chgData name="Steiner Andreas 6206 ED" userId="e6377c33-a923-4f14-8587-531c474c7b48" providerId="ADAL" clId="{6ECD27E6-B224-41CD-B4E0-E297462320DD}" dt="2023-11-24T08:52:59.193" v="95227"/>
          <ac:spMkLst>
            <pc:docMk/>
            <pc:sldMk cId="3439677884" sldId="2147473972"/>
            <ac:spMk id="673" creationId="{7850EFB8-A905-9F3C-6927-33093599D274}"/>
          </ac:spMkLst>
        </pc:spChg>
        <pc:spChg chg="add del mod">
          <ac:chgData name="Steiner Andreas 6206 ED" userId="e6377c33-a923-4f14-8587-531c474c7b48" providerId="ADAL" clId="{6ECD27E6-B224-41CD-B4E0-E297462320DD}" dt="2023-11-24T08:53:01.185" v="95382"/>
          <ac:spMkLst>
            <pc:docMk/>
            <pc:sldMk cId="3439677884" sldId="2147473972"/>
            <ac:spMk id="674" creationId="{B5289A8B-7625-4DEA-1882-C2F7727EA3DB}"/>
          </ac:spMkLst>
        </pc:spChg>
        <pc:spChg chg="add del mod">
          <ac:chgData name="Steiner Andreas 6206 ED" userId="e6377c33-a923-4f14-8587-531c474c7b48" providerId="ADAL" clId="{6ECD27E6-B224-41CD-B4E0-E297462320DD}" dt="2023-11-24T08:53:03.289" v="95537"/>
          <ac:spMkLst>
            <pc:docMk/>
            <pc:sldMk cId="3439677884" sldId="2147473972"/>
            <ac:spMk id="675" creationId="{4AC46538-3827-C620-C04C-AE099DF8464C}"/>
          </ac:spMkLst>
        </pc:spChg>
        <pc:spChg chg="add del mod">
          <ac:chgData name="Steiner Andreas 6206 ED" userId="e6377c33-a923-4f14-8587-531c474c7b48" providerId="ADAL" clId="{6ECD27E6-B224-41CD-B4E0-E297462320DD}" dt="2023-11-24T08:53:05.299" v="95692"/>
          <ac:spMkLst>
            <pc:docMk/>
            <pc:sldMk cId="3439677884" sldId="2147473972"/>
            <ac:spMk id="676" creationId="{240D6FA2-B7AC-8D8A-9211-9492910D64F7}"/>
          </ac:spMkLst>
        </pc:spChg>
        <pc:spChg chg="add del mod">
          <ac:chgData name="Steiner Andreas 6206 ED" userId="e6377c33-a923-4f14-8587-531c474c7b48" providerId="ADAL" clId="{6ECD27E6-B224-41CD-B4E0-E297462320DD}" dt="2023-11-24T08:53:07.159" v="95847"/>
          <ac:spMkLst>
            <pc:docMk/>
            <pc:sldMk cId="3439677884" sldId="2147473972"/>
            <ac:spMk id="677" creationId="{3EB8310D-3991-2249-FEFA-0DF7085F45D8}"/>
          </ac:spMkLst>
        </pc:spChg>
        <pc:spChg chg="add del mod">
          <ac:chgData name="Steiner Andreas 6206 ED" userId="e6377c33-a923-4f14-8587-531c474c7b48" providerId="ADAL" clId="{6ECD27E6-B224-41CD-B4E0-E297462320DD}" dt="2023-11-24T08:53:09.107" v="96002"/>
          <ac:spMkLst>
            <pc:docMk/>
            <pc:sldMk cId="3439677884" sldId="2147473972"/>
            <ac:spMk id="678" creationId="{4A256C3D-DFF2-E1E3-D710-FB32954B3F4B}"/>
          </ac:spMkLst>
        </pc:spChg>
        <pc:spChg chg="add del mod">
          <ac:chgData name="Steiner Andreas 6206 ED" userId="e6377c33-a923-4f14-8587-531c474c7b48" providerId="ADAL" clId="{6ECD27E6-B224-41CD-B4E0-E297462320DD}" dt="2023-11-24T08:53:11.036" v="96157"/>
          <ac:spMkLst>
            <pc:docMk/>
            <pc:sldMk cId="3439677884" sldId="2147473972"/>
            <ac:spMk id="679" creationId="{E286624B-0C3A-7873-B311-6037882F610C}"/>
          </ac:spMkLst>
        </pc:spChg>
        <pc:spChg chg="add del mod">
          <ac:chgData name="Steiner Andreas 6206 ED" userId="e6377c33-a923-4f14-8587-531c474c7b48" providerId="ADAL" clId="{6ECD27E6-B224-41CD-B4E0-E297462320DD}" dt="2023-11-24T08:53:12.987" v="96312"/>
          <ac:spMkLst>
            <pc:docMk/>
            <pc:sldMk cId="3439677884" sldId="2147473972"/>
            <ac:spMk id="680" creationId="{D8A76102-FDF8-4DE4-3042-B943BB375E0B}"/>
          </ac:spMkLst>
        </pc:spChg>
        <pc:spChg chg="add del mod">
          <ac:chgData name="Steiner Andreas 6206 ED" userId="e6377c33-a923-4f14-8587-531c474c7b48" providerId="ADAL" clId="{6ECD27E6-B224-41CD-B4E0-E297462320DD}" dt="2023-11-24T08:53:15.115" v="96467"/>
          <ac:spMkLst>
            <pc:docMk/>
            <pc:sldMk cId="3439677884" sldId="2147473972"/>
            <ac:spMk id="681" creationId="{47995FAE-9750-C515-46A9-B1EC2C2A8E4E}"/>
          </ac:spMkLst>
        </pc:spChg>
        <pc:spChg chg="add del mod">
          <ac:chgData name="Steiner Andreas 6206 ED" userId="e6377c33-a923-4f14-8587-531c474c7b48" providerId="ADAL" clId="{6ECD27E6-B224-41CD-B4E0-E297462320DD}" dt="2023-11-24T08:53:17.068" v="96622"/>
          <ac:spMkLst>
            <pc:docMk/>
            <pc:sldMk cId="3439677884" sldId="2147473972"/>
            <ac:spMk id="682" creationId="{F17B3BFE-3C66-AD3D-31B7-A95EB412D5F8}"/>
          </ac:spMkLst>
        </pc:spChg>
        <pc:spChg chg="add del mod">
          <ac:chgData name="Steiner Andreas 6206 ED" userId="e6377c33-a923-4f14-8587-531c474c7b48" providerId="ADAL" clId="{6ECD27E6-B224-41CD-B4E0-E297462320DD}" dt="2023-11-24T08:53:19.004" v="96777"/>
          <ac:spMkLst>
            <pc:docMk/>
            <pc:sldMk cId="3439677884" sldId="2147473972"/>
            <ac:spMk id="683" creationId="{AD61ED72-9D9B-4F69-6970-4AA87BBC56A0}"/>
          </ac:spMkLst>
        </pc:spChg>
        <pc:spChg chg="add del mod">
          <ac:chgData name="Steiner Andreas 6206 ED" userId="e6377c33-a923-4f14-8587-531c474c7b48" providerId="ADAL" clId="{6ECD27E6-B224-41CD-B4E0-E297462320DD}" dt="2023-11-24T08:53:21" v="96932"/>
          <ac:spMkLst>
            <pc:docMk/>
            <pc:sldMk cId="3439677884" sldId="2147473972"/>
            <ac:spMk id="684" creationId="{A4C5185F-61FC-1FAC-B7DE-92BC652A6223}"/>
          </ac:spMkLst>
        </pc:spChg>
        <pc:spChg chg="add del mod">
          <ac:chgData name="Steiner Andreas 6206 ED" userId="e6377c33-a923-4f14-8587-531c474c7b48" providerId="ADAL" clId="{6ECD27E6-B224-41CD-B4E0-E297462320DD}" dt="2023-11-24T08:53:22.955" v="97087"/>
          <ac:spMkLst>
            <pc:docMk/>
            <pc:sldMk cId="3439677884" sldId="2147473972"/>
            <ac:spMk id="685" creationId="{E80B0B41-8B10-FBB6-78A4-FEEF34F745D9}"/>
          </ac:spMkLst>
        </pc:spChg>
        <pc:spChg chg="add del mod">
          <ac:chgData name="Steiner Andreas 6206 ED" userId="e6377c33-a923-4f14-8587-531c474c7b48" providerId="ADAL" clId="{6ECD27E6-B224-41CD-B4E0-E297462320DD}" dt="2023-11-24T08:53:25.046" v="97242"/>
          <ac:spMkLst>
            <pc:docMk/>
            <pc:sldMk cId="3439677884" sldId="2147473972"/>
            <ac:spMk id="686" creationId="{210B90AA-22F5-8917-F441-4F2DD7B746FF}"/>
          </ac:spMkLst>
        </pc:spChg>
        <pc:spChg chg="add del mod">
          <ac:chgData name="Steiner Andreas 6206 ED" userId="e6377c33-a923-4f14-8587-531c474c7b48" providerId="ADAL" clId="{6ECD27E6-B224-41CD-B4E0-E297462320DD}" dt="2023-11-24T08:53:27.075" v="97397"/>
          <ac:spMkLst>
            <pc:docMk/>
            <pc:sldMk cId="3439677884" sldId="2147473972"/>
            <ac:spMk id="687" creationId="{0F34E23E-55B2-A45C-255C-F06E23B3A3D1}"/>
          </ac:spMkLst>
        </pc:spChg>
        <pc:spChg chg="add del mod">
          <ac:chgData name="Steiner Andreas 6206 ED" userId="e6377c33-a923-4f14-8587-531c474c7b48" providerId="ADAL" clId="{6ECD27E6-B224-41CD-B4E0-E297462320DD}" dt="2023-11-24T08:53:28.970" v="97552"/>
          <ac:spMkLst>
            <pc:docMk/>
            <pc:sldMk cId="3439677884" sldId="2147473972"/>
            <ac:spMk id="688" creationId="{EDC99FB6-DFEB-3AC9-2123-65F9B62DD129}"/>
          </ac:spMkLst>
        </pc:spChg>
        <pc:spChg chg="add del mod">
          <ac:chgData name="Steiner Andreas 6206 ED" userId="e6377c33-a923-4f14-8587-531c474c7b48" providerId="ADAL" clId="{6ECD27E6-B224-41CD-B4E0-E297462320DD}" dt="2023-11-24T08:53:30.878" v="97707"/>
          <ac:spMkLst>
            <pc:docMk/>
            <pc:sldMk cId="3439677884" sldId="2147473972"/>
            <ac:spMk id="689" creationId="{D0BD3D95-FA76-99B7-637B-27CD3E7503ED}"/>
          </ac:spMkLst>
        </pc:spChg>
        <pc:spChg chg="add del mod">
          <ac:chgData name="Steiner Andreas 6206 ED" userId="e6377c33-a923-4f14-8587-531c474c7b48" providerId="ADAL" clId="{6ECD27E6-B224-41CD-B4E0-E297462320DD}" dt="2023-11-24T08:53:32.816" v="97862"/>
          <ac:spMkLst>
            <pc:docMk/>
            <pc:sldMk cId="3439677884" sldId="2147473972"/>
            <ac:spMk id="690" creationId="{81EA02BE-D446-AD3D-0978-8C8A0CB34C16}"/>
          </ac:spMkLst>
        </pc:spChg>
        <pc:spChg chg="add del mod">
          <ac:chgData name="Steiner Andreas 6206 ED" userId="e6377c33-a923-4f14-8587-531c474c7b48" providerId="ADAL" clId="{6ECD27E6-B224-41CD-B4E0-E297462320DD}" dt="2023-11-24T08:53:34.731" v="98017"/>
          <ac:spMkLst>
            <pc:docMk/>
            <pc:sldMk cId="3439677884" sldId="2147473972"/>
            <ac:spMk id="691" creationId="{05195945-8235-15CE-59C7-971EEE0CCD4B}"/>
          </ac:spMkLst>
        </pc:spChg>
        <pc:spChg chg="add del mod">
          <ac:chgData name="Steiner Andreas 6206 ED" userId="e6377c33-a923-4f14-8587-531c474c7b48" providerId="ADAL" clId="{6ECD27E6-B224-41CD-B4E0-E297462320DD}" dt="2023-11-24T08:53:36.815" v="98172"/>
          <ac:spMkLst>
            <pc:docMk/>
            <pc:sldMk cId="3439677884" sldId="2147473972"/>
            <ac:spMk id="692" creationId="{4DB78A1C-F867-3596-DD09-BD8EE4354000}"/>
          </ac:spMkLst>
        </pc:spChg>
        <pc:spChg chg="add del mod">
          <ac:chgData name="Steiner Andreas 6206 ED" userId="e6377c33-a923-4f14-8587-531c474c7b48" providerId="ADAL" clId="{6ECD27E6-B224-41CD-B4E0-E297462320DD}" dt="2023-11-24T08:53:38.737" v="98327"/>
          <ac:spMkLst>
            <pc:docMk/>
            <pc:sldMk cId="3439677884" sldId="2147473972"/>
            <ac:spMk id="693" creationId="{B33A769B-A42E-C76D-D231-91A4D4B186EC}"/>
          </ac:spMkLst>
        </pc:spChg>
        <pc:spChg chg="add del mod">
          <ac:chgData name="Steiner Andreas 6206 ED" userId="e6377c33-a923-4f14-8587-531c474c7b48" providerId="ADAL" clId="{6ECD27E6-B224-41CD-B4E0-E297462320DD}" dt="2023-11-24T08:53:40.718" v="98482"/>
          <ac:spMkLst>
            <pc:docMk/>
            <pc:sldMk cId="3439677884" sldId="2147473972"/>
            <ac:spMk id="694" creationId="{7356431C-8782-0F81-F512-C313E799EA55}"/>
          </ac:spMkLst>
        </pc:spChg>
        <pc:spChg chg="add del mod">
          <ac:chgData name="Steiner Andreas 6206 ED" userId="e6377c33-a923-4f14-8587-531c474c7b48" providerId="ADAL" clId="{6ECD27E6-B224-41CD-B4E0-E297462320DD}" dt="2023-11-24T08:53:42.634" v="98637"/>
          <ac:spMkLst>
            <pc:docMk/>
            <pc:sldMk cId="3439677884" sldId="2147473972"/>
            <ac:spMk id="695" creationId="{8C4C361B-F1E0-7837-B48E-E3DE92FFAAB3}"/>
          </ac:spMkLst>
        </pc:spChg>
        <pc:spChg chg="add del mod">
          <ac:chgData name="Steiner Andreas 6206 ED" userId="e6377c33-a923-4f14-8587-531c474c7b48" providerId="ADAL" clId="{6ECD27E6-B224-41CD-B4E0-E297462320DD}" dt="2023-11-24T08:53:44.605" v="98792"/>
          <ac:spMkLst>
            <pc:docMk/>
            <pc:sldMk cId="3439677884" sldId="2147473972"/>
            <ac:spMk id="696" creationId="{A2075BD9-5C91-BEBB-E4C5-802A6EEDEF99}"/>
          </ac:spMkLst>
        </pc:spChg>
        <pc:spChg chg="add del mod">
          <ac:chgData name="Steiner Andreas 6206 ED" userId="e6377c33-a923-4f14-8587-531c474c7b48" providerId="ADAL" clId="{6ECD27E6-B224-41CD-B4E0-E297462320DD}" dt="2023-11-24T08:53:46.498" v="98947"/>
          <ac:spMkLst>
            <pc:docMk/>
            <pc:sldMk cId="3439677884" sldId="2147473972"/>
            <ac:spMk id="697" creationId="{1151FD48-5927-592E-62C7-305ACB1EE53D}"/>
          </ac:spMkLst>
        </pc:spChg>
        <pc:spChg chg="add del mod">
          <ac:chgData name="Steiner Andreas 6206 ED" userId="e6377c33-a923-4f14-8587-531c474c7b48" providerId="ADAL" clId="{6ECD27E6-B224-41CD-B4E0-E297462320DD}" dt="2023-11-24T08:53:48.573" v="99102"/>
          <ac:spMkLst>
            <pc:docMk/>
            <pc:sldMk cId="3439677884" sldId="2147473972"/>
            <ac:spMk id="698" creationId="{CE271C74-E691-2624-36CA-4B659B684A17}"/>
          </ac:spMkLst>
        </pc:spChg>
        <pc:spChg chg="add del mod">
          <ac:chgData name="Steiner Andreas 6206 ED" userId="e6377c33-a923-4f14-8587-531c474c7b48" providerId="ADAL" clId="{6ECD27E6-B224-41CD-B4E0-E297462320DD}" dt="2023-11-24T08:53:50.547" v="99257"/>
          <ac:spMkLst>
            <pc:docMk/>
            <pc:sldMk cId="3439677884" sldId="2147473972"/>
            <ac:spMk id="699" creationId="{4371699F-46E0-EC60-52B7-7B67966B330A}"/>
          </ac:spMkLst>
        </pc:spChg>
        <pc:spChg chg="add del mod">
          <ac:chgData name="Steiner Andreas 6206 ED" userId="e6377c33-a923-4f14-8587-531c474c7b48" providerId="ADAL" clId="{6ECD27E6-B224-41CD-B4E0-E297462320DD}" dt="2023-11-24T08:53:52.491" v="99412"/>
          <ac:spMkLst>
            <pc:docMk/>
            <pc:sldMk cId="3439677884" sldId="2147473972"/>
            <ac:spMk id="700" creationId="{9FDE1A1D-1EF5-8FBC-ECF9-802A968B1D2A}"/>
          </ac:spMkLst>
        </pc:spChg>
        <pc:spChg chg="add del mod">
          <ac:chgData name="Steiner Andreas 6206 ED" userId="e6377c33-a923-4f14-8587-531c474c7b48" providerId="ADAL" clId="{6ECD27E6-B224-41CD-B4E0-E297462320DD}" dt="2023-11-24T08:53:54.440" v="99567"/>
          <ac:spMkLst>
            <pc:docMk/>
            <pc:sldMk cId="3439677884" sldId="2147473972"/>
            <ac:spMk id="701" creationId="{8E6DEF74-8134-50B5-CE6A-1F01D061DF10}"/>
          </ac:spMkLst>
        </pc:spChg>
        <pc:spChg chg="add del mod">
          <ac:chgData name="Steiner Andreas 6206 ED" userId="e6377c33-a923-4f14-8587-531c474c7b48" providerId="ADAL" clId="{6ECD27E6-B224-41CD-B4E0-E297462320DD}" dt="2023-11-24T08:53:56.410" v="99722"/>
          <ac:spMkLst>
            <pc:docMk/>
            <pc:sldMk cId="3439677884" sldId="2147473972"/>
            <ac:spMk id="702" creationId="{906578A0-6493-7D30-977C-D1CFD703FB56}"/>
          </ac:spMkLst>
        </pc:spChg>
        <pc:spChg chg="add del mod">
          <ac:chgData name="Steiner Andreas 6206 ED" userId="e6377c33-a923-4f14-8587-531c474c7b48" providerId="ADAL" clId="{6ECD27E6-B224-41CD-B4E0-E297462320DD}" dt="2023-11-24T08:53:58.448" v="99877"/>
          <ac:spMkLst>
            <pc:docMk/>
            <pc:sldMk cId="3439677884" sldId="2147473972"/>
            <ac:spMk id="703" creationId="{A71413B6-9662-29A1-1C31-265899A8FF80}"/>
          </ac:spMkLst>
        </pc:spChg>
        <pc:spChg chg="add del mod">
          <ac:chgData name="Steiner Andreas 6206 ED" userId="e6377c33-a923-4f14-8587-531c474c7b48" providerId="ADAL" clId="{6ECD27E6-B224-41CD-B4E0-E297462320DD}" dt="2023-11-24T08:54:00.589" v="100032"/>
          <ac:spMkLst>
            <pc:docMk/>
            <pc:sldMk cId="3439677884" sldId="2147473972"/>
            <ac:spMk id="704" creationId="{5E955BF0-CC55-C365-C822-703B05912AEB}"/>
          </ac:spMkLst>
        </pc:spChg>
        <pc:spChg chg="add del mod">
          <ac:chgData name="Steiner Andreas 6206 ED" userId="e6377c33-a923-4f14-8587-531c474c7b48" providerId="ADAL" clId="{6ECD27E6-B224-41CD-B4E0-E297462320DD}" dt="2023-11-24T08:54:02.553" v="100187"/>
          <ac:spMkLst>
            <pc:docMk/>
            <pc:sldMk cId="3439677884" sldId="2147473972"/>
            <ac:spMk id="705" creationId="{9CFB2908-53BC-909B-8C85-19D8A7C9AFAD}"/>
          </ac:spMkLst>
        </pc:spChg>
        <pc:spChg chg="add del mod">
          <ac:chgData name="Steiner Andreas 6206 ED" userId="e6377c33-a923-4f14-8587-531c474c7b48" providerId="ADAL" clId="{6ECD27E6-B224-41CD-B4E0-E297462320DD}" dt="2023-11-24T08:54:04.527" v="100342"/>
          <ac:spMkLst>
            <pc:docMk/>
            <pc:sldMk cId="3439677884" sldId="2147473972"/>
            <ac:spMk id="706" creationId="{DDB7C3C5-5439-3787-F371-259BA42BDE17}"/>
          </ac:spMkLst>
        </pc:spChg>
        <pc:spChg chg="add del mod">
          <ac:chgData name="Steiner Andreas 6206 ED" userId="e6377c33-a923-4f14-8587-531c474c7b48" providerId="ADAL" clId="{6ECD27E6-B224-41CD-B4E0-E297462320DD}" dt="2023-11-24T08:54:06.504" v="100497"/>
          <ac:spMkLst>
            <pc:docMk/>
            <pc:sldMk cId="3439677884" sldId="2147473972"/>
            <ac:spMk id="707" creationId="{E859C707-2895-E43A-D304-3FF89AE0B404}"/>
          </ac:spMkLst>
        </pc:spChg>
        <pc:spChg chg="add del mod">
          <ac:chgData name="Steiner Andreas 6206 ED" userId="e6377c33-a923-4f14-8587-531c474c7b48" providerId="ADAL" clId="{6ECD27E6-B224-41CD-B4E0-E297462320DD}" dt="2023-11-24T08:54:08.480" v="100652"/>
          <ac:spMkLst>
            <pc:docMk/>
            <pc:sldMk cId="3439677884" sldId="2147473972"/>
            <ac:spMk id="708" creationId="{BD0D6892-A19B-FE20-0C50-5ABE7DCB69F6}"/>
          </ac:spMkLst>
        </pc:spChg>
        <pc:spChg chg="add del mod">
          <ac:chgData name="Steiner Andreas 6206 ED" userId="e6377c33-a923-4f14-8587-531c474c7b48" providerId="ADAL" clId="{6ECD27E6-B224-41CD-B4E0-E297462320DD}" dt="2023-11-24T08:54:10.611" v="100807"/>
          <ac:spMkLst>
            <pc:docMk/>
            <pc:sldMk cId="3439677884" sldId="2147473972"/>
            <ac:spMk id="709" creationId="{772F88B9-04D0-B064-7A16-FBF2E899F067}"/>
          </ac:spMkLst>
        </pc:spChg>
        <pc:spChg chg="add del mod">
          <ac:chgData name="Steiner Andreas 6206 ED" userId="e6377c33-a923-4f14-8587-531c474c7b48" providerId="ADAL" clId="{6ECD27E6-B224-41CD-B4E0-E297462320DD}" dt="2023-11-24T08:54:12.560" v="100962"/>
          <ac:spMkLst>
            <pc:docMk/>
            <pc:sldMk cId="3439677884" sldId="2147473972"/>
            <ac:spMk id="710" creationId="{F391D9CC-DA18-1912-C453-2DD47C9639EB}"/>
          </ac:spMkLst>
        </pc:spChg>
        <pc:spChg chg="add del mod">
          <ac:chgData name="Steiner Andreas 6206 ED" userId="e6377c33-a923-4f14-8587-531c474c7b48" providerId="ADAL" clId="{6ECD27E6-B224-41CD-B4E0-E297462320DD}" dt="2023-11-24T08:54:14.515" v="101117"/>
          <ac:spMkLst>
            <pc:docMk/>
            <pc:sldMk cId="3439677884" sldId="2147473972"/>
            <ac:spMk id="711" creationId="{6E764390-8CD3-B2D1-72E6-E656EF1FC0EA}"/>
          </ac:spMkLst>
        </pc:spChg>
        <pc:spChg chg="add del mod">
          <ac:chgData name="Steiner Andreas 6206 ED" userId="e6377c33-a923-4f14-8587-531c474c7b48" providerId="ADAL" clId="{6ECD27E6-B224-41CD-B4E0-E297462320DD}" dt="2023-11-24T08:54:16.413" v="101272"/>
          <ac:spMkLst>
            <pc:docMk/>
            <pc:sldMk cId="3439677884" sldId="2147473972"/>
            <ac:spMk id="712" creationId="{3AB7485C-F041-6EAD-CF6C-894005733BBF}"/>
          </ac:spMkLst>
        </pc:spChg>
        <pc:spChg chg="add del mod">
          <ac:chgData name="Steiner Andreas 6206 ED" userId="e6377c33-a923-4f14-8587-531c474c7b48" providerId="ADAL" clId="{6ECD27E6-B224-41CD-B4E0-E297462320DD}" dt="2023-11-24T08:54:18.319" v="101427"/>
          <ac:spMkLst>
            <pc:docMk/>
            <pc:sldMk cId="3439677884" sldId="2147473972"/>
            <ac:spMk id="713" creationId="{689919AF-F60E-AB51-ABBE-D57FAEFA636C}"/>
          </ac:spMkLst>
        </pc:spChg>
        <pc:spChg chg="add del mod">
          <ac:chgData name="Steiner Andreas 6206 ED" userId="e6377c33-a923-4f14-8587-531c474c7b48" providerId="ADAL" clId="{6ECD27E6-B224-41CD-B4E0-E297462320DD}" dt="2023-11-24T08:54:20.263" v="101582"/>
          <ac:spMkLst>
            <pc:docMk/>
            <pc:sldMk cId="3439677884" sldId="2147473972"/>
            <ac:spMk id="714" creationId="{09038372-EA28-8C31-378A-F64B027EEFAC}"/>
          </ac:spMkLst>
        </pc:spChg>
        <pc:spChg chg="add del mod">
          <ac:chgData name="Steiner Andreas 6206 ED" userId="e6377c33-a923-4f14-8587-531c474c7b48" providerId="ADAL" clId="{6ECD27E6-B224-41CD-B4E0-E297462320DD}" dt="2023-11-24T08:54:22.381" v="101737"/>
          <ac:spMkLst>
            <pc:docMk/>
            <pc:sldMk cId="3439677884" sldId="2147473972"/>
            <ac:spMk id="715" creationId="{FF97960A-5863-C032-DEED-32FDEF734BCE}"/>
          </ac:spMkLst>
        </pc:spChg>
        <pc:spChg chg="add del mod">
          <ac:chgData name="Steiner Andreas 6206 ED" userId="e6377c33-a923-4f14-8587-531c474c7b48" providerId="ADAL" clId="{6ECD27E6-B224-41CD-B4E0-E297462320DD}" dt="2023-11-24T08:54:24.332" v="101892"/>
          <ac:spMkLst>
            <pc:docMk/>
            <pc:sldMk cId="3439677884" sldId="2147473972"/>
            <ac:spMk id="716" creationId="{0FEE54D9-1E3E-5504-D962-B83C35F7CB8B}"/>
          </ac:spMkLst>
        </pc:spChg>
        <pc:spChg chg="add del mod">
          <ac:chgData name="Steiner Andreas 6206 ED" userId="e6377c33-a923-4f14-8587-531c474c7b48" providerId="ADAL" clId="{6ECD27E6-B224-41CD-B4E0-E297462320DD}" dt="2023-11-24T08:54:26.312" v="102047"/>
          <ac:spMkLst>
            <pc:docMk/>
            <pc:sldMk cId="3439677884" sldId="2147473972"/>
            <ac:spMk id="717" creationId="{B887E38A-8D0D-3DB1-3324-261D3B04C5E5}"/>
          </ac:spMkLst>
        </pc:spChg>
        <pc:spChg chg="add del mod">
          <ac:chgData name="Steiner Andreas 6206 ED" userId="e6377c33-a923-4f14-8587-531c474c7b48" providerId="ADAL" clId="{6ECD27E6-B224-41CD-B4E0-E297462320DD}" dt="2023-11-24T08:54:28.253" v="102202"/>
          <ac:spMkLst>
            <pc:docMk/>
            <pc:sldMk cId="3439677884" sldId="2147473972"/>
            <ac:spMk id="718" creationId="{C65F0B40-2556-9419-9C11-58415C10CFDD}"/>
          </ac:spMkLst>
        </pc:spChg>
        <pc:spChg chg="add del mod">
          <ac:chgData name="Steiner Andreas 6206 ED" userId="e6377c33-a923-4f14-8587-531c474c7b48" providerId="ADAL" clId="{6ECD27E6-B224-41CD-B4E0-E297462320DD}" dt="2023-11-24T08:54:30.199" v="102357"/>
          <ac:spMkLst>
            <pc:docMk/>
            <pc:sldMk cId="3439677884" sldId="2147473972"/>
            <ac:spMk id="719" creationId="{4918855E-6457-AE15-DE0F-6EC41B6C917D}"/>
          </ac:spMkLst>
        </pc:spChg>
        <pc:spChg chg="add del mod">
          <ac:chgData name="Steiner Andreas 6206 ED" userId="e6377c33-a923-4f14-8587-531c474c7b48" providerId="ADAL" clId="{6ECD27E6-B224-41CD-B4E0-E297462320DD}" dt="2023-11-24T08:54:32.312" v="102512"/>
          <ac:spMkLst>
            <pc:docMk/>
            <pc:sldMk cId="3439677884" sldId="2147473972"/>
            <ac:spMk id="720" creationId="{9B31759B-70EC-B32A-4845-283041B2F013}"/>
          </ac:spMkLst>
        </pc:spChg>
        <pc:spChg chg="add del mod">
          <ac:chgData name="Steiner Andreas 6206 ED" userId="e6377c33-a923-4f14-8587-531c474c7b48" providerId="ADAL" clId="{6ECD27E6-B224-41CD-B4E0-E297462320DD}" dt="2023-11-24T08:54:34.325" v="102667"/>
          <ac:spMkLst>
            <pc:docMk/>
            <pc:sldMk cId="3439677884" sldId="2147473972"/>
            <ac:spMk id="721" creationId="{E4D0323C-5091-FE01-8FE8-9FC747F16507}"/>
          </ac:spMkLst>
        </pc:spChg>
        <pc:spChg chg="add del mod">
          <ac:chgData name="Steiner Andreas 6206 ED" userId="e6377c33-a923-4f14-8587-531c474c7b48" providerId="ADAL" clId="{6ECD27E6-B224-41CD-B4E0-E297462320DD}" dt="2023-11-24T08:54:36.267" v="102822"/>
          <ac:spMkLst>
            <pc:docMk/>
            <pc:sldMk cId="3439677884" sldId="2147473972"/>
            <ac:spMk id="722" creationId="{4769083D-F01D-3A4B-730B-3D95AF869ABC}"/>
          </ac:spMkLst>
        </pc:spChg>
        <pc:spChg chg="add del mod">
          <ac:chgData name="Steiner Andreas 6206 ED" userId="e6377c33-a923-4f14-8587-531c474c7b48" providerId="ADAL" clId="{6ECD27E6-B224-41CD-B4E0-E297462320DD}" dt="2023-11-24T08:54:38.425" v="102977"/>
          <ac:spMkLst>
            <pc:docMk/>
            <pc:sldMk cId="3439677884" sldId="2147473972"/>
            <ac:spMk id="723" creationId="{DB37FE80-FE19-F5D9-0158-6985059914A8}"/>
          </ac:spMkLst>
        </pc:spChg>
        <pc:spChg chg="add del mod">
          <ac:chgData name="Steiner Andreas 6206 ED" userId="e6377c33-a923-4f14-8587-531c474c7b48" providerId="ADAL" clId="{6ECD27E6-B224-41CD-B4E0-E297462320DD}" dt="2023-11-24T08:54:40.629" v="103132"/>
          <ac:spMkLst>
            <pc:docMk/>
            <pc:sldMk cId="3439677884" sldId="2147473972"/>
            <ac:spMk id="724" creationId="{8ECEA67F-048F-0B06-32AD-ACFD7FDCC19B}"/>
          </ac:spMkLst>
        </pc:spChg>
        <pc:spChg chg="add del mod">
          <ac:chgData name="Steiner Andreas 6206 ED" userId="e6377c33-a923-4f14-8587-531c474c7b48" providerId="ADAL" clId="{6ECD27E6-B224-41CD-B4E0-E297462320DD}" dt="2023-11-24T08:54:42.543" v="103287"/>
          <ac:spMkLst>
            <pc:docMk/>
            <pc:sldMk cId="3439677884" sldId="2147473972"/>
            <ac:spMk id="725" creationId="{0E86A9E0-426B-17C5-08E5-E545E24937C1}"/>
          </ac:spMkLst>
        </pc:spChg>
        <pc:spChg chg="add del mod">
          <ac:chgData name="Steiner Andreas 6206 ED" userId="e6377c33-a923-4f14-8587-531c474c7b48" providerId="ADAL" clId="{6ECD27E6-B224-41CD-B4E0-E297462320DD}" dt="2023-11-24T08:54:44.788" v="103442"/>
          <ac:spMkLst>
            <pc:docMk/>
            <pc:sldMk cId="3439677884" sldId="2147473972"/>
            <ac:spMk id="726" creationId="{1AED178D-CF4B-F0E9-D02E-2A44AA662DF2}"/>
          </ac:spMkLst>
        </pc:spChg>
        <pc:spChg chg="add del mod">
          <ac:chgData name="Steiner Andreas 6206 ED" userId="e6377c33-a923-4f14-8587-531c474c7b48" providerId="ADAL" clId="{6ECD27E6-B224-41CD-B4E0-E297462320DD}" dt="2023-11-24T08:54:47.017" v="103597"/>
          <ac:spMkLst>
            <pc:docMk/>
            <pc:sldMk cId="3439677884" sldId="2147473972"/>
            <ac:spMk id="727" creationId="{F4F7DA65-A372-47DB-A803-7ABF950A03AB}"/>
          </ac:spMkLst>
        </pc:spChg>
        <pc:spChg chg="add del mod">
          <ac:chgData name="Steiner Andreas 6206 ED" userId="e6377c33-a923-4f14-8587-531c474c7b48" providerId="ADAL" clId="{6ECD27E6-B224-41CD-B4E0-E297462320DD}" dt="2023-11-24T08:54:49.147" v="103752"/>
          <ac:spMkLst>
            <pc:docMk/>
            <pc:sldMk cId="3439677884" sldId="2147473972"/>
            <ac:spMk id="728" creationId="{D99D1076-0AE8-8297-C739-A876F20643EC}"/>
          </ac:spMkLst>
        </pc:spChg>
        <pc:spChg chg="add del mod">
          <ac:chgData name="Steiner Andreas 6206 ED" userId="e6377c33-a923-4f14-8587-531c474c7b48" providerId="ADAL" clId="{6ECD27E6-B224-41CD-B4E0-E297462320DD}" dt="2023-11-24T08:54:51.484" v="103907"/>
          <ac:spMkLst>
            <pc:docMk/>
            <pc:sldMk cId="3439677884" sldId="2147473972"/>
            <ac:spMk id="729" creationId="{17BEDD65-7D09-4A46-BDFE-321B9CAB2512}"/>
          </ac:spMkLst>
        </pc:spChg>
        <pc:spChg chg="add del mod">
          <ac:chgData name="Steiner Andreas 6206 ED" userId="e6377c33-a923-4f14-8587-531c474c7b48" providerId="ADAL" clId="{6ECD27E6-B224-41CD-B4E0-E297462320DD}" dt="2023-11-24T08:54:53.562" v="104062"/>
          <ac:spMkLst>
            <pc:docMk/>
            <pc:sldMk cId="3439677884" sldId="2147473972"/>
            <ac:spMk id="730" creationId="{D8719FD7-0393-B545-B655-28F31F480851}"/>
          </ac:spMkLst>
        </pc:spChg>
        <pc:spChg chg="add del mod">
          <ac:chgData name="Steiner Andreas 6206 ED" userId="e6377c33-a923-4f14-8587-531c474c7b48" providerId="ADAL" clId="{6ECD27E6-B224-41CD-B4E0-E297462320DD}" dt="2023-11-24T08:54:55.711" v="104217"/>
          <ac:spMkLst>
            <pc:docMk/>
            <pc:sldMk cId="3439677884" sldId="2147473972"/>
            <ac:spMk id="731" creationId="{40B46E39-BFA2-5CAD-250F-F3F927A19484}"/>
          </ac:spMkLst>
        </pc:spChg>
        <pc:spChg chg="add del mod">
          <ac:chgData name="Steiner Andreas 6206 ED" userId="e6377c33-a923-4f14-8587-531c474c7b48" providerId="ADAL" clId="{6ECD27E6-B224-41CD-B4E0-E297462320DD}" dt="2023-11-24T08:54:57.739" v="104372"/>
          <ac:spMkLst>
            <pc:docMk/>
            <pc:sldMk cId="3439677884" sldId="2147473972"/>
            <ac:spMk id="732" creationId="{C4DE62B1-88D5-B3B6-177E-6CBD049E2154}"/>
          </ac:spMkLst>
        </pc:spChg>
        <pc:spChg chg="add del mod">
          <ac:chgData name="Steiner Andreas 6206 ED" userId="e6377c33-a923-4f14-8587-531c474c7b48" providerId="ADAL" clId="{6ECD27E6-B224-41CD-B4E0-E297462320DD}" dt="2023-11-24T08:54:59.812" v="104527"/>
          <ac:spMkLst>
            <pc:docMk/>
            <pc:sldMk cId="3439677884" sldId="2147473972"/>
            <ac:spMk id="733" creationId="{77078DA6-9ECD-912D-56DC-62875AB4C769}"/>
          </ac:spMkLst>
        </pc:spChg>
        <pc:spChg chg="add del mod">
          <ac:chgData name="Steiner Andreas 6206 ED" userId="e6377c33-a923-4f14-8587-531c474c7b48" providerId="ADAL" clId="{6ECD27E6-B224-41CD-B4E0-E297462320DD}" dt="2023-11-24T08:55:01.748" v="104682"/>
          <ac:spMkLst>
            <pc:docMk/>
            <pc:sldMk cId="3439677884" sldId="2147473972"/>
            <ac:spMk id="734" creationId="{D2D5F2AD-2EC0-6B44-905C-D7371CD492DA}"/>
          </ac:spMkLst>
        </pc:spChg>
        <pc:spChg chg="add del mod">
          <ac:chgData name="Steiner Andreas 6206 ED" userId="e6377c33-a923-4f14-8587-531c474c7b48" providerId="ADAL" clId="{6ECD27E6-B224-41CD-B4E0-E297462320DD}" dt="2023-11-24T08:55:03.709" v="104837"/>
          <ac:spMkLst>
            <pc:docMk/>
            <pc:sldMk cId="3439677884" sldId="2147473972"/>
            <ac:spMk id="735" creationId="{AB6D6B49-2DBD-5413-3877-93499020F69A}"/>
          </ac:spMkLst>
        </pc:spChg>
        <pc:spChg chg="add del mod">
          <ac:chgData name="Steiner Andreas 6206 ED" userId="e6377c33-a923-4f14-8587-531c474c7b48" providerId="ADAL" clId="{6ECD27E6-B224-41CD-B4E0-E297462320DD}" dt="2023-11-24T08:55:05.792" v="104992"/>
          <ac:spMkLst>
            <pc:docMk/>
            <pc:sldMk cId="3439677884" sldId="2147473972"/>
            <ac:spMk id="736" creationId="{77FE1ABD-A0FD-7F7B-496E-F63C3D3A43C8}"/>
          </ac:spMkLst>
        </pc:spChg>
        <pc:spChg chg="add del mod">
          <ac:chgData name="Steiner Andreas 6206 ED" userId="e6377c33-a923-4f14-8587-531c474c7b48" providerId="ADAL" clId="{6ECD27E6-B224-41CD-B4E0-E297462320DD}" dt="2023-11-24T08:55:07.939" v="105147"/>
          <ac:spMkLst>
            <pc:docMk/>
            <pc:sldMk cId="3439677884" sldId="2147473972"/>
            <ac:spMk id="737" creationId="{66880D80-4974-03E2-B1DB-BE11F2DCDC3C}"/>
          </ac:spMkLst>
        </pc:spChg>
        <pc:spChg chg="add del mod">
          <ac:chgData name="Steiner Andreas 6206 ED" userId="e6377c33-a923-4f14-8587-531c474c7b48" providerId="ADAL" clId="{6ECD27E6-B224-41CD-B4E0-E297462320DD}" dt="2023-11-24T08:55:09.899" v="105302"/>
          <ac:spMkLst>
            <pc:docMk/>
            <pc:sldMk cId="3439677884" sldId="2147473972"/>
            <ac:spMk id="738" creationId="{FC658033-A163-49B2-045C-C056305F30C1}"/>
          </ac:spMkLst>
        </pc:spChg>
        <pc:spChg chg="add del mod">
          <ac:chgData name="Steiner Andreas 6206 ED" userId="e6377c33-a923-4f14-8587-531c474c7b48" providerId="ADAL" clId="{6ECD27E6-B224-41CD-B4E0-E297462320DD}" dt="2023-11-24T08:55:11.886" v="105457"/>
          <ac:spMkLst>
            <pc:docMk/>
            <pc:sldMk cId="3439677884" sldId="2147473972"/>
            <ac:spMk id="739" creationId="{6D845EED-03F0-6733-4A95-BA315C1FCA76}"/>
          </ac:spMkLst>
        </pc:spChg>
        <pc:spChg chg="add del mod">
          <ac:chgData name="Steiner Andreas 6206 ED" userId="e6377c33-a923-4f14-8587-531c474c7b48" providerId="ADAL" clId="{6ECD27E6-B224-41CD-B4E0-E297462320DD}" dt="2023-11-24T08:55:13.936" v="105612"/>
          <ac:spMkLst>
            <pc:docMk/>
            <pc:sldMk cId="3439677884" sldId="2147473972"/>
            <ac:spMk id="740" creationId="{B12D26AC-E904-74F6-D881-241AF6198690}"/>
          </ac:spMkLst>
        </pc:spChg>
        <pc:spChg chg="add del mod">
          <ac:chgData name="Steiner Andreas 6206 ED" userId="e6377c33-a923-4f14-8587-531c474c7b48" providerId="ADAL" clId="{6ECD27E6-B224-41CD-B4E0-E297462320DD}" dt="2023-11-24T08:55:16.012" v="105767"/>
          <ac:spMkLst>
            <pc:docMk/>
            <pc:sldMk cId="3439677884" sldId="2147473972"/>
            <ac:spMk id="741" creationId="{BBDDC51B-908C-1793-1F54-86D353328338}"/>
          </ac:spMkLst>
        </pc:spChg>
        <pc:spChg chg="add del mod">
          <ac:chgData name="Steiner Andreas 6206 ED" userId="e6377c33-a923-4f14-8587-531c474c7b48" providerId="ADAL" clId="{6ECD27E6-B224-41CD-B4E0-E297462320DD}" dt="2023-11-24T08:55:18.079" v="105922"/>
          <ac:spMkLst>
            <pc:docMk/>
            <pc:sldMk cId="3439677884" sldId="2147473972"/>
            <ac:spMk id="742" creationId="{52332725-400C-6B90-7C6F-F630EB20723B}"/>
          </ac:spMkLst>
        </pc:spChg>
        <pc:spChg chg="add del mod">
          <ac:chgData name="Steiner Andreas 6206 ED" userId="e6377c33-a923-4f14-8587-531c474c7b48" providerId="ADAL" clId="{6ECD27E6-B224-41CD-B4E0-E297462320DD}" dt="2023-11-24T08:55:20.105" v="106077"/>
          <ac:spMkLst>
            <pc:docMk/>
            <pc:sldMk cId="3439677884" sldId="2147473972"/>
            <ac:spMk id="743" creationId="{71A4681E-789A-BD71-B127-A4F4FEEF5B4F}"/>
          </ac:spMkLst>
        </pc:spChg>
        <pc:spChg chg="add del mod">
          <ac:chgData name="Steiner Andreas 6206 ED" userId="e6377c33-a923-4f14-8587-531c474c7b48" providerId="ADAL" clId="{6ECD27E6-B224-41CD-B4E0-E297462320DD}" dt="2023-11-24T08:55:22.030" v="106232"/>
          <ac:spMkLst>
            <pc:docMk/>
            <pc:sldMk cId="3439677884" sldId="2147473972"/>
            <ac:spMk id="744" creationId="{1C93BB78-1872-52B7-4D16-83966843CD68}"/>
          </ac:spMkLst>
        </pc:spChg>
        <pc:spChg chg="add del mod">
          <ac:chgData name="Steiner Andreas 6206 ED" userId="e6377c33-a923-4f14-8587-531c474c7b48" providerId="ADAL" clId="{6ECD27E6-B224-41CD-B4E0-E297462320DD}" dt="2023-11-24T08:55:24.023" v="106387"/>
          <ac:spMkLst>
            <pc:docMk/>
            <pc:sldMk cId="3439677884" sldId="2147473972"/>
            <ac:spMk id="745" creationId="{196BC724-4104-EC27-B38C-9F8C7E558231}"/>
          </ac:spMkLst>
        </pc:spChg>
        <pc:spChg chg="add del mod">
          <ac:chgData name="Steiner Andreas 6206 ED" userId="e6377c33-a923-4f14-8587-531c474c7b48" providerId="ADAL" clId="{6ECD27E6-B224-41CD-B4E0-E297462320DD}" dt="2023-11-24T08:55:25.995" v="106542"/>
          <ac:spMkLst>
            <pc:docMk/>
            <pc:sldMk cId="3439677884" sldId="2147473972"/>
            <ac:spMk id="746" creationId="{34B96D43-BABA-AD07-3964-BC05A9C17E21}"/>
          </ac:spMkLst>
        </pc:spChg>
        <pc:spChg chg="add del mod">
          <ac:chgData name="Steiner Andreas 6206 ED" userId="e6377c33-a923-4f14-8587-531c474c7b48" providerId="ADAL" clId="{6ECD27E6-B224-41CD-B4E0-E297462320DD}" dt="2023-11-24T08:55:28.158" v="106697"/>
          <ac:spMkLst>
            <pc:docMk/>
            <pc:sldMk cId="3439677884" sldId="2147473972"/>
            <ac:spMk id="747" creationId="{39A9E810-225F-9541-4D46-4D4031F0387F}"/>
          </ac:spMkLst>
        </pc:spChg>
        <pc:spChg chg="add del mod">
          <ac:chgData name="Steiner Andreas 6206 ED" userId="e6377c33-a923-4f14-8587-531c474c7b48" providerId="ADAL" clId="{6ECD27E6-B224-41CD-B4E0-E297462320DD}" dt="2023-11-24T08:55:30.141" v="106852"/>
          <ac:spMkLst>
            <pc:docMk/>
            <pc:sldMk cId="3439677884" sldId="2147473972"/>
            <ac:spMk id="748" creationId="{DB6B6E32-52CE-ECF5-ECEB-32990DE5B8CD}"/>
          </ac:spMkLst>
        </pc:spChg>
        <pc:spChg chg="add del mod">
          <ac:chgData name="Steiner Andreas 6206 ED" userId="e6377c33-a923-4f14-8587-531c474c7b48" providerId="ADAL" clId="{6ECD27E6-B224-41CD-B4E0-E297462320DD}" dt="2023-11-24T08:55:32.277" v="107007"/>
          <ac:spMkLst>
            <pc:docMk/>
            <pc:sldMk cId="3439677884" sldId="2147473972"/>
            <ac:spMk id="749" creationId="{EA03C792-B4FD-BB37-64D4-6897AFE7BB7F}"/>
          </ac:spMkLst>
        </pc:spChg>
        <pc:spChg chg="add del mod">
          <ac:chgData name="Steiner Andreas 6206 ED" userId="e6377c33-a923-4f14-8587-531c474c7b48" providerId="ADAL" clId="{6ECD27E6-B224-41CD-B4E0-E297462320DD}" dt="2023-11-24T08:55:34.230" v="107162"/>
          <ac:spMkLst>
            <pc:docMk/>
            <pc:sldMk cId="3439677884" sldId="2147473972"/>
            <ac:spMk id="750" creationId="{415DD39C-4BB0-A02E-C027-E17BF523A349}"/>
          </ac:spMkLst>
        </pc:spChg>
        <pc:spChg chg="add del mod">
          <ac:chgData name="Steiner Andreas 6206 ED" userId="e6377c33-a923-4f14-8587-531c474c7b48" providerId="ADAL" clId="{6ECD27E6-B224-41CD-B4E0-E297462320DD}" dt="2023-11-24T08:55:36.155" v="107317"/>
          <ac:spMkLst>
            <pc:docMk/>
            <pc:sldMk cId="3439677884" sldId="2147473972"/>
            <ac:spMk id="751" creationId="{CD29C9A3-293D-A614-4E8D-B232ADF8CA9E}"/>
          </ac:spMkLst>
        </pc:spChg>
        <pc:spChg chg="add del mod">
          <ac:chgData name="Steiner Andreas 6206 ED" userId="e6377c33-a923-4f14-8587-531c474c7b48" providerId="ADAL" clId="{6ECD27E6-B224-41CD-B4E0-E297462320DD}" dt="2023-11-24T08:55:38.172" v="107472"/>
          <ac:spMkLst>
            <pc:docMk/>
            <pc:sldMk cId="3439677884" sldId="2147473972"/>
            <ac:spMk id="752" creationId="{E04A95B5-4ECD-E143-6704-102AC0A720B0}"/>
          </ac:spMkLst>
        </pc:spChg>
        <pc:spChg chg="add del mod">
          <ac:chgData name="Steiner Andreas 6206 ED" userId="e6377c33-a923-4f14-8587-531c474c7b48" providerId="ADAL" clId="{6ECD27E6-B224-41CD-B4E0-E297462320DD}" dt="2023-11-24T08:55:40.209" v="107627"/>
          <ac:spMkLst>
            <pc:docMk/>
            <pc:sldMk cId="3439677884" sldId="2147473972"/>
            <ac:spMk id="753" creationId="{98D1D721-6ED0-385E-451F-BE68BCBDABB7}"/>
          </ac:spMkLst>
        </pc:spChg>
        <pc:spChg chg="add del mod">
          <ac:chgData name="Steiner Andreas 6206 ED" userId="e6377c33-a923-4f14-8587-531c474c7b48" providerId="ADAL" clId="{6ECD27E6-B224-41CD-B4E0-E297462320DD}" dt="2023-11-24T08:55:42.134" v="107782"/>
          <ac:spMkLst>
            <pc:docMk/>
            <pc:sldMk cId="3439677884" sldId="2147473972"/>
            <ac:spMk id="754" creationId="{EBD42308-C8B7-418D-8C20-F83CD9D0C628}"/>
          </ac:spMkLst>
        </pc:spChg>
        <pc:spChg chg="add del mod">
          <ac:chgData name="Steiner Andreas 6206 ED" userId="e6377c33-a923-4f14-8587-531c474c7b48" providerId="ADAL" clId="{6ECD27E6-B224-41CD-B4E0-E297462320DD}" dt="2023-11-24T08:55:44.106" v="107937"/>
          <ac:spMkLst>
            <pc:docMk/>
            <pc:sldMk cId="3439677884" sldId="2147473972"/>
            <ac:spMk id="755" creationId="{664D0B3B-F50C-4CB3-36A1-A866A459D493}"/>
          </ac:spMkLst>
        </pc:spChg>
        <pc:spChg chg="add del mod">
          <ac:chgData name="Steiner Andreas 6206 ED" userId="e6377c33-a923-4f14-8587-531c474c7b48" providerId="ADAL" clId="{6ECD27E6-B224-41CD-B4E0-E297462320DD}" dt="2023-11-24T08:55:46.309" v="108092"/>
          <ac:spMkLst>
            <pc:docMk/>
            <pc:sldMk cId="3439677884" sldId="2147473972"/>
            <ac:spMk id="756" creationId="{E03B4DB9-29A9-07E2-D941-766BD5264EB2}"/>
          </ac:spMkLst>
        </pc:spChg>
        <pc:spChg chg="add del mod">
          <ac:chgData name="Steiner Andreas 6206 ED" userId="e6377c33-a923-4f14-8587-531c474c7b48" providerId="ADAL" clId="{6ECD27E6-B224-41CD-B4E0-E297462320DD}" dt="2023-11-24T08:55:48.563" v="108247"/>
          <ac:spMkLst>
            <pc:docMk/>
            <pc:sldMk cId="3439677884" sldId="2147473972"/>
            <ac:spMk id="757" creationId="{3813F0A6-4F76-13A1-3671-6058D012FD46}"/>
          </ac:spMkLst>
        </pc:spChg>
        <pc:spChg chg="add del mod">
          <ac:chgData name="Steiner Andreas 6206 ED" userId="e6377c33-a923-4f14-8587-531c474c7b48" providerId="ADAL" clId="{6ECD27E6-B224-41CD-B4E0-E297462320DD}" dt="2023-11-24T08:55:50.999" v="108402"/>
          <ac:spMkLst>
            <pc:docMk/>
            <pc:sldMk cId="3439677884" sldId="2147473972"/>
            <ac:spMk id="758" creationId="{78D3D9A4-72DE-F630-EE08-CF85C6DA399F}"/>
          </ac:spMkLst>
        </pc:spChg>
        <pc:spChg chg="add del mod">
          <ac:chgData name="Steiner Andreas 6206 ED" userId="e6377c33-a923-4f14-8587-531c474c7b48" providerId="ADAL" clId="{6ECD27E6-B224-41CD-B4E0-E297462320DD}" dt="2023-11-24T08:55:53.038" v="108557"/>
          <ac:spMkLst>
            <pc:docMk/>
            <pc:sldMk cId="3439677884" sldId="2147473972"/>
            <ac:spMk id="759" creationId="{BB39D227-EEBB-1AB3-E2B6-1CF2F4C3774F}"/>
          </ac:spMkLst>
        </pc:spChg>
        <pc:spChg chg="add del mod">
          <ac:chgData name="Steiner Andreas 6206 ED" userId="e6377c33-a923-4f14-8587-531c474c7b48" providerId="ADAL" clId="{6ECD27E6-B224-41CD-B4E0-E297462320DD}" dt="2023-11-24T08:55:55.230" v="108712"/>
          <ac:spMkLst>
            <pc:docMk/>
            <pc:sldMk cId="3439677884" sldId="2147473972"/>
            <ac:spMk id="760" creationId="{3F0CEDBD-5724-CAF8-F1E6-4B0F0D351D9E}"/>
          </ac:spMkLst>
        </pc:spChg>
        <pc:spChg chg="add del mod">
          <ac:chgData name="Steiner Andreas 6206 ED" userId="e6377c33-a923-4f14-8587-531c474c7b48" providerId="ADAL" clId="{6ECD27E6-B224-41CD-B4E0-E297462320DD}" dt="2023-11-24T08:55:57.232" v="108867"/>
          <ac:spMkLst>
            <pc:docMk/>
            <pc:sldMk cId="3439677884" sldId="2147473972"/>
            <ac:spMk id="761" creationId="{EB14BC12-35F4-5A88-F423-DA506B4F19F1}"/>
          </ac:spMkLst>
        </pc:spChg>
        <pc:spChg chg="add del mod">
          <ac:chgData name="Steiner Andreas 6206 ED" userId="e6377c33-a923-4f14-8587-531c474c7b48" providerId="ADAL" clId="{6ECD27E6-B224-41CD-B4E0-E297462320DD}" dt="2023-11-24T08:55:59.323" v="109022"/>
          <ac:spMkLst>
            <pc:docMk/>
            <pc:sldMk cId="3439677884" sldId="2147473972"/>
            <ac:spMk id="762" creationId="{7FFFE3EB-8D11-58E4-02A2-736DEF8821C5}"/>
          </ac:spMkLst>
        </pc:spChg>
        <pc:spChg chg="add del mod">
          <ac:chgData name="Steiner Andreas 6206 ED" userId="e6377c33-a923-4f14-8587-531c474c7b48" providerId="ADAL" clId="{6ECD27E6-B224-41CD-B4E0-E297462320DD}" dt="2023-11-24T08:56:01.614" v="109177"/>
          <ac:spMkLst>
            <pc:docMk/>
            <pc:sldMk cId="3439677884" sldId="2147473972"/>
            <ac:spMk id="763" creationId="{C29C1CAF-2019-9851-66FF-1556723A7AE7}"/>
          </ac:spMkLst>
        </pc:spChg>
        <pc:spChg chg="add del mod">
          <ac:chgData name="Steiner Andreas 6206 ED" userId="e6377c33-a923-4f14-8587-531c474c7b48" providerId="ADAL" clId="{6ECD27E6-B224-41CD-B4E0-E297462320DD}" dt="2023-11-24T08:56:03.929" v="109332"/>
          <ac:spMkLst>
            <pc:docMk/>
            <pc:sldMk cId="3439677884" sldId="2147473972"/>
            <ac:spMk id="764" creationId="{67A2BDBA-2655-3455-4047-5D0A4F2D88A3}"/>
          </ac:spMkLst>
        </pc:spChg>
        <pc:spChg chg="add del mod">
          <ac:chgData name="Steiner Andreas 6206 ED" userId="e6377c33-a923-4f14-8587-531c474c7b48" providerId="ADAL" clId="{6ECD27E6-B224-41CD-B4E0-E297462320DD}" dt="2023-11-24T08:56:06.196" v="109487"/>
          <ac:spMkLst>
            <pc:docMk/>
            <pc:sldMk cId="3439677884" sldId="2147473972"/>
            <ac:spMk id="765" creationId="{F912EFA1-D9AF-7C4C-722F-69D47FB8784B}"/>
          </ac:spMkLst>
        </pc:spChg>
        <pc:spChg chg="add del mod">
          <ac:chgData name="Steiner Andreas 6206 ED" userId="e6377c33-a923-4f14-8587-531c474c7b48" providerId="ADAL" clId="{6ECD27E6-B224-41CD-B4E0-E297462320DD}" dt="2023-11-24T08:56:08.533" v="109642"/>
          <ac:spMkLst>
            <pc:docMk/>
            <pc:sldMk cId="3439677884" sldId="2147473972"/>
            <ac:spMk id="766" creationId="{E53C1409-6B8E-E645-7EC9-37D49E4F94DF}"/>
          </ac:spMkLst>
        </pc:spChg>
        <pc:spChg chg="add del mod">
          <ac:chgData name="Steiner Andreas 6206 ED" userId="e6377c33-a923-4f14-8587-531c474c7b48" providerId="ADAL" clId="{6ECD27E6-B224-41CD-B4E0-E297462320DD}" dt="2023-11-24T08:56:10.561" v="109797"/>
          <ac:spMkLst>
            <pc:docMk/>
            <pc:sldMk cId="3439677884" sldId="2147473972"/>
            <ac:spMk id="767" creationId="{0FE8062B-51E6-6681-DDFD-92F9E1FF8555}"/>
          </ac:spMkLst>
        </pc:spChg>
        <pc:spChg chg="add del mod">
          <ac:chgData name="Steiner Andreas 6206 ED" userId="e6377c33-a923-4f14-8587-531c474c7b48" providerId="ADAL" clId="{6ECD27E6-B224-41CD-B4E0-E297462320DD}" dt="2023-11-24T08:56:12.663" v="109952"/>
          <ac:spMkLst>
            <pc:docMk/>
            <pc:sldMk cId="3439677884" sldId="2147473972"/>
            <ac:spMk id="768" creationId="{1C1F67B4-4CA3-B5FD-5CCB-7A91A13AC5AF}"/>
          </ac:spMkLst>
        </pc:spChg>
        <pc:spChg chg="add del mod">
          <ac:chgData name="Steiner Andreas 6206 ED" userId="e6377c33-a923-4f14-8587-531c474c7b48" providerId="ADAL" clId="{6ECD27E6-B224-41CD-B4E0-E297462320DD}" dt="2023-11-24T08:56:14.816" v="110107"/>
          <ac:spMkLst>
            <pc:docMk/>
            <pc:sldMk cId="3439677884" sldId="2147473972"/>
            <ac:spMk id="769" creationId="{470BD952-EA3F-3816-74BD-8127D8C39058}"/>
          </ac:spMkLst>
        </pc:spChg>
        <pc:spChg chg="add del mod">
          <ac:chgData name="Steiner Andreas 6206 ED" userId="e6377c33-a923-4f14-8587-531c474c7b48" providerId="ADAL" clId="{6ECD27E6-B224-41CD-B4E0-E297462320DD}" dt="2023-11-24T08:56:16.802" v="110262"/>
          <ac:spMkLst>
            <pc:docMk/>
            <pc:sldMk cId="3439677884" sldId="2147473972"/>
            <ac:spMk id="770" creationId="{A9014020-E33B-C25C-FAC7-2D988234830D}"/>
          </ac:spMkLst>
        </pc:spChg>
        <pc:spChg chg="add del mod">
          <ac:chgData name="Steiner Andreas 6206 ED" userId="e6377c33-a923-4f14-8587-531c474c7b48" providerId="ADAL" clId="{6ECD27E6-B224-41CD-B4E0-E297462320DD}" dt="2023-11-24T08:56:18.790" v="110417"/>
          <ac:spMkLst>
            <pc:docMk/>
            <pc:sldMk cId="3439677884" sldId="2147473972"/>
            <ac:spMk id="771" creationId="{602EF5DD-5D0C-4A34-E327-0C1611F2D06E}"/>
          </ac:spMkLst>
        </pc:spChg>
        <pc:spChg chg="add del mod">
          <ac:chgData name="Steiner Andreas 6206 ED" userId="e6377c33-a923-4f14-8587-531c474c7b48" providerId="ADAL" clId="{6ECD27E6-B224-41CD-B4E0-E297462320DD}" dt="2023-11-24T08:56:20.736" v="110572"/>
          <ac:spMkLst>
            <pc:docMk/>
            <pc:sldMk cId="3439677884" sldId="2147473972"/>
            <ac:spMk id="772" creationId="{DFDD2AF2-66CD-06B7-2934-A57BF1C5A4C5}"/>
          </ac:spMkLst>
        </pc:spChg>
        <pc:spChg chg="add del mod">
          <ac:chgData name="Steiner Andreas 6206 ED" userId="e6377c33-a923-4f14-8587-531c474c7b48" providerId="ADAL" clId="{6ECD27E6-B224-41CD-B4E0-E297462320DD}" dt="2023-11-24T08:56:22.809" v="110727"/>
          <ac:spMkLst>
            <pc:docMk/>
            <pc:sldMk cId="3439677884" sldId="2147473972"/>
            <ac:spMk id="773" creationId="{855EA3AB-2AE2-EDB3-7DF7-0DC22CA30770}"/>
          </ac:spMkLst>
        </pc:spChg>
        <pc:spChg chg="add del mod">
          <ac:chgData name="Steiner Andreas 6206 ED" userId="e6377c33-a923-4f14-8587-531c474c7b48" providerId="ADAL" clId="{6ECD27E6-B224-41CD-B4E0-E297462320DD}" dt="2023-11-24T08:56:25.052" v="110882"/>
          <ac:spMkLst>
            <pc:docMk/>
            <pc:sldMk cId="3439677884" sldId="2147473972"/>
            <ac:spMk id="774" creationId="{974F2D6E-7C01-9183-3D09-45E36D5380E6}"/>
          </ac:spMkLst>
        </pc:spChg>
        <pc:spChg chg="add del mod">
          <ac:chgData name="Steiner Andreas 6206 ED" userId="e6377c33-a923-4f14-8587-531c474c7b48" providerId="ADAL" clId="{6ECD27E6-B224-41CD-B4E0-E297462320DD}" dt="2023-11-24T08:56:27.085" v="111037"/>
          <ac:spMkLst>
            <pc:docMk/>
            <pc:sldMk cId="3439677884" sldId="2147473972"/>
            <ac:spMk id="775" creationId="{1E730597-7CBA-FC92-446B-1729EBEC03BE}"/>
          </ac:spMkLst>
        </pc:spChg>
        <pc:spChg chg="add del mod">
          <ac:chgData name="Steiner Andreas 6206 ED" userId="e6377c33-a923-4f14-8587-531c474c7b48" providerId="ADAL" clId="{6ECD27E6-B224-41CD-B4E0-E297462320DD}" dt="2023-11-24T08:56:29.094" v="111192"/>
          <ac:spMkLst>
            <pc:docMk/>
            <pc:sldMk cId="3439677884" sldId="2147473972"/>
            <ac:spMk id="776" creationId="{236897E0-18D5-6652-43C0-9DC15852D1CB}"/>
          </ac:spMkLst>
        </pc:spChg>
        <pc:spChg chg="add del mod">
          <ac:chgData name="Steiner Andreas 6206 ED" userId="e6377c33-a923-4f14-8587-531c474c7b48" providerId="ADAL" clId="{6ECD27E6-B224-41CD-B4E0-E297462320DD}" dt="2023-11-24T08:56:31.221" v="111347"/>
          <ac:spMkLst>
            <pc:docMk/>
            <pc:sldMk cId="3439677884" sldId="2147473972"/>
            <ac:spMk id="777" creationId="{BD5ED825-C44E-764F-D8CE-D6852AF23CFA}"/>
          </ac:spMkLst>
        </pc:spChg>
        <pc:spChg chg="add del mod">
          <ac:chgData name="Steiner Andreas 6206 ED" userId="e6377c33-a923-4f14-8587-531c474c7b48" providerId="ADAL" clId="{6ECD27E6-B224-41CD-B4E0-E297462320DD}" dt="2023-11-24T08:56:33.380" v="111502"/>
          <ac:spMkLst>
            <pc:docMk/>
            <pc:sldMk cId="3439677884" sldId="2147473972"/>
            <ac:spMk id="778" creationId="{E81B3209-17D2-2606-0248-A53E811FB201}"/>
          </ac:spMkLst>
        </pc:spChg>
        <pc:spChg chg="add del mod">
          <ac:chgData name="Steiner Andreas 6206 ED" userId="e6377c33-a923-4f14-8587-531c474c7b48" providerId="ADAL" clId="{6ECD27E6-B224-41CD-B4E0-E297462320DD}" dt="2023-11-24T08:56:35.582" v="111657"/>
          <ac:spMkLst>
            <pc:docMk/>
            <pc:sldMk cId="3439677884" sldId="2147473972"/>
            <ac:spMk id="779" creationId="{B30F3E61-2E1F-0CAF-BA12-21810D44B4A9}"/>
          </ac:spMkLst>
        </pc:spChg>
        <pc:spChg chg="add del mod">
          <ac:chgData name="Steiner Andreas 6206 ED" userId="e6377c33-a923-4f14-8587-531c474c7b48" providerId="ADAL" clId="{6ECD27E6-B224-41CD-B4E0-E297462320DD}" dt="2023-11-24T08:56:37.701" v="111812"/>
          <ac:spMkLst>
            <pc:docMk/>
            <pc:sldMk cId="3439677884" sldId="2147473972"/>
            <ac:spMk id="780" creationId="{33A76904-B38E-EBAA-37F5-0499DF0CCBD4}"/>
          </ac:spMkLst>
        </pc:spChg>
        <pc:spChg chg="add del mod">
          <ac:chgData name="Steiner Andreas 6206 ED" userId="e6377c33-a923-4f14-8587-531c474c7b48" providerId="ADAL" clId="{6ECD27E6-B224-41CD-B4E0-E297462320DD}" dt="2023-11-24T08:56:39.856" v="111967"/>
          <ac:spMkLst>
            <pc:docMk/>
            <pc:sldMk cId="3439677884" sldId="2147473972"/>
            <ac:spMk id="781" creationId="{FE6E9E75-AFDE-EF16-A6B6-BB9058C9E1CB}"/>
          </ac:spMkLst>
        </pc:spChg>
        <pc:spChg chg="add del mod">
          <ac:chgData name="Steiner Andreas 6206 ED" userId="e6377c33-a923-4f14-8587-531c474c7b48" providerId="ADAL" clId="{6ECD27E6-B224-41CD-B4E0-E297462320DD}" dt="2023-11-24T08:56:41.810" v="112122"/>
          <ac:spMkLst>
            <pc:docMk/>
            <pc:sldMk cId="3439677884" sldId="2147473972"/>
            <ac:spMk id="782" creationId="{94776666-E311-914B-2C60-72BC8FF867C4}"/>
          </ac:spMkLst>
        </pc:spChg>
        <pc:spChg chg="add del mod">
          <ac:chgData name="Steiner Andreas 6206 ED" userId="e6377c33-a923-4f14-8587-531c474c7b48" providerId="ADAL" clId="{6ECD27E6-B224-41CD-B4E0-E297462320DD}" dt="2023-11-24T08:56:43.790" v="112277"/>
          <ac:spMkLst>
            <pc:docMk/>
            <pc:sldMk cId="3439677884" sldId="2147473972"/>
            <ac:spMk id="783" creationId="{2AADF3BB-F40F-F76D-1B4C-452FF82A504B}"/>
          </ac:spMkLst>
        </pc:spChg>
        <pc:spChg chg="add del mod">
          <ac:chgData name="Steiner Andreas 6206 ED" userId="e6377c33-a923-4f14-8587-531c474c7b48" providerId="ADAL" clId="{6ECD27E6-B224-41CD-B4E0-E297462320DD}" dt="2023-11-24T08:56:45.831" v="112432"/>
          <ac:spMkLst>
            <pc:docMk/>
            <pc:sldMk cId="3439677884" sldId="2147473972"/>
            <ac:spMk id="784" creationId="{3E96E66B-FBDC-A714-C55B-C30D58E184A1}"/>
          </ac:spMkLst>
        </pc:spChg>
        <pc:spChg chg="add del mod">
          <ac:chgData name="Steiner Andreas 6206 ED" userId="e6377c33-a923-4f14-8587-531c474c7b48" providerId="ADAL" clId="{6ECD27E6-B224-41CD-B4E0-E297462320DD}" dt="2023-11-24T08:56:48.046" v="112587"/>
          <ac:spMkLst>
            <pc:docMk/>
            <pc:sldMk cId="3439677884" sldId="2147473972"/>
            <ac:spMk id="785" creationId="{DF6EFB45-0A38-3F03-8940-68D5001895D6}"/>
          </ac:spMkLst>
        </pc:spChg>
        <pc:spChg chg="add del mod">
          <ac:chgData name="Steiner Andreas 6206 ED" userId="e6377c33-a923-4f14-8587-531c474c7b48" providerId="ADAL" clId="{6ECD27E6-B224-41CD-B4E0-E297462320DD}" dt="2023-11-24T08:56:50.103" v="112742"/>
          <ac:spMkLst>
            <pc:docMk/>
            <pc:sldMk cId="3439677884" sldId="2147473972"/>
            <ac:spMk id="786" creationId="{55BB010D-C928-678D-286E-CBC1D467B295}"/>
          </ac:spMkLst>
        </pc:spChg>
        <pc:spChg chg="add del mod">
          <ac:chgData name="Steiner Andreas 6206 ED" userId="e6377c33-a923-4f14-8587-531c474c7b48" providerId="ADAL" clId="{6ECD27E6-B224-41CD-B4E0-E297462320DD}" dt="2023-11-24T08:56:52.025" v="112897"/>
          <ac:spMkLst>
            <pc:docMk/>
            <pc:sldMk cId="3439677884" sldId="2147473972"/>
            <ac:spMk id="787" creationId="{95E623E9-5A63-8A38-0FD3-C7EDF7B00658}"/>
          </ac:spMkLst>
        </pc:spChg>
        <pc:spChg chg="add del mod">
          <ac:chgData name="Steiner Andreas 6206 ED" userId="e6377c33-a923-4f14-8587-531c474c7b48" providerId="ADAL" clId="{6ECD27E6-B224-41CD-B4E0-E297462320DD}" dt="2023-11-24T08:56:53.987" v="113052"/>
          <ac:spMkLst>
            <pc:docMk/>
            <pc:sldMk cId="3439677884" sldId="2147473972"/>
            <ac:spMk id="788" creationId="{4F4F68D2-1D71-84EA-A723-A69E2DBBE3AA}"/>
          </ac:spMkLst>
        </pc:spChg>
        <pc:spChg chg="add del mod">
          <ac:chgData name="Steiner Andreas 6206 ED" userId="e6377c33-a923-4f14-8587-531c474c7b48" providerId="ADAL" clId="{6ECD27E6-B224-41CD-B4E0-E297462320DD}" dt="2023-11-24T08:56:56.124" v="113207"/>
          <ac:spMkLst>
            <pc:docMk/>
            <pc:sldMk cId="3439677884" sldId="2147473972"/>
            <ac:spMk id="789" creationId="{5465DF32-533D-345F-206F-F029586AAB89}"/>
          </ac:spMkLst>
        </pc:spChg>
        <pc:spChg chg="add del mod">
          <ac:chgData name="Steiner Andreas 6206 ED" userId="e6377c33-a923-4f14-8587-531c474c7b48" providerId="ADAL" clId="{6ECD27E6-B224-41CD-B4E0-E297462320DD}" dt="2023-11-24T08:56:58.173" v="113362"/>
          <ac:spMkLst>
            <pc:docMk/>
            <pc:sldMk cId="3439677884" sldId="2147473972"/>
            <ac:spMk id="790" creationId="{B14BAD69-D23F-2ADB-968D-BD619D9BE728}"/>
          </ac:spMkLst>
        </pc:spChg>
        <pc:spChg chg="add del mod">
          <ac:chgData name="Steiner Andreas 6206 ED" userId="e6377c33-a923-4f14-8587-531c474c7b48" providerId="ADAL" clId="{6ECD27E6-B224-41CD-B4E0-E297462320DD}" dt="2023-11-24T08:57:00.532" v="113517"/>
          <ac:spMkLst>
            <pc:docMk/>
            <pc:sldMk cId="3439677884" sldId="2147473972"/>
            <ac:spMk id="791" creationId="{971AE322-EE7E-FAD0-416E-95D0E06A427F}"/>
          </ac:spMkLst>
        </pc:spChg>
        <pc:spChg chg="add del mod">
          <ac:chgData name="Steiner Andreas 6206 ED" userId="e6377c33-a923-4f14-8587-531c474c7b48" providerId="ADAL" clId="{6ECD27E6-B224-41CD-B4E0-E297462320DD}" dt="2023-11-24T08:57:02.732" v="113672"/>
          <ac:spMkLst>
            <pc:docMk/>
            <pc:sldMk cId="3439677884" sldId="2147473972"/>
            <ac:spMk id="792" creationId="{73A126CB-EEC8-9986-0541-5E89549284C6}"/>
          </ac:spMkLst>
        </pc:spChg>
        <pc:spChg chg="add del mod">
          <ac:chgData name="Steiner Andreas 6206 ED" userId="e6377c33-a923-4f14-8587-531c474c7b48" providerId="ADAL" clId="{6ECD27E6-B224-41CD-B4E0-E297462320DD}" dt="2023-11-24T09:02:21.349" v="113827"/>
          <ac:spMkLst>
            <pc:docMk/>
            <pc:sldMk cId="3439677884" sldId="2147473972"/>
            <ac:spMk id="793" creationId="{C535746C-EC29-CCA5-ED7E-2AFAB3BF14BD}"/>
          </ac:spMkLst>
        </pc:spChg>
        <pc:spChg chg="add del mod">
          <ac:chgData name="Steiner Andreas 6206 ED" userId="e6377c33-a923-4f14-8587-531c474c7b48" providerId="ADAL" clId="{6ECD27E6-B224-41CD-B4E0-E297462320DD}" dt="2023-11-24T09:02:27.199" v="113982"/>
          <ac:spMkLst>
            <pc:docMk/>
            <pc:sldMk cId="3439677884" sldId="2147473972"/>
            <ac:spMk id="794" creationId="{9B974C4F-E82E-D726-B3B7-43389702E3EF}"/>
          </ac:spMkLst>
        </pc:spChg>
        <pc:spChg chg="add del mod">
          <ac:chgData name="Steiner Andreas 6206 ED" userId="e6377c33-a923-4f14-8587-531c474c7b48" providerId="ADAL" clId="{6ECD27E6-B224-41CD-B4E0-E297462320DD}" dt="2023-11-24T09:02:29.604" v="114137"/>
          <ac:spMkLst>
            <pc:docMk/>
            <pc:sldMk cId="3439677884" sldId="2147473972"/>
            <ac:spMk id="795" creationId="{E2255386-2AAA-5E73-080C-909201841550}"/>
          </ac:spMkLst>
        </pc:spChg>
        <pc:spChg chg="add del mod">
          <ac:chgData name="Steiner Andreas 6206 ED" userId="e6377c33-a923-4f14-8587-531c474c7b48" providerId="ADAL" clId="{6ECD27E6-B224-41CD-B4E0-E297462320DD}" dt="2023-11-24T09:02:32.834" v="114292"/>
          <ac:spMkLst>
            <pc:docMk/>
            <pc:sldMk cId="3439677884" sldId="2147473972"/>
            <ac:spMk id="796" creationId="{135D392D-3E91-2F96-9D92-D8F9C719A2FB}"/>
          </ac:spMkLst>
        </pc:spChg>
        <pc:spChg chg="add del mod">
          <ac:chgData name="Steiner Andreas 6206 ED" userId="e6377c33-a923-4f14-8587-531c474c7b48" providerId="ADAL" clId="{6ECD27E6-B224-41CD-B4E0-E297462320DD}" dt="2023-11-24T09:02:36.263" v="114447"/>
          <ac:spMkLst>
            <pc:docMk/>
            <pc:sldMk cId="3439677884" sldId="2147473972"/>
            <ac:spMk id="797" creationId="{9DBD1081-1471-D994-3A4B-42D4CC43F82E}"/>
          </ac:spMkLst>
        </pc:spChg>
        <pc:spChg chg="add del mod">
          <ac:chgData name="Steiner Andreas 6206 ED" userId="e6377c33-a923-4f14-8587-531c474c7b48" providerId="ADAL" clId="{6ECD27E6-B224-41CD-B4E0-E297462320DD}" dt="2023-11-24T11:31:22.125" v="114602"/>
          <ac:spMkLst>
            <pc:docMk/>
            <pc:sldMk cId="3439677884" sldId="2147473972"/>
            <ac:spMk id="798" creationId="{223D6229-FA29-1308-65FB-2BA4170EBE65}"/>
          </ac:spMkLst>
        </pc:spChg>
        <pc:spChg chg="add del mod">
          <ac:chgData name="Steiner Andreas 6206 ED" userId="e6377c33-a923-4f14-8587-531c474c7b48" providerId="ADAL" clId="{6ECD27E6-B224-41CD-B4E0-E297462320DD}" dt="2023-11-24T11:33:29.483" v="114757"/>
          <ac:spMkLst>
            <pc:docMk/>
            <pc:sldMk cId="3439677884" sldId="2147473972"/>
            <ac:spMk id="799" creationId="{DA992ABD-48A0-5551-BCFC-B13F6F2C6122}"/>
          </ac:spMkLst>
        </pc:spChg>
        <pc:spChg chg="add del mod">
          <ac:chgData name="Steiner Andreas 6206 ED" userId="e6377c33-a923-4f14-8587-531c474c7b48" providerId="ADAL" clId="{6ECD27E6-B224-41CD-B4E0-E297462320DD}" dt="2023-11-24T11:33:35.955" v="114912"/>
          <ac:spMkLst>
            <pc:docMk/>
            <pc:sldMk cId="3439677884" sldId="2147473972"/>
            <ac:spMk id="800" creationId="{5EB837B2-CC09-5689-1224-A87FCB02F5FF}"/>
          </ac:spMkLst>
        </pc:spChg>
        <pc:spChg chg="add del mod">
          <ac:chgData name="Steiner Andreas 6206 ED" userId="e6377c33-a923-4f14-8587-531c474c7b48" providerId="ADAL" clId="{6ECD27E6-B224-41CD-B4E0-E297462320DD}" dt="2023-11-24T11:33:39.049" v="115067"/>
          <ac:spMkLst>
            <pc:docMk/>
            <pc:sldMk cId="3439677884" sldId="2147473972"/>
            <ac:spMk id="801" creationId="{2C619E7B-17A0-2755-F1BC-0EA2524C7228}"/>
          </ac:spMkLst>
        </pc:spChg>
        <pc:spChg chg="add del mod">
          <ac:chgData name="Steiner Andreas 6206 ED" userId="e6377c33-a923-4f14-8587-531c474c7b48" providerId="ADAL" clId="{6ECD27E6-B224-41CD-B4E0-E297462320DD}" dt="2023-11-24T11:33:42.552" v="115222"/>
          <ac:spMkLst>
            <pc:docMk/>
            <pc:sldMk cId="3439677884" sldId="2147473972"/>
            <ac:spMk id="802" creationId="{80707259-2E0A-5E92-FF50-73BF0F3FAF3B}"/>
          </ac:spMkLst>
        </pc:spChg>
        <pc:spChg chg="add del mod">
          <ac:chgData name="Steiner Andreas 6206 ED" userId="e6377c33-a923-4f14-8587-531c474c7b48" providerId="ADAL" clId="{6ECD27E6-B224-41CD-B4E0-E297462320DD}" dt="2023-11-24T11:33:45.812" v="115377"/>
          <ac:spMkLst>
            <pc:docMk/>
            <pc:sldMk cId="3439677884" sldId="2147473972"/>
            <ac:spMk id="803" creationId="{4599D041-295B-8BE8-83EE-DF5607175363}"/>
          </ac:spMkLst>
        </pc:spChg>
        <pc:spChg chg="add del mod">
          <ac:chgData name="Steiner Andreas 6206 ED" userId="e6377c33-a923-4f14-8587-531c474c7b48" providerId="ADAL" clId="{6ECD27E6-B224-41CD-B4E0-E297462320DD}" dt="2023-11-24T11:33:48.979" v="115532"/>
          <ac:spMkLst>
            <pc:docMk/>
            <pc:sldMk cId="3439677884" sldId="2147473972"/>
            <ac:spMk id="804" creationId="{7FD13B49-AD46-EBC0-9863-FDD91E2DDBC6}"/>
          </ac:spMkLst>
        </pc:spChg>
        <pc:spChg chg="add del mod">
          <ac:chgData name="Steiner Andreas 6206 ED" userId="e6377c33-a923-4f14-8587-531c474c7b48" providerId="ADAL" clId="{6ECD27E6-B224-41CD-B4E0-E297462320DD}" dt="2023-11-24T11:33:51.665" v="115687"/>
          <ac:spMkLst>
            <pc:docMk/>
            <pc:sldMk cId="3439677884" sldId="2147473972"/>
            <ac:spMk id="805" creationId="{C2293A7E-1873-E212-CE70-32A51AA2858B}"/>
          </ac:spMkLst>
        </pc:spChg>
        <pc:spChg chg="add del mod">
          <ac:chgData name="Steiner Andreas 6206 ED" userId="e6377c33-a923-4f14-8587-531c474c7b48" providerId="ADAL" clId="{6ECD27E6-B224-41CD-B4E0-E297462320DD}" dt="2023-11-24T11:33:54.501" v="115842"/>
          <ac:spMkLst>
            <pc:docMk/>
            <pc:sldMk cId="3439677884" sldId="2147473972"/>
            <ac:spMk id="806" creationId="{37617876-609D-ADFC-D867-186B27554055}"/>
          </ac:spMkLst>
        </pc:spChg>
        <pc:spChg chg="add del mod">
          <ac:chgData name="Steiner Andreas 6206 ED" userId="e6377c33-a923-4f14-8587-531c474c7b48" providerId="ADAL" clId="{6ECD27E6-B224-41CD-B4E0-E297462320DD}" dt="2023-11-24T11:33:57.093" v="115997"/>
          <ac:spMkLst>
            <pc:docMk/>
            <pc:sldMk cId="3439677884" sldId="2147473972"/>
            <ac:spMk id="807" creationId="{CE7AC121-B4C2-BFE3-8DFD-5408A78AE30D}"/>
          </ac:spMkLst>
        </pc:spChg>
        <pc:spChg chg="add del mod">
          <ac:chgData name="Steiner Andreas 6206 ED" userId="e6377c33-a923-4f14-8587-531c474c7b48" providerId="ADAL" clId="{6ECD27E6-B224-41CD-B4E0-E297462320DD}" dt="2023-11-24T11:33:59.426" v="116152"/>
          <ac:spMkLst>
            <pc:docMk/>
            <pc:sldMk cId="3439677884" sldId="2147473972"/>
            <ac:spMk id="808" creationId="{90DD0E72-1452-412E-71DF-25759E322514}"/>
          </ac:spMkLst>
        </pc:spChg>
        <pc:spChg chg="add del mod">
          <ac:chgData name="Steiner Andreas 6206 ED" userId="e6377c33-a923-4f14-8587-531c474c7b48" providerId="ADAL" clId="{6ECD27E6-B224-41CD-B4E0-E297462320DD}" dt="2023-11-24T11:34:01.804" v="116307"/>
          <ac:spMkLst>
            <pc:docMk/>
            <pc:sldMk cId="3439677884" sldId="2147473972"/>
            <ac:spMk id="809" creationId="{1F8D9C11-E917-0B6A-BFE4-60DCDEE72200}"/>
          </ac:spMkLst>
        </pc:spChg>
        <pc:spChg chg="add del mod">
          <ac:chgData name="Steiner Andreas 6206 ED" userId="e6377c33-a923-4f14-8587-531c474c7b48" providerId="ADAL" clId="{6ECD27E6-B224-41CD-B4E0-E297462320DD}" dt="2023-11-24T11:34:04.160" v="116462"/>
          <ac:spMkLst>
            <pc:docMk/>
            <pc:sldMk cId="3439677884" sldId="2147473972"/>
            <ac:spMk id="810" creationId="{17604B56-2F52-191B-308F-68AED5152849}"/>
          </ac:spMkLst>
        </pc:spChg>
        <pc:spChg chg="add del mod">
          <ac:chgData name="Steiner Andreas 6206 ED" userId="e6377c33-a923-4f14-8587-531c474c7b48" providerId="ADAL" clId="{6ECD27E6-B224-41CD-B4E0-E297462320DD}" dt="2023-11-24T11:34:06.568" v="116617"/>
          <ac:spMkLst>
            <pc:docMk/>
            <pc:sldMk cId="3439677884" sldId="2147473972"/>
            <ac:spMk id="811" creationId="{CE6E396F-2AC1-25A9-A2C5-E0A45F24FDDF}"/>
          </ac:spMkLst>
        </pc:spChg>
        <pc:spChg chg="add del mod">
          <ac:chgData name="Steiner Andreas 6206 ED" userId="e6377c33-a923-4f14-8587-531c474c7b48" providerId="ADAL" clId="{6ECD27E6-B224-41CD-B4E0-E297462320DD}" dt="2023-11-24T11:34:09.143" v="116772"/>
          <ac:spMkLst>
            <pc:docMk/>
            <pc:sldMk cId="3439677884" sldId="2147473972"/>
            <ac:spMk id="812" creationId="{30C375B1-FEE3-14DA-95DB-2ED925A131CA}"/>
          </ac:spMkLst>
        </pc:spChg>
        <pc:spChg chg="add del mod">
          <ac:chgData name="Steiner Andreas 6206 ED" userId="e6377c33-a923-4f14-8587-531c474c7b48" providerId="ADAL" clId="{6ECD27E6-B224-41CD-B4E0-E297462320DD}" dt="2023-11-24T11:34:11.277" v="116927"/>
          <ac:spMkLst>
            <pc:docMk/>
            <pc:sldMk cId="3439677884" sldId="2147473972"/>
            <ac:spMk id="813" creationId="{A906D4CD-007A-2E65-5653-7D9C4E847735}"/>
          </ac:spMkLst>
        </pc:spChg>
        <pc:spChg chg="add del mod">
          <ac:chgData name="Steiner Andreas 6206 ED" userId="e6377c33-a923-4f14-8587-531c474c7b48" providerId="ADAL" clId="{6ECD27E6-B224-41CD-B4E0-E297462320DD}" dt="2023-11-24T11:34:13.045" v="117082"/>
          <ac:spMkLst>
            <pc:docMk/>
            <pc:sldMk cId="3439677884" sldId="2147473972"/>
            <ac:spMk id="814" creationId="{4950A3D3-D236-609C-524A-C17E134276C0}"/>
          </ac:spMkLst>
        </pc:spChg>
        <pc:spChg chg="add del mod">
          <ac:chgData name="Steiner Andreas 6206 ED" userId="e6377c33-a923-4f14-8587-531c474c7b48" providerId="ADAL" clId="{6ECD27E6-B224-41CD-B4E0-E297462320DD}" dt="2023-11-24T11:34:14.819" v="117237"/>
          <ac:spMkLst>
            <pc:docMk/>
            <pc:sldMk cId="3439677884" sldId="2147473972"/>
            <ac:spMk id="815" creationId="{17BA66CA-1A26-3862-57A9-017F52280DE2}"/>
          </ac:spMkLst>
        </pc:spChg>
        <pc:spChg chg="add del mod">
          <ac:chgData name="Steiner Andreas 6206 ED" userId="e6377c33-a923-4f14-8587-531c474c7b48" providerId="ADAL" clId="{6ECD27E6-B224-41CD-B4E0-E297462320DD}" dt="2023-11-24T11:34:16.585" v="117392"/>
          <ac:spMkLst>
            <pc:docMk/>
            <pc:sldMk cId="3439677884" sldId="2147473972"/>
            <ac:spMk id="816" creationId="{D2DD5F1A-B575-1494-A645-DB36125F87A7}"/>
          </ac:spMkLst>
        </pc:spChg>
        <pc:spChg chg="add del mod">
          <ac:chgData name="Steiner Andreas 6206 ED" userId="e6377c33-a923-4f14-8587-531c474c7b48" providerId="ADAL" clId="{6ECD27E6-B224-41CD-B4E0-E297462320DD}" dt="2023-11-24T11:34:18.443" v="117547"/>
          <ac:spMkLst>
            <pc:docMk/>
            <pc:sldMk cId="3439677884" sldId="2147473972"/>
            <ac:spMk id="817" creationId="{CC4D9B38-DA80-14AC-ABE6-468C24A2623E}"/>
          </ac:spMkLst>
        </pc:spChg>
        <pc:spChg chg="add del mod">
          <ac:chgData name="Steiner Andreas 6206 ED" userId="e6377c33-a923-4f14-8587-531c474c7b48" providerId="ADAL" clId="{6ECD27E6-B224-41CD-B4E0-E297462320DD}" dt="2023-11-24T11:34:20.459" v="117702"/>
          <ac:spMkLst>
            <pc:docMk/>
            <pc:sldMk cId="3439677884" sldId="2147473972"/>
            <ac:spMk id="818" creationId="{FF22F58F-7B7A-68D1-6B1F-48C501918917}"/>
          </ac:spMkLst>
        </pc:spChg>
        <pc:spChg chg="add del mod">
          <ac:chgData name="Steiner Andreas 6206 ED" userId="e6377c33-a923-4f14-8587-531c474c7b48" providerId="ADAL" clId="{6ECD27E6-B224-41CD-B4E0-E297462320DD}" dt="2023-11-24T11:34:22.463" v="117857"/>
          <ac:spMkLst>
            <pc:docMk/>
            <pc:sldMk cId="3439677884" sldId="2147473972"/>
            <ac:spMk id="819" creationId="{4A4FA96E-D5AB-F5CB-98E7-4D48B74CA1A8}"/>
          </ac:spMkLst>
        </pc:spChg>
        <pc:spChg chg="add del mod">
          <ac:chgData name="Steiner Andreas 6206 ED" userId="e6377c33-a923-4f14-8587-531c474c7b48" providerId="ADAL" clId="{6ECD27E6-B224-41CD-B4E0-E297462320DD}" dt="2023-11-24T11:34:24.572" v="118012"/>
          <ac:spMkLst>
            <pc:docMk/>
            <pc:sldMk cId="3439677884" sldId="2147473972"/>
            <ac:spMk id="820" creationId="{7FD92E21-A439-E00E-6BA0-E4F9C43C9296}"/>
          </ac:spMkLst>
        </pc:spChg>
        <pc:spChg chg="add del mod">
          <ac:chgData name="Steiner Andreas 6206 ED" userId="e6377c33-a923-4f14-8587-531c474c7b48" providerId="ADAL" clId="{6ECD27E6-B224-41CD-B4E0-E297462320DD}" dt="2023-11-24T11:34:26.962" v="118167"/>
          <ac:spMkLst>
            <pc:docMk/>
            <pc:sldMk cId="3439677884" sldId="2147473972"/>
            <ac:spMk id="821" creationId="{9DB71934-9CB1-3799-F52E-2EE7DBDFF74C}"/>
          </ac:spMkLst>
        </pc:spChg>
        <pc:spChg chg="add del mod">
          <ac:chgData name="Steiner Andreas 6206 ED" userId="e6377c33-a923-4f14-8587-531c474c7b48" providerId="ADAL" clId="{6ECD27E6-B224-41CD-B4E0-E297462320DD}" dt="2023-11-24T11:34:29.107" v="118322"/>
          <ac:spMkLst>
            <pc:docMk/>
            <pc:sldMk cId="3439677884" sldId="2147473972"/>
            <ac:spMk id="822" creationId="{8F9296A9-E3F0-C875-266A-3AF664E5B5CE}"/>
          </ac:spMkLst>
        </pc:spChg>
        <pc:spChg chg="add del mod">
          <ac:chgData name="Steiner Andreas 6206 ED" userId="e6377c33-a923-4f14-8587-531c474c7b48" providerId="ADAL" clId="{6ECD27E6-B224-41CD-B4E0-E297462320DD}" dt="2023-11-24T11:34:31.379" v="118477"/>
          <ac:spMkLst>
            <pc:docMk/>
            <pc:sldMk cId="3439677884" sldId="2147473972"/>
            <ac:spMk id="823" creationId="{CFA5F991-6515-07F4-905E-E3A76540B1D4}"/>
          </ac:spMkLst>
        </pc:spChg>
        <pc:spChg chg="add del mod">
          <ac:chgData name="Steiner Andreas 6206 ED" userId="e6377c33-a923-4f14-8587-531c474c7b48" providerId="ADAL" clId="{6ECD27E6-B224-41CD-B4E0-E297462320DD}" dt="2023-11-24T11:34:33.419" v="118632"/>
          <ac:spMkLst>
            <pc:docMk/>
            <pc:sldMk cId="3439677884" sldId="2147473972"/>
            <ac:spMk id="824" creationId="{296EB396-F489-83AB-4CD6-172587861C30}"/>
          </ac:spMkLst>
        </pc:spChg>
        <pc:spChg chg="add del mod">
          <ac:chgData name="Steiner Andreas 6206 ED" userId="e6377c33-a923-4f14-8587-531c474c7b48" providerId="ADAL" clId="{6ECD27E6-B224-41CD-B4E0-E297462320DD}" dt="2023-11-24T11:34:35.390" v="118787"/>
          <ac:spMkLst>
            <pc:docMk/>
            <pc:sldMk cId="3439677884" sldId="2147473972"/>
            <ac:spMk id="825" creationId="{9A73BC80-90CF-EA7B-C702-8E093C0A0E07}"/>
          </ac:spMkLst>
        </pc:spChg>
        <pc:spChg chg="add del mod">
          <ac:chgData name="Steiner Andreas 6206 ED" userId="e6377c33-a923-4f14-8587-531c474c7b48" providerId="ADAL" clId="{6ECD27E6-B224-41CD-B4E0-E297462320DD}" dt="2023-11-24T11:34:37.434" v="118942"/>
          <ac:spMkLst>
            <pc:docMk/>
            <pc:sldMk cId="3439677884" sldId="2147473972"/>
            <ac:spMk id="826" creationId="{92B6E2EE-846D-D9FF-D5B9-8D712C7EC6E9}"/>
          </ac:spMkLst>
        </pc:spChg>
        <pc:spChg chg="add del mod">
          <ac:chgData name="Steiner Andreas 6206 ED" userId="e6377c33-a923-4f14-8587-531c474c7b48" providerId="ADAL" clId="{6ECD27E6-B224-41CD-B4E0-E297462320DD}" dt="2023-11-24T11:34:39.425" v="119097"/>
          <ac:spMkLst>
            <pc:docMk/>
            <pc:sldMk cId="3439677884" sldId="2147473972"/>
            <ac:spMk id="827" creationId="{1454084D-0A67-C473-4D32-44A53E685021}"/>
          </ac:spMkLst>
        </pc:spChg>
        <pc:spChg chg="add del mod">
          <ac:chgData name="Steiner Andreas 6206 ED" userId="e6377c33-a923-4f14-8587-531c474c7b48" providerId="ADAL" clId="{6ECD27E6-B224-41CD-B4E0-E297462320DD}" dt="2023-11-24T11:34:41.521" v="119252"/>
          <ac:spMkLst>
            <pc:docMk/>
            <pc:sldMk cId="3439677884" sldId="2147473972"/>
            <ac:spMk id="828" creationId="{BDCF1B46-B9EB-CCF1-8E5C-0C14B1A71923}"/>
          </ac:spMkLst>
        </pc:spChg>
        <pc:spChg chg="add del mod">
          <ac:chgData name="Steiner Andreas 6206 ED" userId="e6377c33-a923-4f14-8587-531c474c7b48" providerId="ADAL" clId="{6ECD27E6-B224-41CD-B4E0-E297462320DD}" dt="2023-11-24T11:34:43.731" v="119407"/>
          <ac:spMkLst>
            <pc:docMk/>
            <pc:sldMk cId="3439677884" sldId="2147473972"/>
            <ac:spMk id="829" creationId="{0AC1EFA3-E2EF-F781-3778-08D58E8B1790}"/>
          </ac:spMkLst>
        </pc:spChg>
        <pc:spChg chg="add del mod">
          <ac:chgData name="Steiner Andreas 6206 ED" userId="e6377c33-a923-4f14-8587-531c474c7b48" providerId="ADAL" clId="{6ECD27E6-B224-41CD-B4E0-E297462320DD}" dt="2023-11-24T11:34:45.734" v="119562"/>
          <ac:spMkLst>
            <pc:docMk/>
            <pc:sldMk cId="3439677884" sldId="2147473972"/>
            <ac:spMk id="830" creationId="{CE4169CD-B654-CC45-CFA6-753BD3382A51}"/>
          </ac:spMkLst>
        </pc:spChg>
        <pc:spChg chg="add del mod">
          <ac:chgData name="Steiner Andreas 6206 ED" userId="e6377c33-a923-4f14-8587-531c474c7b48" providerId="ADAL" clId="{6ECD27E6-B224-41CD-B4E0-E297462320DD}" dt="2023-11-24T11:34:47.707" v="119717"/>
          <ac:spMkLst>
            <pc:docMk/>
            <pc:sldMk cId="3439677884" sldId="2147473972"/>
            <ac:spMk id="831" creationId="{04BD53AA-C699-66A9-C6B1-DE8E68F4066F}"/>
          </ac:spMkLst>
        </pc:spChg>
        <pc:spChg chg="add del mod">
          <ac:chgData name="Steiner Andreas 6206 ED" userId="e6377c33-a923-4f14-8587-531c474c7b48" providerId="ADAL" clId="{6ECD27E6-B224-41CD-B4E0-E297462320DD}" dt="2023-11-24T11:34:49.805" v="119872"/>
          <ac:spMkLst>
            <pc:docMk/>
            <pc:sldMk cId="3439677884" sldId="2147473972"/>
            <ac:spMk id="832" creationId="{3F3B1C0A-3B0A-280A-F6EB-FDD0ED4C8EDD}"/>
          </ac:spMkLst>
        </pc:spChg>
        <pc:spChg chg="add del mod">
          <ac:chgData name="Steiner Andreas 6206 ED" userId="e6377c33-a923-4f14-8587-531c474c7b48" providerId="ADAL" clId="{6ECD27E6-B224-41CD-B4E0-E297462320DD}" dt="2023-11-24T11:34:51.965" v="120027"/>
          <ac:spMkLst>
            <pc:docMk/>
            <pc:sldMk cId="3439677884" sldId="2147473972"/>
            <ac:spMk id="833" creationId="{31492F30-5B0E-72FE-18DC-E5A048A906B9}"/>
          </ac:spMkLst>
        </pc:spChg>
        <pc:spChg chg="add del mod">
          <ac:chgData name="Steiner Andreas 6206 ED" userId="e6377c33-a923-4f14-8587-531c474c7b48" providerId="ADAL" clId="{6ECD27E6-B224-41CD-B4E0-E297462320DD}" dt="2023-11-24T11:34:53.949" v="120182"/>
          <ac:spMkLst>
            <pc:docMk/>
            <pc:sldMk cId="3439677884" sldId="2147473972"/>
            <ac:spMk id="834" creationId="{093A484C-1D55-B71F-AC4A-5C1FDE7191E8}"/>
          </ac:spMkLst>
        </pc:spChg>
        <pc:spChg chg="add del mod">
          <ac:chgData name="Steiner Andreas 6206 ED" userId="e6377c33-a923-4f14-8587-531c474c7b48" providerId="ADAL" clId="{6ECD27E6-B224-41CD-B4E0-E297462320DD}" dt="2023-11-24T11:34:55.808" v="120337"/>
          <ac:spMkLst>
            <pc:docMk/>
            <pc:sldMk cId="3439677884" sldId="2147473972"/>
            <ac:spMk id="835" creationId="{82932552-0DBB-2477-AD80-2D68CC06464D}"/>
          </ac:spMkLst>
        </pc:spChg>
        <pc:spChg chg="add del mod">
          <ac:chgData name="Steiner Andreas 6206 ED" userId="e6377c33-a923-4f14-8587-531c474c7b48" providerId="ADAL" clId="{6ECD27E6-B224-41CD-B4E0-E297462320DD}" dt="2023-11-24T11:34:57.624" v="120492"/>
          <ac:spMkLst>
            <pc:docMk/>
            <pc:sldMk cId="3439677884" sldId="2147473972"/>
            <ac:spMk id="836" creationId="{C83B099F-C729-879D-590E-690BB95809C3}"/>
          </ac:spMkLst>
        </pc:spChg>
        <pc:spChg chg="add del mod">
          <ac:chgData name="Steiner Andreas 6206 ED" userId="e6377c33-a923-4f14-8587-531c474c7b48" providerId="ADAL" clId="{6ECD27E6-B224-41CD-B4E0-E297462320DD}" dt="2023-11-24T11:34:59.519" v="120647"/>
          <ac:spMkLst>
            <pc:docMk/>
            <pc:sldMk cId="3439677884" sldId="2147473972"/>
            <ac:spMk id="837" creationId="{92FBF9F7-E5FB-956D-77E1-1F8C7A1BDFAC}"/>
          </ac:spMkLst>
        </pc:spChg>
        <pc:spChg chg="add del mod">
          <ac:chgData name="Steiner Andreas 6206 ED" userId="e6377c33-a923-4f14-8587-531c474c7b48" providerId="ADAL" clId="{6ECD27E6-B224-41CD-B4E0-E297462320DD}" dt="2023-11-24T11:35:01.349" v="120802"/>
          <ac:spMkLst>
            <pc:docMk/>
            <pc:sldMk cId="3439677884" sldId="2147473972"/>
            <ac:spMk id="838" creationId="{CAB0933D-F94D-9B96-1DEE-4ECADEF4D3A0}"/>
          </ac:spMkLst>
        </pc:spChg>
        <pc:spChg chg="add del mod">
          <ac:chgData name="Steiner Andreas 6206 ED" userId="e6377c33-a923-4f14-8587-531c474c7b48" providerId="ADAL" clId="{6ECD27E6-B224-41CD-B4E0-E297462320DD}" dt="2023-11-24T11:35:03.230" v="120957"/>
          <ac:spMkLst>
            <pc:docMk/>
            <pc:sldMk cId="3439677884" sldId="2147473972"/>
            <ac:spMk id="839" creationId="{4D312522-1A16-0C59-1D6D-62CE9B32F0B5}"/>
          </ac:spMkLst>
        </pc:spChg>
        <pc:spChg chg="add del mod">
          <ac:chgData name="Steiner Andreas 6206 ED" userId="e6377c33-a923-4f14-8587-531c474c7b48" providerId="ADAL" clId="{6ECD27E6-B224-41CD-B4E0-E297462320DD}" dt="2023-11-24T11:35:05.104" v="121112"/>
          <ac:spMkLst>
            <pc:docMk/>
            <pc:sldMk cId="3439677884" sldId="2147473972"/>
            <ac:spMk id="840" creationId="{F8A39032-F658-1D17-32BF-391372EDD98D}"/>
          </ac:spMkLst>
        </pc:spChg>
        <pc:spChg chg="add del mod">
          <ac:chgData name="Steiner Andreas 6206 ED" userId="e6377c33-a923-4f14-8587-531c474c7b48" providerId="ADAL" clId="{6ECD27E6-B224-41CD-B4E0-E297462320DD}" dt="2023-11-24T11:35:07.208" v="121267"/>
          <ac:spMkLst>
            <pc:docMk/>
            <pc:sldMk cId="3439677884" sldId="2147473972"/>
            <ac:spMk id="841" creationId="{2C743DE6-877E-F27B-1E5D-2A0074659123}"/>
          </ac:spMkLst>
        </pc:spChg>
        <pc:spChg chg="add del mod">
          <ac:chgData name="Steiner Andreas 6206 ED" userId="e6377c33-a923-4f14-8587-531c474c7b48" providerId="ADAL" clId="{6ECD27E6-B224-41CD-B4E0-E297462320DD}" dt="2023-11-24T11:35:09.276" v="121422"/>
          <ac:spMkLst>
            <pc:docMk/>
            <pc:sldMk cId="3439677884" sldId="2147473972"/>
            <ac:spMk id="842" creationId="{3DB355B8-2481-BF2E-2F3B-ECEF00F9F46D}"/>
          </ac:spMkLst>
        </pc:spChg>
        <pc:spChg chg="add del mod">
          <ac:chgData name="Steiner Andreas 6206 ED" userId="e6377c33-a923-4f14-8587-531c474c7b48" providerId="ADAL" clId="{6ECD27E6-B224-41CD-B4E0-E297462320DD}" dt="2023-11-24T11:35:11.216" v="121577"/>
          <ac:spMkLst>
            <pc:docMk/>
            <pc:sldMk cId="3439677884" sldId="2147473972"/>
            <ac:spMk id="843" creationId="{EEB05F37-D9E3-6E35-1861-6B6903147470}"/>
          </ac:spMkLst>
        </pc:spChg>
        <pc:spChg chg="add del mod">
          <ac:chgData name="Steiner Andreas 6206 ED" userId="e6377c33-a923-4f14-8587-531c474c7b48" providerId="ADAL" clId="{6ECD27E6-B224-41CD-B4E0-E297462320DD}" dt="2023-11-24T11:35:12.990" v="121732"/>
          <ac:spMkLst>
            <pc:docMk/>
            <pc:sldMk cId="3439677884" sldId="2147473972"/>
            <ac:spMk id="844" creationId="{E87527D1-2FD5-5A9A-0B35-E9B59503F700}"/>
          </ac:spMkLst>
        </pc:spChg>
        <pc:spChg chg="add del mod">
          <ac:chgData name="Steiner Andreas 6206 ED" userId="e6377c33-a923-4f14-8587-531c474c7b48" providerId="ADAL" clId="{6ECD27E6-B224-41CD-B4E0-E297462320DD}" dt="2023-11-24T11:35:14.868" v="121887"/>
          <ac:spMkLst>
            <pc:docMk/>
            <pc:sldMk cId="3439677884" sldId="2147473972"/>
            <ac:spMk id="845" creationId="{F546D368-E5B1-5009-0EB5-2AD8DA96B95C}"/>
          </ac:spMkLst>
        </pc:spChg>
        <pc:spChg chg="add del mod">
          <ac:chgData name="Steiner Andreas 6206 ED" userId="e6377c33-a923-4f14-8587-531c474c7b48" providerId="ADAL" clId="{6ECD27E6-B224-41CD-B4E0-E297462320DD}" dt="2023-11-24T11:35:16.633" v="122042"/>
          <ac:spMkLst>
            <pc:docMk/>
            <pc:sldMk cId="3439677884" sldId="2147473972"/>
            <ac:spMk id="846" creationId="{C1BB219B-5622-65E4-FBB5-43236DB87EE8}"/>
          </ac:spMkLst>
        </pc:spChg>
        <pc:spChg chg="add del mod">
          <ac:chgData name="Steiner Andreas 6206 ED" userId="e6377c33-a923-4f14-8587-531c474c7b48" providerId="ADAL" clId="{6ECD27E6-B224-41CD-B4E0-E297462320DD}" dt="2023-11-24T11:35:18.353" v="122197"/>
          <ac:spMkLst>
            <pc:docMk/>
            <pc:sldMk cId="3439677884" sldId="2147473972"/>
            <ac:spMk id="847" creationId="{7564DE9F-75FC-3510-33DB-E4DC3503BC21}"/>
          </ac:spMkLst>
        </pc:spChg>
        <pc:spChg chg="add del mod">
          <ac:chgData name="Steiner Andreas 6206 ED" userId="e6377c33-a923-4f14-8587-531c474c7b48" providerId="ADAL" clId="{6ECD27E6-B224-41CD-B4E0-E297462320DD}" dt="2023-11-24T11:35:19.971" v="122352"/>
          <ac:spMkLst>
            <pc:docMk/>
            <pc:sldMk cId="3439677884" sldId="2147473972"/>
            <ac:spMk id="848" creationId="{F07FD0D5-104C-8C71-EF2A-CBBFCA02569B}"/>
          </ac:spMkLst>
        </pc:spChg>
        <pc:spChg chg="add del mod">
          <ac:chgData name="Steiner Andreas 6206 ED" userId="e6377c33-a923-4f14-8587-531c474c7b48" providerId="ADAL" clId="{6ECD27E6-B224-41CD-B4E0-E297462320DD}" dt="2023-11-24T11:35:21.601" v="122507"/>
          <ac:spMkLst>
            <pc:docMk/>
            <pc:sldMk cId="3439677884" sldId="2147473972"/>
            <ac:spMk id="849" creationId="{A90473AA-8123-55D2-EC6C-BD14735274C0}"/>
          </ac:spMkLst>
        </pc:spChg>
        <pc:spChg chg="add del mod">
          <ac:chgData name="Steiner Andreas 6206 ED" userId="e6377c33-a923-4f14-8587-531c474c7b48" providerId="ADAL" clId="{6ECD27E6-B224-41CD-B4E0-E297462320DD}" dt="2023-11-24T11:35:23.295" v="122662"/>
          <ac:spMkLst>
            <pc:docMk/>
            <pc:sldMk cId="3439677884" sldId="2147473972"/>
            <ac:spMk id="850" creationId="{C73C3C7D-527D-89F3-9705-8B1022E3D2E1}"/>
          </ac:spMkLst>
        </pc:spChg>
        <pc:spChg chg="add del mod">
          <ac:chgData name="Steiner Andreas 6206 ED" userId="e6377c33-a923-4f14-8587-531c474c7b48" providerId="ADAL" clId="{6ECD27E6-B224-41CD-B4E0-E297462320DD}" dt="2023-11-24T11:35:25.215" v="122817"/>
          <ac:spMkLst>
            <pc:docMk/>
            <pc:sldMk cId="3439677884" sldId="2147473972"/>
            <ac:spMk id="851" creationId="{C2A67B4B-F105-98E2-3CE8-B8698CAC84BA}"/>
          </ac:spMkLst>
        </pc:spChg>
        <pc:spChg chg="add del mod">
          <ac:chgData name="Steiner Andreas 6206 ED" userId="e6377c33-a923-4f14-8587-531c474c7b48" providerId="ADAL" clId="{6ECD27E6-B224-41CD-B4E0-E297462320DD}" dt="2023-11-24T11:35:27.325" v="122972"/>
          <ac:spMkLst>
            <pc:docMk/>
            <pc:sldMk cId="3439677884" sldId="2147473972"/>
            <ac:spMk id="852" creationId="{F2012186-B128-2029-7604-4E4E10BA72E9}"/>
          </ac:spMkLst>
        </pc:spChg>
        <pc:spChg chg="add del mod">
          <ac:chgData name="Steiner Andreas 6206 ED" userId="e6377c33-a923-4f14-8587-531c474c7b48" providerId="ADAL" clId="{6ECD27E6-B224-41CD-B4E0-E297462320DD}" dt="2023-11-24T11:35:29.213" v="123127"/>
          <ac:spMkLst>
            <pc:docMk/>
            <pc:sldMk cId="3439677884" sldId="2147473972"/>
            <ac:spMk id="853" creationId="{8D81CD2D-613F-F48A-F7C2-90320CC94047}"/>
          </ac:spMkLst>
        </pc:spChg>
        <pc:spChg chg="add del mod">
          <ac:chgData name="Steiner Andreas 6206 ED" userId="e6377c33-a923-4f14-8587-531c474c7b48" providerId="ADAL" clId="{6ECD27E6-B224-41CD-B4E0-E297462320DD}" dt="2023-11-24T11:35:30.983" v="123282"/>
          <ac:spMkLst>
            <pc:docMk/>
            <pc:sldMk cId="3439677884" sldId="2147473972"/>
            <ac:spMk id="854" creationId="{C6FFBC81-BE1B-B64A-2D79-EBBA302C001E}"/>
          </ac:spMkLst>
        </pc:spChg>
        <pc:spChg chg="add del mod">
          <ac:chgData name="Steiner Andreas 6206 ED" userId="e6377c33-a923-4f14-8587-531c474c7b48" providerId="ADAL" clId="{6ECD27E6-B224-41CD-B4E0-E297462320DD}" dt="2023-11-24T11:35:33.830" v="123437"/>
          <ac:spMkLst>
            <pc:docMk/>
            <pc:sldMk cId="3439677884" sldId="2147473972"/>
            <ac:spMk id="855" creationId="{D2AE9EF1-A6DB-7F50-D694-ABBE5B0D55A4}"/>
          </ac:spMkLst>
        </pc:spChg>
        <pc:spChg chg="add del mod">
          <ac:chgData name="Steiner Andreas 6206 ED" userId="e6377c33-a923-4f14-8587-531c474c7b48" providerId="ADAL" clId="{6ECD27E6-B224-41CD-B4E0-E297462320DD}" dt="2023-11-24T11:35:35.688" v="123592"/>
          <ac:spMkLst>
            <pc:docMk/>
            <pc:sldMk cId="3439677884" sldId="2147473972"/>
            <ac:spMk id="856" creationId="{C337D1A1-AC75-22D5-11E1-0DE89BD7779D}"/>
          </ac:spMkLst>
        </pc:spChg>
        <pc:spChg chg="add del mod">
          <ac:chgData name="Steiner Andreas 6206 ED" userId="e6377c33-a923-4f14-8587-531c474c7b48" providerId="ADAL" clId="{6ECD27E6-B224-41CD-B4E0-E297462320DD}" dt="2023-11-24T11:35:37.409" v="123747"/>
          <ac:spMkLst>
            <pc:docMk/>
            <pc:sldMk cId="3439677884" sldId="2147473972"/>
            <ac:spMk id="857" creationId="{2326D3DE-6A20-3EE2-74EC-290294ED6CE8}"/>
          </ac:spMkLst>
        </pc:spChg>
        <pc:spChg chg="add del mod">
          <ac:chgData name="Steiner Andreas 6206 ED" userId="e6377c33-a923-4f14-8587-531c474c7b48" providerId="ADAL" clId="{6ECD27E6-B224-41CD-B4E0-E297462320DD}" dt="2023-11-24T11:35:39.039" v="123902"/>
          <ac:spMkLst>
            <pc:docMk/>
            <pc:sldMk cId="3439677884" sldId="2147473972"/>
            <ac:spMk id="858" creationId="{6DACCE23-BA28-21C1-A40B-4B4DC20B7007}"/>
          </ac:spMkLst>
        </pc:spChg>
        <pc:spChg chg="add del mod">
          <ac:chgData name="Steiner Andreas 6206 ED" userId="e6377c33-a923-4f14-8587-531c474c7b48" providerId="ADAL" clId="{6ECD27E6-B224-41CD-B4E0-E297462320DD}" dt="2023-11-24T11:35:40.744" v="124057"/>
          <ac:spMkLst>
            <pc:docMk/>
            <pc:sldMk cId="3439677884" sldId="2147473972"/>
            <ac:spMk id="859" creationId="{8122812E-FFEB-811E-E991-36F1BD2BD444}"/>
          </ac:spMkLst>
        </pc:spChg>
        <pc:spChg chg="add del mod">
          <ac:chgData name="Steiner Andreas 6206 ED" userId="e6377c33-a923-4f14-8587-531c474c7b48" providerId="ADAL" clId="{6ECD27E6-B224-41CD-B4E0-E297462320DD}" dt="2023-11-24T11:35:42.347" v="124212"/>
          <ac:spMkLst>
            <pc:docMk/>
            <pc:sldMk cId="3439677884" sldId="2147473972"/>
            <ac:spMk id="860" creationId="{7CC30020-EC89-A41D-D99E-76422ED58FAA}"/>
          </ac:spMkLst>
        </pc:spChg>
        <pc:spChg chg="add del mod">
          <ac:chgData name="Steiner Andreas 6206 ED" userId="e6377c33-a923-4f14-8587-531c474c7b48" providerId="ADAL" clId="{6ECD27E6-B224-41CD-B4E0-E297462320DD}" dt="2023-11-24T11:35:44.015" v="124367"/>
          <ac:spMkLst>
            <pc:docMk/>
            <pc:sldMk cId="3439677884" sldId="2147473972"/>
            <ac:spMk id="861" creationId="{9852DBF9-DAA4-7F2F-08A1-E21A2B691EED}"/>
          </ac:spMkLst>
        </pc:spChg>
        <pc:spChg chg="add del mod">
          <ac:chgData name="Steiner Andreas 6206 ED" userId="e6377c33-a923-4f14-8587-531c474c7b48" providerId="ADAL" clId="{6ECD27E6-B224-41CD-B4E0-E297462320DD}" dt="2023-11-24T11:35:45.672" v="124522"/>
          <ac:spMkLst>
            <pc:docMk/>
            <pc:sldMk cId="3439677884" sldId="2147473972"/>
            <ac:spMk id="862" creationId="{27B477C6-8CB0-972E-1CE9-39A63C6CA055}"/>
          </ac:spMkLst>
        </pc:spChg>
        <pc:spChg chg="add del mod">
          <ac:chgData name="Steiner Andreas 6206 ED" userId="e6377c33-a923-4f14-8587-531c474c7b48" providerId="ADAL" clId="{6ECD27E6-B224-41CD-B4E0-E297462320DD}" dt="2023-11-24T11:35:47.393" v="124677"/>
          <ac:spMkLst>
            <pc:docMk/>
            <pc:sldMk cId="3439677884" sldId="2147473972"/>
            <ac:spMk id="863" creationId="{4B51AFA0-94DA-6002-90FA-1FEF5EE5BFE4}"/>
          </ac:spMkLst>
        </pc:spChg>
        <pc:spChg chg="add del mod">
          <ac:chgData name="Steiner Andreas 6206 ED" userId="e6377c33-a923-4f14-8587-531c474c7b48" providerId="ADAL" clId="{6ECD27E6-B224-41CD-B4E0-E297462320DD}" dt="2023-11-24T11:35:49.084" v="124832"/>
          <ac:spMkLst>
            <pc:docMk/>
            <pc:sldMk cId="3439677884" sldId="2147473972"/>
            <ac:spMk id="864" creationId="{5AAE68AF-E91F-C52A-4427-09A9DCCB9E7A}"/>
          </ac:spMkLst>
        </pc:spChg>
        <pc:spChg chg="add del mod">
          <ac:chgData name="Steiner Andreas 6206 ED" userId="e6377c33-a923-4f14-8587-531c474c7b48" providerId="ADAL" clId="{6ECD27E6-B224-41CD-B4E0-E297462320DD}" dt="2023-11-24T11:35:51.039" v="124987"/>
          <ac:spMkLst>
            <pc:docMk/>
            <pc:sldMk cId="3439677884" sldId="2147473972"/>
            <ac:spMk id="865" creationId="{9B55E08C-BC1A-9BAC-0D6C-C181897D2A97}"/>
          </ac:spMkLst>
        </pc:spChg>
        <pc:spChg chg="add del mod">
          <ac:chgData name="Steiner Andreas 6206 ED" userId="e6377c33-a923-4f14-8587-531c474c7b48" providerId="ADAL" clId="{6ECD27E6-B224-41CD-B4E0-E297462320DD}" dt="2023-11-24T11:35:52.792" v="125142"/>
          <ac:spMkLst>
            <pc:docMk/>
            <pc:sldMk cId="3439677884" sldId="2147473972"/>
            <ac:spMk id="866" creationId="{F9F6E6D3-224E-C837-6E2A-9D7CA822C9DB}"/>
          </ac:spMkLst>
        </pc:spChg>
        <pc:spChg chg="add del mod">
          <ac:chgData name="Steiner Andreas 6206 ED" userId="e6377c33-a923-4f14-8587-531c474c7b48" providerId="ADAL" clId="{6ECD27E6-B224-41CD-B4E0-E297462320DD}" dt="2023-11-24T11:35:54.756" v="125297"/>
          <ac:spMkLst>
            <pc:docMk/>
            <pc:sldMk cId="3439677884" sldId="2147473972"/>
            <ac:spMk id="867" creationId="{D941A102-5266-7C6F-CA15-3396256E32C9}"/>
          </ac:spMkLst>
        </pc:spChg>
        <pc:spChg chg="add del mod">
          <ac:chgData name="Steiner Andreas 6206 ED" userId="e6377c33-a923-4f14-8587-531c474c7b48" providerId="ADAL" clId="{6ECD27E6-B224-41CD-B4E0-E297462320DD}" dt="2023-11-24T11:35:56.810" v="125452"/>
          <ac:spMkLst>
            <pc:docMk/>
            <pc:sldMk cId="3439677884" sldId="2147473972"/>
            <ac:spMk id="868" creationId="{70F20FEF-948E-2FCF-56E6-D9BBC36FA11E}"/>
          </ac:spMkLst>
        </pc:spChg>
        <pc:spChg chg="add del mod">
          <ac:chgData name="Steiner Andreas 6206 ED" userId="e6377c33-a923-4f14-8587-531c474c7b48" providerId="ADAL" clId="{6ECD27E6-B224-41CD-B4E0-E297462320DD}" dt="2023-11-24T11:35:58.764" v="125607"/>
          <ac:spMkLst>
            <pc:docMk/>
            <pc:sldMk cId="3439677884" sldId="2147473972"/>
            <ac:spMk id="869" creationId="{91BC5654-2E1C-DE79-85FD-6F38F200F683}"/>
          </ac:spMkLst>
        </pc:spChg>
        <pc:spChg chg="add del mod">
          <ac:chgData name="Steiner Andreas 6206 ED" userId="e6377c33-a923-4f14-8587-531c474c7b48" providerId="ADAL" clId="{6ECD27E6-B224-41CD-B4E0-E297462320DD}" dt="2023-11-24T11:36:00.494" v="125762"/>
          <ac:spMkLst>
            <pc:docMk/>
            <pc:sldMk cId="3439677884" sldId="2147473972"/>
            <ac:spMk id="870" creationId="{5007AA10-AECD-3F4C-DD6D-059B850431F8}"/>
          </ac:spMkLst>
        </pc:spChg>
        <pc:spChg chg="add del mod">
          <ac:chgData name="Steiner Andreas 6206 ED" userId="e6377c33-a923-4f14-8587-531c474c7b48" providerId="ADAL" clId="{6ECD27E6-B224-41CD-B4E0-E297462320DD}" dt="2023-11-24T11:36:02.229" v="125917"/>
          <ac:spMkLst>
            <pc:docMk/>
            <pc:sldMk cId="3439677884" sldId="2147473972"/>
            <ac:spMk id="871" creationId="{5B636E64-D059-835D-3241-1D5FA1769927}"/>
          </ac:spMkLst>
        </pc:spChg>
        <pc:spChg chg="add del mod">
          <ac:chgData name="Steiner Andreas 6206 ED" userId="e6377c33-a923-4f14-8587-531c474c7b48" providerId="ADAL" clId="{6ECD27E6-B224-41CD-B4E0-E297462320DD}" dt="2023-11-24T11:36:03.974" v="126072"/>
          <ac:spMkLst>
            <pc:docMk/>
            <pc:sldMk cId="3439677884" sldId="2147473972"/>
            <ac:spMk id="872" creationId="{237AF40A-F489-C373-F9D0-6F3911505652}"/>
          </ac:spMkLst>
        </pc:spChg>
        <pc:spChg chg="add del mod">
          <ac:chgData name="Steiner Andreas 6206 ED" userId="e6377c33-a923-4f14-8587-531c474c7b48" providerId="ADAL" clId="{6ECD27E6-B224-41CD-B4E0-E297462320DD}" dt="2023-11-24T11:36:05.749" v="126227"/>
          <ac:spMkLst>
            <pc:docMk/>
            <pc:sldMk cId="3439677884" sldId="2147473972"/>
            <ac:spMk id="873" creationId="{7EBAD10F-CB17-C862-FF52-EC255A1571BE}"/>
          </ac:spMkLst>
        </pc:spChg>
        <pc:spChg chg="add del mod">
          <ac:chgData name="Steiner Andreas 6206 ED" userId="e6377c33-a923-4f14-8587-531c474c7b48" providerId="ADAL" clId="{6ECD27E6-B224-41CD-B4E0-E297462320DD}" dt="2023-11-24T11:36:07.410" v="126382"/>
          <ac:spMkLst>
            <pc:docMk/>
            <pc:sldMk cId="3439677884" sldId="2147473972"/>
            <ac:spMk id="874" creationId="{C59D7D8B-334A-2969-982B-3B51307BC2C5}"/>
          </ac:spMkLst>
        </pc:spChg>
        <pc:spChg chg="add del mod">
          <ac:chgData name="Steiner Andreas 6206 ED" userId="e6377c33-a923-4f14-8587-531c474c7b48" providerId="ADAL" clId="{6ECD27E6-B224-41CD-B4E0-E297462320DD}" dt="2023-11-24T11:36:09.269" v="126537"/>
          <ac:spMkLst>
            <pc:docMk/>
            <pc:sldMk cId="3439677884" sldId="2147473972"/>
            <ac:spMk id="875" creationId="{2B717441-A9A2-8EFE-E6E8-8CA405F21BCC}"/>
          </ac:spMkLst>
        </pc:spChg>
        <pc:spChg chg="add del mod">
          <ac:chgData name="Steiner Andreas 6206 ED" userId="e6377c33-a923-4f14-8587-531c474c7b48" providerId="ADAL" clId="{6ECD27E6-B224-41CD-B4E0-E297462320DD}" dt="2023-11-24T11:36:11.071" v="126692"/>
          <ac:spMkLst>
            <pc:docMk/>
            <pc:sldMk cId="3439677884" sldId="2147473972"/>
            <ac:spMk id="876" creationId="{EB87DD96-5830-91D9-D644-645BBFF760A2}"/>
          </ac:spMkLst>
        </pc:spChg>
        <pc:spChg chg="add del mod">
          <ac:chgData name="Steiner Andreas 6206 ED" userId="e6377c33-a923-4f14-8587-531c474c7b48" providerId="ADAL" clId="{6ECD27E6-B224-41CD-B4E0-E297462320DD}" dt="2023-11-24T11:36:12.992" v="126847"/>
          <ac:spMkLst>
            <pc:docMk/>
            <pc:sldMk cId="3439677884" sldId="2147473972"/>
            <ac:spMk id="877" creationId="{8A18F1C5-16CE-F977-1CEB-68B9FA0D0C30}"/>
          </ac:spMkLst>
        </pc:spChg>
        <pc:spChg chg="add del mod">
          <ac:chgData name="Steiner Andreas 6206 ED" userId="e6377c33-a923-4f14-8587-531c474c7b48" providerId="ADAL" clId="{6ECD27E6-B224-41CD-B4E0-E297462320DD}" dt="2023-11-24T11:36:14.877" v="127002"/>
          <ac:spMkLst>
            <pc:docMk/>
            <pc:sldMk cId="3439677884" sldId="2147473972"/>
            <ac:spMk id="878" creationId="{139C92C7-F415-54C2-144C-FA70ECB34DE3}"/>
          </ac:spMkLst>
        </pc:spChg>
        <pc:spChg chg="add del mod">
          <ac:chgData name="Steiner Andreas 6206 ED" userId="e6377c33-a923-4f14-8587-531c474c7b48" providerId="ADAL" clId="{6ECD27E6-B224-41CD-B4E0-E297462320DD}" dt="2023-11-24T11:36:17.206" v="127157"/>
          <ac:spMkLst>
            <pc:docMk/>
            <pc:sldMk cId="3439677884" sldId="2147473972"/>
            <ac:spMk id="879" creationId="{CC22C1E3-5522-CCFD-2B79-A36CAC46F195}"/>
          </ac:spMkLst>
        </pc:spChg>
        <pc:spChg chg="add del mod">
          <ac:chgData name="Steiner Andreas 6206 ED" userId="e6377c33-a923-4f14-8587-531c474c7b48" providerId="ADAL" clId="{6ECD27E6-B224-41CD-B4E0-E297462320DD}" dt="2023-11-24T11:36:19.868" v="127312"/>
          <ac:spMkLst>
            <pc:docMk/>
            <pc:sldMk cId="3439677884" sldId="2147473972"/>
            <ac:spMk id="880" creationId="{6C3BB956-B438-3A4C-6276-3FF92E240B18}"/>
          </ac:spMkLst>
        </pc:spChg>
        <pc:spChg chg="add del mod">
          <ac:chgData name="Steiner Andreas 6206 ED" userId="e6377c33-a923-4f14-8587-531c474c7b48" providerId="ADAL" clId="{6ECD27E6-B224-41CD-B4E0-E297462320DD}" dt="2023-11-24T11:36:22.233" v="127467"/>
          <ac:spMkLst>
            <pc:docMk/>
            <pc:sldMk cId="3439677884" sldId="2147473972"/>
            <ac:spMk id="881" creationId="{49A76E0A-62EC-05A1-F0C9-5D547ADB1D44}"/>
          </ac:spMkLst>
        </pc:spChg>
        <pc:spChg chg="add del mod">
          <ac:chgData name="Steiner Andreas 6206 ED" userId="e6377c33-a923-4f14-8587-531c474c7b48" providerId="ADAL" clId="{6ECD27E6-B224-41CD-B4E0-E297462320DD}" dt="2023-11-24T11:36:25.176" v="127622"/>
          <ac:spMkLst>
            <pc:docMk/>
            <pc:sldMk cId="3439677884" sldId="2147473972"/>
            <ac:spMk id="882" creationId="{C844BAB2-0762-3D8A-08E2-CF8D6E5F0B6A}"/>
          </ac:spMkLst>
        </pc:spChg>
        <pc:spChg chg="add del mod">
          <ac:chgData name="Steiner Andreas 6206 ED" userId="e6377c33-a923-4f14-8587-531c474c7b48" providerId="ADAL" clId="{6ECD27E6-B224-41CD-B4E0-E297462320DD}" dt="2023-11-24T11:36:28.182" v="127777"/>
          <ac:spMkLst>
            <pc:docMk/>
            <pc:sldMk cId="3439677884" sldId="2147473972"/>
            <ac:spMk id="883" creationId="{72A06020-1FE0-0301-706E-346DCE7933DA}"/>
          </ac:spMkLst>
        </pc:spChg>
        <pc:spChg chg="add del mod">
          <ac:chgData name="Steiner Andreas 6206 ED" userId="e6377c33-a923-4f14-8587-531c474c7b48" providerId="ADAL" clId="{6ECD27E6-B224-41CD-B4E0-E297462320DD}" dt="2023-11-24T11:36:30.876" v="127932"/>
          <ac:spMkLst>
            <pc:docMk/>
            <pc:sldMk cId="3439677884" sldId="2147473972"/>
            <ac:spMk id="884" creationId="{AB3CDA83-A4D3-02DE-F822-ACDB66572442}"/>
          </ac:spMkLst>
        </pc:spChg>
        <pc:spChg chg="add del mod">
          <ac:chgData name="Steiner Andreas 6206 ED" userId="e6377c33-a923-4f14-8587-531c474c7b48" providerId="ADAL" clId="{6ECD27E6-B224-41CD-B4E0-E297462320DD}" dt="2023-11-24T11:36:33.138" v="128087"/>
          <ac:spMkLst>
            <pc:docMk/>
            <pc:sldMk cId="3439677884" sldId="2147473972"/>
            <ac:spMk id="885" creationId="{781F1A03-6F10-5569-632E-A172F3091DC0}"/>
          </ac:spMkLst>
        </pc:spChg>
        <pc:spChg chg="add del mod">
          <ac:chgData name="Steiner Andreas 6206 ED" userId="e6377c33-a923-4f14-8587-531c474c7b48" providerId="ADAL" clId="{6ECD27E6-B224-41CD-B4E0-E297462320DD}" dt="2023-11-24T11:36:35.237" v="128242"/>
          <ac:spMkLst>
            <pc:docMk/>
            <pc:sldMk cId="3439677884" sldId="2147473972"/>
            <ac:spMk id="886" creationId="{9CD07095-335D-4DE4-0578-8EAEB03B6407}"/>
          </ac:spMkLst>
        </pc:spChg>
        <pc:spChg chg="add del mod">
          <ac:chgData name="Steiner Andreas 6206 ED" userId="e6377c33-a923-4f14-8587-531c474c7b48" providerId="ADAL" clId="{6ECD27E6-B224-41CD-B4E0-E297462320DD}" dt="2023-11-24T11:36:37.316" v="128397"/>
          <ac:spMkLst>
            <pc:docMk/>
            <pc:sldMk cId="3439677884" sldId="2147473972"/>
            <ac:spMk id="887" creationId="{141A6B95-FF14-3FAB-191B-6F418308BD7F}"/>
          </ac:spMkLst>
        </pc:spChg>
        <pc:spChg chg="add del mod">
          <ac:chgData name="Steiner Andreas 6206 ED" userId="e6377c33-a923-4f14-8587-531c474c7b48" providerId="ADAL" clId="{6ECD27E6-B224-41CD-B4E0-E297462320DD}" dt="2023-11-24T11:36:39.525" v="128552"/>
          <ac:spMkLst>
            <pc:docMk/>
            <pc:sldMk cId="3439677884" sldId="2147473972"/>
            <ac:spMk id="888" creationId="{910D2308-645A-2592-3C96-F13795E7E597}"/>
          </ac:spMkLst>
        </pc:spChg>
        <pc:spChg chg="add del mod">
          <ac:chgData name="Steiner Andreas 6206 ED" userId="e6377c33-a923-4f14-8587-531c474c7b48" providerId="ADAL" clId="{6ECD27E6-B224-41CD-B4E0-E297462320DD}" dt="2023-11-24T11:36:42.063" v="128707"/>
          <ac:spMkLst>
            <pc:docMk/>
            <pc:sldMk cId="3439677884" sldId="2147473972"/>
            <ac:spMk id="889" creationId="{50C0BFA1-E1BF-A636-9660-900A862FBD33}"/>
          </ac:spMkLst>
        </pc:spChg>
        <pc:spChg chg="add del mod">
          <ac:chgData name="Steiner Andreas 6206 ED" userId="e6377c33-a923-4f14-8587-531c474c7b48" providerId="ADAL" clId="{6ECD27E6-B224-41CD-B4E0-E297462320DD}" dt="2023-11-24T11:36:44.400" v="128862"/>
          <ac:spMkLst>
            <pc:docMk/>
            <pc:sldMk cId="3439677884" sldId="2147473972"/>
            <ac:spMk id="890" creationId="{55276018-F17C-314C-9D7C-01445554C367}"/>
          </ac:spMkLst>
        </pc:spChg>
        <pc:spChg chg="add del mod">
          <ac:chgData name="Steiner Andreas 6206 ED" userId="e6377c33-a923-4f14-8587-531c474c7b48" providerId="ADAL" clId="{6ECD27E6-B224-41CD-B4E0-E297462320DD}" dt="2023-11-24T11:36:46.430" v="129017"/>
          <ac:spMkLst>
            <pc:docMk/>
            <pc:sldMk cId="3439677884" sldId="2147473972"/>
            <ac:spMk id="891" creationId="{1D38A60D-F7E1-E139-7965-5E3688D7323B}"/>
          </ac:spMkLst>
        </pc:spChg>
        <pc:spChg chg="add del mod">
          <ac:chgData name="Steiner Andreas 6206 ED" userId="e6377c33-a923-4f14-8587-531c474c7b48" providerId="ADAL" clId="{6ECD27E6-B224-41CD-B4E0-E297462320DD}" dt="2023-11-24T11:36:48.387" v="129172"/>
          <ac:spMkLst>
            <pc:docMk/>
            <pc:sldMk cId="3439677884" sldId="2147473972"/>
            <ac:spMk id="892" creationId="{E86F4E21-D08D-CB36-DE9A-8322452CEC4A}"/>
          </ac:spMkLst>
        </pc:spChg>
        <pc:spChg chg="add del mod">
          <ac:chgData name="Steiner Andreas 6206 ED" userId="e6377c33-a923-4f14-8587-531c474c7b48" providerId="ADAL" clId="{6ECD27E6-B224-41CD-B4E0-E297462320DD}" dt="2023-11-24T11:36:50.342" v="129327"/>
          <ac:spMkLst>
            <pc:docMk/>
            <pc:sldMk cId="3439677884" sldId="2147473972"/>
            <ac:spMk id="893" creationId="{87C6466B-32A5-0159-39A1-0602FC729847}"/>
          </ac:spMkLst>
        </pc:spChg>
        <pc:spChg chg="add del mod">
          <ac:chgData name="Steiner Andreas 6206 ED" userId="e6377c33-a923-4f14-8587-531c474c7b48" providerId="ADAL" clId="{6ECD27E6-B224-41CD-B4E0-E297462320DD}" dt="2023-11-24T11:36:52.505" v="129482"/>
          <ac:spMkLst>
            <pc:docMk/>
            <pc:sldMk cId="3439677884" sldId="2147473972"/>
            <ac:spMk id="894" creationId="{2739794E-FB23-6CE7-9569-1025C4572EED}"/>
          </ac:spMkLst>
        </pc:spChg>
        <pc:spChg chg="add del mod">
          <ac:chgData name="Steiner Andreas 6206 ED" userId="e6377c33-a923-4f14-8587-531c474c7b48" providerId="ADAL" clId="{6ECD27E6-B224-41CD-B4E0-E297462320DD}" dt="2023-11-24T11:36:55.240" v="129637"/>
          <ac:spMkLst>
            <pc:docMk/>
            <pc:sldMk cId="3439677884" sldId="2147473972"/>
            <ac:spMk id="895" creationId="{3AD76919-4412-3B42-F958-825BFBEB21FB}"/>
          </ac:spMkLst>
        </pc:spChg>
        <pc:spChg chg="add del mod">
          <ac:chgData name="Steiner Andreas 6206 ED" userId="e6377c33-a923-4f14-8587-531c474c7b48" providerId="ADAL" clId="{6ECD27E6-B224-41CD-B4E0-E297462320DD}" dt="2023-11-24T11:36:57.487" v="129792"/>
          <ac:spMkLst>
            <pc:docMk/>
            <pc:sldMk cId="3439677884" sldId="2147473972"/>
            <ac:spMk id="896" creationId="{A5A63C1D-8BD1-0A03-FE4A-DF315651A9B8}"/>
          </ac:spMkLst>
        </pc:spChg>
        <pc:spChg chg="add del mod">
          <ac:chgData name="Steiner Andreas 6206 ED" userId="e6377c33-a923-4f14-8587-531c474c7b48" providerId="ADAL" clId="{6ECD27E6-B224-41CD-B4E0-E297462320DD}" dt="2023-11-24T11:36:59.936" v="129947"/>
          <ac:spMkLst>
            <pc:docMk/>
            <pc:sldMk cId="3439677884" sldId="2147473972"/>
            <ac:spMk id="897" creationId="{A82BC7A2-CC7A-97D6-E9BC-3FF9F8ABE907}"/>
          </ac:spMkLst>
        </pc:spChg>
        <pc:spChg chg="add del mod">
          <ac:chgData name="Steiner Andreas 6206 ED" userId="e6377c33-a923-4f14-8587-531c474c7b48" providerId="ADAL" clId="{6ECD27E6-B224-41CD-B4E0-E297462320DD}" dt="2023-11-24T11:37:01.831" v="130102"/>
          <ac:spMkLst>
            <pc:docMk/>
            <pc:sldMk cId="3439677884" sldId="2147473972"/>
            <ac:spMk id="898" creationId="{06B4FE50-270D-ECD3-7A45-03F1953005C7}"/>
          </ac:spMkLst>
        </pc:spChg>
        <pc:spChg chg="add del mod">
          <ac:chgData name="Steiner Andreas 6206 ED" userId="e6377c33-a923-4f14-8587-531c474c7b48" providerId="ADAL" clId="{6ECD27E6-B224-41CD-B4E0-E297462320DD}" dt="2023-11-24T11:37:03.582" v="130257"/>
          <ac:spMkLst>
            <pc:docMk/>
            <pc:sldMk cId="3439677884" sldId="2147473972"/>
            <ac:spMk id="899" creationId="{C35EEB6E-5B4E-5DDB-48FE-899C61FC9929}"/>
          </ac:spMkLst>
        </pc:spChg>
        <pc:spChg chg="add del mod">
          <ac:chgData name="Steiner Andreas 6206 ED" userId="e6377c33-a923-4f14-8587-531c474c7b48" providerId="ADAL" clId="{6ECD27E6-B224-41CD-B4E0-E297462320DD}" dt="2023-11-24T11:37:05.449" v="130412"/>
          <ac:spMkLst>
            <pc:docMk/>
            <pc:sldMk cId="3439677884" sldId="2147473972"/>
            <ac:spMk id="900" creationId="{BE838B5E-2DBB-18CB-DCE1-9A36CF98ABFA}"/>
          </ac:spMkLst>
        </pc:spChg>
        <pc:spChg chg="add del mod">
          <ac:chgData name="Steiner Andreas 6206 ED" userId="e6377c33-a923-4f14-8587-531c474c7b48" providerId="ADAL" clId="{6ECD27E6-B224-41CD-B4E0-E297462320DD}" dt="2023-11-24T11:37:07.194" v="130567"/>
          <ac:spMkLst>
            <pc:docMk/>
            <pc:sldMk cId="3439677884" sldId="2147473972"/>
            <ac:spMk id="901" creationId="{AD9E0FFE-7E05-B00D-F5BD-38FEB9094250}"/>
          </ac:spMkLst>
        </pc:spChg>
        <pc:spChg chg="add del mod">
          <ac:chgData name="Steiner Andreas 6206 ED" userId="e6377c33-a923-4f14-8587-531c474c7b48" providerId="ADAL" clId="{6ECD27E6-B224-41CD-B4E0-E297462320DD}" dt="2023-11-24T11:37:08.946" v="130722"/>
          <ac:spMkLst>
            <pc:docMk/>
            <pc:sldMk cId="3439677884" sldId="2147473972"/>
            <ac:spMk id="902" creationId="{E20DE42F-6370-2B33-1802-7D969405C6A4}"/>
          </ac:spMkLst>
        </pc:spChg>
        <pc:spChg chg="add del mod">
          <ac:chgData name="Steiner Andreas 6206 ED" userId="e6377c33-a923-4f14-8587-531c474c7b48" providerId="ADAL" clId="{6ECD27E6-B224-41CD-B4E0-E297462320DD}" dt="2023-11-24T11:37:10.610" v="130877"/>
          <ac:spMkLst>
            <pc:docMk/>
            <pc:sldMk cId="3439677884" sldId="2147473972"/>
            <ac:spMk id="903" creationId="{D53A37DD-96AB-8FC1-C1D4-395713346CA9}"/>
          </ac:spMkLst>
        </pc:spChg>
        <pc:spChg chg="add del mod">
          <ac:chgData name="Steiner Andreas 6206 ED" userId="e6377c33-a923-4f14-8587-531c474c7b48" providerId="ADAL" clId="{6ECD27E6-B224-41CD-B4E0-E297462320DD}" dt="2023-11-24T11:37:12.306" v="131032"/>
          <ac:spMkLst>
            <pc:docMk/>
            <pc:sldMk cId="3439677884" sldId="2147473972"/>
            <ac:spMk id="904" creationId="{252153EF-2EE4-216D-86EC-70B3527DCDBD}"/>
          </ac:spMkLst>
        </pc:spChg>
        <pc:spChg chg="add del mod">
          <ac:chgData name="Steiner Andreas 6206 ED" userId="e6377c33-a923-4f14-8587-531c474c7b48" providerId="ADAL" clId="{6ECD27E6-B224-41CD-B4E0-E297462320DD}" dt="2023-11-24T11:37:13.992" v="131187"/>
          <ac:spMkLst>
            <pc:docMk/>
            <pc:sldMk cId="3439677884" sldId="2147473972"/>
            <ac:spMk id="905" creationId="{5ED2298A-45CD-BB2F-5229-C5A90572CDC2}"/>
          </ac:spMkLst>
        </pc:spChg>
        <pc:spChg chg="add del mod">
          <ac:chgData name="Steiner Andreas 6206 ED" userId="e6377c33-a923-4f14-8587-531c474c7b48" providerId="ADAL" clId="{6ECD27E6-B224-41CD-B4E0-E297462320DD}" dt="2023-11-24T11:37:15.923" v="131342"/>
          <ac:spMkLst>
            <pc:docMk/>
            <pc:sldMk cId="3439677884" sldId="2147473972"/>
            <ac:spMk id="906" creationId="{E52D57E6-3208-3A32-22D2-A2AE1267555D}"/>
          </ac:spMkLst>
        </pc:spChg>
        <pc:spChg chg="add del mod">
          <ac:chgData name="Steiner Andreas 6206 ED" userId="e6377c33-a923-4f14-8587-531c474c7b48" providerId="ADAL" clId="{6ECD27E6-B224-41CD-B4E0-E297462320DD}" dt="2023-11-24T11:37:17.939" v="131497"/>
          <ac:spMkLst>
            <pc:docMk/>
            <pc:sldMk cId="3439677884" sldId="2147473972"/>
            <ac:spMk id="907" creationId="{8B3E6D0F-0E30-F1B5-9DFA-CCE329DA341A}"/>
          </ac:spMkLst>
        </pc:spChg>
        <pc:spChg chg="add del mod">
          <ac:chgData name="Steiner Andreas 6206 ED" userId="e6377c33-a923-4f14-8587-531c474c7b48" providerId="ADAL" clId="{6ECD27E6-B224-41CD-B4E0-E297462320DD}" dt="2023-11-24T11:37:19.877" v="131652"/>
          <ac:spMkLst>
            <pc:docMk/>
            <pc:sldMk cId="3439677884" sldId="2147473972"/>
            <ac:spMk id="908" creationId="{341E1884-0BA7-2078-4FC4-2C82F9A4DC98}"/>
          </ac:spMkLst>
        </pc:spChg>
        <pc:spChg chg="add del mod">
          <ac:chgData name="Steiner Andreas 6206 ED" userId="e6377c33-a923-4f14-8587-531c474c7b48" providerId="ADAL" clId="{6ECD27E6-B224-41CD-B4E0-E297462320DD}" dt="2023-11-24T11:37:21.769" v="131807"/>
          <ac:spMkLst>
            <pc:docMk/>
            <pc:sldMk cId="3439677884" sldId="2147473972"/>
            <ac:spMk id="909" creationId="{DB15BB97-B371-D1BC-455B-1D81C982D508}"/>
          </ac:spMkLst>
        </pc:spChg>
        <pc:spChg chg="add del mod">
          <ac:chgData name="Steiner Andreas 6206 ED" userId="e6377c33-a923-4f14-8587-531c474c7b48" providerId="ADAL" clId="{6ECD27E6-B224-41CD-B4E0-E297462320DD}" dt="2023-11-24T11:37:23.571" v="131962"/>
          <ac:spMkLst>
            <pc:docMk/>
            <pc:sldMk cId="3439677884" sldId="2147473972"/>
            <ac:spMk id="910" creationId="{AF016FFC-3983-6784-DC23-818FF96F8A02}"/>
          </ac:spMkLst>
        </pc:spChg>
        <pc:spChg chg="add del mod">
          <ac:chgData name="Steiner Andreas 6206 ED" userId="e6377c33-a923-4f14-8587-531c474c7b48" providerId="ADAL" clId="{6ECD27E6-B224-41CD-B4E0-E297462320DD}" dt="2023-11-24T11:37:25.302" v="132117"/>
          <ac:spMkLst>
            <pc:docMk/>
            <pc:sldMk cId="3439677884" sldId="2147473972"/>
            <ac:spMk id="911" creationId="{2D394A6A-0A5C-911B-DD79-5FB2545476AD}"/>
          </ac:spMkLst>
        </pc:spChg>
        <pc:spChg chg="add del mod">
          <ac:chgData name="Steiner Andreas 6206 ED" userId="e6377c33-a923-4f14-8587-531c474c7b48" providerId="ADAL" clId="{6ECD27E6-B224-41CD-B4E0-E297462320DD}" dt="2023-11-24T11:37:27.171" v="132272"/>
          <ac:spMkLst>
            <pc:docMk/>
            <pc:sldMk cId="3439677884" sldId="2147473972"/>
            <ac:spMk id="912" creationId="{A7E335B5-2B5D-C15E-F6FA-D6DCD005B20E}"/>
          </ac:spMkLst>
        </pc:spChg>
        <pc:spChg chg="add del mod">
          <ac:chgData name="Steiner Andreas 6206 ED" userId="e6377c33-a923-4f14-8587-531c474c7b48" providerId="ADAL" clId="{6ECD27E6-B224-41CD-B4E0-E297462320DD}" dt="2023-11-24T11:37:29.767" v="132427"/>
          <ac:spMkLst>
            <pc:docMk/>
            <pc:sldMk cId="3439677884" sldId="2147473972"/>
            <ac:spMk id="913" creationId="{464E26BF-72DF-7650-19B2-0B53862B9D85}"/>
          </ac:spMkLst>
        </pc:spChg>
        <pc:spChg chg="add del mod">
          <ac:chgData name="Steiner Andreas 6206 ED" userId="e6377c33-a923-4f14-8587-531c474c7b48" providerId="ADAL" clId="{6ECD27E6-B224-41CD-B4E0-E297462320DD}" dt="2023-11-24T11:37:32.319" v="132582"/>
          <ac:spMkLst>
            <pc:docMk/>
            <pc:sldMk cId="3439677884" sldId="2147473972"/>
            <ac:spMk id="914" creationId="{006D744A-C764-9396-1604-52E89A4377D6}"/>
          </ac:spMkLst>
        </pc:spChg>
        <pc:spChg chg="add del mod">
          <ac:chgData name="Steiner Andreas 6206 ED" userId="e6377c33-a923-4f14-8587-531c474c7b48" providerId="ADAL" clId="{6ECD27E6-B224-41CD-B4E0-E297462320DD}" dt="2023-11-24T11:37:35.306" v="132737"/>
          <ac:spMkLst>
            <pc:docMk/>
            <pc:sldMk cId="3439677884" sldId="2147473972"/>
            <ac:spMk id="915" creationId="{C46682F9-4921-D528-105C-93D9DB8E9740}"/>
          </ac:spMkLst>
        </pc:spChg>
        <pc:spChg chg="add del mod">
          <ac:chgData name="Steiner Andreas 6206 ED" userId="e6377c33-a923-4f14-8587-531c474c7b48" providerId="ADAL" clId="{6ECD27E6-B224-41CD-B4E0-E297462320DD}" dt="2023-11-24T11:37:38.003" v="132892"/>
          <ac:spMkLst>
            <pc:docMk/>
            <pc:sldMk cId="3439677884" sldId="2147473972"/>
            <ac:spMk id="916" creationId="{A72B5458-3EA5-5EA2-AFF2-024F872C073C}"/>
          </ac:spMkLst>
        </pc:spChg>
        <pc:spChg chg="add del mod">
          <ac:chgData name="Steiner Andreas 6206 ED" userId="e6377c33-a923-4f14-8587-531c474c7b48" providerId="ADAL" clId="{6ECD27E6-B224-41CD-B4E0-E297462320DD}" dt="2023-11-24T11:37:40.645" v="133047"/>
          <ac:spMkLst>
            <pc:docMk/>
            <pc:sldMk cId="3439677884" sldId="2147473972"/>
            <ac:spMk id="917" creationId="{1134C5D3-14FA-3362-D847-623A51075F6A}"/>
          </ac:spMkLst>
        </pc:spChg>
        <pc:spChg chg="add del mod">
          <ac:chgData name="Steiner Andreas 6206 ED" userId="e6377c33-a923-4f14-8587-531c474c7b48" providerId="ADAL" clId="{6ECD27E6-B224-41CD-B4E0-E297462320DD}" dt="2023-11-24T11:37:43.368" v="133202"/>
          <ac:spMkLst>
            <pc:docMk/>
            <pc:sldMk cId="3439677884" sldId="2147473972"/>
            <ac:spMk id="918" creationId="{50953ADE-7BAF-5987-F41E-1AFDAA0C25F8}"/>
          </ac:spMkLst>
        </pc:spChg>
        <pc:spChg chg="add del mod">
          <ac:chgData name="Steiner Andreas 6206 ED" userId="e6377c33-a923-4f14-8587-531c474c7b48" providerId="ADAL" clId="{6ECD27E6-B224-41CD-B4E0-E297462320DD}" dt="2023-11-24T11:37:47.458" v="133357"/>
          <ac:spMkLst>
            <pc:docMk/>
            <pc:sldMk cId="3439677884" sldId="2147473972"/>
            <ac:spMk id="919" creationId="{DD3FBC28-65E8-8AE2-90B5-F3B80B6102F7}"/>
          </ac:spMkLst>
        </pc:spChg>
        <pc:spChg chg="add del mod">
          <ac:chgData name="Steiner Andreas 6206 ED" userId="e6377c33-a923-4f14-8587-531c474c7b48" providerId="ADAL" clId="{6ECD27E6-B224-41CD-B4E0-E297462320DD}" dt="2023-11-24T11:37:50.544" v="133512"/>
          <ac:spMkLst>
            <pc:docMk/>
            <pc:sldMk cId="3439677884" sldId="2147473972"/>
            <ac:spMk id="920" creationId="{4EBDB9B1-609B-778A-1295-E0586D4D6AE0}"/>
          </ac:spMkLst>
        </pc:spChg>
        <pc:spChg chg="add del mod">
          <ac:chgData name="Steiner Andreas 6206 ED" userId="e6377c33-a923-4f14-8587-531c474c7b48" providerId="ADAL" clId="{6ECD27E6-B224-41CD-B4E0-E297462320DD}" dt="2023-11-24T11:37:53.837" v="133667"/>
          <ac:spMkLst>
            <pc:docMk/>
            <pc:sldMk cId="3439677884" sldId="2147473972"/>
            <ac:spMk id="921" creationId="{6C135499-D720-CDEA-4FB6-465CFB31E2A6}"/>
          </ac:spMkLst>
        </pc:spChg>
        <pc:spChg chg="add del mod">
          <ac:chgData name="Steiner Andreas 6206 ED" userId="e6377c33-a923-4f14-8587-531c474c7b48" providerId="ADAL" clId="{6ECD27E6-B224-41CD-B4E0-E297462320DD}" dt="2023-11-24T11:37:56.028" v="133822"/>
          <ac:spMkLst>
            <pc:docMk/>
            <pc:sldMk cId="3439677884" sldId="2147473972"/>
            <ac:spMk id="922" creationId="{E81307CB-77D7-F453-05F9-1FA1FFB0091F}"/>
          </ac:spMkLst>
        </pc:spChg>
        <pc:spChg chg="add del mod">
          <ac:chgData name="Steiner Andreas 6206 ED" userId="e6377c33-a923-4f14-8587-531c474c7b48" providerId="ADAL" clId="{6ECD27E6-B224-41CD-B4E0-E297462320DD}" dt="2023-11-24T11:37:58.776" v="133977"/>
          <ac:spMkLst>
            <pc:docMk/>
            <pc:sldMk cId="3439677884" sldId="2147473972"/>
            <ac:spMk id="923" creationId="{1C3C5E4A-1B87-A411-6DCA-5FFC954770E5}"/>
          </ac:spMkLst>
        </pc:spChg>
        <pc:spChg chg="add del mod">
          <ac:chgData name="Steiner Andreas 6206 ED" userId="e6377c33-a923-4f14-8587-531c474c7b48" providerId="ADAL" clId="{6ECD27E6-B224-41CD-B4E0-E297462320DD}" dt="2023-11-24T11:38:01.046" v="134132"/>
          <ac:spMkLst>
            <pc:docMk/>
            <pc:sldMk cId="3439677884" sldId="2147473972"/>
            <ac:spMk id="924" creationId="{829AB814-2F2F-A3C3-B6C5-BD9C474D011D}"/>
          </ac:spMkLst>
        </pc:spChg>
        <pc:spChg chg="add del mod">
          <ac:chgData name="Steiner Andreas 6206 ED" userId="e6377c33-a923-4f14-8587-531c474c7b48" providerId="ADAL" clId="{6ECD27E6-B224-41CD-B4E0-E297462320DD}" dt="2023-11-24T11:38:03.626" v="134287"/>
          <ac:spMkLst>
            <pc:docMk/>
            <pc:sldMk cId="3439677884" sldId="2147473972"/>
            <ac:spMk id="925" creationId="{4B25E2C5-98A1-6F0B-EBA3-F32C093CD8B6}"/>
          </ac:spMkLst>
        </pc:spChg>
        <pc:spChg chg="add del mod">
          <ac:chgData name="Steiner Andreas 6206 ED" userId="e6377c33-a923-4f14-8587-531c474c7b48" providerId="ADAL" clId="{6ECD27E6-B224-41CD-B4E0-E297462320DD}" dt="2023-11-24T11:38:05.914" v="134442"/>
          <ac:spMkLst>
            <pc:docMk/>
            <pc:sldMk cId="3439677884" sldId="2147473972"/>
            <ac:spMk id="926" creationId="{8DC11A20-73FE-915A-9AA5-C7DD9C19AE8B}"/>
          </ac:spMkLst>
        </pc:spChg>
        <pc:spChg chg="add del mod">
          <ac:chgData name="Steiner Andreas 6206 ED" userId="e6377c33-a923-4f14-8587-531c474c7b48" providerId="ADAL" clId="{6ECD27E6-B224-41CD-B4E0-E297462320DD}" dt="2023-11-24T11:38:08.710" v="134597"/>
          <ac:spMkLst>
            <pc:docMk/>
            <pc:sldMk cId="3439677884" sldId="2147473972"/>
            <ac:spMk id="927" creationId="{A1A3FAFD-CC5B-A1B5-15DB-1B3E0FFDABFF}"/>
          </ac:spMkLst>
        </pc:spChg>
        <pc:spChg chg="add del mod">
          <ac:chgData name="Steiner Andreas 6206 ED" userId="e6377c33-a923-4f14-8587-531c474c7b48" providerId="ADAL" clId="{6ECD27E6-B224-41CD-B4E0-E297462320DD}" dt="2023-11-24T11:38:11.664" v="134752"/>
          <ac:spMkLst>
            <pc:docMk/>
            <pc:sldMk cId="3439677884" sldId="2147473972"/>
            <ac:spMk id="928" creationId="{5C825119-33E7-1870-5816-EC288190CF24}"/>
          </ac:spMkLst>
        </pc:spChg>
        <pc:spChg chg="add del mod">
          <ac:chgData name="Steiner Andreas 6206 ED" userId="e6377c33-a923-4f14-8587-531c474c7b48" providerId="ADAL" clId="{6ECD27E6-B224-41CD-B4E0-E297462320DD}" dt="2023-11-24T11:38:13.874" v="134907"/>
          <ac:spMkLst>
            <pc:docMk/>
            <pc:sldMk cId="3439677884" sldId="2147473972"/>
            <ac:spMk id="929" creationId="{7BEAA17E-F06F-E87A-1BEB-AB5087DC0453}"/>
          </ac:spMkLst>
        </pc:spChg>
        <pc:spChg chg="add del mod">
          <ac:chgData name="Steiner Andreas 6206 ED" userId="e6377c33-a923-4f14-8587-531c474c7b48" providerId="ADAL" clId="{6ECD27E6-B224-41CD-B4E0-E297462320DD}" dt="2023-11-24T11:38:16.371" v="135062"/>
          <ac:spMkLst>
            <pc:docMk/>
            <pc:sldMk cId="3439677884" sldId="2147473972"/>
            <ac:spMk id="930" creationId="{B6B5FC82-24CA-FBE0-81BB-8D1D975AEC49}"/>
          </ac:spMkLst>
        </pc:spChg>
        <pc:spChg chg="add del mod">
          <ac:chgData name="Steiner Andreas 6206 ED" userId="e6377c33-a923-4f14-8587-531c474c7b48" providerId="ADAL" clId="{6ECD27E6-B224-41CD-B4E0-E297462320DD}" dt="2023-11-24T11:38:18.793" v="135217"/>
          <ac:spMkLst>
            <pc:docMk/>
            <pc:sldMk cId="3439677884" sldId="2147473972"/>
            <ac:spMk id="931" creationId="{AF23FC5D-A207-1FCA-EC4A-14C164896CE2}"/>
          </ac:spMkLst>
        </pc:spChg>
        <pc:spChg chg="add del mod">
          <ac:chgData name="Steiner Andreas 6206 ED" userId="e6377c33-a923-4f14-8587-531c474c7b48" providerId="ADAL" clId="{6ECD27E6-B224-41CD-B4E0-E297462320DD}" dt="2023-11-24T11:38:21.797" v="135372"/>
          <ac:spMkLst>
            <pc:docMk/>
            <pc:sldMk cId="3439677884" sldId="2147473972"/>
            <ac:spMk id="932" creationId="{59CFC85C-F34A-91CB-F50C-458B5FE60942}"/>
          </ac:spMkLst>
        </pc:spChg>
        <pc:spChg chg="add del mod">
          <ac:chgData name="Steiner Andreas 6206 ED" userId="e6377c33-a923-4f14-8587-531c474c7b48" providerId="ADAL" clId="{6ECD27E6-B224-41CD-B4E0-E297462320DD}" dt="2023-11-24T11:38:24.602" v="135527"/>
          <ac:spMkLst>
            <pc:docMk/>
            <pc:sldMk cId="3439677884" sldId="2147473972"/>
            <ac:spMk id="933" creationId="{103AB865-65DA-D518-DEBB-C17D7F737F2E}"/>
          </ac:spMkLst>
        </pc:spChg>
        <pc:spChg chg="add del mod">
          <ac:chgData name="Steiner Andreas 6206 ED" userId="e6377c33-a923-4f14-8587-531c474c7b48" providerId="ADAL" clId="{6ECD27E6-B224-41CD-B4E0-E297462320DD}" dt="2023-11-24T11:38:27.345" v="135682"/>
          <ac:spMkLst>
            <pc:docMk/>
            <pc:sldMk cId="3439677884" sldId="2147473972"/>
            <ac:spMk id="934" creationId="{5C603DFC-A69D-7FFF-BFF3-747E00E26AE4}"/>
          </ac:spMkLst>
        </pc:spChg>
        <pc:spChg chg="add del mod">
          <ac:chgData name="Steiner Andreas 6206 ED" userId="e6377c33-a923-4f14-8587-531c474c7b48" providerId="ADAL" clId="{6ECD27E6-B224-41CD-B4E0-E297462320DD}" dt="2023-11-24T11:38:29.939" v="135837"/>
          <ac:spMkLst>
            <pc:docMk/>
            <pc:sldMk cId="3439677884" sldId="2147473972"/>
            <ac:spMk id="935" creationId="{A6DF2CA3-5FA5-FF6E-9137-BCDDD5E7BC89}"/>
          </ac:spMkLst>
        </pc:spChg>
        <pc:spChg chg="add del mod">
          <ac:chgData name="Steiner Andreas 6206 ED" userId="e6377c33-a923-4f14-8587-531c474c7b48" providerId="ADAL" clId="{6ECD27E6-B224-41CD-B4E0-E297462320DD}" dt="2023-11-24T11:38:32.398" v="135992"/>
          <ac:spMkLst>
            <pc:docMk/>
            <pc:sldMk cId="3439677884" sldId="2147473972"/>
            <ac:spMk id="936" creationId="{831B5F42-CEB5-621A-5B09-2219EA15454E}"/>
          </ac:spMkLst>
        </pc:spChg>
        <pc:spChg chg="add del mod">
          <ac:chgData name="Steiner Andreas 6206 ED" userId="e6377c33-a923-4f14-8587-531c474c7b48" providerId="ADAL" clId="{6ECD27E6-B224-41CD-B4E0-E297462320DD}" dt="2023-11-24T11:38:34.901" v="136147"/>
          <ac:spMkLst>
            <pc:docMk/>
            <pc:sldMk cId="3439677884" sldId="2147473972"/>
            <ac:spMk id="937" creationId="{57ED6924-B63E-CAC5-BC04-EBD6A4DB2CE9}"/>
          </ac:spMkLst>
        </pc:spChg>
        <pc:spChg chg="add del mod">
          <ac:chgData name="Steiner Andreas 6206 ED" userId="e6377c33-a923-4f14-8587-531c474c7b48" providerId="ADAL" clId="{6ECD27E6-B224-41CD-B4E0-E297462320DD}" dt="2023-11-24T11:38:37.373" v="136302"/>
          <ac:spMkLst>
            <pc:docMk/>
            <pc:sldMk cId="3439677884" sldId="2147473972"/>
            <ac:spMk id="938" creationId="{55E5CFFD-18F7-7A74-A425-F3ABE29CFC5A}"/>
          </ac:spMkLst>
        </pc:spChg>
        <pc:spChg chg="add del mod">
          <ac:chgData name="Steiner Andreas 6206 ED" userId="e6377c33-a923-4f14-8587-531c474c7b48" providerId="ADAL" clId="{6ECD27E6-B224-41CD-B4E0-E297462320DD}" dt="2023-11-24T11:38:40.287" v="136457"/>
          <ac:spMkLst>
            <pc:docMk/>
            <pc:sldMk cId="3439677884" sldId="2147473972"/>
            <ac:spMk id="939" creationId="{6BF29189-52D0-40D8-52E7-8F713CB0C330}"/>
          </ac:spMkLst>
        </pc:spChg>
        <pc:spChg chg="add del mod">
          <ac:chgData name="Steiner Andreas 6206 ED" userId="e6377c33-a923-4f14-8587-531c474c7b48" providerId="ADAL" clId="{6ECD27E6-B224-41CD-B4E0-E297462320DD}" dt="2023-11-24T11:38:42.699" v="136612"/>
          <ac:spMkLst>
            <pc:docMk/>
            <pc:sldMk cId="3439677884" sldId="2147473972"/>
            <ac:spMk id="940" creationId="{ED58E8E8-F907-4FFD-57DA-B4267805F3AA}"/>
          </ac:spMkLst>
        </pc:spChg>
        <pc:spChg chg="add del mod">
          <ac:chgData name="Steiner Andreas 6206 ED" userId="e6377c33-a923-4f14-8587-531c474c7b48" providerId="ADAL" clId="{6ECD27E6-B224-41CD-B4E0-E297462320DD}" dt="2023-11-24T11:38:45.058" v="136767"/>
          <ac:spMkLst>
            <pc:docMk/>
            <pc:sldMk cId="3439677884" sldId="2147473972"/>
            <ac:spMk id="941" creationId="{243AE1A5-094C-A7CA-BA90-402F50CDC87E}"/>
          </ac:spMkLst>
        </pc:spChg>
        <pc:spChg chg="add del mod">
          <ac:chgData name="Steiner Andreas 6206 ED" userId="e6377c33-a923-4f14-8587-531c474c7b48" providerId="ADAL" clId="{6ECD27E6-B224-41CD-B4E0-E297462320DD}" dt="2023-11-24T11:38:47.388" v="136922"/>
          <ac:spMkLst>
            <pc:docMk/>
            <pc:sldMk cId="3439677884" sldId="2147473972"/>
            <ac:spMk id="942" creationId="{2F6353B2-F782-FE44-B967-95B276DAB41F}"/>
          </ac:spMkLst>
        </pc:spChg>
        <pc:spChg chg="add del mod">
          <ac:chgData name="Steiner Andreas 6206 ED" userId="e6377c33-a923-4f14-8587-531c474c7b48" providerId="ADAL" clId="{6ECD27E6-B224-41CD-B4E0-E297462320DD}" dt="2023-11-24T11:38:50.351" v="137077"/>
          <ac:spMkLst>
            <pc:docMk/>
            <pc:sldMk cId="3439677884" sldId="2147473972"/>
            <ac:spMk id="943" creationId="{9D35D842-972A-956C-1E68-35847EB6C5A9}"/>
          </ac:spMkLst>
        </pc:spChg>
        <pc:spChg chg="add del mod">
          <ac:chgData name="Steiner Andreas 6206 ED" userId="e6377c33-a923-4f14-8587-531c474c7b48" providerId="ADAL" clId="{6ECD27E6-B224-41CD-B4E0-E297462320DD}" dt="2023-11-24T11:38:52.878" v="137232"/>
          <ac:spMkLst>
            <pc:docMk/>
            <pc:sldMk cId="3439677884" sldId="2147473972"/>
            <ac:spMk id="944" creationId="{35CF561E-5FF2-091E-6C1E-0DD709AD1B9D}"/>
          </ac:spMkLst>
        </pc:spChg>
        <pc:spChg chg="add del mod">
          <ac:chgData name="Steiner Andreas 6206 ED" userId="e6377c33-a923-4f14-8587-531c474c7b48" providerId="ADAL" clId="{6ECD27E6-B224-41CD-B4E0-E297462320DD}" dt="2023-11-24T11:38:55.320" v="137387"/>
          <ac:spMkLst>
            <pc:docMk/>
            <pc:sldMk cId="3439677884" sldId="2147473972"/>
            <ac:spMk id="945" creationId="{E92CCAE4-9C7F-0207-EA4B-C3C11F94C46A}"/>
          </ac:spMkLst>
        </pc:spChg>
        <pc:spChg chg="add del mod">
          <ac:chgData name="Steiner Andreas 6206 ED" userId="e6377c33-a923-4f14-8587-531c474c7b48" providerId="ADAL" clId="{6ECD27E6-B224-41CD-B4E0-E297462320DD}" dt="2023-11-24T11:38:57.960" v="137542"/>
          <ac:spMkLst>
            <pc:docMk/>
            <pc:sldMk cId="3439677884" sldId="2147473972"/>
            <ac:spMk id="946" creationId="{0B674F76-3EAD-1765-913D-ED7457D2A51F}"/>
          </ac:spMkLst>
        </pc:spChg>
        <pc:spChg chg="add del mod">
          <ac:chgData name="Steiner Andreas 6206 ED" userId="e6377c33-a923-4f14-8587-531c474c7b48" providerId="ADAL" clId="{6ECD27E6-B224-41CD-B4E0-E297462320DD}" dt="2023-11-24T11:39:00.210" v="137697"/>
          <ac:spMkLst>
            <pc:docMk/>
            <pc:sldMk cId="3439677884" sldId="2147473972"/>
            <ac:spMk id="947" creationId="{DCB6AC1D-B17D-89F2-0F4D-E4A24C8A4B06}"/>
          </ac:spMkLst>
        </pc:spChg>
        <pc:spChg chg="add del mod">
          <ac:chgData name="Steiner Andreas 6206 ED" userId="e6377c33-a923-4f14-8587-531c474c7b48" providerId="ADAL" clId="{6ECD27E6-B224-41CD-B4E0-E297462320DD}" dt="2023-11-24T11:39:03.062" v="137852"/>
          <ac:spMkLst>
            <pc:docMk/>
            <pc:sldMk cId="3439677884" sldId="2147473972"/>
            <ac:spMk id="948" creationId="{484EFFC7-CECC-E374-133F-095E99C09D56}"/>
          </ac:spMkLst>
        </pc:spChg>
        <pc:spChg chg="add del mod">
          <ac:chgData name="Steiner Andreas 6206 ED" userId="e6377c33-a923-4f14-8587-531c474c7b48" providerId="ADAL" clId="{6ECD27E6-B224-41CD-B4E0-E297462320DD}" dt="2023-11-24T11:39:05.830" v="138007"/>
          <ac:spMkLst>
            <pc:docMk/>
            <pc:sldMk cId="3439677884" sldId="2147473972"/>
            <ac:spMk id="949" creationId="{05D3235B-0691-80C4-FC0E-12F26C1EC023}"/>
          </ac:spMkLst>
        </pc:spChg>
        <pc:spChg chg="add del mod">
          <ac:chgData name="Steiner Andreas 6206 ED" userId="e6377c33-a923-4f14-8587-531c474c7b48" providerId="ADAL" clId="{6ECD27E6-B224-41CD-B4E0-E297462320DD}" dt="2023-11-24T11:39:08.343" v="138162"/>
          <ac:spMkLst>
            <pc:docMk/>
            <pc:sldMk cId="3439677884" sldId="2147473972"/>
            <ac:spMk id="950" creationId="{71B64183-37C7-69C8-0CB8-9FAF575D8440}"/>
          </ac:spMkLst>
        </pc:spChg>
        <pc:spChg chg="add del mod">
          <ac:chgData name="Steiner Andreas 6206 ED" userId="e6377c33-a923-4f14-8587-531c474c7b48" providerId="ADAL" clId="{6ECD27E6-B224-41CD-B4E0-E297462320DD}" dt="2023-11-24T11:39:10.687" v="138317"/>
          <ac:spMkLst>
            <pc:docMk/>
            <pc:sldMk cId="3439677884" sldId="2147473972"/>
            <ac:spMk id="951" creationId="{EB450366-677D-A543-DD86-AC31003DEFEE}"/>
          </ac:spMkLst>
        </pc:spChg>
        <pc:spChg chg="add del mod">
          <ac:chgData name="Steiner Andreas 6206 ED" userId="e6377c33-a923-4f14-8587-531c474c7b48" providerId="ADAL" clId="{6ECD27E6-B224-41CD-B4E0-E297462320DD}" dt="2023-11-24T11:39:13.188" v="138472"/>
          <ac:spMkLst>
            <pc:docMk/>
            <pc:sldMk cId="3439677884" sldId="2147473972"/>
            <ac:spMk id="952" creationId="{19AE7787-5B6F-7B34-EC79-B13A670ED72B}"/>
          </ac:spMkLst>
        </pc:spChg>
        <pc:spChg chg="add del mod">
          <ac:chgData name="Steiner Andreas 6206 ED" userId="e6377c33-a923-4f14-8587-531c474c7b48" providerId="ADAL" clId="{6ECD27E6-B224-41CD-B4E0-E297462320DD}" dt="2023-11-24T11:39:15.884" v="138627"/>
          <ac:spMkLst>
            <pc:docMk/>
            <pc:sldMk cId="3439677884" sldId="2147473972"/>
            <ac:spMk id="953" creationId="{E7EECC0D-7827-708F-02B7-587E335C1BCD}"/>
          </ac:spMkLst>
        </pc:spChg>
        <pc:spChg chg="add del mod">
          <ac:chgData name="Steiner Andreas 6206 ED" userId="e6377c33-a923-4f14-8587-531c474c7b48" providerId="ADAL" clId="{6ECD27E6-B224-41CD-B4E0-E297462320DD}" dt="2023-11-24T11:39:18.723" v="138782"/>
          <ac:spMkLst>
            <pc:docMk/>
            <pc:sldMk cId="3439677884" sldId="2147473972"/>
            <ac:spMk id="954" creationId="{7157992E-49F5-7CCC-A279-F7517FA3F04D}"/>
          </ac:spMkLst>
        </pc:spChg>
        <pc:spChg chg="add del mod">
          <ac:chgData name="Steiner Andreas 6206 ED" userId="e6377c33-a923-4f14-8587-531c474c7b48" providerId="ADAL" clId="{6ECD27E6-B224-41CD-B4E0-E297462320DD}" dt="2023-11-24T11:39:21.350" v="138937"/>
          <ac:spMkLst>
            <pc:docMk/>
            <pc:sldMk cId="3439677884" sldId="2147473972"/>
            <ac:spMk id="955" creationId="{D784BA55-C37A-ECAD-A2FA-2A2D7CEE5D14}"/>
          </ac:spMkLst>
        </pc:spChg>
        <pc:spChg chg="add del mod">
          <ac:chgData name="Steiner Andreas 6206 ED" userId="e6377c33-a923-4f14-8587-531c474c7b48" providerId="ADAL" clId="{6ECD27E6-B224-41CD-B4E0-E297462320DD}" dt="2023-11-24T11:39:23.945" v="139092"/>
          <ac:spMkLst>
            <pc:docMk/>
            <pc:sldMk cId="3439677884" sldId="2147473972"/>
            <ac:spMk id="956" creationId="{DA45B8B9-2E4C-3E5B-EABD-B3C593A619D5}"/>
          </ac:spMkLst>
        </pc:spChg>
        <pc:spChg chg="add del mod">
          <ac:chgData name="Steiner Andreas 6206 ED" userId="e6377c33-a923-4f14-8587-531c474c7b48" providerId="ADAL" clId="{6ECD27E6-B224-41CD-B4E0-E297462320DD}" dt="2023-11-24T11:39:26.633" v="139247"/>
          <ac:spMkLst>
            <pc:docMk/>
            <pc:sldMk cId="3439677884" sldId="2147473972"/>
            <ac:spMk id="957" creationId="{99C324A0-0ED2-5508-505D-39C9BD9FA9A6}"/>
          </ac:spMkLst>
        </pc:spChg>
        <pc:spChg chg="add del mod">
          <ac:chgData name="Steiner Andreas 6206 ED" userId="e6377c33-a923-4f14-8587-531c474c7b48" providerId="ADAL" clId="{6ECD27E6-B224-41CD-B4E0-E297462320DD}" dt="2023-11-24T11:39:29.331" v="139402"/>
          <ac:spMkLst>
            <pc:docMk/>
            <pc:sldMk cId="3439677884" sldId="2147473972"/>
            <ac:spMk id="958" creationId="{EB29C96B-57D1-3074-461E-AD4FF2635D42}"/>
          </ac:spMkLst>
        </pc:spChg>
        <pc:spChg chg="add del mod">
          <ac:chgData name="Steiner Andreas 6206 ED" userId="e6377c33-a923-4f14-8587-531c474c7b48" providerId="ADAL" clId="{6ECD27E6-B224-41CD-B4E0-E297462320DD}" dt="2023-11-24T11:39:32.339" v="139557"/>
          <ac:spMkLst>
            <pc:docMk/>
            <pc:sldMk cId="3439677884" sldId="2147473972"/>
            <ac:spMk id="959" creationId="{31021D8E-DCF3-E465-55D1-D47BBA82F43E}"/>
          </ac:spMkLst>
        </pc:spChg>
        <pc:spChg chg="add del mod">
          <ac:chgData name="Steiner Andreas 6206 ED" userId="e6377c33-a923-4f14-8587-531c474c7b48" providerId="ADAL" clId="{6ECD27E6-B224-41CD-B4E0-E297462320DD}" dt="2023-11-24T11:39:35.044" v="139712"/>
          <ac:spMkLst>
            <pc:docMk/>
            <pc:sldMk cId="3439677884" sldId="2147473972"/>
            <ac:spMk id="960" creationId="{BE4EC0CE-5DD7-A0CC-612D-61BABFA38765}"/>
          </ac:spMkLst>
        </pc:spChg>
        <pc:spChg chg="add del mod">
          <ac:chgData name="Steiner Andreas 6206 ED" userId="e6377c33-a923-4f14-8587-531c474c7b48" providerId="ADAL" clId="{6ECD27E6-B224-41CD-B4E0-E297462320DD}" dt="2023-11-24T11:39:37.839" v="139867"/>
          <ac:spMkLst>
            <pc:docMk/>
            <pc:sldMk cId="3439677884" sldId="2147473972"/>
            <ac:spMk id="961" creationId="{A455DAB3-F938-F325-A0E2-55239E1FFEAC}"/>
          </ac:spMkLst>
        </pc:spChg>
        <pc:spChg chg="add del mod">
          <ac:chgData name="Steiner Andreas 6206 ED" userId="e6377c33-a923-4f14-8587-531c474c7b48" providerId="ADAL" clId="{6ECD27E6-B224-41CD-B4E0-E297462320DD}" dt="2023-11-24T11:39:40.668" v="140022"/>
          <ac:spMkLst>
            <pc:docMk/>
            <pc:sldMk cId="3439677884" sldId="2147473972"/>
            <ac:spMk id="962" creationId="{C79CD58E-E8E1-3A36-79B3-47BD8E1205C7}"/>
          </ac:spMkLst>
        </pc:spChg>
        <pc:spChg chg="add del mod">
          <ac:chgData name="Steiner Andreas 6206 ED" userId="e6377c33-a923-4f14-8587-531c474c7b48" providerId="ADAL" clId="{6ECD27E6-B224-41CD-B4E0-E297462320DD}" dt="2023-11-24T11:39:43.228" v="140177"/>
          <ac:spMkLst>
            <pc:docMk/>
            <pc:sldMk cId="3439677884" sldId="2147473972"/>
            <ac:spMk id="963" creationId="{A9717F92-0C6A-8BEA-6BB0-A245A20E5FB0}"/>
          </ac:spMkLst>
        </pc:spChg>
        <pc:spChg chg="add del mod">
          <ac:chgData name="Steiner Andreas 6206 ED" userId="e6377c33-a923-4f14-8587-531c474c7b48" providerId="ADAL" clId="{6ECD27E6-B224-41CD-B4E0-E297462320DD}" dt="2023-11-24T11:39:45.918" v="140332"/>
          <ac:spMkLst>
            <pc:docMk/>
            <pc:sldMk cId="3439677884" sldId="2147473972"/>
            <ac:spMk id="964" creationId="{9A29894F-9D16-CA1A-EB9C-BB274F52F7F0}"/>
          </ac:spMkLst>
        </pc:spChg>
        <pc:spChg chg="add del mod">
          <ac:chgData name="Steiner Andreas 6206 ED" userId="e6377c33-a923-4f14-8587-531c474c7b48" providerId="ADAL" clId="{6ECD27E6-B224-41CD-B4E0-E297462320DD}" dt="2023-11-24T11:39:48.320" v="140487"/>
          <ac:spMkLst>
            <pc:docMk/>
            <pc:sldMk cId="3439677884" sldId="2147473972"/>
            <ac:spMk id="965" creationId="{FA5BE2E3-7370-825C-2D1E-C8A5616E6E29}"/>
          </ac:spMkLst>
        </pc:spChg>
        <pc:spChg chg="add del mod">
          <ac:chgData name="Steiner Andreas 6206 ED" userId="e6377c33-a923-4f14-8587-531c474c7b48" providerId="ADAL" clId="{6ECD27E6-B224-41CD-B4E0-E297462320DD}" dt="2023-11-24T11:39:51.288" v="140642"/>
          <ac:spMkLst>
            <pc:docMk/>
            <pc:sldMk cId="3439677884" sldId="2147473972"/>
            <ac:spMk id="966" creationId="{409DD819-F86B-1FF0-CDC0-0FC401C607A1}"/>
          </ac:spMkLst>
        </pc:spChg>
        <pc:spChg chg="add del mod">
          <ac:chgData name="Steiner Andreas 6206 ED" userId="e6377c33-a923-4f14-8587-531c474c7b48" providerId="ADAL" clId="{6ECD27E6-B224-41CD-B4E0-E297462320DD}" dt="2023-11-24T11:39:54.221" v="140797"/>
          <ac:spMkLst>
            <pc:docMk/>
            <pc:sldMk cId="3439677884" sldId="2147473972"/>
            <ac:spMk id="967" creationId="{7F9A687B-9FD8-8BAD-C86B-B258156B4C0A}"/>
          </ac:spMkLst>
        </pc:spChg>
        <pc:spChg chg="add del mod">
          <ac:chgData name="Steiner Andreas 6206 ED" userId="e6377c33-a923-4f14-8587-531c474c7b48" providerId="ADAL" clId="{6ECD27E6-B224-41CD-B4E0-E297462320DD}" dt="2023-11-24T11:39:56.745" v="140952"/>
          <ac:spMkLst>
            <pc:docMk/>
            <pc:sldMk cId="3439677884" sldId="2147473972"/>
            <ac:spMk id="968" creationId="{E80C75C4-7A38-6560-5676-DA711980AD8A}"/>
          </ac:spMkLst>
        </pc:spChg>
        <pc:spChg chg="add del mod">
          <ac:chgData name="Steiner Andreas 6206 ED" userId="e6377c33-a923-4f14-8587-531c474c7b48" providerId="ADAL" clId="{6ECD27E6-B224-41CD-B4E0-E297462320DD}" dt="2023-11-24T11:39:59.103" v="141107"/>
          <ac:spMkLst>
            <pc:docMk/>
            <pc:sldMk cId="3439677884" sldId="2147473972"/>
            <ac:spMk id="969" creationId="{7CE2D30D-5FAB-8A60-0E09-D7B009087728}"/>
          </ac:spMkLst>
        </pc:spChg>
        <pc:spChg chg="add del mod">
          <ac:chgData name="Steiner Andreas 6206 ED" userId="e6377c33-a923-4f14-8587-531c474c7b48" providerId="ADAL" clId="{6ECD27E6-B224-41CD-B4E0-E297462320DD}" dt="2023-11-24T11:40:01.711" v="141262"/>
          <ac:spMkLst>
            <pc:docMk/>
            <pc:sldMk cId="3439677884" sldId="2147473972"/>
            <ac:spMk id="970" creationId="{29239E8B-FB81-4E4D-E695-2A3CDD348317}"/>
          </ac:spMkLst>
        </pc:spChg>
        <pc:spChg chg="add del mod">
          <ac:chgData name="Steiner Andreas 6206 ED" userId="e6377c33-a923-4f14-8587-531c474c7b48" providerId="ADAL" clId="{6ECD27E6-B224-41CD-B4E0-E297462320DD}" dt="2023-11-24T11:40:04.671" v="141417"/>
          <ac:spMkLst>
            <pc:docMk/>
            <pc:sldMk cId="3439677884" sldId="2147473972"/>
            <ac:spMk id="971" creationId="{10123CF6-70FC-2A3F-89B5-2F5A2CFD6E10}"/>
          </ac:spMkLst>
        </pc:spChg>
        <pc:spChg chg="add del mod">
          <ac:chgData name="Steiner Andreas 6206 ED" userId="e6377c33-a923-4f14-8587-531c474c7b48" providerId="ADAL" clId="{6ECD27E6-B224-41CD-B4E0-E297462320DD}" dt="2023-11-24T11:40:07.430" v="141572"/>
          <ac:spMkLst>
            <pc:docMk/>
            <pc:sldMk cId="3439677884" sldId="2147473972"/>
            <ac:spMk id="972" creationId="{19DB5F4D-4839-D15A-FB5B-857F1AE3BED4}"/>
          </ac:spMkLst>
        </pc:spChg>
        <pc:spChg chg="add del mod">
          <ac:chgData name="Steiner Andreas 6206 ED" userId="e6377c33-a923-4f14-8587-531c474c7b48" providerId="ADAL" clId="{6ECD27E6-B224-41CD-B4E0-E297462320DD}" dt="2023-11-24T11:40:09.892" v="141727"/>
          <ac:spMkLst>
            <pc:docMk/>
            <pc:sldMk cId="3439677884" sldId="2147473972"/>
            <ac:spMk id="973" creationId="{28B53083-55EF-B714-CCB9-96942382368E}"/>
          </ac:spMkLst>
        </pc:spChg>
        <pc:spChg chg="add del mod">
          <ac:chgData name="Steiner Andreas 6206 ED" userId="e6377c33-a923-4f14-8587-531c474c7b48" providerId="ADAL" clId="{6ECD27E6-B224-41CD-B4E0-E297462320DD}" dt="2023-11-24T11:40:12.348" v="141882"/>
          <ac:spMkLst>
            <pc:docMk/>
            <pc:sldMk cId="3439677884" sldId="2147473972"/>
            <ac:spMk id="974" creationId="{A3ECC605-D8D8-D79A-C160-7596BF104193}"/>
          </ac:spMkLst>
        </pc:spChg>
        <pc:spChg chg="add del mod">
          <ac:chgData name="Steiner Andreas 6206 ED" userId="e6377c33-a923-4f14-8587-531c474c7b48" providerId="ADAL" clId="{6ECD27E6-B224-41CD-B4E0-E297462320DD}" dt="2023-11-24T11:40:15.704" v="142037"/>
          <ac:spMkLst>
            <pc:docMk/>
            <pc:sldMk cId="3439677884" sldId="2147473972"/>
            <ac:spMk id="975" creationId="{339C73AB-BB5B-356A-D1AB-9B14F6BC47F7}"/>
          </ac:spMkLst>
        </pc:spChg>
        <pc:spChg chg="add del mod">
          <ac:chgData name="Steiner Andreas 6206 ED" userId="e6377c33-a923-4f14-8587-531c474c7b48" providerId="ADAL" clId="{6ECD27E6-B224-41CD-B4E0-E297462320DD}" dt="2023-11-24T11:40:19.283" v="142192"/>
          <ac:spMkLst>
            <pc:docMk/>
            <pc:sldMk cId="3439677884" sldId="2147473972"/>
            <ac:spMk id="976" creationId="{2654EF84-CD7F-820A-4F2F-36E1F80C91D8}"/>
          </ac:spMkLst>
        </pc:spChg>
        <pc:spChg chg="add del mod">
          <ac:chgData name="Steiner Andreas 6206 ED" userId="e6377c33-a923-4f14-8587-531c474c7b48" providerId="ADAL" clId="{6ECD27E6-B224-41CD-B4E0-E297462320DD}" dt="2023-11-24T11:40:22.218" v="142347"/>
          <ac:spMkLst>
            <pc:docMk/>
            <pc:sldMk cId="3439677884" sldId="2147473972"/>
            <ac:spMk id="977" creationId="{FEAE7F58-807F-9243-19FF-7323AEEB354C}"/>
          </ac:spMkLst>
        </pc:spChg>
        <pc:spChg chg="add del mod">
          <ac:chgData name="Steiner Andreas 6206 ED" userId="e6377c33-a923-4f14-8587-531c474c7b48" providerId="ADAL" clId="{6ECD27E6-B224-41CD-B4E0-E297462320DD}" dt="2023-11-24T11:40:24.902" v="142502"/>
          <ac:spMkLst>
            <pc:docMk/>
            <pc:sldMk cId="3439677884" sldId="2147473972"/>
            <ac:spMk id="978" creationId="{7B3CD83B-2748-D73C-B40F-1AD8830FEFB9}"/>
          </ac:spMkLst>
        </pc:spChg>
        <pc:spChg chg="add del mod">
          <ac:chgData name="Steiner Andreas 6206 ED" userId="e6377c33-a923-4f14-8587-531c474c7b48" providerId="ADAL" clId="{6ECD27E6-B224-41CD-B4E0-E297462320DD}" dt="2023-11-24T11:40:27.908" v="142657"/>
          <ac:spMkLst>
            <pc:docMk/>
            <pc:sldMk cId="3439677884" sldId="2147473972"/>
            <ac:spMk id="979" creationId="{045DE214-C7B5-114A-2D53-ECC85ECAD908}"/>
          </ac:spMkLst>
        </pc:spChg>
        <pc:spChg chg="add del mod">
          <ac:chgData name="Steiner Andreas 6206 ED" userId="e6377c33-a923-4f14-8587-531c474c7b48" providerId="ADAL" clId="{6ECD27E6-B224-41CD-B4E0-E297462320DD}" dt="2023-11-24T11:40:30.733" v="142812"/>
          <ac:spMkLst>
            <pc:docMk/>
            <pc:sldMk cId="3439677884" sldId="2147473972"/>
            <ac:spMk id="980" creationId="{E040430B-E6E1-E577-A387-74D853DAFEB2}"/>
          </ac:spMkLst>
        </pc:spChg>
        <pc:spChg chg="add del mod">
          <ac:chgData name="Steiner Andreas 6206 ED" userId="e6377c33-a923-4f14-8587-531c474c7b48" providerId="ADAL" clId="{6ECD27E6-B224-41CD-B4E0-E297462320DD}" dt="2023-11-24T11:40:33.243" v="142967"/>
          <ac:spMkLst>
            <pc:docMk/>
            <pc:sldMk cId="3439677884" sldId="2147473972"/>
            <ac:spMk id="981" creationId="{DA886E82-87E6-75B0-5BA8-30D3FDF52D36}"/>
          </ac:spMkLst>
        </pc:spChg>
        <pc:spChg chg="add del mod">
          <ac:chgData name="Steiner Andreas 6206 ED" userId="e6377c33-a923-4f14-8587-531c474c7b48" providerId="ADAL" clId="{6ECD27E6-B224-41CD-B4E0-E297462320DD}" dt="2023-11-24T11:40:35.806" v="143122"/>
          <ac:spMkLst>
            <pc:docMk/>
            <pc:sldMk cId="3439677884" sldId="2147473972"/>
            <ac:spMk id="982" creationId="{CC249421-76FC-2F25-91B6-F428932AA6E2}"/>
          </ac:spMkLst>
        </pc:spChg>
        <pc:spChg chg="add del mod">
          <ac:chgData name="Steiner Andreas 6206 ED" userId="e6377c33-a923-4f14-8587-531c474c7b48" providerId="ADAL" clId="{6ECD27E6-B224-41CD-B4E0-E297462320DD}" dt="2023-11-24T11:40:38.914" v="143277"/>
          <ac:spMkLst>
            <pc:docMk/>
            <pc:sldMk cId="3439677884" sldId="2147473972"/>
            <ac:spMk id="983" creationId="{D2F86423-558F-E21F-EB8D-D6A422708F32}"/>
          </ac:spMkLst>
        </pc:spChg>
        <pc:spChg chg="add del mod">
          <ac:chgData name="Steiner Andreas 6206 ED" userId="e6377c33-a923-4f14-8587-531c474c7b48" providerId="ADAL" clId="{6ECD27E6-B224-41CD-B4E0-E297462320DD}" dt="2023-11-24T11:40:41.945" v="143432"/>
          <ac:spMkLst>
            <pc:docMk/>
            <pc:sldMk cId="3439677884" sldId="2147473972"/>
            <ac:spMk id="984" creationId="{7E5A9904-6ADD-12C2-9D32-81A1621D6234}"/>
          </ac:spMkLst>
        </pc:spChg>
        <pc:spChg chg="add del mod">
          <ac:chgData name="Steiner Andreas 6206 ED" userId="e6377c33-a923-4f14-8587-531c474c7b48" providerId="ADAL" clId="{6ECD27E6-B224-41CD-B4E0-E297462320DD}" dt="2023-11-24T11:40:44.649" v="143587"/>
          <ac:spMkLst>
            <pc:docMk/>
            <pc:sldMk cId="3439677884" sldId="2147473972"/>
            <ac:spMk id="985" creationId="{F828D6C8-F48D-1863-D106-35C094EAA39B}"/>
          </ac:spMkLst>
        </pc:spChg>
        <pc:spChg chg="add del mod">
          <ac:chgData name="Steiner Andreas 6206 ED" userId="e6377c33-a923-4f14-8587-531c474c7b48" providerId="ADAL" clId="{6ECD27E6-B224-41CD-B4E0-E297462320DD}" dt="2023-11-24T11:40:47.423" v="143742"/>
          <ac:spMkLst>
            <pc:docMk/>
            <pc:sldMk cId="3439677884" sldId="2147473972"/>
            <ac:spMk id="986" creationId="{10E94736-0629-5F0E-C5F3-EEBE3D876800}"/>
          </ac:spMkLst>
        </pc:spChg>
        <pc:spChg chg="add del mod">
          <ac:chgData name="Steiner Andreas 6206 ED" userId="e6377c33-a923-4f14-8587-531c474c7b48" providerId="ADAL" clId="{6ECD27E6-B224-41CD-B4E0-E297462320DD}" dt="2023-11-24T11:40:50.221" v="143897"/>
          <ac:spMkLst>
            <pc:docMk/>
            <pc:sldMk cId="3439677884" sldId="2147473972"/>
            <ac:spMk id="987" creationId="{4559C42C-7602-173F-4F24-C60A82D5D638}"/>
          </ac:spMkLst>
        </pc:spChg>
        <pc:spChg chg="add del mod">
          <ac:chgData name="Steiner Andreas 6206 ED" userId="e6377c33-a923-4f14-8587-531c474c7b48" providerId="ADAL" clId="{6ECD27E6-B224-41CD-B4E0-E297462320DD}" dt="2023-11-24T11:40:53.058" v="144052"/>
          <ac:spMkLst>
            <pc:docMk/>
            <pc:sldMk cId="3439677884" sldId="2147473972"/>
            <ac:spMk id="988" creationId="{D486F784-F064-97C2-3862-DB07E90E9099}"/>
          </ac:spMkLst>
        </pc:spChg>
        <pc:spChg chg="add del mod">
          <ac:chgData name="Steiner Andreas 6206 ED" userId="e6377c33-a923-4f14-8587-531c474c7b48" providerId="ADAL" clId="{6ECD27E6-B224-41CD-B4E0-E297462320DD}" dt="2023-11-24T11:40:55.669" v="144207"/>
          <ac:spMkLst>
            <pc:docMk/>
            <pc:sldMk cId="3439677884" sldId="2147473972"/>
            <ac:spMk id="989" creationId="{EDDA8396-1827-CE71-30F0-48FD30F9C07B}"/>
          </ac:spMkLst>
        </pc:spChg>
        <pc:spChg chg="add del mod">
          <ac:chgData name="Steiner Andreas 6206 ED" userId="e6377c33-a923-4f14-8587-531c474c7b48" providerId="ADAL" clId="{6ECD27E6-B224-41CD-B4E0-E297462320DD}" dt="2023-11-24T11:40:58.304" v="144362"/>
          <ac:spMkLst>
            <pc:docMk/>
            <pc:sldMk cId="3439677884" sldId="2147473972"/>
            <ac:spMk id="990" creationId="{9355239C-86E0-5434-948D-C34D57F5201E}"/>
          </ac:spMkLst>
        </pc:spChg>
        <pc:spChg chg="add del mod">
          <ac:chgData name="Steiner Andreas 6206 ED" userId="e6377c33-a923-4f14-8587-531c474c7b48" providerId="ADAL" clId="{6ECD27E6-B224-41CD-B4E0-E297462320DD}" dt="2023-11-24T11:41:00.934" v="144517"/>
          <ac:spMkLst>
            <pc:docMk/>
            <pc:sldMk cId="3439677884" sldId="2147473972"/>
            <ac:spMk id="991" creationId="{8B5CEEDB-DD63-6437-DB62-1B5F56C01ED8}"/>
          </ac:spMkLst>
        </pc:spChg>
        <pc:spChg chg="add del mod">
          <ac:chgData name="Steiner Andreas 6206 ED" userId="e6377c33-a923-4f14-8587-531c474c7b48" providerId="ADAL" clId="{6ECD27E6-B224-41CD-B4E0-E297462320DD}" dt="2023-11-24T11:41:03.421" v="144672"/>
          <ac:spMkLst>
            <pc:docMk/>
            <pc:sldMk cId="3439677884" sldId="2147473972"/>
            <ac:spMk id="992" creationId="{C68EAF34-8ABC-394F-A079-CEC4EF3B0060}"/>
          </ac:spMkLst>
        </pc:spChg>
        <pc:spChg chg="add del mod">
          <ac:chgData name="Steiner Andreas 6206 ED" userId="e6377c33-a923-4f14-8587-531c474c7b48" providerId="ADAL" clId="{6ECD27E6-B224-41CD-B4E0-E297462320DD}" dt="2023-11-24T11:41:06.702" v="144827"/>
          <ac:spMkLst>
            <pc:docMk/>
            <pc:sldMk cId="3439677884" sldId="2147473972"/>
            <ac:spMk id="993" creationId="{E09BEA82-84A4-E95B-2B3B-E813D893CEBC}"/>
          </ac:spMkLst>
        </pc:spChg>
        <pc:spChg chg="add del mod">
          <ac:chgData name="Steiner Andreas 6206 ED" userId="e6377c33-a923-4f14-8587-531c474c7b48" providerId="ADAL" clId="{6ECD27E6-B224-41CD-B4E0-E297462320DD}" dt="2023-11-24T11:41:09.731" v="144982"/>
          <ac:spMkLst>
            <pc:docMk/>
            <pc:sldMk cId="3439677884" sldId="2147473972"/>
            <ac:spMk id="994" creationId="{F6259000-D572-C120-D521-D222EE3FD179}"/>
          </ac:spMkLst>
        </pc:spChg>
        <pc:spChg chg="add del mod">
          <ac:chgData name="Steiner Andreas 6206 ED" userId="e6377c33-a923-4f14-8587-531c474c7b48" providerId="ADAL" clId="{6ECD27E6-B224-41CD-B4E0-E297462320DD}" dt="2023-11-24T11:41:12.575" v="145137"/>
          <ac:spMkLst>
            <pc:docMk/>
            <pc:sldMk cId="3439677884" sldId="2147473972"/>
            <ac:spMk id="995" creationId="{68315163-B4F4-4CAB-63AA-384FD872CB24}"/>
          </ac:spMkLst>
        </pc:spChg>
        <pc:spChg chg="add del mod">
          <ac:chgData name="Steiner Andreas 6206 ED" userId="e6377c33-a923-4f14-8587-531c474c7b48" providerId="ADAL" clId="{6ECD27E6-B224-41CD-B4E0-E297462320DD}" dt="2023-11-24T11:41:15.524" v="145292"/>
          <ac:spMkLst>
            <pc:docMk/>
            <pc:sldMk cId="3439677884" sldId="2147473972"/>
            <ac:spMk id="996" creationId="{4F1C9690-B9A0-6F2A-FF7D-B9D8E373EC40}"/>
          </ac:spMkLst>
        </pc:spChg>
        <pc:spChg chg="add del mod">
          <ac:chgData name="Steiner Andreas 6206 ED" userId="e6377c33-a923-4f14-8587-531c474c7b48" providerId="ADAL" clId="{6ECD27E6-B224-41CD-B4E0-E297462320DD}" dt="2023-11-24T11:41:18.813" v="145447"/>
          <ac:spMkLst>
            <pc:docMk/>
            <pc:sldMk cId="3439677884" sldId="2147473972"/>
            <ac:spMk id="997" creationId="{665118C6-571E-4743-1C75-0BCCB766A849}"/>
          </ac:spMkLst>
        </pc:spChg>
        <pc:spChg chg="add del mod">
          <ac:chgData name="Steiner Andreas 6206 ED" userId="e6377c33-a923-4f14-8587-531c474c7b48" providerId="ADAL" clId="{6ECD27E6-B224-41CD-B4E0-E297462320DD}" dt="2023-11-24T11:41:21.481" v="145602"/>
          <ac:spMkLst>
            <pc:docMk/>
            <pc:sldMk cId="3439677884" sldId="2147473972"/>
            <ac:spMk id="998" creationId="{BCB25B4B-BD30-952F-01E0-EE7937C87F9E}"/>
          </ac:spMkLst>
        </pc:spChg>
        <pc:spChg chg="add del mod">
          <ac:chgData name="Steiner Andreas 6206 ED" userId="e6377c33-a923-4f14-8587-531c474c7b48" providerId="ADAL" clId="{6ECD27E6-B224-41CD-B4E0-E297462320DD}" dt="2023-11-24T11:41:25.267" v="145757"/>
          <ac:spMkLst>
            <pc:docMk/>
            <pc:sldMk cId="3439677884" sldId="2147473972"/>
            <ac:spMk id="999" creationId="{1AFF7DE5-4962-A1C7-F7AE-AF5DFEC7D87C}"/>
          </ac:spMkLst>
        </pc:spChg>
        <pc:spChg chg="add del mod">
          <ac:chgData name="Steiner Andreas 6206 ED" userId="e6377c33-a923-4f14-8587-531c474c7b48" providerId="ADAL" clId="{6ECD27E6-B224-41CD-B4E0-E297462320DD}" dt="2023-11-24T11:41:28.203" v="145912"/>
          <ac:spMkLst>
            <pc:docMk/>
            <pc:sldMk cId="3439677884" sldId="2147473972"/>
            <ac:spMk id="1000" creationId="{52ACA725-5688-0C7E-C21F-1F6AB5588A63}"/>
          </ac:spMkLst>
        </pc:spChg>
        <pc:spChg chg="add del mod">
          <ac:chgData name="Steiner Andreas 6206 ED" userId="e6377c33-a923-4f14-8587-531c474c7b48" providerId="ADAL" clId="{6ECD27E6-B224-41CD-B4E0-E297462320DD}" dt="2023-11-24T11:41:31.117" v="146067"/>
          <ac:spMkLst>
            <pc:docMk/>
            <pc:sldMk cId="3439677884" sldId="2147473972"/>
            <ac:spMk id="1001" creationId="{AF2387A2-DF3A-D521-5EAE-7E015C06A6B3}"/>
          </ac:spMkLst>
        </pc:spChg>
        <pc:spChg chg="add del mod">
          <ac:chgData name="Steiner Andreas 6206 ED" userId="e6377c33-a923-4f14-8587-531c474c7b48" providerId="ADAL" clId="{6ECD27E6-B224-41CD-B4E0-E297462320DD}" dt="2023-11-24T11:41:33.329" v="146222"/>
          <ac:spMkLst>
            <pc:docMk/>
            <pc:sldMk cId="3439677884" sldId="2147473972"/>
            <ac:spMk id="1002" creationId="{08A4E1A3-3D86-FAC9-399A-CE6F5A42EE8F}"/>
          </ac:spMkLst>
        </pc:spChg>
        <pc:spChg chg="add del mod">
          <ac:chgData name="Steiner Andreas 6206 ED" userId="e6377c33-a923-4f14-8587-531c474c7b48" providerId="ADAL" clId="{6ECD27E6-B224-41CD-B4E0-E297462320DD}" dt="2023-11-24T11:41:35.449" v="146377"/>
          <ac:spMkLst>
            <pc:docMk/>
            <pc:sldMk cId="3439677884" sldId="2147473972"/>
            <ac:spMk id="1003" creationId="{70D78874-8B2F-A7C4-07A7-FB48D075628F}"/>
          </ac:spMkLst>
        </pc:spChg>
        <pc:spChg chg="add del mod">
          <ac:chgData name="Steiner Andreas 6206 ED" userId="e6377c33-a923-4f14-8587-531c474c7b48" providerId="ADAL" clId="{6ECD27E6-B224-41CD-B4E0-E297462320DD}" dt="2023-11-24T11:41:37.633" v="146532"/>
          <ac:spMkLst>
            <pc:docMk/>
            <pc:sldMk cId="3439677884" sldId="2147473972"/>
            <ac:spMk id="1004" creationId="{50D5D7B8-CAD0-7682-D653-05EC1D214B52}"/>
          </ac:spMkLst>
        </pc:spChg>
        <pc:spChg chg="add del mod">
          <ac:chgData name="Steiner Andreas 6206 ED" userId="e6377c33-a923-4f14-8587-531c474c7b48" providerId="ADAL" clId="{6ECD27E6-B224-41CD-B4E0-E297462320DD}" dt="2023-11-24T11:41:40.164" v="146687"/>
          <ac:spMkLst>
            <pc:docMk/>
            <pc:sldMk cId="3439677884" sldId="2147473972"/>
            <ac:spMk id="1005" creationId="{323A6FE0-42E4-C0C6-32D0-0909F848715F}"/>
          </ac:spMkLst>
        </pc:spChg>
        <pc:spChg chg="add del mod">
          <ac:chgData name="Steiner Andreas 6206 ED" userId="e6377c33-a923-4f14-8587-531c474c7b48" providerId="ADAL" clId="{6ECD27E6-B224-41CD-B4E0-E297462320DD}" dt="2023-11-24T11:41:42.594" v="146842"/>
          <ac:spMkLst>
            <pc:docMk/>
            <pc:sldMk cId="3439677884" sldId="2147473972"/>
            <ac:spMk id="1006" creationId="{A09AE7ED-52B0-337E-A3DF-16EBE2F86C2B}"/>
          </ac:spMkLst>
        </pc:spChg>
        <pc:spChg chg="add del mod">
          <ac:chgData name="Steiner Andreas 6206 ED" userId="e6377c33-a923-4f14-8587-531c474c7b48" providerId="ADAL" clId="{6ECD27E6-B224-41CD-B4E0-E297462320DD}" dt="2023-11-24T11:41:44.674" v="146997"/>
          <ac:spMkLst>
            <pc:docMk/>
            <pc:sldMk cId="3439677884" sldId="2147473972"/>
            <ac:spMk id="1007" creationId="{E3FC845E-CF0B-F254-B1DA-6DF1122A458D}"/>
          </ac:spMkLst>
        </pc:spChg>
        <pc:spChg chg="add del mod">
          <ac:chgData name="Steiner Andreas 6206 ED" userId="e6377c33-a923-4f14-8587-531c474c7b48" providerId="ADAL" clId="{6ECD27E6-B224-41CD-B4E0-E297462320DD}" dt="2023-11-24T11:41:47.049" v="147152"/>
          <ac:spMkLst>
            <pc:docMk/>
            <pc:sldMk cId="3439677884" sldId="2147473972"/>
            <ac:spMk id="1008" creationId="{E780C980-F7FE-F2DD-70C8-EA7D429E3576}"/>
          </ac:spMkLst>
        </pc:spChg>
        <pc:spChg chg="add del mod">
          <ac:chgData name="Steiner Andreas 6206 ED" userId="e6377c33-a923-4f14-8587-531c474c7b48" providerId="ADAL" clId="{6ECD27E6-B224-41CD-B4E0-E297462320DD}" dt="2023-11-24T11:41:49.187" v="147307"/>
          <ac:spMkLst>
            <pc:docMk/>
            <pc:sldMk cId="3439677884" sldId="2147473972"/>
            <ac:spMk id="1009" creationId="{116CAD37-2DF9-6E3B-E586-0E34C4F93FDD}"/>
          </ac:spMkLst>
        </pc:spChg>
        <pc:spChg chg="add del mod">
          <ac:chgData name="Steiner Andreas 6206 ED" userId="e6377c33-a923-4f14-8587-531c474c7b48" providerId="ADAL" clId="{6ECD27E6-B224-41CD-B4E0-E297462320DD}" dt="2023-11-24T11:41:51.565" v="147462"/>
          <ac:spMkLst>
            <pc:docMk/>
            <pc:sldMk cId="3439677884" sldId="2147473972"/>
            <ac:spMk id="1010" creationId="{0F8B9137-5174-1F9C-DE9A-C583A35AE0F3}"/>
          </ac:spMkLst>
        </pc:spChg>
        <pc:spChg chg="add del mod">
          <ac:chgData name="Steiner Andreas 6206 ED" userId="e6377c33-a923-4f14-8587-531c474c7b48" providerId="ADAL" clId="{6ECD27E6-B224-41CD-B4E0-E297462320DD}" dt="2023-11-24T11:41:54.018" v="147617"/>
          <ac:spMkLst>
            <pc:docMk/>
            <pc:sldMk cId="3439677884" sldId="2147473972"/>
            <ac:spMk id="1011" creationId="{C3A040DC-E196-302F-196B-C5491B77558D}"/>
          </ac:spMkLst>
        </pc:spChg>
        <pc:spChg chg="add del mod">
          <ac:chgData name="Steiner Andreas 6206 ED" userId="e6377c33-a923-4f14-8587-531c474c7b48" providerId="ADAL" clId="{6ECD27E6-B224-41CD-B4E0-E297462320DD}" dt="2023-11-24T11:41:56.806" v="147772"/>
          <ac:spMkLst>
            <pc:docMk/>
            <pc:sldMk cId="3439677884" sldId="2147473972"/>
            <ac:spMk id="1012" creationId="{C058918A-51B0-A1A7-F6FA-E532E58D85E2}"/>
          </ac:spMkLst>
        </pc:spChg>
        <pc:spChg chg="add del mod">
          <ac:chgData name="Steiner Andreas 6206 ED" userId="e6377c33-a923-4f14-8587-531c474c7b48" providerId="ADAL" clId="{6ECD27E6-B224-41CD-B4E0-E297462320DD}" dt="2023-11-24T11:42:00.268" v="147927"/>
          <ac:spMkLst>
            <pc:docMk/>
            <pc:sldMk cId="3439677884" sldId="2147473972"/>
            <ac:spMk id="1013" creationId="{C7FDE318-5C60-61D9-9DBF-D8E55BEBE338}"/>
          </ac:spMkLst>
        </pc:spChg>
        <pc:spChg chg="add del mod">
          <ac:chgData name="Steiner Andreas 6206 ED" userId="e6377c33-a923-4f14-8587-531c474c7b48" providerId="ADAL" clId="{6ECD27E6-B224-41CD-B4E0-E297462320DD}" dt="2023-11-24T11:42:03.726" v="148082"/>
          <ac:spMkLst>
            <pc:docMk/>
            <pc:sldMk cId="3439677884" sldId="2147473972"/>
            <ac:spMk id="1014" creationId="{E02CD75E-5D2A-7574-9B5A-566AC1390403}"/>
          </ac:spMkLst>
        </pc:spChg>
        <pc:spChg chg="add del mod">
          <ac:chgData name="Steiner Andreas 6206 ED" userId="e6377c33-a923-4f14-8587-531c474c7b48" providerId="ADAL" clId="{6ECD27E6-B224-41CD-B4E0-E297462320DD}" dt="2023-11-24T11:42:06.195" v="148237"/>
          <ac:spMkLst>
            <pc:docMk/>
            <pc:sldMk cId="3439677884" sldId="2147473972"/>
            <ac:spMk id="1015" creationId="{B79F54F9-FCF4-DAEC-7E27-14D93F9FF068}"/>
          </ac:spMkLst>
        </pc:spChg>
        <pc:spChg chg="add del mod">
          <ac:chgData name="Steiner Andreas 6206 ED" userId="e6377c33-a923-4f14-8587-531c474c7b48" providerId="ADAL" clId="{6ECD27E6-B224-41CD-B4E0-E297462320DD}" dt="2023-11-24T11:42:08.548" v="148392"/>
          <ac:spMkLst>
            <pc:docMk/>
            <pc:sldMk cId="3439677884" sldId="2147473972"/>
            <ac:spMk id="1016" creationId="{8174B123-B6B4-C686-4553-1ADD3ADCFFCE}"/>
          </ac:spMkLst>
        </pc:spChg>
        <pc:spChg chg="add del mod">
          <ac:chgData name="Steiner Andreas 6206 ED" userId="e6377c33-a923-4f14-8587-531c474c7b48" providerId="ADAL" clId="{6ECD27E6-B224-41CD-B4E0-E297462320DD}" dt="2023-11-24T11:42:11.102" v="148547"/>
          <ac:spMkLst>
            <pc:docMk/>
            <pc:sldMk cId="3439677884" sldId="2147473972"/>
            <ac:spMk id="1017" creationId="{49496CE2-AF6A-1C9E-64ED-76D9DBEA615D}"/>
          </ac:spMkLst>
        </pc:spChg>
        <pc:spChg chg="add del mod">
          <ac:chgData name="Steiner Andreas 6206 ED" userId="e6377c33-a923-4f14-8587-531c474c7b48" providerId="ADAL" clId="{6ECD27E6-B224-41CD-B4E0-E297462320DD}" dt="2023-11-24T11:42:13.608" v="148702"/>
          <ac:spMkLst>
            <pc:docMk/>
            <pc:sldMk cId="3439677884" sldId="2147473972"/>
            <ac:spMk id="1018" creationId="{B320F63F-E62E-25CB-5B9D-BDA2982486EA}"/>
          </ac:spMkLst>
        </pc:spChg>
        <pc:spChg chg="add del mod">
          <ac:chgData name="Steiner Andreas 6206 ED" userId="e6377c33-a923-4f14-8587-531c474c7b48" providerId="ADAL" clId="{6ECD27E6-B224-41CD-B4E0-E297462320DD}" dt="2023-11-24T11:42:16.084" v="148857"/>
          <ac:spMkLst>
            <pc:docMk/>
            <pc:sldMk cId="3439677884" sldId="2147473972"/>
            <ac:spMk id="1019" creationId="{B871A803-EE7E-E681-4137-4CA6B58F2913}"/>
          </ac:spMkLst>
        </pc:spChg>
        <pc:spChg chg="add del mod">
          <ac:chgData name="Steiner Andreas 6206 ED" userId="e6377c33-a923-4f14-8587-531c474c7b48" providerId="ADAL" clId="{6ECD27E6-B224-41CD-B4E0-E297462320DD}" dt="2023-11-24T11:42:18.160" v="149012"/>
          <ac:spMkLst>
            <pc:docMk/>
            <pc:sldMk cId="3439677884" sldId="2147473972"/>
            <ac:spMk id="1020" creationId="{F15CC23D-7D02-EC9E-3C92-FBAB5CDE5909}"/>
          </ac:spMkLst>
        </pc:spChg>
        <pc:spChg chg="add del mod">
          <ac:chgData name="Steiner Andreas 6206 ED" userId="e6377c33-a923-4f14-8587-531c474c7b48" providerId="ADAL" clId="{6ECD27E6-B224-41CD-B4E0-E297462320DD}" dt="2023-11-24T11:42:20.243" v="149167"/>
          <ac:spMkLst>
            <pc:docMk/>
            <pc:sldMk cId="3439677884" sldId="2147473972"/>
            <ac:spMk id="1021" creationId="{EDFF113D-C5FC-B0F1-F1D9-B85671D56181}"/>
          </ac:spMkLst>
        </pc:spChg>
        <pc:spChg chg="add del mod">
          <ac:chgData name="Steiner Andreas 6206 ED" userId="e6377c33-a923-4f14-8587-531c474c7b48" providerId="ADAL" clId="{6ECD27E6-B224-41CD-B4E0-E297462320DD}" dt="2023-11-24T11:42:22.325" v="149322"/>
          <ac:spMkLst>
            <pc:docMk/>
            <pc:sldMk cId="3439677884" sldId="2147473972"/>
            <ac:spMk id="1022" creationId="{8610D61B-24A5-84EC-5E86-DCF97E7845C6}"/>
          </ac:spMkLst>
        </pc:spChg>
        <pc:spChg chg="add del mod">
          <ac:chgData name="Steiner Andreas 6206 ED" userId="e6377c33-a923-4f14-8587-531c474c7b48" providerId="ADAL" clId="{6ECD27E6-B224-41CD-B4E0-E297462320DD}" dt="2023-11-24T11:42:24.267" v="149477"/>
          <ac:spMkLst>
            <pc:docMk/>
            <pc:sldMk cId="3439677884" sldId="2147473972"/>
            <ac:spMk id="1023" creationId="{A9E527E2-E6F5-0093-ADEF-C3CF6327BA00}"/>
          </ac:spMkLst>
        </pc:spChg>
        <pc:spChg chg="add del mod">
          <ac:chgData name="Steiner Andreas 6206 ED" userId="e6377c33-a923-4f14-8587-531c474c7b48" providerId="ADAL" clId="{6ECD27E6-B224-41CD-B4E0-E297462320DD}" dt="2023-11-24T11:42:26.214" v="149632"/>
          <ac:spMkLst>
            <pc:docMk/>
            <pc:sldMk cId="3439677884" sldId="2147473972"/>
            <ac:spMk id="1024" creationId="{7ED0B167-EF24-B893-99CC-A6523E5CC802}"/>
          </ac:spMkLst>
        </pc:spChg>
        <pc:spChg chg="add del mod">
          <ac:chgData name="Steiner Andreas 6206 ED" userId="e6377c33-a923-4f14-8587-531c474c7b48" providerId="ADAL" clId="{6ECD27E6-B224-41CD-B4E0-E297462320DD}" dt="2023-11-24T11:42:29.137" v="149787"/>
          <ac:spMkLst>
            <pc:docMk/>
            <pc:sldMk cId="3439677884" sldId="2147473972"/>
            <ac:spMk id="1025" creationId="{21AF0191-D7F3-9660-EE90-7E1560DEFA8B}"/>
          </ac:spMkLst>
        </pc:spChg>
        <pc:spChg chg="add del mod">
          <ac:chgData name="Steiner Andreas 6206 ED" userId="e6377c33-a923-4f14-8587-531c474c7b48" providerId="ADAL" clId="{6ECD27E6-B224-41CD-B4E0-E297462320DD}" dt="2023-11-24T11:42:32.117" v="149942"/>
          <ac:spMkLst>
            <pc:docMk/>
            <pc:sldMk cId="3439677884" sldId="2147473972"/>
            <ac:spMk id="1026" creationId="{9589D849-9C98-855A-0012-C3478FA79FF3}"/>
          </ac:spMkLst>
        </pc:spChg>
        <pc:spChg chg="add del mod">
          <ac:chgData name="Steiner Andreas 6206 ED" userId="e6377c33-a923-4f14-8587-531c474c7b48" providerId="ADAL" clId="{6ECD27E6-B224-41CD-B4E0-E297462320DD}" dt="2023-11-24T11:42:35.434" v="150097"/>
          <ac:spMkLst>
            <pc:docMk/>
            <pc:sldMk cId="3439677884" sldId="2147473972"/>
            <ac:spMk id="1027" creationId="{A7886834-0010-832F-32DA-C2ECA5460BEF}"/>
          </ac:spMkLst>
        </pc:spChg>
        <pc:spChg chg="add del mod">
          <ac:chgData name="Steiner Andreas 6206 ED" userId="e6377c33-a923-4f14-8587-531c474c7b48" providerId="ADAL" clId="{6ECD27E6-B224-41CD-B4E0-E297462320DD}" dt="2023-11-24T11:42:37.837" v="150252"/>
          <ac:spMkLst>
            <pc:docMk/>
            <pc:sldMk cId="3439677884" sldId="2147473972"/>
            <ac:spMk id="1028" creationId="{2F7F3332-CE59-78BF-4C69-6E71EA9107A2}"/>
          </ac:spMkLst>
        </pc:spChg>
        <pc:spChg chg="add del mod">
          <ac:chgData name="Steiner Andreas 6206 ED" userId="e6377c33-a923-4f14-8587-531c474c7b48" providerId="ADAL" clId="{6ECD27E6-B224-41CD-B4E0-E297462320DD}" dt="2023-11-24T11:42:39.917" v="150407"/>
          <ac:spMkLst>
            <pc:docMk/>
            <pc:sldMk cId="3439677884" sldId="2147473972"/>
            <ac:spMk id="1029" creationId="{932DEC5D-132D-5C73-448E-6EA08BAF66E7}"/>
          </ac:spMkLst>
        </pc:spChg>
        <pc:spChg chg="add del mod">
          <ac:chgData name="Steiner Andreas 6206 ED" userId="e6377c33-a923-4f14-8587-531c474c7b48" providerId="ADAL" clId="{6ECD27E6-B224-41CD-B4E0-E297462320DD}" dt="2023-11-24T11:42:41.989" v="150562"/>
          <ac:spMkLst>
            <pc:docMk/>
            <pc:sldMk cId="3439677884" sldId="2147473972"/>
            <ac:spMk id="1030" creationId="{9CE565D4-0A61-581C-6411-F014D38CBA80}"/>
          </ac:spMkLst>
        </pc:spChg>
        <pc:spChg chg="add del mod">
          <ac:chgData name="Steiner Andreas 6206 ED" userId="e6377c33-a923-4f14-8587-531c474c7b48" providerId="ADAL" clId="{6ECD27E6-B224-41CD-B4E0-E297462320DD}" dt="2023-11-24T11:42:44.092" v="150717"/>
          <ac:spMkLst>
            <pc:docMk/>
            <pc:sldMk cId="3439677884" sldId="2147473972"/>
            <ac:spMk id="1031" creationId="{4BF4FE86-36F2-149C-32E9-D25262556BBE}"/>
          </ac:spMkLst>
        </pc:spChg>
        <pc:spChg chg="add del mod">
          <ac:chgData name="Steiner Andreas 6206 ED" userId="e6377c33-a923-4f14-8587-531c474c7b48" providerId="ADAL" clId="{6ECD27E6-B224-41CD-B4E0-E297462320DD}" dt="2023-11-24T11:42:46.306" v="150872"/>
          <ac:spMkLst>
            <pc:docMk/>
            <pc:sldMk cId="3439677884" sldId="2147473972"/>
            <ac:spMk id="1032" creationId="{D63822E2-7468-1EA1-A7A8-D1EBFB0194F7}"/>
          </ac:spMkLst>
        </pc:spChg>
        <pc:spChg chg="add del mod">
          <ac:chgData name="Steiner Andreas 6206 ED" userId="e6377c33-a923-4f14-8587-531c474c7b48" providerId="ADAL" clId="{6ECD27E6-B224-41CD-B4E0-E297462320DD}" dt="2023-11-24T11:42:48.591" v="151027"/>
          <ac:spMkLst>
            <pc:docMk/>
            <pc:sldMk cId="3439677884" sldId="2147473972"/>
            <ac:spMk id="1033" creationId="{E10B30C7-EB64-2D0E-E825-D88C454E5CD6}"/>
          </ac:spMkLst>
        </pc:spChg>
        <pc:spChg chg="add del mod">
          <ac:chgData name="Steiner Andreas 6206 ED" userId="e6377c33-a923-4f14-8587-531c474c7b48" providerId="ADAL" clId="{6ECD27E6-B224-41CD-B4E0-E297462320DD}" dt="2023-11-24T11:42:50.754" v="151182"/>
          <ac:spMkLst>
            <pc:docMk/>
            <pc:sldMk cId="3439677884" sldId="2147473972"/>
            <ac:spMk id="1034" creationId="{61D3A0CA-7165-3A52-44F0-0B6725349DDB}"/>
          </ac:spMkLst>
        </pc:spChg>
        <pc:spChg chg="add del mod">
          <ac:chgData name="Steiner Andreas 6206 ED" userId="e6377c33-a923-4f14-8587-531c474c7b48" providerId="ADAL" clId="{6ECD27E6-B224-41CD-B4E0-E297462320DD}" dt="2023-11-24T11:42:53.145" v="151337"/>
          <ac:spMkLst>
            <pc:docMk/>
            <pc:sldMk cId="3439677884" sldId="2147473972"/>
            <ac:spMk id="1035" creationId="{7E9751A5-3B1B-3F37-F0B6-9E508AD54084}"/>
          </ac:spMkLst>
        </pc:spChg>
        <pc:spChg chg="add del mod">
          <ac:chgData name="Steiner Andreas 6206 ED" userId="e6377c33-a923-4f14-8587-531c474c7b48" providerId="ADAL" clId="{6ECD27E6-B224-41CD-B4E0-E297462320DD}" dt="2023-11-24T11:42:55.409" v="151492"/>
          <ac:spMkLst>
            <pc:docMk/>
            <pc:sldMk cId="3439677884" sldId="2147473972"/>
            <ac:spMk id="1036" creationId="{053A9073-CB1C-418C-B0CC-D08D5D9E5080}"/>
          </ac:spMkLst>
        </pc:spChg>
        <pc:spChg chg="add del mod">
          <ac:chgData name="Steiner Andreas 6206 ED" userId="e6377c33-a923-4f14-8587-531c474c7b48" providerId="ADAL" clId="{6ECD27E6-B224-41CD-B4E0-E297462320DD}" dt="2023-11-24T11:42:57.725" v="151647"/>
          <ac:spMkLst>
            <pc:docMk/>
            <pc:sldMk cId="3439677884" sldId="2147473972"/>
            <ac:spMk id="1037" creationId="{408B9F39-D5B1-74FD-0BF9-140FB6300128}"/>
          </ac:spMkLst>
        </pc:spChg>
        <pc:spChg chg="add del mod">
          <ac:chgData name="Steiner Andreas 6206 ED" userId="e6377c33-a923-4f14-8587-531c474c7b48" providerId="ADAL" clId="{6ECD27E6-B224-41CD-B4E0-E297462320DD}" dt="2023-11-24T11:43:01.438" v="151802"/>
          <ac:spMkLst>
            <pc:docMk/>
            <pc:sldMk cId="3439677884" sldId="2147473972"/>
            <ac:spMk id="1038" creationId="{0DD0AB91-CFF3-13BC-E36A-4B93025A3217}"/>
          </ac:spMkLst>
        </pc:spChg>
        <pc:spChg chg="add del mod">
          <ac:chgData name="Steiner Andreas 6206 ED" userId="e6377c33-a923-4f14-8587-531c474c7b48" providerId="ADAL" clId="{6ECD27E6-B224-41CD-B4E0-E297462320DD}" dt="2023-11-24T11:43:03.840" v="151957"/>
          <ac:spMkLst>
            <pc:docMk/>
            <pc:sldMk cId="3439677884" sldId="2147473972"/>
            <ac:spMk id="1039" creationId="{55EE2072-FD3D-828C-7C8D-5E39CA371C9C}"/>
          </ac:spMkLst>
        </pc:spChg>
        <pc:spChg chg="add del mod">
          <ac:chgData name="Steiner Andreas 6206 ED" userId="e6377c33-a923-4f14-8587-531c474c7b48" providerId="ADAL" clId="{6ECD27E6-B224-41CD-B4E0-E297462320DD}" dt="2023-11-24T11:43:06.126" v="152112"/>
          <ac:spMkLst>
            <pc:docMk/>
            <pc:sldMk cId="3439677884" sldId="2147473972"/>
            <ac:spMk id="1040" creationId="{FDE9FCC6-27D5-926F-7FA2-FB82D96BB6E8}"/>
          </ac:spMkLst>
        </pc:spChg>
        <pc:spChg chg="add del mod">
          <ac:chgData name="Steiner Andreas 6206 ED" userId="e6377c33-a923-4f14-8587-531c474c7b48" providerId="ADAL" clId="{6ECD27E6-B224-41CD-B4E0-E297462320DD}" dt="2023-11-24T11:43:08.159" v="152267"/>
          <ac:spMkLst>
            <pc:docMk/>
            <pc:sldMk cId="3439677884" sldId="2147473972"/>
            <ac:spMk id="1041" creationId="{67C87E28-0DBB-4D27-D372-A975BC70E24C}"/>
          </ac:spMkLst>
        </pc:spChg>
        <pc:spChg chg="add del mod">
          <ac:chgData name="Steiner Andreas 6206 ED" userId="e6377c33-a923-4f14-8587-531c474c7b48" providerId="ADAL" clId="{6ECD27E6-B224-41CD-B4E0-E297462320DD}" dt="2023-11-24T11:43:10.367" v="152422"/>
          <ac:spMkLst>
            <pc:docMk/>
            <pc:sldMk cId="3439677884" sldId="2147473972"/>
            <ac:spMk id="1042" creationId="{086DD89A-944A-460B-4C1F-D340D025827A}"/>
          </ac:spMkLst>
        </pc:spChg>
        <pc:spChg chg="add del mod">
          <ac:chgData name="Steiner Andreas 6206 ED" userId="e6377c33-a923-4f14-8587-531c474c7b48" providerId="ADAL" clId="{6ECD27E6-B224-41CD-B4E0-E297462320DD}" dt="2023-11-24T11:43:12.483" v="152577"/>
          <ac:spMkLst>
            <pc:docMk/>
            <pc:sldMk cId="3439677884" sldId="2147473972"/>
            <ac:spMk id="1043" creationId="{3E282F0F-9BA1-F40C-B0EB-D178C530F4C3}"/>
          </ac:spMkLst>
        </pc:spChg>
        <pc:spChg chg="add del mod">
          <ac:chgData name="Steiner Andreas 6206 ED" userId="e6377c33-a923-4f14-8587-531c474c7b48" providerId="ADAL" clId="{6ECD27E6-B224-41CD-B4E0-E297462320DD}" dt="2023-11-24T11:43:14.790" v="152732"/>
          <ac:spMkLst>
            <pc:docMk/>
            <pc:sldMk cId="3439677884" sldId="2147473972"/>
            <ac:spMk id="1044" creationId="{E505980F-A3A1-7369-B50A-D1540CF47D15}"/>
          </ac:spMkLst>
        </pc:spChg>
        <pc:spChg chg="add del mod">
          <ac:chgData name="Steiner Andreas 6206 ED" userId="e6377c33-a923-4f14-8587-531c474c7b48" providerId="ADAL" clId="{6ECD27E6-B224-41CD-B4E0-E297462320DD}" dt="2023-11-24T11:43:17.650" v="152887"/>
          <ac:spMkLst>
            <pc:docMk/>
            <pc:sldMk cId="3439677884" sldId="2147473972"/>
            <ac:spMk id="1045" creationId="{6CCCA074-8AD1-B569-1501-78384DD1B0F1}"/>
          </ac:spMkLst>
        </pc:spChg>
        <pc:spChg chg="add del mod">
          <ac:chgData name="Steiner Andreas 6206 ED" userId="e6377c33-a923-4f14-8587-531c474c7b48" providerId="ADAL" clId="{6ECD27E6-B224-41CD-B4E0-E297462320DD}" dt="2023-11-24T11:43:21.900" v="153042"/>
          <ac:spMkLst>
            <pc:docMk/>
            <pc:sldMk cId="3439677884" sldId="2147473972"/>
            <ac:spMk id="1046" creationId="{4EAD8797-A118-F367-A5D3-743A3057C445}"/>
          </ac:spMkLst>
        </pc:spChg>
        <pc:spChg chg="add del mod">
          <ac:chgData name="Steiner Andreas 6206 ED" userId="e6377c33-a923-4f14-8587-531c474c7b48" providerId="ADAL" clId="{6ECD27E6-B224-41CD-B4E0-E297462320DD}" dt="2023-11-24T11:43:24.526" v="153197"/>
          <ac:spMkLst>
            <pc:docMk/>
            <pc:sldMk cId="3439677884" sldId="2147473972"/>
            <ac:spMk id="1047" creationId="{55E166C5-3D6F-4DC5-7AD2-31A0E505A906}"/>
          </ac:spMkLst>
        </pc:spChg>
        <pc:spChg chg="add del mod">
          <ac:chgData name="Steiner Andreas 6206 ED" userId="e6377c33-a923-4f14-8587-531c474c7b48" providerId="ADAL" clId="{6ECD27E6-B224-41CD-B4E0-E297462320DD}" dt="2023-11-24T11:43:26.851" v="153352"/>
          <ac:spMkLst>
            <pc:docMk/>
            <pc:sldMk cId="3439677884" sldId="2147473972"/>
            <ac:spMk id="1048" creationId="{6C109948-AB88-5DDE-160E-ECFF780101FA}"/>
          </ac:spMkLst>
        </pc:spChg>
        <pc:spChg chg="add del mod">
          <ac:chgData name="Steiner Andreas 6206 ED" userId="e6377c33-a923-4f14-8587-531c474c7b48" providerId="ADAL" clId="{6ECD27E6-B224-41CD-B4E0-E297462320DD}" dt="2023-11-24T11:43:29.147" v="153507"/>
          <ac:spMkLst>
            <pc:docMk/>
            <pc:sldMk cId="3439677884" sldId="2147473972"/>
            <ac:spMk id="1049" creationId="{16273C10-7F8A-922A-35B6-78249EED6977}"/>
          </ac:spMkLst>
        </pc:spChg>
        <pc:spChg chg="add del mod">
          <ac:chgData name="Steiner Andreas 6206 ED" userId="e6377c33-a923-4f14-8587-531c474c7b48" providerId="ADAL" clId="{6ECD27E6-B224-41CD-B4E0-E297462320DD}" dt="2023-11-24T11:43:31.396" v="153662"/>
          <ac:spMkLst>
            <pc:docMk/>
            <pc:sldMk cId="3439677884" sldId="2147473972"/>
            <ac:spMk id="1050" creationId="{7C13401A-B320-27FE-C4FE-CFF8703D9002}"/>
          </ac:spMkLst>
        </pc:spChg>
        <pc:spChg chg="add del mod">
          <ac:chgData name="Steiner Andreas 6206 ED" userId="e6377c33-a923-4f14-8587-531c474c7b48" providerId="ADAL" clId="{6ECD27E6-B224-41CD-B4E0-E297462320DD}" dt="2023-11-24T11:43:34.032" v="153817"/>
          <ac:spMkLst>
            <pc:docMk/>
            <pc:sldMk cId="3439677884" sldId="2147473972"/>
            <ac:spMk id="1051" creationId="{0A9302D3-CDCD-B0D1-7EC2-7E084A622265}"/>
          </ac:spMkLst>
        </pc:spChg>
        <pc:spChg chg="add del mod">
          <ac:chgData name="Steiner Andreas 6206 ED" userId="e6377c33-a923-4f14-8587-531c474c7b48" providerId="ADAL" clId="{6ECD27E6-B224-41CD-B4E0-E297462320DD}" dt="2023-11-24T11:43:36.291" v="153972"/>
          <ac:spMkLst>
            <pc:docMk/>
            <pc:sldMk cId="3439677884" sldId="2147473972"/>
            <ac:spMk id="1052" creationId="{3664111F-8B40-F7C5-D1B8-9CA5DA1917DA}"/>
          </ac:spMkLst>
        </pc:spChg>
        <pc:spChg chg="add del mod">
          <ac:chgData name="Steiner Andreas 6206 ED" userId="e6377c33-a923-4f14-8587-531c474c7b48" providerId="ADAL" clId="{6ECD27E6-B224-41CD-B4E0-E297462320DD}" dt="2023-11-24T11:43:38.469" v="154127"/>
          <ac:spMkLst>
            <pc:docMk/>
            <pc:sldMk cId="3439677884" sldId="2147473972"/>
            <ac:spMk id="1053" creationId="{A60A86E6-77EA-7331-C442-A6EAD1433884}"/>
          </ac:spMkLst>
        </pc:spChg>
        <pc:spChg chg="add del mod">
          <ac:chgData name="Steiner Andreas 6206 ED" userId="e6377c33-a923-4f14-8587-531c474c7b48" providerId="ADAL" clId="{6ECD27E6-B224-41CD-B4E0-E297462320DD}" dt="2023-11-24T11:43:40.732" v="154282"/>
          <ac:spMkLst>
            <pc:docMk/>
            <pc:sldMk cId="3439677884" sldId="2147473972"/>
            <ac:spMk id="1054" creationId="{44049E73-146A-12B7-A329-20F5315B35CA}"/>
          </ac:spMkLst>
        </pc:spChg>
        <pc:spChg chg="add del mod">
          <ac:chgData name="Steiner Andreas 6206 ED" userId="e6377c33-a923-4f14-8587-531c474c7b48" providerId="ADAL" clId="{6ECD27E6-B224-41CD-B4E0-E297462320DD}" dt="2023-11-24T11:43:43.701" v="154437"/>
          <ac:spMkLst>
            <pc:docMk/>
            <pc:sldMk cId="3439677884" sldId="2147473972"/>
            <ac:spMk id="1055" creationId="{C99681F4-0E9A-5B05-9F0C-F874442320C1}"/>
          </ac:spMkLst>
        </pc:spChg>
        <pc:spChg chg="add del mod">
          <ac:chgData name="Steiner Andreas 6206 ED" userId="e6377c33-a923-4f14-8587-531c474c7b48" providerId="ADAL" clId="{6ECD27E6-B224-41CD-B4E0-E297462320DD}" dt="2023-11-24T11:43:46.037" v="154592"/>
          <ac:spMkLst>
            <pc:docMk/>
            <pc:sldMk cId="3439677884" sldId="2147473972"/>
            <ac:spMk id="1056" creationId="{9B1601CC-4BD5-FE02-9410-DD1AC718A828}"/>
          </ac:spMkLst>
        </pc:spChg>
        <pc:spChg chg="add del mod">
          <ac:chgData name="Steiner Andreas 6206 ED" userId="e6377c33-a923-4f14-8587-531c474c7b48" providerId="ADAL" clId="{6ECD27E6-B224-41CD-B4E0-E297462320DD}" dt="2023-11-24T11:43:48.381" v="154747"/>
          <ac:spMkLst>
            <pc:docMk/>
            <pc:sldMk cId="3439677884" sldId="2147473972"/>
            <ac:spMk id="1057" creationId="{3DDA9043-663C-16BF-F936-BF68BE22BDFE}"/>
          </ac:spMkLst>
        </pc:spChg>
        <pc:spChg chg="add del mod">
          <ac:chgData name="Steiner Andreas 6206 ED" userId="e6377c33-a923-4f14-8587-531c474c7b48" providerId="ADAL" clId="{6ECD27E6-B224-41CD-B4E0-E297462320DD}" dt="2023-11-24T11:43:50.466" v="154902"/>
          <ac:spMkLst>
            <pc:docMk/>
            <pc:sldMk cId="3439677884" sldId="2147473972"/>
            <ac:spMk id="1058" creationId="{CACD5F0E-9276-D607-4ED5-562F4AA0331E}"/>
          </ac:spMkLst>
        </pc:spChg>
        <pc:spChg chg="add del mod">
          <ac:chgData name="Steiner Andreas 6206 ED" userId="e6377c33-a923-4f14-8587-531c474c7b48" providerId="ADAL" clId="{6ECD27E6-B224-41CD-B4E0-E297462320DD}" dt="2023-11-24T11:43:52.631" v="155057"/>
          <ac:spMkLst>
            <pc:docMk/>
            <pc:sldMk cId="3439677884" sldId="2147473972"/>
            <ac:spMk id="1059" creationId="{BC400A7D-9AB6-0E2F-00D1-C09B39CF3091}"/>
          </ac:spMkLst>
        </pc:spChg>
        <pc:spChg chg="add del mod">
          <ac:chgData name="Steiner Andreas 6206 ED" userId="e6377c33-a923-4f14-8587-531c474c7b48" providerId="ADAL" clId="{6ECD27E6-B224-41CD-B4E0-E297462320DD}" dt="2023-11-24T11:43:55.506" v="155212"/>
          <ac:spMkLst>
            <pc:docMk/>
            <pc:sldMk cId="3439677884" sldId="2147473972"/>
            <ac:spMk id="1060" creationId="{F1D3BFAF-D712-7C72-1686-05A36B9FE8CC}"/>
          </ac:spMkLst>
        </pc:spChg>
        <pc:spChg chg="add del mod">
          <ac:chgData name="Steiner Andreas 6206 ED" userId="e6377c33-a923-4f14-8587-531c474c7b48" providerId="ADAL" clId="{6ECD27E6-B224-41CD-B4E0-E297462320DD}" dt="2023-11-24T11:43:57.979" v="155367"/>
          <ac:spMkLst>
            <pc:docMk/>
            <pc:sldMk cId="3439677884" sldId="2147473972"/>
            <ac:spMk id="1061" creationId="{9E4C19E4-46E4-A281-F4B0-9CA1D2ABDDB2}"/>
          </ac:spMkLst>
        </pc:spChg>
        <pc:spChg chg="add del mod">
          <ac:chgData name="Steiner Andreas 6206 ED" userId="e6377c33-a923-4f14-8587-531c474c7b48" providerId="ADAL" clId="{6ECD27E6-B224-41CD-B4E0-E297462320DD}" dt="2023-11-24T11:44:00.110" v="155522"/>
          <ac:spMkLst>
            <pc:docMk/>
            <pc:sldMk cId="3439677884" sldId="2147473972"/>
            <ac:spMk id="1062" creationId="{B1CC08A4-F4E2-8A24-5837-6E88EC4C50FF}"/>
          </ac:spMkLst>
        </pc:spChg>
        <pc:spChg chg="add del mod">
          <ac:chgData name="Steiner Andreas 6206 ED" userId="e6377c33-a923-4f14-8587-531c474c7b48" providerId="ADAL" clId="{6ECD27E6-B224-41CD-B4E0-E297462320DD}" dt="2023-11-24T11:44:02.130" v="155677"/>
          <ac:spMkLst>
            <pc:docMk/>
            <pc:sldMk cId="3439677884" sldId="2147473972"/>
            <ac:spMk id="1063" creationId="{87EE0645-A5EA-EAF5-84A7-3F4EF94CD773}"/>
          </ac:spMkLst>
        </pc:spChg>
        <pc:spChg chg="add del mod">
          <ac:chgData name="Steiner Andreas 6206 ED" userId="e6377c33-a923-4f14-8587-531c474c7b48" providerId="ADAL" clId="{6ECD27E6-B224-41CD-B4E0-E297462320DD}" dt="2023-11-24T11:44:04.145" v="155832"/>
          <ac:spMkLst>
            <pc:docMk/>
            <pc:sldMk cId="3439677884" sldId="2147473972"/>
            <ac:spMk id="1064" creationId="{32F86D0D-4DA3-7172-A1F4-B5A0DE2D192E}"/>
          </ac:spMkLst>
        </pc:spChg>
        <pc:spChg chg="add del mod">
          <ac:chgData name="Steiner Andreas 6206 ED" userId="e6377c33-a923-4f14-8587-531c474c7b48" providerId="ADAL" clId="{6ECD27E6-B224-41CD-B4E0-E297462320DD}" dt="2023-11-24T11:44:06.187" v="155987"/>
          <ac:spMkLst>
            <pc:docMk/>
            <pc:sldMk cId="3439677884" sldId="2147473972"/>
            <ac:spMk id="1065" creationId="{F4A0AE29-3914-FAB1-8057-7E8D69CAA4F6}"/>
          </ac:spMkLst>
        </pc:spChg>
        <pc:spChg chg="add del mod">
          <ac:chgData name="Steiner Andreas 6206 ED" userId="e6377c33-a923-4f14-8587-531c474c7b48" providerId="ADAL" clId="{6ECD27E6-B224-41CD-B4E0-E297462320DD}" dt="2023-11-24T11:44:08.317" v="156142"/>
          <ac:spMkLst>
            <pc:docMk/>
            <pc:sldMk cId="3439677884" sldId="2147473972"/>
            <ac:spMk id="1066" creationId="{1774A88E-EE4A-3D07-FB56-86427CBBF34A}"/>
          </ac:spMkLst>
        </pc:spChg>
        <pc:spChg chg="add del mod">
          <ac:chgData name="Steiner Andreas 6206 ED" userId="e6377c33-a923-4f14-8587-531c474c7b48" providerId="ADAL" clId="{6ECD27E6-B224-41CD-B4E0-E297462320DD}" dt="2023-11-24T11:44:10.414" v="156297"/>
          <ac:spMkLst>
            <pc:docMk/>
            <pc:sldMk cId="3439677884" sldId="2147473972"/>
            <ac:spMk id="1067" creationId="{C86B12F7-6A1A-94D0-FCDC-4EF8C866C07C}"/>
          </ac:spMkLst>
        </pc:spChg>
        <pc:spChg chg="add del mod">
          <ac:chgData name="Steiner Andreas 6206 ED" userId="e6377c33-a923-4f14-8587-531c474c7b48" providerId="ADAL" clId="{6ECD27E6-B224-41CD-B4E0-E297462320DD}" dt="2023-11-24T11:44:12.428" v="156452"/>
          <ac:spMkLst>
            <pc:docMk/>
            <pc:sldMk cId="3439677884" sldId="2147473972"/>
            <ac:spMk id="1068" creationId="{775FED9F-DF4F-7B34-1754-D32BB2AD3DF0}"/>
          </ac:spMkLst>
        </pc:spChg>
        <pc:spChg chg="add del mod">
          <ac:chgData name="Steiner Andreas 6206 ED" userId="e6377c33-a923-4f14-8587-531c474c7b48" providerId="ADAL" clId="{6ECD27E6-B224-41CD-B4E0-E297462320DD}" dt="2023-11-24T11:44:14.401" v="156607"/>
          <ac:spMkLst>
            <pc:docMk/>
            <pc:sldMk cId="3439677884" sldId="2147473972"/>
            <ac:spMk id="1069" creationId="{DF1370F0-F137-8D9F-0DA4-191EC2AF34DE}"/>
          </ac:spMkLst>
        </pc:spChg>
        <pc:spChg chg="add del mod">
          <ac:chgData name="Steiner Andreas 6206 ED" userId="e6377c33-a923-4f14-8587-531c474c7b48" providerId="ADAL" clId="{6ECD27E6-B224-41CD-B4E0-E297462320DD}" dt="2023-11-24T11:44:16.389" v="156762"/>
          <ac:spMkLst>
            <pc:docMk/>
            <pc:sldMk cId="3439677884" sldId="2147473972"/>
            <ac:spMk id="1070" creationId="{75831F2D-451A-93B0-DC70-96799796354F}"/>
          </ac:spMkLst>
        </pc:spChg>
        <pc:spChg chg="add del mod">
          <ac:chgData name="Steiner Andreas 6206 ED" userId="e6377c33-a923-4f14-8587-531c474c7b48" providerId="ADAL" clId="{6ECD27E6-B224-41CD-B4E0-E297462320DD}" dt="2023-11-24T11:44:18.451" v="156917"/>
          <ac:spMkLst>
            <pc:docMk/>
            <pc:sldMk cId="3439677884" sldId="2147473972"/>
            <ac:spMk id="1071" creationId="{F9E00C41-AA0B-0573-2EC5-B74D4D2685C0}"/>
          </ac:spMkLst>
        </pc:spChg>
        <pc:spChg chg="add del mod">
          <ac:chgData name="Steiner Andreas 6206 ED" userId="e6377c33-a923-4f14-8587-531c474c7b48" providerId="ADAL" clId="{6ECD27E6-B224-41CD-B4E0-E297462320DD}" dt="2023-11-24T11:44:20.630" v="157072"/>
          <ac:spMkLst>
            <pc:docMk/>
            <pc:sldMk cId="3439677884" sldId="2147473972"/>
            <ac:spMk id="1072" creationId="{3A4807B5-2D34-DD73-BC2D-D74E9C810B00}"/>
          </ac:spMkLst>
        </pc:spChg>
        <pc:spChg chg="add del mod">
          <ac:chgData name="Steiner Andreas 6206 ED" userId="e6377c33-a923-4f14-8587-531c474c7b48" providerId="ADAL" clId="{6ECD27E6-B224-41CD-B4E0-E297462320DD}" dt="2023-11-24T11:44:22.896" v="157227"/>
          <ac:spMkLst>
            <pc:docMk/>
            <pc:sldMk cId="3439677884" sldId="2147473972"/>
            <ac:spMk id="1073" creationId="{FBFADC04-0BF9-8A33-F5D1-129011B2D3C6}"/>
          </ac:spMkLst>
        </pc:spChg>
        <pc:spChg chg="add del mod">
          <ac:chgData name="Steiner Andreas 6206 ED" userId="e6377c33-a923-4f14-8587-531c474c7b48" providerId="ADAL" clId="{6ECD27E6-B224-41CD-B4E0-E297462320DD}" dt="2023-11-24T11:44:25.093" v="157382"/>
          <ac:spMkLst>
            <pc:docMk/>
            <pc:sldMk cId="3439677884" sldId="2147473972"/>
            <ac:spMk id="1074" creationId="{A4230134-D36B-A6A1-E1CB-F549C9873337}"/>
          </ac:spMkLst>
        </pc:spChg>
        <pc:spChg chg="add del mod">
          <ac:chgData name="Steiner Andreas 6206 ED" userId="e6377c33-a923-4f14-8587-531c474c7b48" providerId="ADAL" clId="{6ECD27E6-B224-41CD-B4E0-E297462320DD}" dt="2023-11-24T11:44:30.470" v="157537"/>
          <ac:spMkLst>
            <pc:docMk/>
            <pc:sldMk cId="3439677884" sldId="2147473972"/>
            <ac:spMk id="1075" creationId="{DBC54858-DF1A-E803-6855-2674570E4A82}"/>
          </ac:spMkLst>
        </pc:spChg>
        <pc:spChg chg="add mod">
          <ac:chgData name="Steiner Andreas 6206 ED" userId="e6377c33-a923-4f14-8587-531c474c7b48" providerId="ADAL" clId="{6ECD27E6-B224-41CD-B4E0-E297462320DD}" dt="2023-11-24T11:44:30.470" v="157538"/>
          <ac:spMkLst>
            <pc:docMk/>
            <pc:sldMk cId="3439677884" sldId="2147473972"/>
            <ac:spMk id="1076" creationId="{5D26D9CD-1F34-1205-79F7-62497CDF7F6C}"/>
          </ac:spMkLst>
        </pc:spChg>
      </pc:sldChg>
      <pc:sldChg chg="addSp delSp modSp mod">
        <pc:chgData name="Steiner Andreas 6206 ED" userId="e6377c33-a923-4f14-8587-531c474c7b48" providerId="ADAL" clId="{6ECD27E6-B224-41CD-B4E0-E297462320DD}" dt="2023-11-24T11:44:30.737" v="157605"/>
        <pc:sldMkLst>
          <pc:docMk/>
          <pc:sldMk cId="2752045962" sldId="2147473973"/>
        </pc:sldMkLst>
        <pc:spChg chg="mod">
          <ac:chgData name="Steiner Andreas 6206 ED" userId="e6377c33-a923-4f14-8587-531c474c7b48" providerId="ADAL" clId="{6ECD27E6-B224-41CD-B4E0-E297462320DD}" dt="2023-11-24T11:44:30.737" v="157601" actId="20577"/>
          <ac:spMkLst>
            <pc:docMk/>
            <pc:sldMk cId="2752045962" sldId="2147473973"/>
            <ac:spMk id="3" creationId="{58594FB8-47AD-5AC7-74B0-1044E8F11BB0}"/>
          </ac:spMkLst>
        </pc:spChg>
        <pc:spChg chg="del">
          <ac:chgData name="Steiner Andreas 6206 ED" userId="e6377c33-a923-4f14-8587-531c474c7b48" providerId="ADAL" clId="{6ECD27E6-B224-41CD-B4E0-E297462320DD}" dt="2023-11-23T19:49:53.565" v="123"/>
          <ac:spMkLst>
            <pc:docMk/>
            <pc:sldMk cId="2752045962" sldId="2147473973"/>
            <ac:spMk id="5" creationId="{1C14F1C0-F92B-F6C1-3997-DAFEE3E12289}"/>
          </ac:spMkLst>
        </pc:spChg>
        <pc:spChg chg="add del mod">
          <ac:chgData name="Steiner Andreas 6206 ED" userId="e6377c33-a923-4f14-8587-531c474c7b48" providerId="ADAL" clId="{6ECD27E6-B224-41CD-B4E0-E297462320DD}" dt="2023-11-23T19:49:53.567" v="126"/>
          <ac:spMkLst>
            <pc:docMk/>
            <pc:sldMk cId="2752045962" sldId="2147473973"/>
            <ac:spMk id="6" creationId="{2348A2DC-6A92-431F-64CF-54B8D62680FC}"/>
          </ac:spMkLst>
        </pc:spChg>
        <pc:spChg chg="add del mod">
          <ac:chgData name="Steiner Andreas 6206 ED" userId="e6377c33-a923-4f14-8587-531c474c7b48" providerId="ADAL" clId="{6ECD27E6-B224-41CD-B4E0-E297462320DD}" dt="2023-11-23T19:49:54.480" v="279"/>
          <ac:spMkLst>
            <pc:docMk/>
            <pc:sldMk cId="2752045962" sldId="2147473973"/>
            <ac:spMk id="9" creationId="{A6AD9F77-3ECF-019B-C08A-7D6D4B7A7337}"/>
          </ac:spMkLst>
        </pc:spChg>
        <pc:spChg chg="add del mod">
          <ac:chgData name="Steiner Andreas 6206 ED" userId="e6377c33-a923-4f14-8587-531c474c7b48" providerId="ADAL" clId="{6ECD27E6-B224-41CD-B4E0-E297462320DD}" dt="2023-11-23T19:50:25.295" v="434"/>
          <ac:spMkLst>
            <pc:docMk/>
            <pc:sldMk cId="2752045962" sldId="2147473973"/>
            <ac:spMk id="10" creationId="{A0E3FA19-E965-4E21-9779-A10A000B8083}"/>
          </ac:spMkLst>
        </pc:spChg>
        <pc:spChg chg="add del mod">
          <ac:chgData name="Steiner Andreas 6206 ED" userId="e6377c33-a923-4f14-8587-531c474c7b48" providerId="ADAL" clId="{6ECD27E6-B224-41CD-B4E0-E297462320DD}" dt="2023-11-23T19:50:35.096" v="589"/>
          <ac:spMkLst>
            <pc:docMk/>
            <pc:sldMk cId="2752045962" sldId="2147473973"/>
            <ac:spMk id="11" creationId="{B2EA0A06-A853-F28D-EF9F-178D8F8AD203}"/>
          </ac:spMkLst>
        </pc:spChg>
        <pc:spChg chg="add del mod">
          <ac:chgData name="Steiner Andreas 6206 ED" userId="e6377c33-a923-4f14-8587-531c474c7b48" providerId="ADAL" clId="{6ECD27E6-B224-41CD-B4E0-E297462320DD}" dt="2023-11-23T19:50:46.765" v="744"/>
          <ac:spMkLst>
            <pc:docMk/>
            <pc:sldMk cId="2752045962" sldId="2147473973"/>
            <ac:spMk id="12" creationId="{7F6F7550-1598-639F-280F-4BA04CD8132B}"/>
          </ac:spMkLst>
        </pc:spChg>
        <pc:spChg chg="add del mod">
          <ac:chgData name="Steiner Andreas 6206 ED" userId="e6377c33-a923-4f14-8587-531c474c7b48" providerId="ADAL" clId="{6ECD27E6-B224-41CD-B4E0-E297462320DD}" dt="2023-11-23T19:50:58.472" v="899"/>
          <ac:spMkLst>
            <pc:docMk/>
            <pc:sldMk cId="2752045962" sldId="2147473973"/>
            <ac:spMk id="13" creationId="{7DCA2C4B-ABE8-AC0D-2170-3974724FF67F}"/>
          </ac:spMkLst>
        </pc:spChg>
        <pc:spChg chg="add del mod">
          <ac:chgData name="Steiner Andreas 6206 ED" userId="e6377c33-a923-4f14-8587-531c474c7b48" providerId="ADAL" clId="{6ECD27E6-B224-41CD-B4E0-E297462320DD}" dt="2023-11-23T19:51:09.152" v="1054"/>
          <ac:spMkLst>
            <pc:docMk/>
            <pc:sldMk cId="2752045962" sldId="2147473973"/>
            <ac:spMk id="14" creationId="{FE59065F-663A-6799-DC24-FCCE9D2D1E02}"/>
          </ac:spMkLst>
        </pc:spChg>
        <pc:spChg chg="add del mod">
          <ac:chgData name="Steiner Andreas 6206 ED" userId="e6377c33-a923-4f14-8587-531c474c7b48" providerId="ADAL" clId="{6ECD27E6-B224-41CD-B4E0-E297462320DD}" dt="2023-11-23T19:51:20.148" v="1209"/>
          <ac:spMkLst>
            <pc:docMk/>
            <pc:sldMk cId="2752045962" sldId="2147473973"/>
            <ac:spMk id="15" creationId="{53A53391-24F1-1706-BBC0-6113B3983E72}"/>
          </ac:spMkLst>
        </pc:spChg>
        <pc:spChg chg="add del mod">
          <ac:chgData name="Steiner Andreas 6206 ED" userId="e6377c33-a923-4f14-8587-531c474c7b48" providerId="ADAL" clId="{6ECD27E6-B224-41CD-B4E0-E297462320DD}" dt="2023-11-23T19:51:31.616" v="1364"/>
          <ac:spMkLst>
            <pc:docMk/>
            <pc:sldMk cId="2752045962" sldId="2147473973"/>
            <ac:spMk id="16" creationId="{C3C09B48-1431-8CFC-F32F-5106406397FD}"/>
          </ac:spMkLst>
        </pc:spChg>
        <pc:spChg chg="add del mod">
          <ac:chgData name="Steiner Andreas 6206 ED" userId="e6377c33-a923-4f14-8587-531c474c7b48" providerId="ADAL" clId="{6ECD27E6-B224-41CD-B4E0-E297462320DD}" dt="2023-11-23T19:51:42.280" v="1519"/>
          <ac:spMkLst>
            <pc:docMk/>
            <pc:sldMk cId="2752045962" sldId="2147473973"/>
            <ac:spMk id="17" creationId="{8B68F9CB-3F30-F6B0-755E-C3E2313C317E}"/>
          </ac:spMkLst>
        </pc:spChg>
        <pc:spChg chg="add del mod">
          <ac:chgData name="Steiner Andreas 6206 ED" userId="e6377c33-a923-4f14-8587-531c474c7b48" providerId="ADAL" clId="{6ECD27E6-B224-41CD-B4E0-E297462320DD}" dt="2023-11-23T19:51:53.609" v="1674"/>
          <ac:spMkLst>
            <pc:docMk/>
            <pc:sldMk cId="2752045962" sldId="2147473973"/>
            <ac:spMk id="18" creationId="{B5CC2F16-A1B6-9017-168C-AC9587083476}"/>
          </ac:spMkLst>
        </pc:spChg>
        <pc:spChg chg="add del mod">
          <ac:chgData name="Steiner Andreas 6206 ED" userId="e6377c33-a923-4f14-8587-531c474c7b48" providerId="ADAL" clId="{6ECD27E6-B224-41CD-B4E0-E297462320DD}" dt="2023-11-23T19:52:05.264" v="1829"/>
          <ac:spMkLst>
            <pc:docMk/>
            <pc:sldMk cId="2752045962" sldId="2147473973"/>
            <ac:spMk id="19" creationId="{7648EE2E-9598-7CCD-8BA1-94A72A8A73BE}"/>
          </ac:spMkLst>
        </pc:spChg>
        <pc:spChg chg="add del mod">
          <ac:chgData name="Steiner Andreas 6206 ED" userId="e6377c33-a923-4f14-8587-531c474c7b48" providerId="ADAL" clId="{6ECD27E6-B224-41CD-B4E0-E297462320DD}" dt="2023-11-23T19:52:16.973" v="1984"/>
          <ac:spMkLst>
            <pc:docMk/>
            <pc:sldMk cId="2752045962" sldId="2147473973"/>
            <ac:spMk id="20" creationId="{654B2378-8950-E956-A518-73267A335530}"/>
          </ac:spMkLst>
        </pc:spChg>
        <pc:spChg chg="add del mod">
          <ac:chgData name="Steiner Andreas 6206 ED" userId="e6377c33-a923-4f14-8587-531c474c7b48" providerId="ADAL" clId="{6ECD27E6-B224-41CD-B4E0-E297462320DD}" dt="2023-11-23T19:52:28.662" v="2139"/>
          <ac:spMkLst>
            <pc:docMk/>
            <pc:sldMk cId="2752045962" sldId="2147473973"/>
            <ac:spMk id="21" creationId="{21E66769-082F-439B-B0F0-5EA1951B0479}"/>
          </ac:spMkLst>
        </pc:spChg>
        <pc:spChg chg="add del mod">
          <ac:chgData name="Steiner Andreas 6206 ED" userId="e6377c33-a923-4f14-8587-531c474c7b48" providerId="ADAL" clId="{6ECD27E6-B224-41CD-B4E0-E297462320DD}" dt="2023-11-23T19:52:40.350" v="2294"/>
          <ac:spMkLst>
            <pc:docMk/>
            <pc:sldMk cId="2752045962" sldId="2147473973"/>
            <ac:spMk id="22" creationId="{9953769E-0AAF-4689-57AE-54ECC40D4401}"/>
          </ac:spMkLst>
        </pc:spChg>
        <pc:spChg chg="add del mod">
          <ac:chgData name="Steiner Andreas 6206 ED" userId="e6377c33-a923-4f14-8587-531c474c7b48" providerId="ADAL" clId="{6ECD27E6-B224-41CD-B4E0-E297462320DD}" dt="2023-11-23T19:52:51.736" v="2449"/>
          <ac:spMkLst>
            <pc:docMk/>
            <pc:sldMk cId="2752045962" sldId="2147473973"/>
            <ac:spMk id="23" creationId="{BFB76DCA-D112-5252-0F40-E0A79746EDE1}"/>
          </ac:spMkLst>
        </pc:spChg>
        <pc:spChg chg="add del mod">
          <ac:chgData name="Steiner Andreas 6206 ED" userId="e6377c33-a923-4f14-8587-531c474c7b48" providerId="ADAL" clId="{6ECD27E6-B224-41CD-B4E0-E297462320DD}" dt="2023-11-23T19:53:03.411" v="2604"/>
          <ac:spMkLst>
            <pc:docMk/>
            <pc:sldMk cId="2752045962" sldId="2147473973"/>
            <ac:spMk id="24" creationId="{B9FB6EA3-CCFC-B273-3407-4E1FA32B1730}"/>
          </ac:spMkLst>
        </pc:spChg>
        <pc:spChg chg="add del mod">
          <ac:chgData name="Steiner Andreas 6206 ED" userId="e6377c33-a923-4f14-8587-531c474c7b48" providerId="ADAL" clId="{6ECD27E6-B224-41CD-B4E0-E297462320DD}" dt="2023-11-23T19:53:15.143" v="2759"/>
          <ac:spMkLst>
            <pc:docMk/>
            <pc:sldMk cId="2752045962" sldId="2147473973"/>
            <ac:spMk id="25" creationId="{2C04FA95-5A2B-DDA9-B871-06B6085FA67C}"/>
          </ac:spMkLst>
        </pc:spChg>
        <pc:spChg chg="add del mod">
          <ac:chgData name="Steiner Andreas 6206 ED" userId="e6377c33-a923-4f14-8587-531c474c7b48" providerId="ADAL" clId="{6ECD27E6-B224-41CD-B4E0-E297462320DD}" dt="2023-11-23T19:53:26.826" v="2914"/>
          <ac:spMkLst>
            <pc:docMk/>
            <pc:sldMk cId="2752045962" sldId="2147473973"/>
            <ac:spMk id="26" creationId="{BC24CD5A-8FC5-3B09-2AAD-07F0B57AC2E0}"/>
          </ac:spMkLst>
        </pc:spChg>
        <pc:spChg chg="add del mod">
          <ac:chgData name="Steiner Andreas 6206 ED" userId="e6377c33-a923-4f14-8587-531c474c7b48" providerId="ADAL" clId="{6ECD27E6-B224-41CD-B4E0-E297462320DD}" dt="2023-11-23T19:53:38.484" v="3069"/>
          <ac:spMkLst>
            <pc:docMk/>
            <pc:sldMk cId="2752045962" sldId="2147473973"/>
            <ac:spMk id="27" creationId="{B1867E3F-88AD-F477-F37A-1233856EF117}"/>
          </ac:spMkLst>
        </pc:spChg>
        <pc:spChg chg="add del mod">
          <ac:chgData name="Steiner Andreas 6206 ED" userId="e6377c33-a923-4f14-8587-531c474c7b48" providerId="ADAL" clId="{6ECD27E6-B224-41CD-B4E0-E297462320DD}" dt="2023-11-23T19:53:50.147" v="3224"/>
          <ac:spMkLst>
            <pc:docMk/>
            <pc:sldMk cId="2752045962" sldId="2147473973"/>
            <ac:spMk id="28" creationId="{1B900474-47B3-E394-E755-2FA9CD6C0F0D}"/>
          </ac:spMkLst>
        </pc:spChg>
        <pc:spChg chg="add del mod">
          <ac:chgData name="Steiner Andreas 6206 ED" userId="e6377c33-a923-4f14-8587-531c474c7b48" providerId="ADAL" clId="{6ECD27E6-B224-41CD-B4E0-E297462320DD}" dt="2023-11-23T19:54:01.821" v="3379"/>
          <ac:spMkLst>
            <pc:docMk/>
            <pc:sldMk cId="2752045962" sldId="2147473973"/>
            <ac:spMk id="29" creationId="{2A7310C9-C48F-DE0D-F25F-A9BE76A3C3B4}"/>
          </ac:spMkLst>
        </pc:spChg>
        <pc:spChg chg="add del mod">
          <ac:chgData name="Steiner Andreas 6206 ED" userId="e6377c33-a923-4f14-8587-531c474c7b48" providerId="ADAL" clId="{6ECD27E6-B224-41CD-B4E0-E297462320DD}" dt="2023-11-23T19:54:13.511" v="3534"/>
          <ac:spMkLst>
            <pc:docMk/>
            <pc:sldMk cId="2752045962" sldId="2147473973"/>
            <ac:spMk id="30" creationId="{ECDD0687-9464-E1A1-1968-E87C686FA7E1}"/>
          </ac:spMkLst>
        </pc:spChg>
        <pc:spChg chg="add del mod">
          <ac:chgData name="Steiner Andreas 6206 ED" userId="e6377c33-a923-4f14-8587-531c474c7b48" providerId="ADAL" clId="{6ECD27E6-B224-41CD-B4E0-E297462320DD}" dt="2023-11-23T19:54:25.174" v="3689"/>
          <ac:spMkLst>
            <pc:docMk/>
            <pc:sldMk cId="2752045962" sldId="2147473973"/>
            <ac:spMk id="31" creationId="{2B4AD4EC-7DB5-0EBE-F20E-B433C816D31D}"/>
          </ac:spMkLst>
        </pc:spChg>
        <pc:spChg chg="add del mod">
          <ac:chgData name="Steiner Andreas 6206 ED" userId="e6377c33-a923-4f14-8587-531c474c7b48" providerId="ADAL" clId="{6ECD27E6-B224-41CD-B4E0-E297462320DD}" dt="2023-11-23T19:54:36.894" v="3844"/>
          <ac:spMkLst>
            <pc:docMk/>
            <pc:sldMk cId="2752045962" sldId="2147473973"/>
            <ac:spMk id="32" creationId="{C86BE605-2EB4-0100-989E-CD106E6A5D5F}"/>
          </ac:spMkLst>
        </pc:spChg>
        <pc:spChg chg="add del mod">
          <ac:chgData name="Steiner Andreas 6206 ED" userId="e6377c33-a923-4f14-8587-531c474c7b48" providerId="ADAL" clId="{6ECD27E6-B224-41CD-B4E0-E297462320DD}" dt="2023-11-23T19:54:48.217" v="3999"/>
          <ac:spMkLst>
            <pc:docMk/>
            <pc:sldMk cId="2752045962" sldId="2147473973"/>
            <ac:spMk id="33" creationId="{8C7FFA55-0197-034B-F751-4DC64F58866F}"/>
          </ac:spMkLst>
        </pc:spChg>
        <pc:spChg chg="add del mod">
          <ac:chgData name="Steiner Andreas 6206 ED" userId="e6377c33-a923-4f14-8587-531c474c7b48" providerId="ADAL" clId="{6ECD27E6-B224-41CD-B4E0-E297462320DD}" dt="2023-11-23T19:54:59.868" v="4154"/>
          <ac:spMkLst>
            <pc:docMk/>
            <pc:sldMk cId="2752045962" sldId="2147473973"/>
            <ac:spMk id="34" creationId="{0DA0DE44-CC31-2B54-7450-9D24C4A3AFC2}"/>
          </ac:spMkLst>
        </pc:spChg>
        <pc:spChg chg="add del mod">
          <ac:chgData name="Steiner Andreas 6206 ED" userId="e6377c33-a923-4f14-8587-531c474c7b48" providerId="ADAL" clId="{6ECD27E6-B224-41CD-B4E0-E297462320DD}" dt="2023-11-23T19:55:11.602" v="4309"/>
          <ac:spMkLst>
            <pc:docMk/>
            <pc:sldMk cId="2752045962" sldId="2147473973"/>
            <ac:spMk id="35" creationId="{2A0AD765-47BF-E138-0804-C1277747121E}"/>
          </ac:spMkLst>
        </pc:spChg>
        <pc:spChg chg="add del mod">
          <ac:chgData name="Steiner Andreas 6206 ED" userId="e6377c33-a923-4f14-8587-531c474c7b48" providerId="ADAL" clId="{6ECD27E6-B224-41CD-B4E0-E297462320DD}" dt="2023-11-23T19:55:23.278" v="4464"/>
          <ac:spMkLst>
            <pc:docMk/>
            <pc:sldMk cId="2752045962" sldId="2147473973"/>
            <ac:spMk id="36" creationId="{B3E361EF-1DE4-8544-7D95-5AFB65475479}"/>
          </ac:spMkLst>
        </pc:spChg>
        <pc:spChg chg="add del mod">
          <ac:chgData name="Steiner Andreas 6206 ED" userId="e6377c33-a923-4f14-8587-531c474c7b48" providerId="ADAL" clId="{6ECD27E6-B224-41CD-B4E0-E297462320DD}" dt="2023-11-23T19:55:34.922" v="4619"/>
          <ac:spMkLst>
            <pc:docMk/>
            <pc:sldMk cId="2752045962" sldId="2147473973"/>
            <ac:spMk id="37" creationId="{1BC1DADC-6E5E-DFB0-A3A0-28021B091561}"/>
          </ac:spMkLst>
        </pc:spChg>
        <pc:spChg chg="add del mod">
          <ac:chgData name="Steiner Andreas 6206 ED" userId="e6377c33-a923-4f14-8587-531c474c7b48" providerId="ADAL" clId="{6ECD27E6-B224-41CD-B4E0-E297462320DD}" dt="2023-11-23T19:55:46.250" v="4774"/>
          <ac:spMkLst>
            <pc:docMk/>
            <pc:sldMk cId="2752045962" sldId="2147473973"/>
            <ac:spMk id="38" creationId="{91795437-00B2-3F49-3203-F91F45F6173E}"/>
          </ac:spMkLst>
        </pc:spChg>
        <pc:spChg chg="add del mod">
          <ac:chgData name="Steiner Andreas 6206 ED" userId="e6377c33-a923-4f14-8587-531c474c7b48" providerId="ADAL" clId="{6ECD27E6-B224-41CD-B4E0-E297462320DD}" dt="2023-11-23T19:55:57.921" v="4929"/>
          <ac:spMkLst>
            <pc:docMk/>
            <pc:sldMk cId="2752045962" sldId="2147473973"/>
            <ac:spMk id="39" creationId="{56B167E2-4F41-ACF2-DB00-9735379F9E78}"/>
          </ac:spMkLst>
        </pc:spChg>
        <pc:spChg chg="add del mod">
          <ac:chgData name="Steiner Andreas 6206 ED" userId="e6377c33-a923-4f14-8587-531c474c7b48" providerId="ADAL" clId="{6ECD27E6-B224-41CD-B4E0-E297462320DD}" dt="2023-11-23T19:56:09.593" v="5084"/>
          <ac:spMkLst>
            <pc:docMk/>
            <pc:sldMk cId="2752045962" sldId="2147473973"/>
            <ac:spMk id="40" creationId="{82E8BF12-99CC-E416-E807-4977959455EA}"/>
          </ac:spMkLst>
        </pc:spChg>
        <pc:spChg chg="add del mod">
          <ac:chgData name="Steiner Andreas 6206 ED" userId="e6377c33-a923-4f14-8587-531c474c7b48" providerId="ADAL" clId="{6ECD27E6-B224-41CD-B4E0-E297462320DD}" dt="2023-11-23T19:56:21.287" v="5239"/>
          <ac:spMkLst>
            <pc:docMk/>
            <pc:sldMk cId="2752045962" sldId="2147473973"/>
            <ac:spMk id="41" creationId="{37A40B29-2147-9640-3CD4-B2BF6B40BAB7}"/>
          </ac:spMkLst>
        </pc:spChg>
        <pc:spChg chg="add del mod">
          <ac:chgData name="Steiner Andreas 6206 ED" userId="e6377c33-a923-4f14-8587-531c474c7b48" providerId="ADAL" clId="{6ECD27E6-B224-41CD-B4E0-E297462320DD}" dt="2023-11-23T19:56:32.972" v="5394"/>
          <ac:spMkLst>
            <pc:docMk/>
            <pc:sldMk cId="2752045962" sldId="2147473973"/>
            <ac:spMk id="42" creationId="{EAEA8BEE-305A-6292-6EF1-0088C7BFA8DD}"/>
          </ac:spMkLst>
        </pc:spChg>
        <pc:spChg chg="add del mod">
          <ac:chgData name="Steiner Andreas 6206 ED" userId="e6377c33-a923-4f14-8587-531c474c7b48" providerId="ADAL" clId="{6ECD27E6-B224-41CD-B4E0-E297462320DD}" dt="2023-11-23T19:56:44.330" v="5549"/>
          <ac:spMkLst>
            <pc:docMk/>
            <pc:sldMk cId="2752045962" sldId="2147473973"/>
            <ac:spMk id="43" creationId="{BDBC5FDD-7110-10E6-E16F-77F882AA2EC0}"/>
          </ac:spMkLst>
        </pc:spChg>
        <pc:spChg chg="add del mod">
          <ac:chgData name="Steiner Andreas 6206 ED" userId="e6377c33-a923-4f14-8587-531c474c7b48" providerId="ADAL" clId="{6ECD27E6-B224-41CD-B4E0-E297462320DD}" dt="2023-11-23T19:56:54.706" v="5704"/>
          <ac:spMkLst>
            <pc:docMk/>
            <pc:sldMk cId="2752045962" sldId="2147473973"/>
            <ac:spMk id="44" creationId="{782B6A84-583E-25C7-4640-08E4C1F999E1}"/>
          </ac:spMkLst>
        </pc:spChg>
        <pc:spChg chg="add del mod">
          <ac:chgData name="Steiner Andreas 6206 ED" userId="e6377c33-a923-4f14-8587-531c474c7b48" providerId="ADAL" clId="{6ECD27E6-B224-41CD-B4E0-E297462320DD}" dt="2023-11-23T19:57:06.171" v="5859"/>
          <ac:spMkLst>
            <pc:docMk/>
            <pc:sldMk cId="2752045962" sldId="2147473973"/>
            <ac:spMk id="45" creationId="{44E15B8C-A04A-3C97-91A0-AAEB725475AD}"/>
          </ac:spMkLst>
        </pc:spChg>
        <pc:spChg chg="add del mod">
          <ac:chgData name="Steiner Andreas 6206 ED" userId="e6377c33-a923-4f14-8587-531c474c7b48" providerId="ADAL" clId="{6ECD27E6-B224-41CD-B4E0-E297462320DD}" dt="2023-11-23T19:57:17.862" v="6014"/>
          <ac:spMkLst>
            <pc:docMk/>
            <pc:sldMk cId="2752045962" sldId="2147473973"/>
            <ac:spMk id="46" creationId="{A0E91182-C99F-23F6-88FC-DF5DB863D979}"/>
          </ac:spMkLst>
        </pc:spChg>
        <pc:spChg chg="add del mod">
          <ac:chgData name="Steiner Andreas 6206 ED" userId="e6377c33-a923-4f14-8587-531c474c7b48" providerId="ADAL" clId="{6ECD27E6-B224-41CD-B4E0-E297462320DD}" dt="2023-11-23T19:57:29.313" v="6169"/>
          <ac:spMkLst>
            <pc:docMk/>
            <pc:sldMk cId="2752045962" sldId="2147473973"/>
            <ac:spMk id="47" creationId="{A404E388-0E80-B249-CA79-15A368EE9D60}"/>
          </ac:spMkLst>
        </pc:spChg>
        <pc:spChg chg="add del mod">
          <ac:chgData name="Steiner Andreas 6206 ED" userId="e6377c33-a923-4f14-8587-531c474c7b48" providerId="ADAL" clId="{6ECD27E6-B224-41CD-B4E0-E297462320DD}" dt="2023-11-23T19:57:40.941" v="6324"/>
          <ac:spMkLst>
            <pc:docMk/>
            <pc:sldMk cId="2752045962" sldId="2147473973"/>
            <ac:spMk id="48" creationId="{8A6C27AF-B8BA-8D82-5656-B834B066CD5B}"/>
          </ac:spMkLst>
        </pc:spChg>
        <pc:spChg chg="add del mod">
          <ac:chgData name="Steiner Andreas 6206 ED" userId="e6377c33-a923-4f14-8587-531c474c7b48" providerId="ADAL" clId="{6ECD27E6-B224-41CD-B4E0-E297462320DD}" dt="2023-11-23T19:57:52.611" v="6479"/>
          <ac:spMkLst>
            <pc:docMk/>
            <pc:sldMk cId="2752045962" sldId="2147473973"/>
            <ac:spMk id="49" creationId="{5DCB053D-7B02-7292-5A77-70BDBB6DE5C0}"/>
          </ac:spMkLst>
        </pc:spChg>
        <pc:spChg chg="add del mod">
          <ac:chgData name="Steiner Andreas 6206 ED" userId="e6377c33-a923-4f14-8587-531c474c7b48" providerId="ADAL" clId="{6ECD27E6-B224-41CD-B4E0-E297462320DD}" dt="2023-11-23T19:58:04.317" v="6634"/>
          <ac:spMkLst>
            <pc:docMk/>
            <pc:sldMk cId="2752045962" sldId="2147473973"/>
            <ac:spMk id="50" creationId="{9EA3A94F-B341-DD7A-59C7-B3BC60A86E57}"/>
          </ac:spMkLst>
        </pc:spChg>
        <pc:spChg chg="add del mod">
          <ac:chgData name="Steiner Andreas 6206 ED" userId="e6377c33-a923-4f14-8587-531c474c7b48" providerId="ADAL" clId="{6ECD27E6-B224-41CD-B4E0-E297462320DD}" dt="2023-11-23T19:58:15.705" v="6789"/>
          <ac:spMkLst>
            <pc:docMk/>
            <pc:sldMk cId="2752045962" sldId="2147473973"/>
            <ac:spMk id="51" creationId="{498CC4AE-23DF-4093-8FD6-7A391C6180FF}"/>
          </ac:spMkLst>
        </pc:spChg>
        <pc:spChg chg="add del mod">
          <ac:chgData name="Steiner Andreas 6206 ED" userId="e6377c33-a923-4f14-8587-531c474c7b48" providerId="ADAL" clId="{6ECD27E6-B224-41CD-B4E0-E297462320DD}" dt="2023-11-23T19:58:27.830" v="6944"/>
          <ac:spMkLst>
            <pc:docMk/>
            <pc:sldMk cId="2752045962" sldId="2147473973"/>
            <ac:spMk id="52" creationId="{7287B6DD-AC44-4A05-9114-853E32004C9B}"/>
          </ac:spMkLst>
        </pc:spChg>
        <pc:spChg chg="add del mod">
          <ac:chgData name="Steiner Andreas 6206 ED" userId="e6377c33-a923-4f14-8587-531c474c7b48" providerId="ADAL" clId="{6ECD27E6-B224-41CD-B4E0-E297462320DD}" dt="2023-11-23T19:58:39.573" v="7099"/>
          <ac:spMkLst>
            <pc:docMk/>
            <pc:sldMk cId="2752045962" sldId="2147473973"/>
            <ac:spMk id="53" creationId="{7639FCE5-AEAE-622D-E40A-FDBD78F0E337}"/>
          </ac:spMkLst>
        </pc:spChg>
        <pc:spChg chg="add del mod">
          <ac:chgData name="Steiner Andreas 6206 ED" userId="e6377c33-a923-4f14-8587-531c474c7b48" providerId="ADAL" clId="{6ECD27E6-B224-41CD-B4E0-E297462320DD}" dt="2023-11-23T19:58:51.260" v="7254"/>
          <ac:spMkLst>
            <pc:docMk/>
            <pc:sldMk cId="2752045962" sldId="2147473973"/>
            <ac:spMk id="54" creationId="{C7084B18-92F3-0D75-07D6-D1A719F12875}"/>
          </ac:spMkLst>
        </pc:spChg>
        <pc:spChg chg="add del mod">
          <ac:chgData name="Steiner Andreas 6206 ED" userId="e6377c33-a923-4f14-8587-531c474c7b48" providerId="ADAL" clId="{6ECD27E6-B224-41CD-B4E0-E297462320DD}" dt="2023-11-23T19:59:02.632" v="7409"/>
          <ac:spMkLst>
            <pc:docMk/>
            <pc:sldMk cId="2752045962" sldId="2147473973"/>
            <ac:spMk id="55" creationId="{2BD8E87B-F204-2D06-8DF1-CA60F90D6EA5}"/>
          </ac:spMkLst>
        </pc:spChg>
        <pc:spChg chg="add del mod">
          <ac:chgData name="Steiner Andreas 6206 ED" userId="e6377c33-a923-4f14-8587-531c474c7b48" providerId="ADAL" clId="{6ECD27E6-B224-41CD-B4E0-E297462320DD}" dt="2023-11-24T08:31:41.516" v="7564"/>
          <ac:spMkLst>
            <pc:docMk/>
            <pc:sldMk cId="2752045962" sldId="2147473973"/>
            <ac:spMk id="56" creationId="{FB2D46C5-B508-E86A-9CF1-21511EFFB8B4}"/>
          </ac:spMkLst>
        </pc:spChg>
        <pc:spChg chg="add del mod">
          <ac:chgData name="Steiner Andreas 6206 ED" userId="e6377c33-a923-4f14-8587-531c474c7b48" providerId="ADAL" clId="{6ECD27E6-B224-41CD-B4E0-E297462320DD}" dt="2023-11-24T08:31:45.199" v="7719"/>
          <ac:spMkLst>
            <pc:docMk/>
            <pc:sldMk cId="2752045962" sldId="2147473973"/>
            <ac:spMk id="57" creationId="{9CAE1C3B-3491-5642-654F-92DADA946211}"/>
          </ac:spMkLst>
        </pc:spChg>
        <pc:spChg chg="add del mod">
          <ac:chgData name="Steiner Andreas 6206 ED" userId="e6377c33-a923-4f14-8587-531c474c7b48" providerId="ADAL" clId="{6ECD27E6-B224-41CD-B4E0-E297462320DD}" dt="2023-11-24T08:31:47.047" v="7874"/>
          <ac:spMkLst>
            <pc:docMk/>
            <pc:sldMk cId="2752045962" sldId="2147473973"/>
            <ac:spMk id="58" creationId="{05D0AC80-9966-E1C8-7D9B-77B3F45CFC3E}"/>
          </ac:spMkLst>
        </pc:spChg>
        <pc:spChg chg="add del mod">
          <ac:chgData name="Steiner Andreas 6206 ED" userId="e6377c33-a923-4f14-8587-531c474c7b48" providerId="ADAL" clId="{6ECD27E6-B224-41CD-B4E0-E297462320DD}" dt="2023-11-24T08:31:48.922" v="8029"/>
          <ac:spMkLst>
            <pc:docMk/>
            <pc:sldMk cId="2752045962" sldId="2147473973"/>
            <ac:spMk id="59" creationId="{685BD98F-8D85-A409-DE6D-E01AC710B2E8}"/>
          </ac:spMkLst>
        </pc:spChg>
        <pc:spChg chg="add del mod">
          <ac:chgData name="Steiner Andreas 6206 ED" userId="e6377c33-a923-4f14-8587-531c474c7b48" providerId="ADAL" clId="{6ECD27E6-B224-41CD-B4E0-E297462320DD}" dt="2023-11-24T08:31:50.776" v="8184"/>
          <ac:spMkLst>
            <pc:docMk/>
            <pc:sldMk cId="2752045962" sldId="2147473973"/>
            <ac:spMk id="60" creationId="{33CD5ECE-1D98-A6B2-8316-ADA5D2F38D52}"/>
          </ac:spMkLst>
        </pc:spChg>
        <pc:spChg chg="add del mod">
          <ac:chgData name="Steiner Andreas 6206 ED" userId="e6377c33-a923-4f14-8587-531c474c7b48" providerId="ADAL" clId="{6ECD27E6-B224-41CD-B4E0-E297462320DD}" dt="2023-11-24T08:31:52.567" v="8339"/>
          <ac:spMkLst>
            <pc:docMk/>
            <pc:sldMk cId="2752045962" sldId="2147473973"/>
            <ac:spMk id="61" creationId="{8D9B9917-8A13-FFCA-D238-E284F8125477}"/>
          </ac:spMkLst>
        </pc:spChg>
        <pc:spChg chg="add del mod">
          <ac:chgData name="Steiner Andreas 6206 ED" userId="e6377c33-a923-4f14-8587-531c474c7b48" providerId="ADAL" clId="{6ECD27E6-B224-41CD-B4E0-E297462320DD}" dt="2023-11-24T08:31:54.378" v="8494"/>
          <ac:spMkLst>
            <pc:docMk/>
            <pc:sldMk cId="2752045962" sldId="2147473973"/>
            <ac:spMk id="62" creationId="{6DA06318-BB5B-0E40-915C-8DE929D11A85}"/>
          </ac:spMkLst>
        </pc:spChg>
        <pc:spChg chg="add del mod">
          <ac:chgData name="Steiner Andreas 6206 ED" userId="e6377c33-a923-4f14-8587-531c474c7b48" providerId="ADAL" clId="{6ECD27E6-B224-41CD-B4E0-E297462320DD}" dt="2023-11-24T08:31:56.218" v="8649"/>
          <ac:spMkLst>
            <pc:docMk/>
            <pc:sldMk cId="2752045962" sldId="2147473973"/>
            <ac:spMk id="63" creationId="{B8A25015-6FCA-4F36-97A0-D7F7B878CB3A}"/>
          </ac:spMkLst>
        </pc:spChg>
        <pc:spChg chg="add del mod">
          <ac:chgData name="Steiner Andreas 6206 ED" userId="e6377c33-a923-4f14-8587-531c474c7b48" providerId="ADAL" clId="{6ECD27E6-B224-41CD-B4E0-E297462320DD}" dt="2023-11-24T08:31:58.101" v="8804"/>
          <ac:spMkLst>
            <pc:docMk/>
            <pc:sldMk cId="2752045962" sldId="2147473973"/>
            <ac:spMk id="64" creationId="{45C8BDFD-0B28-BA8A-5DF7-1DDB1609BB5F}"/>
          </ac:spMkLst>
        </pc:spChg>
        <pc:spChg chg="add del mod">
          <ac:chgData name="Steiner Andreas 6206 ED" userId="e6377c33-a923-4f14-8587-531c474c7b48" providerId="ADAL" clId="{6ECD27E6-B224-41CD-B4E0-E297462320DD}" dt="2023-11-24T08:32:00.848" v="8959"/>
          <ac:spMkLst>
            <pc:docMk/>
            <pc:sldMk cId="2752045962" sldId="2147473973"/>
            <ac:spMk id="65" creationId="{7BBF21F2-6C38-FD39-9ADE-E23DDAC77B4E}"/>
          </ac:spMkLst>
        </pc:spChg>
        <pc:spChg chg="add del mod">
          <ac:chgData name="Steiner Andreas 6206 ED" userId="e6377c33-a923-4f14-8587-531c474c7b48" providerId="ADAL" clId="{6ECD27E6-B224-41CD-B4E0-E297462320DD}" dt="2023-11-24T08:32:03.160" v="9114"/>
          <ac:spMkLst>
            <pc:docMk/>
            <pc:sldMk cId="2752045962" sldId="2147473973"/>
            <ac:spMk id="66" creationId="{88AC48BF-BB97-BD28-2981-C299E8B02BD9}"/>
          </ac:spMkLst>
        </pc:spChg>
        <pc:spChg chg="add del mod">
          <ac:chgData name="Steiner Andreas 6206 ED" userId="e6377c33-a923-4f14-8587-531c474c7b48" providerId="ADAL" clId="{6ECD27E6-B224-41CD-B4E0-E297462320DD}" dt="2023-11-24T08:32:05.202" v="9269"/>
          <ac:spMkLst>
            <pc:docMk/>
            <pc:sldMk cId="2752045962" sldId="2147473973"/>
            <ac:spMk id="67" creationId="{0D22357E-1D98-B90A-41D8-6C8248F31B87}"/>
          </ac:spMkLst>
        </pc:spChg>
        <pc:spChg chg="add del mod">
          <ac:chgData name="Steiner Andreas 6206 ED" userId="e6377c33-a923-4f14-8587-531c474c7b48" providerId="ADAL" clId="{6ECD27E6-B224-41CD-B4E0-E297462320DD}" dt="2023-11-24T08:32:07.143" v="9424"/>
          <ac:spMkLst>
            <pc:docMk/>
            <pc:sldMk cId="2752045962" sldId="2147473973"/>
            <ac:spMk id="68" creationId="{FD0C1B40-C788-401A-2C8F-43B56D064F1C}"/>
          </ac:spMkLst>
        </pc:spChg>
        <pc:spChg chg="add del mod">
          <ac:chgData name="Steiner Andreas 6206 ED" userId="e6377c33-a923-4f14-8587-531c474c7b48" providerId="ADAL" clId="{6ECD27E6-B224-41CD-B4E0-E297462320DD}" dt="2023-11-24T08:32:09.476" v="9579"/>
          <ac:spMkLst>
            <pc:docMk/>
            <pc:sldMk cId="2752045962" sldId="2147473973"/>
            <ac:spMk id="69" creationId="{7C66BE50-C2CA-E48C-F9E0-D3803292FAEA}"/>
          </ac:spMkLst>
        </pc:spChg>
        <pc:spChg chg="add del mod">
          <ac:chgData name="Steiner Andreas 6206 ED" userId="e6377c33-a923-4f14-8587-531c474c7b48" providerId="ADAL" clId="{6ECD27E6-B224-41CD-B4E0-E297462320DD}" dt="2023-11-24T08:32:11.779" v="9734"/>
          <ac:spMkLst>
            <pc:docMk/>
            <pc:sldMk cId="2752045962" sldId="2147473973"/>
            <ac:spMk id="70" creationId="{847BF2F8-7E3B-B1E9-1E04-55A1DBADD831}"/>
          </ac:spMkLst>
        </pc:spChg>
        <pc:spChg chg="add del mod">
          <ac:chgData name="Steiner Andreas 6206 ED" userId="e6377c33-a923-4f14-8587-531c474c7b48" providerId="ADAL" clId="{6ECD27E6-B224-41CD-B4E0-E297462320DD}" dt="2023-11-24T08:32:13.942" v="9889"/>
          <ac:spMkLst>
            <pc:docMk/>
            <pc:sldMk cId="2752045962" sldId="2147473973"/>
            <ac:spMk id="71" creationId="{6A65F5C6-EF1A-A6DD-8567-0BD13D62970C}"/>
          </ac:spMkLst>
        </pc:spChg>
        <pc:spChg chg="add del mod">
          <ac:chgData name="Steiner Andreas 6206 ED" userId="e6377c33-a923-4f14-8587-531c474c7b48" providerId="ADAL" clId="{6ECD27E6-B224-41CD-B4E0-E297462320DD}" dt="2023-11-24T08:32:15.883" v="10044"/>
          <ac:spMkLst>
            <pc:docMk/>
            <pc:sldMk cId="2752045962" sldId="2147473973"/>
            <ac:spMk id="72" creationId="{82DE5B98-122F-9F42-5647-C37D38B05935}"/>
          </ac:spMkLst>
        </pc:spChg>
        <pc:spChg chg="add del mod">
          <ac:chgData name="Steiner Andreas 6206 ED" userId="e6377c33-a923-4f14-8587-531c474c7b48" providerId="ADAL" clId="{6ECD27E6-B224-41CD-B4E0-E297462320DD}" dt="2023-11-24T08:32:17.879" v="10199"/>
          <ac:spMkLst>
            <pc:docMk/>
            <pc:sldMk cId="2752045962" sldId="2147473973"/>
            <ac:spMk id="73" creationId="{4FE03596-C846-F0F1-E709-7920EC7969AC}"/>
          </ac:spMkLst>
        </pc:spChg>
        <pc:spChg chg="add del mod">
          <ac:chgData name="Steiner Andreas 6206 ED" userId="e6377c33-a923-4f14-8587-531c474c7b48" providerId="ADAL" clId="{6ECD27E6-B224-41CD-B4E0-E297462320DD}" dt="2023-11-24T08:32:19.834" v="10354"/>
          <ac:spMkLst>
            <pc:docMk/>
            <pc:sldMk cId="2752045962" sldId="2147473973"/>
            <ac:spMk id="74" creationId="{8D39F8CF-72E3-F3E9-A071-AD533A57DE0B}"/>
          </ac:spMkLst>
        </pc:spChg>
        <pc:spChg chg="add del mod">
          <ac:chgData name="Steiner Andreas 6206 ED" userId="e6377c33-a923-4f14-8587-531c474c7b48" providerId="ADAL" clId="{6ECD27E6-B224-41CD-B4E0-E297462320DD}" dt="2023-11-24T08:32:21.793" v="10509"/>
          <ac:spMkLst>
            <pc:docMk/>
            <pc:sldMk cId="2752045962" sldId="2147473973"/>
            <ac:spMk id="75" creationId="{53A8E103-428D-6B1F-450E-0460E86D57FA}"/>
          </ac:spMkLst>
        </pc:spChg>
        <pc:spChg chg="add del mod">
          <ac:chgData name="Steiner Andreas 6206 ED" userId="e6377c33-a923-4f14-8587-531c474c7b48" providerId="ADAL" clId="{6ECD27E6-B224-41CD-B4E0-E297462320DD}" dt="2023-11-24T08:32:23.966" v="10664"/>
          <ac:spMkLst>
            <pc:docMk/>
            <pc:sldMk cId="2752045962" sldId="2147473973"/>
            <ac:spMk id="76" creationId="{64B2DC3D-1A5D-8345-4C0A-B1DE5EF6C6E3}"/>
          </ac:spMkLst>
        </pc:spChg>
        <pc:spChg chg="add del mod">
          <ac:chgData name="Steiner Andreas 6206 ED" userId="e6377c33-a923-4f14-8587-531c474c7b48" providerId="ADAL" clId="{6ECD27E6-B224-41CD-B4E0-E297462320DD}" dt="2023-11-24T08:32:25.918" v="10819"/>
          <ac:spMkLst>
            <pc:docMk/>
            <pc:sldMk cId="2752045962" sldId="2147473973"/>
            <ac:spMk id="77" creationId="{75DC7A33-CC74-E639-ABE8-60B427440141}"/>
          </ac:spMkLst>
        </pc:spChg>
        <pc:spChg chg="add del mod">
          <ac:chgData name="Steiner Andreas 6206 ED" userId="e6377c33-a923-4f14-8587-531c474c7b48" providerId="ADAL" clId="{6ECD27E6-B224-41CD-B4E0-E297462320DD}" dt="2023-11-24T08:32:27.905" v="10974"/>
          <ac:spMkLst>
            <pc:docMk/>
            <pc:sldMk cId="2752045962" sldId="2147473973"/>
            <ac:spMk id="78" creationId="{055F6B8F-E18D-CB0D-11E6-87EFF50F7DCC}"/>
          </ac:spMkLst>
        </pc:spChg>
        <pc:spChg chg="add del mod">
          <ac:chgData name="Steiner Andreas 6206 ED" userId="e6377c33-a923-4f14-8587-531c474c7b48" providerId="ADAL" clId="{6ECD27E6-B224-41CD-B4E0-E297462320DD}" dt="2023-11-24T08:32:29.814" v="11129"/>
          <ac:spMkLst>
            <pc:docMk/>
            <pc:sldMk cId="2752045962" sldId="2147473973"/>
            <ac:spMk id="79" creationId="{4C90EFD7-75EA-E8DE-839B-AE8DE7C24949}"/>
          </ac:spMkLst>
        </pc:spChg>
        <pc:spChg chg="add del mod">
          <ac:chgData name="Steiner Andreas 6206 ED" userId="e6377c33-a923-4f14-8587-531c474c7b48" providerId="ADAL" clId="{6ECD27E6-B224-41CD-B4E0-E297462320DD}" dt="2023-11-24T08:32:31.941" v="11284"/>
          <ac:spMkLst>
            <pc:docMk/>
            <pc:sldMk cId="2752045962" sldId="2147473973"/>
            <ac:spMk id="80" creationId="{29DB334A-21FF-E148-99A8-C1780936226E}"/>
          </ac:spMkLst>
        </pc:spChg>
        <pc:spChg chg="add del mod">
          <ac:chgData name="Steiner Andreas 6206 ED" userId="e6377c33-a923-4f14-8587-531c474c7b48" providerId="ADAL" clId="{6ECD27E6-B224-41CD-B4E0-E297462320DD}" dt="2023-11-24T08:32:34.308" v="11439"/>
          <ac:spMkLst>
            <pc:docMk/>
            <pc:sldMk cId="2752045962" sldId="2147473973"/>
            <ac:spMk id="81" creationId="{37E9B04E-5491-69BD-7DFA-7FA2C5E5C204}"/>
          </ac:spMkLst>
        </pc:spChg>
        <pc:spChg chg="add del mod">
          <ac:chgData name="Steiner Andreas 6206 ED" userId="e6377c33-a923-4f14-8587-531c474c7b48" providerId="ADAL" clId="{6ECD27E6-B224-41CD-B4E0-E297462320DD}" dt="2023-11-24T08:32:36.660" v="11594"/>
          <ac:spMkLst>
            <pc:docMk/>
            <pc:sldMk cId="2752045962" sldId="2147473973"/>
            <ac:spMk id="82" creationId="{4BB12169-66C3-77D9-256B-381AAC388361}"/>
          </ac:spMkLst>
        </pc:spChg>
        <pc:spChg chg="add del mod">
          <ac:chgData name="Steiner Andreas 6206 ED" userId="e6377c33-a923-4f14-8587-531c474c7b48" providerId="ADAL" clId="{6ECD27E6-B224-41CD-B4E0-E297462320DD}" dt="2023-11-24T08:32:38.593" v="11749"/>
          <ac:spMkLst>
            <pc:docMk/>
            <pc:sldMk cId="2752045962" sldId="2147473973"/>
            <ac:spMk id="83" creationId="{9188CFEA-1727-C5F6-6BF5-51CCA9EE30EE}"/>
          </ac:spMkLst>
        </pc:spChg>
        <pc:spChg chg="add del mod">
          <ac:chgData name="Steiner Andreas 6206 ED" userId="e6377c33-a923-4f14-8587-531c474c7b48" providerId="ADAL" clId="{6ECD27E6-B224-41CD-B4E0-E297462320DD}" dt="2023-11-24T08:32:40.697" v="11904"/>
          <ac:spMkLst>
            <pc:docMk/>
            <pc:sldMk cId="2752045962" sldId="2147473973"/>
            <ac:spMk id="84" creationId="{36702656-9941-ABC0-332A-2C4ABF2DE258}"/>
          </ac:spMkLst>
        </pc:spChg>
        <pc:spChg chg="add del mod">
          <ac:chgData name="Steiner Andreas 6206 ED" userId="e6377c33-a923-4f14-8587-531c474c7b48" providerId="ADAL" clId="{6ECD27E6-B224-41CD-B4E0-E297462320DD}" dt="2023-11-24T08:32:42.840" v="12059"/>
          <ac:spMkLst>
            <pc:docMk/>
            <pc:sldMk cId="2752045962" sldId="2147473973"/>
            <ac:spMk id="85" creationId="{1F7E6E8E-6DCB-2104-7D50-D359ED22158A}"/>
          </ac:spMkLst>
        </pc:spChg>
        <pc:spChg chg="add del mod">
          <ac:chgData name="Steiner Andreas 6206 ED" userId="e6377c33-a923-4f14-8587-531c474c7b48" providerId="ADAL" clId="{6ECD27E6-B224-41CD-B4E0-E297462320DD}" dt="2023-11-24T08:32:44.992" v="12214"/>
          <ac:spMkLst>
            <pc:docMk/>
            <pc:sldMk cId="2752045962" sldId="2147473973"/>
            <ac:spMk id="86" creationId="{88823352-BC20-B15B-81DC-BAC7D0D98E31}"/>
          </ac:spMkLst>
        </pc:spChg>
        <pc:spChg chg="add del mod">
          <ac:chgData name="Steiner Andreas 6206 ED" userId="e6377c33-a923-4f14-8587-531c474c7b48" providerId="ADAL" clId="{6ECD27E6-B224-41CD-B4E0-E297462320DD}" dt="2023-11-24T08:32:47.179" v="12369"/>
          <ac:spMkLst>
            <pc:docMk/>
            <pc:sldMk cId="2752045962" sldId="2147473973"/>
            <ac:spMk id="87" creationId="{13D1EAFE-2257-B0F4-5577-60EBB314410D}"/>
          </ac:spMkLst>
        </pc:spChg>
        <pc:spChg chg="add del mod">
          <ac:chgData name="Steiner Andreas 6206 ED" userId="e6377c33-a923-4f14-8587-531c474c7b48" providerId="ADAL" clId="{6ECD27E6-B224-41CD-B4E0-E297462320DD}" dt="2023-11-24T08:32:49.232" v="12524"/>
          <ac:spMkLst>
            <pc:docMk/>
            <pc:sldMk cId="2752045962" sldId="2147473973"/>
            <ac:spMk id="88" creationId="{2CD594D2-DE3D-25DA-6247-15489C1BC704}"/>
          </ac:spMkLst>
        </pc:spChg>
        <pc:spChg chg="add del mod">
          <ac:chgData name="Steiner Andreas 6206 ED" userId="e6377c33-a923-4f14-8587-531c474c7b48" providerId="ADAL" clId="{6ECD27E6-B224-41CD-B4E0-E297462320DD}" dt="2023-11-24T08:32:51.174" v="12679"/>
          <ac:spMkLst>
            <pc:docMk/>
            <pc:sldMk cId="2752045962" sldId="2147473973"/>
            <ac:spMk id="89" creationId="{30BDDFA8-2DBD-2292-54AA-8F30C37D8F87}"/>
          </ac:spMkLst>
        </pc:spChg>
        <pc:spChg chg="add del mod">
          <ac:chgData name="Steiner Andreas 6206 ED" userId="e6377c33-a923-4f14-8587-531c474c7b48" providerId="ADAL" clId="{6ECD27E6-B224-41CD-B4E0-E297462320DD}" dt="2023-11-24T08:32:53.189" v="12834"/>
          <ac:spMkLst>
            <pc:docMk/>
            <pc:sldMk cId="2752045962" sldId="2147473973"/>
            <ac:spMk id="90" creationId="{68567AE5-777B-9CA9-EADF-BAC3D6A5B31C}"/>
          </ac:spMkLst>
        </pc:spChg>
        <pc:spChg chg="add del mod">
          <ac:chgData name="Steiner Andreas 6206 ED" userId="e6377c33-a923-4f14-8587-531c474c7b48" providerId="ADAL" clId="{6ECD27E6-B224-41CD-B4E0-E297462320DD}" dt="2023-11-24T08:32:55.180" v="12989"/>
          <ac:spMkLst>
            <pc:docMk/>
            <pc:sldMk cId="2752045962" sldId="2147473973"/>
            <ac:spMk id="91" creationId="{EB53F604-653F-0874-3FD8-2C1DE5A03064}"/>
          </ac:spMkLst>
        </pc:spChg>
        <pc:spChg chg="add del mod">
          <ac:chgData name="Steiner Andreas 6206 ED" userId="e6377c33-a923-4f14-8587-531c474c7b48" providerId="ADAL" clId="{6ECD27E6-B224-41CD-B4E0-E297462320DD}" dt="2023-11-24T08:32:57.104" v="13144"/>
          <ac:spMkLst>
            <pc:docMk/>
            <pc:sldMk cId="2752045962" sldId="2147473973"/>
            <ac:spMk id="92" creationId="{1B64BB6B-F5E4-FC55-2281-5601B7A39EC6}"/>
          </ac:spMkLst>
        </pc:spChg>
        <pc:spChg chg="add del mod">
          <ac:chgData name="Steiner Andreas 6206 ED" userId="e6377c33-a923-4f14-8587-531c474c7b48" providerId="ADAL" clId="{6ECD27E6-B224-41CD-B4E0-E297462320DD}" dt="2023-11-24T08:32:59.211" v="13299"/>
          <ac:spMkLst>
            <pc:docMk/>
            <pc:sldMk cId="2752045962" sldId="2147473973"/>
            <ac:spMk id="93" creationId="{ABF9638D-E86B-4D6E-4F86-BFC345AFA6A9}"/>
          </ac:spMkLst>
        </pc:spChg>
        <pc:spChg chg="add del mod">
          <ac:chgData name="Steiner Andreas 6206 ED" userId="e6377c33-a923-4f14-8587-531c474c7b48" providerId="ADAL" clId="{6ECD27E6-B224-41CD-B4E0-E297462320DD}" dt="2023-11-24T08:33:01.355" v="13454"/>
          <ac:spMkLst>
            <pc:docMk/>
            <pc:sldMk cId="2752045962" sldId="2147473973"/>
            <ac:spMk id="94" creationId="{BB905BFC-6A6B-5468-CFED-CFFD60360ADF}"/>
          </ac:spMkLst>
        </pc:spChg>
        <pc:spChg chg="add del mod">
          <ac:chgData name="Steiner Andreas 6206 ED" userId="e6377c33-a923-4f14-8587-531c474c7b48" providerId="ADAL" clId="{6ECD27E6-B224-41CD-B4E0-E297462320DD}" dt="2023-11-24T08:33:03.692" v="13609"/>
          <ac:spMkLst>
            <pc:docMk/>
            <pc:sldMk cId="2752045962" sldId="2147473973"/>
            <ac:spMk id="95" creationId="{9E7380FD-180C-CB12-BB72-FE3B389E3C5A}"/>
          </ac:spMkLst>
        </pc:spChg>
        <pc:spChg chg="add del mod">
          <ac:chgData name="Steiner Andreas 6206 ED" userId="e6377c33-a923-4f14-8587-531c474c7b48" providerId="ADAL" clId="{6ECD27E6-B224-41CD-B4E0-E297462320DD}" dt="2023-11-24T08:33:06.038" v="13764"/>
          <ac:spMkLst>
            <pc:docMk/>
            <pc:sldMk cId="2752045962" sldId="2147473973"/>
            <ac:spMk id="96" creationId="{668511C0-2B2F-2CA9-8FFC-08EE0E3EB5E8}"/>
          </ac:spMkLst>
        </pc:spChg>
        <pc:spChg chg="add del mod">
          <ac:chgData name="Steiner Andreas 6206 ED" userId="e6377c33-a923-4f14-8587-531c474c7b48" providerId="ADAL" clId="{6ECD27E6-B224-41CD-B4E0-E297462320DD}" dt="2023-11-24T08:33:08.252" v="13919"/>
          <ac:spMkLst>
            <pc:docMk/>
            <pc:sldMk cId="2752045962" sldId="2147473973"/>
            <ac:spMk id="97" creationId="{E9B1DA46-42D1-BC4C-0D9B-C9B720A9E37E}"/>
          </ac:spMkLst>
        </pc:spChg>
        <pc:spChg chg="add del mod">
          <ac:chgData name="Steiner Andreas 6206 ED" userId="e6377c33-a923-4f14-8587-531c474c7b48" providerId="ADAL" clId="{6ECD27E6-B224-41CD-B4E0-E297462320DD}" dt="2023-11-24T08:33:10.709" v="14074"/>
          <ac:spMkLst>
            <pc:docMk/>
            <pc:sldMk cId="2752045962" sldId="2147473973"/>
            <ac:spMk id="98" creationId="{4F0F0A42-2BF8-0891-CF1F-EE6D4FDB3414}"/>
          </ac:spMkLst>
        </pc:spChg>
        <pc:spChg chg="add del mod">
          <ac:chgData name="Steiner Andreas 6206 ED" userId="e6377c33-a923-4f14-8587-531c474c7b48" providerId="ADAL" clId="{6ECD27E6-B224-41CD-B4E0-E297462320DD}" dt="2023-11-24T08:33:12.664" v="14229"/>
          <ac:spMkLst>
            <pc:docMk/>
            <pc:sldMk cId="2752045962" sldId="2147473973"/>
            <ac:spMk id="99" creationId="{B9D5ED1F-4E44-B97C-CA8C-0353FC711955}"/>
          </ac:spMkLst>
        </pc:spChg>
        <pc:spChg chg="add del mod">
          <ac:chgData name="Steiner Andreas 6206 ED" userId="e6377c33-a923-4f14-8587-531c474c7b48" providerId="ADAL" clId="{6ECD27E6-B224-41CD-B4E0-E297462320DD}" dt="2023-11-24T08:33:14.561" v="14384"/>
          <ac:spMkLst>
            <pc:docMk/>
            <pc:sldMk cId="2752045962" sldId="2147473973"/>
            <ac:spMk id="100" creationId="{7C112AA5-3DEE-696F-D72E-293066D1B54E}"/>
          </ac:spMkLst>
        </pc:spChg>
        <pc:spChg chg="add del mod">
          <ac:chgData name="Steiner Andreas 6206 ED" userId="e6377c33-a923-4f14-8587-531c474c7b48" providerId="ADAL" clId="{6ECD27E6-B224-41CD-B4E0-E297462320DD}" dt="2023-11-24T08:33:16.584" v="14539"/>
          <ac:spMkLst>
            <pc:docMk/>
            <pc:sldMk cId="2752045962" sldId="2147473973"/>
            <ac:spMk id="101" creationId="{806BF30D-9265-9F0E-09F4-9C17C149B6E0}"/>
          </ac:spMkLst>
        </pc:spChg>
        <pc:spChg chg="add del mod">
          <ac:chgData name="Steiner Andreas 6206 ED" userId="e6377c33-a923-4f14-8587-531c474c7b48" providerId="ADAL" clId="{6ECD27E6-B224-41CD-B4E0-E297462320DD}" dt="2023-11-24T08:33:18.889" v="14694"/>
          <ac:spMkLst>
            <pc:docMk/>
            <pc:sldMk cId="2752045962" sldId="2147473973"/>
            <ac:spMk id="102" creationId="{8DC3F206-9BFD-E939-FBFA-EFFB89D727C8}"/>
          </ac:spMkLst>
        </pc:spChg>
        <pc:spChg chg="add del mod">
          <ac:chgData name="Steiner Andreas 6206 ED" userId="e6377c33-a923-4f14-8587-531c474c7b48" providerId="ADAL" clId="{6ECD27E6-B224-41CD-B4E0-E297462320DD}" dt="2023-11-24T08:33:21.267" v="14849"/>
          <ac:spMkLst>
            <pc:docMk/>
            <pc:sldMk cId="2752045962" sldId="2147473973"/>
            <ac:spMk id="103" creationId="{49835721-B3C8-9E81-6DCC-3C9858A8EFAC}"/>
          </ac:spMkLst>
        </pc:spChg>
        <pc:spChg chg="add del mod">
          <ac:chgData name="Steiner Andreas 6206 ED" userId="e6377c33-a923-4f14-8587-531c474c7b48" providerId="ADAL" clId="{6ECD27E6-B224-41CD-B4E0-E297462320DD}" dt="2023-11-24T08:33:23.652" v="15004"/>
          <ac:spMkLst>
            <pc:docMk/>
            <pc:sldMk cId="2752045962" sldId="2147473973"/>
            <ac:spMk id="104" creationId="{F9D98409-1891-5D6C-C82E-58030BF47D61}"/>
          </ac:spMkLst>
        </pc:spChg>
        <pc:spChg chg="add del mod">
          <ac:chgData name="Steiner Andreas 6206 ED" userId="e6377c33-a923-4f14-8587-531c474c7b48" providerId="ADAL" clId="{6ECD27E6-B224-41CD-B4E0-E297462320DD}" dt="2023-11-24T08:33:26.038" v="15159"/>
          <ac:spMkLst>
            <pc:docMk/>
            <pc:sldMk cId="2752045962" sldId="2147473973"/>
            <ac:spMk id="105" creationId="{47E7896C-AA54-A598-0274-E591DE3F9C6F}"/>
          </ac:spMkLst>
        </pc:spChg>
        <pc:spChg chg="add del mod">
          <ac:chgData name="Steiner Andreas 6206 ED" userId="e6377c33-a923-4f14-8587-531c474c7b48" providerId="ADAL" clId="{6ECD27E6-B224-41CD-B4E0-E297462320DD}" dt="2023-11-24T08:33:28.340" v="15314"/>
          <ac:spMkLst>
            <pc:docMk/>
            <pc:sldMk cId="2752045962" sldId="2147473973"/>
            <ac:spMk id="106" creationId="{0C64CED3-50AA-59B1-82ED-999C7044C3DF}"/>
          </ac:spMkLst>
        </pc:spChg>
        <pc:spChg chg="add del mod">
          <ac:chgData name="Steiner Andreas 6206 ED" userId="e6377c33-a923-4f14-8587-531c474c7b48" providerId="ADAL" clId="{6ECD27E6-B224-41CD-B4E0-E297462320DD}" dt="2023-11-24T08:33:30.827" v="15469"/>
          <ac:spMkLst>
            <pc:docMk/>
            <pc:sldMk cId="2752045962" sldId="2147473973"/>
            <ac:spMk id="107" creationId="{36C631A7-51AD-5829-79F1-817E355EFD61}"/>
          </ac:spMkLst>
        </pc:spChg>
        <pc:spChg chg="add del mod">
          <ac:chgData name="Steiner Andreas 6206 ED" userId="e6377c33-a923-4f14-8587-531c474c7b48" providerId="ADAL" clId="{6ECD27E6-B224-41CD-B4E0-E297462320DD}" dt="2023-11-24T08:33:33.576" v="15624"/>
          <ac:spMkLst>
            <pc:docMk/>
            <pc:sldMk cId="2752045962" sldId="2147473973"/>
            <ac:spMk id="108" creationId="{8B1456A0-C10E-BA36-4B3E-8657F0927375}"/>
          </ac:spMkLst>
        </pc:spChg>
        <pc:spChg chg="add del mod">
          <ac:chgData name="Steiner Andreas 6206 ED" userId="e6377c33-a923-4f14-8587-531c474c7b48" providerId="ADAL" clId="{6ECD27E6-B224-41CD-B4E0-E297462320DD}" dt="2023-11-24T08:33:35.865" v="15779"/>
          <ac:spMkLst>
            <pc:docMk/>
            <pc:sldMk cId="2752045962" sldId="2147473973"/>
            <ac:spMk id="109" creationId="{B5A94586-BB01-5024-9290-BC0A08821961}"/>
          </ac:spMkLst>
        </pc:spChg>
        <pc:spChg chg="add del mod">
          <ac:chgData name="Steiner Andreas 6206 ED" userId="e6377c33-a923-4f14-8587-531c474c7b48" providerId="ADAL" clId="{6ECD27E6-B224-41CD-B4E0-E297462320DD}" dt="2023-11-24T08:33:37.984" v="15934"/>
          <ac:spMkLst>
            <pc:docMk/>
            <pc:sldMk cId="2752045962" sldId="2147473973"/>
            <ac:spMk id="110" creationId="{77646A65-90FC-2D62-C34F-92D985177627}"/>
          </ac:spMkLst>
        </pc:spChg>
        <pc:spChg chg="add del mod">
          <ac:chgData name="Steiner Andreas 6206 ED" userId="e6377c33-a923-4f14-8587-531c474c7b48" providerId="ADAL" clId="{6ECD27E6-B224-41CD-B4E0-E297462320DD}" dt="2023-11-24T08:33:40.308" v="16089"/>
          <ac:spMkLst>
            <pc:docMk/>
            <pc:sldMk cId="2752045962" sldId="2147473973"/>
            <ac:spMk id="111" creationId="{2409597B-CD2D-4AF1-C4C0-5249047D206B}"/>
          </ac:spMkLst>
        </pc:spChg>
        <pc:spChg chg="add del mod">
          <ac:chgData name="Steiner Andreas 6206 ED" userId="e6377c33-a923-4f14-8587-531c474c7b48" providerId="ADAL" clId="{6ECD27E6-B224-41CD-B4E0-E297462320DD}" dt="2023-11-24T08:33:43.019" v="16244"/>
          <ac:spMkLst>
            <pc:docMk/>
            <pc:sldMk cId="2752045962" sldId="2147473973"/>
            <ac:spMk id="112" creationId="{743553DE-83A8-70A3-95F1-D7F639B41DC2}"/>
          </ac:spMkLst>
        </pc:spChg>
        <pc:spChg chg="add del mod">
          <ac:chgData name="Steiner Andreas 6206 ED" userId="e6377c33-a923-4f14-8587-531c474c7b48" providerId="ADAL" clId="{6ECD27E6-B224-41CD-B4E0-E297462320DD}" dt="2023-11-24T08:33:45.506" v="16399"/>
          <ac:spMkLst>
            <pc:docMk/>
            <pc:sldMk cId="2752045962" sldId="2147473973"/>
            <ac:spMk id="113" creationId="{9DF13F2B-88C9-3FCB-5F97-5E37C4ADC31B}"/>
          </ac:spMkLst>
        </pc:spChg>
        <pc:spChg chg="add del mod">
          <ac:chgData name="Steiner Andreas 6206 ED" userId="e6377c33-a923-4f14-8587-531c474c7b48" providerId="ADAL" clId="{6ECD27E6-B224-41CD-B4E0-E297462320DD}" dt="2023-11-24T08:33:47.700" v="16554"/>
          <ac:spMkLst>
            <pc:docMk/>
            <pc:sldMk cId="2752045962" sldId="2147473973"/>
            <ac:spMk id="114" creationId="{E46B9D34-1682-2C98-0162-1C21C8DF51BD}"/>
          </ac:spMkLst>
        </pc:spChg>
        <pc:spChg chg="add del mod">
          <ac:chgData name="Steiner Andreas 6206 ED" userId="e6377c33-a923-4f14-8587-531c474c7b48" providerId="ADAL" clId="{6ECD27E6-B224-41CD-B4E0-E297462320DD}" dt="2023-11-24T08:33:50.462" v="16709"/>
          <ac:spMkLst>
            <pc:docMk/>
            <pc:sldMk cId="2752045962" sldId="2147473973"/>
            <ac:spMk id="115" creationId="{278441EB-13A0-0306-195C-A81FF29B16E6}"/>
          </ac:spMkLst>
        </pc:spChg>
        <pc:spChg chg="add del mod">
          <ac:chgData name="Steiner Andreas 6206 ED" userId="e6377c33-a923-4f14-8587-531c474c7b48" providerId="ADAL" clId="{6ECD27E6-B224-41CD-B4E0-E297462320DD}" dt="2023-11-24T08:33:52.831" v="16864"/>
          <ac:spMkLst>
            <pc:docMk/>
            <pc:sldMk cId="2752045962" sldId="2147473973"/>
            <ac:spMk id="116" creationId="{9852CEE9-A01C-9D35-6F0C-00919ABA814E}"/>
          </ac:spMkLst>
        </pc:spChg>
        <pc:spChg chg="add del mod">
          <ac:chgData name="Steiner Andreas 6206 ED" userId="e6377c33-a923-4f14-8587-531c474c7b48" providerId="ADAL" clId="{6ECD27E6-B224-41CD-B4E0-E297462320DD}" dt="2023-11-24T08:33:55.003" v="17019"/>
          <ac:spMkLst>
            <pc:docMk/>
            <pc:sldMk cId="2752045962" sldId="2147473973"/>
            <ac:spMk id="117" creationId="{F95FF303-A8B0-1896-590F-82EDFEF2CE52}"/>
          </ac:spMkLst>
        </pc:spChg>
        <pc:spChg chg="add del mod">
          <ac:chgData name="Steiner Andreas 6206 ED" userId="e6377c33-a923-4f14-8587-531c474c7b48" providerId="ADAL" clId="{6ECD27E6-B224-41CD-B4E0-E297462320DD}" dt="2023-11-24T08:33:57.387" v="17174"/>
          <ac:spMkLst>
            <pc:docMk/>
            <pc:sldMk cId="2752045962" sldId="2147473973"/>
            <ac:spMk id="118" creationId="{AC895FAE-FA15-CE57-0835-15DC08793FE1}"/>
          </ac:spMkLst>
        </pc:spChg>
        <pc:spChg chg="add del mod">
          <ac:chgData name="Steiner Andreas 6206 ED" userId="e6377c33-a923-4f14-8587-531c474c7b48" providerId="ADAL" clId="{6ECD27E6-B224-41CD-B4E0-E297462320DD}" dt="2023-11-24T08:33:59.815" v="17329"/>
          <ac:spMkLst>
            <pc:docMk/>
            <pc:sldMk cId="2752045962" sldId="2147473973"/>
            <ac:spMk id="119" creationId="{F0EE4F68-332B-7170-3777-C2A56CCFC5A2}"/>
          </ac:spMkLst>
        </pc:spChg>
        <pc:spChg chg="add del mod">
          <ac:chgData name="Steiner Andreas 6206 ED" userId="e6377c33-a923-4f14-8587-531c474c7b48" providerId="ADAL" clId="{6ECD27E6-B224-41CD-B4E0-E297462320DD}" dt="2023-11-24T08:34:01.787" v="17484"/>
          <ac:spMkLst>
            <pc:docMk/>
            <pc:sldMk cId="2752045962" sldId="2147473973"/>
            <ac:spMk id="120" creationId="{2E202B2B-C9CC-200C-4DD0-D9DAD11FC169}"/>
          </ac:spMkLst>
        </pc:spChg>
        <pc:spChg chg="add del mod">
          <ac:chgData name="Steiner Andreas 6206 ED" userId="e6377c33-a923-4f14-8587-531c474c7b48" providerId="ADAL" clId="{6ECD27E6-B224-41CD-B4E0-E297462320DD}" dt="2023-11-24T08:34:04.175" v="17639"/>
          <ac:spMkLst>
            <pc:docMk/>
            <pc:sldMk cId="2752045962" sldId="2147473973"/>
            <ac:spMk id="121" creationId="{1913C8D5-5E00-C89E-3C94-C5A5A22F0B9B}"/>
          </ac:spMkLst>
        </pc:spChg>
        <pc:spChg chg="add del mod">
          <ac:chgData name="Steiner Andreas 6206 ED" userId="e6377c33-a923-4f14-8587-531c474c7b48" providerId="ADAL" clId="{6ECD27E6-B224-41CD-B4E0-E297462320DD}" dt="2023-11-24T08:34:06.047" v="17794"/>
          <ac:spMkLst>
            <pc:docMk/>
            <pc:sldMk cId="2752045962" sldId="2147473973"/>
            <ac:spMk id="122" creationId="{77F469D4-CE3B-B5E4-0DC4-8CB3361F82D9}"/>
          </ac:spMkLst>
        </pc:spChg>
        <pc:spChg chg="add del mod">
          <ac:chgData name="Steiner Andreas 6206 ED" userId="e6377c33-a923-4f14-8587-531c474c7b48" providerId="ADAL" clId="{6ECD27E6-B224-41CD-B4E0-E297462320DD}" dt="2023-11-24T08:34:08.141" v="17949"/>
          <ac:spMkLst>
            <pc:docMk/>
            <pc:sldMk cId="2752045962" sldId="2147473973"/>
            <ac:spMk id="123" creationId="{6368884E-C9BD-147C-FEB9-4EA3EAFFA27F}"/>
          </ac:spMkLst>
        </pc:spChg>
        <pc:spChg chg="add del mod">
          <ac:chgData name="Steiner Andreas 6206 ED" userId="e6377c33-a923-4f14-8587-531c474c7b48" providerId="ADAL" clId="{6ECD27E6-B224-41CD-B4E0-E297462320DD}" dt="2023-11-24T08:34:10.089" v="18104"/>
          <ac:spMkLst>
            <pc:docMk/>
            <pc:sldMk cId="2752045962" sldId="2147473973"/>
            <ac:spMk id="124" creationId="{20C4DBC4-2E60-FF4D-118C-6C8F162DF892}"/>
          </ac:spMkLst>
        </pc:spChg>
        <pc:spChg chg="add del mod">
          <ac:chgData name="Steiner Andreas 6206 ED" userId="e6377c33-a923-4f14-8587-531c474c7b48" providerId="ADAL" clId="{6ECD27E6-B224-41CD-B4E0-E297462320DD}" dt="2023-11-24T08:34:12.198" v="18259"/>
          <ac:spMkLst>
            <pc:docMk/>
            <pc:sldMk cId="2752045962" sldId="2147473973"/>
            <ac:spMk id="125" creationId="{77FD6189-9166-A9AF-F5B9-1B5755B5C517}"/>
          </ac:spMkLst>
        </pc:spChg>
        <pc:spChg chg="add del mod">
          <ac:chgData name="Steiner Andreas 6206 ED" userId="e6377c33-a923-4f14-8587-531c474c7b48" providerId="ADAL" clId="{6ECD27E6-B224-41CD-B4E0-E297462320DD}" dt="2023-11-24T08:34:14.506" v="18414"/>
          <ac:spMkLst>
            <pc:docMk/>
            <pc:sldMk cId="2752045962" sldId="2147473973"/>
            <ac:spMk id="126" creationId="{8E7AD031-8A6A-5DE7-4929-A057AF0BCB9B}"/>
          </ac:spMkLst>
        </pc:spChg>
        <pc:spChg chg="add del mod">
          <ac:chgData name="Steiner Andreas 6206 ED" userId="e6377c33-a923-4f14-8587-531c474c7b48" providerId="ADAL" clId="{6ECD27E6-B224-41CD-B4E0-E297462320DD}" dt="2023-11-24T08:34:16.540" v="18569"/>
          <ac:spMkLst>
            <pc:docMk/>
            <pc:sldMk cId="2752045962" sldId="2147473973"/>
            <ac:spMk id="127" creationId="{108A1DC4-D536-6E9B-5EF0-3A32CEABC9F8}"/>
          </ac:spMkLst>
        </pc:spChg>
        <pc:spChg chg="add del mod">
          <ac:chgData name="Steiner Andreas 6206 ED" userId="e6377c33-a923-4f14-8587-531c474c7b48" providerId="ADAL" clId="{6ECD27E6-B224-41CD-B4E0-E297462320DD}" dt="2023-11-24T08:34:18.777" v="18724"/>
          <ac:spMkLst>
            <pc:docMk/>
            <pc:sldMk cId="2752045962" sldId="2147473973"/>
            <ac:spMk id="128" creationId="{F7987E20-B0FD-A102-E5E6-1C7B505BD55A}"/>
          </ac:spMkLst>
        </pc:spChg>
        <pc:spChg chg="add del mod">
          <ac:chgData name="Steiner Andreas 6206 ED" userId="e6377c33-a923-4f14-8587-531c474c7b48" providerId="ADAL" clId="{6ECD27E6-B224-41CD-B4E0-E297462320DD}" dt="2023-11-24T08:34:20.847" v="18879"/>
          <ac:spMkLst>
            <pc:docMk/>
            <pc:sldMk cId="2752045962" sldId="2147473973"/>
            <ac:spMk id="129" creationId="{275964A2-0D72-6644-B013-83F06CC4F299}"/>
          </ac:spMkLst>
        </pc:spChg>
        <pc:spChg chg="add del mod">
          <ac:chgData name="Steiner Andreas 6206 ED" userId="e6377c33-a923-4f14-8587-531c474c7b48" providerId="ADAL" clId="{6ECD27E6-B224-41CD-B4E0-E297462320DD}" dt="2023-11-24T08:34:22.971" v="19034"/>
          <ac:spMkLst>
            <pc:docMk/>
            <pc:sldMk cId="2752045962" sldId="2147473973"/>
            <ac:spMk id="130" creationId="{E720582F-1DA8-5EA9-6097-07A2098202BB}"/>
          </ac:spMkLst>
        </pc:spChg>
        <pc:spChg chg="add del mod">
          <ac:chgData name="Steiner Andreas 6206 ED" userId="e6377c33-a923-4f14-8587-531c474c7b48" providerId="ADAL" clId="{6ECD27E6-B224-41CD-B4E0-E297462320DD}" dt="2023-11-24T08:34:26.243" v="19189"/>
          <ac:spMkLst>
            <pc:docMk/>
            <pc:sldMk cId="2752045962" sldId="2147473973"/>
            <ac:spMk id="131" creationId="{A0FCED77-18D2-674C-1CFC-BAF3962DF322}"/>
          </ac:spMkLst>
        </pc:spChg>
        <pc:spChg chg="add del mod">
          <ac:chgData name="Steiner Andreas 6206 ED" userId="e6377c33-a923-4f14-8587-531c474c7b48" providerId="ADAL" clId="{6ECD27E6-B224-41CD-B4E0-E297462320DD}" dt="2023-11-24T08:34:28.900" v="19344"/>
          <ac:spMkLst>
            <pc:docMk/>
            <pc:sldMk cId="2752045962" sldId="2147473973"/>
            <ac:spMk id="132" creationId="{B15F2E59-E597-5C16-C6CA-48B3AC5C4D25}"/>
          </ac:spMkLst>
        </pc:spChg>
        <pc:spChg chg="add del mod">
          <ac:chgData name="Steiner Andreas 6206 ED" userId="e6377c33-a923-4f14-8587-531c474c7b48" providerId="ADAL" clId="{6ECD27E6-B224-41CD-B4E0-E297462320DD}" dt="2023-11-24T08:34:31.530" v="19499"/>
          <ac:spMkLst>
            <pc:docMk/>
            <pc:sldMk cId="2752045962" sldId="2147473973"/>
            <ac:spMk id="133" creationId="{D4948DC7-3427-9759-50C3-4FAC573F0911}"/>
          </ac:spMkLst>
        </pc:spChg>
        <pc:spChg chg="add del mod">
          <ac:chgData name="Steiner Andreas 6206 ED" userId="e6377c33-a923-4f14-8587-531c474c7b48" providerId="ADAL" clId="{6ECD27E6-B224-41CD-B4E0-E297462320DD}" dt="2023-11-24T08:34:33.728" v="19654"/>
          <ac:spMkLst>
            <pc:docMk/>
            <pc:sldMk cId="2752045962" sldId="2147473973"/>
            <ac:spMk id="134" creationId="{AFBAE605-D8AE-720E-4347-E37E605AA4F5}"/>
          </ac:spMkLst>
        </pc:spChg>
        <pc:spChg chg="add del mod">
          <ac:chgData name="Steiner Andreas 6206 ED" userId="e6377c33-a923-4f14-8587-531c474c7b48" providerId="ADAL" clId="{6ECD27E6-B224-41CD-B4E0-E297462320DD}" dt="2023-11-24T08:34:35.993" v="19809"/>
          <ac:spMkLst>
            <pc:docMk/>
            <pc:sldMk cId="2752045962" sldId="2147473973"/>
            <ac:spMk id="135" creationId="{90E9EC57-44B5-9323-8770-13F8B738A62D}"/>
          </ac:spMkLst>
        </pc:spChg>
        <pc:spChg chg="add del mod">
          <ac:chgData name="Steiner Andreas 6206 ED" userId="e6377c33-a923-4f14-8587-531c474c7b48" providerId="ADAL" clId="{6ECD27E6-B224-41CD-B4E0-E297462320DD}" dt="2023-11-24T08:34:38.227" v="19964"/>
          <ac:spMkLst>
            <pc:docMk/>
            <pc:sldMk cId="2752045962" sldId="2147473973"/>
            <ac:spMk id="136" creationId="{479E1DCD-4419-1E69-A186-278118C232D2}"/>
          </ac:spMkLst>
        </pc:spChg>
        <pc:spChg chg="add del mod">
          <ac:chgData name="Steiner Andreas 6206 ED" userId="e6377c33-a923-4f14-8587-531c474c7b48" providerId="ADAL" clId="{6ECD27E6-B224-41CD-B4E0-E297462320DD}" dt="2023-11-24T08:34:40.514" v="20119"/>
          <ac:spMkLst>
            <pc:docMk/>
            <pc:sldMk cId="2752045962" sldId="2147473973"/>
            <ac:spMk id="137" creationId="{8EDE534A-425C-6575-5963-6B7E248712A5}"/>
          </ac:spMkLst>
        </pc:spChg>
        <pc:spChg chg="add del mod">
          <ac:chgData name="Steiner Andreas 6206 ED" userId="e6377c33-a923-4f14-8587-531c474c7b48" providerId="ADAL" clId="{6ECD27E6-B224-41CD-B4E0-E297462320DD}" dt="2023-11-24T08:34:43.275" v="20274"/>
          <ac:spMkLst>
            <pc:docMk/>
            <pc:sldMk cId="2752045962" sldId="2147473973"/>
            <ac:spMk id="138" creationId="{3EC6493B-B2B9-537A-2968-C85B7AA069C8}"/>
          </ac:spMkLst>
        </pc:spChg>
        <pc:spChg chg="add del mod">
          <ac:chgData name="Steiner Andreas 6206 ED" userId="e6377c33-a923-4f14-8587-531c474c7b48" providerId="ADAL" clId="{6ECD27E6-B224-41CD-B4E0-E297462320DD}" dt="2023-11-24T08:34:45.619" v="20429"/>
          <ac:spMkLst>
            <pc:docMk/>
            <pc:sldMk cId="2752045962" sldId="2147473973"/>
            <ac:spMk id="139" creationId="{3E093CF1-6D3C-887E-5DD5-11C5C87578B3}"/>
          </ac:spMkLst>
        </pc:spChg>
        <pc:spChg chg="add del mod">
          <ac:chgData name="Steiner Andreas 6206 ED" userId="e6377c33-a923-4f14-8587-531c474c7b48" providerId="ADAL" clId="{6ECD27E6-B224-41CD-B4E0-E297462320DD}" dt="2023-11-24T08:34:47.855" v="20584"/>
          <ac:spMkLst>
            <pc:docMk/>
            <pc:sldMk cId="2752045962" sldId="2147473973"/>
            <ac:spMk id="140" creationId="{4B36B0E2-777F-F2C0-3B02-98624805C664}"/>
          </ac:spMkLst>
        </pc:spChg>
        <pc:spChg chg="add del mod">
          <ac:chgData name="Steiner Andreas 6206 ED" userId="e6377c33-a923-4f14-8587-531c474c7b48" providerId="ADAL" clId="{6ECD27E6-B224-41CD-B4E0-E297462320DD}" dt="2023-11-24T08:34:50.300" v="20739"/>
          <ac:spMkLst>
            <pc:docMk/>
            <pc:sldMk cId="2752045962" sldId="2147473973"/>
            <ac:spMk id="141" creationId="{7877D66E-3292-B5F4-20C7-8AD7C6B15EAE}"/>
          </ac:spMkLst>
        </pc:spChg>
        <pc:spChg chg="add del mod">
          <ac:chgData name="Steiner Andreas 6206 ED" userId="e6377c33-a923-4f14-8587-531c474c7b48" providerId="ADAL" clId="{6ECD27E6-B224-41CD-B4E0-E297462320DD}" dt="2023-11-24T08:34:52.894" v="20894"/>
          <ac:spMkLst>
            <pc:docMk/>
            <pc:sldMk cId="2752045962" sldId="2147473973"/>
            <ac:spMk id="142" creationId="{BEECAC39-DD45-08DB-1AA4-8A745925B6DF}"/>
          </ac:spMkLst>
        </pc:spChg>
        <pc:spChg chg="add del mod">
          <ac:chgData name="Steiner Andreas 6206 ED" userId="e6377c33-a923-4f14-8587-531c474c7b48" providerId="ADAL" clId="{6ECD27E6-B224-41CD-B4E0-E297462320DD}" dt="2023-11-24T08:34:55.330" v="21049"/>
          <ac:spMkLst>
            <pc:docMk/>
            <pc:sldMk cId="2752045962" sldId="2147473973"/>
            <ac:spMk id="143" creationId="{B5343372-8BB4-A2FF-BECD-FC2D619BA425}"/>
          </ac:spMkLst>
        </pc:spChg>
        <pc:spChg chg="add del mod">
          <ac:chgData name="Steiner Andreas 6206 ED" userId="e6377c33-a923-4f14-8587-531c474c7b48" providerId="ADAL" clId="{6ECD27E6-B224-41CD-B4E0-E297462320DD}" dt="2023-11-24T08:34:57.651" v="21204"/>
          <ac:spMkLst>
            <pc:docMk/>
            <pc:sldMk cId="2752045962" sldId="2147473973"/>
            <ac:spMk id="144" creationId="{1F62C312-86C3-45A4-832B-D8B02A59019E}"/>
          </ac:spMkLst>
        </pc:spChg>
        <pc:spChg chg="add del mod">
          <ac:chgData name="Steiner Andreas 6206 ED" userId="e6377c33-a923-4f14-8587-531c474c7b48" providerId="ADAL" clId="{6ECD27E6-B224-41CD-B4E0-E297462320DD}" dt="2023-11-24T08:35:00.166" v="21359"/>
          <ac:spMkLst>
            <pc:docMk/>
            <pc:sldMk cId="2752045962" sldId="2147473973"/>
            <ac:spMk id="145" creationId="{B2E5ED69-4274-14A2-07AA-F577EA42DE57}"/>
          </ac:spMkLst>
        </pc:spChg>
        <pc:spChg chg="add del mod">
          <ac:chgData name="Steiner Andreas 6206 ED" userId="e6377c33-a923-4f14-8587-531c474c7b48" providerId="ADAL" clId="{6ECD27E6-B224-41CD-B4E0-E297462320DD}" dt="2023-11-24T08:35:02.807" v="21514"/>
          <ac:spMkLst>
            <pc:docMk/>
            <pc:sldMk cId="2752045962" sldId="2147473973"/>
            <ac:spMk id="146" creationId="{9998E856-A96B-4974-9B9A-D2C0552AC15E}"/>
          </ac:spMkLst>
        </pc:spChg>
        <pc:spChg chg="add del mod">
          <ac:chgData name="Steiner Andreas 6206 ED" userId="e6377c33-a923-4f14-8587-531c474c7b48" providerId="ADAL" clId="{6ECD27E6-B224-41CD-B4E0-E297462320DD}" dt="2023-11-24T08:35:05.284" v="21669"/>
          <ac:spMkLst>
            <pc:docMk/>
            <pc:sldMk cId="2752045962" sldId="2147473973"/>
            <ac:spMk id="147" creationId="{F81FE870-E42C-C870-C82C-43DC9BE452D5}"/>
          </ac:spMkLst>
        </pc:spChg>
        <pc:spChg chg="add del mod">
          <ac:chgData name="Steiner Andreas 6206 ED" userId="e6377c33-a923-4f14-8587-531c474c7b48" providerId="ADAL" clId="{6ECD27E6-B224-41CD-B4E0-E297462320DD}" dt="2023-11-24T08:35:07.811" v="21824"/>
          <ac:spMkLst>
            <pc:docMk/>
            <pc:sldMk cId="2752045962" sldId="2147473973"/>
            <ac:spMk id="148" creationId="{B334A4EE-71FF-0C42-67B9-D53A33EFA1B2}"/>
          </ac:spMkLst>
        </pc:spChg>
        <pc:spChg chg="add del mod">
          <ac:chgData name="Steiner Andreas 6206 ED" userId="e6377c33-a923-4f14-8587-531c474c7b48" providerId="ADAL" clId="{6ECD27E6-B224-41CD-B4E0-E297462320DD}" dt="2023-11-24T08:35:10.309" v="21979"/>
          <ac:spMkLst>
            <pc:docMk/>
            <pc:sldMk cId="2752045962" sldId="2147473973"/>
            <ac:spMk id="149" creationId="{E427E46B-C2DC-2388-6F11-9CCC8942F1E1}"/>
          </ac:spMkLst>
        </pc:spChg>
        <pc:spChg chg="add del mod">
          <ac:chgData name="Steiner Andreas 6206 ED" userId="e6377c33-a923-4f14-8587-531c474c7b48" providerId="ADAL" clId="{6ECD27E6-B224-41CD-B4E0-E297462320DD}" dt="2023-11-24T08:35:12.743" v="22134"/>
          <ac:spMkLst>
            <pc:docMk/>
            <pc:sldMk cId="2752045962" sldId="2147473973"/>
            <ac:spMk id="150" creationId="{D10BBF89-AE24-6018-2941-3763BB34549B}"/>
          </ac:spMkLst>
        </pc:spChg>
        <pc:spChg chg="add del mod">
          <ac:chgData name="Steiner Andreas 6206 ED" userId="e6377c33-a923-4f14-8587-531c474c7b48" providerId="ADAL" clId="{6ECD27E6-B224-41CD-B4E0-E297462320DD}" dt="2023-11-24T08:35:14.819" v="22289"/>
          <ac:spMkLst>
            <pc:docMk/>
            <pc:sldMk cId="2752045962" sldId="2147473973"/>
            <ac:spMk id="151" creationId="{808D5DA5-78FA-F7C3-AE66-AB0AF8B5778A}"/>
          </ac:spMkLst>
        </pc:spChg>
        <pc:spChg chg="add del mod">
          <ac:chgData name="Steiner Andreas 6206 ED" userId="e6377c33-a923-4f14-8587-531c474c7b48" providerId="ADAL" clId="{6ECD27E6-B224-41CD-B4E0-E297462320DD}" dt="2023-11-24T08:35:17.237" v="22444"/>
          <ac:spMkLst>
            <pc:docMk/>
            <pc:sldMk cId="2752045962" sldId="2147473973"/>
            <ac:spMk id="152" creationId="{26B22C75-CA8D-F5C2-1FCC-5CD0D764D7D3}"/>
          </ac:spMkLst>
        </pc:spChg>
        <pc:spChg chg="add del mod">
          <ac:chgData name="Steiner Andreas 6206 ED" userId="e6377c33-a923-4f14-8587-531c474c7b48" providerId="ADAL" clId="{6ECD27E6-B224-41CD-B4E0-E297462320DD}" dt="2023-11-24T08:35:19.691" v="22599"/>
          <ac:spMkLst>
            <pc:docMk/>
            <pc:sldMk cId="2752045962" sldId="2147473973"/>
            <ac:spMk id="153" creationId="{36B2D4B3-09F1-5119-344E-E33A3E88F55F}"/>
          </ac:spMkLst>
        </pc:spChg>
        <pc:spChg chg="add del mod">
          <ac:chgData name="Steiner Andreas 6206 ED" userId="e6377c33-a923-4f14-8587-531c474c7b48" providerId="ADAL" clId="{6ECD27E6-B224-41CD-B4E0-E297462320DD}" dt="2023-11-24T08:35:22.104" v="22754"/>
          <ac:spMkLst>
            <pc:docMk/>
            <pc:sldMk cId="2752045962" sldId="2147473973"/>
            <ac:spMk id="154" creationId="{98589E78-D649-334B-B581-A307BEBC775B}"/>
          </ac:spMkLst>
        </pc:spChg>
        <pc:spChg chg="add del mod">
          <ac:chgData name="Steiner Andreas 6206 ED" userId="e6377c33-a923-4f14-8587-531c474c7b48" providerId="ADAL" clId="{6ECD27E6-B224-41CD-B4E0-E297462320DD}" dt="2023-11-24T08:35:24.435" v="22909"/>
          <ac:spMkLst>
            <pc:docMk/>
            <pc:sldMk cId="2752045962" sldId="2147473973"/>
            <ac:spMk id="155" creationId="{DEDAF314-1873-09C5-BEBD-FD92387E8C19}"/>
          </ac:spMkLst>
        </pc:spChg>
        <pc:spChg chg="add del mod">
          <ac:chgData name="Steiner Andreas 6206 ED" userId="e6377c33-a923-4f14-8587-531c474c7b48" providerId="ADAL" clId="{6ECD27E6-B224-41CD-B4E0-E297462320DD}" dt="2023-11-24T08:35:27.073" v="23064"/>
          <ac:spMkLst>
            <pc:docMk/>
            <pc:sldMk cId="2752045962" sldId="2147473973"/>
            <ac:spMk id="156" creationId="{C5DAD3B6-E5B7-2671-3B77-D51BB0C34610}"/>
          </ac:spMkLst>
        </pc:spChg>
        <pc:spChg chg="add del mod">
          <ac:chgData name="Steiner Andreas 6206 ED" userId="e6377c33-a923-4f14-8587-531c474c7b48" providerId="ADAL" clId="{6ECD27E6-B224-41CD-B4E0-E297462320DD}" dt="2023-11-24T08:35:29.789" v="23219"/>
          <ac:spMkLst>
            <pc:docMk/>
            <pc:sldMk cId="2752045962" sldId="2147473973"/>
            <ac:spMk id="157" creationId="{9273A15C-DFA3-3D32-0D5B-C5C7557153FB}"/>
          </ac:spMkLst>
        </pc:spChg>
        <pc:spChg chg="add del mod">
          <ac:chgData name="Steiner Andreas 6206 ED" userId="e6377c33-a923-4f14-8587-531c474c7b48" providerId="ADAL" clId="{6ECD27E6-B224-41CD-B4E0-E297462320DD}" dt="2023-11-24T08:35:32.150" v="23374"/>
          <ac:spMkLst>
            <pc:docMk/>
            <pc:sldMk cId="2752045962" sldId="2147473973"/>
            <ac:spMk id="158" creationId="{850ADCC7-38C6-8542-7116-D841FB8D78A7}"/>
          </ac:spMkLst>
        </pc:spChg>
        <pc:spChg chg="add del mod">
          <ac:chgData name="Steiner Andreas 6206 ED" userId="e6377c33-a923-4f14-8587-531c474c7b48" providerId="ADAL" clId="{6ECD27E6-B224-41CD-B4E0-E297462320DD}" dt="2023-11-24T08:35:34.558" v="23529"/>
          <ac:spMkLst>
            <pc:docMk/>
            <pc:sldMk cId="2752045962" sldId="2147473973"/>
            <ac:spMk id="159" creationId="{4F064F55-82D0-4544-6FA8-2F9D89F763CA}"/>
          </ac:spMkLst>
        </pc:spChg>
        <pc:spChg chg="add del mod">
          <ac:chgData name="Steiner Andreas 6206 ED" userId="e6377c33-a923-4f14-8587-531c474c7b48" providerId="ADAL" clId="{6ECD27E6-B224-41CD-B4E0-E297462320DD}" dt="2023-11-24T08:35:36.863" v="23684"/>
          <ac:spMkLst>
            <pc:docMk/>
            <pc:sldMk cId="2752045962" sldId="2147473973"/>
            <ac:spMk id="160" creationId="{D50AAE1D-C43D-16A5-B03D-3FA59D525843}"/>
          </ac:spMkLst>
        </pc:spChg>
        <pc:spChg chg="add del mod">
          <ac:chgData name="Steiner Andreas 6206 ED" userId="e6377c33-a923-4f14-8587-531c474c7b48" providerId="ADAL" clId="{6ECD27E6-B224-41CD-B4E0-E297462320DD}" dt="2023-11-24T08:35:39.281" v="23839"/>
          <ac:spMkLst>
            <pc:docMk/>
            <pc:sldMk cId="2752045962" sldId="2147473973"/>
            <ac:spMk id="161" creationId="{5A2F8CFD-E460-6EF9-C0CB-045569D1D54B}"/>
          </ac:spMkLst>
        </pc:spChg>
        <pc:spChg chg="add del mod">
          <ac:chgData name="Steiner Andreas 6206 ED" userId="e6377c33-a923-4f14-8587-531c474c7b48" providerId="ADAL" clId="{6ECD27E6-B224-41CD-B4E0-E297462320DD}" dt="2023-11-24T08:35:41.947" v="23994"/>
          <ac:spMkLst>
            <pc:docMk/>
            <pc:sldMk cId="2752045962" sldId="2147473973"/>
            <ac:spMk id="162" creationId="{87B81643-7DC9-6AC8-8254-90EA616F04FA}"/>
          </ac:spMkLst>
        </pc:spChg>
        <pc:spChg chg="add del mod">
          <ac:chgData name="Steiner Andreas 6206 ED" userId="e6377c33-a923-4f14-8587-531c474c7b48" providerId="ADAL" clId="{6ECD27E6-B224-41CD-B4E0-E297462320DD}" dt="2023-11-24T08:35:44.417" v="24149"/>
          <ac:spMkLst>
            <pc:docMk/>
            <pc:sldMk cId="2752045962" sldId="2147473973"/>
            <ac:spMk id="163" creationId="{3BEA5D75-BE59-72D7-D61B-1EE064C76677}"/>
          </ac:spMkLst>
        </pc:spChg>
        <pc:spChg chg="add del mod">
          <ac:chgData name="Steiner Andreas 6206 ED" userId="e6377c33-a923-4f14-8587-531c474c7b48" providerId="ADAL" clId="{6ECD27E6-B224-41CD-B4E0-E297462320DD}" dt="2023-11-24T08:35:46.675" v="24304"/>
          <ac:spMkLst>
            <pc:docMk/>
            <pc:sldMk cId="2752045962" sldId="2147473973"/>
            <ac:spMk id="164" creationId="{10BBB7AE-6A4D-3BAD-D4C1-23469977CF70}"/>
          </ac:spMkLst>
        </pc:spChg>
        <pc:spChg chg="add del mod">
          <ac:chgData name="Steiner Andreas 6206 ED" userId="e6377c33-a923-4f14-8587-531c474c7b48" providerId="ADAL" clId="{6ECD27E6-B224-41CD-B4E0-E297462320DD}" dt="2023-11-24T08:35:48.917" v="24459"/>
          <ac:spMkLst>
            <pc:docMk/>
            <pc:sldMk cId="2752045962" sldId="2147473973"/>
            <ac:spMk id="165" creationId="{0845D0E4-DE30-8C0D-0A89-292924E40F28}"/>
          </ac:spMkLst>
        </pc:spChg>
        <pc:spChg chg="add del mod">
          <ac:chgData name="Steiner Andreas 6206 ED" userId="e6377c33-a923-4f14-8587-531c474c7b48" providerId="ADAL" clId="{6ECD27E6-B224-41CD-B4E0-E297462320DD}" dt="2023-11-24T08:35:51.211" v="24614"/>
          <ac:spMkLst>
            <pc:docMk/>
            <pc:sldMk cId="2752045962" sldId="2147473973"/>
            <ac:spMk id="166" creationId="{A1F5E95C-6B88-A172-3F87-6EE36463F1C5}"/>
          </ac:spMkLst>
        </pc:spChg>
        <pc:spChg chg="add del mod">
          <ac:chgData name="Steiner Andreas 6206 ED" userId="e6377c33-a923-4f14-8587-531c474c7b48" providerId="ADAL" clId="{6ECD27E6-B224-41CD-B4E0-E297462320DD}" dt="2023-11-24T08:35:54.126" v="24769"/>
          <ac:spMkLst>
            <pc:docMk/>
            <pc:sldMk cId="2752045962" sldId="2147473973"/>
            <ac:spMk id="167" creationId="{4ABE50E8-41EA-EA38-BD37-41238413F26C}"/>
          </ac:spMkLst>
        </pc:spChg>
        <pc:spChg chg="add del mod">
          <ac:chgData name="Steiner Andreas 6206 ED" userId="e6377c33-a923-4f14-8587-531c474c7b48" providerId="ADAL" clId="{6ECD27E6-B224-41CD-B4E0-E297462320DD}" dt="2023-11-24T08:35:56.605" v="24924"/>
          <ac:spMkLst>
            <pc:docMk/>
            <pc:sldMk cId="2752045962" sldId="2147473973"/>
            <ac:spMk id="168" creationId="{823EE242-6AEA-7F88-32C8-1752C4443F00}"/>
          </ac:spMkLst>
        </pc:spChg>
        <pc:spChg chg="add del mod">
          <ac:chgData name="Steiner Andreas 6206 ED" userId="e6377c33-a923-4f14-8587-531c474c7b48" providerId="ADAL" clId="{6ECD27E6-B224-41CD-B4E0-E297462320DD}" dt="2023-11-24T08:35:59.150" v="25079"/>
          <ac:spMkLst>
            <pc:docMk/>
            <pc:sldMk cId="2752045962" sldId="2147473973"/>
            <ac:spMk id="169" creationId="{BCA8AFAF-03C8-05EA-3D9F-E160AE7B6E2A}"/>
          </ac:spMkLst>
        </pc:spChg>
        <pc:spChg chg="add del mod">
          <ac:chgData name="Steiner Andreas 6206 ED" userId="e6377c33-a923-4f14-8587-531c474c7b48" providerId="ADAL" clId="{6ECD27E6-B224-41CD-B4E0-E297462320DD}" dt="2023-11-24T08:36:01.676" v="25234"/>
          <ac:spMkLst>
            <pc:docMk/>
            <pc:sldMk cId="2752045962" sldId="2147473973"/>
            <ac:spMk id="170" creationId="{CF4D9667-AF6D-082A-17A4-EA5F381CE4BA}"/>
          </ac:spMkLst>
        </pc:spChg>
        <pc:spChg chg="add del mod">
          <ac:chgData name="Steiner Andreas 6206 ED" userId="e6377c33-a923-4f14-8587-531c474c7b48" providerId="ADAL" clId="{6ECD27E6-B224-41CD-B4E0-E297462320DD}" dt="2023-11-24T08:36:04.259" v="25389"/>
          <ac:spMkLst>
            <pc:docMk/>
            <pc:sldMk cId="2752045962" sldId="2147473973"/>
            <ac:spMk id="171" creationId="{CD7B552D-A134-7B00-F671-62A756117FCD}"/>
          </ac:spMkLst>
        </pc:spChg>
        <pc:spChg chg="add del mod">
          <ac:chgData name="Steiner Andreas 6206 ED" userId="e6377c33-a923-4f14-8587-531c474c7b48" providerId="ADAL" clId="{6ECD27E6-B224-41CD-B4E0-E297462320DD}" dt="2023-11-24T08:36:06.738" v="25544"/>
          <ac:spMkLst>
            <pc:docMk/>
            <pc:sldMk cId="2752045962" sldId="2147473973"/>
            <ac:spMk id="172" creationId="{8213D3DE-66E6-CB77-BB39-22B5092366CC}"/>
          </ac:spMkLst>
        </pc:spChg>
        <pc:spChg chg="add del mod">
          <ac:chgData name="Steiner Andreas 6206 ED" userId="e6377c33-a923-4f14-8587-531c474c7b48" providerId="ADAL" clId="{6ECD27E6-B224-41CD-B4E0-E297462320DD}" dt="2023-11-24T08:36:09.253" v="25699"/>
          <ac:spMkLst>
            <pc:docMk/>
            <pc:sldMk cId="2752045962" sldId="2147473973"/>
            <ac:spMk id="173" creationId="{5A3C66B2-3DF2-CA00-FD11-88E45FFEFAF3}"/>
          </ac:spMkLst>
        </pc:spChg>
        <pc:spChg chg="add del mod">
          <ac:chgData name="Steiner Andreas 6206 ED" userId="e6377c33-a923-4f14-8587-531c474c7b48" providerId="ADAL" clId="{6ECD27E6-B224-41CD-B4E0-E297462320DD}" dt="2023-11-24T08:36:11.790" v="25854"/>
          <ac:spMkLst>
            <pc:docMk/>
            <pc:sldMk cId="2752045962" sldId="2147473973"/>
            <ac:spMk id="174" creationId="{A64B4672-BF37-ABF3-26B8-41B1336EA99A}"/>
          </ac:spMkLst>
        </pc:spChg>
        <pc:spChg chg="add del mod">
          <ac:chgData name="Steiner Andreas 6206 ED" userId="e6377c33-a923-4f14-8587-531c474c7b48" providerId="ADAL" clId="{6ECD27E6-B224-41CD-B4E0-E297462320DD}" dt="2023-11-24T08:36:14.183" v="26009"/>
          <ac:spMkLst>
            <pc:docMk/>
            <pc:sldMk cId="2752045962" sldId="2147473973"/>
            <ac:spMk id="175" creationId="{F1D7B487-10FE-8EED-DE1E-54DB151CA947}"/>
          </ac:spMkLst>
        </pc:spChg>
        <pc:spChg chg="add del mod">
          <ac:chgData name="Steiner Andreas 6206 ED" userId="e6377c33-a923-4f14-8587-531c474c7b48" providerId="ADAL" clId="{6ECD27E6-B224-41CD-B4E0-E297462320DD}" dt="2023-11-24T08:36:17.006" v="26164"/>
          <ac:spMkLst>
            <pc:docMk/>
            <pc:sldMk cId="2752045962" sldId="2147473973"/>
            <ac:spMk id="176" creationId="{6A9FC699-6427-846B-ABDE-E2A49978BFE3}"/>
          </ac:spMkLst>
        </pc:spChg>
        <pc:spChg chg="add del mod">
          <ac:chgData name="Steiner Andreas 6206 ED" userId="e6377c33-a923-4f14-8587-531c474c7b48" providerId="ADAL" clId="{6ECD27E6-B224-41CD-B4E0-E297462320DD}" dt="2023-11-24T08:36:19.415" v="26319"/>
          <ac:spMkLst>
            <pc:docMk/>
            <pc:sldMk cId="2752045962" sldId="2147473973"/>
            <ac:spMk id="177" creationId="{15B7252C-59B5-3B31-CBC0-A1D795B575D9}"/>
          </ac:spMkLst>
        </pc:spChg>
        <pc:spChg chg="add del mod">
          <ac:chgData name="Steiner Andreas 6206 ED" userId="e6377c33-a923-4f14-8587-531c474c7b48" providerId="ADAL" clId="{6ECD27E6-B224-41CD-B4E0-E297462320DD}" dt="2023-11-24T08:36:21.661" v="26474"/>
          <ac:spMkLst>
            <pc:docMk/>
            <pc:sldMk cId="2752045962" sldId="2147473973"/>
            <ac:spMk id="178" creationId="{A0680D77-B26D-BA13-DD10-B03F3D8D2A97}"/>
          </ac:spMkLst>
        </pc:spChg>
        <pc:spChg chg="add del mod">
          <ac:chgData name="Steiner Andreas 6206 ED" userId="e6377c33-a923-4f14-8587-531c474c7b48" providerId="ADAL" clId="{6ECD27E6-B224-41CD-B4E0-E297462320DD}" dt="2023-11-24T08:36:24.186" v="26629"/>
          <ac:spMkLst>
            <pc:docMk/>
            <pc:sldMk cId="2752045962" sldId="2147473973"/>
            <ac:spMk id="179" creationId="{5CEF729A-F9A6-8E5B-DFA7-1D8EA0E14C74}"/>
          </ac:spMkLst>
        </pc:spChg>
        <pc:spChg chg="add del mod">
          <ac:chgData name="Steiner Andreas 6206 ED" userId="e6377c33-a923-4f14-8587-531c474c7b48" providerId="ADAL" clId="{6ECD27E6-B224-41CD-B4E0-E297462320DD}" dt="2023-11-24T08:36:26.701" v="26784"/>
          <ac:spMkLst>
            <pc:docMk/>
            <pc:sldMk cId="2752045962" sldId="2147473973"/>
            <ac:spMk id="180" creationId="{B708BD03-BB7F-380E-6694-BECDBFBA4AED}"/>
          </ac:spMkLst>
        </pc:spChg>
        <pc:spChg chg="add del mod">
          <ac:chgData name="Steiner Andreas 6206 ED" userId="e6377c33-a923-4f14-8587-531c474c7b48" providerId="ADAL" clId="{6ECD27E6-B224-41CD-B4E0-E297462320DD}" dt="2023-11-24T08:36:29.608" v="26939"/>
          <ac:spMkLst>
            <pc:docMk/>
            <pc:sldMk cId="2752045962" sldId="2147473973"/>
            <ac:spMk id="181" creationId="{D93AEF4E-6FB3-B308-D85A-829A83A95CD4}"/>
          </ac:spMkLst>
        </pc:spChg>
        <pc:spChg chg="add del mod">
          <ac:chgData name="Steiner Andreas 6206 ED" userId="e6377c33-a923-4f14-8587-531c474c7b48" providerId="ADAL" clId="{6ECD27E6-B224-41CD-B4E0-E297462320DD}" dt="2023-11-24T08:36:32.324" v="27094"/>
          <ac:spMkLst>
            <pc:docMk/>
            <pc:sldMk cId="2752045962" sldId="2147473973"/>
            <ac:spMk id="182" creationId="{24061496-EEAE-8A53-A2A4-71DF99BBFC2A}"/>
          </ac:spMkLst>
        </pc:spChg>
        <pc:spChg chg="add del mod">
          <ac:chgData name="Steiner Andreas 6206 ED" userId="e6377c33-a923-4f14-8587-531c474c7b48" providerId="ADAL" clId="{6ECD27E6-B224-41CD-B4E0-E297462320DD}" dt="2023-11-24T08:36:34.841" v="27249"/>
          <ac:spMkLst>
            <pc:docMk/>
            <pc:sldMk cId="2752045962" sldId="2147473973"/>
            <ac:spMk id="183" creationId="{65641E64-EFC0-9A07-3D67-DED34E772554}"/>
          </ac:spMkLst>
        </pc:spChg>
        <pc:spChg chg="add del mod">
          <ac:chgData name="Steiner Andreas 6206 ED" userId="e6377c33-a923-4f14-8587-531c474c7b48" providerId="ADAL" clId="{6ECD27E6-B224-41CD-B4E0-E297462320DD}" dt="2023-11-24T08:36:37.373" v="27404"/>
          <ac:spMkLst>
            <pc:docMk/>
            <pc:sldMk cId="2752045962" sldId="2147473973"/>
            <ac:spMk id="184" creationId="{4D00DA56-B8E6-E9E9-A288-5B687083ECA4}"/>
          </ac:spMkLst>
        </pc:spChg>
        <pc:spChg chg="add del mod">
          <ac:chgData name="Steiner Andreas 6206 ED" userId="e6377c33-a923-4f14-8587-531c474c7b48" providerId="ADAL" clId="{6ECD27E6-B224-41CD-B4E0-E297462320DD}" dt="2023-11-24T08:36:39.982" v="27559"/>
          <ac:spMkLst>
            <pc:docMk/>
            <pc:sldMk cId="2752045962" sldId="2147473973"/>
            <ac:spMk id="185" creationId="{1934B4DF-0083-3657-6AEC-DC7E652814EF}"/>
          </ac:spMkLst>
        </pc:spChg>
        <pc:spChg chg="add del mod">
          <ac:chgData name="Steiner Andreas 6206 ED" userId="e6377c33-a923-4f14-8587-531c474c7b48" providerId="ADAL" clId="{6ECD27E6-B224-41CD-B4E0-E297462320DD}" dt="2023-11-24T08:36:42.746" v="27714"/>
          <ac:spMkLst>
            <pc:docMk/>
            <pc:sldMk cId="2752045962" sldId="2147473973"/>
            <ac:spMk id="186" creationId="{7FC6B7FC-AE47-6799-3CEA-A51BC14B900C}"/>
          </ac:spMkLst>
        </pc:spChg>
        <pc:spChg chg="add del mod">
          <ac:chgData name="Steiner Andreas 6206 ED" userId="e6377c33-a923-4f14-8587-531c474c7b48" providerId="ADAL" clId="{6ECD27E6-B224-41CD-B4E0-E297462320DD}" dt="2023-11-24T08:36:45.245" v="27869"/>
          <ac:spMkLst>
            <pc:docMk/>
            <pc:sldMk cId="2752045962" sldId="2147473973"/>
            <ac:spMk id="187" creationId="{EBE6140D-BEE5-EF95-69E1-01D32711CEF4}"/>
          </ac:spMkLst>
        </pc:spChg>
        <pc:spChg chg="add del mod">
          <ac:chgData name="Steiner Andreas 6206 ED" userId="e6377c33-a923-4f14-8587-531c474c7b48" providerId="ADAL" clId="{6ECD27E6-B224-41CD-B4E0-E297462320DD}" dt="2023-11-24T08:36:47.661" v="28024"/>
          <ac:spMkLst>
            <pc:docMk/>
            <pc:sldMk cId="2752045962" sldId="2147473973"/>
            <ac:spMk id="188" creationId="{DC71968C-F784-AFD1-24E3-4191209C6025}"/>
          </ac:spMkLst>
        </pc:spChg>
        <pc:spChg chg="add del mod">
          <ac:chgData name="Steiner Andreas 6206 ED" userId="e6377c33-a923-4f14-8587-531c474c7b48" providerId="ADAL" clId="{6ECD27E6-B224-41CD-B4E0-E297462320DD}" dt="2023-11-24T08:36:50.158" v="28179"/>
          <ac:spMkLst>
            <pc:docMk/>
            <pc:sldMk cId="2752045962" sldId="2147473973"/>
            <ac:spMk id="189" creationId="{D380B518-1E6B-D9CD-93A1-54FBE4922580}"/>
          </ac:spMkLst>
        </pc:spChg>
        <pc:spChg chg="add del mod">
          <ac:chgData name="Steiner Andreas 6206 ED" userId="e6377c33-a923-4f14-8587-531c474c7b48" providerId="ADAL" clId="{6ECD27E6-B224-41CD-B4E0-E297462320DD}" dt="2023-11-24T08:36:53.185" v="28334"/>
          <ac:spMkLst>
            <pc:docMk/>
            <pc:sldMk cId="2752045962" sldId="2147473973"/>
            <ac:spMk id="190" creationId="{D9554988-ACA3-971B-25F2-6B4864495BEB}"/>
          </ac:spMkLst>
        </pc:spChg>
        <pc:spChg chg="add del mod">
          <ac:chgData name="Steiner Andreas 6206 ED" userId="e6377c33-a923-4f14-8587-531c474c7b48" providerId="ADAL" clId="{6ECD27E6-B224-41CD-B4E0-E297462320DD}" dt="2023-11-24T08:36:56.264" v="28489"/>
          <ac:spMkLst>
            <pc:docMk/>
            <pc:sldMk cId="2752045962" sldId="2147473973"/>
            <ac:spMk id="191" creationId="{BCC439CF-4CCB-FD5F-C8DE-79C9EA736222}"/>
          </ac:spMkLst>
        </pc:spChg>
        <pc:spChg chg="add del mod">
          <ac:chgData name="Steiner Andreas 6206 ED" userId="e6377c33-a923-4f14-8587-531c474c7b48" providerId="ADAL" clId="{6ECD27E6-B224-41CD-B4E0-E297462320DD}" dt="2023-11-24T08:36:59.103" v="28644"/>
          <ac:spMkLst>
            <pc:docMk/>
            <pc:sldMk cId="2752045962" sldId="2147473973"/>
            <ac:spMk id="192" creationId="{F8FC2426-0903-D318-AD75-81AA0FAF8311}"/>
          </ac:spMkLst>
        </pc:spChg>
        <pc:spChg chg="add del mod">
          <ac:chgData name="Steiner Andreas 6206 ED" userId="e6377c33-a923-4f14-8587-531c474c7b48" providerId="ADAL" clId="{6ECD27E6-B224-41CD-B4E0-E297462320DD}" dt="2023-11-24T08:37:01.762" v="28799"/>
          <ac:spMkLst>
            <pc:docMk/>
            <pc:sldMk cId="2752045962" sldId="2147473973"/>
            <ac:spMk id="193" creationId="{C72045A3-E079-BF7E-92C7-0DDF56ED2D83}"/>
          </ac:spMkLst>
        </pc:spChg>
        <pc:spChg chg="add del mod">
          <ac:chgData name="Steiner Andreas 6206 ED" userId="e6377c33-a923-4f14-8587-531c474c7b48" providerId="ADAL" clId="{6ECD27E6-B224-41CD-B4E0-E297462320DD}" dt="2023-11-24T08:37:04.548" v="28954"/>
          <ac:spMkLst>
            <pc:docMk/>
            <pc:sldMk cId="2752045962" sldId="2147473973"/>
            <ac:spMk id="194" creationId="{ACF92E5D-8011-5219-3749-479C0017A6AD}"/>
          </ac:spMkLst>
        </pc:spChg>
        <pc:spChg chg="add del mod">
          <ac:chgData name="Steiner Andreas 6206 ED" userId="e6377c33-a923-4f14-8587-531c474c7b48" providerId="ADAL" clId="{6ECD27E6-B224-41CD-B4E0-E297462320DD}" dt="2023-11-24T08:37:07.396" v="29109"/>
          <ac:spMkLst>
            <pc:docMk/>
            <pc:sldMk cId="2752045962" sldId="2147473973"/>
            <ac:spMk id="195" creationId="{C4F7CE87-4751-ECE5-ED7F-5633202B82A0}"/>
          </ac:spMkLst>
        </pc:spChg>
        <pc:spChg chg="add del mod">
          <ac:chgData name="Steiner Andreas 6206 ED" userId="e6377c33-a923-4f14-8587-531c474c7b48" providerId="ADAL" clId="{6ECD27E6-B224-41CD-B4E0-E297462320DD}" dt="2023-11-24T08:37:09.944" v="29264"/>
          <ac:spMkLst>
            <pc:docMk/>
            <pc:sldMk cId="2752045962" sldId="2147473973"/>
            <ac:spMk id="196" creationId="{77919D7A-8FF6-AA5E-5D32-CF2A892D7403}"/>
          </ac:spMkLst>
        </pc:spChg>
        <pc:spChg chg="add del mod">
          <ac:chgData name="Steiner Andreas 6206 ED" userId="e6377c33-a923-4f14-8587-531c474c7b48" providerId="ADAL" clId="{6ECD27E6-B224-41CD-B4E0-E297462320DD}" dt="2023-11-24T08:37:12.676" v="29419"/>
          <ac:spMkLst>
            <pc:docMk/>
            <pc:sldMk cId="2752045962" sldId="2147473973"/>
            <ac:spMk id="197" creationId="{F06FAF31-4399-6095-491D-8E91CBE23454}"/>
          </ac:spMkLst>
        </pc:spChg>
        <pc:spChg chg="add del mod">
          <ac:chgData name="Steiner Andreas 6206 ED" userId="e6377c33-a923-4f14-8587-531c474c7b48" providerId="ADAL" clId="{6ECD27E6-B224-41CD-B4E0-E297462320DD}" dt="2023-11-24T08:37:16.034" v="29574"/>
          <ac:spMkLst>
            <pc:docMk/>
            <pc:sldMk cId="2752045962" sldId="2147473973"/>
            <ac:spMk id="198" creationId="{A01A4185-299C-14BB-212B-0AEA3CDF99CE}"/>
          </ac:spMkLst>
        </pc:spChg>
        <pc:spChg chg="add del mod">
          <ac:chgData name="Steiner Andreas 6206 ED" userId="e6377c33-a923-4f14-8587-531c474c7b48" providerId="ADAL" clId="{6ECD27E6-B224-41CD-B4E0-E297462320DD}" dt="2023-11-24T08:37:18.750" v="29729"/>
          <ac:spMkLst>
            <pc:docMk/>
            <pc:sldMk cId="2752045962" sldId="2147473973"/>
            <ac:spMk id="199" creationId="{C5E09094-6FBC-2FDD-BA14-158B342364B4}"/>
          </ac:spMkLst>
        </pc:spChg>
        <pc:spChg chg="add del mod">
          <ac:chgData name="Steiner Andreas 6206 ED" userId="e6377c33-a923-4f14-8587-531c474c7b48" providerId="ADAL" clId="{6ECD27E6-B224-41CD-B4E0-E297462320DD}" dt="2023-11-24T08:37:21.248" v="29884"/>
          <ac:spMkLst>
            <pc:docMk/>
            <pc:sldMk cId="2752045962" sldId="2147473973"/>
            <ac:spMk id="200" creationId="{15E642F4-627F-D21C-8F7B-41610C583D0D}"/>
          </ac:spMkLst>
        </pc:spChg>
        <pc:spChg chg="add del mod">
          <ac:chgData name="Steiner Andreas 6206 ED" userId="e6377c33-a923-4f14-8587-531c474c7b48" providerId="ADAL" clId="{6ECD27E6-B224-41CD-B4E0-E297462320DD}" dt="2023-11-24T08:37:24.089" v="30039"/>
          <ac:spMkLst>
            <pc:docMk/>
            <pc:sldMk cId="2752045962" sldId="2147473973"/>
            <ac:spMk id="201" creationId="{2BE5E58B-8648-6786-3333-CFC7ABC1273E}"/>
          </ac:spMkLst>
        </pc:spChg>
        <pc:spChg chg="add del mod">
          <ac:chgData name="Steiner Andreas 6206 ED" userId="e6377c33-a923-4f14-8587-531c474c7b48" providerId="ADAL" clId="{6ECD27E6-B224-41CD-B4E0-E297462320DD}" dt="2023-11-24T08:37:26.626" v="30194"/>
          <ac:spMkLst>
            <pc:docMk/>
            <pc:sldMk cId="2752045962" sldId="2147473973"/>
            <ac:spMk id="202" creationId="{EAD8A74F-6B71-B4B1-5C4E-9A97678DEECD}"/>
          </ac:spMkLst>
        </pc:spChg>
        <pc:spChg chg="add del mod">
          <ac:chgData name="Steiner Andreas 6206 ED" userId="e6377c33-a923-4f14-8587-531c474c7b48" providerId="ADAL" clId="{6ECD27E6-B224-41CD-B4E0-E297462320DD}" dt="2023-11-24T08:37:29.886" v="30349"/>
          <ac:spMkLst>
            <pc:docMk/>
            <pc:sldMk cId="2752045962" sldId="2147473973"/>
            <ac:spMk id="203" creationId="{E2FBB1E1-88D1-F7D8-1BCD-AB41A429B1B0}"/>
          </ac:spMkLst>
        </pc:spChg>
        <pc:spChg chg="add del mod">
          <ac:chgData name="Steiner Andreas 6206 ED" userId="e6377c33-a923-4f14-8587-531c474c7b48" providerId="ADAL" clId="{6ECD27E6-B224-41CD-B4E0-E297462320DD}" dt="2023-11-24T08:37:32.808" v="30504"/>
          <ac:spMkLst>
            <pc:docMk/>
            <pc:sldMk cId="2752045962" sldId="2147473973"/>
            <ac:spMk id="204" creationId="{00646082-3513-97D7-F4FE-64FA45AFCF5C}"/>
          </ac:spMkLst>
        </pc:spChg>
        <pc:spChg chg="add del mod">
          <ac:chgData name="Steiner Andreas 6206 ED" userId="e6377c33-a923-4f14-8587-531c474c7b48" providerId="ADAL" clId="{6ECD27E6-B224-41CD-B4E0-E297462320DD}" dt="2023-11-24T08:37:35.404" v="30659"/>
          <ac:spMkLst>
            <pc:docMk/>
            <pc:sldMk cId="2752045962" sldId="2147473973"/>
            <ac:spMk id="205" creationId="{E7A4227E-9A4C-85F4-BA1B-60B7AE57351C}"/>
          </ac:spMkLst>
        </pc:spChg>
        <pc:spChg chg="add del mod">
          <ac:chgData name="Steiner Andreas 6206 ED" userId="e6377c33-a923-4f14-8587-531c474c7b48" providerId="ADAL" clId="{6ECD27E6-B224-41CD-B4E0-E297462320DD}" dt="2023-11-24T08:37:38.044" v="30814"/>
          <ac:spMkLst>
            <pc:docMk/>
            <pc:sldMk cId="2752045962" sldId="2147473973"/>
            <ac:spMk id="206" creationId="{063AC3CB-182E-300C-FE0F-14DCA008490D}"/>
          </ac:spMkLst>
        </pc:spChg>
        <pc:spChg chg="add del mod">
          <ac:chgData name="Steiner Andreas 6206 ED" userId="e6377c33-a923-4f14-8587-531c474c7b48" providerId="ADAL" clId="{6ECD27E6-B224-41CD-B4E0-E297462320DD}" dt="2023-11-24T08:37:41.965" v="30969"/>
          <ac:spMkLst>
            <pc:docMk/>
            <pc:sldMk cId="2752045962" sldId="2147473973"/>
            <ac:spMk id="207" creationId="{8A17E4DC-23D7-4487-17C3-FE8FD9742120}"/>
          </ac:spMkLst>
        </pc:spChg>
        <pc:spChg chg="add del mod">
          <ac:chgData name="Steiner Andreas 6206 ED" userId="e6377c33-a923-4f14-8587-531c474c7b48" providerId="ADAL" clId="{6ECD27E6-B224-41CD-B4E0-E297462320DD}" dt="2023-11-24T08:37:45.029" v="31124"/>
          <ac:spMkLst>
            <pc:docMk/>
            <pc:sldMk cId="2752045962" sldId="2147473973"/>
            <ac:spMk id="208" creationId="{FD2F5F33-7D42-5B9A-4AF2-3C3DA9741519}"/>
          </ac:spMkLst>
        </pc:spChg>
        <pc:spChg chg="add del mod">
          <ac:chgData name="Steiner Andreas 6206 ED" userId="e6377c33-a923-4f14-8587-531c474c7b48" providerId="ADAL" clId="{6ECD27E6-B224-41CD-B4E0-E297462320DD}" dt="2023-11-24T08:37:47.773" v="31279"/>
          <ac:spMkLst>
            <pc:docMk/>
            <pc:sldMk cId="2752045962" sldId="2147473973"/>
            <ac:spMk id="209" creationId="{4B3BB339-FB42-75E1-B79A-928706664D48}"/>
          </ac:spMkLst>
        </pc:spChg>
        <pc:spChg chg="add del mod">
          <ac:chgData name="Steiner Andreas 6206 ED" userId="e6377c33-a923-4f14-8587-531c474c7b48" providerId="ADAL" clId="{6ECD27E6-B224-41CD-B4E0-E297462320DD}" dt="2023-11-24T08:37:50.542" v="31434"/>
          <ac:spMkLst>
            <pc:docMk/>
            <pc:sldMk cId="2752045962" sldId="2147473973"/>
            <ac:spMk id="210" creationId="{AA12F85C-6557-6C28-1539-8A477ED94E71}"/>
          </ac:spMkLst>
        </pc:spChg>
        <pc:spChg chg="add del mod">
          <ac:chgData name="Steiner Andreas 6206 ED" userId="e6377c33-a923-4f14-8587-531c474c7b48" providerId="ADAL" clId="{6ECD27E6-B224-41CD-B4E0-E297462320DD}" dt="2023-11-24T08:37:53.140" v="31589"/>
          <ac:spMkLst>
            <pc:docMk/>
            <pc:sldMk cId="2752045962" sldId="2147473973"/>
            <ac:spMk id="211" creationId="{4C4C9F05-C042-C63F-59B0-6A9684E3943A}"/>
          </ac:spMkLst>
        </pc:spChg>
        <pc:spChg chg="add del mod">
          <ac:chgData name="Steiner Andreas 6206 ED" userId="e6377c33-a923-4f14-8587-531c474c7b48" providerId="ADAL" clId="{6ECD27E6-B224-41CD-B4E0-E297462320DD}" dt="2023-11-24T08:37:57.263" v="31744"/>
          <ac:spMkLst>
            <pc:docMk/>
            <pc:sldMk cId="2752045962" sldId="2147473973"/>
            <ac:spMk id="212" creationId="{14483DAB-F9BF-00BA-9BF1-FB495A6F4BBA}"/>
          </ac:spMkLst>
        </pc:spChg>
        <pc:spChg chg="add del mod">
          <ac:chgData name="Steiner Andreas 6206 ED" userId="e6377c33-a923-4f14-8587-531c474c7b48" providerId="ADAL" clId="{6ECD27E6-B224-41CD-B4E0-E297462320DD}" dt="2023-11-24T08:38:00.057" v="31899"/>
          <ac:spMkLst>
            <pc:docMk/>
            <pc:sldMk cId="2752045962" sldId="2147473973"/>
            <ac:spMk id="213" creationId="{9CD2AC91-6BF6-2C9C-A3BB-234644C6ECD4}"/>
          </ac:spMkLst>
        </pc:spChg>
        <pc:spChg chg="add del mod">
          <ac:chgData name="Steiner Andreas 6206 ED" userId="e6377c33-a923-4f14-8587-531c474c7b48" providerId="ADAL" clId="{6ECD27E6-B224-41CD-B4E0-E297462320DD}" dt="2023-11-24T08:38:03.002" v="32054"/>
          <ac:spMkLst>
            <pc:docMk/>
            <pc:sldMk cId="2752045962" sldId="2147473973"/>
            <ac:spMk id="214" creationId="{FA618A5B-E930-D0B0-3DF3-3117E3E4A9E4}"/>
          </ac:spMkLst>
        </pc:spChg>
        <pc:spChg chg="add del mod">
          <ac:chgData name="Steiner Andreas 6206 ED" userId="e6377c33-a923-4f14-8587-531c474c7b48" providerId="ADAL" clId="{6ECD27E6-B224-41CD-B4E0-E297462320DD}" dt="2023-11-24T08:38:05.894" v="32209"/>
          <ac:spMkLst>
            <pc:docMk/>
            <pc:sldMk cId="2752045962" sldId="2147473973"/>
            <ac:spMk id="215" creationId="{9A4DB3AE-9492-B460-11BE-E7CF1FF2E6E8}"/>
          </ac:spMkLst>
        </pc:spChg>
        <pc:spChg chg="add del mod">
          <ac:chgData name="Steiner Andreas 6206 ED" userId="e6377c33-a923-4f14-8587-531c474c7b48" providerId="ADAL" clId="{6ECD27E6-B224-41CD-B4E0-E297462320DD}" dt="2023-11-24T08:38:09.056" v="32364"/>
          <ac:spMkLst>
            <pc:docMk/>
            <pc:sldMk cId="2752045962" sldId="2147473973"/>
            <ac:spMk id="216" creationId="{453E6A03-1779-6013-1659-A5CC975F542F}"/>
          </ac:spMkLst>
        </pc:spChg>
        <pc:spChg chg="add del mod">
          <ac:chgData name="Steiner Andreas 6206 ED" userId="e6377c33-a923-4f14-8587-531c474c7b48" providerId="ADAL" clId="{6ECD27E6-B224-41CD-B4E0-E297462320DD}" dt="2023-11-24T08:38:11.762" v="32519"/>
          <ac:spMkLst>
            <pc:docMk/>
            <pc:sldMk cId="2752045962" sldId="2147473973"/>
            <ac:spMk id="217" creationId="{74D24EEC-B04A-8094-F7BB-8A0DC7AC3056}"/>
          </ac:spMkLst>
        </pc:spChg>
        <pc:spChg chg="add del mod">
          <ac:chgData name="Steiner Andreas 6206 ED" userId="e6377c33-a923-4f14-8587-531c474c7b48" providerId="ADAL" clId="{6ECD27E6-B224-41CD-B4E0-E297462320DD}" dt="2023-11-24T08:38:14.408" v="32674"/>
          <ac:spMkLst>
            <pc:docMk/>
            <pc:sldMk cId="2752045962" sldId="2147473973"/>
            <ac:spMk id="218" creationId="{DB884B63-B1A7-C5A1-19C8-652A60CA177E}"/>
          </ac:spMkLst>
        </pc:spChg>
        <pc:spChg chg="add del mod">
          <ac:chgData name="Steiner Andreas 6206 ED" userId="e6377c33-a923-4f14-8587-531c474c7b48" providerId="ADAL" clId="{6ECD27E6-B224-41CD-B4E0-E297462320DD}" dt="2023-11-24T08:38:17.101" v="32829"/>
          <ac:spMkLst>
            <pc:docMk/>
            <pc:sldMk cId="2752045962" sldId="2147473973"/>
            <ac:spMk id="219" creationId="{59CD85C6-69AC-3E5B-31A0-140B72995768}"/>
          </ac:spMkLst>
        </pc:spChg>
        <pc:spChg chg="add del mod">
          <ac:chgData name="Steiner Andreas 6206 ED" userId="e6377c33-a923-4f14-8587-531c474c7b48" providerId="ADAL" clId="{6ECD27E6-B224-41CD-B4E0-E297462320DD}" dt="2023-11-24T08:38:20.139" v="32984"/>
          <ac:spMkLst>
            <pc:docMk/>
            <pc:sldMk cId="2752045962" sldId="2147473973"/>
            <ac:spMk id="220" creationId="{1B4E16D7-8C09-C461-0E35-5F9494971AF9}"/>
          </ac:spMkLst>
        </pc:spChg>
        <pc:spChg chg="add del mod">
          <ac:chgData name="Steiner Andreas 6206 ED" userId="e6377c33-a923-4f14-8587-531c474c7b48" providerId="ADAL" clId="{6ECD27E6-B224-41CD-B4E0-E297462320DD}" dt="2023-11-24T08:38:22.967" v="33139"/>
          <ac:spMkLst>
            <pc:docMk/>
            <pc:sldMk cId="2752045962" sldId="2147473973"/>
            <ac:spMk id="221" creationId="{6E8010FD-194B-6A55-8F2A-6A4CE1A40AD5}"/>
          </ac:spMkLst>
        </pc:spChg>
        <pc:spChg chg="add del mod">
          <ac:chgData name="Steiner Andreas 6206 ED" userId="e6377c33-a923-4f14-8587-531c474c7b48" providerId="ADAL" clId="{6ECD27E6-B224-41CD-B4E0-E297462320DD}" dt="2023-11-24T08:38:25.748" v="33294"/>
          <ac:spMkLst>
            <pc:docMk/>
            <pc:sldMk cId="2752045962" sldId="2147473973"/>
            <ac:spMk id="222" creationId="{31218C9C-35B3-D83B-99C9-11F02A3AF3C4}"/>
          </ac:spMkLst>
        </pc:spChg>
        <pc:spChg chg="add del mod">
          <ac:chgData name="Steiner Andreas 6206 ED" userId="e6377c33-a923-4f14-8587-531c474c7b48" providerId="ADAL" clId="{6ECD27E6-B224-41CD-B4E0-E297462320DD}" dt="2023-11-24T08:38:29.381" v="33449"/>
          <ac:spMkLst>
            <pc:docMk/>
            <pc:sldMk cId="2752045962" sldId="2147473973"/>
            <ac:spMk id="223" creationId="{374C140F-66FA-3EB2-D1EF-C326187EA210}"/>
          </ac:spMkLst>
        </pc:spChg>
        <pc:spChg chg="add del mod">
          <ac:chgData name="Steiner Andreas 6206 ED" userId="e6377c33-a923-4f14-8587-531c474c7b48" providerId="ADAL" clId="{6ECD27E6-B224-41CD-B4E0-E297462320DD}" dt="2023-11-24T08:38:32.498" v="33604"/>
          <ac:spMkLst>
            <pc:docMk/>
            <pc:sldMk cId="2752045962" sldId="2147473973"/>
            <ac:spMk id="224" creationId="{6E4EE845-F2A2-0736-7034-8B3C3FA239E7}"/>
          </ac:spMkLst>
        </pc:spChg>
        <pc:spChg chg="add del mod">
          <ac:chgData name="Steiner Andreas 6206 ED" userId="e6377c33-a923-4f14-8587-531c474c7b48" providerId="ADAL" clId="{6ECD27E6-B224-41CD-B4E0-E297462320DD}" dt="2023-11-24T08:38:35.158" v="33759"/>
          <ac:spMkLst>
            <pc:docMk/>
            <pc:sldMk cId="2752045962" sldId="2147473973"/>
            <ac:spMk id="225" creationId="{25EEB131-689A-1C3B-A62E-B8850C4F468D}"/>
          </ac:spMkLst>
        </pc:spChg>
        <pc:spChg chg="add del mod">
          <ac:chgData name="Steiner Andreas 6206 ED" userId="e6377c33-a923-4f14-8587-531c474c7b48" providerId="ADAL" clId="{6ECD27E6-B224-41CD-B4E0-E297462320DD}" dt="2023-11-24T08:38:37.818" v="33914"/>
          <ac:spMkLst>
            <pc:docMk/>
            <pc:sldMk cId="2752045962" sldId="2147473973"/>
            <ac:spMk id="226" creationId="{88BF1CE6-5AEF-E3D7-4FED-E0183C2D497D}"/>
          </ac:spMkLst>
        </pc:spChg>
        <pc:spChg chg="add del mod">
          <ac:chgData name="Steiner Andreas 6206 ED" userId="e6377c33-a923-4f14-8587-531c474c7b48" providerId="ADAL" clId="{6ECD27E6-B224-41CD-B4E0-E297462320DD}" dt="2023-11-24T08:38:40.371" v="34069"/>
          <ac:spMkLst>
            <pc:docMk/>
            <pc:sldMk cId="2752045962" sldId="2147473973"/>
            <ac:spMk id="227" creationId="{239DBD70-8051-BB76-20C1-E76AEB7627E8}"/>
          </ac:spMkLst>
        </pc:spChg>
        <pc:spChg chg="add del mod">
          <ac:chgData name="Steiner Andreas 6206 ED" userId="e6377c33-a923-4f14-8587-531c474c7b48" providerId="ADAL" clId="{6ECD27E6-B224-41CD-B4E0-E297462320DD}" dt="2023-11-24T08:38:42.840" v="34224"/>
          <ac:spMkLst>
            <pc:docMk/>
            <pc:sldMk cId="2752045962" sldId="2147473973"/>
            <ac:spMk id="228" creationId="{7965F8B7-CF2A-CC5A-AF2A-95FC885AA2F9}"/>
          </ac:spMkLst>
        </pc:spChg>
        <pc:spChg chg="add del mod">
          <ac:chgData name="Steiner Andreas 6206 ED" userId="e6377c33-a923-4f14-8587-531c474c7b48" providerId="ADAL" clId="{6ECD27E6-B224-41CD-B4E0-E297462320DD}" dt="2023-11-24T08:38:46.906" v="34379"/>
          <ac:spMkLst>
            <pc:docMk/>
            <pc:sldMk cId="2752045962" sldId="2147473973"/>
            <ac:spMk id="229" creationId="{874FDE5E-4564-E6BF-A11C-2B1EE74F7296}"/>
          </ac:spMkLst>
        </pc:spChg>
        <pc:spChg chg="add del mod">
          <ac:chgData name="Steiner Andreas 6206 ED" userId="e6377c33-a923-4f14-8587-531c474c7b48" providerId="ADAL" clId="{6ECD27E6-B224-41CD-B4E0-E297462320DD}" dt="2023-11-24T08:38:49.601" v="34534"/>
          <ac:spMkLst>
            <pc:docMk/>
            <pc:sldMk cId="2752045962" sldId="2147473973"/>
            <ac:spMk id="230" creationId="{97E2BAF8-593E-F190-1686-1D781811A825}"/>
          </ac:spMkLst>
        </pc:spChg>
        <pc:spChg chg="add del mod">
          <ac:chgData name="Steiner Andreas 6206 ED" userId="e6377c33-a923-4f14-8587-531c474c7b48" providerId="ADAL" clId="{6ECD27E6-B224-41CD-B4E0-E297462320DD}" dt="2023-11-24T08:38:52.405" v="34689"/>
          <ac:spMkLst>
            <pc:docMk/>
            <pc:sldMk cId="2752045962" sldId="2147473973"/>
            <ac:spMk id="231" creationId="{4809B6CC-EFD0-594E-73DD-4319617D55A1}"/>
          </ac:spMkLst>
        </pc:spChg>
        <pc:spChg chg="add del mod">
          <ac:chgData name="Steiner Andreas 6206 ED" userId="e6377c33-a923-4f14-8587-531c474c7b48" providerId="ADAL" clId="{6ECD27E6-B224-41CD-B4E0-E297462320DD}" dt="2023-11-24T08:38:55.418" v="34844"/>
          <ac:spMkLst>
            <pc:docMk/>
            <pc:sldMk cId="2752045962" sldId="2147473973"/>
            <ac:spMk id="232" creationId="{543FB60D-C4CA-61BF-DB16-E812A18C82DE}"/>
          </ac:spMkLst>
        </pc:spChg>
        <pc:spChg chg="add del mod">
          <ac:chgData name="Steiner Andreas 6206 ED" userId="e6377c33-a923-4f14-8587-531c474c7b48" providerId="ADAL" clId="{6ECD27E6-B224-41CD-B4E0-E297462320DD}" dt="2023-11-24T08:38:58.612" v="34999"/>
          <ac:spMkLst>
            <pc:docMk/>
            <pc:sldMk cId="2752045962" sldId="2147473973"/>
            <ac:spMk id="233" creationId="{2DA757EE-8895-EA82-1254-A5A9C7F53DA7}"/>
          </ac:spMkLst>
        </pc:spChg>
        <pc:spChg chg="add del mod">
          <ac:chgData name="Steiner Andreas 6206 ED" userId="e6377c33-a923-4f14-8587-531c474c7b48" providerId="ADAL" clId="{6ECD27E6-B224-41CD-B4E0-E297462320DD}" dt="2023-11-24T08:39:02.094" v="35154"/>
          <ac:spMkLst>
            <pc:docMk/>
            <pc:sldMk cId="2752045962" sldId="2147473973"/>
            <ac:spMk id="234" creationId="{2C41540D-0CF7-E7BF-4575-D7A81B720611}"/>
          </ac:spMkLst>
        </pc:spChg>
        <pc:spChg chg="add del mod">
          <ac:chgData name="Steiner Andreas 6206 ED" userId="e6377c33-a923-4f14-8587-531c474c7b48" providerId="ADAL" clId="{6ECD27E6-B224-41CD-B4E0-E297462320DD}" dt="2023-11-24T08:39:05.222" v="35309"/>
          <ac:spMkLst>
            <pc:docMk/>
            <pc:sldMk cId="2752045962" sldId="2147473973"/>
            <ac:spMk id="235" creationId="{B8C5CEDC-C6FD-6B2E-6F59-97D372256C02}"/>
          </ac:spMkLst>
        </pc:spChg>
        <pc:spChg chg="add del mod">
          <ac:chgData name="Steiner Andreas 6206 ED" userId="e6377c33-a923-4f14-8587-531c474c7b48" providerId="ADAL" clId="{6ECD27E6-B224-41CD-B4E0-E297462320DD}" dt="2023-11-24T08:39:08.096" v="35464"/>
          <ac:spMkLst>
            <pc:docMk/>
            <pc:sldMk cId="2752045962" sldId="2147473973"/>
            <ac:spMk id="236" creationId="{2A66B205-82BA-1CB4-D9B2-95FF779B0451}"/>
          </ac:spMkLst>
        </pc:spChg>
        <pc:spChg chg="add del mod">
          <ac:chgData name="Steiner Andreas 6206 ED" userId="e6377c33-a923-4f14-8587-531c474c7b48" providerId="ADAL" clId="{6ECD27E6-B224-41CD-B4E0-E297462320DD}" dt="2023-11-24T08:39:12.770" v="35619"/>
          <ac:spMkLst>
            <pc:docMk/>
            <pc:sldMk cId="2752045962" sldId="2147473973"/>
            <ac:spMk id="237" creationId="{AE571ADF-E912-DB1C-8828-8C29C70219B8}"/>
          </ac:spMkLst>
        </pc:spChg>
        <pc:spChg chg="add del mod">
          <ac:chgData name="Steiner Andreas 6206 ED" userId="e6377c33-a923-4f14-8587-531c474c7b48" providerId="ADAL" clId="{6ECD27E6-B224-41CD-B4E0-E297462320DD}" dt="2023-11-24T08:39:15.427" v="35774"/>
          <ac:spMkLst>
            <pc:docMk/>
            <pc:sldMk cId="2752045962" sldId="2147473973"/>
            <ac:spMk id="238" creationId="{21A00B63-581F-485D-D797-66AD9B65802E}"/>
          </ac:spMkLst>
        </pc:spChg>
        <pc:spChg chg="add del mod">
          <ac:chgData name="Steiner Andreas 6206 ED" userId="e6377c33-a923-4f14-8587-531c474c7b48" providerId="ADAL" clId="{6ECD27E6-B224-41CD-B4E0-E297462320DD}" dt="2023-11-24T08:39:18.101" v="35929"/>
          <ac:spMkLst>
            <pc:docMk/>
            <pc:sldMk cId="2752045962" sldId="2147473973"/>
            <ac:spMk id="239" creationId="{33C5A10D-D97C-753D-E9F2-BEAFF3EF80D2}"/>
          </ac:spMkLst>
        </pc:spChg>
        <pc:spChg chg="add del mod">
          <ac:chgData name="Steiner Andreas 6206 ED" userId="e6377c33-a923-4f14-8587-531c474c7b48" providerId="ADAL" clId="{6ECD27E6-B224-41CD-B4E0-E297462320DD}" dt="2023-11-24T08:39:20.694" v="36084"/>
          <ac:spMkLst>
            <pc:docMk/>
            <pc:sldMk cId="2752045962" sldId="2147473973"/>
            <ac:spMk id="240" creationId="{20BD3955-3645-1EFE-96BB-D75F94D2B031}"/>
          </ac:spMkLst>
        </pc:spChg>
        <pc:spChg chg="add del mod">
          <ac:chgData name="Steiner Andreas 6206 ED" userId="e6377c33-a923-4f14-8587-531c474c7b48" providerId="ADAL" clId="{6ECD27E6-B224-41CD-B4E0-E297462320DD}" dt="2023-11-24T08:39:23.907" v="36239"/>
          <ac:spMkLst>
            <pc:docMk/>
            <pc:sldMk cId="2752045962" sldId="2147473973"/>
            <ac:spMk id="241" creationId="{1BE2F632-4B5E-61D5-2448-2685F77B0860}"/>
          </ac:spMkLst>
        </pc:spChg>
        <pc:spChg chg="add del mod">
          <ac:chgData name="Steiner Andreas 6206 ED" userId="e6377c33-a923-4f14-8587-531c474c7b48" providerId="ADAL" clId="{6ECD27E6-B224-41CD-B4E0-E297462320DD}" dt="2023-11-24T08:39:26.590" v="36394"/>
          <ac:spMkLst>
            <pc:docMk/>
            <pc:sldMk cId="2752045962" sldId="2147473973"/>
            <ac:spMk id="242" creationId="{AC32B012-46F5-47A8-D373-8DF79C5BB2A7}"/>
          </ac:spMkLst>
        </pc:spChg>
        <pc:spChg chg="add del mod">
          <ac:chgData name="Steiner Andreas 6206 ED" userId="e6377c33-a923-4f14-8587-531c474c7b48" providerId="ADAL" clId="{6ECD27E6-B224-41CD-B4E0-E297462320DD}" dt="2023-11-24T08:39:29.352" v="36549"/>
          <ac:spMkLst>
            <pc:docMk/>
            <pc:sldMk cId="2752045962" sldId="2147473973"/>
            <ac:spMk id="243" creationId="{B8BF3D76-4A3C-A708-86E7-ABA3686E5266}"/>
          </ac:spMkLst>
        </pc:spChg>
        <pc:spChg chg="add del mod">
          <ac:chgData name="Steiner Andreas 6206 ED" userId="e6377c33-a923-4f14-8587-531c474c7b48" providerId="ADAL" clId="{6ECD27E6-B224-41CD-B4E0-E297462320DD}" dt="2023-11-24T08:39:31.932" v="36704"/>
          <ac:spMkLst>
            <pc:docMk/>
            <pc:sldMk cId="2752045962" sldId="2147473973"/>
            <ac:spMk id="244" creationId="{CA0369F4-7614-236F-1878-CC752E599BDA}"/>
          </ac:spMkLst>
        </pc:spChg>
        <pc:spChg chg="add del mod">
          <ac:chgData name="Steiner Andreas 6206 ED" userId="e6377c33-a923-4f14-8587-531c474c7b48" providerId="ADAL" clId="{6ECD27E6-B224-41CD-B4E0-E297462320DD}" dt="2023-11-24T08:39:34.430" v="36859"/>
          <ac:spMkLst>
            <pc:docMk/>
            <pc:sldMk cId="2752045962" sldId="2147473973"/>
            <ac:spMk id="245" creationId="{A44CFAA6-F49A-ED62-DAC1-3179294F3B4F}"/>
          </ac:spMkLst>
        </pc:spChg>
        <pc:spChg chg="add del mod">
          <ac:chgData name="Steiner Andreas 6206 ED" userId="e6377c33-a923-4f14-8587-531c474c7b48" providerId="ADAL" clId="{6ECD27E6-B224-41CD-B4E0-E297462320DD}" dt="2023-11-24T08:39:37.358" v="37014"/>
          <ac:spMkLst>
            <pc:docMk/>
            <pc:sldMk cId="2752045962" sldId="2147473973"/>
            <ac:spMk id="246" creationId="{74A7F126-7FF3-2687-58EC-5B3711D9C37F}"/>
          </ac:spMkLst>
        </pc:spChg>
        <pc:spChg chg="add del mod">
          <ac:chgData name="Steiner Andreas 6206 ED" userId="e6377c33-a923-4f14-8587-531c474c7b48" providerId="ADAL" clId="{6ECD27E6-B224-41CD-B4E0-E297462320DD}" dt="2023-11-24T08:39:39.950" v="37169"/>
          <ac:spMkLst>
            <pc:docMk/>
            <pc:sldMk cId="2752045962" sldId="2147473973"/>
            <ac:spMk id="247" creationId="{3AD4AEB9-2B3A-83C9-0DAF-8E6D1750D243}"/>
          </ac:spMkLst>
        </pc:spChg>
        <pc:spChg chg="add del mod">
          <ac:chgData name="Steiner Andreas 6206 ED" userId="e6377c33-a923-4f14-8587-531c474c7b48" providerId="ADAL" clId="{6ECD27E6-B224-41CD-B4E0-E297462320DD}" dt="2023-11-24T08:39:42.446" v="37324"/>
          <ac:spMkLst>
            <pc:docMk/>
            <pc:sldMk cId="2752045962" sldId="2147473973"/>
            <ac:spMk id="248" creationId="{C158B397-37EB-49AF-DDF2-5A86153AAE57}"/>
          </ac:spMkLst>
        </pc:spChg>
        <pc:spChg chg="add del mod">
          <ac:chgData name="Steiner Andreas 6206 ED" userId="e6377c33-a923-4f14-8587-531c474c7b48" providerId="ADAL" clId="{6ECD27E6-B224-41CD-B4E0-E297462320DD}" dt="2023-11-24T08:39:44.999" v="37479"/>
          <ac:spMkLst>
            <pc:docMk/>
            <pc:sldMk cId="2752045962" sldId="2147473973"/>
            <ac:spMk id="249" creationId="{8D7E5C56-9323-1460-0B69-03A4CA120CFB}"/>
          </ac:spMkLst>
        </pc:spChg>
        <pc:spChg chg="add del mod">
          <ac:chgData name="Steiner Andreas 6206 ED" userId="e6377c33-a923-4f14-8587-531c474c7b48" providerId="ADAL" clId="{6ECD27E6-B224-41CD-B4E0-E297462320DD}" dt="2023-11-24T08:39:47.982" v="37634"/>
          <ac:spMkLst>
            <pc:docMk/>
            <pc:sldMk cId="2752045962" sldId="2147473973"/>
            <ac:spMk id="250" creationId="{E99777C8-DE46-2729-1643-53177810F3EF}"/>
          </ac:spMkLst>
        </pc:spChg>
        <pc:spChg chg="add del mod">
          <ac:chgData name="Steiner Andreas 6206 ED" userId="e6377c33-a923-4f14-8587-531c474c7b48" providerId="ADAL" clId="{6ECD27E6-B224-41CD-B4E0-E297462320DD}" dt="2023-11-24T08:39:50.713" v="37789"/>
          <ac:spMkLst>
            <pc:docMk/>
            <pc:sldMk cId="2752045962" sldId="2147473973"/>
            <ac:spMk id="251" creationId="{0F37C898-6DD7-155A-6B0F-1131884B3844}"/>
          </ac:spMkLst>
        </pc:spChg>
        <pc:spChg chg="add del mod">
          <ac:chgData name="Steiner Andreas 6206 ED" userId="e6377c33-a923-4f14-8587-531c474c7b48" providerId="ADAL" clId="{6ECD27E6-B224-41CD-B4E0-E297462320DD}" dt="2023-11-24T08:39:53.372" v="37944"/>
          <ac:spMkLst>
            <pc:docMk/>
            <pc:sldMk cId="2752045962" sldId="2147473973"/>
            <ac:spMk id="252" creationId="{7CE1E25D-8B8C-41FB-3600-E72CC5EFF075}"/>
          </ac:spMkLst>
        </pc:spChg>
        <pc:spChg chg="add del mod">
          <ac:chgData name="Steiner Andreas 6206 ED" userId="e6377c33-a923-4f14-8587-531c474c7b48" providerId="ADAL" clId="{6ECD27E6-B224-41CD-B4E0-E297462320DD}" dt="2023-11-24T08:39:56.293" v="38099"/>
          <ac:spMkLst>
            <pc:docMk/>
            <pc:sldMk cId="2752045962" sldId="2147473973"/>
            <ac:spMk id="253" creationId="{2720DE69-74ED-C3AC-1DC3-1F88FEB9CBA8}"/>
          </ac:spMkLst>
        </pc:spChg>
        <pc:spChg chg="add del mod">
          <ac:chgData name="Steiner Andreas 6206 ED" userId="e6377c33-a923-4f14-8587-531c474c7b48" providerId="ADAL" clId="{6ECD27E6-B224-41CD-B4E0-E297462320DD}" dt="2023-11-24T08:39:59.460" v="38254"/>
          <ac:spMkLst>
            <pc:docMk/>
            <pc:sldMk cId="2752045962" sldId="2147473973"/>
            <ac:spMk id="254" creationId="{53C963EC-80EC-4BE1-2FBF-27FB5B1FD080}"/>
          </ac:spMkLst>
        </pc:spChg>
        <pc:spChg chg="add del mod">
          <ac:chgData name="Steiner Andreas 6206 ED" userId="e6377c33-a923-4f14-8587-531c474c7b48" providerId="ADAL" clId="{6ECD27E6-B224-41CD-B4E0-E297462320DD}" dt="2023-11-24T08:40:02.777" v="38409"/>
          <ac:spMkLst>
            <pc:docMk/>
            <pc:sldMk cId="2752045962" sldId="2147473973"/>
            <ac:spMk id="255" creationId="{C7251855-D29C-3285-CAEF-CA94A9CEF917}"/>
          </ac:spMkLst>
        </pc:spChg>
        <pc:spChg chg="add del mod">
          <ac:chgData name="Steiner Andreas 6206 ED" userId="e6377c33-a923-4f14-8587-531c474c7b48" providerId="ADAL" clId="{6ECD27E6-B224-41CD-B4E0-E297462320DD}" dt="2023-11-24T08:40:05.526" v="38564"/>
          <ac:spMkLst>
            <pc:docMk/>
            <pc:sldMk cId="2752045962" sldId="2147473973"/>
            <ac:spMk id="256" creationId="{9C0F242B-F699-7336-1754-BE0799FDE1CA}"/>
          </ac:spMkLst>
        </pc:spChg>
        <pc:spChg chg="add del mod">
          <ac:chgData name="Steiner Andreas 6206 ED" userId="e6377c33-a923-4f14-8587-531c474c7b48" providerId="ADAL" clId="{6ECD27E6-B224-41CD-B4E0-E297462320DD}" dt="2023-11-24T08:40:08.074" v="38719"/>
          <ac:spMkLst>
            <pc:docMk/>
            <pc:sldMk cId="2752045962" sldId="2147473973"/>
            <ac:spMk id="257" creationId="{8D22A596-4ACB-2410-AAA0-C4465F752054}"/>
          </ac:spMkLst>
        </pc:spChg>
        <pc:spChg chg="add del mod">
          <ac:chgData name="Steiner Andreas 6206 ED" userId="e6377c33-a923-4f14-8587-531c474c7b48" providerId="ADAL" clId="{6ECD27E6-B224-41CD-B4E0-E297462320DD}" dt="2023-11-24T08:40:10.777" v="38874"/>
          <ac:spMkLst>
            <pc:docMk/>
            <pc:sldMk cId="2752045962" sldId="2147473973"/>
            <ac:spMk id="258" creationId="{A14EBE8B-C992-84C5-D94D-AB4A872CCADD}"/>
          </ac:spMkLst>
        </pc:spChg>
        <pc:spChg chg="add del mod">
          <ac:chgData name="Steiner Andreas 6206 ED" userId="e6377c33-a923-4f14-8587-531c474c7b48" providerId="ADAL" clId="{6ECD27E6-B224-41CD-B4E0-E297462320DD}" dt="2023-11-24T08:40:13.955" v="39029"/>
          <ac:spMkLst>
            <pc:docMk/>
            <pc:sldMk cId="2752045962" sldId="2147473973"/>
            <ac:spMk id="259" creationId="{23A8BB73-016A-D845-DD45-2446A11D3837}"/>
          </ac:spMkLst>
        </pc:spChg>
        <pc:spChg chg="add del mod">
          <ac:chgData name="Steiner Andreas 6206 ED" userId="e6377c33-a923-4f14-8587-531c474c7b48" providerId="ADAL" clId="{6ECD27E6-B224-41CD-B4E0-E297462320DD}" dt="2023-11-24T08:40:16.639" v="39184"/>
          <ac:spMkLst>
            <pc:docMk/>
            <pc:sldMk cId="2752045962" sldId="2147473973"/>
            <ac:spMk id="260" creationId="{05634392-CFB1-DB52-13D1-B1A4590513C4}"/>
          </ac:spMkLst>
        </pc:spChg>
        <pc:spChg chg="add del mod">
          <ac:chgData name="Steiner Andreas 6206 ED" userId="e6377c33-a923-4f14-8587-531c474c7b48" providerId="ADAL" clId="{6ECD27E6-B224-41CD-B4E0-E297462320DD}" dt="2023-11-24T08:40:19.150" v="39339"/>
          <ac:spMkLst>
            <pc:docMk/>
            <pc:sldMk cId="2752045962" sldId="2147473973"/>
            <ac:spMk id="261" creationId="{31BE3F24-6277-E7A7-4799-2FE92B0A9B60}"/>
          </ac:spMkLst>
        </pc:spChg>
        <pc:spChg chg="add del mod">
          <ac:chgData name="Steiner Andreas 6206 ED" userId="e6377c33-a923-4f14-8587-531c474c7b48" providerId="ADAL" clId="{6ECD27E6-B224-41CD-B4E0-E297462320DD}" dt="2023-11-24T08:40:21.574" v="39494"/>
          <ac:spMkLst>
            <pc:docMk/>
            <pc:sldMk cId="2752045962" sldId="2147473973"/>
            <ac:spMk id="262" creationId="{20206634-5866-E4EF-162D-71C9361C5373}"/>
          </ac:spMkLst>
        </pc:spChg>
        <pc:spChg chg="add del mod">
          <ac:chgData name="Steiner Andreas 6206 ED" userId="e6377c33-a923-4f14-8587-531c474c7b48" providerId="ADAL" clId="{6ECD27E6-B224-41CD-B4E0-E297462320DD}" dt="2023-11-24T08:40:24.317" v="39649"/>
          <ac:spMkLst>
            <pc:docMk/>
            <pc:sldMk cId="2752045962" sldId="2147473973"/>
            <ac:spMk id="263" creationId="{AFCDE8D8-EB30-A541-97EC-0BF4BF7DD3B1}"/>
          </ac:spMkLst>
        </pc:spChg>
        <pc:spChg chg="add del mod">
          <ac:chgData name="Steiner Andreas 6206 ED" userId="e6377c33-a923-4f14-8587-531c474c7b48" providerId="ADAL" clId="{6ECD27E6-B224-41CD-B4E0-E297462320DD}" dt="2023-11-24T08:40:27.200" v="39804"/>
          <ac:spMkLst>
            <pc:docMk/>
            <pc:sldMk cId="2752045962" sldId="2147473973"/>
            <ac:spMk id="264" creationId="{4159FABA-956A-4C83-8649-D37987BD3740}"/>
          </ac:spMkLst>
        </pc:spChg>
        <pc:spChg chg="add del mod">
          <ac:chgData name="Steiner Andreas 6206 ED" userId="e6377c33-a923-4f14-8587-531c474c7b48" providerId="ADAL" clId="{6ECD27E6-B224-41CD-B4E0-E297462320DD}" dt="2023-11-24T08:40:29.808" v="39959"/>
          <ac:spMkLst>
            <pc:docMk/>
            <pc:sldMk cId="2752045962" sldId="2147473973"/>
            <ac:spMk id="265" creationId="{726168CE-BBBC-A262-81A1-BCEDE1821B3C}"/>
          </ac:spMkLst>
        </pc:spChg>
        <pc:spChg chg="add del mod">
          <ac:chgData name="Steiner Andreas 6206 ED" userId="e6377c33-a923-4f14-8587-531c474c7b48" providerId="ADAL" clId="{6ECD27E6-B224-41CD-B4E0-E297462320DD}" dt="2023-11-24T08:40:32.399" v="40114"/>
          <ac:spMkLst>
            <pc:docMk/>
            <pc:sldMk cId="2752045962" sldId="2147473973"/>
            <ac:spMk id="266" creationId="{E994808E-FDE4-E02C-6570-070BF921C586}"/>
          </ac:spMkLst>
        </pc:spChg>
        <pc:spChg chg="add del mod">
          <ac:chgData name="Steiner Andreas 6206 ED" userId="e6377c33-a923-4f14-8587-531c474c7b48" providerId="ADAL" clId="{6ECD27E6-B224-41CD-B4E0-E297462320DD}" dt="2023-11-24T08:40:34.967" v="40269"/>
          <ac:spMkLst>
            <pc:docMk/>
            <pc:sldMk cId="2752045962" sldId="2147473973"/>
            <ac:spMk id="267" creationId="{3FB09BDE-220C-2748-ACB2-E8E3269FC6DD}"/>
          </ac:spMkLst>
        </pc:spChg>
        <pc:spChg chg="add del mod">
          <ac:chgData name="Steiner Andreas 6206 ED" userId="e6377c33-a923-4f14-8587-531c474c7b48" providerId="ADAL" clId="{6ECD27E6-B224-41CD-B4E0-E297462320DD}" dt="2023-11-24T08:40:38.396" v="40424"/>
          <ac:spMkLst>
            <pc:docMk/>
            <pc:sldMk cId="2752045962" sldId="2147473973"/>
            <ac:spMk id="268" creationId="{F310EFFB-748E-C914-9E5C-2D4389840246}"/>
          </ac:spMkLst>
        </pc:spChg>
        <pc:spChg chg="add del mod">
          <ac:chgData name="Steiner Andreas 6206 ED" userId="e6377c33-a923-4f14-8587-531c474c7b48" providerId="ADAL" clId="{6ECD27E6-B224-41CD-B4E0-E297462320DD}" dt="2023-11-24T08:40:41.111" v="40579"/>
          <ac:spMkLst>
            <pc:docMk/>
            <pc:sldMk cId="2752045962" sldId="2147473973"/>
            <ac:spMk id="269" creationId="{0892D3EB-2498-4304-B35E-5B651F6568E6}"/>
          </ac:spMkLst>
        </pc:spChg>
        <pc:spChg chg="add del mod">
          <ac:chgData name="Steiner Andreas 6206 ED" userId="e6377c33-a923-4f14-8587-531c474c7b48" providerId="ADAL" clId="{6ECD27E6-B224-41CD-B4E0-E297462320DD}" dt="2023-11-24T08:40:43.878" v="40734"/>
          <ac:spMkLst>
            <pc:docMk/>
            <pc:sldMk cId="2752045962" sldId="2147473973"/>
            <ac:spMk id="270" creationId="{AC3E214A-333E-BFB5-4344-34D8A0AF2182}"/>
          </ac:spMkLst>
        </pc:spChg>
        <pc:spChg chg="add del mod">
          <ac:chgData name="Steiner Andreas 6206 ED" userId="e6377c33-a923-4f14-8587-531c474c7b48" providerId="ADAL" clId="{6ECD27E6-B224-41CD-B4E0-E297462320DD}" dt="2023-11-24T08:40:46.316" v="40889"/>
          <ac:spMkLst>
            <pc:docMk/>
            <pc:sldMk cId="2752045962" sldId="2147473973"/>
            <ac:spMk id="271" creationId="{FC98F08A-E573-9BB3-50B2-C8A6D18705B3}"/>
          </ac:spMkLst>
        </pc:spChg>
        <pc:spChg chg="add del mod">
          <ac:chgData name="Steiner Andreas 6206 ED" userId="e6377c33-a923-4f14-8587-531c474c7b48" providerId="ADAL" clId="{6ECD27E6-B224-41CD-B4E0-E297462320DD}" dt="2023-11-24T08:40:49.152" v="41044"/>
          <ac:spMkLst>
            <pc:docMk/>
            <pc:sldMk cId="2752045962" sldId="2147473973"/>
            <ac:spMk id="272" creationId="{65A39EE9-27A8-F50A-8FFA-03020B7B545C}"/>
          </ac:spMkLst>
        </pc:spChg>
        <pc:spChg chg="add del mod">
          <ac:chgData name="Steiner Andreas 6206 ED" userId="e6377c33-a923-4f14-8587-531c474c7b48" providerId="ADAL" clId="{6ECD27E6-B224-41CD-B4E0-E297462320DD}" dt="2023-11-24T08:40:51.983" v="41199"/>
          <ac:spMkLst>
            <pc:docMk/>
            <pc:sldMk cId="2752045962" sldId="2147473973"/>
            <ac:spMk id="273" creationId="{2D639EDD-066B-F020-BA2B-3AC25CE9FEB8}"/>
          </ac:spMkLst>
        </pc:spChg>
        <pc:spChg chg="add del mod">
          <ac:chgData name="Steiner Andreas 6206 ED" userId="e6377c33-a923-4f14-8587-531c474c7b48" providerId="ADAL" clId="{6ECD27E6-B224-41CD-B4E0-E297462320DD}" dt="2023-11-24T08:40:54.510" v="41354"/>
          <ac:spMkLst>
            <pc:docMk/>
            <pc:sldMk cId="2752045962" sldId="2147473973"/>
            <ac:spMk id="274" creationId="{7FDBFA65-09B6-DA72-505E-318E0F35D331}"/>
          </ac:spMkLst>
        </pc:spChg>
        <pc:spChg chg="add del mod">
          <ac:chgData name="Steiner Andreas 6206 ED" userId="e6377c33-a923-4f14-8587-531c474c7b48" providerId="ADAL" clId="{6ECD27E6-B224-41CD-B4E0-E297462320DD}" dt="2023-11-24T08:40:56.959" v="41509"/>
          <ac:spMkLst>
            <pc:docMk/>
            <pc:sldMk cId="2752045962" sldId="2147473973"/>
            <ac:spMk id="275" creationId="{F2716EE1-08F2-DEA1-1CB1-AC279BB5AC7C}"/>
          </ac:spMkLst>
        </pc:spChg>
        <pc:spChg chg="add del mod">
          <ac:chgData name="Steiner Andreas 6206 ED" userId="e6377c33-a923-4f14-8587-531c474c7b48" providerId="ADAL" clId="{6ECD27E6-B224-41CD-B4E0-E297462320DD}" dt="2023-11-24T08:40:59.657" v="41664"/>
          <ac:spMkLst>
            <pc:docMk/>
            <pc:sldMk cId="2752045962" sldId="2147473973"/>
            <ac:spMk id="276" creationId="{4A6B62F1-6E29-723C-A6FB-0CF942BA9520}"/>
          </ac:spMkLst>
        </pc:spChg>
        <pc:spChg chg="add del mod">
          <ac:chgData name="Steiner Andreas 6206 ED" userId="e6377c33-a923-4f14-8587-531c474c7b48" providerId="ADAL" clId="{6ECD27E6-B224-41CD-B4E0-E297462320DD}" dt="2023-11-24T08:41:02.669" v="41819"/>
          <ac:spMkLst>
            <pc:docMk/>
            <pc:sldMk cId="2752045962" sldId="2147473973"/>
            <ac:spMk id="277" creationId="{9415473A-E00C-B36C-3B78-CB59BE9D1F01}"/>
          </ac:spMkLst>
        </pc:spChg>
        <pc:spChg chg="add del mod">
          <ac:chgData name="Steiner Andreas 6206 ED" userId="e6377c33-a923-4f14-8587-531c474c7b48" providerId="ADAL" clId="{6ECD27E6-B224-41CD-B4E0-E297462320DD}" dt="2023-11-24T08:41:05.385" v="41974"/>
          <ac:spMkLst>
            <pc:docMk/>
            <pc:sldMk cId="2752045962" sldId="2147473973"/>
            <ac:spMk id="278" creationId="{F9BA2655-9141-594B-EEB8-119C162195D4}"/>
          </ac:spMkLst>
        </pc:spChg>
        <pc:spChg chg="add del mod">
          <ac:chgData name="Steiner Andreas 6206 ED" userId="e6377c33-a923-4f14-8587-531c474c7b48" providerId="ADAL" clId="{6ECD27E6-B224-41CD-B4E0-E297462320DD}" dt="2023-11-24T08:41:08.844" v="42129"/>
          <ac:spMkLst>
            <pc:docMk/>
            <pc:sldMk cId="2752045962" sldId="2147473973"/>
            <ac:spMk id="279" creationId="{21268BC7-1180-385E-4F3F-339FCD16D51D}"/>
          </ac:spMkLst>
        </pc:spChg>
        <pc:spChg chg="add del mod">
          <ac:chgData name="Steiner Andreas 6206 ED" userId="e6377c33-a923-4f14-8587-531c474c7b48" providerId="ADAL" clId="{6ECD27E6-B224-41CD-B4E0-E297462320DD}" dt="2023-11-24T08:41:12.602" v="42284"/>
          <ac:spMkLst>
            <pc:docMk/>
            <pc:sldMk cId="2752045962" sldId="2147473973"/>
            <ac:spMk id="280" creationId="{F5E18CB1-9E17-244A-28AF-F884526779C1}"/>
          </ac:spMkLst>
        </pc:spChg>
        <pc:spChg chg="add del mod">
          <ac:chgData name="Steiner Andreas 6206 ED" userId="e6377c33-a923-4f14-8587-531c474c7b48" providerId="ADAL" clId="{6ECD27E6-B224-41CD-B4E0-E297462320DD}" dt="2023-11-24T08:41:15.354" v="42439"/>
          <ac:spMkLst>
            <pc:docMk/>
            <pc:sldMk cId="2752045962" sldId="2147473973"/>
            <ac:spMk id="281" creationId="{E765F23A-A5AC-679E-E86E-730C4C5DFEF4}"/>
          </ac:spMkLst>
        </pc:spChg>
        <pc:spChg chg="add del mod">
          <ac:chgData name="Steiner Andreas 6206 ED" userId="e6377c33-a923-4f14-8587-531c474c7b48" providerId="ADAL" clId="{6ECD27E6-B224-41CD-B4E0-E297462320DD}" dt="2023-11-24T08:41:17.523" v="42594"/>
          <ac:spMkLst>
            <pc:docMk/>
            <pc:sldMk cId="2752045962" sldId="2147473973"/>
            <ac:spMk id="282" creationId="{886D55B5-1F49-4D3B-9BE4-9928EE73E29E}"/>
          </ac:spMkLst>
        </pc:spChg>
        <pc:spChg chg="add del mod">
          <ac:chgData name="Steiner Andreas 6206 ED" userId="e6377c33-a923-4f14-8587-531c474c7b48" providerId="ADAL" clId="{6ECD27E6-B224-41CD-B4E0-E297462320DD}" dt="2023-11-24T08:41:19.898" v="42749"/>
          <ac:spMkLst>
            <pc:docMk/>
            <pc:sldMk cId="2752045962" sldId="2147473973"/>
            <ac:spMk id="283" creationId="{976374F4-93BE-30A2-8F4A-E39F523C9E29}"/>
          </ac:spMkLst>
        </pc:spChg>
        <pc:spChg chg="add del mod">
          <ac:chgData name="Steiner Andreas 6206 ED" userId="e6377c33-a923-4f14-8587-531c474c7b48" providerId="ADAL" clId="{6ECD27E6-B224-41CD-B4E0-E297462320DD}" dt="2023-11-24T08:41:22.231" v="42904"/>
          <ac:spMkLst>
            <pc:docMk/>
            <pc:sldMk cId="2752045962" sldId="2147473973"/>
            <ac:spMk id="284" creationId="{48119559-6266-6C88-2A91-DD88311DEB68}"/>
          </ac:spMkLst>
        </pc:spChg>
        <pc:spChg chg="add del mod">
          <ac:chgData name="Steiner Andreas 6206 ED" userId="e6377c33-a923-4f14-8587-531c474c7b48" providerId="ADAL" clId="{6ECD27E6-B224-41CD-B4E0-E297462320DD}" dt="2023-11-24T08:41:24.365" v="43059"/>
          <ac:spMkLst>
            <pc:docMk/>
            <pc:sldMk cId="2752045962" sldId="2147473973"/>
            <ac:spMk id="285" creationId="{EE0B003B-44EC-D0E6-289A-23A078297C24}"/>
          </ac:spMkLst>
        </pc:spChg>
        <pc:spChg chg="add del mod">
          <ac:chgData name="Steiner Andreas 6206 ED" userId="e6377c33-a923-4f14-8587-531c474c7b48" providerId="ADAL" clId="{6ECD27E6-B224-41CD-B4E0-E297462320DD}" dt="2023-11-24T08:41:26.907" v="43214"/>
          <ac:spMkLst>
            <pc:docMk/>
            <pc:sldMk cId="2752045962" sldId="2147473973"/>
            <ac:spMk id="286" creationId="{E4F4781A-5874-24ED-FF39-3EB7E164EF92}"/>
          </ac:spMkLst>
        </pc:spChg>
        <pc:spChg chg="add del mod">
          <ac:chgData name="Steiner Andreas 6206 ED" userId="e6377c33-a923-4f14-8587-531c474c7b48" providerId="ADAL" clId="{6ECD27E6-B224-41CD-B4E0-E297462320DD}" dt="2023-11-24T08:41:29.011" v="43369"/>
          <ac:spMkLst>
            <pc:docMk/>
            <pc:sldMk cId="2752045962" sldId="2147473973"/>
            <ac:spMk id="287" creationId="{1F3AAD79-0021-FB60-002A-72EB0B059E8D}"/>
          </ac:spMkLst>
        </pc:spChg>
        <pc:spChg chg="add del mod">
          <ac:chgData name="Steiner Andreas 6206 ED" userId="e6377c33-a923-4f14-8587-531c474c7b48" providerId="ADAL" clId="{6ECD27E6-B224-41CD-B4E0-E297462320DD}" dt="2023-11-24T08:41:31.279" v="43524"/>
          <ac:spMkLst>
            <pc:docMk/>
            <pc:sldMk cId="2752045962" sldId="2147473973"/>
            <ac:spMk id="288" creationId="{392BE09A-F551-E47D-8B35-1C4B3E53EB0B}"/>
          </ac:spMkLst>
        </pc:spChg>
        <pc:spChg chg="add del mod">
          <ac:chgData name="Steiner Andreas 6206 ED" userId="e6377c33-a923-4f14-8587-531c474c7b48" providerId="ADAL" clId="{6ECD27E6-B224-41CD-B4E0-E297462320DD}" dt="2023-11-24T08:41:35.671" v="43679"/>
          <ac:spMkLst>
            <pc:docMk/>
            <pc:sldMk cId="2752045962" sldId="2147473973"/>
            <ac:spMk id="289" creationId="{BC07DC91-DC74-4DBC-B3EB-8F210239894F}"/>
          </ac:spMkLst>
        </pc:spChg>
        <pc:spChg chg="add del mod">
          <ac:chgData name="Steiner Andreas 6206 ED" userId="e6377c33-a923-4f14-8587-531c474c7b48" providerId="ADAL" clId="{6ECD27E6-B224-41CD-B4E0-E297462320DD}" dt="2023-11-24T08:41:38.643" v="43834"/>
          <ac:spMkLst>
            <pc:docMk/>
            <pc:sldMk cId="2752045962" sldId="2147473973"/>
            <ac:spMk id="290" creationId="{9941B4BC-DE81-70CC-7953-AD61AB77EC51}"/>
          </ac:spMkLst>
        </pc:spChg>
        <pc:spChg chg="add del mod">
          <ac:chgData name="Steiner Andreas 6206 ED" userId="e6377c33-a923-4f14-8587-531c474c7b48" providerId="ADAL" clId="{6ECD27E6-B224-41CD-B4E0-E297462320DD}" dt="2023-11-24T08:41:40.867" v="43989"/>
          <ac:spMkLst>
            <pc:docMk/>
            <pc:sldMk cId="2752045962" sldId="2147473973"/>
            <ac:spMk id="291" creationId="{B9EAA0F9-D75B-32EE-24E9-72CFE2AD79A4}"/>
          </ac:spMkLst>
        </pc:spChg>
        <pc:spChg chg="add del mod">
          <ac:chgData name="Steiner Andreas 6206 ED" userId="e6377c33-a923-4f14-8587-531c474c7b48" providerId="ADAL" clId="{6ECD27E6-B224-41CD-B4E0-E297462320DD}" dt="2023-11-24T08:41:43.259" v="44144"/>
          <ac:spMkLst>
            <pc:docMk/>
            <pc:sldMk cId="2752045962" sldId="2147473973"/>
            <ac:spMk id="292" creationId="{60E12E23-911B-3F85-5288-A757C9D4E448}"/>
          </ac:spMkLst>
        </pc:spChg>
        <pc:spChg chg="add del mod">
          <ac:chgData name="Steiner Andreas 6206 ED" userId="e6377c33-a923-4f14-8587-531c474c7b48" providerId="ADAL" clId="{6ECD27E6-B224-41CD-B4E0-E297462320DD}" dt="2023-11-24T08:41:45.170" v="44299"/>
          <ac:spMkLst>
            <pc:docMk/>
            <pc:sldMk cId="2752045962" sldId="2147473973"/>
            <ac:spMk id="293" creationId="{2C73FE97-9589-0965-B86B-FAAB8BC3813E}"/>
          </ac:spMkLst>
        </pc:spChg>
        <pc:spChg chg="add del mod">
          <ac:chgData name="Steiner Andreas 6206 ED" userId="e6377c33-a923-4f14-8587-531c474c7b48" providerId="ADAL" clId="{6ECD27E6-B224-41CD-B4E0-E297462320DD}" dt="2023-11-24T08:41:47.093" v="44454"/>
          <ac:spMkLst>
            <pc:docMk/>
            <pc:sldMk cId="2752045962" sldId="2147473973"/>
            <ac:spMk id="294" creationId="{81B9436A-E212-FA4B-A42F-34D6864C88B3}"/>
          </ac:spMkLst>
        </pc:spChg>
        <pc:spChg chg="add del mod">
          <ac:chgData name="Steiner Andreas 6206 ED" userId="e6377c33-a923-4f14-8587-531c474c7b48" providerId="ADAL" clId="{6ECD27E6-B224-41CD-B4E0-E297462320DD}" dt="2023-11-24T08:41:49.121" v="44609"/>
          <ac:spMkLst>
            <pc:docMk/>
            <pc:sldMk cId="2752045962" sldId="2147473973"/>
            <ac:spMk id="295" creationId="{A88BC284-F8A2-C11F-75FE-C010E02262B6}"/>
          </ac:spMkLst>
        </pc:spChg>
        <pc:spChg chg="add del mod">
          <ac:chgData name="Steiner Andreas 6206 ED" userId="e6377c33-a923-4f14-8587-531c474c7b48" providerId="ADAL" clId="{6ECD27E6-B224-41CD-B4E0-E297462320DD}" dt="2023-11-24T08:41:50.981" v="44764"/>
          <ac:spMkLst>
            <pc:docMk/>
            <pc:sldMk cId="2752045962" sldId="2147473973"/>
            <ac:spMk id="296" creationId="{EDD3EACF-1D19-3638-16A0-B890DC17CBE3}"/>
          </ac:spMkLst>
        </pc:spChg>
        <pc:spChg chg="add del mod">
          <ac:chgData name="Steiner Andreas 6206 ED" userId="e6377c33-a923-4f14-8587-531c474c7b48" providerId="ADAL" clId="{6ECD27E6-B224-41CD-B4E0-E297462320DD}" dt="2023-11-24T08:41:53.324" v="44919"/>
          <ac:spMkLst>
            <pc:docMk/>
            <pc:sldMk cId="2752045962" sldId="2147473973"/>
            <ac:spMk id="297" creationId="{23365F9A-9C1A-5179-E0C4-A84F02F8FCE3}"/>
          </ac:spMkLst>
        </pc:spChg>
        <pc:spChg chg="add del mod">
          <ac:chgData name="Steiner Andreas 6206 ED" userId="e6377c33-a923-4f14-8587-531c474c7b48" providerId="ADAL" clId="{6ECD27E6-B224-41CD-B4E0-E297462320DD}" dt="2023-11-24T08:41:55.250" v="45074"/>
          <ac:spMkLst>
            <pc:docMk/>
            <pc:sldMk cId="2752045962" sldId="2147473973"/>
            <ac:spMk id="298" creationId="{3F086996-93EB-7F90-38B6-CC81572E25C3}"/>
          </ac:spMkLst>
        </pc:spChg>
        <pc:spChg chg="add del mod">
          <ac:chgData name="Steiner Andreas 6206 ED" userId="e6377c33-a923-4f14-8587-531c474c7b48" providerId="ADAL" clId="{6ECD27E6-B224-41CD-B4E0-E297462320DD}" dt="2023-11-24T08:41:57.520" v="45229"/>
          <ac:spMkLst>
            <pc:docMk/>
            <pc:sldMk cId="2752045962" sldId="2147473973"/>
            <ac:spMk id="299" creationId="{40711FAC-AB8D-BE29-059A-4C492A74D017}"/>
          </ac:spMkLst>
        </pc:spChg>
        <pc:spChg chg="add del mod">
          <ac:chgData name="Steiner Andreas 6206 ED" userId="e6377c33-a923-4f14-8587-531c474c7b48" providerId="ADAL" clId="{6ECD27E6-B224-41CD-B4E0-E297462320DD}" dt="2023-11-24T08:41:59.726" v="45384"/>
          <ac:spMkLst>
            <pc:docMk/>
            <pc:sldMk cId="2752045962" sldId="2147473973"/>
            <ac:spMk id="300" creationId="{36DAE6FE-7B0F-6615-F977-8816DD2FA989}"/>
          </ac:spMkLst>
        </pc:spChg>
        <pc:spChg chg="add del mod">
          <ac:chgData name="Steiner Andreas 6206 ED" userId="e6377c33-a923-4f14-8587-531c474c7b48" providerId="ADAL" clId="{6ECD27E6-B224-41CD-B4E0-E297462320DD}" dt="2023-11-24T08:42:01.907" v="45539"/>
          <ac:spMkLst>
            <pc:docMk/>
            <pc:sldMk cId="2752045962" sldId="2147473973"/>
            <ac:spMk id="301" creationId="{45048132-FA44-D023-CDDD-148EC9838276}"/>
          </ac:spMkLst>
        </pc:spChg>
        <pc:spChg chg="add del mod">
          <ac:chgData name="Steiner Andreas 6206 ED" userId="e6377c33-a923-4f14-8587-531c474c7b48" providerId="ADAL" clId="{6ECD27E6-B224-41CD-B4E0-E297462320DD}" dt="2023-11-24T08:42:03.922" v="45694"/>
          <ac:spMkLst>
            <pc:docMk/>
            <pc:sldMk cId="2752045962" sldId="2147473973"/>
            <ac:spMk id="302" creationId="{9DF886AF-7E77-1384-AF8D-EF1FD3C5221F}"/>
          </ac:spMkLst>
        </pc:spChg>
        <pc:spChg chg="add del mod">
          <ac:chgData name="Steiner Andreas 6206 ED" userId="e6377c33-a923-4f14-8587-531c474c7b48" providerId="ADAL" clId="{6ECD27E6-B224-41CD-B4E0-E297462320DD}" dt="2023-11-24T08:42:05.875" v="45849"/>
          <ac:spMkLst>
            <pc:docMk/>
            <pc:sldMk cId="2752045962" sldId="2147473973"/>
            <ac:spMk id="303" creationId="{47AD0D5A-000D-AFB4-EBD8-5F811071BCD0}"/>
          </ac:spMkLst>
        </pc:spChg>
        <pc:spChg chg="add del mod">
          <ac:chgData name="Steiner Andreas 6206 ED" userId="e6377c33-a923-4f14-8587-531c474c7b48" providerId="ADAL" clId="{6ECD27E6-B224-41CD-B4E0-E297462320DD}" dt="2023-11-24T08:42:07.770" v="46004"/>
          <ac:spMkLst>
            <pc:docMk/>
            <pc:sldMk cId="2752045962" sldId="2147473973"/>
            <ac:spMk id="304" creationId="{F36464BF-5C8F-F711-1BAC-1BC45EA9D1A6}"/>
          </ac:spMkLst>
        </pc:spChg>
        <pc:spChg chg="add del mod">
          <ac:chgData name="Steiner Andreas 6206 ED" userId="e6377c33-a923-4f14-8587-531c474c7b48" providerId="ADAL" clId="{6ECD27E6-B224-41CD-B4E0-E297462320DD}" dt="2023-11-24T08:42:09.660" v="46159"/>
          <ac:spMkLst>
            <pc:docMk/>
            <pc:sldMk cId="2752045962" sldId="2147473973"/>
            <ac:spMk id="305" creationId="{8497D14D-4BAF-DE68-EFC7-6580B0FEBE56}"/>
          </ac:spMkLst>
        </pc:spChg>
        <pc:spChg chg="add del mod">
          <ac:chgData name="Steiner Andreas 6206 ED" userId="e6377c33-a923-4f14-8587-531c474c7b48" providerId="ADAL" clId="{6ECD27E6-B224-41CD-B4E0-E297462320DD}" dt="2023-11-24T08:42:12.036" v="46314"/>
          <ac:spMkLst>
            <pc:docMk/>
            <pc:sldMk cId="2752045962" sldId="2147473973"/>
            <ac:spMk id="306" creationId="{DB921998-61E0-9566-99F4-74766CA66B0B}"/>
          </ac:spMkLst>
        </pc:spChg>
        <pc:spChg chg="add del mod">
          <ac:chgData name="Steiner Andreas 6206 ED" userId="e6377c33-a923-4f14-8587-531c474c7b48" providerId="ADAL" clId="{6ECD27E6-B224-41CD-B4E0-E297462320DD}" dt="2023-11-24T08:42:14.568" v="46469"/>
          <ac:spMkLst>
            <pc:docMk/>
            <pc:sldMk cId="2752045962" sldId="2147473973"/>
            <ac:spMk id="307" creationId="{DF47057B-6997-AC48-8489-A381C6B00087}"/>
          </ac:spMkLst>
        </pc:spChg>
        <pc:spChg chg="add del mod">
          <ac:chgData name="Steiner Andreas 6206 ED" userId="e6377c33-a923-4f14-8587-531c474c7b48" providerId="ADAL" clId="{6ECD27E6-B224-41CD-B4E0-E297462320DD}" dt="2023-11-24T08:42:16.939" v="46624"/>
          <ac:spMkLst>
            <pc:docMk/>
            <pc:sldMk cId="2752045962" sldId="2147473973"/>
            <ac:spMk id="308" creationId="{9485F66C-5F68-FADE-6798-73D3F5631BD0}"/>
          </ac:spMkLst>
        </pc:spChg>
        <pc:spChg chg="add del mod">
          <ac:chgData name="Steiner Andreas 6206 ED" userId="e6377c33-a923-4f14-8587-531c474c7b48" providerId="ADAL" clId="{6ECD27E6-B224-41CD-B4E0-E297462320DD}" dt="2023-11-24T08:42:19.074" v="46779"/>
          <ac:spMkLst>
            <pc:docMk/>
            <pc:sldMk cId="2752045962" sldId="2147473973"/>
            <ac:spMk id="309" creationId="{F2E872A8-2313-9664-BEA0-BBE8FE5178A1}"/>
          </ac:spMkLst>
        </pc:spChg>
        <pc:spChg chg="add del mod">
          <ac:chgData name="Steiner Andreas 6206 ED" userId="e6377c33-a923-4f14-8587-531c474c7b48" providerId="ADAL" clId="{6ECD27E6-B224-41CD-B4E0-E297462320DD}" dt="2023-11-24T08:42:21.406" v="46934"/>
          <ac:spMkLst>
            <pc:docMk/>
            <pc:sldMk cId="2752045962" sldId="2147473973"/>
            <ac:spMk id="310" creationId="{4038DD56-5C71-F6BD-5799-1E15121975DC}"/>
          </ac:spMkLst>
        </pc:spChg>
        <pc:spChg chg="add del mod">
          <ac:chgData name="Steiner Andreas 6206 ED" userId="e6377c33-a923-4f14-8587-531c474c7b48" providerId="ADAL" clId="{6ECD27E6-B224-41CD-B4E0-E297462320DD}" dt="2023-11-24T08:42:24.030" v="47089"/>
          <ac:spMkLst>
            <pc:docMk/>
            <pc:sldMk cId="2752045962" sldId="2147473973"/>
            <ac:spMk id="311" creationId="{68120869-9239-71F2-C817-FDF53BAE060A}"/>
          </ac:spMkLst>
        </pc:spChg>
        <pc:spChg chg="add del mod">
          <ac:chgData name="Steiner Andreas 6206 ED" userId="e6377c33-a923-4f14-8587-531c474c7b48" providerId="ADAL" clId="{6ECD27E6-B224-41CD-B4E0-E297462320DD}" dt="2023-11-24T08:42:26" v="47244"/>
          <ac:spMkLst>
            <pc:docMk/>
            <pc:sldMk cId="2752045962" sldId="2147473973"/>
            <ac:spMk id="312" creationId="{C28A0E1D-6027-61F8-A608-B27AB99D3BC9}"/>
          </ac:spMkLst>
        </pc:spChg>
        <pc:spChg chg="add del mod">
          <ac:chgData name="Steiner Andreas 6206 ED" userId="e6377c33-a923-4f14-8587-531c474c7b48" providerId="ADAL" clId="{6ECD27E6-B224-41CD-B4E0-E297462320DD}" dt="2023-11-24T08:42:27.901" v="47399"/>
          <ac:spMkLst>
            <pc:docMk/>
            <pc:sldMk cId="2752045962" sldId="2147473973"/>
            <ac:spMk id="313" creationId="{05591817-ED00-330E-E774-8F1B81FA4589}"/>
          </ac:spMkLst>
        </pc:spChg>
        <pc:spChg chg="add del mod">
          <ac:chgData name="Steiner Andreas 6206 ED" userId="e6377c33-a923-4f14-8587-531c474c7b48" providerId="ADAL" clId="{6ECD27E6-B224-41CD-B4E0-E297462320DD}" dt="2023-11-24T08:42:29.668" v="47554"/>
          <ac:spMkLst>
            <pc:docMk/>
            <pc:sldMk cId="2752045962" sldId="2147473973"/>
            <ac:spMk id="314" creationId="{57996EAC-8BC4-3428-EB32-340F8A798885}"/>
          </ac:spMkLst>
        </pc:spChg>
        <pc:spChg chg="add del mod">
          <ac:chgData name="Steiner Andreas 6206 ED" userId="e6377c33-a923-4f14-8587-531c474c7b48" providerId="ADAL" clId="{6ECD27E6-B224-41CD-B4E0-E297462320DD}" dt="2023-11-24T08:42:31.566" v="47709"/>
          <ac:spMkLst>
            <pc:docMk/>
            <pc:sldMk cId="2752045962" sldId="2147473973"/>
            <ac:spMk id="315" creationId="{752B697C-9B6A-172A-FC9C-0B042918B98C}"/>
          </ac:spMkLst>
        </pc:spChg>
        <pc:spChg chg="add del mod">
          <ac:chgData name="Steiner Andreas 6206 ED" userId="e6377c33-a923-4f14-8587-531c474c7b48" providerId="ADAL" clId="{6ECD27E6-B224-41CD-B4E0-E297462320DD}" dt="2023-11-24T08:42:33.550" v="47864"/>
          <ac:spMkLst>
            <pc:docMk/>
            <pc:sldMk cId="2752045962" sldId="2147473973"/>
            <ac:spMk id="316" creationId="{2A651EB5-E9BC-5749-1B89-25C932EF5E9A}"/>
          </ac:spMkLst>
        </pc:spChg>
        <pc:spChg chg="add del mod">
          <ac:chgData name="Steiner Andreas 6206 ED" userId="e6377c33-a923-4f14-8587-531c474c7b48" providerId="ADAL" clId="{6ECD27E6-B224-41CD-B4E0-E297462320DD}" dt="2023-11-24T08:42:35.614" v="48019"/>
          <ac:spMkLst>
            <pc:docMk/>
            <pc:sldMk cId="2752045962" sldId="2147473973"/>
            <ac:spMk id="317" creationId="{2C0FDD01-00CE-324C-6A85-231B57FDBC4F}"/>
          </ac:spMkLst>
        </pc:spChg>
        <pc:spChg chg="add del mod">
          <ac:chgData name="Steiner Andreas 6206 ED" userId="e6377c33-a923-4f14-8587-531c474c7b48" providerId="ADAL" clId="{6ECD27E6-B224-41CD-B4E0-E297462320DD}" dt="2023-11-24T08:42:37.492" v="48174"/>
          <ac:spMkLst>
            <pc:docMk/>
            <pc:sldMk cId="2752045962" sldId="2147473973"/>
            <ac:spMk id="318" creationId="{8A30436A-9E44-6E4F-838E-61816282105E}"/>
          </ac:spMkLst>
        </pc:spChg>
        <pc:spChg chg="add del mod">
          <ac:chgData name="Steiner Andreas 6206 ED" userId="e6377c33-a923-4f14-8587-531c474c7b48" providerId="ADAL" clId="{6ECD27E6-B224-41CD-B4E0-E297462320DD}" dt="2023-11-24T08:42:39.353" v="48329"/>
          <ac:spMkLst>
            <pc:docMk/>
            <pc:sldMk cId="2752045962" sldId="2147473973"/>
            <ac:spMk id="319" creationId="{8C9D385F-FCF1-9AA2-CD9E-DF55F3EC29BC}"/>
          </ac:spMkLst>
        </pc:spChg>
        <pc:spChg chg="add del mod">
          <ac:chgData name="Steiner Andreas 6206 ED" userId="e6377c33-a923-4f14-8587-531c474c7b48" providerId="ADAL" clId="{6ECD27E6-B224-41CD-B4E0-E297462320DD}" dt="2023-11-24T08:42:41.483" v="48484"/>
          <ac:spMkLst>
            <pc:docMk/>
            <pc:sldMk cId="2752045962" sldId="2147473973"/>
            <ac:spMk id="320" creationId="{EDB5817A-7FB7-19EC-7840-BAB57A6C1420}"/>
          </ac:spMkLst>
        </pc:spChg>
        <pc:spChg chg="add del mod">
          <ac:chgData name="Steiner Andreas 6206 ED" userId="e6377c33-a923-4f14-8587-531c474c7b48" providerId="ADAL" clId="{6ECD27E6-B224-41CD-B4E0-E297462320DD}" dt="2023-11-24T08:42:43.590" v="48639"/>
          <ac:spMkLst>
            <pc:docMk/>
            <pc:sldMk cId="2752045962" sldId="2147473973"/>
            <ac:spMk id="321" creationId="{7F14B7B2-5AB5-E058-DDD9-E24B1AA09350}"/>
          </ac:spMkLst>
        </pc:spChg>
        <pc:spChg chg="add del mod">
          <ac:chgData name="Steiner Andreas 6206 ED" userId="e6377c33-a923-4f14-8587-531c474c7b48" providerId="ADAL" clId="{6ECD27E6-B224-41CD-B4E0-E297462320DD}" dt="2023-11-24T08:42:45.629" v="48794"/>
          <ac:spMkLst>
            <pc:docMk/>
            <pc:sldMk cId="2752045962" sldId="2147473973"/>
            <ac:spMk id="322" creationId="{F32CB378-782A-88D3-E028-E5E0392B491F}"/>
          </ac:spMkLst>
        </pc:spChg>
        <pc:spChg chg="add del mod">
          <ac:chgData name="Steiner Andreas 6206 ED" userId="e6377c33-a923-4f14-8587-531c474c7b48" providerId="ADAL" clId="{6ECD27E6-B224-41CD-B4E0-E297462320DD}" dt="2023-11-24T08:42:47.506" v="48949"/>
          <ac:spMkLst>
            <pc:docMk/>
            <pc:sldMk cId="2752045962" sldId="2147473973"/>
            <ac:spMk id="323" creationId="{99FF222A-ECE3-91A3-E42F-2BD9DEAD3257}"/>
          </ac:spMkLst>
        </pc:spChg>
        <pc:spChg chg="add del mod">
          <ac:chgData name="Steiner Andreas 6206 ED" userId="e6377c33-a923-4f14-8587-531c474c7b48" providerId="ADAL" clId="{6ECD27E6-B224-41CD-B4E0-E297462320DD}" dt="2023-11-24T08:42:49.299" v="49104"/>
          <ac:spMkLst>
            <pc:docMk/>
            <pc:sldMk cId="2752045962" sldId="2147473973"/>
            <ac:spMk id="324" creationId="{E3B21FEE-1FA4-2C44-6CB6-2FF3270D9BEA}"/>
          </ac:spMkLst>
        </pc:spChg>
        <pc:spChg chg="add del mod">
          <ac:chgData name="Steiner Andreas 6206 ED" userId="e6377c33-a923-4f14-8587-531c474c7b48" providerId="ADAL" clId="{6ECD27E6-B224-41CD-B4E0-E297462320DD}" dt="2023-11-24T08:42:51.176" v="49259"/>
          <ac:spMkLst>
            <pc:docMk/>
            <pc:sldMk cId="2752045962" sldId="2147473973"/>
            <ac:spMk id="325" creationId="{6D57D542-8BAC-5FF4-7144-B895E873D7CF}"/>
          </ac:spMkLst>
        </pc:spChg>
        <pc:spChg chg="add del mod">
          <ac:chgData name="Steiner Andreas 6206 ED" userId="e6377c33-a923-4f14-8587-531c474c7b48" providerId="ADAL" clId="{6ECD27E6-B224-41CD-B4E0-E297462320DD}" dt="2023-11-24T08:42:53.292" v="49414"/>
          <ac:spMkLst>
            <pc:docMk/>
            <pc:sldMk cId="2752045962" sldId="2147473973"/>
            <ac:spMk id="326" creationId="{8930B632-DC7D-8BC5-7CE8-5DA0C587B7BF}"/>
          </ac:spMkLst>
        </pc:spChg>
        <pc:spChg chg="add del mod">
          <ac:chgData name="Steiner Andreas 6206 ED" userId="e6377c33-a923-4f14-8587-531c474c7b48" providerId="ADAL" clId="{6ECD27E6-B224-41CD-B4E0-E297462320DD}" dt="2023-11-24T08:42:55.892" v="49569"/>
          <ac:spMkLst>
            <pc:docMk/>
            <pc:sldMk cId="2752045962" sldId="2147473973"/>
            <ac:spMk id="327" creationId="{CF5FA5AC-1D29-29D5-C5D8-5F7F710D3270}"/>
          </ac:spMkLst>
        </pc:spChg>
        <pc:spChg chg="add del mod">
          <ac:chgData name="Steiner Andreas 6206 ED" userId="e6377c33-a923-4f14-8587-531c474c7b48" providerId="ADAL" clId="{6ECD27E6-B224-41CD-B4E0-E297462320DD}" dt="2023-11-24T08:42:57.983" v="49724"/>
          <ac:spMkLst>
            <pc:docMk/>
            <pc:sldMk cId="2752045962" sldId="2147473973"/>
            <ac:spMk id="328" creationId="{6482F123-3C3B-CF9F-EDD4-44E6CEF4CAC5}"/>
          </ac:spMkLst>
        </pc:spChg>
        <pc:spChg chg="add del mod">
          <ac:chgData name="Steiner Andreas 6206 ED" userId="e6377c33-a923-4f14-8587-531c474c7b48" providerId="ADAL" clId="{6ECD27E6-B224-41CD-B4E0-E297462320DD}" dt="2023-11-24T08:42:59.902" v="49879"/>
          <ac:spMkLst>
            <pc:docMk/>
            <pc:sldMk cId="2752045962" sldId="2147473973"/>
            <ac:spMk id="329" creationId="{9B10217A-970A-611B-A9FE-6DBD5DB03594}"/>
          </ac:spMkLst>
        </pc:spChg>
        <pc:spChg chg="add del mod">
          <ac:chgData name="Steiner Andreas 6206 ED" userId="e6377c33-a923-4f14-8587-531c474c7b48" providerId="ADAL" clId="{6ECD27E6-B224-41CD-B4E0-E297462320DD}" dt="2023-11-24T08:43:01.901" v="50034"/>
          <ac:spMkLst>
            <pc:docMk/>
            <pc:sldMk cId="2752045962" sldId="2147473973"/>
            <ac:spMk id="330" creationId="{C2A6A552-E4CA-A602-D6F5-D24E53BABAEB}"/>
          </ac:spMkLst>
        </pc:spChg>
        <pc:spChg chg="add del mod">
          <ac:chgData name="Steiner Andreas 6206 ED" userId="e6377c33-a923-4f14-8587-531c474c7b48" providerId="ADAL" clId="{6ECD27E6-B224-41CD-B4E0-E297462320DD}" dt="2023-11-24T08:43:03.887" v="50189"/>
          <ac:spMkLst>
            <pc:docMk/>
            <pc:sldMk cId="2752045962" sldId="2147473973"/>
            <ac:spMk id="331" creationId="{5A58732F-4AB4-E85D-C88E-28597F7598D7}"/>
          </ac:spMkLst>
        </pc:spChg>
        <pc:spChg chg="add del mod">
          <ac:chgData name="Steiner Andreas 6206 ED" userId="e6377c33-a923-4f14-8587-531c474c7b48" providerId="ADAL" clId="{6ECD27E6-B224-41CD-B4E0-E297462320DD}" dt="2023-11-24T08:43:05.774" v="50344"/>
          <ac:spMkLst>
            <pc:docMk/>
            <pc:sldMk cId="2752045962" sldId="2147473973"/>
            <ac:spMk id="332" creationId="{9C3E30BA-3EAC-C2FE-F422-4211DD771DB0}"/>
          </ac:spMkLst>
        </pc:spChg>
        <pc:spChg chg="add del mod">
          <ac:chgData name="Steiner Andreas 6206 ED" userId="e6377c33-a923-4f14-8587-531c474c7b48" providerId="ADAL" clId="{6ECD27E6-B224-41CD-B4E0-E297462320DD}" dt="2023-11-24T08:43:07.995" v="50499"/>
          <ac:spMkLst>
            <pc:docMk/>
            <pc:sldMk cId="2752045962" sldId="2147473973"/>
            <ac:spMk id="333" creationId="{5A4C29D0-E0DA-D39C-51F0-2B4797BC7418}"/>
          </ac:spMkLst>
        </pc:spChg>
        <pc:spChg chg="add del mod">
          <ac:chgData name="Steiner Andreas 6206 ED" userId="e6377c33-a923-4f14-8587-531c474c7b48" providerId="ADAL" clId="{6ECD27E6-B224-41CD-B4E0-E297462320DD}" dt="2023-11-24T08:43:10.034" v="50654"/>
          <ac:spMkLst>
            <pc:docMk/>
            <pc:sldMk cId="2752045962" sldId="2147473973"/>
            <ac:spMk id="334" creationId="{FDDE751F-C6EE-4212-3527-C07415C728D8}"/>
          </ac:spMkLst>
        </pc:spChg>
        <pc:spChg chg="add del mod">
          <ac:chgData name="Steiner Andreas 6206 ED" userId="e6377c33-a923-4f14-8587-531c474c7b48" providerId="ADAL" clId="{6ECD27E6-B224-41CD-B4E0-E297462320DD}" dt="2023-11-24T08:43:11.874" v="50809"/>
          <ac:spMkLst>
            <pc:docMk/>
            <pc:sldMk cId="2752045962" sldId="2147473973"/>
            <ac:spMk id="335" creationId="{2366F8F0-10E1-E97D-E7D7-38B3F82C70F1}"/>
          </ac:spMkLst>
        </pc:spChg>
        <pc:spChg chg="add del mod">
          <ac:chgData name="Steiner Andreas 6206 ED" userId="e6377c33-a923-4f14-8587-531c474c7b48" providerId="ADAL" clId="{6ECD27E6-B224-41CD-B4E0-E297462320DD}" dt="2023-11-24T08:43:13.937" v="50964"/>
          <ac:spMkLst>
            <pc:docMk/>
            <pc:sldMk cId="2752045962" sldId="2147473973"/>
            <ac:spMk id="336" creationId="{33A53336-5BA6-8536-CDF8-7A266CE485D6}"/>
          </ac:spMkLst>
        </pc:spChg>
        <pc:spChg chg="add del mod">
          <ac:chgData name="Steiner Andreas 6206 ED" userId="e6377c33-a923-4f14-8587-531c474c7b48" providerId="ADAL" clId="{6ECD27E6-B224-41CD-B4E0-E297462320DD}" dt="2023-11-24T08:43:15.915" v="51119"/>
          <ac:spMkLst>
            <pc:docMk/>
            <pc:sldMk cId="2752045962" sldId="2147473973"/>
            <ac:spMk id="337" creationId="{79A3C938-AEC7-28D3-C3FF-315AAADF8AB7}"/>
          </ac:spMkLst>
        </pc:spChg>
        <pc:spChg chg="add del mod">
          <ac:chgData name="Steiner Andreas 6206 ED" userId="e6377c33-a923-4f14-8587-531c474c7b48" providerId="ADAL" clId="{6ECD27E6-B224-41CD-B4E0-E297462320DD}" dt="2023-11-24T08:43:17.987" v="51274"/>
          <ac:spMkLst>
            <pc:docMk/>
            <pc:sldMk cId="2752045962" sldId="2147473973"/>
            <ac:spMk id="338" creationId="{D2FD45C1-B56C-D46A-99BC-273505391A6A}"/>
          </ac:spMkLst>
        </pc:spChg>
        <pc:spChg chg="add del mod">
          <ac:chgData name="Steiner Andreas 6206 ED" userId="e6377c33-a923-4f14-8587-531c474c7b48" providerId="ADAL" clId="{6ECD27E6-B224-41CD-B4E0-E297462320DD}" dt="2023-11-24T08:43:19.973" v="51429"/>
          <ac:spMkLst>
            <pc:docMk/>
            <pc:sldMk cId="2752045962" sldId="2147473973"/>
            <ac:spMk id="339" creationId="{727F6560-CA9C-C5CD-9942-396343B501AE}"/>
          </ac:spMkLst>
        </pc:spChg>
        <pc:spChg chg="add del mod">
          <ac:chgData name="Steiner Andreas 6206 ED" userId="e6377c33-a923-4f14-8587-531c474c7b48" providerId="ADAL" clId="{6ECD27E6-B224-41CD-B4E0-E297462320DD}" dt="2023-11-24T08:43:21.877" v="51584"/>
          <ac:spMkLst>
            <pc:docMk/>
            <pc:sldMk cId="2752045962" sldId="2147473973"/>
            <ac:spMk id="340" creationId="{B137D378-C21F-ED0F-D83E-0F8877529CFA}"/>
          </ac:spMkLst>
        </pc:spChg>
        <pc:spChg chg="add del mod">
          <ac:chgData name="Steiner Andreas 6206 ED" userId="e6377c33-a923-4f14-8587-531c474c7b48" providerId="ADAL" clId="{6ECD27E6-B224-41CD-B4E0-E297462320DD}" dt="2023-11-24T08:43:23.820" v="51739"/>
          <ac:spMkLst>
            <pc:docMk/>
            <pc:sldMk cId="2752045962" sldId="2147473973"/>
            <ac:spMk id="341" creationId="{8CEAB17B-D250-41E6-773F-1B6AE2C65EC9}"/>
          </ac:spMkLst>
        </pc:spChg>
        <pc:spChg chg="add del mod">
          <ac:chgData name="Steiner Andreas 6206 ED" userId="e6377c33-a923-4f14-8587-531c474c7b48" providerId="ADAL" clId="{6ECD27E6-B224-41CD-B4E0-E297462320DD}" dt="2023-11-24T08:43:25.706" v="51894"/>
          <ac:spMkLst>
            <pc:docMk/>
            <pc:sldMk cId="2752045962" sldId="2147473973"/>
            <ac:spMk id="342" creationId="{108EF765-4AA8-E315-3706-F3466B641F2B}"/>
          </ac:spMkLst>
        </pc:spChg>
        <pc:spChg chg="add del mod">
          <ac:chgData name="Steiner Andreas 6206 ED" userId="e6377c33-a923-4f14-8587-531c474c7b48" providerId="ADAL" clId="{6ECD27E6-B224-41CD-B4E0-E297462320DD}" dt="2023-11-24T08:43:27.539" v="52049"/>
          <ac:spMkLst>
            <pc:docMk/>
            <pc:sldMk cId="2752045962" sldId="2147473973"/>
            <ac:spMk id="343" creationId="{281E839A-B64A-87F7-D567-6681EEA917BD}"/>
          </ac:spMkLst>
        </pc:spChg>
        <pc:spChg chg="add del mod">
          <ac:chgData name="Steiner Andreas 6206 ED" userId="e6377c33-a923-4f14-8587-531c474c7b48" providerId="ADAL" clId="{6ECD27E6-B224-41CD-B4E0-E297462320DD}" dt="2023-11-24T08:43:29.333" v="52204"/>
          <ac:spMkLst>
            <pc:docMk/>
            <pc:sldMk cId="2752045962" sldId="2147473973"/>
            <ac:spMk id="344" creationId="{EACDF05F-1BE9-BD9B-1791-636C5DAFC292}"/>
          </ac:spMkLst>
        </pc:spChg>
        <pc:spChg chg="add del mod">
          <ac:chgData name="Steiner Andreas 6206 ED" userId="e6377c33-a923-4f14-8587-531c474c7b48" providerId="ADAL" clId="{6ECD27E6-B224-41CD-B4E0-E297462320DD}" dt="2023-11-24T08:43:32.044" v="52359"/>
          <ac:spMkLst>
            <pc:docMk/>
            <pc:sldMk cId="2752045962" sldId="2147473973"/>
            <ac:spMk id="345" creationId="{17C090B5-D3B1-D76E-08CB-8ADC855276C0}"/>
          </ac:spMkLst>
        </pc:spChg>
        <pc:spChg chg="add del mod">
          <ac:chgData name="Steiner Andreas 6206 ED" userId="e6377c33-a923-4f14-8587-531c474c7b48" providerId="ADAL" clId="{6ECD27E6-B224-41CD-B4E0-E297462320DD}" dt="2023-11-24T08:43:34.556" v="52514"/>
          <ac:spMkLst>
            <pc:docMk/>
            <pc:sldMk cId="2752045962" sldId="2147473973"/>
            <ac:spMk id="346" creationId="{555400E1-53B0-DB09-0AB9-6BD7B08165BB}"/>
          </ac:spMkLst>
        </pc:spChg>
        <pc:spChg chg="add del mod">
          <ac:chgData name="Steiner Andreas 6206 ED" userId="e6377c33-a923-4f14-8587-531c474c7b48" providerId="ADAL" clId="{6ECD27E6-B224-41CD-B4E0-E297462320DD}" dt="2023-11-24T08:43:36.640" v="52669"/>
          <ac:spMkLst>
            <pc:docMk/>
            <pc:sldMk cId="2752045962" sldId="2147473973"/>
            <ac:spMk id="347" creationId="{6DC08127-53AD-BDDC-738C-0BEE73A814BC}"/>
          </ac:spMkLst>
        </pc:spChg>
        <pc:spChg chg="add del mod">
          <ac:chgData name="Steiner Andreas 6206 ED" userId="e6377c33-a923-4f14-8587-531c474c7b48" providerId="ADAL" clId="{6ECD27E6-B224-41CD-B4E0-E297462320DD}" dt="2023-11-24T08:43:38.759" v="52824"/>
          <ac:spMkLst>
            <pc:docMk/>
            <pc:sldMk cId="2752045962" sldId="2147473973"/>
            <ac:spMk id="348" creationId="{A6BDC34C-D653-3A26-FE55-BF93C00AFE8C}"/>
          </ac:spMkLst>
        </pc:spChg>
        <pc:spChg chg="add del mod">
          <ac:chgData name="Steiner Andreas 6206 ED" userId="e6377c33-a923-4f14-8587-531c474c7b48" providerId="ADAL" clId="{6ECD27E6-B224-41CD-B4E0-E297462320DD}" dt="2023-11-24T08:43:40.857" v="52979"/>
          <ac:spMkLst>
            <pc:docMk/>
            <pc:sldMk cId="2752045962" sldId="2147473973"/>
            <ac:spMk id="349" creationId="{048D0636-7A4A-8CA6-BFC0-8D6DE5F77C73}"/>
          </ac:spMkLst>
        </pc:spChg>
        <pc:spChg chg="add del mod">
          <ac:chgData name="Steiner Andreas 6206 ED" userId="e6377c33-a923-4f14-8587-531c474c7b48" providerId="ADAL" clId="{6ECD27E6-B224-41CD-B4E0-E297462320DD}" dt="2023-11-24T08:43:42.826" v="53134"/>
          <ac:spMkLst>
            <pc:docMk/>
            <pc:sldMk cId="2752045962" sldId="2147473973"/>
            <ac:spMk id="350" creationId="{471EC9DB-1687-5AE4-200A-F1F682B5EE3E}"/>
          </ac:spMkLst>
        </pc:spChg>
        <pc:spChg chg="add del mod">
          <ac:chgData name="Steiner Andreas 6206 ED" userId="e6377c33-a923-4f14-8587-531c474c7b48" providerId="ADAL" clId="{6ECD27E6-B224-41CD-B4E0-E297462320DD}" dt="2023-11-24T08:43:44.642" v="53289"/>
          <ac:spMkLst>
            <pc:docMk/>
            <pc:sldMk cId="2752045962" sldId="2147473973"/>
            <ac:spMk id="351" creationId="{4581D2A1-AC84-A740-AA16-4ADE074F024C}"/>
          </ac:spMkLst>
        </pc:spChg>
        <pc:spChg chg="add del mod">
          <ac:chgData name="Steiner Andreas 6206 ED" userId="e6377c33-a923-4f14-8587-531c474c7b48" providerId="ADAL" clId="{6ECD27E6-B224-41CD-B4E0-E297462320DD}" dt="2023-11-24T08:43:46.430" v="53444"/>
          <ac:spMkLst>
            <pc:docMk/>
            <pc:sldMk cId="2752045962" sldId="2147473973"/>
            <ac:spMk id="352" creationId="{FDB2DBA9-CF97-D884-281F-54186C893D2B}"/>
          </ac:spMkLst>
        </pc:spChg>
        <pc:spChg chg="add del mod">
          <ac:chgData name="Steiner Andreas 6206 ED" userId="e6377c33-a923-4f14-8587-531c474c7b48" providerId="ADAL" clId="{6ECD27E6-B224-41CD-B4E0-E297462320DD}" dt="2023-11-24T08:43:48.381" v="53599"/>
          <ac:spMkLst>
            <pc:docMk/>
            <pc:sldMk cId="2752045962" sldId="2147473973"/>
            <ac:spMk id="353" creationId="{C2425AD6-8490-913F-3410-0DD8C60C9778}"/>
          </ac:spMkLst>
        </pc:spChg>
        <pc:spChg chg="add del mod">
          <ac:chgData name="Steiner Andreas 6206 ED" userId="e6377c33-a923-4f14-8587-531c474c7b48" providerId="ADAL" clId="{6ECD27E6-B224-41CD-B4E0-E297462320DD}" dt="2023-11-24T08:43:50.341" v="53754"/>
          <ac:spMkLst>
            <pc:docMk/>
            <pc:sldMk cId="2752045962" sldId="2147473973"/>
            <ac:spMk id="354" creationId="{5ED1FDE2-EEB9-71B4-8B9B-74AD2017126E}"/>
          </ac:spMkLst>
        </pc:spChg>
        <pc:spChg chg="add del mod">
          <ac:chgData name="Steiner Andreas 6206 ED" userId="e6377c33-a923-4f14-8587-531c474c7b48" providerId="ADAL" clId="{6ECD27E6-B224-41CD-B4E0-E297462320DD}" dt="2023-11-24T08:43:52.530" v="53909"/>
          <ac:spMkLst>
            <pc:docMk/>
            <pc:sldMk cId="2752045962" sldId="2147473973"/>
            <ac:spMk id="355" creationId="{187D9E32-5B13-02A6-FBA3-EF0451AF061D}"/>
          </ac:spMkLst>
        </pc:spChg>
        <pc:spChg chg="add del mod">
          <ac:chgData name="Steiner Andreas 6206 ED" userId="e6377c33-a923-4f14-8587-531c474c7b48" providerId="ADAL" clId="{6ECD27E6-B224-41CD-B4E0-E297462320DD}" dt="2023-11-24T08:43:55.164" v="54064"/>
          <ac:spMkLst>
            <pc:docMk/>
            <pc:sldMk cId="2752045962" sldId="2147473973"/>
            <ac:spMk id="356" creationId="{F70F1068-5BA1-B9F1-E0EB-39F5743DC986}"/>
          </ac:spMkLst>
        </pc:spChg>
        <pc:spChg chg="add del mod">
          <ac:chgData name="Steiner Andreas 6206 ED" userId="e6377c33-a923-4f14-8587-531c474c7b48" providerId="ADAL" clId="{6ECD27E6-B224-41CD-B4E0-E297462320DD}" dt="2023-11-24T08:43:57.207" v="54219"/>
          <ac:spMkLst>
            <pc:docMk/>
            <pc:sldMk cId="2752045962" sldId="2147473973"/>
            <ac:spMk id="357" creationId="{ECEF7110-D27A-737B-55B2-11FDD2801A18}"/>
          </ac:spMkLst>
        </pc:spChg>
        <pc:spChg chg="add del mod">
          <ac:chgData name="Steiner Andreas 6206 ED" userId="e6377c33-a923-4f14-8587-531c474c7b48" providerId="ADAL" clId="{6ECD27E6-B224-41CD-B4E0-E297462320DD}" dt="2023-11-24T08:43:59.391" v="54374"/>
          <ac:spMkLst>
            <pc:docMk/>
            <pc:sldMk cId="2752045962" sldId="2147473973"/>
            <ac:spMk id="358" creationId="{3E9AC393-33FA-2F90-5585-5964F3ED8C69}"/>
          </ac:spMkLst>
        </pc:spChg>
        <pc:spChg chg="add del mod">
          <ac:chgData name="Steiner Andreas 6206 ED" userId="e6377c33-a923-4f14-8587-531c474c7b48" providerId="ADAL" clId="{6ECD27E6-B224-41CD-B4E0-E297462320DD}" dt="2023-11-24T08:44:01.651" v="54529"/>
          <ac:spMkLst>
            <pc:docMk/>
            <pc:sldMk cId="2752045962" sldId="2147473973"/>
            <ac:spMk id="359" creationId="{5959EBD9-0653-4EDB-B922-80B22FE10CD9}"/>
          </ac:spMkLst>
        </pc:spChg>
        <pc:spChg chg="add del mod">
          <ac:chgData name="Steiner Andreas 6206 ED" userId="e6377c33-a923-4f14-8587-531c474c7b48" providerId="ADAL" clId="{6ECD27E6-B224-41CD-B4E0-E297462320DD}" dt="2023-11-24T08:44:03.816" v="54684"/>
          <ac:spMkLst>
            <pc:docMk/>
            <pc:sldMk cId="2752045962" sldId="2147473973"/>
            <ac:spMk id="360" creationId="{4E5FB94C-F986-7398-B71A-C32535D15660}"/>
          </ac:spMkLst>
        </pc:spChg>
        <pc:spChg chg="add del mod">
          <ac:chgData name="Steiner Andreas 6206 ED" userId="e6377c33-a923-4f14-8587-531c474c7b48" providerId="ADAL" clId="{6ECD27E6-B224-41CD-B4E0-E297462320DD}" dt="2023-11-24T08:44:05.890" v="54839"/>
          <ac:spMkLst>
            <pc:docMk/>
            <pc:sldMk cId="2752045962" sldId="2147473973"/>
            <ac:spMk id="361" creationId="{9E61F45D-626A-996C-7FE8-6CFDFBA62D13}"/>
          </ac:spMkLst>
        </pc:spChg>
        <pc:spChg chg="add del mod">
          <ac:chgData name="Steiner Andreas 6206 ED" userId="e6377c33-a923-4f14-8587-531c474c7b48" providerId="ADAL" clId="{6ECD27E6-B224-41CD-B4E0-E297462320DD}" dt="2023-11-24T08:44:07.866" v="54994"/>
          <ac:spMkLst>
            <pc:docMk/>
            <pc:sldMk cId="2752045962" sldId="2147473973"/>
            <ac:spMk id="362" creationId="{19CE91F6-F95D-E8D7-0BCD-62078B64AB06}"/>
          </ac:spMkLst>
        </pc:spChg>
        <pc:spChg chg="add del mod">
          <ac:chgData name="Steiner Andreas 6206 ED" userId="e6377c33-a923-4f14-8587-531c474c7b48" providerId="ADAL" clId="{6ECD27E6-B224-41CD-B4E0-E297462320DD}" dt="2023-11-24T08:44:09.847" v="55149"/>
          <ac:spMkLst>
            <pc:docMk/>
            <pc:sldMk cId="2752045962" sldId="2147473973"/>
            <ac:spMk id="363" creationId="{4777D310-EC48-35B0-F1D1-97D4B069B706}"/>
          </ac:spMkLst>
        </pc:spChg>
        <pc:spChg chg="add del mod">
          <ac:chgData name="Steiner Andreas 6206 ED" userId="e6377c33-a923-4f14-8587-531c474c7b48" providerId="ADAL" clId="{6ECD27E6-B224-41CD-B4E0-E297462320DD}" dt="2023-11-24T08:44:11.851" v="55304"/>
          <ac:spMkLst>
            <pc:docMk/>
            <pc:sldMk cId="2752045962" sldId="2147473973"/>
            <ac:spMk id="364" creationId="{9CA7B1EB-AE82-13A7-FE2C-241BC6FE298D}"/>
          </ac:spMkLst>
        </pc:spChg>
        <pc:spChg chg="add del mod">
          <ac:chgData name="Steiner Andreas 6206 ED" userId="e6377c33-a923-4f14-8587-531c474c7b48" providerId="ADAL" clId="{6ECD27E6-B224-41CD-B4E0-E297462320DD}" dt="2023-11-24T08:44:13.997" v="55459"/>
          <ac:spMkLst>
            <pc:docMk/>
            <pc:sldMk cId="2752045962" sldId="2147473973"/>
            <ac:spMk id="365" creationId="{1EA9890B-6F1A-4314-F321-E9576348714A}"/>
          </ac:spMkLst>
        </pc:spChg>
        <pc:spChg chg="add del mod">
          <ac:chgData name="Steiner Andreas 6206 ED" userId="e6377c33-a923-4f14-8587-531c474c7b48" providerId="ADAL" clId="{6ECD27E6-B224-41CD-B4E0-E297462320DD}" dt="2023-11-24T08:44:16.090" v="55614"/>
          <ac:spMkLst>
            <pc:docMk/>
            <pc:sldMk cId="2752045962" sldId="2147473973"/>
            <ac:spMk id="366" creationId="{48F4D25E-21C0-9206-0332-9179395BAF80}"/>
          </ac:spMkLst>
        </pc:spChg>
        <pc:spChg chg="add del mod">
          <ac:chgData name="Steiner Andreas 6206 ED" userId="e6377c33-a923-4f14-8587-531c474c7b48" providerId="ADAL" clId="{6ECD27E6-B224-41CD-B4E0-E297462320DD}" dt="2023-11-24T08:44:18.553" v="55769"/>
          <ac:spMkLst>
            <pc:docMk/>
            <pc:sldMk cId="2752045962" sldId="2147473973"/>
            <ac:spMk id="367" creationId="{AC4E8FD3-C86F-0F60-FCB9-DEF8E8FA1C4E}"/>
          </ac:spMkLst>
        </pc:spChg>
        <pc:spChg chg="add del mod">
          <ac:chgData name="Steiner Andreas 6206 ED" userId="e6377c33-a923-4f14-8587-531c474c7b48" providerId="ADAL" clId="{6ECD27E6-B224-41CD-B4E0-E297462320DD}" dt="2023-11-24T08:44:21.408" v="55924"/>
          <ac:spMkLst>
            <pc:docMk/>
            <pc:sldMk cId="2752045962" sldId="2147473973"/>
            <ac:spMk id="368" creationId="{7FE65952-04D1-E395-CCE2-102B3D60D524}"/>
          </ac:spMkLst>
        </pc:spChg>
        <pc:spChg chg="add del mod">
          <ac:chgData name="Steiner Andreas 6206 ED" userId="e6377c33-a923-4f14-8587-531c474c7b48" providerId="ADAL" clId="{6ECD27E6-B224-41CD-B4E0-E297462320DD}" dt="2023-11-24T08:44:23.802" v="56079"/>
          <ac:spMkLst>
            <pc:docMk/>
            <pc:sldMk cId="2752045962" sldId="2147473973"/>
            <ac:spMk id="369" creationId="{94E168EB-DEAD-1144-CA46-3874EF475A38}"/>
          </ac:spMkLst>
        </pc:spChg>
        <pc:spChg chg="add del mod">
          <ac:chgData name="Steiner Andreas 6206 ED" userId="e6377c33-a923-4f14-8587-531c474c7b48" providerId="ADAL" clId="{6ECD27E6-B224-41CD-B4E0-E297462320DD}" dt="2023-11-24T08:44:25.736" v="56234"/>
          <ac:spMkLst>
            <pc:docMk/>
            <pc:sldMk cId="2752045962" sldId="2147473973"/>
            <ac:spMk id="370" creationId="{B36FAACA-F57B-A2AC-FAB7-C76E224ECEF3}"/>
          </ac:spMkLst>
        </pc:spChg>
        <pc:spChg chg="add del mod">
          <ac:chgData name="Steiner Andreas 6206 ED" userId="e6377c33-a923-4f14-8587-531c474c7b48" providerId="ADAL" clId="{6ECD27E6-B224-41CD-B4E0-E297462320DD}" dt="2023-11-24T08:44:27.907" v="56389"/>
          <ac:spMkLst>
            <pc:docMk/>
            <pc:sldMk cId="2752045962" sldId="2147473973"/>
            <ac:spMk id="371" creationId="{D2583619-D5F0-4021-7000-A25F1A4D2708}"/>
          </ac:spMkLst>
        </pc:spChg>
        <pc:spChg chg="add del mod">
          <ac:chgData name="Steiner Andreas 6206 ED" userId="e6377c33-a923-4f14-8587-531c474c7b48" providerId="ADAL" clId="{6ECD27E6-B224-41CD-B4E0-E297462320DD}" dt="2023-11-24T08:44:29.938" v="56544"/>
          <ac:spMkLst>
            <pc:docMk/>
            <pc:sldMk cId="2752045962" sldId="2147473973"/>
            <ac:spMk id="372" creationId="{ACED6B77-0FE2-27B0-873D-A57681ABCA39}"/>
          </ac:spMkLst>
        </pc:spChg>
        <pc:spChg chg="add del mod">
          <ac:chgData name="Steiner Andreas 6206 ED" userId="e6377c33-a923-4f14-8587-531c474c7b48" providerId="ADAL" clId="{6ECD27E6-B224-41CD-B4E0-E297462320DD}" dt="2023-11-24T08:44:31.896" v="56699"/>
          <ac:spMkLst>
            <pc:docMk/>
            <pc:sldMk cId="2752045962" sldId="2147473973"/>
            <ac:spMk id="373" creationId="{5E83933C-F30A-C204-4717-965C44FB847D}"/>
          </ac:spMkLst>
        </pc:spChg>
        <pc:spChg chg="add del mod">
          <ac:chgData name="Steiner Andreas 6206 ED" userId="e6377c33-a923-4f14-8587-531c474c7b48" providerId="ADAL" clId="{6ECD27E6-B224-41CD-B4E0-E297462320DD}" dt="2023-11-24T08:44:33.857" v="56854"/>
          <ac:spMkLst>
            <pc:docMk/>
            <pc:sldMk cId="2752045962" sldId="2147473973"/>
            <ac:spMk id="374" creationId="{80CBF49C-38EE-AE24-FC2C-4521BB902FDD}"/>
          </ac:spMkLst>
        </pc:spChg>
        <pc:spChg chg="add del mod">
          <ac:chgData name="Steiner Andreas 6206 ED" userId="e6377c33-a923-4f14-8587-531c474c7b48" providerId="ADAL" clId="{6ECD27E6-B224-41CD-B4E0-E297462320DD}" dt="2023-11-24T08:44:36.309" v="57009"/>
          <ac:spMkLst>
            <pc:docMk/>
            <pc:sldMk cId="2752045962" sldId="2147473973"/>
            <ac:spMk id="375" creationId="{49FEDD1E-AEE8-5F72-21E1-A4BC7B8B5E7B}"/>
          </ac:spMkLst>
        </pc:spChg>
        <pc:spChg chg="add del mod">
          <ac:chgData name="Steiner Andreas 6206 ED" userId="e6377c33-a923-4f14-8587-531c474c7b48" providerId="ADAL" clId="{6ECD27E6-B224-41CD-B4E0-E297462320DD}" dt="2023-11-24T08:44:38.896" v="57164"/>
          <ac:spMkLst>
            <pc:docMk/>
            <pc:sldMk cId="2752045962" sldId="2147473973"/>
            <ac:spMk id="376" creationId="{C2DF170F-558D-899E-87F5-F91682D73173}"/>
          </ac:spMkLst>
        </pc:spChg>
        <pc:spChg chg="add del mod">
          <ac:chgData name="Steiner Andreas 6206 ED" userId="e6377c33-a923-4f14-8587-531c474c7b48" providerId="ADAL" clId="{6ECD27E6-B224-41CD-B4E0-E297462320DD}" dt="2023-11-24T08:44:41.190" v="57319"/>
          <ac:spMkLst>
            <pc:docMk/>
            <pc:sldMk cId="2752045962" sldId="2147473973"/>
            <ac:spMk id="377" creationId="{D931857B-D3FF-F60C-F281-0C0BB489D968}"/>
          </ac:spMkLst>
        </pc:spChg>
        <pc:spChg chg="add del mod">
          <ac:chgData name="Steiner Andreas 6206 ED" userId="e6377c33-a923-4f14-8587-531c474c7b48" providerId="ADAL" clId="{6ECD27E6-B224-41CD-B4E0-E297462320DD}" dt="2023-11-24T08:44:43.391" v="57474"/>
          <ac:spMkLst>
            <pc:docMk/>
            <pc:sldMk cId="2752045962" sldId="2147473973"/>
            <ac:spMk id="378" creationId="{6D7F061E-4D76-72AF-B7C4-F1CFA3E98331}"/>
          </ac:spMkLst>
        </pc:spChg>
        <pc:spChg chg="add del mod">
          <ac:chgData name="Steiner Andreas 6206 ED" userId="e6377c33-a923-4f14-8587-531c474c7b48" providerId="ADAL" clId="{6ECD27E6-B224-41CD-B4E0-E297462320DD}" dt="2023-11-24T08:44:45.554" v="57629"/>
          <ac:spMkLst>
            <pc:docMk/>
            <pc:sldMk cId="2752045962" sldId="2147473973"/>
            <ac:spMk id="379" creationId="{D616AEBC-1888-8C63-F6C7-00E113FE9ACA}"/>
          </ac:spMkLst>
        </pc:spChg>
        <pc:spChg chg="add del mod">
          <ac:chgData name="Steiner Andreas 6206 ED" userId="e6377c33-a923-4f14-8587-531c474c7b48" providerId="ADAL" clId="{6ECD27E6-B224-41CD-B4E0-E297462320DD}" dt="2023-11-24T08:44:48.303" v="57784"/>
          <ac:spMkLst>
            <pc:docMk/>
            <pc:sldMk cId="2752045962" sldId="2147473973"/>
            <ac:spMk id="380" creationId="{4CC02CA9-DAB0-A0F0-751C-F1A2A1940202}"/>
          </ac:spMkLst>
        </pc:spChg>
        <pc:spChg chg="add del mod">
          <ac:chgData name="Steiner Andreas 6206 ED" userId="e6377c33-a923-4f14-8587-531c474c7b48" providerId="ADAL" clId="{6ECD27E6-B224-41CD-B4E0-E297462320DD}" dt="2023-11-24T08:44:50.546" v="57939"/>
          <ac:spMkLst>
            <pc:docMk/>
            <pc:sldMk cId="2752045962" sldId="2147473973"/>
            <ac:spMk id="381" creationId="{F0139ADA-4D05-7152-F64E-555D25434740}"/>
          </ac:spMkLst>
        </pc:spChg>
        <pc:spChg chg="add del mod">
          <ac:chgData name="Steiner Andreas 6206 ED" userId="e6377c33-a923-4f14-8587-531c474c7b48" providerId="ADAL" clId="{6ECD27E6-B224-41CD-B4E0-E297462320DD}" dt="2023-11-24T08:44:52.698" v="58094"/>
          <ac:spMkLst>
            <pc:docMk/>
            <pc:sldMk cId="2752045962" sldId="2147473973"/>
            <ac:spMk id="382" creationId="{E31DFA41-BE28-7EC4-9756-584164866D71}"/>
          </ac:spMkLst>
        </pc:spChg>
        <pc:spChg chg="add del mod">
          <ac:chgData name="Steiner Andreas 6206 ED" userId="e6377c33-a923-4f14-8587-531c474c7b48" providerId="ADAL" clId="{6ECD27E6-B224-41CD-B4E0-E297462320DD}" dt="2023-11-24T08:44:54.894" v="58249"/>
          <ac:spMkLst>
            <pc:docMk/>
            <pc:sldMk cId="2752045962" sldId="2147473973"/>
            <ac:spMk id="383" creationId="{7D320C7A-94D4-77A7-0709-E32121589BCC}"/>
          </ac:spMkLst>
        </pc:spChg>
        <pc:spChg chg="add del mod">
          <ac:chgData name="Steiner Andreas 6206 ED" userId="e6377c33-a923-4f14-8587-531c474c7b48" providerId="ADAL" clId="{6ECD27E6-B224-41CD-B4E0-E297462320DD}" dt="2023-11-24T08:44:56.902" v="58404"/>
          <ac:spMkLst>
            <pc:docMk/>
            <pc:sldMk cId="2752045962" sldId="2147473973"/>
            <ac:spMk id="384" creationId="{6ACC6211-7D3A-A45B-0788-19BDD0AD9537}"/>
          </ac:spMkLst>
        </pc:spChg>
        <pc:spChg chg="add del mod">
          <ac:chgData name="Steiner Andreas 6206 ED" userId="e6377c33-a923-4f14-8587-531c474c7b48" providerId="ADAL" clId="{6ECD27E6-B224-41CD-B4E0-E297462320DD}" dt="2023-11-24T08:44:58.838" v="58559"/>
          <ac:spMkLst>
            <pc:docMk/>
            <pc:sldMk cId="2752045962" sldId="2147473973"/>
            <ac:spMk id="385" creationId="{143A7EC9-0DF3-CDB3-52DF-28F7BF3B55A9}"/>
          </ac:spMkLst>
        </pc:spChg>
        <pc:spChg chg="add del mod">
          <ac:chgData name="Steiner Andreas 6206 ED" userId="e6377c33-a923-4f14-8587-531c474c7b48" providerId="ADAL" clId="{6ECD27E6-B224-41CD-B4E0-E297462320DD}" dt="2023-11-24T08:45:01.004" v="58714"/>
          <ac:spMkLst>
            <pc:docMk/>
            <pc:sldMk cId="2752045962" sldId="2147473973"/>
            <ac:spMk id="386" creationId="{54D26EFF-D3B0-21AB-2D06-D8FAD51AF1AA}"/>
          </ac:spMkLst>
        </pc:spChg>
        <pc:spChg chg="add del mod">
          <ac:chgData name="Steiner Andreas 6206 ED" userId="e6377c33-a923-4f14-8587-531c474c7b48" providerId="ADAL" clId="{6ECD27E6-B224-41CD-B4E0-E297462320DD}" dt="2023-11-24T08:45:02.921" v="58869"/>
          <ac:spMkLst>
            <pc:docMk/>
            <pc:sldMk cId="2752045962" sldId="2147473973"/>
            <ac:spMk id="387" creationId="{D5A5C732-0E2F-337B-472E-B2B5AD8BDE89}"/>
          </ac:spMkLst>
        </pc:spChg>
        <pc:spChg chg="add del mod">
          <ac:chgData name="Steiner Andreas 6206 ED" userId="e6377c33-a923-4f14-8587-531c474c7b48" providerId="ADAL" clId="{6ECD27E6-B224-41CD-B4E0-E297462320DD}" dt="2023-11-24T08:45:04.769" v="59024"/>
          <ac:spMkLst>
            <pc:docMk/>
            <pc:sldMk cId="2752045962" sldId="2147473973"/>
            <ac:spMk id="388" creationId="{3AACA8EB-3032-C647-71F0-860833D5E20B}"/>
          </ac:spMkLst>
        </pc:spChg>
        <pc:spChg chg="add del mod">
          <ac:chgData name="Steiner Andreas 6206 ED" userId="e6377c33-a923-4f14-8587-531c474c7b48" providerId="ADAL" clId="{6ECD27E6-B224-41CD-B4E0-E297462320DD}" dt="2023-11-24T08:45:06.623" v="59179"/>
          <ac:spMkLst>
            <pc:docMk/>
            <pc:sldMk cId="2752045962" sldId="2147473973"/>
            <ac:spMk id="389" creationId="{BCE56890-D9C3-CD69-7E7C-3254601A2633}"/>
          </ac:spMkLst>
        </pc:spChg>
        <pc:spChg chg="add del mod">
          <ac:chgData name="Steiner Andreas 6206 ED" userId="e6377c33-a923-4f14-8587-531c474c7b48" providerId="ADAL" clId="{6ECD27E6-B224-41CD-B4E0-E297462320DD}" dt="2023-11-24T08:45:08.461" v="59334"/>
          <ac:spMkLst>
            <pc:docMk/>
            <pc:sldMk cId="2752045962" sldId="2147473973"/>
            <ac:spMk id="390" creationId="{5DB3B4DC-0008-53E1-3CC7-ABD51E975268}"/>
          </ac:spMkLst>
        </pc:spChg>
        <pc:spChg chg="add del mod">
          <ac:chgData name="Steiner Andreas 6206 ED" userId="e6377c33-a923-4f14-8587-531c474c7b48" providerId="ADAL" clId="{6ECD27E6-B224-41CD-B4E0-E297462320DD}" dt="2023-11-24T08:45:10.267" v="59489"/>
          <ac:spMkLst>
            <pc:docMk/>
            <pc:sldMk cId="2752045962" sldId="2147473973"/>
            <ac:spMk id="391" creationId="{25B53683-1B41-14A9-7420-5BBBB98EDF6B}"/>
          </ac:spMkLst>
        </pc:spChg>
        <pc:spChg chg="add del mod">
          <ac:chgData name="Steiner Andreas 6206 ED" userId="e6377c33-a923-4f14-8587-531c474c7b48" providerId="ADAL" clId="{6ECD27E6-B224-41CD-B4E0-E297462320DD}" dt="2023-11-24T08:45:12.352" v="59644"/>
          <ac:spMkLst>
            <pc:docMk/>
            <pc:sldMk cId="2752045962" sldId="2147473973"/>
            <ac:spMk id="392" creationId="{0548A597-FAEC-AB8E-879A-8DC0E5D6908E}"/>
          </ac:spMkLst>
        </pc:spChg>
        <pc:spChg chg="add del mod">
          <ac:chgData name="Steiner Andreas 6206 ED" userId="e6377c33-a923-4f14-8587-531c474c7b48" providerId="ADAL" clId="{6ECD27E6-B224-41CD-B4E0-E297462320DD}" dt="2023-11-24T08:45:14.287" v="59799"/>
          <ac:spMkLst>
            <pc:docMk/>
            <pc:sldMk cId="2752045962" sldId="2147473973"/>
            <ac:spMk id="393" creationId="{F8C1C1FD-F8EE-137D-1506-5B07DF0615EB}"/>
          </ac:spMkLst>
        </pc:spChg>
        <pc:spChg chg="add del mod">
          <ac:chgData name="Steiner Andreas 6206 ED" userId="e6377c33-a923-4f14-8587-531c474c7b48" providerId="ADAL" clId="{6ECD27E6-B224-41CD-B4E0-E297462320DD}" dt="2023-11-24T08:45:16.359" v="59954"/>
          <ac:spMkLst>
            <pc:docMk/>
            <pc:sldMk cId="2752045962" sldId="2147473973"/>
            <ac:spMk id="394" creationId="{3D74A4DA-6A8D-8596-C8EA-9C5B4837148F}"/>
          </ac:spMkLst>
        </pc:spChg>
        <pc:spChg chg="add del mod">
          <ac:chgData name="Steiner Andreas 6206 ED" userId="e6377c33-a923-4f14-8587-531c474c7b48" providerId="ADAL" clId="{6ECD27E6-B224-41CD-B4E0-E297462320DD}" dt="2023-11-24T08:45:18.301" v="60109"/>
          <ac:spMkLst>
            <pc:docMk/>
            <pc:sldMk cId="2752045962" sldId="2147473973"/>
            <ac:spMk id="395" creationId="{83AE0F6F-3844-4C04-D471-244BCD582CAB}"/>
          </ac:spMkLst>
        </pc:spChg>
        <pc:spChg chg="add del mod">
          <ac:chgData name="Steiner Andreas 6206 ED" userId="e6377c33-a923-4f14-8587-531c474c7b48" providerId="ADAL" clId="{6ECD27E6-B224-41CD-B4E0-E297462320DD}" dt="2023-11-24T08:45:20.193" v="60264"/>
          <ac:spMkLst>
            <pc:docMk/>
            <pc:sldMk cId="2752045962" sldId="2147473973"/>
            <ac:spMk id="396" creationId="{456211E7-BEAA-DCA5-8113-D6E1015CFEB0}"/>
          </ac:spMkLst>
        </pc:spChg>
        <pc:spChg chg="add del mod">
          <ac:chgData name="Steiner Andreas 6206 ED" userId="e6377c33-a923-4f14-8587-531c474c7b48" providerId="ADAL" clId="{6ECD27E6-B224-41CD-B4E0-E297462320DD}" dt="2023-11-24T08:45:22.362" v="60419"/>
          <ac:spMkLst>
            <pc:docMk/>
            <pc:sldMk cId="2752045962" sldId="2147473973"/>
            <ac:spMk id="397" creationId="{933CD6A3-CEDA-8203-3825-889FE0305DA2}"/>
          </ac:spMkLst>
        </pc:spChg>
        <pc:spChg chg="add del mod">
          <ac:chgData name="Steiner Andreas 6206 ED" userId="e6377c33-a923-4f14-8587-531c474c7b48" providerId="ADAL" clId="{6ECD27E6-B224-41CD-B4E0-E297462320DD}" dt="2023-11-24T08:45:24.556" v="60574"/>
          <ac:spMkLst>
            <pc:docMk/>
            <pc:sldMk cId="2752045962" sldId="2147473973"/>
            <ac:spMk id="398" creationId="{CEAE1368-B796-E6ED-C65F-DD5C7E43BDF0}"/>
          </ac:spMkLst>
        </pc:spChg>
        <pc:spChg chg="add del mod">
          <ac:chgData name="Steiner Andreas 6206 ED" userId="e6377c33-a923-4f14-8587-531c474c7b48" providerId="ADAL" clId="{6ECD27E6-B224-41CD-B4E0-E297462320DD}" dt="2023-11-24T08:45:26.509" v="60729"/>
          <ac:spMkLst>
            <pc:docMk/>
            <pc:sldMk cId="2752045962" sldId="2147473973"/>
            <ac:spMk id="399" creationId="{1747F2CC-4C99-30CE-D1E7-73FEC5021C93}"/>
          </ac:spMkLst>
        </pc:spChg>
        <pc:spChg chg="add del mod">
          <ac:chgData name="Steiner Andreas 6206 ED" userId="e6377c33-a923-4f14-8587-531c474c7b48" providerId="ADAL" clId="{6ECD27E6-B224-41CD-B4E0-E297462320DD}" dt="2023-11-24T08:45:28.396" v="60884"/>
          <ac:spMkLst>
            <pc:docMk/>
            <pc:sldMk cId="2752045962" sldId="2147473973"/>
            <ac:spMk id="400" creationId="{3D082D51-F1E9-DAC7-1CD7-8B55B785D837}"/>
          </ac:spMkLst>
        </pc:spChg>
        <pc:spChg chg="add del mod">
          <ac:chgData name="Steiner Andreas 6206 ED" userId="e6377c33-a923-4f14-8587-531c474c7b48" providerId="ADAL" clId="{6ECD27E6-B224-41CD-B4E0-E297462320DD}" dt="2023-11-24T08:45:30.217" v="61039"/>
          <ac:spMkLst>
            <pc:docMk/>
            <pc:sldMk cId="2752045962" sldId="2147473973"/>
            <ac:spMk id="401" creationId="{0481F586-2692-0A86-7E80-CD6AFC2449CA}"/>
          </ac:spMkLst>
        </pc:spChg>
        <pc:spChg chg="add del mod">
          <ac:chgData name="Steiner Andreas 6206 ED" userId="e6377c33-a923-4f14-8587-531c474c7b48" providerId="ADAL" clId="{6ECD27E6-B224-41CD-B4E0-E297462320DD}" dt="2023-11-24T08:45:32.089" v="61194"/>
          <ac:spMkLst>
            <pc:docMk/>
            <pc:sldMk cId="2752045962" sldId="2147473973"/>
            <ac:spMk id="402" creationId="{D03BB99B-AFAE-1B74-C030-3A79837B3553}"/>
          </ac:spMkLst>
        </pc:spChg>
        <pc:spChg chg="add del mod">
          <ac:chgData name="Steiner Andreas 6206 ED" userId="e6377c33-a923-4f14-8587-531c474c7b48" providerId="ADAL" clId="{6ECD27E6-B224-41CD-B4E0-E297462320DD}" dt="2023-11-24T08:45:34.222" v="61349"/>
          <ac:spMkLst>
            <pc:docMk/>
            <pc:sldMk cId="2752045962" sldId="2147473973"/>
            <ac:spMk id="403" creationId="{884BB04C-3CCC-E259-8F37-B7B6A867EF5E}"/>
          </ac:spMkLst>
        </pc:spChg>
        <pc:spChg chg="add del mod">
          <ac:chgData name="Steiner Andreas 6206 ED" userId="e6377c33-a923-4f14-8587-531c474c7b48" providerId="ADAL" clId="{6ECD27E6-B224-41CD-B4E0-E297462320DD}" dt="2023-11-24T08:45:36.277" v="61504"/>
          <ac:spMkLst>
            <pc:docMk/>
            <pc:sldMk cId="2752045962" sldId="2147473973"/>
            <ac:spMk id="404" creationId="{935B78B2-094A-91F3-460E-BF3C979E07E0}"/>
          </ac:spMkLst>
        </pc:spChg>
        <pc:spChg chg="add del mod">
          <ac:chgData name="Steiner Andreas 6206 ED" userId="e6377c33-a923-4f14-8587-531c474c7b48" providerId="ADAL" clId="{6ECD27E6-B224-41CD-B4E0-E297462320DD}" dt="2023-11-24T08:45:38.158" v="61659"/>
          <ac:spMkLst>
            <pc:docMk/>
            <pc:sldMk cId="2752045962" sldId="2147473973"/>
            <ac:spMk id="405" creationId="{455BDEAB-5AA9-377E-083A-50437482538B}"/>
          </ac:spMkLst>
        </pc:spChg>
        <pc:spChg chg="add del mod">
          <ac:chgData name="Steiner Andreas 6206 ED" userId="e6377c33-a923-4f14-8587-531c474c7b48" providerId="ADAL" clId="{6ECD27E6-B224-41CD-B4E0-E297462320DD}" dt="2023-11-24T08:45:40.041" v="61814"/>
          <ac:spMkLst>
            <pc:docMk/>
            <pc:sldMk cId="2752045962" sldId="2147473973"/>
            <ac:spMk id="406" creationId="{A1F26136-0B70-51AE-2D04-9A2DB9A877C4}"/>
          </ac:spMkLst>
        </pc:spChg>
        <pc:spChg chg="add del mod">
          <ac:chgData name="Steiner Andreas 6206 ED" userId="e6377c33-a923-4f14-8587-531c474c7b48" providerId="ADAL" clId="{6ECD27E6-B224-41CD-B4E0-E297462320DD}" dt="2023-11-24T08:45:42.050" v="61969"/>
          <ac:spMkLst>
            <pc:docMk/>
            <pc:sldMk cId="2752045962" sldId="2147473973"/>
            <ac:spMk id="407" creationId="{F368F3C3-50FD-3ABE-0AC2-3661CD962370}"/>
          </ac:spMkLst>
        </pc:spChg>
        <pc:spChg chg="add del mod">
          <ac:chgData name="Steiner Andreas 6206 ED" userId="e6377c33-a923-4f14-8587-531c474c7b48" providerId="ADAL" clId="{6ECD27E6-B224-41CD-B4E0-E297462320DD}" dt="2023-11-24T08:45:44.034" v="62124"/>
          <ac:spMkLst>
            <pc:docMk/>
            <pc:sldMk cId="2752045962" sldId="2147473973"/>
            <ac:spMk id="408" creationId="{DFA8678D-6721-14F8-48E2-450293E55474}"/>
          </ac:spMkLst>
        </pc:spChg>
        <pc:spChg chg="add del mod">
          <ac:chgData name="Steiner Andreas 6206 ED" userId="e6377c33-a923-4f14-8587-531c474c7b48" providerId="ADAL" clId="{6ECD27E6-B224-41CD-B4E0-E297462320DD}" dt="2023-11-24T08:45:46.152" v="62279"/>
          <ac:spMkLst>
            <pc:docMk/>
            <pc:sldMk cId="2752045962" sldId="2147473973"/>
            <ac:spMk id="409" creationId="{4D51ADC9-5E92-2F54-DC87-2EAC8A131B0C}"/>
          </ac:spMkLst>
        </pc:spChg>
        <pc:spChg chg="add del mod">
          <ac:chgData name="Steiner Andreas 6206 ED" userId="e6377c33-a923-4f14-8587-531c474c7b48" providerId="ADAL" clId="{6ECD27E6-B224-41CD-B4E0-E297462320DD}" dt="2023-11-24T08:45:48.044" v="62434"/>
          <ac:spMkLst>
            <pc:docMk/>
            <pc:sldMk cId="2752045962" sldId="2147473973"/>
            <ac:spMk id="410" creationId="{FB45E0E0-FE00-DAE1-0C6B-75786C3DF529}"/>
          </ac:spMkLst>
        </pc:spChg>
        <pc:spChg chg="add del mod">
          <ac:chgData name="Steiner Andreas 6206 ED" userId="e6377c33-a923-4f14-8587-531c474c7b48" providerId="ADAL" clId="{6ECD27E6-B224-41CD-B4E0-E297462320DD}" dt="2023-11-24T08:45:50.383" v="62589"/>
          <ac:spMkLst>
            <pc:docMk/>
            <pc:sldMk cId="2752045962" sldId="2147473973"/>
            <ac:spMk id="411" creationId="{C4F227C3-6BF1-D1F6-0151-E3E53721D8F0}"/>
          </ac:spMkLst>
        </pc:spChg>
        <pc:spChg chg="add del mod">
          <ac:chgData name="Steiner Andreas 6206 ED" userId="e6377c33-a923-4f14-8587-531c474c7b48" providerId="ADAL" clId="{6ECD27E6-B224-41CD-B4E0-E297462320DD}" dt="2023-11-24T08:45:52.400" v="62744"/>
          <ac:spMkLst>
            <pc:docMk/>
            <pc:sldMk cId="2752045962" sldId="2147473973"/>
            <ac:spMk id="412" creationId="{1D1C7046-1357-4E28-4190-357A02256BA6}"/>
          </ac:spMkLst>
        </pc:spChg>
        <pc:spChg chg="add del mod">
          <ac:chgData name="Steiner Andreas 6206 ED" userId="e6377c33-a923-4f14-8587-531c474c7b48" providerId="ADAL" clId="{6ECD27E6-B224-41CD-B4E0-E297462320DD}" dt="2023-11-24T08:45:54.417" v="62899"/>
          <ac:spMkLst>
            <pc:docMk/>
            <pc:sldMk cId="2752045962" sldId="2147473973"/>
            <ac:spMk id="413" creationId="{BCF6F0E8-12AF-615A-052C-D7D81A0D96E9}"/>
          </ac:spMkLst>
        </pc:spChg>
        <pc:spChg chg="add del mod">
          <ac:chgData name="Steiner Andreas 6206 ED" userId="e6377c33-a923-4f14-8587-531c474c7b48" providerId="ADAL" clId="{6ECD27E6-B224-41CD-B4E0-E297462320DD}" dt="2023-11-24T08:45:56.608" v="63054"/>
          <ac:spMkLst>
            <pc:docMk/>
            <pc:sldMk cId="2752045962" sldId="2147473973"/>
            <ac:spMk id="414" creationId="{7F0C75D9-84E3-0D9B-4A6A-C91E437B92FB}"/>
          </ac:spMkLst>
        </pc:spChg>
        <pc:spChg chg="add del mod">
          <ac:chgData name="Steiner Andreas 6206 ED" userId="e6377c33-a923-4f14-8587-531c474c7b48" providerId="ADAL" clId="{6ECD27E6-B224-41CD-B4E0-E297462320DD}" dt="2023-11-24T08:45:58.631" v="63209"/>
          <ac:spMkLst>
            <pc:docMk/>
            <pc:sldMk cId="2752045962" sldId="2147473973"/>
            <ac:spMk id="415" creationId="{00D37531-42D4-37ED-74FB-5623B8735674}"/>
          </ac:spMkLst>
        </pc:spChg>
        <pc:spChg chg="add del mod">
          <ac:chgData name="Steiner Andreas 6206 ED" userId="e6377c33-a923-4f14-8587-531c474c7b48" providerId="ADAL" clId="{6ECD27E6-B224-41CD-B4E0-E297462320DD}" dt="2023-11-24T08:46:00.715" v="63364"/>
          <ac:spMkLst>
            <pc:docMk/>
            <pc:sldMk cId="2752045962" sldId="2147473973"/>
            <ac:spMk id="416" creationId="{873AC779-B329-056B-EED9-BB42315E380B}"/>
          </ac:spMkLst>
        </pc:spChg>
        <pc:spChg chg="add del mod">
          <ac:chgData name="Steiner Andreas 6206 ED" userId="e6377c33-a923-4f14-8587-531c474c7b48" providerId="ADAL" clId="{6ECD27E6-B224-41CD-B4E0-E297462320DD}" dt="2023-11-24T08:46:02.789" v="63519"/>
          <ac:spMkLst>
            <pc:docMk/>
            <pc:sldMk cId="2752045962" sldId="2147473973"/>
            <ac:spMk id="417" creationId="{D706C3B3-A8CD-4E6C-8A43-724D020B1F9E}"/>
          </ac:spMkLst>
        </pc:spChg>
        <pc:spChg chg="add del mod">
          <ac:chgData name="Steiner Andreas 6206 ED" userId="e6377c33-a923-4f14-8587-531c474c7b48" providerId="ADAL" clId="{6ECD27E6-B224-41CD-B4E0-E297462320DD}" dt="2023-11-24T08:46:05.213" v="63674"/>
          <ac:spMkLst>
            <pc:docMk/>
            <pc:sldMk cId="2752045962" sldId="2147473973"/>
            <ac:spMk id="418" creationId="{59481FDA-935A-81F1-AF0A-7B8E83C078AE}"/>
          </ac:spMkLst>
        </pc:spChg>
        <pc:spChg chg="add del mod">
          <ac:chgData name="Steiner Andreas 6206 ED" userId="e6377c33-a923-4f14-8587-531c474c7b48" providerId="ADAL" clId="{6ECD27E6-B224-41CD-B4E0-E297462320DD}" dt="2023-11-24T08:46:07.718" v="63829"/>
          <ac:spMkLst>
            <pc:docMk/>
            <pc:sldMk cId="2752045962" sldId="2147473973"/>
            <ac:spMk id="419" creationId="{086D3C5F-49ED-F6A2-50C3-73182AD2D268}"/>
          </ac:spMkLst>
        </pc:spChg>
        <pc:spChg chg="add del mod">
          <ac:chgData name="Steiner Andreas 6206 ED" userId="e6377c33-a923-4f14-8587-531c474c7b48" providerId="ADAL" clId="{6ECD27E6-B224-41CD-B4E0-E297462320DD}" dt="2023-11-24T08:46:09.905" v="63984"/>
          <ac:spMkLst>
            <pc:docMk/>
            <pc:sldMk cId="2752045962" sldId="2147473973"/>
            <ac:spMk id="420" creationId="{2406A29C-01E4-CBC2-ADD5-F848C77CA60C}"/>
          </ac:spMkLst>
        </pc:spChg>
        <pc:spChg chg="add del mod">
          <ac:chgData name="Steiner Andreas 6206 ED" userId="e6377c33-a923-4f14-8587-531c474c7b48" providerId="ADAL" clId="{6ECD27E6-B224-41CD-B4E0-E297462320DD}" dt="2023-11-24T08:46:12.098" v="64139"/>
          <ac:spMkLst>
            <pc:docMk/>
            <pc:sldMk cId="2752045962" sldId="2147473973"/>
            <ac:spMk id="421" creationId="{5046C90E-5215-785B-AFFB-2CBD2E8E2B10}"/>
          </ac:spMkLst>
        </pc:spChg>
        <pc:spChg chg="add del mod">
          <ac:chgData name="Steiner Andreas 6206 ED" userId="e6377c33-a923-4f14-8587-531c474c7b48" providerId="ADAL" clId="{6ECD27E6-B224-41CD-B4E0-E297462320DD}" dt="2023-11-24T08:46:14.264" v="64294"/>
          <ac:spMkLst>
            <pc:docMk/>
            <pc:sldMk cId="2752045962" sldId="2147473973"/>
            <ac:spMk id="422" creationId="{DFA2C9CD-6174-40F5-93C2-64DABD93C99D}"/>
          </ac:spMkLst>
        </pc:spChg>
        <pc:spChg chg="add del mod">
          <ac:chgData name="Steiner Andreas 6206 ED" userId="e6377c33-a923-4f14-8587-531c474c7b48" providerId="ADAL" clId="{6ECD27E6-B224-41CD-B4E0-E297462320DD}" dt="2023-11-24T08:46:16.475" v="64449"/>
          <ac:spMkLst>
            <pc:docMk/>
            <pc:sldMk cId="2752045962" sldId="2147473973"/>
            <ac:spMk id="423" creationId="{2D886C89-EA69-7006-DA9D-0EAE760FC94B}"/>
          </ac:spMkLst>
        </pc:spChg>
        <pc:spChg chg="add del mod">
          <ac:chgData name="Steiner Andreas 6206 ED" userId="e6377c33-a923-4f14-8587-531c474c7b48" providerId="ADAL" clId="{6ECD27E6-B224-41CD-B4E0-E297462320DD}" dt="2023-11-24T08:46:18.344" v="64604"/>
          <ac:spMkLst>
            <pc:docMk/>
            <pc:sldMk cId="2752045962" sldId="2147473973"/>
            <ac:spMk id="424" creationId="{226CC08D-6B40-F6BF-6091-10C9C1642023}"/>
          </ac:spMkLst>
        </pc:spChg>
        <pc:spChg chg="add del mod">
          <ac:chgData name="Steiner Andreas 6206 ED" userId="e6377c33-a923-4f14-8587-531c474c7b48" providerId="ADAL" clId="{6ECD27E6-B224-41CD-B4E0-E297462320DD}" dt="2023-11-24T08:46:20.882" v="64759"/>
          <ac:spMkLst>
            <pc:docMk/>
            <pc:sldMk cId="2752045962" sldId="2147473973"/>
            <ac:spMk id="425" creationId="{C7C5344D-8896-4D87-AAC6-F51E53A28D9F}"/>
          </ac:spMkLst>
        </pc:spChg>
        <pc:spChg chg="add del mod">
          <ac:chgData name="Steiner Andreas 6206 ED" userId="e6377c33-a923-4f14-8587-531c474c7b48" providerId="ADAL" clId="{6ECD27E6-B224-41CD-B4E0-E297462320DD}" dt="2023-11-24T08:46:23.131" v="64914"/>
          <ac:spMkLst>
            <pc:docMk/>
            <pc:sldMk cId="2752045962" sldId="2147473973"/>
            <ac:spMk id="426" creationId="{9250E6C0-421F-F29F-90CC-FC9F1F8F31CF}"/>
          </ac:spMkLst>
        </pc:spChg>
        <pc:spChg chg="add del mod">
          <ac:chgData name="Steiner Andreas 6206 ED" userId="e6377c33-a923-4f14-8587-531c474c7b48" providerId="ADAL" clId="{6ECD27E6-B224-41CD-B4E0-E297462320DD}" dt="2023-11-24T08:46:25.380" v="65069"/>
          <ac:spMkLst>
            <pc:docMk/>
            <pc:sldMk cId="2752045962" sldId="2147473973"/>
            <ac:spMk id="427" creationId="{A75A3939-5439-D70E-CF85-2502FE65D0F7}"/>
          </ac:spMkLst>
        </pc:spChg>
        <pc:spChg chg="add del mod">
          <ac:chgData name="Steiner Andreas 6206 ED" userId="e6377c33-a923-4f14-8587-531c474c7b48" providerId="ADAL" clId="{6ECD27E6-B224-41CD-B4E0-E297462320DD}" dt="2023-11-24T08:46:27.706" v="65224"/>
          <ac:spMkLst>
            <pc:docMk/>
            <pc:sldMk cId="2752045962" sldId="2147473973"/>
            <ac:spMk id="428" creationId="{6DB6BE0D-03E4-FE8A-F5C5-DA500F96DAC8}"/>
          </ac:spMkLst>
        </pc:spChg>
        <pc:spChg chg="add del mod">
          <ac:chgData name="Steiner Andreas 6206 ED" userId="e6377c33-a923-4f14-8587-531c474c7b48" providerId="ADAL" clId="{6ECD27E6-B224-41CD-B4E0-E297462320DD}" dt="2023-11-24T08:46:29.730" v="65379"/>
          <ac:spMkLst>
            <pc:docMk/>
            <pc:sldMk cId="2752045962" sldId="2147473973"/>
            <ac:spMk id="429" creationId="{D59F38E6-5CFF-90B2-81D7-599198914B71}"/>
          </ac:spMkLst>
        </pc:spChg>
        <pc:spChg chg="add del mod">
          <ac:chgData name="Steiner Andreas 6206 ED" userId="e6377c33-a923-4f14-8587-531c474c7b48" providerId="ADAL" clId="{6ECD27E6-B224-41CD-B4E0-E297462320DD}" dt="2023-11-24T08:46:32.214" v="65534"/>
          <ac:spMkLst>
            <pc:docMk/>
            <pc:sldMk cId="2752045962" sldId="2147473973"/>
            <ac:spMk id="430" creationId="{FDB4C2F6-CAC0-EB07-E0A8-7A74C4D5CCA1}"/>
          </ac:spMkLst>
        </pc:spChg>
        <pc:spChg chg="add del mod">
          <ac:chgData name="Steiner Andreas 6206 ED" userId="e6377c33-a923-4f14-8587-531c474c7b48" providerId="ADAL" clId="{6ECD27E6-B224-41CD-B4E0-E297462320DD}" dt="2023-11-24T08:46:34.273" v="65689"/>
          <ac:spMkLst>
            <pc:docMk/>
            <pc:sldMk cId="2752045962" sldId="2147473973"/>
            <ac:spMk id="431" creationId="{34661364-2422-0A8D-2C09-CCA48EFA0EF0}"/>
          </ac:spMkLst>
        </pc:spChg>
        <pc:spChg chg="add del mod">
          <ac:chgData name="Steiner Andreas 6206 ED" userId="e6377c33-a923-4f14-8587-531c474c7b48" providerId="ADAL" clId="{6ECD27E6-B224-41CD-B4E0-E297462320DD}" dt="2023-11-24T08:46:36.205" v="65844"/>
          <ac:spMkLst>
            <pc:docMk/>
            <pc:sldMk cId="2752045962" sldId="2147473973"/>
            <ac:spMk id="432" creationId="{1AB7D012-1F85-0F42-FCE9-FC254A94F5A7}"/>
          </ac:spMkLst>
        </pc:spChg>
        <pc:spChg chg="add del mod">
          <ac:chgData name="Steiner Andreas 6206 ED" userId="e6377c33-a923-4f14-8587-531c474c7b48" providerId="ADAL" clId="{6ECD27E6-B224-41CD-B4E0-E297462320DD}" dt="2023-11-24T08:46:38.288" v="65999"/>
          <ac:spMkLst>
            <pc:docMk/>
            <pc:sldMk cId="2752045962" sldId="2147473973"/>
            <ac:spMk id="433" creationId="{9A52479D-E222-C6C4-24B1-CC93EDAD71C4}"/>
          </ac:spMkLst>
        </pc:spChg>
        <pc:spChg chg="add del mod">
          <ac:chgData name="Steiner Andreas 6206 ED" userId="e6377c33-a923-4f14-8587-531c474c7b48" providerId="ADAL" clId="{6ECD27E6-B224-41CD-B4E0-E297462320DD}" dt="2023-11-24T08:46:40.367" v="66154"/>
          <ac:spMkLst>
            <pc:docMk/>
            <pc:sldMk cId="2752045962" sldId="2147473973"/>
            <ac:spMk id="434" creationId="{0F69FA58-5F01-3F72-15AD-24ED6F927876}"/>
          </ac:spMkLst>
        </pc:spChg>
        <pc:spChg chg="add del mod">
          <ac:chgData name="Steiner Andreas 6206 ED" userId="e6377c33-a923-4f14-8587-531c474c7b48" providerId="ADAL" clId="{6ECD27E6-B224-41CD-B4E0-E297462320DD}" dt="2023-11-24T08:46:42.642" v="66309"/>
          <ac:spMkLst>
            <pc:docMk/>
            <pc:sldMk cId="2752045962" sldId="2147473973"/>
            <ac:spMk id="435" creationId="{7D6D0F89-AF4C-E942-301E-227B00D4F400}"/>
          </ac:spMkLst>
        </pc:spChg>
        <pc:spChg chg="add del mod">
          <ac:chgData name="Steiner Andreas 6206 ED" userId="e6377c33-a923-4f14-8587-531c474c7b48" providerId="ADAL" clId="{6ECD27E6-B224-41CD-B4E0-E297462320DD}" dt="2023-11-24T08:46:44.760" v="66464"/>
          <ac:spMkLst>
            <pc:docMk/>
            <pc:sldMk cId="2752045962" sldId="2147473973"/>
            <ac:spMk id="436" creationId="{46064548-6FA3-61BA-A87F-DA8329590026}"/>
          </ac:spMkLst>
        </pc:spChg>
        <pc:spChg chg="add del mod">
          <ac:chgData name="Steiner Andreas 6206 ED" userId="e6377c33-a923-4f14-8587-531c474c7b48" providerId="ADAL" clId="{6ECD27E6-B224-41CD-B4E0-E297462320DD}" dt="2023-11-24T08:46:46.831" v="66619"/>
          <ac:spMkLst>
            <pc:docMk/>
            <pc:sldMk cId="2752045962" sldId="2147473973"/>
            <ac:spMk id="437" creationId="{7B698C3E-F6B3-3EEF-27F4-F5828239D6C4}"/>
          </ac:spMkLst>
        </pc:spChg>
        <pc:spChg chg="add del mod">
          <ac:chgData name="Steiner Andreas 6206 ED" userId="e6377c33-a923-4f14-8587-531c474c7b48" providerId="ADAL" clId="{6ECD27E6-B224-41CD-B4E0-E297462320DD}" dt="2023-11-24T08:46:48.970" v="66774"/>
          <ac:spMkLst>
            <pc:docMk/>
            <pc:sldMk cId="2752045962" sldId="2147473973"/>
            <ac:spMk id="438" creationId="{8EC73B93-7A5D-C249-CB93-BDC8384EE721}"/>
          </ac:spMkLst>
        </pc:spChg>
        <pc:spChg chg="add del mod">
          <ac:chgData name="Steiner Andreas 6206 ED" userId="e6377c33-a923-4f14-8587-531c474c7b48" providerId="ADAL" clId="{6ECD27E6-B224-41CD-B4E0-E297462320DD}" dt="2023-11-24T08:46:51.019" v="66929"/>
          <ac:spMkLst>
            <pc:docMk/>
            <pc:sldMk cId="2752045962" sldId="2147473973"/>
            <ac:spMk id="439" creationId="{693BC2CF-964E-7120-8FAF-9615B7C5D884}"/>
          </ac:spMkLst>
        </pc:spChg>
        <pc:spChg chg="add del mod">
          <ac:chgData name="Steiner Andreas 6206 ED" userId="e6377c33-a923-4f14-8587-531c474c7b48" providerId="ADAL" clId="{6ECD27E6-B224-41CD-B4E0-E297462320DD}" dt="2023-11-24T08:46:53.065" v="67084"/>
          <ac:spMkLst>
            <pc:docMk/>
            <pc:sldMk cId="2752045962" sldId="2147473973"/>
            <ac:spMk id="440" creationId="{1F0D2CDB-7B7A-75FD-858B-B71F41BDB956}"/>
          </ac:spMkLst>
        </pc:spChg>
        <pc:spChg chg="add del mod">
          <ac:chgData name="Steiner Andreas 6206 ED" userId="e6377c33-a923-4f14-8587-531c474c7b48" providerId="ADAL" clId="{6ECD27E6-B224-41CD-B4E0-E297462320DD}" dt="2023-11-24T08:46:55.042" v="67239"/>
          <ac:spMkLst>
            <pc:docMk/>
            <pc:sldMk cId="2752045962" sldId="2147473973"/>
            <ac:spMk id="441" creationId="{B31E182A-96B3-C5A4-8E80-BA0021D290E0}"/>
          </ac:spMkLst>
        </pc:spChg>
        <pc:spChg chg="add del mod">
          <ac:chgData name="Steiner Andreas 6206 ED" userId="e6377c33-a923-4f14-8587-531c474c7b48" providerId="ADAL" clId="{6ECD27E6-B224-41CD-B4E0-E297462320DD}" dt="2023-11-24T08:46:57.009" v="67394"/>
          <ac:spMkLst>
            <pc:docMk/>
            <pc:sldMk cId="2752045962" sldId="2147473973"/>
            <ac:spMk id="442" creationId="{DB0A0D08-15E8-4E60-ECF1-4BE68CC9998C}"/>
          </ac:spMkLst>
        </pc:spChg>
        <pc:spChg chg="add del mod">
          <ac:chgData name="Steiner Andreas 6206 ED" userId="e6377c33-a923-4f14-8587-531c474c7b48" providerId="ADAL" clId="{6ECD27E6-B224-41CD-B4E0-E297462320DD}" dt="2023-11-24T08:46:58.873" v="67549"/>
          <ac:spMkLst>
            <pc:docMk/>
            <pc:sldMk cId="2752045962" sldId="2147473973"/>
            <ac:spMk id="443" creationId="{890232CC-38B0-3FC0-525A-69015E6C6FAA}"/>
          </ac:spMkLst>
        </pc:spChg>
        <pc:spChg chg="add del mod">
          <ac:chgData name="Steiner Andreas 6206 ED" userId="e6377c33-a923-4f14-8587-531c474c7b48" providerId="ADAL" clId="{6ECD27E6-B224-41CD-B4E0-E297462320DD}" dt="2023-11-24T08:47:00.981" v="67704"/>
          <ac:spMkLst>
            <pc:docMk/>
            <pc:sldMk cId="2752045962" sldId="2147473973"/>
            <ac:spMk id="444" creationId="{7B303A41-466E-39F4-5312-8E17BB5E9269}"/>
          </ac:spMkLst>
        </pc:spChg>
        <pc:spChg chg="add del mod">
          <ac:chgData name="Steiner Andreas 6206 ED" userId="e6377c33-a923-4f14-8587-531c474c7b48" providerId="ADAL" clId="{6ECD27E6-B224-41CD-B4E0-E297462320DD}" dt="2023-11-24T08:47:03.142" v="67859"/>
          <ac:spMkLst>
            <pc:docMk/>
            <pc:sldMk cId="2752045962" sldId="2147473973"/>
            <ac:spMk id="445" creationId="{2739B18D-0149-FDB9-C240-EC3F7855F0C9}"/>
          </ac:spMkLst>
        </pc:spChg>
        <pc:spChg chg="add del mod">
          <ac:chgData name="Steiner Andreas 6206 ED" userId="e6377c33-a923-4f14-8587-531c474c7b48" providerId="ADAL" clId="{6ECD27E6-B224-41CD-B4E0-E297462320DD}" dt="2023-11-24T08:47:05.132" v="68014"/>
          <ac:spMkLst>
            <pc:docMk/>
            <pc:sldMk cId="2752045962" sldId="2147473973"/>
            <ac:spMk id="446" creationId="{F95673F9-86A0-5147-5602-B3AAB971F507}"/>
          </ac:spMkLst>
        </pc:spChg>
        <pc:spChg chg="add del mod">
          <ac:chgData name="Steiner Andreas 6206 ED" userId="e6377c33-a923-4f14-8587-531c474c7b48" providerId="ADAL" clId="{6ECD27E6-B224-41CD-B4E0-E297462320DD}" dt="2023-11-24T08:47:06.910" v="68169"/>
          <ac:spMkLst>
            <pc:docMk/>
            <pc:sldMk cId="2752045962" sldId="2147473973"/>
            <ac:spMk id="447" creationId="{8D3B01B5-E5E1-D29C-1EA6-0DDCD5A3A207}"/>
          </ac:spMkLst>
        </pc:spChg>
        <pc:spChg chg="add del mod">
          <ac:chgData name="Steiner Andreas 6206 ED" userId="e6377c33-a923-4f14-8587-531c474c7b48" providerId="ADAL" clId="{6ECD27E6-B224-41CD-B4E0-E297462320DD}" dt="2023-11-24T08:47:08.801" v="68324"/>
          <ac:spMkLst>
            <pc:docMk/>
            <pc:sldMk cId="2752045962" sldId="2147473973"/>
            <ac:spMk id="448" creationId="{E4426294-3053-A705-FECE-BC5BE90CF5A7}"/>
          </ac:spMkLst>
        </pc:spChg>
        <pc:spChg chg="add del mod">
          <ac:chgData name="Steiner Andreas 6206 ED" userId="e6377c33-a923-4f14-8587-531c474c7b48" providerId="ADAL" clId="{6ECD27E6-B224-41CD-B4E0-E297462320DD}" dt="2023-11-24T08:47:10.683" v="68479"/>
          <ac:spMkLst>
            <pc:docMk/>
            <pc:sldMk cId="2752045962" sldId="2147473973"/>
            <ac:spMk id="449" creationId="{9F555F56-B697-2BA4-67E2-EA2111214A85}"/>
          </ac:spMkLst>
        </pc:spChg>
        <pc:spChg chg="add del mod">
          <ac:chgData name="Steiner Andreas 6206 ED" userId="e6377c33-a923-4f14-8587-531c474c7b48" providerId="ADAL" clId="{6ECD27E6-B224-41CD-B4E0-E297462320DD}" dt="2023-11-24T08:47:12.558" v="68634"/>
          <ac:spMkLst>
            <pc:docMk/>
            <pc:sldMk cId="2752045962" sldId="2147473973"/>
            <ac:spMk id="450" creationId="{45A264A2-D7FB-2133-65F3-A5774DAAE88C}"/>
          </ac:spMkLst>
        </pc:spChg>
        <pc:spChg chg="add del mod">
          <ac:chgData name="Steiner Andreas 6206 ED" userId="e6377c33-a923-4f14-8587-531c474c7b48" providerId="ADAL" clId="{6ECD27E6-B224-41CD-B4E0-E297462320DD}" dt="2023-11-24T08:47:14.721" v="68789"/>
          <ac:spMkLst>
            <pc:docMk/>
            <pc:sldMk cId="2752045962" sldId="2147473973"/>
            <ac:spMk id="451" creationId="{B2D83C18-B3EC-992D-0176-B51F5801443D}"/>
          </ac:spMkLst>
        </pc:spChg>
        <pc:spChg chg="add del mod">
          <ac:chgData name="Steiner Andreas 6206 ED" userId="e6377c33-a923-4f14-8587-531c474c7b48" providerId="ADAL" clId="{6ECD27E6-B224-41CD-B4E0-E297462320DD}" dt="2023-11-24T08:47:16.682" v="68944"/>
          <ac:spMkLst>
            <pc:docMk/>
            <pc:sldMk cId="2752045962" sldId="2147473973"/>
            <ac:spMk id="452" creationId="{03D551E6-082E-9E34-F32E-84CC454DC336}"/>
          </ac:spMkLst>
        </pc:spChg>
        <pc:spChg chg="add del mod">
          <ac:chgData name="Steiner Andreas 6206 ED" userId="e6377c33-a923-4f14-8587-531c474c7b48" providerId="ADAL" clId="{6ECD27E6-B224-41CD-B4E0-E297462320DD}" dt="2023-11-24T08:47:18.602" v="69099"/>
          <ac:spMkLst>
            <pc:docMk/>
            <pc:sldMk cId="2752045962" sldId="2147473973"/>
            <ac:spMk id="453" creationId="{5CD73590-0AAC-419C-3728-9D1A7C18BA94}"/>
          </ac:spMkLst>
        </pc:spChg>
        <pc:spChg chg="add del mod">
          <ac:chgData name="Steiner Andreas 6206 ED" userId="e6377c33-a923-4f14-8587-531c474c7b48" providerId="ADAL" clId="{6ECD27E6-B224-41CD-B4E0-E297462320DD}" dt="2023-11-24T08:47:20.583" v="69254"/>
          <ac:spMkLst>
            <pc:docMk/>
            <pc:sldMk cId="2752045962" sldId="2147473973"/>
            <ac:spMk id="454" creationId="{75D87B04-6196-7395-189C-8A54BC82BD75}"/>
          </ac:spMkLst>
        </pc:spChg>
        <pc:spChg chg="add del mod">
          <ac:chgData name="Steiner Andreas 6206 ED" userId="e6377c33-a923-4f14-8587-531c474c7b48" providerId="ADAL" clId="{6ECD27E6-B224-41CD-B4E0-E297462320DD}" dt="2023-11-24T08:47:22.985" v="69409"/>
          <ac:spMkLst>
            <pc:docMk/>
            <pc:sldMk cId="2752045962" sldId="2147473973"/>
            <ac:spMk id="455" creationId="{30BF210C-90DF-3A86-44C1-8C094BD37698}"/>
          </ac:spMkLst>
        </pc:spChg>
        <pc:spChg chg="add del mod">
          <ac:chgData name="Steiner Andreas 6206 ED" userId="e6377c33-a923-4f14-8587-531c474c7b48" providerId="ADAL" clId="{6ECD27E6-B224-41CD-B4E0-E297462320DD}" dt="2023-11-24T08:47:25.655" v="69564"/>
          <ac:spMkLst>
            <pc:docMk/>
            <pc:sldMk cId="2752045962" sldId="2147473973"/>
            <ac:spMk id="456" creationId="{6E0FF5F3-277F-9CB6-AD42-24F7DE02F27B}"/>
          </ac:spMkLst>
        </pc:spChg>
        <pc:spChg chg="add del mod">
          <ac:chgData name="Steiner Andreas 6206 ED" userId="e6377c33-a923-4f14-8587-531c474c7b48" providerId="ADAL" clId="{6ECD27E6-B224-41CD-B4E0-E297462320DD}" dt="2023-11-24T08:47:27.848" v="69719"/>
          <ac:spMkLst>
            <pc:docMk/>
            <pc:sldMk cId="2752045962" sldId="2147473973"/>
            <ac:spMk id="457" creationId="{909AB373-8D52-C5FE-79B9-B4082243B6B7}"/>
          </ac:spMkLst>
        </pc:spChg>
        <pc:spChg chg="add del mod">
          <ac:chgData name="Steiner Andreas 6206 ED" userId="e6377c33-a923-4f14-8587-531c474c7b48" providerId="ADAL" clId="{6ECD27E6-B224-41CD-B4E0-E297462320DD}" dt="2023-11-24T08:47:29.909" v="69874"/>
          <ac:spMkLst>
            <pc:docMk/>
            <pc:sldMk cId="2752045962" sldId="2147473973"/>
            <ac:spMk id="458" creationId="{FC8FFD68-F0FB-1338-B9B8-FA14572E2338}"/>
          </ac:spMkLst>
        </pc:spChg>
        <pc:spChg chg="add del mod">
          <ac:chgData name="Steiner Andreas 6206 ED" userId="e6377c33-a923-4f14-8587-531c474c7b48" providerId="ADAL" clId="{6ECD27E6-B224-41CD-B4E0-E297462320DD}" dt="2023-11-24T08:47:31.877" v="70029"/>
          <ac:spMkLst>
            <pc:docMk/>
            <pc:sldMk cId="2752045962" sldId="2147473973"/>
            <ac:spMk id="459" creationId="{B1E4D510-EEC3-624C-3AA0-19A693EB53DE}"/>
          </ac:spMkLst>
        </pc:spChg>
        <pc:spChg chg="add del mod">
          <ac:chgData name="Steiner Andreas 6206 ED" userId="e6377c33-a923-4f14-8587-531c474c7b48" providerId="ADAL" clId="{6ECD27E6-B224-41CD-B4E0-E297462320DD}" dt="2023-11-24T08:47:33.867" v="70184"/>
          <ac:spMkLst>
            <pc:docMk/>
            <pc:sldMk cId="2752045962" sldId="2147473973"/>
            <ac:spMk id="460" creationId="{812A7AEF-8365-3DCF-B6F8-5315CF620C6F}"/>
          </ac:spMkLst>
        </pc:spChg>
        <pc:spChg chg="add del mod">
          <ac:chgData name="Steiner Andreas 6206 ED" userId="e6377c33-a923-4f14-8587-531c474c7b48" providerId="ADAL" clId="{6ECD27E6-B224-41CD-B4E0-E297462320DD}" dt="2023-11-24T08:47:36.025" v="70339"/>
          <ac:spMkLst>
            <pc:docMk/>
            <pc:sldMk cId="2752045962" sldId="2147473973"/>
            <ac:spMk id="461" creationId="{140EFCD2-CB29-D393-B534-1BF98FA3BB46}"/>
          </ac:spMkLst>
        </pc:spChg>
        <pc:spChg chg="add del mod">
          <ac:chgData name="Steiner Andreas 6206 ED" userId="e6377c33-a923-4f14-8587-531c474c7b48" providerId="ADAL" clId="{6ECD27E6-B224-41CD-B4E0-E297462320DD}" dt="2023-11-24T08:47:38.127" v="70494"/>
          <ac:spMkLst>
            <pc:docMk/>
            <pc:sldMk cId="2752045962" sldId="2147473973"/>
            <ac:spMk id="462" creationId="{14B903E2-D759-8734-246C-59B6AA18F187}"/>
          </ac:spMkLst>
        </pc:spChg>
        <pc:spChg chg="add del mod">
          <ac:chgData name="Steiner Andreas 6206 ED" userId="e6377c33-a923-4f14-8587-531c474c7b48" providerId="ADAL" clId="{6ECD27E6-B224-41CD-B4E0-E297462320DD}" dt="2023-11-24T08:47:40.212" v="70649"/>
          <ac:spMkLst>
            <pc:docMk/>
            <pc:sldMk cId="2752045962" sldId="2147473973"/>
            <ac:spMk id="463" creationId="{D9EC0353-22CD-453C-B90E-2C6552B68B55}"/>
          </ac:spMkLst>
        </pc:spChg>
        <pc:spChg chg="add del mod">
          <ac:chgData name="Steiner Andreas 6206 ED" userId="e6377c33-a923-4f14-8587-531c474c7b48" providerId="ADAL" clId="{6ECD27E6-B224-41CD-B4E0-E297462320DD}" dt="2023-11-24T08:47:42.125" v="70804"/>
          <ac:spMkLst>
            <pc:docMk/>
            <pc:sldMk cId="2752045962" sldId="2147473973"/>
            <ac:spMk id="464" creationId="{0E42651F-E0FA-B948-9611-567766B4DA8F}"/>
          </ac:spMkLst>
        </pc:spChg>
        <pc:spChg chg="add del mod">
          <ac:chgData name="Steiner Andreas 6206 ED" userId="e6377c33-a923-4f14-8587-531c474c7b48" providerId="ADAL" clId="{6ECD27E6-B224-41CD-B4E0-E297462320DD}" dt="2023-11-24T08:47:44.046" v="70959"/>
          <ac:spMkLst>
            <pc:docMk/>
            <pc:sldMk cId="2752045962" sldId="2147473973"/>
            <ac:spMk id="465" creationId="{BE48E862-9D3D-5A4E-135D-2CF6E082CCF2}"/>
          </ac:spMkLst>
        </pc:spChg>
        <pc:spChg chg="add del mod">
          <ac:chgData name="Steiner Andreas 6206 ED" userId="e6377c33-a923-4f14-8587-531c474c7b48" providerId="ADAL" clId="{6ECD27E6-B224-41CD-B4E0-E297462320DD}" dt="2023-11-24T08:47:45.986" v="71114"/>
          <ac:spMkLst>
            <pc:docMk/>
            <pc:sldMk cId="2752045962" sldId="2147473973"/>
            <ac:spMk id="466" creationId="{66554121-7338-4E6E-2F70-56C6B3A77F6C}"/>
          </ac:spMkLst>
        </pc:spChg>
        <pc:spChg chg="add del mod">
          <ac:chgData name="Steiner Andreas 6206 ED" userId="e6377c33-a923-4f14-8587-531c474c7b48" providerId="ADAL" clId="{6ECD27E6-B224-41CD-B4E0-E297462320DD}" dt="2023-11-24T08:47:48.068" v="71269"/>
          <ac:spMkLst>
            <pc:docMk/>
            <pc:sldMk cId="2752045962" sldId="2147473973"/>
            <ac:spMk id="467" creationId="{7C98CFD4-964B-6853-ED2D-3884D46691C1}"/>
          </ac:spMkLst>
        </pc:spChg>
        <pc:spChg chg="add del mod">
          <ac:chgData name="Steiner Andreas 6206 ED" userId="e6377c33-a923-4f14-8587-531c474c7b48" providerId="ADAL" clId="{6ECD27E6-B224-41CD-B4E0-E297462320DD}" dt="2023-11-24T08:47:50.173" v="71424"/>
          <ac:spMkLst>
            <pc:docMk/>
            <pc:sldMk cId="2752045962" sldId="2147473973"/>
            <ac:spMk id="468" creationId="{882E19E8-C778-F925-DEC2-FAF99E81F257}"/>
          </ac:spMkLst>
        </pc:spChg>
        <pc:spChg chg="add del mod">
          <ac:chgData name="Steiner Andreas 6206 ED" userId="e6377c33-a923-4f14-8587-531c474c7b48" providerId="ADAL" clId="{6ECD27E6-B224-41CD-B4E0-E297462320DD}" dt="2023-11-24T08:47:52.078" v="71579"/>
          <ac:spMkLst>
            <pc:docMk/>
            <pc:sldMk cId="2752045962" sldId="2147473973"/>
            <ac:spMk id="469" creationId="{FD4ABCCC-286E-991B-DA61-849BCA75FAE9}"/>
          </ac:spMkLst>
        </pc:spChg>
        <pc:spChg chg="add del mod">
          <ac:chgData name="Steiner Andreas 6206 ED" userId="e6377c33-a923-4f14-8587-531c474c7b48" providerId="ADAL" clId="{6ECD27E6-B224-41CD-B4E0-E297462320DD}" dt="2023-11-24T08:47:54.027" v="71734"/>
          <ac:spMkLst>
            <pc:docMk/>
            <pc:sldMk cId="2752045962" sldId="2147473973"/>
            <ac:spMk id="470" creationId="{B3C7D4E2-8BF8-64FB-1490-94EDACA27EDF}"/>
          </ac:spMkLst>
        </pc:spChg>
        <pc:spChg chg="add del mod">
          <ac:chgData name="Steiner Andreas 6206 ED" userId="e6377c33-a923-4f14-8587-531c474c7b48" providerId="ADAL" clId="{6ECD27E6-B224-41CD-B4E0-E297462320DD}" dt="2023-11-24T08:47:55.868" v="71889"/>
          <ac:spMkLst>
            <pc:docMk/>
            <pc:sldMk cId="2752045962" sldId="2147473973"/>
            <ac:spMk id="471" creationId="{06290369-D9B4-761C-858C-4BDD95388BAC}"/>
          </ac:spMkLst>
        </pc:spChg>
        <pc:spChg chg="add del mod">
          <ac:chgData name="Steiner Andreas 6206 ED" userId="e6377c33-a923-4f14-8587-531c474c7b48" providerId="ADAL" clId="{6ECD27E6-B224-41CD-B4E0-E297462320DD}" dt="2023-11-24T08:47:57.866" v="72044"/>
          <ac:spMkLst>
            <pc:docMk/>
            <pc:sldMk cId="2752045962" sldId="2147473973"/>
            <ac:spMk id="472" creationId="{2CA76F9D-39DF-D7EA-0A9D-D24B3DECD7ED}"/>
          </ac:spMkLst>
        </pc:spChg>
        <pc:spChg chg="add del mod">
          <ac:chgData name="Steiner Andreas 6206 ED" userId="e6377c33-a923-4f14-8587-531c474c7b48" providerId="ADAL" clId="{6ECD27E6-B224-41CD-B4E0-E297462320DD}" dt="2023-11-24T08:47:59.994" v="72199"/>
          <ac:spMkLst>
            <pc:docMk/>
            <pc:sldMk cId="2752045962" sldId="2147473973"/>
            <ac:spMk id="473" creationId="{3585539E-6D5E-C7CC-25F5-31B607F74F16}"/>
          </ac:spMkLst>
        </pc:spChg>
        <pc:spChg chg="add del mod">
          <ac:chgData name="Steiner Andreas 6206 ED" userId="e6377c33-a923-4f14-8587-531c474c7b48" providerId="ADAL" clId="{6ECD27E6-B224-41CD-B4E0-E297462320DD}" dt="2023-11-24T08:48:02.124" v="72354"/>
          <ac:spMkLst>
            <pc:docMk/>
            <pc:sldMk cId="2752045962" sldId="2147473973"/>
            <ac:spMk id="474" creationId="{A22E0DB4-C049-1152-A698-E06ED560A283}"/>
          </ac:spMkLst>
        </pc:spChg>
        <pc:spChg chg="add del mod">
          <ac:chgData name="Steiner Andreas 6206 ED" userId="e6377c33-a923-4f14-8587-531c474c7b48" providerId="ADAL" clId="{6ECD27E6-B224-41CD-B4E0-E297462320DD}" dt="2023-11-24T08:48:04.150" v="72509"/>
          <ac:spMkLst>
            <pc:docMk/>
            <pc:sldMk cId="2752045962" sldId="2147473973"/>
            <ac:spMk id="475" creationId="{7A2F23F9-394A-A4B7-D18E-2478E9482F6A}"/>
          </ac:spMkLst>
        </pc:spChg>
        <pc:spChg chg="add del mod">
          <ac:chgData name="Steiner Andreas 6206 ED" userId="e6377c33-a923-4f14-8587-531c474c7b48" providerId="ADAL" clId="{6ECD27E6-B224-41CD-B4E0-E297462320DD}" dt="2023-11-24T08:48:06.375" v="72664"/>
          <ac:spMkLst>
            <pc:docMk/>
            <pc:sldMk cId="2752045962" sldId="2147473973"/>
            <ac:spMk id="476" creationId="{02AED28F-B2EE-9307-0E00-4931EF492CBD}"/>
          </ac:spMkLst>
        </pc:spChg>
        <pc:spChg chg="add del mod">
          <ac:chgData name="Steiner Andreas 6206 ED" userId="e6377c33-a923-4f14-8587-531c474c7b48" providerId="ADAL" clId="{6ECD27E6-B224-41CD-B4E0-E297462320DD}" dt="2023-11-24T08:48:08.507" v="72819"/>
          <ac:spMkLst>
            <pc:docMk/>
            <pc:sldMk cId="2752045962" sldId="2147473973"/>
            <ac:spMk id="477" creationId="{CF7E2067-D164-A33B-B745-CF5D4D01DF30}"/>
          </ac:spMkLst>
        </pc:spChg>
        <pc:spChg chg="add del mod">
          <ac:chgData name="Steiner Andreas 6206 ED" userId="e6377c33-a923-4f14-8587-531c474c7b48" providerId="ADAL" clId="{6ECD27E6-B224-41CD-B4E0-E297462320DD}" dt="2023-11-24T08:48:10.569" v="72974"/>
          <ac:spMkLst>
            <pc:docMk/>
            <pc:sldMk cId="2752045962" sldId="2147473973"/>
            <ac:spMk id="478" creationId="{CC29B95C-C72F-95CE-A34B-70B04A2A0A4F}"/>
          </ac:spMkLst>
        </pc:spChg>
        <pc:spChg chg="add del mod">
          <ac:chgData name="Steiner Andreas 6206 ED" userId="e6377c33-a923-4f14-8587-531c474c7b48" providerId="ADAL" clId="{6ECD27E6-B224-41CD-B4E0-E297462320DD}" dt="2023-11-24T08:48:12.537" v="73129"/>
          <ac:spMkLst>
            <pc:docMk/>
            <pc:sldMk cId="2752045962" sldId="2147473973"/>
            <ac:spMk id="479" creationId="{BEE3707E-4286-DE40-25B8-4E7F792E0F5D}"/>
          </ac:spMkLst>
        </pc:spChg>
        <pc:spChg chg="add del mod">
          <ac:chgData name="Steiner Andreas 6206 ED" userId="e6377c33-a923-4f14-8587-531c474c7b48" providerId="ADAL" clId="{6ECD27E6-B224-41CD-B4E0-E297462320DD}" dt="2023-11-24T08:48:15.080" v="73284"/>
          <ac:spMkLst>
            <pc:docMk/>
            <pc:sldMk cId="2752045962" sldId="2147473973"/>
            <ac:spMk id="480" creationId="{C041C332-144A-2282-67BD-54D4B44D9487}"/>
          </ac:spMkLst>
        </pc:spChg>
        <pc:spChg chg="add del mod">
          <ac:chgData name="Steiner Andreas 6206 ED" userId="e6377c33-a923-4f14-8587-531c474c7b48" providerId="ADAL" clId="{6ECD27E6-B224-41CD-B4E0-E297462320DD}" dt="2023-11-24T08:48:17.877" v="73439"/>
          <ac:spMkLst>
            <pc:docMk/>
            <pc:sldMk cId="2752045962" sldId="2147473973"/>
            <ac:spMk id="481" creationId="{1371561C-818A-44A5-AF86-CF01DDFB29CC}"/>
          </ac:spMkLst>
        </pc:spChg>
        <pc:spChg chg="add del mod">
          <ac:chgData name="Steiner Andreas 6206 ED" userId="e6377c33-a923-4f14-8587-531c474c7b48" providerId="ADAL" clId="{6ECD27E6-B224-41CD-B4E0-E297462320DD}" dt="2023-11-24T08:48:20.372" v="73594"/>
          <ac:spMkLst>
            <pc:docMk/>
            <pc:sldMk cId="2752045962" sldId="2147473973"/>
            <ac:spMk id="482" creationId="{1B7A7D90-DCA1-8304-05F6-6B269777B2FB}"/>
          </ac:spMkLst>
        </pc:spChg>
        <pc:spChg chg="add del mod">
          <ac:chgData name="Steiner Andreas 6206 ED" userId="e6377c33-a923-4f14-8587-531c474c7b48" providerId="ADAL" clId="{6ECD27E6-B224-41CD-B4E0-E297462320DD}" dt="2023-11-24T08:48:22.515" v="73749"/>
          <ac:spMkLst>
            <pc:docMk/>
            <pc:sldMk cId="2752045962" sldId="2147473973"/>
            <ac:spMk id="483" creationId="{BBD6C39E-5F2C-50ED-4C42-376FB076F4BE}"/>
          </ac:spMkLst>
        </pc:spChg>
        <pc:spChg chg="add del mod">
          <ac:chgData name="Steiner Andreas 6206 ED" userId="e6377c33-a923-4f14-8587-531c474c7b48" providerId="ADAL" clId="{6ECD27E6-B224-41CD-B4E0-E297462320DD}" dt="2023-11-24T08:48:24.587" v="73904"/>
          <ac:spMkLst>
            <pc:docMk/>
            <pc:sldMk cId="2752045962" sldId="2147473973"/>
            <ac:spMk id="484" creationId="{15B0E7A8-AC30-31A1-7706-281D0B140ECB}"/>
          </ac:spMkLst>
        </pc:spChg>
        <pc:spChg chg="add del mod">
          <ac:chgData name="Steiner Andreas 6206 ED" userId="e6377c33-a923-4f14-8587-531c474c7b48" providerId="ADAL" clId="{6ECD27E6-B224-41CD-B4E0-E297462320DD}" dt="2023-11-24T08:48:26.693" v="74059"/>
          <ac:spMkLst>
            <pc:docMk/>
            <pc:sldMk cId="2752045962" sldId="2147473973"/>
            <ac:spMk id="485" creationId="{993857BF-EDC7-E70F-44D3-4FB12CAF5152}"/>
          </ac:spMkLst>
        </pc:spChg>
        <pc:spChg chg="add del mod">
          <ac:chgData name="Steiner Andreas 6206 ED" userId="e6377c33-a923-4f14-8587-531c474c7b48" providerId="ADAL" clId="{6ECD27E6-B224-41CD-B4E0-E297462320DD}" dt="2023-11-24T08:48:28.697" v="74214"/>
          <ac:spMkLst>
            <pc:docMk/>
            <pc:sldMk cId="2752045962" sldId="2147473973"/>
            <ac:spMk id="486" creationId="{ABCED39F-B4D6-0E05-0351-3428C93EE64A}"/>
          </ac:spMkLst>
        </pc:spChg>
        <pc:spChg chg="add del mod">
          <ac:chgData name="Steiner Andreas 6206 ED" userId="e6377c33-a923-4f14-8587-531c474c7b48" providerId="ADAL" clId="{6ECD27E6-B224-41CD-B4E0-E297462320DD}" dt="2023-11-24T08:48:30.571" v="74369"/>
          <ac:spMkLst>
            <pc:docMk/>
            <pc:sldMk cId="2752045962" sldId="2147473973"/>
            <ac:spMk id="487" creationId="{1B0DB389-9C74-406B-E7F6-092A0B0E7CC3}"/>
          </ac:spMkLst>
        </pc:spChg>
        <pc:spChg chg="add del mod">
          <ac:chgData name="Steiner Andreas 6206 ED" userId="e6377c33-a923-4f14-8587-531c474c7b48" providerId="ADAL" clId="{6ECD27E6-B224-41CD-B4E0-E297462320DD}" dt="2023-11-24T08:48:32.551" v="74524"/>
          <ac:spMkLst>
            <pc:docMk/>
            <pc:sldMk cId="2752045962" sldId="2147473973"/>
            <ac:spMk id="488" creationId="{88D89FE7-6B1E-393C-1F05-51E47DB18BBD}"/>
          </ac:spMkLst>
        </pc:spChg>
        <pc:spChg chg="add del mod">
          <ac:chgData name="Steiner Andreas 6206 ED" userId="e6377c33-a923-4f14-8587-531c474c7b48" providerId="ADAL" clId="{6ECD27E6-B224-41CD-B4E0-E297462320DD}" dt="2023-11-24T08:48:34.831" v="74679"/>
          <ac:spMkLst>
            <pc:docMk/>
            <pc:sldMk cId="2752045962" sldId="2147473973"/>
            <ac:spMk id="489" creationId="{3615E95B-93E9-51B3-A1C8-EDBE310E86E2}"/>
          </ac:spMkLst>
        </pc:spChg>
        <pc:spChg chg="add del mod">
          <ac:chgData name="Steiner Andreas 6206 ED" userId="e6377c33-a923-4f14-8587-531c474c7b48" providerId="ADAL" clId="{6ECD27E6-B224-41CD-B4E0-E297462320DD}" dt="2023-11-24T08:48:36.963" v="74834"/>
          <ac:spMkLst>
            <pc:docMk/>
            <pc:sldMk cId="2752045962" sldId="2147473973"/>
            <ac:spMk id="490" creationId="{B55E46D5-50E1-3C97-8E02-DC03CA33D379}"/>
          </ac:spMkLst>
        </pc:spChg>
        <pc:spChg chg="add del mod">
          <ac:chgData name="Steiner Andreas 6206 ED" userId="e6377c33-a923-4f14-8587-531c474c7b48" providerId="ADAL" clId="{6ECD27E6-B224-41CD-B4E0-E297462320DD}" dt="2023-11-24T08:48:39.024" v="74989"/>
          <ac:spMkLst>
            <pc:docMk/>
            <pc:sldMk cId="2752045962" sldId="2147473973"/>
            <ac:spMk id="491" creationId="{56DD546B-5A36-8C56-CEF1-8BB4C6C1ACEA}"/>
          </ac:spMkLst>
        </pc:spChg>
        <pc:spChg chg="add del mod">
          <ac:chgData name="Steiner Andreas 6206 ED" userId="e6377c33-a923-4f14-8587-531c474c7b48" providerId="ADAL" clId="{6ECD27E6-B224-41CD-B4E0-E297462320DD}" dt="2023-11-24T08:48:41.165" v="75144"/>
          <ac:spMkLst>
            <pc:docMk/>
            <pc:sldMk cId="2752045962" sldId="2147473973"/>
            <ac:spMk id="492" creationId="{41BCD040-D06D-AE94-E7D1-40F423BFC986}"/>
          </ac:spMkLst>
        </pc:spChg>
        <pc:spChg chg="add del mod">
          <ac:chgData name="Steiner Andreas 6206 ED" userId="e6377c33-a923-4f14-8587-531c474c7b48" providerId="ADAL" clId="{6ECD27E6-B224-41CD-B4E0-E297462320DD}" dt="2023-11-24T08:48:43.597" v="75299"/>
          <ac:spMkLst>
            <pc:docMk/>
            <pc:sldMk cId="2752045962" sldId="2147473973"/>
            <ac:spMk id="493" creationId="{E17A2158-C882-EAC8-1689-147EA577A145}"/>
          </ac:spMkLst>
        </pc:spChg>
        <pc:spChg chg="add del mod">
          <ac:chgData name="Steiner Andreas 6206 ED" userId="e6377c33-a923-4f14-8587-531c474c7b48" providerId="ADAL" clId="{6ECD27E6-B224-41CD-B4E0-E297462320DD}" dt="2023-11-24T08:48:45.905" v="75454"/>
          <ac:spMkLst>
            <pc:docMk/>
            <pc:sldMk cId="2752045962" sldId="2147473973"/>
            <ac:spMk id="494" creationId="{164A8438-9EF1-BB05-9C80-96A46FDA40B2}"/>
          </ac:spMkLst>
        </pc:spChg>
        <pc:spChg chg="add del mod">
          <ac:chgData name="Steiner Andreas 6206 ED" userId="e6377c33-a923-4f14-8587-531c474c7b48" providerId="ADAL" clId="{6ECD27E6-B224-41CD-B4E0-E297462320DD}" dt="2023-11-24T08:48:47.937" v="75609"/>
          <ac:spMkLst>
            <pc:docMk/>
            <pc:sldMk cId="2752045962" sldId="2147473973"/>
            <ac:spMk id="495" creationId="{27E440B6-49D4-4CCA-5264-AFA4FF9AE991}"/>
          </ac:spMkLst>
        </pc:spChg>
        <pc:spChg chg="add del mod">
          <ac:chgData name="Steiner Andreas 6206 ED" userId="e6377c33-a923-4f14-8587-531c474c7b48" providerId="ADAL" clId="{6ECD27E6-B224-41CD-B4E0-E297462320DD}" dt="2023-11-24T08:48:49.907" v="75764"/>
          <ac:spMkLst>
            <pc:docMk/>
            <pc:sldMk cId="2752045962" sldId="2147473973"/>
            <ac:spMk id="496" creationId="{C9A87133-FCE9-5E83-BD33-9682E025F910}"/>
          </ac:spMkLst>
        </pc:spChg>
        <pc:spChg chg="add del mod">
          <ac:chgData name="Steiner Andreas 6206 ED" userId="e6377c33-a923-4f14-8587-531c474c7b48" providerId="ADAL" clId="{6ECD27E6-B224-41CD-B4E0-E297462320DD}" dt="2023-11-24T08:48:52.135" v="75919"/>
          <ac:spMkLst>
            <pc:docMk/>
            <pc:sldMk cId="2752045962" sldId="2147473973"/>
            <ac:spMk id="497" creationId="{CD4F56A6-ECC5-1BCE-C9D4-672BA07C2B0C}"/>
          </ac:spMkLst>
        </pc:spChg>
        <pc:spChg chg="add del mod">
          <ac:chgData name="Steiner Andreas 6206 ED" userId="e6377c33-a923-4f14-8587-531c474c7b48" providerId="ADAL" clId="{6ECD27E6-B224-41CD-B4E0-E297462320DD}" dt="2023-11-24T08:48:54.032" v="76074"/>
          <ac:spMkLst>
            <pc:docMk/>
            <pc:sldMk cId="2752045962" sldId="2147473973"/>
            <ac:spMk id="498" creationId="{C30634DC-DDC6-316F-FD9A-EC8FE61AC8EA}"/>
          </ac:spMkLst>
        </pc:spChg>
        <pc:spChg chg="add del mod">
          <ac:chgData name="Steiner Andreas 6206 ED" userId="e6377c33-a923-4f14-8587-531c474c7b48" providerId="ADAL" clId="{6ECD27E6-B224-41CD-B4E0-E297462320DD}" dt="2023-11-24T08:48:56.042" v="76229"/>
          <ac:spMkLst>
            <pc:docMk/>
            <pc:sldMk cId="2752045962" sldId="2147473973"/>
            <ac:spMk id="499" creationId="{2098917D-7153-8CAC-5FAE-A92B5FE9F015}"/>
          </ac:spMkLst>
        </pc:spChg>
        <pc:spChg chg="add del mod">
          <ac:chgData name="Steiner Andreas 6206 ED" userId="e6377c33-a923-4f14-8587-531c474c7b48" providerId="ADAL" clId="{6ECD27E6-B224-41CD-B4E0-E297462320DD}" dt="2023-11-24T08:48:57.979" v="76384"/>
          <ac:spMkLst>
            <pc:docMk/>
            <pc:sldMk cId="2752045962" sldId="2147473973"/>
            <ac:spMk id="500" creationId="{DCEE7965-86D6-554A-8C27-1DAA8943C459}"/>
          </ac:spMkLst>
        </pc:spChg>
        <pc:spChg chg="add del mod">
          <ac:chgData name="Steiner Andreas 6206 ED" userId="e6377c33-a923-4f14-8587-531c474c7b48" providerId="ADAL" clId="{6ECD27E6-B224-41CD-B4E0-E297462320DD}" dt="2023-11-24T08:49:00.040" v="76539"/>
          <ac:spMkLst>
            <pc:docMk/>
            <pc:sldMk cId="2752045962" sldId="2147473973"/>
            <ac:spMk id="501" creationId="{11182313-0BDB-3996-39C7-45330CC2DE5B}"/>
          </ac:spMkLst>
        </pc:spChg>
        <pc:spChg chg="add del mod">
          <ac:chgData name="Steiner Andreas 6206 ED" userId="e6377c33-a923-4f14-8587-531c474c7b48" providerId="ADAL" clId="{6ECD27E6-B224-41CD-B4E0-E297462320DD}" dt="2023-11-24T08:49:02.007" v="76694"/>
          <ac:spMkLst>
            <pc:docMk/>
            <pc:sldMk cId="2752045962" sldId="2147473973"/>
            <ac:spMk id="502" creationId="{F0FEE66A-8F98-7A90-BE86-AC0BA8803933}"/>
          </ac:spMkLst>
        </pc:spChg>
        <pc:spChg chg="add del mod">
          <ac:chgData name="Steiner Andreas 6206 ED" userId="e6377c33-a923-4f14-8587-531c474c7b48" providerId="ADAL" clId="{6ECD27E6-B224-41CD-B4E0-E297462320DD}" dt="2023-11-24T08:49:03.971" v="76849"/>
          <ac:spMkLst>
            <pc:docMk/>
            <pc:sldMk cId="2752045962" sldId="2147473973"/>
            <ac:spMk id="503" creationId="{C1A72CA0-8376-55D6-5D0A-256BC8F699FA}"/>
          </ac:spMkLst>
        </pc:spChg>
        <pc:spChg chg="add del mod">
          <ac:chgData name="Steiner Andreas 6206 ED" userId="e6377c33-a923-4f14-8587-531c474c7b48" providerId="ADAL" clId="{6ECD27E6-B224-41CD-B4E0-E297462320DD}" dt="2023-11-24T08:49:05.873" v="77004"/>
          <ac:spMkLst>
            <pc:docMk/>
            <pc:sldMk cId="2752045962" sldId="2147473973"/>
            <ac:spMk id="504" creationId="{C11DE723-3161-C040-FC8B-E78B91BB5764}"/>
          </ac:spMkLst>
        </pc:spChg>
        <pc:spChg chg="add del mod">
          <ac:chgData name="Steiner Andreas 6206 ED" userId="e6377c33-a923-4f14-8587-531c474c7b48" providerId="ADAL" clId="{6ECD27E6-B224-41CD-B4E0-E297462320DD}" dt="2023-11-24T08:49:07.978" v="77159"/>
          <ac:spMkLst>
            <pc:docMk/>
            <pc:sldMk cId="2752045962" sldId="2147473973"/>
            <ac:spMk id="505" creationId="{EF1A24F0-1E97-25AC-243A-FCFC73AE6DDC}"/>
          </ac:spMkLst>
        </pc:spChg>
        <pc:spChg chg="add del mod">
          <ac:chgData name="Steiner Andreas 6206 ED" userId="e6377c33-a923-4f14-8587-531c474c7b48" providerId="ADAL" clId="{6ECD27E6-B224-41CD-B4E0-E297462320DD}" dt="2023-11-24T08:49:09.861" v="77314"/>
          <ac:spMkLst>
            <pc:docMk/>
            <pc:sldMk cId="2752045962" sldId="2147473973"/>
            <ac:spMk id="506" creationId="{234F86E2-9B73-9361-033D-5BC06FE700A0}"/>
          </ac:spMkLst>
        </pc:spChg>
        <pc:spChg chg="add del mod">
          <ac:chgData name="Steiner Andreas 6206 ED" userId="e6377c33-a923-4f14-8587-531c474c7b48" providerId="ADAL" clId="{6ECD27E6-B224-41CD-B4E0-E297462320DD}" dt="2023-11-24T08:49:11.641" v="77469"/>
          <ac:spMkLst>
            <pc:docMk/>
            <pc:sldMk cId="2752045962" sldId="2147473973"/>
            <ac:spMk id="507" creationId="{1B26A1C8-3CCA-6655-7257-23A28B570E40}"/>
          </ac:spMkLst>
        </pc:spChg>
        <pc:spChg chg="add del mod">
          <ac:chgData name="Steiner Andreas 6206 ED" userId="e6377c33-a923-4f14-8587-531c474c7b48" providerId="ADAL" clId="{6ECD27E6-B224-41CD-B4E0-E297462320DD}" dt="2023-11-24T08:49:13.752" v="77624"/>
          <ac:spMkLst>
            <pc:docMk/>
            <pc:sldMk cId="2752045962" sldId="2147473973"/>
            <ac:spMk id="508" creationId="{940FEE00-5C64-3AC8-B296-09FB7721B6FE}"/>
          </ac:spMkLst>
        </pc:spChg>
        <pc:spChg chg="add del mod">
          <ac:chgData name="Steiner Andreas 6206 ED" userId="e6377c33-a923-4f14-8587-531c474c7b48" providerId="ADAL" clId="{6ECD27E6-B224-41CD-B4E0-E297462320DD}" dt="2023-11-24T08:49:15.738" v="77779"/>
          <ac:spMkLst>
            <pc:docMk/>
            <pc:sldMk cId="2752045962" sldId="2147473973"/>
            <ac:spMk id="509" creationId="{1C364B20-2729-8E27-EE1E-CBC7DCEE921E}"/>
          </ac:spMkLst>
        </pc:spChg>
        <pc:spChg chg="add del mod">
          <ac:chgData name="Steiner Andreas 6206 ED" userId="e6377c33-a923-4f14-8587-531c474c7b48" providerId="ADAL" clId="{6ECD27E6-B224-41CD-B4E0-E297462320DD}" dt="2023-11-24T08:49:17.775" v="77934"/>
          <ac:spMkLst>
            <pc:docMk/>
            <pc:sldMk cId="2752045962" sldId="2147473973"/>
            <ac:spMk id="510" creationId="{6F496FC7-FCF0-0227-3044-16F9C174090C}"/>
          </ac:spMkLst>
        </pc:spChg>
        <pc:spChg chg="add del mod">
          <ac:chgData name="Steiner Andreas 6206 ED" userId="e6377c33-a923-4f14-8587-531c474c7b48" providerId="ADAL" clId="{6ECD27E6-B224-41CD-B4E0-E297462320DD}" dt="2023-11-24T08:49:19.817" v="78089"/>
          <ac:spMkLst>
            <pc:docMk/>
            <pc:sldMk cId="2752045962" sldId="2147473973"/>
            <ac:spMk id="511" creationId="{095402A6-E45B-6A74-D51F-E49A7786A6BC}"/>
          </ac:spMkLst>
        </pc:spChg>
        <pc:spChg chg="add del mod">
          <ac:chgData name="Steiner Andreas 6206 ED" userId="e6377c33-a923-4f14-8587-531c474c7b48" providerId="ADAL" clId="{6ECD27E6-B224-41CD-B4E0-E297462320DD}" dt="2023-11-24T08:49:21.708" v="78244"/>
          <ac:spMkLst>
            <pc:docMk/>
            <pc:sldMk cId="2752045962" sldId="2147473973"/>
            <ac:spMk id="512" creationId="{2A61A6E4-2C69-BC84-3271-410409BBEE23}"/>
          </ac:spMkLst>
        </pc:spChg>
        <pc:spChg chg="add del mod">
          <ac:chgData name="Steiner Andreas 6206 ED" userId="e6377c33-a923-4f14-8587-531c474c7b48" providerId="ADAL" clId="{6ECD27E6-B224-41CD-B4E0-E297462320DD}" dt="2023-11-24T08:49:23.623" v="78399"/>
          <ac:spMkLst>
            <pc:docMk/>
            <pc:sldMk cId="2752045962" sldId="2147473973"/>
            <ac:spMk id="513" creationId="{89428052-C5A2-4338-C71E-C90242888E13}"/>
          </ac:spMkLst>
        </pc:spChg>
        <pc:spChg chg="add del mod">
          <ac:chgData name="Steiner Andreas 6206 ED" userId="e6377c33-a923-4f14-8587-531c474c7b48" providerId="ADAL" clId="{6ECD27E6-B224-41CD-B4E0-E297462320DD}" dt="2023-11-24T08:49:25.492" v="78554"/>
          <ac:spMkLst>
            <pc:docMk/>
            <pc:sldMk cId="2752045962" sldId="2147473973"/>
            <ac:spMk id="514" creationId="{7D522EE6-77FA-59C3-3A2D-2F80CF045FB0}"/>
          </ac:spMkLst>
        </pc:spChg>
        <pc:spChg chg="add del mod">
          <ac:chgData name="Steiner Andreas 6206 ED" userId="e6377c33-a923-4f14-8587-531c474c7b48" providerId="ADAL" clId="{6ECD27E6-B224-41CD-B4E0-E297462320DD}" dt="2023-11-24T08:49:27.566" v="78709"/>
          <ac:spMkLst>
            <pc:docMk/>
            <pc:sldMk cId="2752045962" sldId="2147473973"/>
            <ac:spMk id="515" creationId="{DB8FAB58-DBBD-722D-0B3B-854045BD3F9A}"/>
          </ac:spMkLst>
        </pc:spChg>
        <pc:spChg chg="add del mod">
          <ac:chgData name="Steiner Andreas 6206 ED" userId="e6377c33-a923-4f14-8587-531c474c7b48" providerId="ADAL" clId="{6ECD27E6-B224-41CD-B4E0-E297462320DD}" dt="2023-11-24T08:49:29.598" v="78864"/>
          <ac:spMkLst>
            <pc:docMk/>
            <pc:sldMk cId="2752045962" sldId="2147473973"/>
            <ac:spMk id="516" creationId="{64DA4DA2-A1B5-CACE-BBC6-AC57A56BBE87}"/>
          </ac:spMkLst>
        </pc:spChg>
        <pc:spChg chg="add del mod">
          <ac:chgData name="Steiner Andreas 6206 ED" userId="e6377c33-a923-4f14-8587-531c474c7b48" providerId="ADAL" clId="{6ECD27E6-B224-41CD-B4E0-E297462320DD}" dt="2023-11-24T08:49:31.521" v="79019"/>
          <ac:spMkLst>
            <pc:docMk/>
            <pc:sldMk cId="2752045962" sldId="2147473973"/>
            <ac:spMk id="517" creationId="{09A00439-BF36-A798-805C-E465C1F050F9}"/>
          </ac:spMkLst>
        </pc:spChg>
        <pc:spChg chg="add del mod">
          <ac:chgData name="Steiner Andreas 6206 ED" userId="e6377c33-a923-4f14-8587-531c474c7b48" providerId="ADAL" clId="{6ECD27E6-B224-41CD-B4E0-E297462320DD}" dt="2023-11-24T08:49:33.426" v="79174"/>
          <ac:spMkLst>
            <pc:docMk/>
            <pc:sldMk cId="2752045962" sldId="2147473973"/>
            <ac:spMk id="518" creationId="{512DB7F3-AFDF-B5B4-2C02-B7B2E54024BC}"/>
          </ac:spMkLst>
        </pc:spChg>
        <pc:spChg chg="add del mod">
          <ac:chgData name="Steiner Andreas 6206 ED" userId="e6377c33-a923-4f14-8587-531c474c7b48" providerId="ADAL" clId="{6ECD27E6-B224-41CD-B4E0-E297462320DD}" dt="2023-11-24T08:49:35.327" v="79329"/>
          <ac:spMkLst>
            <pc:docMk/>
            <pc:sldMk cId="2752045962" sldId="2147473973"/>
            <ac:spMk id="519" creationId="{87E2EF99-AE17-766F-178C-A502FD83C8F4}"/>
          </ac:spMkLst>
        </pc:spChg>
        <pc:spChg chg="add del mod">
          <ac:chgData name="Steiner Andreas 6206 ED" userId="e6377c33-a923-4f14-8587-531c474c7b48" providerId="ADAL" clId="{6ECD27E6-B224-41CD-B4E0-E297462320DD}" dt="2023-11-24T08:49:37.158" v="79484"/>
          <ac:spMkLst>
            <pc:docMk/>
            <pc:sldMk cId="2752045962" sldId="2147473973"/>
            <ac:spMk id="520" creationId="{A50D4F08-577C-72F3-A286-693E49B72C5F}"/>
          </ac:spMkLst>
        </pc:spChg>
        <pc:spChg chg="add del mod">
          <ac:chgData name="Steiner Andreas 6206 ED" userId="e6377c33-a923-4f14-8587-531c474c7b48" providerId="ADAL" clId="{6ECD27E6-B224-41CD-B4E0-E297462320DD}" dt="2023-11-24T08:49:39.117" v="79639"/>
          <ac:spMkLst>
            <pc:docMk/>
            <pc:sldMk cId="2752045962" sldId="2147473973"/>
            <ac:spMk id="521" creationId="{1ADACACD-0A11-BB93-8B03-0C6F0C0D6058}"/>
          </ac:spMkLst>
        </pc:spChg>
        <pc:spChg chg="add del mod">
          <ac:chgData name="Steiner Andreas 6206 ED" userId="e6377c33-a923-4f14-8587-531c474c7b48" providerId="ADAL" clId="{6ECD27E6-B224-41CD-B4E0-E297462320DD}" dt="2023-11-24T08:49:41.220" v="79794"/>
          <ac:spMkLst>
            <pc:docMk/>
            <pc:sldMk cId="2752045962" sldId="2147473973"/>
            <ac:spMk id="522" creationId="{C7A813AE-F56D-70D9-2421-37BE6E1C635A}"/>
          </ac:spMkLst>
        </pc:spChg>
        <pc:spChg chg="add del mod">
          <ac:chgData name="Steiner Andreas 6206 ED" userId="e6377c33-a923-4f14-8587-531c474c7b48" providerId="ADAL" clId="{6ECD27E6-B224-41CD-B4E0-E297462320DD}" dt="2023-11-24T08:49:43.126" v="79949"/>
          <ac:spMkLst>
            <pc:docMk/>
            <pc:sldMk cId="2752045962" sldId="2147473973"/>
            <ac:spMk id="523" creationId="{002F18AA-4927-6077-B9C6-8599A2E51A3A}"/>
          </ac:spMkLst>
        </pc:spChg>
        <pc:spChg chg="add del mod">
          <ac:chgData name="Steiner Andreas 6206 ED" userId="e6377c33-a923-4f14-8587-531c474c7b48" providerId="ADAL" clId="{6ECD27E6-B224-41CD-B4E0-E297462320DD}" dt="2023-11-24T08:49:45.070" v="80104"/>
          <ac:spMkLst>
            <pc:docMk/>
            <pc:sldMk cId="2752045962" sldId="2147473973"/>
            <ac:spMk id="524" creationId="{706FBE5F-97E9-E389-F635-090381212F4A}"/>
          </ac:spMkLst>
        </pc:spChg>
        <pc:spChg chg="add del mod">
          <ac:chgData name="Steiner Andreas 6206 ED" userId="e6377c33-a923-4f14-8587-531c474c7b48" providerId="ADAL" clId="{6ECD27E6-B224-41CD-B4E0-E297462320DD}" dt="2023-11-24T08:49:47.033" v="80259"/>
          <ac:spMkLst>
            <pc:docMk/>
            <pc:sldMk cId="2752045962" sldId="2147473973"/>
            <ac:spMk id="525" creationId="{FE637589-A854-598C-4312-D901AA1B6BA3}"/>
          </ac:spMkLst>
        </pc:spChg>
        <pc:spChg chg="add del mod">
          <ac:chgData name="Steiner Andreas 6206 ED" userId="e6377c33-a923-4f14-8587-531c474c7b48" providerId="ADAL" clId="{6ECD27E6-B224-41CD-B4E0-E297462320DD}" dt="2023-11-24T08:49:48.905" v="80414"/>
          <ac:spMkLst>
            <pc:docMk/>
            <pc:sldMk cId="2752045962" sldId="2147473973"/>
            <ac:spMk id="526" creationId="{D1FFD5AE-A049-29B1-D8DA-2BAE8A6663CE}"/>
          </ac:spMkLst>
        </pc:spChg>
        <pc:spChg chg="add del mod">
          <ac:chgData name="Steiner Andreas 6206 ED" userId="e6377c33-a923-4f14-8587-531c474c7b48" providerId="ADAL" clId="{6ECD27E6-B224-41CD-B4E0-E297462320DD}" dt="2023-11-24T08:49:50.805" v="80569"/>
          <ac:spMkLst>
            <pc:docMk/>
            <pc:sldMk cId="2752045962" sldId="2147473973"/>
            <ac:spMk id="527" creationId="{6EAB6BE9-BA54-BAE9-281B-2ABD6A1FD68F}"/>
          </ac:spMkLst>
        </pc:spChg>
        <pc:spChg chg="add del mod">
          <ac:chgData name="Steiner Andreas 6206 ED" userId="e6377c33-a923-4f14-8587-531c474c7b48" providerId="ADAL" clId="{6ECD27E6-B224-41CD-B4E0-E297462320DD}" dt="2023-11-24T08:49:52.731" v="80724"/>
          <ac:spMkLst>
            <pc:docMk/>
            <pc:sldMk cId="2752045962" sldId="2147473973"/>
            <ac:spMk id="528" creationId="{8D59B38B-83FC-9EDF-15C4-CDE0CADFC226}"/>
          </ac:spMkLst>
        </pc:spChg>
        <pc:spChg chg="add del mod">
          <ac:chgData name="Steiner Andreas 6206 ED" userId="e6377c33-a923-4f14-8587-531c474c7b48" providerId="ADAL" clId="{6ECD27E6-B224-41CD-B4E0-E297462320DD}" dt="2023-11-24T08:49:54.665" v="80879"/>
          <ac:spMkLst>
            <pc:docMk/>
            <pc:sldMk cId="2752045962" sldId="2147473973"/>
            <ac:spMk id="529" creationId="{487EE1C5-435B-BC63-FCE6-BC806016998E}"/>
          </ac:spMkLst>
        </pc:spChg>
        <pc:spChg chg="add del mod">
          <ac:chgData name="Steiner Andreas 6206 ED" userId="e6377c33-a923-4f14-8587-531c474c7b48" providerId="ADAL" clId="{6ECD27E6-B224-41CD-B4E0-E297462320DD}" dt="2023-11-24T08:49:56.534" v="81034"/>
          <ac:spMkLst>
            <pc:docMk/>
            <pc:sldMk cId="2752045962" sldId="2147473973"/>
            <ac:spMk id="530" creationId="{0E2F9664-D1F0-3660-6245-67B2C888D043}"/>
          </ac:spMkLst>
        </pc:spChg>
        <pc:spChg chg="add del mod">
          <ac:chgData name="Steiner Andreas 6206 ED" userId="e6377c33-a923-4f14-8587-531c474c7b48" providerId="ADAL" clId="{6ECD27E6-B224-41CD-B4E0-E297462320DD}" dt="2023-11-24T08:49:58.429" v="81189"/>
          <ac:spMkLst>
            <pc:docMk/>
            <pc:sldMk cId="2752045962" sldId="2147473973"/>
            <ac:spMk id="531" creationId="{C2BF7FF8-DE20-F546-A37A-20D468715346}"/>
          </ac:spMkLst>
        </pc:spChg>
        <pc:spChg chg="add del mod">
          <ac:chgData name="Steiner Andreas 6206 ED" userId="e6377c33-a923-4f14-8587-531c474c7b48" providerId="ADAL" clId="{6ECD27E6-B224-41CD-B4E0-E297462320DD}" dt="2023-11-24T08:50:00.353" v="81344"/>
          <ac:spMkLst>
            <pc:docMk/>
            <pc:sldMk cId="2752045962" sldId="2147473973"/>
            <ac:spMk id="532" creationId="{B2F582B6-F0F7-9329-610E-90A03AF2712B}"/>
          </ac:spMkLst>
        </pc:spChg>
        <pc:spChg chg="add del mod">
          <ac:chgData name="Steiner Andreas 6206 ED" userId="e6377c33-a923-4f14-8587-531c474c7b48" providerId="ADAL" clId="{6ECD27E6-B224-41CD-B4E0-E297462320DD}" dt="2023-11-24T08:50:02.429" v="81499"/>
          <ac:spMkLst>
            <pc:docMk/>
            <pc:sldMk cId="2752045962" sldId="2147473973"/>
            <ac:spMk id="533" creationId="{4D3097D5-8959-0C19-581F-13B61767B4EA}"/>
          </ac:spMkLst>
        </pc:spChg>
        <pc:spChg chg="add del mod">
          <ac:chgData name="Steiner Andreas 6206 ED" userId="e6377c33-a923-4f14-8587-531c474c7b48" providerId="ADAL" clId="{6ECD27E6-B224-41CD-B4E0-E297462320DD}" dt="2023-11-24T08:50:04.498" v="81654"/>
          <ac:spMkLst>
            <pc:docMk/>
            <pc:sldMk cId="2752045962" sldId="2147473973"/>
            <ac:spMk id="534" creationId="{EDAA1AB3-0714-1B20-7AFD-224933B73499}"/>
          </ac:spMkLst>
        </pc:spChg>
        <pc:spChg chg="add del mod">
          <ac:chgData name="Steiner Andreas 6206 ED" userId="e6377c33-a923-4f14-8587-531c474c7b48" providerId="ADAL" clId="{6ECD27E6-B224-41CD-B4E0-E297462320DD}" dt="2023-11-24T08:50:06.435" v="81809"/>
          <ac:spMkLst>
            <pc:docMk/>
            <pc:sldMk cId="2752045962" sldId="2147473973"/>
            <ac:spMk id="535" creationId="{68F3CDC2-C9B2-51F6-B0F5-22A1292F99B6}"/>
          </ac:spMkLst>
        </pc:spChg>
        <pc:spChg chg="add del mod">
          <ac:chgData name="Steiner Andreas 6206 ED" userId="e6377c33-a923-4f14-8587-531c474c7b48" providerId="ADAL" clId="{6ECD27E6-B224-41CD-B4E0-E297462320DD}" dt="2023-11-24T08:50:08.320" v="81964"/>
          <ac:spMkLst>
            <pc:docMk/>
            <pc:sldMk cId="2752045962" sldId="2147473973"/>
            <ac:spMk id="536" creationId="{2FEBA4EF-BA15-9EA5-037B-77FEB85DB847}"/>
          </ac:spMkLst>
        </pc:spChg>
        <pc:spChg chg="add del mod">
          <ac:chgData name="Steiner Andreas 6206 ED" userId="e6377c33-a923-4f14-8587-531c474c7b48" providerId="ADAL" clId="{6ECD27E6-B224-41CD-B4E0-E297462320DD}" dt="2023-11-24T08:50:10.217" v="82119"/>
          <ac:spMkLst>
            <pc:docMk/>
            <pc:sldMk cId="2752045962" sldId="2147473973"/>
            <ac:spMk id="537" creationId="{8A8DEFEC-6547-2F71-A0EA-AA2A4E17168E}"/>
          </ac:spMkLst>
        </pc:spChg>
        <pc:spChg chg="add del mod">
          <ac:chgData name="Steiner Andreas 6206 ED" userId="e6377c33-a923-4f14-8587-531c474c7b48" providerId="ADAL" clId="{6ECD27E6-B224-41CD-B4E0-E297462320DD}" dt="2023-11-24T08:50:12.132" v="82274"/>
          <ac:spMkLst>
            <pc:docMk/>
            <pc:sldMk cId="2752045962" sldId="2147473973"/>
            <ac:spMk id="538" creationId="{ACDE6D97-063E-F4E9-A692-E5AB3743FCAE}"/>
          </ac:spMkLst>
        </pc:spChg>
        <pc:spChg chg="add del mod">
          <ac:chgData name="Steiner Andreas 6206 ED" userId="e6377c33-a923-4f14-8587-531c474c7b48" providerId="ADAL" clId="{6ECD27E6-B224-41CD-B4E0-E297462320DD}" dt="2023-11-24T08:50:14.198" v="82429"/>
          <ac:spMkLst>
            <pc:docMk/>
            <pc:sldMk cId="2752045962" sldId="2147473973"/>
            <ac:spMk id="539" creationId="{BB636558-24A1-EFDA-CA3C-A35EC81B391C}"/>
          </ac:spMkLst>
        </pc:spChg>
        <pc:spChg chg="add del mod">
          <ac:chgData name="Steiner Andreas 6206 ED" userId="e6377c33-a923-4f14-8587-531c474c7b48" providerId="ADAL" clId="{6ECD27E6-B224-41CD-B4E0-E297462320DD}" dt="2023-11-24T08:50:16.143" v="82584"/>
          <ac:spMkLst>
            <pc:docMk/>
            <pc:sldMk cId="2752045962" sldId="2147473973"/>
            <ac:spMk id="540" creationId="{57D8F81B-4F5C-4421-43B3-A7D65FB99168}"/>
          </ac:spMkLst>
        </pc:spChg>
        <pc:spChg chg="add del mod">
          <ac:chgData name="Steiner Andreas 6206 ED" userId="e6377c33-a923-4f14-8587-531c474c7b48" providerId="ADAL" clId="{6ECD27E6-B224-41CD-B4E0-E297462320DD}" dt="2023-11-24T08:50:18.135" v="82739"/>
          <ac:spMkLst>
            <pc:docMk/>
            <pc:sldMk cId="2752045962" sldId="2147473973"/>
            <ac:spMk id="541" creationId="{CB272EDB-A99E-5B60-0E93-AFD981B1507F}"/>
          </ac:spMkLst>
        </pc:spChg>
        <pc:spChg chg="add del mod">
          <ac:chgData name="Steiner Andreas 6206 ED" userId="e6377c33-a923-4f14-8587-531c474c7b48" providerId="ADAL" clId="{6ECD27E6-B224-41CD-B4E0-E297462320DD}" dt="2023-11-24T08:50:20.339" v="82894"/>
          <ac:spMkLst>
            <pc:docMk/>
            <pc:sldMk cId="2752045962" sldId="2147473973"/>
            <ac:spMk id="542" creationId="{179DDE9D-5C3F-7349-5C72-3FF1F91BDD6D}"/>
          </ac:spMkLst>
        </pc:spChg>
        <pc:spChg chg="add del mod">
          <ac:chgData name="Steiner Andreas 6206 ED" userId="e6377c33-a923-4f14-8587-531c474c7b48" providerId="ADAL" clId="{6ECD27E6-B224-41CD-B4E0-E297462320DD}" dt="2023-11-24T08:50:22.271" v="83049"/>
          <ac:spMkLst>
            <pc:docMk/>
            <pc:sldMk cId="2752045962" sldId="2147473973"/>
            <ac:spMk id="543" creationId="{9EFE08B3-ACA8-F1E0-BBEF-F62443CCA44B}"/>
          </ac:spMkLst>
        </pc:spChg>
        <pc:spChg chg="add del mod">
          <ac:chgData name="Steiner Andreas 6206 ED" userId="e6377c33-a923-4f14-8587-531c474c7b48" providerId="ADAL" clId="{6ECD27E6-B224-41CD-B4E0-E297462320DD}" dt="2023-11-24T08:50:24.365" v="83204"/>
          <ac:spMkLst>
            <pc:docMk/>
            <pc:sldMk cId="2752045962" sldId="2147473973"/>
            <ac:spMk id="544" creationId="{25E63993-428F-BA20-337C-3131F935ED9A}"/>
          </ac:spMkLst>
        </pc:spChg>
        <pc:spChg chg="add del mod">
          <ac:chgData name="Steiner Andreas 6206 ED" userId="e6377c33-a923-4f14-8587-531c474c7b48" providerId="ADAL" clId="{6ECD27E6-B224-41CD-B4E0-E297462320DD}" dt="2023-11-24T08:50:26.365" v="83359"/>
          <ac:spMkLst>
            <pc:docMk/>
            <pc:sldMk cId="2752045962" sldId="2147473973"/>
            <ac:spMk id="545" creationId="{596281B3-605E-92E6-DD77-41A87D26B901}"/>
          </ac:spMkLst>
        </pc:spChg>
        <pc:spChg chg="add del mod">
          <ac:chgData name="Steiner Andreas 6206 ED" userId="e6377c33-a923-4f14-8587-531c474c7b48" providerId="ADAL" clId="{6ECD27E6-B224-41CD-B4E0-E297462320DD}" dt="2023-11-24T08:50:28.297" v="83514"/>
          <ac:spMkLst>
            <pc:docMk/>
            <pc:sldMk cId="2752045962" sldId="2147473973"/>
            <ac:spMk id="546" creationId="{F9B3EA0A-2215-1E36-85C7-FAAF2EA92DA0}"/>
          </ac:spMkLst>
        </pc:spChg>
        <pc:spChg chg="add del mod">
          <ac:chgData name="Steiner Andreas 6206 ED" userId="e6377c33-a923-4f14-8587-531c474c7b48" providerId="ADAL" clId="{6ECD27E6-B224-41CD-B4E0-E297462320DD}" dt="2023-11-24T08:50:30.209" v="83669"/>
          <ac:spMkLst>
            <pc:docMk/>
            <pc:sldMk cId="2752045962" sldId="2147473973"/>
            <ac:spMk id="547" creationId="{9C2C5BCE-E5B6-C94B-9E27-D83C5A5288D5}"/>
          </ac:spMkLst>
        </pc:spChg>
        <pc:spChg chg="add del mod">
          <ac:chgData name="Steiner Andreas 6206 ED" userId="e6377c33-a923-4f14-8587-531c474c7b48" providerId="ADAL" clId="{6ECD27E6-B224-41CD-B4E0-E297462320DD}" dt="2023-11-24T08:50:32.269" v="83824"/>
          <ac:spMkLst>
            <pc:docMk/>
            <pc:sldMk cId="2752045962" sldId="2147473973"/>
            <ac:spMk id="548" creationId="{C9D1CFE5-8EB8-21EA-F83F-B82018677A48}"/>
          </ac:spMkLst>
        </pc:spChg>
        <pc:spChg chg="add del mod">
          <ac:chgData name="Steiner Andreas 6206 ED" userId="e6377c33-a923-4f14-8587-531c474c7b48" providerId="ADAL" clId="{6ECD27E6-B224-41CD-B4E0-E297462320DD}" dt="2023-11-24T08:50:34.294" v="83979"/>
          <ac:spMkLst>
            <pc:docMk/>
            <pc:sldMk cId="2752045962" sldId="2147473973"/>
            <ac:spMk id="549" creationId="{8A522DE2-B60C-4613-19C9-4F15CC676A05}"/>
          </ac:spMkLst>
        </pc:spChg>
        <pc:spChg chg="add del mod">
          <ac:chgData name="Steiner Andreas 6206 ED" userId="e6377c33-a923-4f14-8587-531c474c7b48" providerId="ADAL" clId="{6ECD27E6-B224-41CD-B4E0-E297462320DD}" dt="2023-11-24T08:50:36.527" v="84134"/>
          <ac:spMkLst>
            <pc:docMk/>
            <pc:sldMk cId="2752045962" sldId="2147473973"/>
            <ac:spMk id="550" creationId="{F74A289D-D650-718D-85B6-B0D7C3BEDD9A}"/>
          </ac:spMkLst>
        </pc:spChg>
        <pc:spChg chg="add del mod">
          <ac:chgData name="Steiner Andreas 6206 ED" userId="e6377c33-a923-4f14-8587-531c474c7b48" providerId="ADAL" clId="{6ECD27E6-B224-41CD-B4E0-E297462320DD}" dt="2023-11-24T08:50:38.488" v="84289"/>
          <ac:spMkLst>
            <pc:docMk/>
            <pc:sldMk cId="2752045962" sldId="2147473973"/>
            <ac:spMk id="551" creationId="{3BAD17F3-CB28-9948-5293-685036855B82}"/>
          </ac:spMkLst>
        </pc:spChg>
        <pc:spChg chg="add del mod">
          <ac:chgData name="Steiner Andreas 6206 ED" userId="e6377c33-a923-4f14-8587-531c474c7b48" providerId="ADAL" clId="{6ECD27E6-B224-41CD-B4E0-E297462320DD}" dt="2023-11-24T08:50:40.474" v="84444"/>
          <ac:spMkLst>
            <pc:docMk/>
            <pc:sldMk cId="2752045962" sldId="2147473973"/>
            <ac:spMk id="552" creationId="{22A48570-9816-CF08-7EAE-37900B1462AA}"/>
          </ac:spMkLst>
        </pc:spChg>
        <pc:spChg chg="add del mod">
          <ac:chgData name="Steiner Andreas 6206 ED" userId="e6377c33-a923-4f14-8587-531c474c7b48" providerId="ADAL" clId="{6ECD27E6-B224-41CD-B4E0-E297462320DD}" dt="2023-11-24T08:50:42.470" v="84599"/>
          <ac:spMkLst>
            <pc:docMk/>
            <pc:sldMk cId="2752045962" sldId="2147473973"/>
            <ac:spMk id="553" creationId="{1C1378C2-BF76-2071-8C83-42F0F204B725}"/>
          </ac:spMkLst>
        </pc:spChg>
        <pc:spChg chg="add del mod">
          <ac:chgData name="Steiner Andreas 6206 ED" userId="e6377c33-a923-4f14-8587-531c474c7b48" providerId="ADAL" clId="{6ECD27E6-B224-41CD-B4E0-E297462320DD}" dt="2023-11-24T08:50:44.642" v="84754"/>
          <ac:spMkLst>
            <pc:docMk/>
            <pc:sldMk cId="2752045962" sldId="2147473973"/>
            <ac:spMk id="554" creationId="{4C507A72-2905-B380-350C-FDF0F5D5A0C0}"/>
          </ac:spMkLst>
        </pc:spChg>
        <pc:spChg chg="add del mod">
          <ac:chgData name="Steiner Andreas 6206 ED" userId="e6377c33-a923-4f14-8587-531c474c7b48" providerId="ADAL" clId="{6ECD27E6-B224-41CD-B4E0-E297462320DD}" dt="2023-11-24T08:50:46.745" v="84909"/>
          <ac:spMkLst>
            <pc:docMk/>
            <pc:sldMk cId="2752045962" sldId="2147473973"/>
            <ac:spMk id="555" creationId="{66DE5363-1B61-67CC-643A-5A6F4714693D}"/>
          </ac:spMkLst>
        </pc:spChg>
        <pc:spChg chg="add del mod">
          <ac:chgData name="Steiner Andreas 6206 ED" userId="e6377c33-a923-4f14-8587-531c474c7b48" providerId="ADAL" clId="{6ECD27E6-B224-41CD-B4E0-E297462320DD}" dt="2023-11-24T08:50:48.868" v="85064"/>
          <ac:spMkLst>
            <pc:docMk/>
            <pc:sldMk cId="2752045962" sldId="2147473973"/>
            <ac:spMk id="556" creationId="{7C911958-6552-87E5-B982-6572A6A12981}"/>
          </ac:spMkLst>
        </pc:spChg>
        <pc:spChg chg="add del mod">
          <ac:chgData name="Steiner Andreas 6206 ED" userId="e6377c33-a923-4f14-8587-531c474c7b48" providerId="ADAL" clId="{6ECD27E6-B224-41CD-B4E0-E297462320DD}" dt="2023-11-24T08:50:50.966" v="85219"/>
          <ac:spMkLst>
            <pc:docMk/>
            <pc:sldMk cId="2752045962" sldId="2147473973"/>
            <ac:spMk id="557" creationId="{42A3E120-9448-085B-0F7B-08F84753B7C5}"/>
          </ac:spMkLst>
        </pc:spChg>
        <pc:spChg chg="add del mod">
          <ac:chgData name="Steiner Andreas 6206 ED" userId="e6377c33-a923-4f14-8587-531c474c7b48" providerId="ADAL" clId="{6ECD27E6-B224-41CD-B4E0-E297462320DD}" dt="2023-11-24T08:50:53.085" v="85374"/>
          <ac:spMkLst>
            <pc:docMk/>
            <pc:sldMk cId="2752045962" sldId="2147473973"/>
            <ac:spMk id="558" creationId="{0A3B3852-8753-94E5-68CA-73302A65A183}"/>
          </ac:spMkLst>
        </pc:spChg>
        <pc:spChg chg="add del mod">
          <ac:chgData name="Steiner Andreas 6206 ED" userId="e6377c33-a923-4f14-8587-531c474c7b48" providerId="ADAL" clId="{6ECD27E6-B224-41CD-B4E0-E297462320DD}" dt="2023-11-24T08:50:54.996" v="85529"/>
          <ac:spMkLst>
            <pc:docMk/>
            <pc:sldMk cId="2752045962" sldId="2147473973"/>
            <ac:spMk id="559" creationId="{011E5A3C-F0F5-82C7-6482-B69479CA513A}"/>
          </ac:spMkLst>
        </pc:spChg>
        <pc:spChg chg="add del mod">
          <ac:chgData name="Steiner Andreas 6206 ED" userId="e6377c33-a923-4f14-8587-531c474c7b48" providerId="ADAL" clId="{6ECD27E6-B224-41CD-B4E0-E297462320DD}" dt="2023-11-24T08:50:56.901" v="85684"/>
          <ac:spMkLst>
            <pc:docMk/>
            <pc:sldMk cId="2752045962" sldId="2147473973"/>
            <ac:spMk id="560" creationId="{E83B3F79-EE50-6A87-E794-8FC4AFF314D1}"/>
          </ac:spMkLst>
        </pc:spChg>
        <pc:spChg chg="add del mod">
          <ac:chgData name="Steiner Andreas 6206 ED" userId="e6377c33-a923-4f14-8587-531c474c7b48" providerId="ADAL" clId="{6ECD27E6-B224-41CD-B4E0-E297462320DD}" dt="2023-11-24T08:50:59.098" v="85839"/>
          <ac:spMkLst>
            <pc:docMk/>
            <pc:sldMk cId="2752045962" sldId="2147473973"/>
            <ac:spMk id="561" creationId="{D6189A33-3B39-6D52-71DE-4515D0EF786F}"/>
          </ac:spMkLst>
        </pc:spChg>
        <pc:spChg chg="add del mod">
          <ac:chgData name="Steiner Andreas 6206 ED" userId="e6377c33-a923-4f14-8587-531c474c7b48" providerId="ADAL" clId="{6ECD27E6-B224-41CD-B4E0-E297462320DD}" dt="2023-11-24T08:51:01.043" v="85994"/>
          <ac:spMkLst>
            <pc:docMk/>
            <pc:sldMk cId="2752045962" sldId="2147473973"/>
            <ac:spMk id="562" creationId="{67E8A9DA-9C00-28E5-15AE-78709DDD7ECA}"/>
          </ac:spMkLst>
        </pc:spChg>
        <pc:spChg chg="add del mod">
          <ac:chgData name="Steiner Andreas 6206 ED" userId="e6377c33-a923-4f14-8587-531c474c7b48" providerId="ADAL" clId="{6ECD27E6-B224-41CD-B4E0-E297462320DD}" dt="2023-11-24T08:51:03.025" v="86149"/>
          <ac:spMkLst>
            <pc:docMk/>
            <pc:sldMk cId="2752045962" sldId="2147473973"/>
            <ac:spMk id="563" creationId="{85596432-7514-6E0F-B39A-BC1579F260C4}"/>
          </ac:spMkLst>
        </pc:spChg>
        <pc:spChg chg="add del mod">
          <ac:chgData name="Steiner Andreas 6206 ED" userId="e6377c33-a923-4f14-8587-531c474c7b48" providerId="ADAL" clId="{6ECD27E6-B224-41CD-B4E0-E297462320DD}" dt="2023-11-24T08:51:04.895" v="86304"/>
          <ac:spMkLst>
            <pc:docMk/>
            <pc:sldMk cId="2752045962" sldId="2147473973"/>
            <ac:spMk id="564" creationId="{78F4DC2D-39DE-7F68-81DF-DDA1BFEFEB5A}"/>
          </ac:spMkLst>
        </pc:spChg>
        <pc:spChg chg="add del mod">
          <ac:chgData name="Steiner Andreas 6206 ED" userId="e6377c33-a923-4f14-8587-531c474c7b48" providerId="ADAL" clId="{6ECD27E6-B224-41CD-B4E0-E297462320DD}" dt="2023-11-24T08:51:06.789" v="86459"/>
          <ac:spMkLst>
            <pc:docMk/>
            <pc:sldMk cId="2752045962" sldId="2147473973"/>
            <ac:spMk id="565" creationId="{19ADA002-1D5D-55C2-6732-F220AA652C9F}"/>
          </ac:spMkLst>
        </pc:spChg>
        <pc:spChg chg="add del mod">
          <ac:chgData name="Steiner Andreas 6206 ED" userId="e6377c33-a923-4f14-8587-531c474c7b48" providerId="ADAL" clId="{6ECD27E6-B224-41CD-B4E0-E297462320DD}" dt="2023-11-24T08:51:08.777" v="86614"/>
          <ac:spMkLst>
            <pc:docMk/>
            <pc:sldMk cId="2752045962" sldId="2147473973"/>
            <ac:spMk id="566" creationId="{12B6FE57-3E2B-C534-57B5-6F68DF83C9A3}"/>
          </ac:spMkLst>
        </pc:spChg>
        <pc:spChg chg="add del mod">
          <ac:chgData name="Steiner Andreas 6206 ED" userId="e6377c33-a923-4f14-8587-531c474c7b48" providerId="ADAL" clId="{6ECD27E6-B224-41CD-B4E0-E297462320DD}" dt="2023-11-24T08:51:10.811" v="86769"/>
          <ac:spMkLst>
            <pc:docMk/>
            <pc:sldMk cId="2752045962" sldId="2147473973"/>
            <ac:spMk id="567" creationId="{AF005C93-9045-C71B-16E0-A4E7CA90B574}"/>
          </ac:spMkLst>
        </pc:spChg>
        <pc:spChg chg="add del mod">
          <ac:chgData name="Steiner Andreas 6206 ED" userId="e6377c33-a923-4f14-8587-531c474c7b48" providerId="ADAL" clId="{6ECD27E6-B224-41CD-B4E0-E297462320DD}" dt="2023-11-24T08:51:12.712" v="86924"/>
          <ac:spMkLst>
            <pc:docMk/>
            <pc:sldMk cId="2752045962" sldId="2147473973"/>
            <ac:spMk id="568" creationId="{86BAADFA-0B4A-F107-1BC5-D5CABB226F2E}"/>
          </ac:spMkLst>
        </pc:spChg>
        <pc:spChg chg="add del mod">
          <ac:chgData name="Steiner Andreas 6206 ED" userId="e6377c33-a923-4f14-8587-531c474c7b48" providerId="ADAL" clId="{6ECD27E6-B224-41CD-B4E0-E297462320DD}" dt="2023-11-24T08:51:14.898" v="87079"/>
          <ac:spMkLst>
            <pc:docMk/>
            <pc:sldMk cId="2752045962" sldId="2147473973"/>
            <ac:spMk id="569" creationId="{A1054EB5-B54F-0BF6-FB51-619BC83CFB74}"/>
          </ac:spMkLst>
        </pc:spChg>
        <pc:spChg chg="add del mod">
          <ac:chgData name="Steiner Andreas 6206 ED" userId="e6377c33-a923-4f14-8587-531c474c7b48" providerId="ADAL" clId="{6ECD27E6-B224-41CD-B4E0-E297462320DD}" dt="2023-11-24T08:51:16.981" v="87234"/>
          <ac:spMkLst>
            <pc:docMk/>
            <pc:sldMk cId="2752045962" sldId="2147473973"/>
            <ac:spMk id="570" creationId="{4BD56E87-9BE2-3FD8-3CEE-2119FD4A22B9}"/>
          </ac:spMkLst>
        </pc:spChg>
        <pc:spChg chg="add del mod">
          <ac:chgData name="Steiner Andreas 6206 ED" userId="e6377c33-a923-4f14-8587-531c474c7b48" providerId="ADAL" clId="{6ECD27E6-B224-41CD-B4E0-E297462320DD}" dt="2023-11-24T08:51:18.900" v="87389"/>
          <ac:spMkLst>
            <pc:docMk/>
            <pc:sldMk cId="2752045962" sldId="2147473973"/>
            <ac:spMk id="571" creationId="{6B66E303-7880-A556-3815-2C966FDDDDD5}"/>
          </ac:spMkLst>
        </pc:spChg>
        <pc:spChg chg="add del mod">
          <ac:chgData name="Steiner Andreas 6206 ED" userId="e6377c33-a923-4f14-8587-531c474c7b48" providerId="ADAL" clId="{6ECD27E6-B224-41CD-B4E0-E297462320DD}" dt="2023-11-24T08:51:20.963" v="87544"/>
          <ac:spMkLst>
            <pc:docMk/>
            <pc:sldMk cId="2752045962" sldId="2147473973"/>
            <ac:spMk id="572" creationId="{F8350EE3-3C55-347F-F8E3-2EB022E24049}"/>
          </ac:spMkLst>
        </pc:spChg>
        <pc:spChg chg="add del mod">
          <ac:chgData name="Steiner Andreas 6206 ED" userId="e6377c33-a923-4f14-8587-531c474c7b48" providerId="ADAL" clId="{6ECD27E6-B224-41CD-B4E0-E297462320DD}" dt="2023-11-24T08:51:22.913" v="87699"/>
          <ac:spMkLst>
            <pc:docMk/>
            <pc:sldMk cId="2752045962" sldId="2147473973"/>
            <ac:spMk id="573" creationId="{FE3E629A-BADB-551B-71F6-7D046EAB2CFF}"/>
          </ac:spMkLst>
        </pc:spChg>
        <pc:spChg chg="add del mod">
          <ac:chgData name="Steiner Andreas 6206 ED" userId="e6377c33-a923-4f14-8587-531c474c7b48" providerId="ADAL" clId="{6ECD27E6-B224-41CD-B4E0-E297462320DD}" dt="2023-11-24T08:51:24.818" v="87854"/>
          <ac:spMkLst>
            <pc:docMk/>
            <pc:sldMk cId="2752045962" sldId="2147473973"/>
            <ac:spMk id="574" creationId="{92FCF166-A5C2-1ECB-93A6-065EAC663FF1}"/>
          </ac:spMkLst>
        </pc:spChg>
        <pc:spChg chg="add del mod">
          <ac:chgData name="Steiner Andreas 6206 ED" userId="e6377c33-a923-4f14-8587-531c474c7b48" providerId="ADAL" clId="{6ECD27E6-B224-41CD-B4E0-E297462320DD}" dt="2023-11-24T08:51:26.693" v="88009"/>
          <ac:spMkLst>
            <pc:docMk/>
            <pc:sldMk cId="2752045962" sldId="2147473973"/>
            <ac:spMk id="575" creationId="{44F23268-8AFD-68C0-B6ED-477971B42DCD}"/>
          </ac:spMkLst>
        </pc:spChg>
        <pc:spChg chg="add del mod">
          <ac:chgData name="Steiner Andreas 6206 ED" userId="e6377c33-a923-4f14-8587-531c474c7b48" providerId="ADAL" clId="{6ECD27E6-B224-41CD-B4E0-E297462320DD}" dt="2023-11-24T08:51:28.603" v="88164"/>
          <ac:spMkLst>
            <pc:docMk/>
            <pc:sldMk cId="2752045962" sldId="2147473973"/>
            <ac:spMk id="576" creationId="{A09FCFFB-8B73-47D5-8AC5-58E5F1692221}"/>
          </ac:spMkLst>
        </pc:spChg>
        <pc:spChg chg="add del mod">
          <ac:chgData name="Steiner Andreas 6206 ED" userId="e6377c33-a923-4f14-8587-531c474c7b48" providerId="ADAL" clId="{6ECD27E6-B224-41CD-B4E0-E297462320DD}" dt="2023-11-24T08:51:30.584" v="88319"/>
          <ac:spMkLst>
            <pc:docMk/>
            <pc:sldMk cId="2752045962" sldId="2147473973"/>
            <ac:spMk id="577" creationId="{1458EBFD-0ED4-DD7C-E34F-BB046A39925A}"/>
          </ac:spMkLst>
        </pc:spChg>
        <pc:spChg chg="add del mod">
          <ac:chgData name="Steiner Andreas 6206 ED" userId="e6377c33-a923-4f14-8587-531c474c7b48" providerId="ADAL" clId="{6ECD27E6-B224-41CD-B4E0-E297462320DD}" dt="2023-11-24T08:51:32.739" v="88474"/>
          <ac:spMkLst>
            <pc:docMk/>
            <pc:sldMk cId="2752045962" sldId="2147473973"/>
            <ac:spMk id="578" creationId="{F452E1D1-671C-9314-5212-5DFEA5F4D03B}"/>
          </ac:spMkLst>
        </pc:spChg>
        <pc:spChg chg="add del mod">
          <ac:chgData name="Steiner Andreas 6206 ED" userId="e6377c33-a923-4f14-8587-531c474c7b48" providerId="ADAL" clId="{6ECD27E6-B224-41CD-B4E0-E297462320DD}" dt="2023-11-24T08:51:34.697" v="88629"/>
          <ac:spMkLst>
            <pc:docMk/>
            <pc:sldMk cId="2752045962" sldId="2147473973"/>
            <ac:spMk id="579" creationId="{A87F4AEF-4966-E083-CB93-194310FDB4CD}"/>
          </ac:spMkLst>
        </pc:spChg>
        <pc:spChg chg="add del mod">
          <ac:chgData name="Steiner Andreas 6206 ED" userId="e6377c33-a923-4f14-8587-531c474c7b48" providerId="ADAL" clId="{6ECD27E6-B224-41CD-B4E0-E297462320DD}" dt="2023-11-24T08:51:36.572" v="88784"/>
          <ac:spMkLst>
            <pc:docMk/>
            <pc:sldMk cId="2752045962" sldId="2147473973"/>
            <ac:spMk id="580" creationId="{B9316CF4-63E7-3674-93DD-74577CF5C263}"/>
          </ac:spMkLst>
        </pc:spChg>
        <pc:spChg chg="add del mod">
          <ac:chgData name="Steiner Andreas 6206 ED" userId="e6377c33-a923-4f14-8587-531c474c7b48" providerId="ADAL" clId="{6ECD27E6-B224-41CD-B4E0-E297462320DD}" dt="2023-11-24T08:51:38.514" v="88939"/>
          <ac:spMkLst>
            <pc:docMk/>
            <pc:sldMk cId="2752045962" sldId="2147473973"/>
            <ac:spMk id="581" creationId="{94D4BEC9-3A01-69D0-0310-31CE38615E7F}"/>
          </ac:spMkLst>
        </pc:spChg>
        <pc:spChg chg="add del mod">
          <ac:chgData name="Steiner Andreas 6206 ED" userId="e6377c33-a923-4f14-8587-531c474c7b48" providerId="ADAL" clId="{6ECD27E6-B224-41CD-B4E0-E297462320DD}" dt="2023-11-24T08:51:40.455" v="89094"/>
          <ac:spMkLst>
            <pc:docMk/>
            <pc:sldMk cId="2752045962" sldId="2147473973"/>
            <ac:spMk id="582" creationId="{6812DEE3-BDEF-3735-11C3-287D073BC0BA}"/>
          </ac:spMkLst>
        </pc:spChg>
        <pc:spChg chg="add del mod">
          <ac:chgData name="Steiner Andreas 6206 ED" userId="e6377c33-a923-4f14-8587-531c474c7b48" providerId="ADAL" clId="{6ECD27E6-B224-41CD-B4E0-E297462320DD}" dt="2023-11-24T08:51:42.454" v="89249"/>
          <ac:spMkLst>
            <pc:docMk/>
            <pc:sldMk cId="2752045962" sldId="2147473973"/>
            <ac:spMk id="583" creationId="{AFAB8244-A1D4-6354-5F81-A1FE9D29375D}"/>
          </ac:spMkLst>
        </pc:spChg>
        <pc:spChg chg="add del mod">
          <ac:chgData name="Steiner Andreas 6206 ED" userId="e6377c33-a923-4f14-8587-531c474c7b48" providerId="ADAL" clId="{6ECD27E6-B224-41CD-B4E0-E297462320DD}" dt="2023-11-24T08:51:44.567" v="89404"/>
          <ac:spMkLst>
            <pc:docMk/>
            <pc:sldMk cId="2752045962" sldId="2147473973"/>
            <ac:spMk id="584" creationId="{518E0505-FB63-6A93-D2B3-9F910566F827}"/>
          </ac:spMkLst>
        </pc:spChg>
        <pc:spChg chg="add del mod">
          <ac:chgData name="Steiner Andreas 6206 ED" userId="e6377c33-a923-4f14-8587-531c474c7b48" providerId="ADAL" clId="{6ECD27E6-B224-41CD-B4E0-E297462320DD}" dt="2023-11-24T08:51:46.527" v="89559"/>
          <ac:spMkLst>
            <pc:docMk/>
            <pc:sldMk cId="2752045962" sldId="2147473973"/>
            <ac:spMk id="585" creationId="{E7B090C7-30C6-F548-90FC-E08A38768DA8}"/>
          </ac:spMkLst>
        </pc:spChg>
        <pc:spChg chg="add del mod">
          <ac:chgData name="Steiner Andreas 6206 ED" userId="e6377c33-a923-4f14-8587-531c474c7b48" providerId="ADAL" clId="{6ECD27E6-B224-41CD-B4E0-E297462320DD}" dt="2023-11-24T08:51:48.417" v="89714"/>
          <ac:spMkLst>
            <pc:docMk/>
            <pc:sldMk cId="2752045962" sldId="2147473973"/>
            <ac:spMk id="586" creationId="{69267750-B8E6-AC4B-D3FB-544586149C5E}"/>
          </ac:spMkLst>
        </pc:spChg>
        <pc:spChg chg="add del mod">
          <ac:chgData name="Steiner Andreas 6206 ED" userId="e6377c33-a923-4f14-8587-531c474c7b48" providerId="ADAL" clId="{6ECD27E6-B224-41CD-B4E0-E297462320DD}" dt="2023-11-24T08:51:50.344" v="89869"/>
          <ac:spMkLst>
            <pc:docMk/>
            <pc:sldMk cId="2752045962" sldId="2147473973"/>
            <ac:spMk id="587" creationId="{76746F94-27CD-FDAC-E8E4-6328A22920FF}"/>
          </ac:spMkLst>
        </pc:spChg>
        <pc:spChg chg="add del mod">
          <ac:chgData name="Steiner Andreas 6206 ED" userId="e6377c33-a923-4f14-8587-531c474c7b48" providerId="ADAL" clId="{6ECD27E6-B224-41CD-B4E0-E297462320DD}" dt="2023-11-24T08:51:52.244" v="90024"/>
          <ac:spMkLst>
            <pc:docMk/>
            <pc:sldMk cId="2752045962" sldId="2147473973"/>
            <ac:spMk id="588" creationId="{91AE0290-B8E6-D89F-5AB8-F401FF67CC07}"/>
          </ac:spMkLst>
        </pc:spChg>
        <pc:spChg chg="add del mod">
          <ac:chgData name="Steiner Andreas 6206 ED" userId="e6377c33-a923-4f14-8587-531c474c7b48" providerId="ADAL" clId="{6ECD27E6-B224-41CD-B4E0-E297462320DD}" dt="2023-11-24T08:51:54.236" v="90179"/>
          <ac:spMkLst>
            <pc:docMk/>
            <pc:sldMk cId="2752045962" sldId="2147473973"/>
            <ac:spMk id="589" creationId="{1DEEC488-4BFB-55ED-F5E0-0063B73F7A03}"/>
          </ac:spMkLst>
        </pc:spChg>
        <pc:spChg chg="add del mod">
          <ac:chgData name="Steiner Andreas 6206 ED" userId="e6377c33-a923-4f14-8587-531c474c7b48" providerId="ADAL" clId="{6ECD27E6-B224-41CD-B4E0-E297462320DD}" dt="2023-11-24T08:51:56.220" v="90334"/>
          <ac:spMkLst>
            <pc:docMk/>
            <pc:sldMk cId="2752045962" sldId="2147473973"/>
            <ac:spMk id="590" creationId="{6DE03DB0-E047-611C-E9DF-398646A836ED}"/>
          </ac:spMkLst>
        </pc:spChg>
        <pc:spChg chg="add del mod">
          <ac:chgData name="Steiner Andreas 6206 ED" userId="e6377c33-a923-4f14-8587-531c474c7b48" providerId="ADAL" clId="{6ECD27E6-B224-41CD-B4E0-E297462320DD}" dt="2023-11-24T08:51:58.150" v="90489"/>
          <ac:spMkLst>
            <pc:docMk/>
            <pc:sldMk cId="2752045962" sldId="2147473973"/>
            <ac:spMk id="591" creationId="{1B712C07-465B-74A1-3923-ABD7B4521862}"/>
          </ac:spMkLst>
        </pc:spChg>
        <pc:spChg chg="add del mod">
          <ac:chgData name="Steiner Andreas 6206 ED" userId="e6377c33-a923-4f14-8587-531c474c7b48" providerId="ADAL" clId="{6ECD27E6-B224-41CD-B4E0-E297462320DD}" dt="2023-11-24T08:52:00.276" v="90644"/>
          <ac:spMkLst>
            <pc:docMk/>
            <pc:sldMk cId="2752045962" sldId="2147473973"/>
            <ac:spMk id="592" creationId="{D3AE1E46-1C13-D3E7-CF4F-543F3545A511}"/>
          </ac:spMkLst>
        </pc:spChg>
        <pc:spChg chg="add del mod">
          <ac:chgData name="Steiner Andreas 6206 ED" userId="e6377c33-a923-4f14-8587-531c474c7b48" providerId="ADAL" clId="{6ECD27E6-B224-41CD-B4E0-E297462320DD}" dt="2023-11-24T08:52:02.230" v="90799"/>
          <ac:spMkLst>
            <pc:docMk/>
            <pc:sldMk cId="2752045962" sldId="2147473973"/>
            <ac:spMk id="593" creationId="{07A764C7-55E4-75C8-2316-82F3DCA5B310}"/>
          </ac:spMkLst>
        </pc:spChg>
        <pc:spChg chg="add del mod">
          <ac:chgData name="Steiner Andreas 6206 ED" userId="e6377c33-a923-4f14-8587-531c474c7b48" providerId="ADAL" clId="{6ECD27E6-B224-41CD-B4E0-E297462320DD}" dt="2023-11-24T08:52:04.153" v="90954"/>
          <ac:spMkLst>
            <pc:docMk/>
            <pc:sldMk cId="2752045962" sldId="2147473973"/>
            <ac:spMk id="594" creationId="{3ACA24EF-91F7-E2AC-99D7-9545B54C310D}"/>
          </ac:spMkLst>
        </pc:spChg>
        <pc:spChg chg="add del mod">
          <ac:chgData name="Steiner Andreas 6206 ED" userId="e6377c33-a923-4f14-8587-531c474c7b48" providerId="ADAL" clId="{6ECD27E6-B224-41CD-B4E0-E297462320DD}" dt="2023-11-24T08:52:06.358" v="91109"/>
          <ac:spMkLst>
            <pc:docMk/>
            <pc:sldMk cId="2752045962" sldId="2147473973"/>
            <ac:spMk id="595" creationId="{8848DAF0-765D-4698-3BF5-D6B26C519AB3}"/>
          </ac:spMkLst>
        </pc:spChg>
        <pc:spChg chg="add del mod">
          <ac:chgData name="Steiner Andreas 6206 ED" userId="e6377c33-a923-4f14-8587-531c474c7b48" providerId="ADAL" clId="{6ECD27E6-B224-41CD-B4E0-E297462320DD}" dt="2023-11-24T08:52:08.320" v="91264"/>
          <ac:spMkLst>
            <pc:docMk/>
            <pc:sldMk cId="2752045962" sldId="2147473973"/>
            <ac:spMk id="596" creationId="{69712D59-6AA0-8117-60FD-D0216C9D2230}"/>
          </ac:spMkLst>
        </pc:spChg>
        <pc:spChg chg="add del mod">
          <ac:chgData name="Steiner Andreas 6206 ED" userId="e6377c33-a923-4f14-8587-531c474c7b48" providerId="ADAL" clId="{6ECD27E6-B224-41CD-B4E0-E297462320DD}" dt="2023-11-24T08:52:10.204" v="91419"/>
          <ac:spMkLst>
            <pc:docMk/>
            <pc:sldMk cId="2752045962" sldId="2147473973"/>
            <ac:spMk id="597" creationId="{CFA94591-39C4-49A3-C274-FDB4EE9C1BF0}"/>
          </ac:spMkLst>
        </pc:spChg>
        <pc:spChg chg="add del mod">
          <ac:chgData name="Steiner Andreas 6206 ED" userId="e6377c33-a923-4f14-8587-531c474c7b48" providerId="ADAL" clId="{6ECD27E6-B224-41CD-B4E0-E297462320DD}" dt="2023-11-24T08:52:12.054" v="91574"/>
          <ac:spMkLst>
            <pc:docMk/>
            <pc:sldMk cId="2752045962" sldId="2147473973"/>
            <ac:spMk id="598" creationId="{AC5137BA-C766-2773-7163-A7266962286B}"/>
          </ac:spMkLst>
        </pc:spChg>
        <pc:spChg chg="add del mod">
          <ac:chgData name="Steiner Andreas 6206 ED" userId="e6377c33-a923-4f14-8587-531c474c7b48" providerId="ADAL" clId="{6ECD27E6-B224-41CD-B4E0-E297462320DD}" dt="2023-11-24T08:52:13.997" v="91729"/>
          <ac:spMkLst>
            <pc:docMk/>
            <pc:sldMk cId="2752045962" sldId="2147473973"/>
            <ac:spMk id="599" creationId="{3DA2AE08-958C-FDC9-207A-7A76EBC47779}"/>
          </ac:spMkLst>
        </pc:spChg>
        <pc:spChg chg="add del mod">
          <ac:chgData name="Steiner Andreas 6206 ED" userId="e6377c33-a923-4f14-8587-531c474c7b48" providerId="ADAL" clId="{6ECD27E6-B224-41CD-B4E0-E297462320DD}" dt="2023-11-24T08:52:15.907" v="91884"/>
          <ac:spMkLst>
            <pc:docMk/>
            <pc:sldMk cId="2752045962" sldId="2147473973"/>
            <ac:spMk id="600" creationId="{42AA482C-1F88-5A6D-813E-151130F0FF7F}"/>
          </ac:spMkLst>
        </pc:spChg>
        <pc:spChg chg="add del mod">
          <ac:chgData name="Steiner Andreas 6206 ED" userId="e6377c33-a923-4f14-8587-531c474c7b48" providerId="ADAL" clId="{6ECD27E6-B224-41CD-B4E0-E297462320DD}" dt="2023-11-24T08:52:18.065" v="92039"/>
          <ac:spMkLst>
            <pc:docMk/>
            <pc:sldMk cId="2752045962" sldId="2147473973"/>
            <ac:spMk id="601" creationId="{6898BF0D-4218-BF50-1300-2F85584A223C}"/>
          </ac:spMkLst>
        </pc:spChg>
        <pc:spChg chg="add del mod">
          <ac:chgData name="Steiner Andreas 6206 ED" userId="e6377c33-a923-4f14-8587-531c474c7b48" providerId="ADAL" clId="{6ECD27E6-B224-41CD-B4E0-E297462320DD}" dt="2023-11-24T08:52:20.032" v="92194"/>
          <ac:spMkLst>
            <pc:docMk/>
            <pc:sldMk cId="2752045962" sldId="2147473973"/>
            <ac:spMk id="602" creationId="{E3687680-6852-F362-F405-4F45F7AAA407}"/>
          </ac:spMkLst>
        </pc:spChg>
        <pc:spChg chg="add del mod">
          <ac:chgData name="Steiner Andreas 6206 ED" userId="e6377c33-a923-4f14-8587-531c474c7b48" providerId="ADAL" clId="{6ECD27E6-B224-41CD-B4E0-E297462320DD}" dt="2023-11-24T08:52:21.872" v="92349"/>
          <ac:spMkLst>
            <pc:docMk/>
            <pc:sldMk cId="2752045962" sldId="2147473973"/>
            <ac:spMk id="603" creationId="{05860338-E3BA-4EBB-7F64-2EDB6BAECB55}"/>
          </ac:spMkLst>
        </pc:spChg>
        <pc:spChg chg="add del mod">
          <ac:chgData name="Steiner Andreas 6206 ED" userId="e6377c33-a923-4f14-8587-531c474c7b48" providerId="ADAL" clId="{6ECD27E6-B224-41CD-B4E0-E297462320DD}" dt="2023-11-24T08:52:23.929" v="92504"/>
          <ac:spMkLst>
            <pc:docMk/>
            <pc:sldMk cId="2752045962" sldId="2147473973"/>
            <ac:spMk id="604" creationId="{7910C7CF-D0EB-0960-FDA5-4BAB76529379}"/>
          </ac:spMkLst>
        </pc:spChg>
        <pc:spChg chg="add del mod">
          <ac:chgData name="Steiner Andreas 6206 ED" userId="e6377c33-a923-4f14-8587-531c474c7b48" providerId="ADAL" clId="{6ECD27E6-B224-41CD-B4E0-E297462320DD}" dt="2023-11-24T08:52:25.800" v="92659"/>
          <ac:spMkLst>
            <pc:docMk/>
            <pc:sldMk cId="2752045962" sldId="2147473973"/>
            <ac:spMk id="605" creationId="{67CA92DE-7924-614B-EFF0-C6BABC0B790A}"/>
          </ac:spMkLst>
        </pc:spChg>
        <pc:spChg chg="add del mod">
          <ac:chgData name="Steiner Andreas 6206 ED" userId="e6377c33-a923-4f14-8587-531c474c7b48" providerId="ADAL" clId="{6ECD27E6-B224-41CD-B4E0-E297462320DD}" dt="2023-11-24T08:52:27.674" v="92814"/>
          <ac:spMkLst>
            <pc:docMk/>
            <pc:sldMk cId="2752045962" sldId="2147473973"/>
            <ac:spMk id="606" creationId="{ABF0A988-83CF-4A5A-AD0C-2B76894D7217}"/>
          </ac:spMkLst>
        </pc:spChg>
        <pc:spChg chg="add del mod">
          <ac:chgData name="Steiner Andreas 6206 ED" userId="e6377c33-a923-4f14-8587-531c474c7b48" providerId="ADAL" clId="{6ECD27E6-B224-41CD-B4E0-E297462320DD}" dt="2023-11-24T08:52:29.776" v="92969"/>
          <ac:spMkLst>
            <pc:docMk/>
            <pc:sldMk cId="2752045962" sldId="2147473973"/>
            <ac:spMk id="607" creationId="{8D36B6BC-E126-F2BF-3D49-D47E3FBBC2EE}"/>
          </ac:spMkLst>
        </pc:spChg>
        <pc:spChg chg="add del mod">
          <ac:chgData name="Steiner Andreas 6206 ED" userId="e6377c33-a923-4f14-8587-531c474c7b48" providerId="ADAL" clId="{6ECD27E6-B224-41CD-B4E0-E297462320DD}" dt="2023-11-24T08:52:31.695" v="93124"/>
          <ac:spMkLst>
            <pc:docMk/>
            <pc:sldMk cId="2752045962" sldId="2147473973"/>
            <ac:spMk id="608" creationId="{80446C8E-512C-D80D-FE35-C8266562EBCB}"/>
          </ac:spMkLst>
        </pc:spChg>
        <pc:spChg chg="add del mod">
          <ac:chgData name="Steiner Andreas 6206 ED" userId="e6377c33-a923-4f14-8587-531c474c7b48" providerId="ADAL" clId="{6ECD27E6-B224-41CD-B4E0-E297462320DD}" dt="2023-11-24T08:52:33.616" v="93279"/>
          <ac:spMkLst>
            <pc:docMk/>
            <pc:sldMk cId="2752045962" sldId="2147473973"/>
            <ac:spMk id="609" creationId="{FBA4B48A-1530-120B-1E27-9E580E51E941}"/>
          </ac:spMkLst>
        </pc:spChg>
        <pc:spChg chg="add del mod">
          <ac:chgData name="Steiner Andreas 6206 ED" userId="e6377c33-a923-4f14-8587-531c474c7b48" providerId="ADAL" clId="{6ECD27E6-B224-41CD-B4E0-E297462320DD}" dt="2023-11-24T08:52:35.518" v="93434"/>
          <ac:spMkLst>
            <pc:docMk/>
            <pc:sldMk cId="2752045962" sldId="2147473973"/>
            <ac:spMk id="610" creationId="{04972530-09FE-CB90-1C40-DB21A67BD824}"/>
          </ac:spMkLst>
        </pc:spChg>
        <pc:spChg chg="add del mod">
          <ac:chgData name="Steiner Andreas 6206 ED" userId="e6377c33-a923-4f14-8587-531c474c7b48" providerId="ADAL" clId="{6ECD27E6-B224-41CD-B4E0-E297462320DD}" dt="2023-11-24T08:52:37.439" v="93589"/>
          <ac:spMkLst>
            <pc:docMk/>
            <pc:sldMk cId="2752045962" sldId="2147473973"/>
            <ac:spMk id="611" creationId="{A7F8908F-4140-65F6-9231-ABC2B6176BF0}"/>
          </ac:spMkLst>
        </pc:spChg>
        <pc:spChg chg="add del mod">
          <ac:chgData name="Steiner Andreas 6206 ED" userId="e6377c33-a923-4f14-8587-531c474c7b48" providerId="ADAL" clId="{6ECD27E6-B224-41CD-B4E0-E297462320DD}" dt="2023-11-24T08:52:39.359" v="93744"/>
          <ac:spMkLst>
            <pc:docMk/>
            <pc:sldMk cId="2752045962" sldId="2147473973"/>
            <ac:spMk id="612" creationId="{AC6C2D2D-C3B2-5414-EA43-163BC2B0D19A}"/>
          </ac:spMkLst>
        </pc:spChg>
        <pc:spChg chg="add del mod">
          <ac:chgData name="Steiner Andreas 6206 ED" userId="e6377c33-a923-4f14-8587-531c474c7b48" providerId="ADAL" clId="{6ECD27E6-B224-41CD-B4E0-E297462320DD}" dt="2023-11-24T08:52:41.412" v="93899"/>
          <ac:spMkLst>
            <pc:docMk/>
            <pc:sldMk cId="2752045962" sldId="2147473973"/>
            <ac:spMk id="613" creationId="{E71D61A2-2476-1B33-E09C-533346C346E1}"/>
          </ac:spMkLst>
        </pc:spChg>
        <pc:spChg chg="add del mod">
          <ac:chgData name="Steiner Andreas 6206 ED" userId="e6377c33-a923-4f14-8587-531c474c7b48" providerId="ADAL" clId="{6ECD27E6-B224-41CD-B4E0-E297462320DD}" dt="2023-11-24T08:52:43.350" v="94054"/>
          <ac:spMkLst>
            <pc:docMk/>
            <pc:sldMk cId="2752045962" sldId="2147473973"/>
            <ac:spMk id="614" creationId="{B038CC39-705B-729B-B7A5-5C331724EA72}"/>
          </ac:spMkLst>
        </pc:spChg>
        <pc:spChg chg="add del mod">
          <ac:chgData name="Steiner Andreas 6206 ED" userId="e6377c33-a923-4f14-8587-531c474c7b48" providerId="ADAL" clId="{6ECD27E6-B224-41CD-B4E0-E297462320DD}" dt="2023-11-24T08:52:45.288" v="94209"/>
          <ac:spMkLst>
            <pc:docMk/>
            <pc:sldMk cId="2752045962" sldId="2147473973"/>
            <ac:spMk id="615" creationId="{B73A06BA-3A68-5670-41D0-342A48A1E83E}"/>
          </ac:spMkLst>
        </pc:spChg>
        <pc:spChg chg="add del mod">
          <ac:chgData name="Steiner Andreas 6206 ED" userId="e6377c33-a923-4f14-8587-531c474c7b48" providerId="ADAL" clId="{6ECD27E6-B224-41CD-B4E0-E297462320DD}" dt="2023-11-24T08:52:47.252" v="94364"/>
          <ac:spMkLst>
            <pc:docMk/>
            <pc:sldMk cId="2752045962" sldId="2147473973"/>
            <ac:spMk id="616" creationId="{DFEC6920-0F42-FA3E-57D9-D459AD2E7D70}"/>
          </ac:spMkLst>
        </pc:spChg>
        <pc:spChg chg="add del mod">
          <ac:chgData name="Steiner Andreas 6206 ED" userId="e6377c33-a923-4f14-8587-531c474c7b48" providerId="ADAL" clId="{6ECD27E6-B224-41CD-B4E0-E297462320DD}" dt="2023-11-24T08:52:49.332" v="94519"/>
          <ac:spMkLst>
            <pc:docMk/>
            <pc:sldMk cId="2752045962" sldId="2147473973"/>
            <ac:spMk id="617" creationId="{CCF8CACA-E06F-E60F-950C-96B360F45F54}"/>
          </ac:spMkLst>
        </pc:spChg>
        <pc:spChg chg="add del mod">
          <ac:chgData name="Steiner Andreas 6206 ED" userId="e6377c33-a923-4f14-8587-531c474c7b48" providerId="ADAL" clId="{6ECD27E6-B224-41CD-B4E0-E297462320DD}" dt="2023-11-24T08:52:51.528" v="94674"/>
          <ac:spMkLst>
            <pc:docMk/>
            <pc:sldMk cId="2752045962" sldId="2147473973"/>
            <ac:spMk id="618" creationId="{C659E9CE-4CC4-C4B8-0088-438C1CBE1301}"/>
          </ac:spMkLst>
        </pc:spChg>
        <pc:spChg chg="add del mod">
          <ac:chgData name="Steiner Andreas 6206 ED" userId="e6377c33-a923-4f14-8587-531c474c7b48" providerId="ADAL" clId="{6ECD27E6-B224-41CD-B4E0-E297462320DD}" dt="2023-11-24T08:52:53.474" v="94829"/>
          <ac:spMkLst>
            <pc:docMk/>
            <pc:sldMk cId="2752045962" sldId="2147473973"/>
            <ac:spMk id="619" creationId="{DFB0F43E-B5A4-4F48-FBC2-7F5D356F4700}"/>
          </ac:spMkLst>
        </pc:spChg>
        <pc:spChg chg="add del mod">
          <ac:chgData name="Steiner Andreas 6206 ED" userId="e6377c33-a923-4f14-8587-531c474c7b48" providerId="ADAL" clId="{6ECD27E6-B224-41CD-B4E0-E297462320DD}" dt="2023-11-24T08:52:55.412" v="94984"/>
          <ac:spMkLst>
            <pc:docMk/>
            <pc:sldMk cId="2752045962" sldId="2147473973"/>
            <ac:spMk id="620" creationId="{6655B888-282B-F0C5-6B48-34C9886848DA}"/>
          </ac:spMkLst>
        </pc:spChg>
        <pc:spChg chg="add del mod">
          <ac:chgData name="Steiner Andreas 6206 ED" userId="e6377c33-a923-4f14-8587-531c474c7b48" providerId="ADAL" clId="{6ECD27E6-B224-41CD-B4E0-E297462320DD}" dt="2023-11-24T08:52:57.439" v="95139"/>
          <ac:spMkLst>
            <pc:docMk/>
            <pc:sldMk cId="2752045962" sldId="2147473973"/>
            <ac:spMk id="621" creationId="{D8D4800E-996E-19A9-2FE2-4180FC70083B}"/>
          </ac:spMkLst>
        </pc:spChg>
        <pc:spChg chg="add del mod">
          <ac:chgData name="Steiner Andreas 6206 ED" userId="e6377c33-a923-4f14-8587-531c474c7b48" providerId="ADAL" clId="{6ECD27E6-B224-41CD-B4E0-E297462320DD}" dt="2023-11-24T08:52:59.391" v="95294"/>
          <ac:spMkLst>
            <pc:docMk/>
            <pc:sldMk cId="2752045962" sldId="2147473973"/>
            <ac:spMk id="622" creationId="{C20EFFBC-96E1-7813-4C95-1D0502A5EBDE}"/>
          </ac:spMkLst>
        </pc:spChg>
        <pc:spChg chg="add del mod">
          <ac:chgData name="Steiner Andreas 6206 ED" userId="e6377c33-a923-4f14-8587-531c474c7b48" providerId="ADAL" clId="{6ECD27E6-B224-41CD-B4E0-E297462320DD}" dt="2023-11-24T08:53:01.403" v="95449"/>
          <ac:spMkLst>
            <pc:docMk/>
            <pc:sldMk cId="2752045962" sldId="2147473973"/>
            <ac:spMk id="623" creationId="{9BF73599-77F2-AB8C-596A-42585F4AB3A7}"/>
          </ac:spMkLst>
        </pc:spChg>
        <pc:spChg chg="add del mod">
          <ac:chgData name="Steiner Andreas 6206 ED" userId="e6377c33-a923-4f14-8587-531c474c7b48" providerId="ADAL" clId="{6ECD27E6-B224-41CD-B4E0-E297462320DD}" dt="2023-11-24T08:53:03.524" v="95604"/>
          <ac:spMkLst>
            <pc:docMk/>
            <pc:sldMk cId="2752045962" sldId="2147473973"/>
            <ac:spMk id="624" creationId="{A79EA855-EB2C-C2B7-7382-897DEB212186}"/>
          </ac:spMkLst>
        </pc:spChg>
        <pc:spChg chg="add del mod">
          <ac:chgData name="Steiner Andreas 6206 ED" userId="e6377c33-a923-4f14-8587-531c474c7b48" providerId="ADAL" clId="{6ECD27E6-B224-41CD-B4E0-E297462320DD}" dt="2023-11-24T08:53:05.480" v="95759"/>
          <ac:spMkLst>
            <pc:docMk/>
            <pc:sldMk cId="2752045962" sldId="2147473973"/>
            <ac:spMk id="625" creationId="{1A3052EC-767C-C154-6D26-7ADF10FB7D99}"/>
          </ac:spMkLst>
        </pc:spChg>
        <pc:spChg chg="add del mod">
          <ac:chgData name="Steiner Andreas 6206 ED" userId="e6377c33-a923-4f14-8587-531c474c7b48" providerId="ADAL" clId="{6ECD27E6-B224-41CD-B4E0-E297462320DD}" dt="2023-11-24T08:53:07.359" v="95914"/>
          <ac:spMkLst>
            <pc:docMk/>
            <pc:sldMk cId="2752045962" sldId="2147473973"/>
            <ac:spMk id="626" creationId="{282E97F3-4F32-94F7-19DE-132DE0372863}"/>
          </ac:spMkLst>
        </pc:spChg>
        <pc:spChg chg="add del mod">
          <ac:chgData name="Steiner Andreas 6206 ED" userId="e6377c33-a923-4f14-8587-531c474c7b48" providerId="ADAL" clId="{6ECD27E6-B224-41CD-B4E0-E297462320DD}" dt="2023-11-24T08:53:09.297" v="96069"/>
          <ac:spMkLst>
            <pc:docMk/>
            <pc:sldMk cId="2752045962" sldId="2147473973"/>
            <ac:spMk id="627" creationId="{11C075F7-E0DB-49B4-3560-DEA9F7988226}"/>
          </ac:spMkLst>
        </pc:spChg>
        <pc:spChg chg="add del mod">
          <ac:chgData name="Steiner Andreas 6206 ED" userId="e6377c33-a923-4f14-8587-531c474c7b48" providerId="ADAL" clId="{6ECD27E6-B224-41CD-B4E0-E297462320DD}" dt="2023-11-24T08:53:11.246" v="96224"/>
          <ac:spMkLst>
            <pc:docMk/>
            <pc:sldMk cId="2752045962" sldId="2147473973"/>
            <ac:spMk id="628" creationId="{F35F6D07-3C72-6690-415B-475B13EEA26F}"/>
          </ac:spMkLst>
        </pc:spChg>
        <pc:spChg chg="add del mod">
          <ac:chgData name="Steiner Andreas 6206 ED" userId="e6377c33-a923-4f14-8587-531c474c7b48" providerId="ADAL" clId="{6ECD27E6-B224-41CD-B4E0-E297462320DD}" dt="2023-11-24T08:53:13.246" v="96379"/>
          <ac:spMkLst>
            <pc:docMk/>
            <pc:sldMk cId="2752045962" sldId="2147473973"/>
            <ac:spMk id="629" creationId="{C5B205CE-7F44-B7FF-4119-47FFAE050201}"/>
          </ac:spMkLst>
        </pc:spChg>
        <pc:spChg chg="add del mod">
          <ac:chgData name="Steiner Andreas 6206 ED" userId="e6377c33-a923-4f14-8587-531c474c7b48" providerId="ADAL" clId="{6ECD27E6-B224-41CD-B4E0-E297462320DD}" dt="2023-11-24T08:53:15.326" v="96534"/>
          <ac:spMkLst>
            <pc:docMk/>
            <pc:sldMk cId="2752045962" sldId="2147473973"/>
            <ac:spMk id="630" creationId="{674CFFA6-EF74-4BE1-D5CD-001E48A38BF3}"/>
          </ac:spMkLst>
        </pc:spChg>
        <pc:spChg chg="add del mod">
          <ac:chgData name="Steiner Andreas 6206 ED" userId="e6377c33-a923-4f14-8587-531c474c7b48" providerId="ADAL" clId="{6ECD27E6-B224-41CD-B4E0-E297462320DD}" dt="2023-11-24T08:53:17.287" v="96689"/>
          <ac:spMkLst>
            <pc:docMk/>
            <pc:sldMk cId="2752045962" sldId="2147473973"/>
            <ac:spMk id="631" creationId="{19B2F902-D903-AF76-F5C6-A9A7030DDB4D}"/>
          </ac:spMkLst>
        </pc:spChg>
        <pc:spChg chg="add del mod">
          <ac:chgData name="Steiner Andreas 6206 ED" userId="e6377c33-a923-4f14-8587-531c474c7b48" providerId="ADAL" clId="{6ECD27E6-B224-41CD-B4E0-E297462320DD}" dt="2023-11-24T08:53:19.261" v="96844"/>
          <ac:spMkLst>
            <pc:docMk/>
            <pc:sldMk cId="2752045962" sldId="2147473973"/>
            <ac:spMk id="632" creationId="{81DB61E6-DC65-6C14-2FA9-E6C631EB4837}"/>
          </ac:spMkLst>
        </pc:spChg>
        <pc:spChg chg="add del mod">
          <ac:chgData name="Steiner Andreas 6206 ED" userId="e6377c33-a923-4f14-8587-531c474c7b48" providerId="ADAL" clId="{6ECD27E6-B224-41CD-B4E0-E297462320DD}" dt="2023-11-24T08:53:21.213" v="96999"/>
          <ac:spMkLst>
            <pc:docMk/>
            <pc:sldMk cId="2752045962" sldId="2147473973"/>
            <ac:spMk id="633" creationId="{378ED302-2A26-2FDF-0934-317C284FBB64}"/>
          </ac:spMkLst>
        </pc:spChg>
        <pc:spChg chg="add del mod">
          <ac:chgData name="Steiner Andreas 6206 ED" userId="e6377c33-a923-4f14-8587-531c474c7b48" providerId="ADAL" clId="{6ECD27E6-B224-41CD-B4E0-E297462320DD}" dt="2023-11-24T08:53:23.174" v="97154"/>
          <ac:spMkLst>
            <pc:docMk/>
            <pc:sldMk cId="2752045962" sldId="2147473973"/>
            <ac:spMk id="634" creationId="{1469ECF3-B16B-2EA0-AC6B-FCA2692B6214}"/>
          </ac:spMkLst>
        </pc:spChg>
        <pc:spChg chg="add del mod">
          <ac:chgData name="Steiner Andreas 6206 ED" userId="e6377c33-a923-4f14-8587-531c474c7b48" providerId="ADAL" clId="{6ECD27E6-B224-41CD-B4E0-E297462320DD}" dt="2023-11-24T08:53:25.293" v="97309"/>
          <ac:spMkLst>
            <pc:docMk/>
            <pc:sldMk cId="2752045962" sldId="2147473973"/>
            <ac:spMk id="635" creationId="{6B8DECD0-FC62-15AD-7475-BFDC252AA5E3}"/>
          </ac:spMkLst>
        </pc:spChg>
        <pc:spChg chg="add del mod">
          <ac:chgData name="Steiner Andreas 6206 ED" userId="e6377c33-a923-4f14-8587-531c474c7b48" providerId="ADAL" clId="{6ECD27E6-B224-41CD-B4E0-E297462320DD}" dt="2023-11-24T08:53:27.278" v="97464"/>
          <ac:spMkLst>
            <pc:docMk/>
            <pc:sldMk cId="2752045962" sldId="2147473973"/>
            <ac:spMk id="636" creationId="{8DF9384E-96AD-89B8-2522-A5883B218A1C}"/>
          </ac:spMkLst>
        </pc:spChg>
        <pc:spChg chg="add del mod">
          <ac:chgData name="Steiner Andreas 6206 ED" userId="e6377c33-a923-4f14-8587-531c474c7b48" providerId="ADAL" clId="{6ECD27E6-B224-41CD-B4E0-E297462320DD}" dt="2023-11-24T08:53:29.169" v="97619"/>
          <ac:spMkLst>
            <pc:docMk/>
            <pc:sldMk cId="2752045962" sldId="2147473973"/>
            <ac:spMk id="637" creationId="{01CDB2E5-8E2E-0004-0073-C0F4ABE341F4}"/>
          </ac:spMkLst>
        </pc:spChg>
        <pc:spChg chg="add del mod">
          <ac:chgData name="Steiner Andreas 6206 ED" userId="e6377c33-a923-4f14-8587-531c474c7b48" providerId="ADAL" clId="{6ECD27E6-B224-41CD-B4E0-E297462320DD}" dt="2023-11-24T08:53:31.071" v="97774"/>
          <ac:spMkLst>
            <pc:docMk/>
            <pc:sldMk cId="2752045962" sldId="2147473973"/>
            <ac:spMk id="638" creationId="{82A9C543-2D9D-AA8B-5B07-1759B4D83865}"/>
          </ac:spMkLst>
        </pc:spChg>
        <pc:spChg chg="add del mod">
          <ac:chgData name="Steiner Andreas 6206 ED" userId="e6377c33-a923-4f14-8587-531c474c7b48" providerId="ADAL" clId="{6ECD27E6-B224-41CD-B4E0-E297462320DD}" dt="2023-11-24T08:53:33.002" v="97929"/>
          <ac:spMkLst>
            <pc:docMk/>
            <pc:sldMk cId="2752045962" sldId="2147473973"/>
            <ac:spMk id="639" creationId="{5293D22F-120B-9F57-7F54-D1AE6A59F4EA}"/>
          </ac:spMkLst>
        </pc:spChg>
        <pc:spChg chg="add del mod">
          <ac:chgData name="Steiner Andreas 6206 ED" userId="e6377c33-a923-4f14-8587-531c474c7b48" providerId="ADAL" clId="{6ECD27E6-B224-41CD-B4E0-E297462320DD}" dt="2023-11-24T08:53:34.936" v="98084"/>
          <ac:spMkLst>
            <pc:docMk/>
            <pc:sldMk cId="2752045962" sldId="2147473973"/>
            <ac:spMk id="640" creationId="{AE0157DF-515E-9B27-8A1E-65AD78F47871}"/>
          </ac:spMkLst>
        </pc:spChg>
        <pc:spChg chg="add del mod">
          <ac:chgData name="Steiner Andreas 6206 ED" userId="e6377c33-a923-4f14-8587-531c474c7b48" providerId="ADAL" clId="{6ECD27E6-B224-41CD-B4E0-E297462320DD}" dt="2023-11-24T08:53:37.056" v="98239"/>
          <ac:spMkLst>
            <pc:docMk/>
            <pc:sldMk cId="2752045962" sldId="2147473973"/>
            <ac:spMk id="641" creationId="{F48DFDE8-0C2E-0C68-51D1-017FFAE4E401}"/>
          </ac:spMkLst>
        </pc:spChg>
        <pc:spChg chg="add del mod">
          <ac:chgData name="Steiner Andreas 6206 ED" userId="e6377c33-a923-4f14-8587-531c474c7b48" providerId="ADAL" clId="{6ECD27E6-B224-41CD-B4E0-E297462320DD}" dt="2023-11-24T08:53:38.942" v="98394"/>
          <ac:spMkLst>
            <pc:docMk/>
            <pc:sldMk cId="2752045962" sldId="2147473973"/>
            <ac:spMk id="642" creationId="{D2702363-BBF6-4F75-F900-C3B58A562B51}"/>
          </ac:spMkLst>
        </pc:spChg>
        <pc:spChg chg="add del mod">
          <ac:chgData name="Steiner Andreas 6206 ED" userId="e6377c33-a923-4f14-8587-531c474c7b48" providerId="ADAL" clId="{6ECD27E6-B224-41CD-B4E0-E297462320DD}" dt="2023-11-24T08:53:40.901" v="98549"/>
          <ac:spMkLst>
            <pc:docMk/>
            <pc:sldMk cId="2752045962" sldId="2147473973"/>
            <ac:spMk id="643" creationId="{16AC8362-4A96-8F78-CFE1-939849B5B62C}"/>
          </ac:spMkLst>
        </pc:spChg>
        <pc:spChg chg="add del mod">
          <ac:chgData name="Steiner Andreas 6206 ED" userId="e6377c33-a923-4f14-8587-531c474c7b48" providerId="ADAL" clId="{6ECD27E6-B224-41CD-B4E0-E297462320DD}" dt="2023-11-24T08:53:42.848" v="98704"/>
          <ac:spMkLst>
            <pc:docMk/>
            <pc:sldMk cId="2752045962" sldId="2147473973"/>
            <ac:spMk id="644" creationId="{1EC38E67-CAB6-9B7F-4F89-DDD414BB3F9F}"/>
          </ac:spMkLst>
        </pc:spChg>
        <pc:spChg chg="add del mod">
          <ac:chgData name="Steiner Andreas 6206 ED" userId="e6377c33-a923-4f14-8587-531c474c7b48" providerId="ADAL" clId="{6ECD27E6-B224-41CD-B4E0-E297462320DD}" dt="2023-11-24T08:53:44.791" v="98859"/>
          <ac:spMkLst>
            <pc:docMk/>
            <pc:sldMk cId="2752045962" sldId="2147473973"/>
            <ac:spMk id="645" creationId="{CB3618BD-E8A4-3D2F-BE9B-D172F03D649A}"/>
          </ac:spMkLst>
        </pc:spChg>
        <pc:spChg chg="add del mod">
          <ac:chgData name="Steiner Andreas 6206 ED" userId="e6377c33-a923-4f14-8587-531c474c7b48" providerId="ADAL" clId="{6ECD27E6-B224-41CD-B4E0-E297462320DD}" dt="2023-11-24T08:53:46.739" v="99014"/>
          <ac:spMkLst>
            <pc:docMk/>
            <pc:sldMk cId="2752045962" sldId="2147473973"/>
            <ac:spMk id="646" creationId="{AB95597C-B625-09DD-552D-02D0267DA6E4}"/>
          </ac:spMkLst>
        </pc:spChg>
        <pc:spChg chg="add del mod">
          <ac:chgData name="Steiner Andreas 6206 ED" userId="e6377c33-a923-4f14-8587-531c474c7b48" providerId="ADAL" clId="{6ECD27E6-B224-41CD-B4E0-E297462320DD}" dt="2023-11-24T08:53:48.793" v="99169"/>
          <ac:spMkLst>
            <pc:docMk/>
            <pc:sldMk cId="2752045962" sldId="2147473973"/>
            <ac:spMk id="647" creationId="{A007A23C-E211-7596-B134-BCBE811D93EF}"/>
          </ac:spMkLst>
        </pc:spChg>
        <pc:spChg chg="add del mod">
          <ac:chgData name="Steiner Andreas 6206 ED" userId="e6377c33-a923-4f14-8587-531c474c7b48" providerId="ADAL" clId="{6ECD27E6-B224-41CD-B4E0-E297462320DD}" dt="2023-11-24T08:53:50.743" v="99324"/>
          <ac:spMkLst>
            <pc:docMk/>
            <pc:sldMk cId="2752045962" sldId="2147473973"/>
            <ac:spMk id="648" creationId="{D1D33C1E-A5D9-D1A1-5647-4AA21CE6C66E}"/>
          </ac:spMkLst>
        </pc:spChg>
        <pc:spChg chg="add del mod">
          <ac:chgData name="Steiner Andreas 6206 ED" userId="e6377c33-a923-4f14-8587-531c474c7b48" providerId="ADAL" clId="{6ECD27E6-B224-41CD-B4E0-E297462320DD}" dt="2023-11-24T08:53:52.735" v="99479"/>
          <ac:spMkLst>
            <pc:docMk/>
            <pc:sldMk cId="2752045962" sldId="2147473973"/>
            <ac:spMk id="649" creationId="{A02124D3-616E-03F6-2AC0-646F34A60BAE}"/>
          </ac:spMkLst>
        </pc:spChg>
        <pc:spChg chg="add del mod">
          <ac:chgData name="Steiner Andreas 6206 ED" userId="e6377c33-a923-4f14-8587-531c474c7b48" providerId="ADAL" clId="{6ECD27E6-B224-41CD-B4E0-E297462320DD}" dt="2023-11-24T08:53:54.691" v="99634"/>
          <ac:spMkLst>
            <pc:docMk/>
            <pc:sldMk cId="2752045962" sldId="2147473973"/>
            <ac:spMk id="650" creationId="{1F5CE40E-F33A-6E45-CD98-56CC91A80728}"/>
          </ac:spMkLst>
        </pc:spChg>
        <pc:spChg chg="add del mod">
          <ac:chgData name="Steiner Andreas 6206 ED" userId="e6377c33-a923-4f14-8587-531c474c7b48" providerId="ADAL" clId="{6ECD27E6-B224-41CD-B4E0-E297462320DD}" dt="2023-11-24T08:53:56.629" v="99789"/>
          <ac:spMkLst>
            <pc:docMk/>
            <pc:sldMk cId="2752045962" sldId="2147473973"/>
            <ac:spMk id="651" creationId="{B47EA240-00BB-CC1C-B264-246998DA58E6}"/>
          </ac:spMkLst>
        </pc:spChg>
        <pc:spChg chg="add del mod">
          <ac:chgData name="Steiner Andreas 6206 ED" userId="e6377c33-a923-4f14-8587-531c474c7b48" providerId="ADAL" clId="{6ECD27E6-B224-41CD-B4E0-E297462320DD}" dt="2023-11-24T08:53:58.706" v="99944"/>
          <ac:spMkLst>
            <pc:docMk/>
            <pc:sldMk cId="2752045962" sldId="2147473973"/>
            <ac:spMk id="652" creationId="{02DE8C18-56EA-1340-0331-9B019254292E}"/>
          </ac:spMkLst>
        </pc:spChg>
        <pc:spChg chg="add del mod">
          <ac:chgData name="Steiner Andreas 6206 ED" userId="e6377c33-a923-4f14-8587-531c474c7b48" providerId="ADAL" clId="{6ECD27E6-B224-41CD-B4E0-E297462320DD}" dt="2023-11-24T08:54:00.798" v="100099"/>
          <ac:spMkLst>
            <pc:docMk/>
            <pc:sldMk cId="2752045962" sldId="2147473973"/>
            <ac:spMk id="653" creationId="{32826F8B-E921-3C1B-8B34-31A800C1236F}"/>
          </ac:spMkLst>
        </pc:spChg>
        <pc:spChg chg="add del mod">
          <ac:chgData name="Steiner Andreas 6206 ED" userId="e6377c33-a923-4f14-8587-531c474c7b48" providerId="ADAL" clId="{6ECD27E6-B224-41CD-B4E0-E297462320DD}" dt="2023-11-24T08:54:02.795" v="100254"/>
          <ac:spMkLst>
            <pc:docMk/>
            <pc:sldMk cId="2752045962" sldId="2147473973"/>
            <ac:spMk id="654" creationId="{2A8BAC52-1552-8253-4A65-98EBBF2455D6}"/>
          </ac:spMkLst>
        </pc:spChg>
        <pc:spChg chg="add del mod">
          <ac:chgData name="Steiner Andreas 6206 ED" userId="e6377c33-a923-4f14-8587-531c474c7b48" providerId="ADAL" clId="{6ECD27E6-B224-41CD-B4E0-E297462320DD}" dt="2023-11-24T08:54:04.742" v="100409"/>
          <ac:spMkLst>
            <pc:docMk/>
            <pc:sldMk cId="2752045962" sldId="2147473973"/>
            <ac:spMk id="655" creationId="{E1682AD1-27C6-BDD1-3B96-ED7761F88517}"/>
          </ac:spMkLst>
        </pc:spChg>
        <pc:spChg chg="add del mod">
          <ac:chgData name="Steiner Andreas 6206 ED" userId="e6377c33-a923-4f14-8587-531c474c7b48" providerId="ADAL" clId="{6ECD27E6-B224-41CD-B4E0-E297462320DD}" dt="2023-11-24T08:54:06.712" v="100564"/>
          <ac:spMkLst>
            <pc:docMk/>
            <pc:sldMk cId="2752045962" sldId="2147473973"/>
            <ac:spMk id="656" creationId="{76CBF706-80B8-B266-B007-6A56568DC1B6}"/>
          </ac:spMkLst>
        </pc:spChg>
        <pc:spChg chg="add del mod">
          <ac:chgData name="Steiner Andreas 6206 ED" userId="e6377c33-a923-4f14-8587-531c474c7b48" providerId="ADAL" clId="{6ECD27E6-B224-41CD-B4E0-E297462320DD}" dt="2023-11-24T08:54:08.709" v="100719"/>
          <ac:spMkLst>
            <pc:docMk/>
            <pc:sldMk cId="2752045962" sldId="2147473973"/>
            <ac:spMk id="657" creationId="{4A8333D4-D4BF-F026-DD9A-AAC1A03A3ECE}"/>
          </ac:spMkLst>
        </pc:spChg>
        <pc:spChg chg="add del mod">
          <ac:chgData name="Steiner Andreas 6206 ED" userId="e6377c33-a923-4f14-8587-531c474c7b48" providerId="ADAL" clId="{6ECD27E6-B224-41CD-B4E0-E297462320DD}" dt="2023-11-24T08:54:10.836" v="100874"/>
          <ac:spMkLst>
            <pc:docMk/>
            <pc:sldMk cId="2752045962" sldId="2147473973"/>
            <ac:spMk id="658" creationId="{65FBAF03-C6B2-37E3-942B-793BD15C3BA0}"/>
          </ac:spMkLst>
        </pc:spChg>
        <pc:spChg chg="add del mod">
          <ac:chgData name="Steiner Andreas 6206 ED" userId="e6377c33-a923-4f14-8587-531c474c7b48" providerId="ADAL" clId="{6ECD27E6-B224-41CD-B4E0-E297462320DD}" dt="2023-11-24T08:54:12.765" v="101029"/>
          <ac:spMkLst>
            <pc:docMk/>
            <pc:sldMk cId="2752045962" sldId="2147473973"/>
            <ac:spMk id="659" creationId="{A3FEB161-B03F-338A-7EBE-9010F1A19E1B}"/>
          </ac:spMkLst>
        </pc:spChg>
        <pc:spChg chg="add del mod">
          <ac:chgData name="Steiner Andreas 6206 ED" userId="e6377c33-a923-4f14-8587-531c474c7b48" providerId="ADAL" clId="{6ECD27E6-B224-41CD-B4E0-E297462320DD}" dt="2023-11-24T08:54:14.727" v="101184"/>
          <ac:spMkLst>
            <pc:docMk/>
            <pc:sldMk cId="2752045962" sldId="2147473973"/>
            <ac:spMk id="660" creationId="{8697C379-662E-B036-B6A4-9D621FB4D275}"/>
          </ac:spMkLst>
        </pc:spChg>
        <pc:spChg chg="add del mod">
          <ac:chgData name="Steiner Andreas 6206 ED" userId="e6377c33-a923-4f14-8587-531c474c7b48" providerId="ADAL" clId="{6ECD27E6-B224-41CD-B4E0-E297462320DD}" dt="2023-11-24T08:54:16.615" v="101339"/>
          <ac:spMkLst>
            <pc:docMk/>
            <pc:sldMk cId="2752045962" sldId="2147473973"/>
            <ac:spMk id="661" creationId="{5B545515-71AC-797B-BDA2-ED4951CE7ADB}"/>
          </ac:spMkLst>
        </pc:spChg>
        <pc:spChg chg="add del mod">
          <ac:chgData name="Steiner Andreas 6206 ED" userId="e6377c33-a923-4f14-8587-531c474c7b48" providerId="ADAL" clId="{6ECD27E6-B224-41CD-B4E0-E297462320DD}" dt="2023-11-24T08:54:18.537" v="101494"/>
          <ac:spMkLst>
            <pc:docMk/>
            <pc:sldMk cId="2752045962" sldId="2147473973"/>
            <ac:spMk id="662" creationId="{29EA0741-130D-AA44-DD45-0E992C176131}"/>
          </ac:spMkLst>
        </pc:spChg>
        <pc:spChg chg="add del mod">
          <ac:chgData name="Steiner Andreas 6206 ED" userId="e6377c33-a923-4f14-8587-531c474c7b48" providerId="ADAL" clId="{6ECD27E6-B224-41CD-B4E0-E297462320DD}" dt="2023-11-24T08:54:20.501" v="101649"/>
          <ac:spMkLst>
            <pc:docMk/>
            <pc:sldMk cId="2752045962" sldId="2147473973"/>
            <ac:spMk id="663" creationId="{17F64549-9E88-4E09-86ED-E1786FB7F18F}"/>
          </ac:spMkLst>
        </pc:spChg>
        <pc:spChg chg="add del mod">
          <ac:chgData name="Steiner Andreas 6206 ED" userId="e6377c33-a923-4f14-8587-531c474c7b48" providerId="ADAL" clId="{6ECD27E6-B224-41CD-B4E0-E297462320DD}" dt="2023-11-24T08:54:22.599" v="101804"/>
          <ac:spMkLst>
            <pc:docMk/>
            <pc:sldMk cId="2752045962" sldId="2147473973"/>
            <ac:spMk id="664" creationId="{9B79ACB6-D79F-571F-1181-585FADE43DD3}"/>
          </ac:spMkLst>
        </pc:spChg>
        <pc:spChg chg="add del mod">
          <ac:chgData name="Steiner Andreas 6206 ED" userId="e6377c33-a923-4f14-8587-531c474c7b48" providerId="ADAL" clId="{6ECD27E6-B224-41CD-B4E0-E297462320DD}" dt="2023-11-24T08:54:24.572" v="101959"/>
          <ac:spMkLst>
            <pc:docMk/>
            <pc:sldMk cId="2752045962" sldId="2147473973"/>
            <ac:spMk id="665" creationId="{9AD4E201-50AC-C58A-3788-6DBA693D027D}"/>
          </ac:spMkLst>
        </pc:spChg>
        <pc:spChg chg="add del mod">
          <ac:chgData name="Steiner Andreas 6206 ED" userId="e6377c33-a923-4f14-8587-531c474c7b48" providerId="ADAL" clId="{6ECD27E6-B224-41CD-B4E0-E297462320DD}" dt="2023-11-24T08:54:26.515" v="102114"/>
          <ac:spMkLst>
            <pc:docMk/>
            <pc:sldMk cId="2752045962" sldId="2147473973"/>
            <ac:spMk id="666" creationId="{453086CF-2AAF-1F2B-606E-7D86CD7AE873}"/>
          </ac:spMkLst>
        </pc:spChg>
        <pc:spChg chg="add del mod">
          <ac:chgData name="Steiner Andreas 6206 ED" userId="e6377c33-a923-4f14-8587-531c474c7b48" providerId="ADAL" clId="{6ECD27E6-B224-41CD-B4E0-E297462320DD}" dt="2023-11-24T08:54:28.473" v="102269"/>
          <ac:spMkLst>
            <pc:docMk/>
            <pc:sldMk cId="2752045962" sldId="2147473973"/>
            <ac:spMk id="667" creationId="{233920B6-A6BB-5F8C-B1C2-BB2972927CEE}"/>
          </ac:spMkLst>
        </pc:spChg>
        <pc:spChg chg="add del mod">
          <ac:chgData name="Steiner Andreas 6206 ED" userId="e6377c33-a923-4f14-8587-531c474c7b48" providerId="ADAL" clId="{6ECD27E6-B224-41CD-B4E0-E297462320DD}" dt="2023-11-24T08:54:30.399" v="102424"/>
          <ac:spMkLst>
            <pc:docMk/>
            <pc:sldMk cId="2752045962" sldId="2147473973"/>
            <ac:spMk id="668" creationId="{A3A29A3C-DE6E-0065-7074-20BA38867435}"/>
          </ac:spMkLst>
        </pc:spChg>
        <pc:spChg chg="add del mod">
          <ac:chgData name="Steiner Andreas 6206 ED" userId="e6377c33-a923-4f14-8587-531c474c7b48" providerId="ADAL" clId="{6ECD27E6-B224-41CD-B4E0-E297462320DD}" dt="2023-11-24T08:54:32.564" v="102579"/>
          <ac:spMkLst>
            <pc:docMk/>
            <pc:sldMk cId="2752045962" sldId="2147473973"/>
            <ac:spMk id="669" creationId="{35EEF309-0350-E99C-344F-A8CAD9C2E939}"/>
          </ac:spMkLst>
        </pc:spChg>
        <pc:spChg chg="add del mod">
          <ac:chgData name="Steiner Andreas 6206 ED" userId="e6377c33-a923-4f14-8587-531c474c7b48" providerId="ADAL" clId="{6ECD27E6-B224-41CD-B4E0-E297462320DD}" dt="2023-11-24T08:54:34.535" v="102734"/>
          <ac:spMkLst>
            <pc:docMk/>
            <pc:sldMk cId="2752045962" sldId="2147473973"/>
            <ac:spMk id="670" creationId="{A7C63AC3-D59E-EE97-F69E-1319FED0BD0F}"/>
          </ac:spMkLst>
        </pc:spChg>
        <pc:spChg chg="add del mod">
          <ac:chgData name="Steiner Andreas 6206 ED" userId="e6377c33-a923-4f14-8587-531c474c7b48" providerId="ADAL" clId="{6ECD27E6-B224-41CD-B4E0-E297462320DD}" dt="2023-11-24T08:54:36.459" v="102889"/>
          <ac:spMkLst>
            <pc:docMk/>
            <pc:sldMk cId="2752045962" sldId="2147473973"/>
            <ac:spMk id="671" creationId="{9A78F66F-F5F1-C2AA-5BAA-6F91BA17AEC5}"/>
          </ac:spMkLst>
        </pc:spChg>
        <pc:spChg chg="add del mod">
          <ac:chgData name="Steiner Andreas 6206 ED" userId="e6377c33-a923-4f14-8587-531c474c7b48" providerId="ADAL" clId="{6ECD27E6-B224-41CD-B4E0-E297462320DD}" dt="2023-11-24T08:54:38.689" v="103044"/>
          <ac:spMkLst>
            <pc:docMk/>
            <pc:sldMk cId="2752045962" sldId="2147473973"/>
            <ac:spMk id="672" creationId="{AA74DA9A-94E8-90C3-8707-6AAABC719554}"/>
          </ac:spMkLst>
        </pc:spChg>
        <pc:spChg chg="add del mod">
          <ac:chgData name="Steiner Andreas 6206 ED" userId="e6377c33-a923-4f14-8587-531c474c7b48" providerId="ADAL" clId="{6ECD27E6-B224-41CD-B4E0-E297462320DD}" dt="2023-11-24T08:54:40.836" v="103199"/>
          <ac:spMkLst>
            <pc:docMk/>
            <pc:sldMk cId="2752045962" sldId="2147473973"/>
            <ac:spMk id="673" creationId="{1F526962-2071-A52F-9C5C-F99463D81237}"/>
          </ac:spMkLst>
        </pc:spChg>
        <pc:spChg chg="add del mod">
          <ac:chgData name="Steiner Andreas 6206 ED" userId="e6377c33-a923-4f14-8587-531c474c7b48" providerId="ADAL" clId="{6ECD27E6-B224-41CD-B4E0-E297462320DD}" dt="2023-11-24T08:54:42.757" v="103354"/>
          <ac:spMkLst>
            <pc:docMk/>
            <pc:sldMk cId="2752045962" sldId="2147473973"/>
            <ac:spMk id="674" creationId="{DB70F49D-3175-4C6C-F0B8-36899C4FB7CB}"/>
          </ac:spMkLst>
        </pc:spChg>
        <pc:spChg chg="add del mod">
          <ac:chgData name="Steiner Andreas 6206 ED" userId="e6377c33-a923-4f14-8587-531c474c7b48" providerId="ADAL" clId="{6ECD27E6-B224-41CD-B4E0-E297462320DD}" dt="2023-11-24T08:54:45.024" v="103509"/>
          <ac:spMkLst>
            <pc:docMk/>
            <pc:sldMk cId="2752045962" sldId="2147473973"/>
            <ac:spMk id="675" creationId="{63ED61B6-5D8A-EBCF-D14B-DBA2846539C7}"/>
          </ac:spMkLst>
        </pc:spChg>
        <pc:spChg chg="add del mod">
          <ac:chgData name="Steiner Andreas 6206 ED" userId="e6377c33-a923-4f14-8587-531c474c7b48" providerId="ADAL" clId="{6ECD27E6-B224-41CD-B4E0-E297462320DD}" dt="2023-11-24T08:54:47.260" v="103664"/>
          <ac:spMkLst>
            <pc:docMk/>
            <pc:sldMk cId="2752045962" sldId="2147473973"/>
            <ac:spMk id="676" creationId="{1B752DD9-4172-D97D-9229-A70D064EE322}"/>
          </ac:spMkLst>
        </pc:spChg>
        <pc:spChg chg="add del mod">
          <ac:chgData name="Steiner Andreas 6206 ED" userId="e6377c33-a923-4f14-8587-531c474c7b48" providerId="ADAL" clId="{6ECD27E6-B224-41CD-B4E0-E297462320DD}" dt="2023-11-24T08:54:49.380" v="103819"/>
          <ac:spMkLst>
            <pc:docMk/>
            <pc:sldMk cId="2752045962" sldId="2147473973"/>
            <ac:spMk id="677" creationId="{2783282D-2A85-FC4B-706E-847DD1FDC960}"/>
          </ac:spMkLst>
        </pc:spChg>
        <pc:spChg chg="add del mod">
          <ac:chgData name="Steiner Andreas 6206 ED" userId="e6377c33-a923-4f14-8587-531c474c7b48" providerId="ADAL" clId="{6ECD27E6-B224-41CD-B4E0-E297462320DD}" dt="2023-11-24T08:54:51.746" v="103974"/>
          <ac:spMkLst>
            <pc:docMk/>
            <pc:sldMk cId="2752045962" sldId="2147473973"/>
            <ac:spMk id="678" creationId="{03D653BC-FA83-377C-6B6D-B62862FC337B}"/>
          </ac:spMkLst>
        </pc:spChg>
        <pc:spChg chg="add del mod">
          <ac:chgData name="Steiner Andreas 6206 ED" userId="e6377c33-a923-4f14-8587-531c474c7b48" providerId="ADAL" clId="{6ECD27E6-B224-41CD-B4E0-E297462320DD}" dt="2023-11-24T08:54:53.800" v="104129"/>
          <ac:spMkLst>
            <pc:docMk/>
            <pc:sldMk cId="2752045962" sldId="2147473973"/>
            <ac:spMk id="679" creationId="{C410F852-DF93-95FF-2B0B-7A27ED629242}"/>
          </ac:spMkLst>
        </pc:spChg>
        <pc:spChg chg="add del mod">
          <ac:chgData name="Steiner Andreas 6206 ED" userId="e6377c33-a923-4f14-8587-531c474c7b48" providerId="ADAL" clId="{6ECD27E6-B224-41CD-B4E0-E297462320DD}" dt="2023-11-24T08:54:55.925" v="104284"/>
          <ac:spMkLst>
            <pc:docMk/>
            <pc:sldMk cId="2752045962" sldId="2147473973"/>
            <ac:spMk id="680" creationId="{9D417F1B-85B9-AA5F-5053-E75827B5E2AA}"/>
          </ac:spMkLst>
        </pc:spChg>
        <pc:spChg chg="add del mod">
          <ac:chgData name="Steiner Andreas 6206 ED" userId="e6377c33-a923-4f14-8587-531c474c7b48" providerId="ADAL" clId="{6ECD27E6-B224-41CD-B4E0-E297462320DD}" dt="2023-11-24T08:54:58.001" v="104439"/>
          <ac:spMkLst>
            <pc:docMk/>
            <pc:sldMk cId="2752045962" sldId="2147473973"/>
            <ac:spMk id="681" creationId="{4ED51E5D-8372-4982-6695-DE05D3D5F7BD}"/>
          </ac:spMkLst>
        </pc:spChg>
        <pc:spChg chg="add del mod">
          <ac:chgData name="Steiner Andreas 6206 ED" userId="e6377c33-a923-4f14-8587-531c474c7b48" providerId="ADAL" clId="{6ECD27E6-B224-41CD-B4E0-E297462320DD}" dt="2023-11-24T08:55:00.005" v="104594"/>
          <ac:spMkLst>
            <pc:docMk/>
            <pc:sldMk cId="2752045962" sldId="2147473973"/>
            <ac:spMk id="682" creationId="{A0C25703-60FF-AE62-1729-DC47FA84AFEF}"/>
          </ac:spMkLst>
        </pc:spChg>
        <pc:spChg chg="add del mod">
          <ac:chgData name="Steiner Andreas 6206 ED" userId="e6377c33-a923-4f14-8587-531c474c7b48" providerId="ADAL" clId="{6ECD27E6-B224-41CD-B4E0-E297462320DD}" dt="2023-11-24T08:55:01.957" v="104749"/>
          <ac:spMkLst>
            <pc:docMk/>
            <pc:sldMk cId="2752045962" sldId="2147473973"/>
            <ac:spMk id="683" creationId="{9041B15E-4396-8EB0-EF5E-3F9B63A5E740}"/>
          </ac:spMkLst>
        </pc:spChg>
        <pc:spChg chg="add del mod">
          <ac:chgData name="Steiner Andreas 6206 ED" userId="e6377c33-a923-4f14-8587-531c474c7b48" providerId="ADAL" clId="{6ECD27E6-B224-41CD-B4E0-E297462320DD}" dt="2023-11-24T08:55:03.929" v="104904"/>
          <ac:spMkLst>
            <pc:docMk/>
            <pc:sldMk cId="2752045962" sldId="2147473973"/>
            <ac:spMk id="684" creationId="{93EC8C9A-DF20-3269-BBC5-FFA96E74B18F}"/>
          </ac:spMkLst>
        </pc:spChg>
        <pc:spChg chg="add del mod">
          <ac:chgData name="Steiner Andreas 6206 ED" userId="e6377c33-a923-4f14-8587-531c474c7b48" providerId="ADAL" clId="{6ECD27E6-B224-41CD-B4E0-E297462320DD}" dt="2023-11-24T08:55:06.052" v="105059"/>
          <ac:spMkLst>
            <pc:docMk/>
            <pc:sldMk cId="2752045962" sldId="2147473973"/>
            <ac:spMk id="685" creationId="{6E1B04F6-E2FC-2726-E3E1-1A91986E2835}"/>
          </ac:spMkLst>
        </pc:spChg>
        <pc:spChg chg="add del mod">
          <ac:chgData name="Steiner Andreas 6206 ED" userId="e6377c33-a923-4f14-8587-531c474c7b48" providerId="ADAL" clId="{6ECD27E6-B224-41CD-B4E0-E297462320DD}" dt="2023-11-24T08:55:08.139" v="105214"/>
          <ac:spMkLst>
            <pc:docMk/>
            <pc:sldMk cId="2752045962" sldId="2147473973"/>
            <ac:spMk id="686" creationId="{97E4C088-28C8-A884-9D62-175E059EE7EC}"/>
          </ac:spMkLst>
        </pc:spChg>
        <pc:spChg chg="add del mod">
          <ac:chgData name="Steiner Andreas 6206 ED" userId="e6377c33-a923-4f14-8587-531c474c7b48" providerId="ADAL" clId="{6ECD27E6-B224-41CD-B4E0-E297462320DD}" dt="2023-11-24T08:55:10.131" v="105369"/>
          <ac:spMkLst>
            <pc:docMk/>
            <pc:sldMk cId="2752045962" sldId="2147473973"/>
            <ac:spMk id="687" creationId="{6A366BE6-A378-7D0C-E52F-74CC63DF75CB}"/>
          </ac:spMkLst>
        </pc:spChg>
        <pc:spChg chg="add del mod">
          <ac:chgData name="Steiner Andreas 6206 ED" userId="e6377c33-a923-4f14-8587-531c474c7b48" providerId="ADAL" clId="{6ECD27E6-B224-41CD-B4E0-E297462320DD}" dt="2023-11-24T08:55:12.114" v="105524"/>
          <ac:spMkLst>
            <pc:docMk/>
            <pc:sldMk cId="2752045962" sldId="2147473973"/>
            <ac:spMk id="688" creationId="{1824068E-351D-1E9A-89B4-4C194A197AC4}"/>
          </ac:spMkLst>
        </pc:spChg>
        <pc:spChg chg="add del mod">
          <ac:chgData name="Steiner Andreas 6206 ED" userId="e6377c33-a923-4f14-8587-531c474c7b48" providerId="ADAL" clId="{6ECD27E6-B224-41CD-B4E0-E297462320DD}" dt="2023-11-24T08:55:14.173" v="105679"/>
          <ac:spMkLst>
            <pc:docMk/>
            <pc:sldMk cId="2752045962" sldId="2147473973"/>
            <ac:spMk id="689" creationId="{1B71822A-E4A6-EC1C-7874-3B9F6034A3A1}"/>
          </ac:spMkLst>
        </pc:spChg>
        <pc:spChg chg="add del mod">
          <ac:chgData name="Steiner Andreas 6206 ED" userId="e6377c33-a923-4f14-8587-531c474c7b48" providerId="ADAL" clId="{6ECD27E6-B224-41CD-B4E0-E297462320DD}" dt="2023-11-24T08:55:16.237" v="105834"/>
          <ac:spMkLst>
            <pc:docMk/>
            <pc:sldMk cId="2752045962" sldId="2147473973"/>
            <ac:spMk id="690" creationId="{D865046D-9955-BC39-CC8A-47C41143E33B}"/>
          </ac:spMkLst>
        </pc:spChg>
        <pc:spChg chg="add del mod">
          <ac:chgData name="Steiner Andreas 6206 ED" userId="e6377c33-a923-4f14-8587-531c474c7b48" providerId="ADAL" clId="{6ECD27E6-B224-41CD-B4E0-E297462320DD}" dt="2023-11-24T08:55:18.275" v="105989"/>
          <ac:spMkLst>
            <pc:docMk/>
            <pc:sldMk cId="2752045962" sldId="2147473973"/>
            <ac:spMk id="691" creationId="{7D55982D-B8AD-7229-BD3F-4CB68F66D98E}"/>
          </ac:spMkLst>
        </pc:spChg>
        <pc:spChg chg="add del mod">
          <ac:chgData name="Steiner Andreas 6206 ED" userId="e6377c33-a923-4f14-8587-531c474c7b48" providerId="ADAL" clId="{6ECD27E6-B224-41CD-B4E0-E297462320DD}" dt="2023-11-24T08:55:20.292" v="106144"/>
          <ac:spMkLst>
            <pc:docMk/>
            <pc:sldMk cId="2752045962" sldId="2147473973"/>
            <ac:spMk id="692" creationId="{244AFE45-C63E-2037-4FCB-C39317643188}"/>
          </ac:spMkLst>
        </pc:spChg>
        <pc:spChg chg="add del mod">
          <ac:chgData name="Steiner Andreas 6206 ED" userId="e6377c33-a923-4f14-8587-531c474c7b48" providerId="ADAL" clId="{6ECD27E6-B224-41CD-B4E0-E297462320DD}" dt="2023-11-24T08:55:22.236" v="106299"/>
          <ac:spMkLst>
            <pc:docMk/>
            <pc:sldMk cId="2752045962" sldId="2147473973"/>
            <ac:spMk id="693" creationId="{F953453D-48A5-C08A-68B7-514780EE5864}"/>
          </ac:spMkLst>
        </pc:spChg>
        <pc:spChg chg="add del mod">
          <ac:chgData name="Steiner Andreas 6206 ED" userId="e6377c33-a923-4f14-8587-531c474c7b48" providerId="ADAL" clId="{6ECD27E6-B224-41CD-B4E0-E297462320DD}" dt="2023-11-24T08:55:24.246" v="106454"/>
          <ac:spMkLst>
            <pc:docMk/>
            <pc:sldMk cId="2752045962" sldId="2147473973"/>
            <ac:spMk id="694" creationId="{1F3C2E2B-5A0B-AC8D-40FD-3B7879E8A461}"/>
          </ac:spMkLst>
        </pc:spChg>
        <pc:spChg chg="add del mod">
          <ac:chgData name="Steiner Andreas 6206 ED" userId="e6377c33-a923-4f14-8587-531c474c7b48" providerId="ADAL" clId="{6ECD27E6-B224-41CD-B4E0-E297462320DD}" dt="2023-11-24T08:55:26.216" v="106609"/>
          <ac:spMkLst>
            <pc:docMk/>
            <pc:sldMk cId="2752045962" sldId="2147473973"/>
            <ac:spMk id="695" creationId="{8DA14331-41D6-BEEF-2040-27B9B8A8858B}"/>
          </ac:spMkLst>
        </pc:spChg>
        <pc:spChg chg="add del mod">
          <ac:chgData name="Steiner Andreas 6206 ED" userId="e6377c33-a923-4f14-8587-531c474c7b48" providerId="ADAL" clId="{6ECD27E6-B224-41CD-B4E0-E297462320DD}" dt="2023-11-24T08:55:28.366" v="106764"/>
          <ac:spMkLst>
            <pc:docMk/>
            <pc:sldMk cId="2752045962" sldId="2147473973"/>
            <ac:spMk id="696" creationId="{E2BF4E6C-2D32-C9A7-FEBA-FB811D261195}"/>
          </ac:spMkLst>
        </pc:spChg>
        <pc:spChg chg="add del mod">
          <ac:chgData name="Steiner Andreas 6206 ED" userId="e6377c33-a923-4f14-8587-531c474c7b48" providerId="ADAL" clId="{6ECD27E6-B224-41CD-B4E0-E297462320DD}" dt="2023-11-24T08:55:30.341" v="106919"/>
          <ac:spMkLst>
            <pc:docMk/>
            <pc:sldMk cId="2752045962" sldId="2147473973"/>
            <ac:spMk id="697" creationId="{159B4277-8F81-574A-B500-6EEC00A80D82}"/>
          </ac:spMkLst>
        </pc:spChg>
        <pc:spChg chg="add del mod">
          <ac:chgData name="Steiner Andreas 6206 ED" userId="e6377c33-a923-4f14-8587-531c474c7b48" providerId="ADAL" clId="{6ECD27E6-B224-41CD-B4E0-E297462320DD}" dt="2023-11-24T08:55:32.537" v="107074"/>
          <ac:spMkLst>
            <pc:docMk/>
            <pc:sldMk cId="2752045962" sldId="2147473973"/>
            <ac:spMk id="698" creationId="{EC4FAA5C-B9C6-3E05-350A-36A00AEAC701}"/>
          </ac:spMkLst>
        </pc:spChg>
        <pc:spChg chg="add del mod">
          <ac:chgData name="Steiner Andreas 6206 ED" userId="e6377c33-a923-4f14-8587-531c474c7b48" providerId="ADAL" clId="{6ECD27E6-B224-41CD-B4E0-E297462320DD}" dt="2023-11-24T08:55:34.434" v="107229"/>
          <ac:spMkLst>
            <pc:docMk/>
            <pc:sldMk cId="2752045962" sldId="2147473973"/>
            <ac:spMk id="699" creationId="{A36D68D7-F090-19C2-5D0A-1E911054F9F8}"/>
          </ac:spMkLst>
        </pc:spChg>
        <pc:spChg chg="add del mod">
          <ac:chgData name="Steiner Andreas 6206 ED" userId="e6377c33-a923-4f14-8587-531c474c7b48" providerId="ADAL" clId="{6ECD27E6-B224-41CD-B4E0-E297462320DD}" dt="2023-11-24T08:55:36.371" v="107384"/>
          <ac:spMkLst>
            <pc:docMk/>
            <pc:sldMk cId="2752045962" sldId="2147473973"/>
            <ac:spMk id="700" creationId="{853492DD-FF5F-59D8-E39B-CE264F26515F}"/>
          </ac:spMkLst>
        </pc:spChg>
        <pc:spChg chg="add del mod">
          <ac:chgData name="Steiner Andreas 6206 ED" userId="e6377c33-a923-4f14-8587-531c474c7b48" providerId="ADAL" clId="{6ECD27E6-B224-41CD-B4E0-E297462320DD}" dt="2023-11-24T08:55:38.399" v="107539"/>
          <ac:spMkLst>
            <pc:docMk/>
            <pc:sldMk cId="2752045962" sldId="2147473973"/>
            <ac:spMk id="701" creationId="{A0293FF8-5F3D-105E-2CAA-2BAC7BF85171}"/>
          </ac:spMkLst>
        </pc:spChg>
        <pc:spChg chg="add del mod">
          <ac:chgData name="Steiner Andreas 6206 ED" userId="e6377c33-a923-4f14-8587-531c474c7b48" providerId="ADAL" clId="{6ECD27E6-B224-41CD-B4E0-E297462320DD}" dt="2023-11-24T08:55:40.442" v="107694"/>
          <ac:spMkLst>
            <pc:docMk/>
            <pc:sldMk cId="2752045962" sldId="2147473973"/>
            <ac:spMk id="702" creationId="{CC4B30A6-5C22-9563-8464-AFC972D2C178}"/>
          </ac:spMkLst>
        </pc:spChg>
        <pc:spChg chg="add del mod">
          <ac:chgData name="Steiner Andreas 6206 ED" userId="e6377c33-a923-4f14-8587-531c474c7b48" providerId="ADAL" clId="{6ECD27E6-B224-41CD-B4E0-E297462320DD}" dt="2023-11-24T08:55:42.320" v="107849"/>
          <ac:spMkLst>
            <pc:docMk/>
            <pc:sldMk cId="2752045962" sldId="2147473973"/>
            <ac:spMk id="703" creationId="{4F515880-B487-250C-187B-F87BA1EFB8A8}"/>
          </ac:spMkLst>
        </pc:spChg>
        <pc:spChg chg="add del mod">
          <ac:chgData name="Steiner Andreas 6206 ED" userId="e6377c33-a923-4f14-8587-531c474c7b48" providerId="ADAL" clId="{6ECD27E6-B224-41CD-B4E0-E297462320DD}" dt="2023-11-24T08:55:44.291" v="108004"/>
          <ac:spMkLst>
            <pc:docMk/>
            <pc:sldMk cId="2752045962" sldId="2147473973"/>
            <ac:spMk id="704" creationId="{C75AC66D-6F76-0881-1873-A31E6B3B027D}"/>
          </ac:spMkLst>
        </pc:spChg>
        <pc:spChg chg="add del mod">
          <ac:chgData name="Steiner Andreas 6206 ED" userId="e6377c33-a923-4f14-8587-531c474c7b48" providerId="ADAL" clId="{6ECD27E6-B224-41CD-B4E0-E297462320DD}" dt="2023-11-24T08:55:46.625" v="108159"/>
          <ac:spMkLst>
            <pc:docMk/>
            <pc:sldMk cId="2752045962" sldId="2147473973"/>
            <ac:spMk id="705" creationId="{35B9CFBB-24B3-4090-1C0D-34E75932A3D3}"/>
          </ac:spMkLst>
        </pc:spChg>
        <pc:spChg chg="add del mod">
          <ac:chgData name="Steiner Andreas 6206 ED" userId="e6377c33-a923-4f14-8587-531c474c7b48" providerId="ADAL" clId="{6ECD27E6-B224-41CD-B4E0-E297462320DD}" dt="2023-11-24T08:55:48.831" v="108314"/>
          <ac:spMkLst>
            <pc:docMk/>
            <pc:sldMk cId="2752045962" sldId="2147473973"/>
            <ac:spMk id="706" creationId="{1C471132-917F-5222-DD46-207395C4B083}"/>
          </ac:spMkLst>
        </pc:spChg>
        <pc:spChg chg="add del mod">
          <ac:chgData name="Steiner Andreas 6206 ED" userId="e6377c33-a923-4f14-8587-531c474c7b48" providerId="ADAL" clId="{6ECD27E6-B224-41CD-B4E0-E297462320DD}" dt="2023-11-24T08:55:51.263" v="108469"/>
          <ac:spMkLst>
            <pc:docMk/>
            <pc:sldMk cId="2752045962" sldId="2147473973"/>
            <ac:spMk id="707" creationId="{61A719D4-E00C-6AF6-CC3C-73353EEEF126}"/>
          </ac:spMkLst>
        </pc:spChg>
        <pc:spChg chg="add del mod">
          <ac:chgData name="Steiner Andreas 6206 ED" userId="e6377c33-a923-4f14-8587-531c474c7b48" providerId="ADAL" clId="{6ECD27E6-B224-41CD-B4E0-E297462320DD}" dt="2023-11-24T08:55:53.305" v="108624"/>
          <ac:spMkLst>
            <pc:docMk/>
            <pc:sldMk cId="2752045962" sldId="2147473973"/>
            <ac:spMk id="708" creationId="{7656D97E-AD01-2011-11BA-052F70F952F1}"/>
          </ac:spMkLst>
        </pc:spChg>
        <pc:spChg chg="add del mod">
          <ac:chgData name="Steiner Andreas 6206 ED" userId="e6377c33-a923-4f14-8587-531c474c7b48" providerId="ADAL" clId="{6ECD27E6-B224-41CD-B4E0-E297462320DD}" dt="2023-11-24T08:55:55.431" v="108779"/>
          <ac:spMkLst>
            <pc:docMk/>
            <pc:sldMk cId="2752045962" sldId="2147473973"/>
            <ac:spMk id="709" creationId="{F1F2BFBF-52B2-B638-7C00-45A261E931E9}"/>
          </ac:spMkLst>
        </pc:spChg>
        <pc:spChg chg="add del mod">
          <ac:chgData name="Steiner Andreas 6206 ED" userId="e6377c33-a923-4f14-8587-531c474c7b48" providerId="ADAL" clId="{6ECD27E6-B224-41CD-B4E0-E297462320DD}" dt="2023-11-24T08:55:57.449" v="108934"/>
          <ac:spMkLst>
            <pc:docMk/>
            <pc:sldMk cId="2752045962" sldId="2147473973"/>
            <ac:spMk id="710" creationId="{2B3B38B3-93EF-6664-5EB7-087BE5114B86}"/>
          </ac:spMkLst>
        </pc:spChg>
        <pc:spChg chg="add del mod">
          <ac:chgData name="Steiner Andreas 6206 ED" userId="e6377c33-a923-4f14-8587-531c474c7b48" providerId="ADAL" clId="{6ECD27E6-B224-41CD-B4E0-E297462320DD}" dt="2023-11-24T08:55:59.532" v="109089"/>
          <ac:spMkLst>
            <pc:docMk/>
            <pc:sldMk cId="2752045962" sldId="2147473973"/>
            <ac:spMk id="711" creationId="{EFB2AB86-CB93-6896-5743-3F9B8C436AC0}"/>
          </ac:spMkLst>
        </pc:spChg>
        <pc:spChg chg="add del mod">
          <ac:chgData name="Steiner Andreas 6206 ED" userId="e6377c33-a923-4f14-8587-531c474c7b48" providerId="ADAL" clId="{6ECD27E6-B224-41CD-B4E0-E297462320DD}" dt="2023-11-24T08:56:01.913" v="109244"/>
          <ac:spMkLst>
            <pc:docMk/>
            <pc:sldMk cId="2752045962" sldId="2147473973"/>
            <ac:spMk id="712" creationId="{5A264BA3-748F-BADD-6B8F-5FE0A0350F96}"/>
          </ac:spMkLst>
        </pc:spChg>
        <pc:spChg chg="add del mod">
          <ac:chgData name="Steiner Andreas 6206 ED" userId="e6377c33-a923-4f14-8587-531c474c7b48" providerId="ADAL" clId="{6ECD27E6-B224-41CD-B4E0-E297462320DD}" dt="2023-11-24T08:56:04.163" v="109399"/>
          <ac:spMkLst>
            <pc:docMk/>
            <pc:sldMk cId="2752045962" sldId="2147473973"/>
            <ac:spMk id="713" creationId="{DA49F324-1065-31A4-B10B-95BBC8D3B6C4}"/>
          </ac:spMkLst>
        </pc:spChg>
        <pc:spChg chg="add del mod">
          <ac:chgData name="Steiner Andreas 6206 ED" userId="e6377c33-a923-4f14-8587-531c474c7b48" providerId="ADAL" clId="{6ECD27E6-B224-41CD-B4E0-E297462320DD}" dt="2023-11-24T08:56:06.461" v="109554"/>
          <ac:spMkLst>
            <pc:docMk/>
            <pc:sldMk cId="2752045962" sldId="2147473973"/>
            <ac:spMk id="714" creationId="{214D24D5-95B4-93AA-9A8F-435D5D862AEC}"/>
          </ac:spMkLst>
        </pc:spChg>
        <pc:spChg chg="add del mod">
          <ac:chgData name="Steiner Andreas 6206 ED" userId="e6377c33-a923-4f14-8587-531c474c7b48" providerId="ADAL" clId="{6ECD27E6-B224-41CD-B4E0-E297462320DD}" dt="2023-11-24T08:56:08.744" v="109709"/>
          <ac:spMkLst>
            <pc:docMk/>
            <pc:sldMk cId="2752045962" sldId="2147473973"/>
            <ac:spMk id="715" creationId="{83A39FA3-71C6-D16D-8879-1C8381CB6CE9}"/>
          </ac:spMkLst>
        </pc:spChg>
        <pc:spChg chg="add del mod">
          <ac:chgData name="Steiner Andreas 6206 ED" userId="e6377c33-a923-4f14-8587-531c474c7b48" providerId="ADAL" clId="{6ECD27E6-B224-41CD-B4E0-E297462320DD}" dt="2023-11-24T08:56:10.789" v="109864"/>
          <ac:spMkLst>
            <pc:docMk/>
            <pc:sldMk cId="2752045962" sldId="2147473973"/>
            <ac:spMk id="716" creationId="{4E7AFDD4-D362-07EA-3302-A1B745E7596C}"/>
          </ac:spMkLst>
        </pc:spChg>
        <pc:spChg chg="add del mod">
          <ac:chgData name="Steiner Andreas 6206 ED" userId="e6377c33-a923-4f14-8587-531c474c7b48" providerId="ADAL" clId="{6ECD27E6-B224-41CD-B4E0-E297462320DD}" dt="2023-11-24T08:56:12.907" v="110019"/>
          <ac:spMkLst>
            <pc:docMk/>
            <pc:sldMk cId="2752045962" sldId="2147473973"/>
            <ac:spMk id="717" creationId="{96980BF4-AB80-ABC0-F425-A23D6422BE86}"/>
          </ac:spMkLst>
        </pc:spChg>
        <pc:spChg chg="add del mod">
          <ac:chgData name="Steiner Andreas 6206 ED" userId="e6377c33-a923-4f14-8587-531c474c7b48" providerId="ADAL" clId="{6ECD27E6-B224-41CD-B4E0-E297462320DD}" dt="2023-11-24T08:56:15.029" v="110174"/>
          <ac:spMkLst>
            <pc:docMk/>
            <pc:sldMk cId="2752045962" sldId="2147473973"/>
            <ac:spMk id="718" creationId="{C1F019FF-9DA1-A10E-2339-213B18275BF6}"/>
          </ac:spMkLst>
        </pc:spChg>
        <pc:spChg chg="add del mod">
          <ac:chgData name="Steiner Andreas 6206 ED" userId="e6377c33-a923-4f14-8587-531c474c7b48" providerId="ADAL" clId="{6ECD27E6-B224-41CD-B4E0-E297462320DD}" dt="2023-11-24T08:56:17.009" v="110329"/>
          <ac:spMkLst>
            <pc:docMk/>
            <pc:sldMk cId="2752045962" sldId="2147473973"/>
            <ac:spMk id="719" creationId="{9083DC58-BCA0-9B92-6DE1-D928C30EFA10}"/>
          </ac:spMkLst>
        </pc:spChg>
        <pc:spChg chg="add del mod">
          <ac:chgData name="Steiner Andreas 6206 ED" userId="e6377c33-a923-4f14-8587-531c474c7b48" providerId="ADAL" clId="{6ECD27E6-B224-41CD-B4E0-E297462320DD}" dt="2023-11-24T08:56:18.989" v="110484"/>
          <ac:spMkLst>
            <pc:docMk/>
            <pc:sldMk cId="2752045962" sldId="2147473973"/>
            <ac:spMk id="720" creationId="{6352B4DC-392A-74C2-15CF-6025E4627D2C}"/>
          </ac:spMkLst>
        </pc:spChg>
        <pc:spChg chg="add del mod">
          <ac:chgData name="Steiner Andreas 6206 ED" userId="e6377c33-a923-4f14-8587-531c474c7b48" providerId="ADAL" clId="{6ECD27E6-B224-41CD-B4E0-E297462320DD}" dt="2023-11-24T08:56:20.933" v="110639"/>
          <ac:spMkLst>
            <pc:docMk/>
            <pc:sldMk cId="2752045962" sldId="2147473973"/>
            <ac:spMk id="721" creationId="{91C3624D-6E21-3DBA-50AF-B863AFE3E6E1}"/>
          </ac:spMkLst>
        </pc:spChg>
        <pc:spChg chg="add del mod">
          <ac:chgData name="Steiner Andreas 6206 ED" userId="e6377c33-a923-4f14-8587-531c474c7b48" providerId="ADAL" clId="{6ECD27E6-B224-41CD-B4E0-E297462320DD}" dt="2023-11-24T08:56:23.074" v="110794"/>
          <ac:spMkLst>
            <pc:docMk/>
            <pc:sldMk cId="2752045962" sldId="2147473973"/>
            <ac:spMk id="722" creationId="{B1A64D01-E47E-84E6-482C-AC218F44374D}"/>
          </ac:spMkLst>
        </pc:spChg>
        <pc:spChg chg="add del mod">
          <ac:chgData name="Steiner Andreas 6206 ED" userId="e6377c33-a923-4f14-8587-531c474c7b48" providerId="ADAL" clId="{6ECD27E6-B224-41CD-B4E0-E297462320DD}" dt="2023-11-24T08:56:25.273" v="110949"/>
          <ac:spMkLst>
            <pc:docMk/>
            <pc:sldMk cId="2752045962" sldId="2147473973"/>
            <ac:spMk id="723" creationId="{AAF552FA-1080-7B17-044B-74B92DA08D86}"/>
          </ac:spMkLst>
        </pc:spChg>
        <pc:spChg chg="add del mod">
          <ac:chgData name="Steiner Andreas 6206 ED" userId="e6377c33-a923-4f14-8587-531c474c7b48" providerId="ADAL" clId="{6ECD27E6-B224-41CD-B4E0-E297462320DD}" dt="2023-11-24T08:56:27.300" v="111104"/>
          <ac:spMkLst>
            <pc:docMk/>
            <pc:sldMk cId="2752045962" sldId="2147473973"/>
            <ac:spMk id="724" creationId="{096340B3-ADBD-3BF6-DFB8-52673B6B9DC5}"/>
          </ac:spMkLst>
        </pc:spChg>
        <pc:spChg chg="add del mod">
          <ac:chgData name="Steiner Andreas 6206 ED" userId="e6377c33-a923-4f14-8587-531c474c7b48" providerId="ADAL" clId="{6ECD27E6-B224-41CD-B4E0-E297462320DD}" dt="2023-11-24T08:56:29.337" v="111259"/>
          <ac:spMkLst>
            <pc:docMk/>
            <pc:sldMk cId="2752045962" sldId="2147473973"/>
            <ac:spMk id="725" creationId="{3950A907-3706-77DA-593F-CD604832A28D}"/>
          </ac:spMkLst>
        </pc:spChg>
        <pc:spChg chg="add del mod">
          <ac:chgData name="Steiner Andreas 6206 ED" userId="e6377c33-a923-4f14-8587-531c474c7b48" providerId="ADAL" clId="{6ECD27E6-B224-41CD-B4E0-E297462320DD}" dt="2023-11-24T08:56:31.440" v="111414"/>
          <ac:spMkLst>
            <pc:docMk/>
            <pc:sldMk cId="2752045962" sldId="2147473973"/>
            <ac:spMk id="726" creationId="{74D17030-908B-2E0B-8ED0-653353DDEA65}"/>
          </ac:spMkLst>
        </pc:spChg>
        <pc:spChg chg="add del mod">
          <ac:chgData name="Steiner Andreas 6206 ED" userId="e6377c33-a923-4f14-8587-531c474c7b48" providerId="ADAL" clId="{6ECD27E6-B224-41CD-B4E0-E297462320DD}" dt="2023-11-24T08:56:33.670" v="111569"/>
          <ac:spMkLst>
            <pc:docMk/>
            <pc:sldMk cId="2752045962" sldId="2147473973"/>
            <ac:spMk id="727" creationId="{17C62798-A822-2558-BFA2-355B9014EAA8}"/>
          </ac:spMkLst>
        </pc:spChg>
        <pc:spChg chg="add del mod">
          <ac:chgData name="Steiner Andreas 6206 ED" userId="e6377c33-a923-4f14-8587-531c474c7b48" providerId="ADAL" clId="{6ECD27E6-B224-41CD-B4E0-E297462320DD}" dt="2023-11-24T08:56:35.851" v="111724"/>
          <ac:spMkLst>
            <pc:docMk/>
            <pc:sldMk cId="2752045962" sldId="2147473973"/>
            <ac:spMk id="728" creationId="{AFBA0882-8C4F-587F-6A31-1899DAC48734}"/>
          </ac:spMkLst>
        </pc:spChg>
        <pc:spChg chg="add del mod">
          <ac:chgData name="Steiner Andreas 6206 ED" userId="e6377c33-a923-4f14-8587-531c474c7b48" providerId="ADAL" clId="{6ECD27E6-B224-41CD-B4E0-E297462320DD}" dt="2023-11-24T08:56:37.917" v="111879"/>
          <ac:spMkLst>
            <pc:docMk/>
            <pc:sldMk cId="2752045962" sldId="2147473973"/>
            <ac:spMk id="729" creationId="{14476E42-83FA-50AF-63C4-436A5071F365}"/>
          </ac:spMkLst>
        </pc:spChg>
        <pc:spChg chg="add del mod">
          <ac:chgData name="Steiner Andreas 6206 ED" userId="e6377c33-a923-4f14-8587-531c474c7b48" providerId="ADAL" clId="{6ECD27E6-B224-41CD-B4E0-E297462320DD}" dt="2023-11-24T08:56:40.065" v="112034"/>
          <ac:spMkLst>
            <pc:docMk/>
            <pc:sldMk cId="2752045962" sldId="2147473973"/>
            <ac:spMk id="730" creationId="{D09B8E2E-B6E6-0290-B7BE-F8819D91DFE1}"/>
          </ac:spMkLst>
        </pc:spChg>
        <pc:spChg chg="add del mod">
          <ac:chgData name="Steiner Andreas 6206 ED" userId="e6377c33-a923-4f14-8587-531c474c7b48" providerId="ADAL" clId="{6ECD27E6-B224-41CD-B4E0-E297462320DD}" dt="2023-11-24T08:56:42.015" v="112189"/>
          <ac:spMkLst>
            <pc:docMk/>
            <pc:sldMk cId="2752045962" sldId="2147473973"/>
            <ac:spMk id="731" creationId="{7D745679-91A5-484D-A685-B015937AD88C}"/>
          </ac:spMkLst>
        </pc:spChg>
        <pc:spChg chg="add del mod">
          <ac:chgData name="Steiner Andreas 6206 ED" userId="e6377c33-a923-4f14-8587-531c474c7b48" providerId="ADAL" clId="{6ECD27E6-B224-41CD-B4E0-E297462320DD}" dt="2023-11-24T08:56:44.016" v="112344"/>
          <ac:spMkLst>
            <pc:docMk/>
            <pc:sldMk cId="2752045962" sldId="2147473973"/>
            <ac:spMk id="732" creationId="{0E56F393-7AD2-63B4-F7EB-35EA0D73B995}"/>
          </ac:spMkLst>
        </pc:spChg>
        <pc:spChg chg="add del mod">
          <ac:chgData name="Steiner Andreas 6206 ED" userId="e6377c33-a923-4f14-8587-531c474c7b48" providerId="ADAL" clId="{6ECD27E6-B224-41CD-B4E0-E297462320DD}" dt="2023-11-24T08:56:46.047" v="112499"/>
          <ac:spMkLst>
            <pc:docMk/>
            <pc:sldMk cId="2752045962" sldId="2147473973"/>
            <ac:spMk id="733" creationId="{E8A319D1-78F1-D40D-D8DF-B969DA61861B}"/>
          </ac:spMkLst>
        </pc:spChg>
        <pc:spChg chg="add del mod">
          <ac:chgData name="Steiner Andreas 6206 ED" userId="e6377c33-a923-4f14-8587-531c474c7b48" providerId="ADAL" clId="{6ECD27E6-B224-41CD-B4E0-E297462320DD}" dt="2023-11-24T08:56:48.260" v="112654"/>
          <ac:spMkLst>
            <pc:docMk/>
            <pc:sldMk cId="2752045962" sldId="2147473973"/>
            <ac:spMk id="734" creationId="{FFB9B816-233F-D798-F5C6-F885EF4AE000}"/>
          </ac:spMkLst>
        </pc:spChg>
        <pc:spChg chg="add del mod">
          <ac:chgData name="Steiner Andreas 6206 ED" userId="e6377c33-a923-4f14-8587-531c474c7b48" providerId="ADAL" clId="{6ECD27E6-B224-41CD-B4E0-E297462320DD}" dt="2023-11-24T08:56:50.315" v="112809"/>
          <ac:spMkLst>
            <pc:docMk/>
            <pc:sldMk cId="2752045962" sldId="2147473973"/>
            <ac:spMk id="735" creationId="{A341F805-90CE-C7B1-9773-B2FB49DF2F0B}"/>
          </ac:spMkLst>
        </pc:spChg>
        <pc:spChg chg="add del mod">
          <ac:chgData name="Steiner Andreas 6206 ED" userId="e6377c33-a923-4f14-8587-531c474c7b48" providerId="ADAL" clId="{6ECD27E6-B224-41CD-B4E0-E297462320DD}" dt="2023-11-24T08:56:52.244" v="112964"/>
          <ac:spMkLst>
            <pc:docMk/>
            <pc:sldMk cId="2752045962" sldId="2147473973"/>
            <ac:spMk id="736" creationId="{77716F7D-A64C-C900-3151-B6E4B6AB1217}"/>
          </ac:spMkLst>
        </pc:spChg>
        <pc:spChg chg="add del mod">
          <ac:chgData name="Steiner Andreas 6206 ED" userId="e6377c33-a923-4f14-8587-531c474c7b48" providerId="ADAL" clId="{6ECD27E6-B224-41CD-B4E0-E297462320DD}" dt="2023-11-24T08:56:54.367" v="113119"/>
          <ac:spMkLst>
            <pc:docMk/>
            <pc:sldMk cId="2752045962" sldId="2147473973"/>
            <ac:spMk id="737" creationId="{760C45D5-B4D6-B741-7396-6F8434FBC5B9}"/>
          </ac:spMkLst>
        </pc:spChg>
        <pc:spChg chg="add del mod">
          <ac:chgData name="Steiner Andreas 6206 ED" userId="e6377c33-a923-4f14-8587-531c474c7b48" providerId="ADAL" clId="{6ECD27E6-B224-41CD-B4E0-E297462320DD}" dt="2023-11-24T08:56:56.324" v="113274"/>
          <ac:spMkLst>
            <pc:docMk/>
            <pc:sldMk cId="2752045962" sldId="2147473973"/>
            <ac:spMk id="738" creationId="{A2E13F9D-920F-946D-9100-6667C77932ED}"/>
          </ac:spMkLst>
        </pc:spChg>
        <pc:spChg chg="add del mod">
          <ac:chgData name="Steiner Andreas 6206 ED" userId="e6377c33-a923-4f14-8587-531c474c7b48" providerId="ADAL" clId="{6ECD27E6-B224-41CD-B4E0-E297462320DD}" dt="2023-11-24T08:56:58.453" v="113429"/>
          <ac:spMkLst>
            <pc:docMk/>
            <pc:sldMk cId="2752045962" sldId="2147473973"/>
            <ac:spMk id="739" creationId="{2AB4449C-B05B-E5AF-A486-C478CF834C39}"/>
          </ac:spMkLst>
        </pc:spChg>
        <pc:spChg chg="add del mod">
          <ac:chgData name="Steiner Andreas 6206 ED" userId="e6377c33-a923-4f14-8587-531c474c7b48" providerId="ADAL" clId="{6ECD27E6-B224-41CD-B4E0-E297462320DD}" dt="2023-11-24T08:57:00.752" v="113584"/>
          <ac:spMkLst>
            <pc:docMk/>
            <pc:sldMk cId="2752045962" sldId="2147473973"/>
            <ac:spMk id="740" creationId="{EE63966A-9A3C-3114-CBF9-71349578B567}"/>
          </ac:spMkLst>
        </pc:spChg>
        <pc:spChg chg="add del mod">
          <ac:chgData name="Steiner Andreas 6206 ED" userId="e6377c33-a923-4f14-8587-531c474c7b48" providerId="ADAL" clId="{6ECD27E6-B224-41CD-B4E0-E297462320DD}" dt="2023-11-24T08:57:03.134" v="113739"/>
          <ac:spMkLst>
            <pc:docMk/>
            <pc:sldMk cId="2752045962" sldId="2147473973"/>
            <ac:spMk id="741" creationId="{3C855655-96CB-3EA3-BE15-C86A1CC3A8E9}"/>
          </ac:spMkLst>
        </pc:spChg>
        <pc:spChg chg="add del mod">
          <ac:chgData name="Steiner Andreas 6206 ED" userId="e6377c33-a923-4f14-8587-531c474c7b48" providerId="ADAL" clId="{6ECD27E6-B224-41CD-B4E0-E297462320DD}" dt="2023-11-24T09:02:21.665" v="113894"/>
          <ac:spMkLst>
            <pc:docMk/>
            <pc:sldMk cId="2752045962" sldId="2147473973"/>
            <ac:spMk id="742" creationId="{4C1834FD-2B06-F68F-5A84-006B70613C1E}"/>
          </ac:spMkLst>
        </pc:spChg>
        <pc:spChg chg="add del mod">
          <ac:chgData name="Steiner Andreas 6206 ED" userId="e6377c33-a923-4f14-8587-531c474c7b48" providerId="ADAL" clId="{6ECD27E6-B224-41CD-B4E0-E297462320DD}" dt="2023-11-24T09:02:27.530" v="114049"/>
          <ac:spMkLst>
            <pc:docMk/>
            <pc:sldMk cId="2752045962" sldId="2147473973"/>
            <ac:spMk id="743" creationId="{85197AF0-2B96-C7E8-AD98-22586F9930B7}"/>
          </ac:spMkLst>
        </pc:spChg>
        <pc:spChg chg="add del mod">
          <ac:chgData name="Steiner Andreas 6206 ED" userId="e6377c33-a923-4f14-8587-531c474c7b48" providerId="ADAL" clId="{6ECD27E6-B224-41CD-B4E0-E297462320DD}" dt="2023-11-24T09:02:30.098" v="114204"/>
          <ac:spMkLst>
            <pc:docMk/>
            <pc:sldMk cId="2752045962" sldId="2147473973"/>
            <ac:spMk id="744" creationId="{C539CE00-3A03-77CA-A6A0-317199C6FA4A}"/>
          </ac:spMkLst>
        </pc:spChg>
        <pc:spChg chg="add del mod">
          <ac:chgData name="Steiner Andreas 6206 ED" userId="e6377c33-a923-4f14-8587-531c474c7b48" providerId="ADAL" clId="{6ECD27E6-B224-41CD-B4E0-E297462320DD}" dt="2023-11-24T09:02:33.446" v="114359"/>
          <ac:spMkLst>
            <pc:docMk/>
            <pc:sldMk cId="2752045962" sldId="2147473973"/>
            <ac:spMk id="745" creationId="{A5AD7046-D5F5-7630-8510-293799DBA3C9}"/>
          </ac:spMkLst>
        </pc:spChg>
        <pc:spChg chg="add del mod">
          <ac:chgData name="Steiner Andreas 6206 ED" userId="e6377c33-a923-4f14-8587-531c474c7b48" providerId="ADAL" clId="{6ECD27E6-B224-41CD-B4E0-E297462320DD}" dt="2023-11-24T09:02:36.808" v="114514"/>
          <ac:spMkLst>
            <pc:docMk/>
            <pc:sldMk cId="2752045962" sldId="2147473973"/>
            <ac:spMk id="746" creationId="{FF4F36CF-0236-1AD8-E53A-E73F6E7924C0}"/>
          </ac:spMkLst>
        </pc:spChg>
        <pc:spChg chg="add del mod">
          <ac:chgData name="Steiner Andreas 6206 ED" userId="e6377c33-a923-4f14-8587-531c474c7b48" providerId="ADAL" clId="{6ECD27E6-B224-41CD-B4E0-E297462320DD}" dt="2023-11-24T11:31:22.589" v="114669"/>
          <ac:spMkLst>
            <pc:docMk/>
            <pc:sldMk cId="2752045962" sldId="2147473973"/>
            <ac:spMk id="747" creationId="{C93C6956-DDFB-469F-F42F-17E5F1D165ED}"/>
          </ac:spMkLst>
        </pc:spChg>
        <pc:spChg chg="add del mod">
          <ac:chgData name="Steiner Andreas 6206 ED" userId="e6377c33-a923-4f14-8587-531c474c7b48" providerId="ADAL" clId="{6ECD27E6-B224-41CD-B4E0-E297462320DD}" dt="2023-11-24T11:33:29.907" v="114824"/>
          <ac:spMkLst>
            <pc:docMk/>
            <pc:sldMk cId="2752045962" sldId="2147473973"/>
            <ac:spMk id="748" creationId="{A89035D9-A712-9169-C3E6-048B8B504DEE}"/>
          </ac:spMkLst>
        </pc:spChg>
        <pc:spChg chg="add del mod">
          <ac:chgData name="Steiner Andreas 6206 ED" userId="e6377c33-a923-4f14-8587-531c474c7b48" providerId="ADAL" clId="{6ECD27E6-B224-41CD-B4E0-E297462320DD}" dt="2023-11-24T11:33:36.392" v="114979"/>
          <ac:spMkLst>
            <pc:docMk/>
            <pc:sldMk cId="2752045962" sldId="2147473973"/>
            <ac:spMk id="749" creationId="{EE0101D5-FD80-EE0B-38B6-BA4B02C505A0}"/>
          </ac:spMkLst>
        </pc:spChg>
        <pc:spChg chg="add del mod">
          <ac:chgData name="Steiner Andreas 6206 ED" userId="e6377c33-a923-4f14-8587-531c474c7b48" providerId="ADAL" clId="{6ECD27E6-B224-41CD-B4E0-E297462320DD}" dt="2023-11-24T11:33:39.499" v="115134"/>
          <ac:spMkLst>
            <pc:docMk/>
            <pc:sldMk cId="2752045962" sldId="2147473973"/>
            <ac:spMk id="750" creationId="{59321340-C3DB-F8EA-A7CC-364400DA9BCD}"/>
          </ac:spMkLst>
        </pc:spChg>
        <pc:spChg chg="add del mod">
          <ac:chgData name="Steiner Andreas 6206 ED" userId="e6377c33-a923-4f14-8587-531c474c7b48" providerId="ADAL" clId="{6ECD27E6-B224-41CD-B4E0-E297462320DD}" dt="2023-11-24T11:33:43.066" v="115289"/>
          <ac:spMkLst>
            <pc:docMk/>
            <pc:sldMk cId="2752045962" sldId="2147473973"/>
            <ac:spMk id="751" creationId="{C86007A4-ECE1-2602-5561-88430A66C210}"/>
          </ac:spMkLst>
        </pc:spChg>
        <pc:spChg chg="add del mod">
          <ac:chgData name="Steiner Andreas 6206 ED" userId="e6377c33-a923-4f14-8587-531c474c7b48" providerId="ADAL" clId="{6ECD27E6-B224-41CD-B4E0-E297462320DD}" dt="2023-11-24T11:33:46.286" v="115444"/>
          <ac:spMkLst>
            <pc:docMk/>
            <pc:sldMk cId="2752045962" sldId="2147473973"/>
            <ac:spMk id="752" creationId="{530B3E0E-CEA6-E2F7-5DF3-8BB5E9C0A9B4}"/>
          </ac:spMkLst>
        </pc:spChg>
        <pc:spChg chg="add del mod">
          <ac:chgData name="Steiner Andreas 6206 ED" userId="e6377c33-a923-4f14-8587-531c474c7b48" providerId="ADAL" clId="{6ECD27E6-B224-41CD-B4E0-E297462320DD}" dt="2023-11-24T11:33:49.365" v="115599"/>
          <ac:spMkLst>
            <pc:docMk/>
            <pc:sldMk cId="2752045962" sldId="2147473973"/>
            <ac:spMk id="753" creationId="{AE4D9A26-F00A-F702-27BF-06B52A93C3E7}"/>
          </ac:spMkLst>
        </pc:spChg>
        <pc:spChg chg="add del mod">
          <ac:chgData name="Steiner Andreas 6206 ED" userId="e6377c33-a923-4f14-8587-531c474c7b48" providerId="ADAL" clId="{6ECD27E6-B224-41CD-B4E0-E297462320DD}" dt="2023-11-24T11:33:52.032" v="115754"/>
          <ac:spMkLst>
            <pc:docMk/>
            <pc:sldMk cId="2752045962" sldId="2147473973"/>
            <ac:spMk id="754" creationId="{8722F86B-692E-46FD-8C97-500DE3D40202}"/>
          </ac:spMkLst>
        </pc:spChg>
        <pc:spChg chg="add del mod">
          <ac:chgData name="Steiner Andreas 6206 ED" userId="e6377c33-a923-4f14-8587-531c474c7b48" providerId="ADAL" clId="{6ECD27E6-B224-41CD-B4E0-E297462320DD}" dt="2023-11-24T11:33:54.885" v="115909"/>
          <ac:spMkLst>
            <pc:docMk/>
            <pc:sldMk cId="2752045962" sldId="2147473973"/>
            <ac:spMk id="755" creationId="{7BE31FEC-A2F5-9AD6-F524-A5B05F20A910}"/>
          </ac:spMkLst>
        </pc:spChg>
        <pc:spChg chg="add del mod">
          <ac:chgData name="Steiner Andreas 6206 ED" userId="e6377c33-a923-4f14-8587-531c474c7b48" providerId="ADAL" clId="{6ECD27E6-B224-41CD-B4E0-E297462320DD}" dt="2023-11-24T11:33:57.365" v="116064"/>
          <ac:spMkLst>
            <pc:docMk/>
            <pc:sldMk cId="2752045962" sldId="2147473973"/>
            <ac:spMk id="756" creationId="{5583033D-B931-0FBF-C025-8B95EC21CDCD}"/>
          </ac:spMkLst>
        </pc:spChg>
        <pc:spChg chg="add del mod">
          <ac:chgData name="Steiner Andreas 6206 ED" userId="e6377c33-a923-4f14-8587-531c474c7b48" providerId="ADAL" clId="{6ECD27E6-B224-41CD-B4E0-E297462320DD}" dt="2023-11-24T11:33:59.722" v="116219"/>
          <ac:spMkLst>
            <pc:docMk/>
            <pc:sldMk cId="2752045962" sldId="2147473973"/>
            <ac:spMk id="757" creationId="{04D882DB-1DB8-4BCE-F0C4-070191EA6AC6}"/>
          </ac:spMkLst>
        </pc:spChg>
        <pc:spChg chg="add del mod">
          <ac:chgData name="Steiner Andreas 6206 ED" userId="e6377c33-a923-4f14-8587-531c474c7b48" providerId="ADAL" clId="{6ECD27E6-B224-41CD-B4E0-E297462320DD}" dt="2023-11-24T11:34:02.089" v="116374"/>
          <ac:spMkLst>
            <pc:docMk/>
            <pc:sldMk cId="2752045962" sldId="2147473973"/>
            <ac:spMk id="758" creationId="{9B182200-C1CF-8A11-D016-1D74D94F754A}"/>
          </ac:spMkLst>
        </pc:spChg>
        <pc:spChg chg="add del mod">
          <ac:chgData name="Steiner Andreas 6206 ED" userId="e6377c33-a923-4f14-8587-531c474c7b48" providerId="ADAL" clId="{6ECD27E6-B224-41CD-B4E0-E297462320DD}" dt="2023-11-24T11:34:04.396" v="116529"/>
          <ac:spMkLst>
            <pc:docMk/>
            <pc:sldMk cId="2752045962" sldId="2147473973"/>
            <ac:spMk id="759" creationId="{0F2FED42-4504-70A7-EA62-4A03E6817073}"/>
          </ac:spMkLst>
        </pc:spChg>
        <pc:spChg chg="add del mod">
          <ac:chgData name="Steiner Andreas 6206 ED" userId="e6377c33-a923-4f14-8587-531c474c7b48" providerId="ADAL" clId="{6ECD27E6-B224-41CD-B4E0-E297462320DD}" dt="2023-11-24T11:34:06.876" v="116684"/>
          <ac:spMkLst>
            <pc:docMk/>
            <pc:sldMk cId="2752045962" sldId="2147473973"/>
            <ac:spMk id="760" creationId="{215C05E6-600E-2EE5-C543-84BF3AC0E7E5}"/>
          </ac:spMkLst>
        </pc:spChg>
        <pc:spChg chg="add del mod">
          <ac:chgData name="Steiner Andreas 6206 ED" userId="e6377c33-a923-4f14-8587-531c474c7b48" providerId="ADAL" clId="{6ECD27E6-B224-41CD-B4E0-E297462320DD}" dt="2023-11-24T11:34:09.506" v="116839"/>
          <ac:spMkLst>
            <pc:docMk/>
            <pc:sldMk cId="2752045962" sldId="2147473973"/>
            <ac:spMk id="761" creationId="{6DE8FDD3-FA01-55D6-1254-FA1B28F11720}"/>
          </ac:spMkLst>
        </pc:spChg>
        <pc:spChg chg="add del mod">
          <ac:chgData name="Steiner Andreas 6206 ED" userId="e6377c33-a923-4f14-8587-531c474c7b48" providerId="ADAL" clId="{6ECD27E6-B224-41CD-B4E0-E297462320DD}" dt="2023-11-24T11:34:11.447" v="116994"/>
          <ac:spMkLst>
            <pc:docMk/>
            <pc:sldMk cId="2752045962" sldId="2147473973"/>
            <ac:spMk id="762" creationId="{89A8C00A-D8B9-DBDF-B088-346F24AE9ED8}"/>
          </ac:spMkLst>
        </pc:spChg>
        <pc:spChg chg="add del mod">
          <ac:chgData name="Steiner Andreas 6206 ED" userId="e6377c33-a923-4f14-8587-531c474c7b48" providerId="ADAL" clId="{6ECD27E6-B224-41CD-B4E0-E297462320DD}" dt="2023-11-24T11:34:13.211" v="117149"/>
          <ac:spMkLst>
            <pc:docMk/>
            <pc:sldMk cId="2752045962" sldId="2147473973"/>
            <ac:spMk id="763" creationId="{178C4E64-9796-CA1F-F67D-D9286483470B}"/>
          </ac:spMkLst>
        </pc:spChg>
        <pc:spChg chg="add del mod">
          <ac:chgData name="Steiner Andreas 6206 ED" userId="e6377c33-a923-4f14-8587-531c474c7b48" providerId="ADAL" clId="{6ECD27E6-B224-41CD-B4E0-E297462320DD}" dt="2023-11-24T11:34:15.003" v="117304"/>
          <ac:spMkLst>
            <pc:docMk/>
            <pc:sldMk cId="2752045962" sldId="2147473973"/>
            <ac:spMk id="764" creationId="{67EA48F6-25A2-8CBB-BAAF-76C9D80ED701}"/>
          </ac:spMkLst>
        </pc:spChg>
        <pc:spChg chg="add del mod">
          <ac:chgData name="Steiner Andreas 6206 ED" userId="e6377c33-a923-4f14-8587-531c474c7b48" providerId="ADAL" clId="{6ECD27E6-B224-41CD-B4E0-E297462320DD}" dt="2023-11-24T11:34:16.785" v="117459"/>
          <ac:spMkLst>
            <pc:docMk/>
            <pc:sldMk cId="2752045962" sldId="2147473973"/>
            <ac:spMk id="765" creationId="{E90C62CF-3FBA-C06D-E735-DA4857B4F570}"/>
          </ac:spMkLst>
        </pc:spChg>
        <pc:spChg chg="add del mod">
          <ac:chgData name="Steiner Andreas 6206 ED" userId="e6377c33-a923-4f14-8587-531c474c7b48" providerId="ADAL" clId="{6ECD27E6-B224-41CD-B4E0-E297462320DD}" dt="2023-11-24T11:34:18.610" v="117614"/>
          <ac:spMkLst>
            <pc:docMk/>
            <pc:sldMk cId="2752045962" sldId="2147473973"/>
            <ac:spMk id="766" creationId="{218D6A1C-BF7F-5731-39ED-C1B51132E5F3}"/>
          </ac:spMkLst>
        </pc:spChg>
        <pc:spChg chg="add del mod">
          <ac:chgData name="Steiner Andreas 6206 ED" userId="e6377c33-a923-4f14-8587-531c474c7b48" providerId="ADAL" clId="{6ECD27E6-B224-41CD-B4E0-E297462320DD}" dt="2023-11-24T11:34:20.728" v="117769"/>
          <ac:spMkLst>
            <pc:docMk/>
            <pc:sldMk cId="2752045962" sldId="2147473973"/>
            <ac:spMk id="767" creationId="{F5F67265-BA48-0E90-7FD0-302F1F119105}"/>
          </ac:spMkLst>
        </pc:spChg>
        <pc:spChg chg="add del mod">
          <ac:chgData name="Steiner Andreas 6206 ED" userId="e6377c33-a923-4f14-8587-531c474c7b48" providerId="ADAL" clId="{6ECD27E6-B224-41CD-B4E0-E297462320DD}" dt="2023-11-24T11:34:22.632" v="117924"/>
          <ac:spMkLst>
            <pc:docMk/>
            <pc:sldMk cId="2752045962" sldId="2147473973"/>
            <ac:spMk id="768" creationId="{C6F92DC1-8EAB-7249-2984-5B2911B67E7D}"/>
          </ac:spMkLst>
        </pc:spChg>
        <pc:spChg chg="add del mod">
          <ac:chgData name="Steiner Andreas 6206 ED" userId="e6377c33-a923-4f14-8587-531c474c7b48" providerId="ADAL" clId="{6ECD27E6-B224-41CD-B4E0-E297462320DD}" dt="2023-11-24T11:34:24.740" v="118079"/>
          <ac:spMkLst>
            <pc:docMk/>
            <pc:sldMk cId="2752045962" sldId="2147473973"/>
            <ac:spMk id="769" creationId="{D4C6325F-DBBE-E228-9F8D-CD84D411E4AB}"/>
          </ac:spMkLst>
        </pc:spChg>
        <pc:spChg chg="add del mod">
          <ac:chgData name="Steiner Andreas 6206 ED" userId="e6377c33-a923-4f14-8587-531c474c7b48" providerId="ADAL" clId="{6ECD27E6-B224-41CD-B4E0-E297462320DD}" dt="2023-11-24T11:34:27.315" v="118234"/>
          <ac:spMkLst>
            <pc:docMk/>
            <pc:sldMk cId="2752045962" sldId="2147473973"/>
            <ac:spMk id="770" creationId="{6213F958-2F98-158B-FB81-9CDB00658101}"/>
          </ac:spMkLst>
        </pc:spChg>
        <pc:spChg chg="add del mod">
          <ac:chgData name="Steiner Andreas 6206 ED" userId="e6377c33-a923-4f14-8587-531c474c7b48" providerId="ADAL" clId="{6ECD27E6-B224-41CD-B4E0-E297462320DD}" dt="2023-11-24T11:34:29.366" v="118389"/>
          <ac:spMkLst>
            <pc:docMk/>
            <pc:sldMk cId="2752045962" sldId="2147473973"/>
            <ac:spMk id="771" creationId="{BB7C8BB9-EB9F-2564-A213-E5A69E3BF48F}"/>
          </ac:spMkLst>
        </pc:spChg>
        <pc:spChg chg="add del mod">
          <ac:chgData name="Steiner Andreas 6206 ED" userId="e6377c33-a923-4f14-8587-531c474c7b48" providerId="ADAL" clId="{6ECD27E6-B224-41CD-B4E0-E297462320DD}" dt="2023-11-24T11:34:31.640" v="118544"/>
          <ac:spMkLst>
            <pc:docMk/>
            <pc:sldMk cId="2752045962" sldId="2147473973"/>
            <ac:spMk id="772" creationId="{1C855F02-FD2D-6735-ACCD-906BFCBE3320}"/>
          </ac:spMkLst>
        </pc:spChg>
        <pc:spChg chg="add del mod">
          <ac:chgData name="Steiner Andreas 6206 ED" userId="e6377c33-a923-4f14-8587-531c474c7b48" providerId="ADAL" clId="{6ECD27E6-B224-41CD-B4E0-E297462320DD}" dt="2023-11-24T11:34:33.609" v="118699"/>
          <ac:spMkLst>
            <pc:docMk/>
            <pc:sldMk cId="2752045962" sldId="2147473973"/>
            <ac:spMk id="773" creationId="{D318F763-0A60-374F-48EF-01CBBB715B13}"/>
          </ac:spMkLst>
        </pc:spChg>
        <pc:spChg chg="add del mod">
          <ac:chgData name="Steiner Andreas 6206 ED" userId="e6377c33-a923-4f14-8587-531c474c7b48" providerId="ADAL" clId="{6ECD27E6-B224-41CD-B4E0-E297462320DD}" dt="2023-11-24T11:34:35.583" v="118854"/>
          <ac:spMkLst>
            <pc:docMk/>
            <pc:sldMk cId="2752045962" sldId="2147473973"/>
            <ac:spMk id="774" creationId="{F3F45EE7-BD13-19BE-D955-40C4EDD14ABC}"/>
          </ac:spMkLst>
        </pc:spChg>
        <pc:spChg chg="add del mod">
          <ac:chgData name="Steiner Andreas 6206 ED" userId="e6377c33-a923-4f14-8587-531c474c7b48" providerId="ADAL" clId="{6ECD27E6-B224-41CD-B4E0-E297462320DD}" dt="2023-11-24T11:34:37.694" v="119009"/>
          <ac:spMkLst>
            <pc:docMk/>
            <pc:sldMk cId="2752045962" sldId="2147473973"/>
            <ac:spMk id="775" creationId="{20FAAB8D-0B6E-6BC0-BA57-ED457FAACBBA}"/>
          </ac:spMkLst>
        </pc:spChg>
        <pc:spChg chg="add del mod">
          <ac:chgData name="Steiner Andreas 6206 ED" userId="e6377c33-a923-4f14-8587-531c474c7b48" providerId="ADAL" clId="{6ECD27E6-B224-41CD-B4E0-E297462320DD}" dt="2023-11-24T11:34:39.643" v="119164"/>
          <ac:spMkLst>
            <pc:docMk/>
            <pc:sldMk cId="2752045962" sldId="2147473973"/>
            <ac:spMk id="776" creationId="{CBF9A1F4-592A-FAF8-7BBB-D4C3C83FE855}"/>
          </ac:spMkLst>
        </pc:spChg>
        <pc:spChg chg="add del mod">
          <ac:chgData name="Steiner Andreas 6206 ED" userId="e6377c33-a923-4f14-8587-531c474c7b48" providerId="ADAL" clId="{6ECD27E6-B224-41CD-B4E0-E297462320DD}" dt="2023-11-24T11:34:41.793" v="119319"/>
          <ac:spMkLst>
            <pc:docMk/>
            <pc:sldMk cId="2752045962" sldId="2147473973"/>
            <ac:spMk id="777" creationId="{DB846453-1773-F7F3-4816-EC708ABF272C}"/>
          </ac:spMkLst>
        </pc:spChg>
        <pc:spChg chg="add del mod">
          <ac:chgData name="Steiner Andreas 6206 ED" userId="e6377c33-a923-4f14-8587-531c474c7b48" providerId="ADAL" clId="{6ECD27E6-B224-41CD-B4E0-E297462320DD}" dt="2023-11-24T11:34:43.961" v="119474"/>
          <ac:spMkLst>
            <pc:docMk/>
            <pc:sldMk cId="2752045962" sldId="2147473973"/>
            <ac:spMk id="778" creationId="{5FBCA994-E3BC-BE3C-5BAD-3513DBC6F9DC}"/>
          </ac:spMkLst>
        </pc:spChg>
        <pc:spChg chg="add del mod">
          <ac:chgData name="Steiner Andreas 6206 ED" userId="e6377c33-a923-4f14-8587-531c474c7b48" providerId="ADAL" clId="{6ECD27E6-B224-41CD-B4E0-E297462320DD}" dt="2023-11-24T11:34:45.963" v="119629"/>
          <ac:spMkLst>
            <pc:docMk/>
            <pc:sldMk cId="2752045962" sldId="2147473973"/>
            <ac:spMk id="779" creationId="{08037DC9-D845-1575-7302-14102A3B022B}"/>
          </ac:spMkLst>
        </pc:spChg>
        <pc:spChg chg="add del mod">
          <ac:chgData name="Steiner Andreas 6206 ED" userId="e6377c33-a923-4f14-8587-531c474c7b48" providerId="ADAL" clId="{6ECD27E6-B224-41CD-B4E0-E297462320DD}" dt="2023-11-24T11:34:47.876" v="119784"/>
          <ac:spMkLst>
            <pc:docMk/>
            <pc:sldMk cId="2752045962" sldId="2147473973"/>
            <ac:spMk id="780" creationId="{A329A5CB-A642-8A92-6075-FCE37C3BB0CB}"/>
          </ac:spMkLst>
        </pc:spChg>
        <pc:spChg chg="add del mod">
          <ac:chgData name="Steiner Andreas 6206 ED" userId="e6377c33-a923-4f14-8587-531c474c7b48" providerId="ADAL" clId="{6ECD27E6-B224-41CD-B4E0-E297462320DD}" dt="2023-11-24T11:34:50.081" v="119939"/>
          <ac:spMkLst>
            <pc:docMk/>
            <pc:sldMk cId="2752045962" sldId="2147473973"/>
            <ac:spMk id="781" creationId="{B4E4848A-2619-5155-A61F-540AA90D018C}"/>
          </ac:spMkLst>
        </pc:spChg>
        <pc:spChg chg="add del mod">
          <ac:chgData name="Steiner Andreas 6206 ED" userId="e6377c33-a923-4f14-8587-531c474c7b48" providerId="ADAL" clId="{6ECD27E6-B224-41CD-B4E0-E297462320DD}" dt="2023-11-24T11:34:52.158" v="120094"/>
          <ac:spMkLst>
            <pc:docMk/>
            <pc:sldMk cId="2752045962" sldId="2147473973"/>
            <ac:spMk id="782" creationId="{67338BAC-D1F7-4A85-3529-E71E7087D878}"/>
          </ac:spMkLst>
        </pc:spChg>
        <pc:spChg chg="add del mod">
          <ac:chgData name="Steiner Andreas 6206 ED" userId="e6377c33-a923-4f14-8587-531c474c7b48" providerId="ADAL" clId="{6ECD27E6-B224-41CD-B4E0-E297462320DD}" dt="2023-11-24T11:34:54.119" v="120249"/>
          <ac:spMkLst>
            <pc:docMk/>
            <pc:sldMk cId="2752045962" sldId="2147473973"/>
            <ac:spMk id="783" creationId="{8B097DF5-B18F-981E-1B6A-149A2CB76DB9}"/>
          </ac:spMkLst>
        </pc:spChg>
        <pc:spChg chg="add del mod">
          <ac:chgData name="Steiner Andreas 6206 ED" userId="e6377c33-a923-4f14-8587-531c474c7b48" providerId="ADAL" clId="{6ECD27E6-B224-41CD-B4E0-E297462320DD}" dt="2023-11-24T11:34:55.990" v="120404"/>
          <ac:spMkLst>
            <pc:docMk/>
            <pc:sldMk cId="2752045962" sldId="2147473973"/>
            <ac:spMk id="784" creationId="{14B4F4BD-37EC-E9ED-05A0-896E9C83879E}"/>
          </ac:spMkLst>
        </pc:spChg>
        <pc:spChg chg="add del mod">
          <ac:chgData name="Steiner Andreas 6206 ED" userId="e6377c33-a923-4f14-8587-531c474c7b48" providerId="ADAL" clId="{6ECD27E6-B224-41CD-B4E0-E297462320DD}" dt="2023-11-24T11:34:57.813" v="120559"/>
          <ac:spMkLst>
            <pc:docMk/>
            <pc:sldMk cId="2752045962" sldId="2147473973"/>
            <ac:spMk id="785" creationId="{61ADBA6D-C6C3-5C8A-7AED-F2186C698272}"/>
          </ac:spMkLst>
        </pc:spChg>
        <pc:spChg chg="add del mod">
          <ac:chgData name="Steiner Andreas 6206 ED" userId="e6377c33-a923-4f14-8587-531c474c7b48" providerId="ADAL" clId="{6ECD27E6-B224-41CD-B4E0-E297462320DD}" dt="2023-11-24T11:34:59.696" v="120714"/>
          <ac:spMkLst>
            <pc:docMk/>
            <pc:sldMk cId="2752045962" sldId="2147473973"/>
            <ac:spMk id="786" creationId="{9AC13A3B-3DD3-AB4D-C317-A97DEBDA68BF}"/>
          </ac:spMkLst>
        </pc:spChg>
        <pc:spChg chg="add del mod">
          <ac:chgData name="Steiner Andreas 6206 ED" userId="e6377c33-a923-4f14-8587-531c474c7b48" providerId="ADAL" clId="{6ECD27E6-B224-41CD-B4E0-E297462320DD}" dt="2023-11-24T11:35:01.530" v="120869"/>
          <ac:spMkLst>
            <pc:docMk/>
            <pc:sldMk cId="2752045962" sldId="2147473973"/>
            <ac:spMk id="787" creationId="{43FA6D3D-7125-061F-6E1F-B9822FA0D2A9}"/>
          </ac:spMkLst>
        </pc:spChg>
        <pc:spChg chg="add del mod">
          <ac:chgData name="Steiner Andreas 6206 ED" userId="e6377c33-a923-4f14-8587-531c474c7b48" providerId="ADAL" clId="{6ECD27E6-B224-41CD-B4E0-E297462320DD}" dt="2023-11-24T11:35:03.402" v="121024"/>
          <ac:spMkLst>
            <pc:docMk/>
            <pc:sldMk cId="2752045962" sldId="2147473973"/>
            <ac:spMk id="788" creationId="{708C59E6-C76F-C2E3-04B5-181C2902A2F0}"/>
          </ac:spMkLst>
        </pc:spChg>
        <pc:spChg chg="add del mod">
          <ac:chgData name="Steiner Andreas 6206 ED" userId="e6377c33-a923-4f14-8587-531c474c7b48" providerId="ADAL" clId="{6ECD27E6-B224-41CD-B4E0-E297462320DD}" dt="2023-11-24T11:35:05.304" v="121179"/>
          <ac:spMkLst>
            <pc:docMk/>
            <pc:sldMk cId="2752045962" sldId="2147473973"/>
            <ac:spMk id="789" creationId="{5A223246-F107-DDAF-A7DD-D260F6AE41CC}"/>
          </ac:spMkLst>
        </pc:spChg>
        <pc:spChg chg="add del mod">
          <ac:chgData name="Steiner Andreas 6206 ED" userId="e6377c33-a923-4f14-8587-531c474c7b48" providerId="ADAL" clId="{6ECD27E6-B224-41CD-B4E0-E297462320DD}" dt="2023-11-24T11:35:07.438" v="121334"/>
          <ac:spMkLst>
            <pc:docMk/>
            <pc:sldMk cId="2752045962" sldId="2147473973"/>
            <ac:spMk id="790" creationId="{CFFA5AF8-7F7D-68A9-43D3-2814FCB38F0D}"/>
          </ac:spMkLst>
        </pc:spChg>
        <pc:spChg chg="add del mod">
          <ac:chgData name="Steiner Andreas 6206 ED" userId="e6377c33-a923-4f14-8587-531c474c7b48" providerId="ADAL" clId="{6ECD27E6-B224-41CD-B4E0-E297462320DD}" dt="2023-11-24T11:35:09.445" v="121489"/>
          <ac:spMkLst>
            <pc:docMk/>
            <pc:sldMk cId="2752045962" sldId="2147473973"/>
            <ac:spMk id="791" creationId="{F4B234A6-DA42-D4C9-E398-1238FD46DC79}"/>
          </ac:spMkLst>
        </pc:spChg>
        <pc:spChg chg="add del mod">
          <ac:chgData name="Steiner Andreas 6206 ED" userId="e6377c33-a923-4f14-8587-531c474c7b48" providerId="ADAL" clId="{6ECD27E6-B224-41CD-B4E0-E297462320DD}" dt="2023-11-24T11:35:11.417" v="121644"/>
          <ac:spMkLst>
            <pc:docMk/>
            <pc:sldMk cId="2752045962" sldId="2147473973"/>
            <ac:spMk id="792" creationId="{74D537BA-72F5-6A13-1101-D644632EEBE4}"/>
          </ac:spMkLst>
        </pc:spChg>
        <pc:spChg chg="add del mod">
          <ac:chgData name="Steiner Andreas 6206 ED" userId="e6377c33-a923-4f14-8587-531c474c7b48" providerId="ADAL" clId="{6ECD27E6-B224-41CD-B4E0-E297462320DD}" dt="2023-11-24T11:35:13.150" v="121799"/>
          <ac:spMkLst>
            <pc:docMk/>
            <pc:sldMk cId="2752045962" sldId="2147473973"/>
            <ac:spMk id="793" creationId="{61FB4BFB-BF02-753C-CCB0-7085E72B3022}"/>
          </ac:spMkLst>
        </pc:spChg>
        <pc:spChg chg="add del mod">
          <ac:chgData name="Steiner Andreas 6206 ED" userId="e6377c33-a923-4f14-8587-531c474c7b48" providerId="ADAL" clId="{6ECD27E6-B224-41CD-B4E0-E297462320DD}" dt="2023-11-24T11:35:15.097" v="121954"/>
          <ac:spMkLst>
            <pc:docMk/>
            <pc:sldMk cId="2752045962" sldId="2147473973"/>
            <ac:spMk id="794" creationId="{26B72F9A-C2B3-B9C5-E8D0-85C8384D0EBA}"/>
          </ac:spMkLst>
        </pc:spChg>
        <pc:spChg chg="add del mod">
          <ac:chgData name="Steiner Andreas 6206 ED" userId="e6377c33-a923-4f14-8587-531c474c7b48" providerId="ADAL" clId="{6ECD27E6-B224-41CD-B4E0-E297462320DD}" dt="2023-11-24T11:35:16.763" v="122109"/>
          <ac:spMkLst>
            <pc:docMk/>
            <pc:sldMk cId="2752045962" sldId="2147473973"/>
            <ac:spMk id="795" creationId="{B7997E4F-8135-633B-E19D-729B34644119}"/>
          </ac:spMkLst>
        </pc:spChg>
        <pc:spChg chg="add del mod">
          <ac:chgData name="Steiner Andreas 6206 ED" userId="e6377c33-a923-4f14-8587-531c474c7b48" providerId="ADAL" clId="{6ECD27E6-B224-41CD-B4E0-E297462320DD}" dt="2023-11-24T11:35:18.465" v="122264"/>
          <ac:spMkLst>
            <pc:docMk/>
            <pc:sldMk cId="2752045962" sldId="2147473973"/>
            <ac:spMk id="796" creationId="{7453D677-B9E8-EFBD-00F6-50DD7376FE17}"/>
          </ac:spMkLst>
        </pc:spChg>
        <pc:spChg chg="add del mod">
          <ac:chgData name="Steiner Andreas 6206 ED" userId="e6377c33-a923-4f14-8587-531c474c7b48" providerId="ADAL" clId="{6ECD27E6-B224-41CD-B4E0-E297462320DD}" dt="2023-11-24T11:35:20.095" v="122419"/>
          <ac:spMkLst>
            <pc:docMk/>
            <pc:sldMk cId="2752045962" sldId="2147473973"/>
            <ac:spMk id="797" creationId="{20049325-7990-6A33-960B-0AC7F3C8648C}"/>
          </ac:spMkLst>
        </pc:spChg>
        <pc:spChg chg="add del mod">
          <ac:chgData name="Steiner Andreas 6206 ED" userId="e6377c33-a923-4f14-8587-531c474c7b48" providerId="ADAL" clId="{6ECD27E6-B224-41CD-B4E0-E297462320DD}" dt="2023-11-24T11:35:21.738" v="122574"/>
          <ac:spMkLst>
            <pc:docMk/>
            <pc:sldMk cId="2752045962" sldId="2147473973"/>
            <ac:spMk id="798" creationId="{77F9180E-DDBF-8283-1816-555C15D47F2B}"/>
          </ac:spMkLst>
        </pc:spChg>
        <pc:spChg chg="add del mod">
          <ac:chgData name="Steiner Andreas 6206 ED" userId="e6377c33-a923-4f14-8587-531c474c7b48" providerId="ADAL" clId="{6ECD27E6-B224-41CD-B4E0-E297462320DD}" dt="2023-11-24T11:35:23.449" v="122729"/>
          <ac:spMkLst>
            <pc:docMk/>
            <pc:sldMk cId="2752045962" sldId="2147473973"/>
            <ac:spMk id="799" creationId="{ECF62F4A-86CE-CD68-2FA9-5DD05487A9D1}"/>
          </ac:spMkLst>
        </pc:spChg>
        <pc:spChg chg="add del mod">
          <ac:chgData name="Steiner Andreas 6206 ED" userId="e6377c33-a923-4f14-8587-531c474c7b48" providerId="ADAL" clId="{6ECD27E6-B224-41CD-B4E0-E297462320DD}" dt="2023-11-24T11:35:25.493" v="122884"/>
          <ac:spMkLst>
            <pc:docMk/>
            <pc:sldMk cId="2752045962" sldId="2147473973"/>
            <ac:spMk id="800" creationId="{7D4EE0A9-B90A-17EA-F151-D82B80A0A72B}"/>
          </ac:spMkLst>
        </pc:spChg>
        <pc:spChg chg="add del mod">
          <ac:chgData name="Steiner Andreas 6206 ED" userId="e6377c33-a923-4f14-8587-531c474c7b48" providerId="ADAL" clId="{6ECD27E6-B224-41CD-B4E0-E297462320DD}" dt="2023-11-24T11:35:27.505" v="123039"/>
          <ac:spMkLst>
            <pc:docMk/>
            <pc:sldMk cId="2752045962" sldId="2147473973"/>
            <ac:spMk id="801" creationId="{A9108D26-15C3-9A0A-DABD-2B3F6DAA35C3}"/>
          </ac:spMkLst>
        </pc:spChg>
        <pc:spChg chg="add del mod">
          <ac:chgData name="Steiner Andreas 6206 ED" userId="e6377c33-a923-4f14-8587-531c474c7b48" providerId="ADAL" clId="{6ECD27E6-B224-41CD-B4E0-E297462320DD}" dt="2023-11-24T11:35:29.393" v="123194"/>
          <ac:spMkLst>
            <pc:docMk/>
            <pc:sldMk cId="2752045962" sldId="2147473973"/>
            <ac:spMk id="802" creationId="{7CA539A0-A6F3-95C0-75FE-0E4BE4B1D309}"/>
          </ac:spMkLst>
        </pc:spChg>
        <pc:spChg chg="add del mod">
          <ac:chgData name="Steiner Andreas 6206 ED" userId="e6377c33-a923-4f14-8587-531c474c7b48" providerId="ADAL" clId="{6ECD27E6-B224-41CD-B4E0-E297462320DD}" dt="2023-11-24T11:35:31.119" v="123349"/>
          <ac:spMkLst>
            <pc:docMk/>
            <pc:sldMk cId="2752045962" sldId="2147473973"/>
            <ac:spMk id="803" creationId="{CABB4185-DD8E-00AC-BCF5-8D724B70DF79}"/>
          </ac:spMkLst>
        </pc:spChg>
        <pc:spChg chg="add del mod">
          <ac:chgData name="Steiner Andreas 6206 ED" userId="e6377c33-a923-4f14-8587-531c474c7b48" providerId="ADAL" clId="{6ECD27E6-B224-41CD-B4E0-E297462320DD}" dt="2023-11-24T11:35:34.053" v="123504"/>
          <ac:spMkLst>
            <pc:docMk/>
            <pc:sldMk cId="2752045962" sldId="2147473973"/>
            <ac:spMk id="804" creationId="{05430F2D-EAEA-E22C-F966-AF94E05012D6}"/>
          </ac:spMkLst>
        </pc:spChg>
        <pc:spChg chg="add del mod">
          <ac:chgData name="Steiner Andreas 6206 ED" userId="e6377c33-a923-4f14-8587-531c474c7b48" providerId="ADAL" clId="{6ECD27E6-B224-41CD-B4E0-E297462320DD}" dt="2023-11-24T11:35:35.864" v="123659"/>
          <ac:spMkLst>
            <pc:docMk/>
            <pc:sldMk cId="2752045962" sldId="2147473973"/>
            <ac:spMk id="805" creationId="{F741E000-5EE4-0A70-BFE5-7FB7C5B6ACFA}"/>
          </ac:spMkLst>
        </pc:spChg>
        <pc:spChg chg="add del mod">
          <ac:chgData name="Steiner Andreas 6206 ED" userId="e6377c33-a923-4f14-8587-531c474c7b48" providerId="ADAL" clId="{6ECD27E6-B224-41CD-B4E0-E297462320DD}" dt="2023-11-24T11:35:37.540" v="123814"/>
          <ac:spMkLst>
            <pc:docMk/>
            <pc:sldMk cId="2752045962" sldId="2147473973"/>
            <ac:spMk id="806" creationId="{6CD705FB-EAE3-5AB6-4F25-A8699EDE3117}"/>
          </ac:spMkLst>
        </pc:spChg>
        <pc:spChg chg="add del mod">
          <ac:chgData name="Steiner Andreas 6206 ED" userId="e6377c33-a923-4f14-8587-531c474c7b48" providerId="ADAL" clId="{6ECD27E6-B224-41CD-B4E0-E297462320DD}" dt="2023-11-24T11:35:39.175" v="123969"/>
          <ac:spMkLst>
            <pc:docMk/>
            <pc:sldMk cId="2752045962" sldId="2147473973"/>
            <ac:spMk id="807" creationId="{3F32F390-AF12-8A68-C59A-9619BE627BCF}"/>
          </ac:spMkLst>
        </pc:spChg>
        <pc:spChg chg="add del mod">
          <ac:chgData name="Steiner Andreas 6206 ED" userId="e6377c33-a923-4f14-8587-531c474c7b48" providerId="ADAL" clId="{6ECD27E6-B224-41CD-B4E0-E297462320DD}" dt="2023-11-24T11:35:40.881" v="124124"/>
          <ac:spMkLst>
            <pc:docMk/>
            <pc:sldMk cId="2752045962" sldId="2147473973"/>
            <ac:spMk id="808" creationId="{6BAABD8D-9A9B-7D02-06B4-A877BDEC1D0A}"/>
          </ac:spMkLst>
        </pc:spChg>
        <pc:spChg chg="add del mod">
          <ac:chgData name="Steiner Andreas 6206 ED" userId="e6377c33-a923-4f14-8587-531c474c7b48" providerId="ADAL" clId="{6ECD27E6-B224-41CD-B4E0-E297462320DD}" dt="2023-11-24T11:35:42.471" v="124279"/>
          <ac:spMkLst>
            <pc:docMk/>
            <pc:sldMk cId="2752045962" sldId="2147473973"/>
            <ac:spMk id="809" creationId="{EFD1045D-BCB4-B30D-463F-32B557FC9D6D}"/>
          </ac:spMkLst>
        </pc:spChg>
        <pc:spChg chg="add del mod">
          <ac:chgData name="Steiner Andreas 6206 ED" userId="e6377c33-a923-4f14-8587-531c474c7b48" providerId="ADAL" clId="{6ECD27E6-B224-41CD-B4E0-E297462320DD}" dt="2023-11-24T11:35:44.172" v="124434"/>
          <ac:spMkLst>
            <pc:docMk/>
            <pc:sldMk cId="2752045962" sldId="2147473973"/>
            <ac:spMk id="810" creationId="{95063192-BE83-9715-C9B0-FCBAB1D6F41C}"/>
          </ac:spMkLst>
        </pc:spChg>
        <pc:spChg chg="add del mod">
          <ac:chgData name="Steiner Andreas 6206 ED" userId="e6377c33-a923-4f14-8587-531c474c7b48" providerId="ADAL" clId="{6ECD27E6-B224-41CD-B4E0-E297462320DD}" dt="2023-11-24T11:35:45.805" v="124589"/>
          <ac:spMkLst>
            <pc:docMk/>
            <pc:sldMk cId="2752045962" sldId="2147473973"/>
            <ac:spMk id="811" creationId="{D018A420-4034-0223-441F-B69891EF60AF}"/>
          </ac:spMkLst>
        </pc:spChg>
        <pc:spChg chg="add del mod">
          <ac:chgData name="Steiner Andreas 6206 ED" userId="e6377c33-a923-4f14-8587-531c474c7b48" providerId="ADAL" clId="{6ECD27E6-B224-41CD-B4E0-E297462320DD}" dt="2023-11-24T11:35:47.519" v="124744"/>
          <ac:spMkLst>
            <pc:docMk/>
            <pc:sldMk cId="2752045962" sldId="2147473973"/>
            <ac:spMk id="812" creationId="{06EF3853-DE77-CF2F-6FE2-C0463C2386EA}"/>
          </ac:spMkLst>
        </pc:spChg>
        <pc:spChg chg="add del mod">
          <ac:chgData name="Steiner Andreas 6206 ED" userId="e6377c33-a923-4f14-8587-531c474c7b48" providerId="ADAL" clId="{6ECD27E6-B224-41CD-B4E0-E297462320DD}" dt="2023-11-24T11:35:49.307" v="124899"/>
          <ac:spMkLst>
            <pc:docMk/>
            <pc:sldMk cId="2752045962" sldId="2147473973"/>
            <ac:spMk id="813" creationId="{9DE7ED79-B214-0AE7-1102-9F8749B6FCD0}"/>
          </ac:spMkLst>
        </pc:spChg>
        <pc:spChg chg="add del mod">
          <ac:chgData name="Steiner Andreas 6206 ED" userId="e6377c33-a923-4f14-8587-531c474c7b48" providerId="ADAL" clId="{6ECD27E6-B224-41CD-B4E0-E297462320DD}" dt="2023-11-24T11:35:51.221" v="125054"/>
          <ac:spMkLst>
            <pc:docMk/>
            <pc:sldMk cId="2752045962" sldId="2147473973"/>
            <ac:spMk id="814" creationId="{13DECD2B-5221-CB49-A6EC-1E24B037879C}"/>
          </ac:spMkLst>
        </pc:spChg>
        <pc:spChg chg="add del mod">
          <ac:chgData name="Steiner Andreas 6206 ED" userId="e6377c33-a923-4f14-8587-531c474c7b48" providerId="ADAL" clId="{6ECD27E6-B224-41CD-B4E0-E297462320DD}" dt="2023-11-24T11:35:52.938" v="125209"/>
          <ac:spMkLst>
            <pc:docMk/>
            <pc:sldMk cId="2752045962" sldId="2147473973"/>
            <ac:spMk id="815" creationId="{E993595A-CD9B-CB1E-08D2-229A198CAC31}"/>
          </ac:spMkLst>
        </pc:spChg>
        <pc:spChg chg="add del mod">
          <ac:chgData name="Steiner Andreas 6206 ED" userId="e6377c33-a923-4f14-8587-531c474c7b48" providerId="ADAL" clId="{6ECD27E6-B224-41CD-B4E0-E297462320DD}" dt="2023-11-24T11:35:54.954" v="125364"/>
          <ac:spMkLst>
            <pc:docMk/>
            <pc:sldMk cId="2752045962" sldId="2147473973"/>
            <ac:spMk id="816" creationId="{6028ED45-6623-7A93-6C98-85FB87C41CF5}"/>
          </ac:spMkLst>
        </pc:spChg>
        <pc:spChg chg="add del mod">
          <ac:chgData name="Steiner Andreas 6206 ED" userId="e6377c33-a923-4f14-8587-531c474c7b48" providerId="ADAL" clId="{6ECD27E6-B224-41CD-B4E0-E297462320DD}" dt="2023-11-24T11:35:57.144" v="125519"/>
          <ac:spMkLst>
            <pc:docMk/>
            <pc:sldMk cId="2752045962" sldId="2147473973"/>
            <ac:spMk id="817" creationId="{33561ED2-AFBC-A8BA-1EF7-7E3C19138DA3}"/>
          </ac:spMkLst>
        </pc:spChg>
        <pc:spChg chg="add del mod">
          <ac:chgData name="Steiner Andreas 6206 ED" userId="e6377c33-a923-4f14-8587-531c474c7b48" providerId="ADAL" clId="{6ECD27E6-B224-41CD-B4E0-E297462320DD}" dt="2023-11-24T11:35:58.910" v="125674"/>
          <ac:spMkLst>
            <pc:docMk/>
            <pc:sldMk cId="2752045962" sldId="2147473973"/>
            <ac:spMk id="818" creationId="{9E97031A-72A5-A0A1-92A0-773DFAC59A9F}"/>
          </ac:spMkLst>
        </pc:spChg>
        <pc:spChg chg="add del mod">
          <ac:chgData name="Steiner Andreas 6206 ED" userId="e6377c33-a923-4f14-8587-531c474c7b48" providerId="ADAL" clId="{6ECD27E6-B224-41CD-B4E0-E297462320DD}" dt="2023-11-24T11:36:00.652" v="125829"/>
          <ac:spMkLst>
            <pc:docMk/>
            <pc:sldMk cId="2752045962" sldId="2147473973"/>
            <ac:spMk id="819" creationId="{CA9AA411-2092-4D19-8417-AF0372538DBC}"/>
          </ac:spMkLst>
        </pc:spChg>
        <pc:spChg chg="add del mod">
          <ac:chgData name="Steiner Andreas 6206 ED" userId="e6377c33-a923-4f14-8587-531c474c7b48" providerId="ADAL" clId="{6ECD27E6-B224-41CD-B4E0-E297462320DD}" dt="2023-11-24T11:36:02.381" v="125984"/>
          <ac:spMkLst>
            <pc:docMk/>
            <pc:sldMk cId="2752045962" sldId="2147473973"/>
            <ac:spMk id="820" creationId="{30A769DF-E121-A3EF-4847-A29F74860A3B}"/>
          </ac:spMkLst>
        </pc:spChg>
        <pc:spChg chg="add del mod">
          <ac:chgData name="Steiner Andreas 6206 ED" userId="e6377c33-a923-4f14-8587-531c474c7b48" providerId="ADAL" clId="{6ECD27E6-B224-41CD-B4E0-E297462320DD}" dt="2023-11-24T11:36:04.134" v="126139"/>
          <ac:spMkLst>
            <pc:docMk/>
            <pc:sldMk cId="2752045962" sldId="2147473973"/>
            <ac:spMk id="821" creationId="{63A8028F-1DCD-BEB3-D38E-88BF15D544F7}"/>
          </ac:spMkLst>
        </pc:spChg>
        <pc:spChg chg="add del mod">
          <ac:chgData name="Steiner Andreas 6206 ED" userId="e6377c33-a923-4f14-8587-531c474c7b48" providerId="ADAL" clId="{6ECD27E6-B224-41CD-B4E0-E297462320DD}" dt="2023-11-24T11:36:05.907" v="126294"/>
          <ac:spMkLst>
            <pc:docMk/>
            <pc:sldMk cId="2752045962" sldId="2147473973"/>
            <ac:spMk id="822" creationId="{43373D39-DF7E-3841-A359-AEAC8B41DEE7}"/>
          </ac:spMkLst>
        </pc:spChg>
        <pc:spChg chg="add del mod">
          <ac:chgData name="Steiner Andreas 6206 ED" userId="e6377c33-a923-4f14-8587-531c474c7b48" providerId="ADAL" clId="{6ECD27E6-B224-41CD-B4E0-E297462320DD}" dt="2023-11-24T11:36:07.604" v="126449"/>
          <ac:spMkLst>
            <pc:docMk/>
            <pc:sldMk cId="2752045962" sldId="2147473973"/>
            <ac:spMk id="823" creationId="{EE7A4B4B-1F10-2BB8-A4EC-4CBD817E615F}"/>
          </ac:spMkLst>
        </pc:spChg>
        <pc:spChg chg="add del mod">
          <ac:chgData name="Steiner Andreas 6206 ED" userId="e6377c33-a923-4f14-8587-531c474c7b48" providerId="ADAL" clId="{6ECD27E6-B224-41CD-B4E0-E297462320DD}" dt="2023-11-24T11:36:09.437" v="126604"/>
          <ac:spMkLst>
            <pc:docMk/>
            <pc:sldMk cId="2752045962" sldId="2147473973"/>
            <ac:spMk id="824" creationId="{0D9225FE-B8DA-BD2A-BC73-3ABDDC26D022}"/>
          </ac:spMkLst>
        </pc:spChg>
        <pc:spChg chg="add del mod">
          <ac:chgData name="Steiner Andreas 6206 ED" userId="e6377c33-a923-4f14-8587-531c474c7b48" providerId="ADAL" clId="{6ECD27E6-B224-41CD-B4E0-E297462320DD}" dt="2023-11-24T11:36:11.259" v="126759"/>
          <ac:spMkLst>
            <pc:docMk/>
            <pc:sldMk cId="2752045962" sldId="2147473973"/>
            <ac:spMk id="825" creationId="{37F68689-3C2F-4007-802C-717DB7BF4698}"/>
          </ac:spMkLst>
        </pc:spChg>
        <pc:spChg chg="add del mod">
          <ac:chgData name="Steiner Andreas 6206 ED" userId="e6377c33-a923-4f14-8587-531c474c7b48" providerId="ADAL" clId="{6ECD27E6-B224-41CD-B4E0-E297462320DD}" dt="2023-11-24T11:36:13.156" v="126914"/>
          <ac:spMkLst>
            <pc:docMk/>
            <pc:sldMk cId="2752045962" sldId="2147473973"/>
            <ac:spMk id="826" creationId="{C446BDE2-6FEE-1C12-1048-FAF08B1EC7FE}"/>
          </ac:spMkLst>
        </pc:spChg>
        <pc:spChg chg="add del mod">
          <ac:chgData name="Steiner Andreas 6206 ED" userId="e6377c33-a923-4f14-8587-531c474c7b48" providerId="ADAL" clId="{6ECD27E6-B224-41CD-B4E0-E297462320DD}" dt="2023-11-24T11:36:15.041" v="127069"/>
          <ac:spMkLst>
            <pc:docMk/>
            <pc:sldMk cId="2752045962" sldId="2147473973"/>
            <ac:spMk id="827" creationId="{517AF83B-19B5-B72E-60DA-4B2C2216AE88}"/>
          </ac:spMkLst>
        </pc:spChg>
        <pc:spChg chg="add del mod">
          <ac:chgData name="Steiner Andreas 6206 ED" userId="e6377c33-a923-4f14-8587-531c474c7b48" providerId="ADAL" clId="{6ECD27E6-B224-41CD-B4E0-E297462320DD}" dt="2023-11-24T11:36:17.642" v="127224"/>
          <ac:spMkLst>
            <pc:docMk/>
            <pc:sldMk cId="2752045962" sldId="2147473973"/>
            <ac:spMk id="828" creationId="{83F12D6D-C7C3-C299-E1F6-3CB2E35633ED}"/>
          </ac:spMkLst>
        </pc:spChg>
        <pc:spChg chg="add del mod">
          <ac:chgData name="Steiner Andreas 6206 ED" userId="e6377c33-a923-4f14-8587-531c474c7b48" providerId="ADAL" clId="{6ECD27E6-B224-41CD-B4E0-E297462320DD}" dt="2023-11-24T11:36:20.205" v="127379"/>
          <ac:spMkLst>
            <pc:docMk/>
            <pc:sldMk cId="2752045962" sldId="2147473973"/>
            <ac:spMk id="829" creationId="{33435742-0D31-7774-2379-7BAB910F2874}"/>
          </ac:spMkLst>
        </pc:spChg>
        <pc:spChg chg="add del mod">
          <ac:chgData name="Steiner Andreas 6206 ED" userId="e6377c33-a923-4f14-8587-531c474c7b48" providerId="ADAL" clId="{6ECD27E6-B224-41CD-B4E0-E297462320DD}" dt="2023-11-24T11:36:22.533" v="127534"/>
          <ac:spMkLst>
            <pc:docMk/>
            <pc:sldMk cId="2752045962" sldId="2147473973"/>
            <ac:spMk id="830" creationId="{9C62C451-2C0F-0921-4B61-7560CCD6D735}"/>
          </ac:spMkLst>
        </pc:spChg>
        <pc:spChg chg="add del mod">
          <ac:chgData name="Steiner Andreas 6206 ED" userId="e6377c33-a923-4f14-8587-531c474c7b48" providerId="ADAL" clId="{6ECD27E6-B224-41CD-B4E0-E297462320DD}" dt="2023-11-24T11:36:25.704" v="127689"/>
          <ac:spMkLst>
            <pc:docMk/>
            <pc:sldMk cId="2752045962" sldId="2147473973"/>
            <ac:spMk id="831" creationId="{96AB72F7-10A2-343C-6B47-FF05D3AEC090}"/>
          </ac:spMkLst>
        </pc:spChg>
        <pc:spChg chg="add del mod">
          <ac:chgData name="Steiner Andreas 6206 ED" userId="e6377c33-a923-4f14-8587-531c474c7b48" providerId="ADAL" clId="{6ECD27E6-B224-41CD-B4E0-E297462320DD}" dt="2023-11-24T11:36:28.503" v="127844"/>
          <ac:spMkLst>
            <pc:docMk/>
            <pc:sldMk cId="2752045962" sldId="2147473973"/>
            <ac:spMk id="832" creationId="{0C79D171-7B3B-1CA9-0631-CE0C070DC51D}"/>
          </ac:spMkLst>
        </pc:spChg>
        <pc:spChg chg="add del mod">
          <ac:chgData name="Steiner Andreas 6206 ED" userId="e6377c33-a923-4f14-8587-531c474c7b48" providerId="ADAL" clId="{6ECD27E6-B224-41CD-B4E0-E297462320DD}" dt="2023-11-24T11:36:31.162" v="127999"/>
          <ac:spMkLst>
            <pc:docMk/>
            <pc:sldMk cId="2752045962" sldId="2147473973"/>
            <ac:spMk id="833" creationId="{700A17B6-69F6-5D60-24EF-16C7ACD7DD26}"/>
          </ac:spMkLst>
        </pc:spChg>
        <pc:spChg chg="add del mod">
          <ac:chgData name="Steiner Andreas 6206 ED" userId="e6377c33-a923-4f14-8587-531c474c7b48" providerId="ADAL" clId="{6ECD27E6-B224-41CD-B4E0-E297462320DD}" dt="2023-11-24T11:36:33.425" v="128154"/>
          <ac:spMkLst>
            <pc:docMk/>
            <pc:sldMk cId="2752045962" sldId="2147473973"/>
            <ac:spMk id="834" creationId="{58FE61F7-C505-BBD9-B840-657EF5164493}"/>
          </ac:spMkLst>
        </pc:spChg>
        <pc:spChg chg="add del mod">
          <ac:chgData name="Steiner Andreas 6206 ED" userId="e6377c33-a923-4f14-8587-531c474c7b48" providerId="ADAL" clId="{6ECD27E6-B224-41CD-B4E0-E297462320DD}" dt="2023-11-24T11:36:35.480" v="128309"/>
          <ac:spMkLst>
            <pc:docMk/>
            <pc:sldMk cId="2752045962" sldId="2147473973"/>
            <ac:spMk id="835" creationId="{88D09EEB-94D7-7BDA-A0CA-E6700371AF3D}"/>
          </ac:spMkLst>
        </pc:spChg>
        <pc:spChg chg="add del mod">
          <ac:chgData name="Steiner Andreas 6206 ED" userId="e6377c33-a923-4f14-8587-531c474c7b48" providerId="ADAL" clId="{6ECD27E6-B224-41CD-B4E0-E297462320DD}" dt="2023-11-24T11:36:37.596" v="128464"/>
          <ac:spMkLst>
            <pc:docMk/>
            <pc:sldMk cId="2752045962" sldId="2147473973"/>
            <ac:spMk id="836" creationId="{90261474-1453-C668-3AA7-C4D8DC1F0435}"/>
          </ac:spMkLst>
        </pc:spChg>
        <pc:spChg chg="add del mod">
          <ac:chgData name="Steiner Andreas 6206 ED" userId="e6377c33-a923-4f14-8587-531c474c7b48" providerId="ADAL" clId="{6ECD27E6-B224-41CD-B4E0-E297462320DD}" dt="2023-11-24T11:36:39.816" v="128619"/>
          <ac:spMkLst>
            <pc:docMk/>
            <pc:sldMk cId="2752045962" sldId="2147473973"/>
            <ac:spMk id="837" creationId="{E17390E3-95B4-F871-488A-5A16A2BA4BE7}"/>
          </ac:spMkLst>
        </pc:spChg>
        <pc:spChg chg="add del mod">
          <ac:chgData name="Steiner Andreas 6206 ED" userId="e6377c33-a923-4f14-8587-531c474c7b48" providerId="ADAL" clId="{6ECD27E6-B224-41CD-B4E0-E297462320DD}" dt="2023-11-24T11:36:42.362" v="128774"/>
          <ac:spMkLst>
            <pc:docMk/>
            <pc:sldMk cId="2752045962" sldId="2147473973"/>
            <ac:spMk id="838" creationId="{BDF44B2C-EDE7-DB06-0933-7D5E81E5767D}"/>
          </ac:spMkLst>
        </pc:spChg>
        <pc:spChg chg="add del mod">
          <ac:chgData name="Steiner Andreas 6206 ED" userId="e6377c33-a923-4f14-8587-531c474c7b48" providerId="ADAL" clId="{6ECD27E6-B224-41CD-B4E0-E297462320DD}" dt="2023-11-24T11:36:44.660" v="128929"/>
          <ac:spMkLst>
            <pc:docMk/>
            <pc:sldMk cId="2752045962" sldId="2147473973"/>
            <ac:spMk id="839" creationId="{1E2E260B-1448-1E02-E0E9-D0BD6857C9FE}"/>
          </ac:spMkLst>
        </pc:spChg>
        <pc:spChg chg="add del mod">
          <ac:chgData name="Steiner Andreas 6206 ED" userId="e6377c33-a923-4f14-8587-531c474c7b48" providerId="ADAL" clId="{6ECD27E6-B224-41CD-B4E0-E297462320DD}" dt="2023-11-24T11:36:46.630" v="129084"/>
          <ac:spMkLst>
            <pc:docMk/>
            <pc:sldMk cId="2752045962" sldId="2147473973"/>
            <ac:spMk id="840" creationId="{3CD22DCA-0151-39BC-3251-1138E97A43B7}"/>
          </ac:spMkLst>
        </pc:spChg>
        <pc:spChg chg="add del mod">
          <ac:chgData name="Steiner Andreas 6206 ED" userId="e6377c33-a923-4f14-8587-531c474c7b48" providerId="ADAL" clId="{6ECD27E6-B224-41CD-B4E0-E297462320DD}" dt="2023-11-24T11:36:48.596" v="129239"/>
          <ac:spMkLst>
            <pc:docMk/>
            <pc:sldMk cId="2752045962" sldId="2147473973"/>
            <ac:spMk id="841" creationId="{28DDBAB9-FDF0-CEB3-F845-6569237A439D}"/>
          </ac:spMkLst>
        </pc:spChg>
        <pc:spChg chg="add del mod">
          <ac:chgData name="Steiner Andreas 6206 ED" userId="e6377c33-a923-4f14-8587-531c474c7b48" providerId="ADAL" clId="{6ECD27E6-B224-41CD-B4E0-E297462320DD}" dt="2023-11-24T11:36:50.573" v="129394"/>
          <ac:spMkLst>
            <pc:docMk/>
            <pc:sldMk cId="2752045962" sldId="2147473973"/>
            <ac:spMk id="842" creationId="{A29E9C19-05B7-C44E-B716-8F3AEA74FD4D}"/>
          </ac:spMkLst>
        </pc:spChg>
        <pc:spChg chg="add del mod">
          <ac:chgData name="Steiner Andreas 6206 ED" userId="e6377c33-a923-4f14-8587-531c474c7b48" providerId="ADAL" clId="{6ECD27E6-B224-41CD-B4E0-E297462320DD}" dt="2023-11-24T11:36:52.704" v="129549"/>
          <ac:spMkLst>
            <pc:docMk/>
            <pc:sldMk cId="2752045962" sldId="2147473973"/>
            <ac:spMk id="843" creationId="{C202EAE7-3AFC-40FF-BC2D-4458E321DF0C}"/>
          </ac:spMkLst>
        </pc:spChg>
        <pc:spChg chg="add del mod">
          <ac:chgData name="Steiner Andreas 6206 ED" userId="e6377c33-a923-4f14-8587-531c474c7b48" providerId="ADAL" clId="{6ECD27E6-B224-41CD-B4E0-E297462320DD}" dt="2023-11-24T11:36:55.604" v="129704"/>
          <ac:spMkLst>
            <pc:docMk/>
            <pc:sldMk cId="2752045962" sldId="2147473973"/>
            <ac:spMk id="844" creationId="{A3DCE008-D9DB-81C7-413A-C8E8BCE74E1E}"/>
          </ac:spMkLst>
        </pc:spChg>
        <pc:spChg chg="add del mod">
          <ac:chgData name="Steiner Andreas 6206 ED" userId="e6377c33-a923-4f14-8587-531c474c7b48" providerId="ADAL" clId="{6ECD27E6-B224-41CD-B4E0-E297462320DD}" dt="2023-11-24T11:36:57.850" v="129859"/>
          <ac:spMkLst>
            <pc:docMk/>
            <pc:sldMk cId="2752045962" sldId="2147473973"/>
            <ac:spMk id="845" creationId="{AC127416-55BA-E2DE-2070-EA35015832BB}"/>
          </ac:spMkLst>
        </pc:spChg>
        <pc:spChg chg="add del mod">
          <ac:chgData name="Steiner Andreas 6206 ED" userId="e6377c33-a923-4f14-8587-531c474c7b48" providerId="ADAL" clId="{6ECD27E6-B224-41CD-B4E0-E297462320DD}" dt="2023-11-24T11:37:00.184" v="130014"/>
          <ac:spMkLst>
            <pc:docMk/>
            <pc:sldMk cId="2752045962" sldId="2147473973"/>
            <ac:spMk id="846" creationId="{C49A7CF6-4A30-8925-EC81-3F2B81647997}"/>
          </ac:spMkLst>
        </pc:spChg>
        <pc:spChg chg="add del mod">
          <ac:chgData name="Steiner Andreas 6206 ED" userId="e6377c33-a923-4f14-8587-531c474c7b48" providerId="ADAL" clId="{6ECD27E6-B224-41CD-B4E0-E297462320DD}" dt="2023-11-24T11:37:02.001" v="130169"/>
          <ac:spMkLst>
            <pc:docMk/>
            <pc:sldMk cId="2752045962" sldId="2147473973"/>
            <ac:spMk id="847" creationId="{F869FD23-335B-5C00-B000-03100F8F2EBF}"/>
          </ac:spMkLst>
        </pc:spChg>
        <pc:spChg chg="add del mod">
          <ac:chgData name="Steiner Andreas 6206 ED" userId="e6377c33-a923-4f14-8587-531c474c7b48" providerId="ADAL" clId="{6ECD27E6-B224-41CD-B4E0-E297462320DD}" dt="2023-11-24T11:37:03.741" v="130324"/>
          <ac:spMkLst>
            <pc:docMk/>
            <pc:sldMk cId="2752045962" sldId="2147473973"/>
            <ac:spMk id="848" creationId="{55D6A131-E162-2980-4C36-BB9FE7553185}"/>
          </ac:spMkLst>
        </pc:spChg>
        <pc:spChg chg="add del mod">
          <ac:chgData name="Steiner Andreas 6206 ED" userId="e6377c33-a923-4f14-8587-531c474c7b48" providerId="ADAL" clId="{6ECD27E6-B224-41CD-B4E0-E297462320DD}" dt="2023-11-24T11:37:05.616" v="130479"/>
          <ac:spMkLst>
            <pc:docMk/>
            <pc:sldMk cId="2752045962" sldId="2147473973"/>
            <ac:spMk id="849" creationId="{C3ED1B62-22F0-3691-801F-56E24A68DEC9}"/>
          </ac:spMkLst>
        </pc:spChg>
        <pc:spChg chg="add del mod">
          <ac:chgData name="Steiner Andreas 6206 ED" userId="e6377c33-a923-4f14-8587-531c474c7b48" providerId="ADAL" clId="{6ECD27E6-B224-41CD-B4E0-E297462320DD}" dt="2023-11-24T11:37:07.384" v="130634"/>
          <ac:spMkLst>
            <pc:docMk/>
            <pc:sldMk cId="2752045962" sldId="2147473973"/>
            <ac:spMk id="850" creationId="{8D2A535C-EFC9-4629-6918-6BD2212013A6}"/>
          </ac:spMkLst>
        </pc:spChg>
        <pc:spChg chg="add del mod">
          <ac:chgData name="Steiner Andreas 6206 ED" userId="e6377c33-a923-4f14-8587-531c474c7b48" providerId="ADAL" clId="{6ECD27E6-B224-41CD-B4E0-E297462320DD}" dt="2023-11-24T11:37:09.100" v="130789"/>
          <ac:spMkLst>
            <pc:docMk/>
            <pc:sldMk cId="2752045962" sldId="2147473973"/>
            <ac:spMk id="851" creationId="{63572E4E-FBFA-70D8-81F4-8D031D9FE1C1}"/>
          </ac:spMkLst>
        </pc:spChg>
        <pc:spChg chg="add del mod">
          <ac:chgData name="Steiner Andreas 6206 ED" userId="e6377c33-a923-4f14-8587-531c474c7b48" providerId="ADAL" clId="{6ECD27E6-B224-41CD-B4E0-E297462320DD}" dt="2023-11-24T11:37:10.751" v="130944"/>
          <ac:spMkLst>
            <pc:docMk/>
            <pc:sldMk cId="2752045962" sldId="2147473973"/>
            <ac:spMk id="852" creationId="{469B8928-9766-F207-ADD3-68FD782E6651}"/>
          </ac:spMkLst>
        </pc:spChg>
        <pc:spChg chg="add del mod">
          <ac:chgData name="Steiner Andreas 6206 ED" userId="e6377c33-a923-4f14-8587-531c474c7b48" providerId="ADAL" clId="{6ECD27E6-B224-41CD-B4E0-E297462320DD}" dt="2023-11-24T11:37:12.460" v="131099"/>
          <ac:spMkLst>
            <pc:docMk/>
            <pc:sldMk cId="2752045962" sldId="2147473973"/>
            <ac:spMk id="853" creationId="{81AF9CC6-7636-75CD-EFAB-B83A35D1AD16}"/>
          </ac:spMkLst>
        </pc:spChg>
        <pc:spChg chg="add del mod">
          <ac:chgData name="Steiner Andreas 6206 ED" userId="e6377c33-a923-4f14-8587-531c474c7b48" providerId="ADAL" clId="{6ECD27E6-B224-41CD-B4E0-E297462320DD}" dt="2023-11-24T11:37:14.137" v="131254"/>
          <ac:spMkLst>
            <pc:docMk/>
            <pc:sldMk cId="2752045962" sldId="2147473973"/>
            <ac:spMk id="854" creationId="{6B6E7B4D-4FC3-7C0C-B88E-80DC97158429}"/>
          </ac:spMkLst>
        </pc:spChg>
        <pc:spChg chg="add del mod">
          <ac:chgData name="Steiner Andreas 6206 ED" userId="e6377c33-a923-4f14-8587-531c474c7b48" providerId="ADAL" clId="{6ECD27E6-B224-41CD-B4E0-E297462320DD}" dt="2023-11-24T11:37:16.190" v="131409"/>
          <ac:spMkLst>
            <pc:docMk/>
            <pc:sldMk cId="2752045962" sldId="2147473973"/>
            <ac:spMk id="855" creationId="{0190B738-19B1-6241-1957-32E5679F90DE}"/>
          </ac:spMkLst>
        </pc:spChg>
        <pc:spChg chg="add del mod">
          <ac:chgData name="Steiner Andreas 6206 ED" userId="e6377c33-a923-4f14-8587-531c474c7b48" providerId="ADAL" clId="{6ECD27E6-B224-41CD-B4E0-E297462320DD}" dt="2023-11-24T11:37:18.175" v="131564"/>
          <ac:spMkLst>
            <pc:docMk/>
            <pc:sldMk cId="2752045962" sldId="2147473973"/>
            <ac:spMk id="856" creationId="{DBD6B2F5-2678-BD84-AB4A-5FD91ADFF748}"/>
          </ac:spMkLst>
        </pc:spChg>
        <pc:spChg chg="add del mod">
          <ac:chgData name="Steiner Andreas 6206 ED" userId="e6377c33-a923-4f14-8587-531c474c7b48" providerId="ADAL" clId="{6ECD27E6-B224-41CD-B4E0-E297462320DD}" dt="2023-11-24T11:37:20.053" v="131719"/>
          <ac:spMkLst>
            <pc:docMk/>
            <pc:sldMk cId="2752045962" sldId="2147473973"/>
            <ac:spMk id="857" creationId="{5D7EE2A8-1E98-9DF5-E845-A32F9CF97788}"/>
          </ac:spMkLst>
        </pc:spChg>
        <pc:spChg chg="add del mod">
          <ac:chgData name="Steiner Andreas 6206 ED" userId="e6377c33-a923-4f14-8587-531c474c7b48" providerId="ADAL" clId="{6ECD27E6-B224-41CD-B4E0-E297462320DD}" dt="2023-11-24T11:37:21.968" v="131874"/>
          <ac:spMkLst>
            <pc:docMk/>
            <pc:sldMk cId="2752045962" sldId="2147473973"/>
            <ac:spMk id="858" creationId="{AFD83AE0-60E8-B1EF-BB97-44ECF9250C13}"/>
          </ac:spMkLst>
        </pc:spChg>
        <pc:spChg chg="add del mod">
          <ac:chgData name="Steiner Andreas 6206 ED" userId="e6377c33-a923-4f14-8587-531c474c7b48" providerId="ADAL" clId="{6ECD27E6-B224-41CD-B4E0-E297462320DD}" dt="2023-11-24T11:37:23.741" v="132029"/>
          <ac:spMkLst>
            <pc:docMk/>
            <pc:sldMk cId="2752045962" sldId="2147473973"/>
            <ac:spMk id="859" creationId="{D197086A-4868-5584-DF31-FC9B5014542B}"/>
          </ac:spMkLst>
        </pc:spChg>
        <pc:spChg chg="add del mod">
          <ac:chgData name="Steiner Andreas 6206 ED" userId="e6377c33-a923-4f14-8587-531c474c7b48" providerId="ADAL" clId="{6ECD27E6-B224-41CD-B4E0-E297462320DD}" dt="2023-11-24T11:37:25.452" v="132184"/>
          <ac:spMkLst>
            <pc:docMk/>
            <pc:sldMk cId="2752045962" sldId="2147473973"/>
            <ac:spMk id="860" creationId="{BE5AFFB6-5810-60C8-0012-AF4317E4D30F}"/>
          </ac:spMkLst>
        </pc:spChg>
        <pc:spChg chg="add del mod">
          <ac:chgData name="Steiner Andreas 6206 ED" userId="e6377c33-a923-4f14-8587-531c474c7b48" providerId="ADAL" clId="{6ECD27E6-B224-41CD-B4E0-E297462320DD}" dt="2023-11-24T11:37:27.413" v="132339"/>
          <ac:spMkLst>
            <pc:docMk/>
            <pc:sldMk cId="2752045962" sldId="2147473973"/>
            <ac:spMk id="861" creationId="{B29C353F-899E-41E6-ED53-8F329D6D6ACE}"/>
          </ac:spMkLst>
        </pc:spChg>
        <pc:spChg chg="add del mod">
          <ac:chgData name="Steiner Andreas 6206 ED" userId="e6377c33-a923-4f14-8587-531c474c7b48" providerId="ADAL" clId="{6ECD27E6-B224-41CD-B4E0-E297462320DD}" dt="2023-11-24T11:37:30.123" v="132494"/>
          <ac:spMkLst>
            <pc:docMk/>
            <pc:sldMk cId="2752045962" sldId="2147473973"/>
            <ac:spMk id="862" creationId="{922D9172-4F73-87DC-5500-777CDBB36582}"/>
          </ac:spMkLst>
        </pc:spChg>
        <pc:spChg chg="add del mod">
          <ac:chgData name="Steiner Andreas 6206 ED" userId="e6377c33-a923-4f14-8587-531c474c7b48" providerId="ADAL" clId="{6ECD27E6-B224-41CD-B4E0-E297462320DD}" dt="2023-11-24T11:37:32.749" v="132649"/>
          <ac:spMkLst>
            <pc:docMk/>
            <pc:sldMk cId="2752045962" sldId="2147473973"/>
            <ac:spMk id="863" creationId="{094547BC-C3D9-8DF6-E28F-B92D9EF41742}"/>
          </ac:spMkLst>
        </pc:spChg>
        <pc:spChg chg="add del mod">
          <ac:chgData name="Steiner Andreas 6206 ED" userId="e6377c33-a923-4f14-8587-531c474c7b48" providerId="ADAL" clId="{6ECD27E6-B224-41CD-B4E0-E297462320DD}" dt="2023-11-24T11:37:35.606" v="132804"/>
          <ac:spMkLst>
            <pc:docMk/>
            <pc:sldMk cId="2752045962" sldId="2147473973"/>
            <ac:spMk id="864" creationId="{0A056147-98D2-72FB-6566-2A175E56D8A1}"/>
          </ac:spMkLst>
        </pc:spChg>
        <pc:spChg chg="add del mod">
          <ac:chgData name="Steiner Andreas 6206 ED" userId="e6377c33-a923-4f14-8587-531c474c7b48" providerId="ADAL" clId="{6ECD27E6-B224-41CD-B4E0-E297462320DD}" dt="2023-11-24T11:37:38.349" v="132959"/>
          <ac:spMkLst>
            <pc:docMk/>
            <pc:sldMk cId="2752045962" sldId="2147473973"/>
            <ac:spMk id="865" creationId="{25E45EBA-3072-63C0-F4CA-AECDA22A77F4}"/>
          </ac:spMkLst>
        </pc:spChg>
        <pc:spChg chg="add del mod">
          <ac:chgData name="Steiner Andreas 6206 ED" userId="e6377c33-a923-4f14-8587-531c474c7b48" providerId="ADAL" clId="{6ECD27E6-B224-41CD-B4E0-E297462320DD}" dt="2023-11-24T11:37:40.892" v="133114"/>
          <ac:spMkLst>
            <pc:docMk/>
            <pc:sldMk cId="2752045962" sldId="2147473973"/>
            <ac:spMk id="866" creationId="{CEFBF972-F135-56BA-5372-D85D983715D3}"/>
          </ac:spMkLst>
        </pc:spChg>
        <pc:spChg chg="add del mod">
          <ac:chgData name="Steiner Andreas 6206 ED" userId="e6377c33-a923-4f14-8587-531c474c7b48" providerId="ADAL" clId="{6ECD27E6-B224-41CD-B4E0-E297462320DD}" dt="2023-11-24T11:37:43.907" v="133269"/>
          <ac:spMkLst>
            <pc:docMk/>
            <pc:sldMk cId="2752045962" sldId="2147473973"/>
            <ac:spMk id="867" creationId="{0D0DD670-87A0-6C17-D795-A3D9C3809043}"/>
          </ac:spMkLst>
        </pc:spChg>
        <pc:spChg chg="add del mod">
          <ac:chgData name="Steiner Andreas 6206 ED" userId="e6377c33-a923-4f14-8587-531c474c7b48" providerId="ADAL" clId="{6ECD27E6-B224-41CD-B4E0-E297462320DD}" dt="2023-11-24T11:37:48.080" v="133424"/>
          <ac:spMkLst>
            <pc:docMk/>
            <pc:sldMk cId="2752045962" sldId="2147473973"/>
            <ac:spMk id="868" creationId="{135C1B6E-941D-D054-8EE1-92F8032B9705}"/>
          </ac:spMkLst>
        </pc:spChg>
        <pc:spChg chg="add del mod">
          <ac:chgData name="Steiner Andreas 6206 ED" userId="e6377c33-a923-4f14-8587-531c474c7b48" providerId="ADAL" clId="{6ECD27E6-B224-41CD-B4E0-E297462320DD}" dt="2023-11-24T11:37:51.227" v="133579"/>
          <ac:spMkLst>
            <pc:docMk/>
            <pc:sldMk cId="2752045962" sldId="2147473973"/>
            <ac:spMk id="869" creationId="{7CF21B51-79F1-4500-C5A7-CC321FF6451F}"/>
          </ac:spMkLst>
        </pc:spChg>
        <pc:spChg chg="add del mod">
          <ac:chgData name="Steiner Andreas 6206 ED" userId="e6377c33-a923-4f14-8587-531c474c7b48" providerId="ADAL" clId="{6ECD27E6-B224-41CD-B4E0-E297462320DD}" dt="2023-11-24T11:37:54.108" v="133734"/>
          <ac:spMkLst>
            <pc:docMk/>
            <pc:sldMk cId="2752045962" sldId="2147473973"/>
            <ac:spMk id="870" creationId="{DDFCDFE9-9451-484A-6AB7-E055EA941439}"/>
          </ac:spMkLst>
        </pc:spChg>
        <pc:spChg chg="add del mod">
          <ac:chgData name="Steiner Andreas 6206 ED" userId="e6377c33-a923-4f14-8587-531c474c7b48" providerId="ADAL" clId="{6ECD27E6-B224-41CD-B4E0-E297462320DD}" dt="2023-11-24T11:37:56.465" v="133889"/>
          <ac:spMkLst>
            <pc:docMk/>
            <pc:sldMk cId="2752045962" sldId="2147473973"/>
            <ac:spMk id="871" creationId="{AC7BE244-6476-0BAC-A17B-4D05C76A14F0}"/>
          </ac:spMkLst>
        </pc:spChg>
        <pc:spChg chg="add del mod">
          <ac:chgData name="Steiner Andreas 6206 ED" userId="e6377c33-a923-4f14-8587-531c474c7b48" providerId="ADAL" clId="{6ECD27E6-B224-41CD-B4E0-E297462320DD}" dt="2023-11-24T11:37:59.067" v="134044"/>
          <ac:spMkLst>
            <pc:docMk/>
            <pc:sldMk cId="2752045962" sldId="2147473973"/>
            <ac:spMk id="872" creationId="{67507B6E-A584-F655-EBAE-D23A510CF433}"/>
          </ac:spMkLst>
        </pc:spChg>
        <pc:spChg chg="add del mod">
          <ac:chgData name="Steiner Andreas 6206 ED" userId="e6377c33-a923-4f14-8587-531c474c7b48" providerId="ADAL" clId="{6ECD27E6-B224-41CD-B4E0-E297462320DD}" dt="2023-11-24T11:38:01.318" v="134199"/>
          <ac:spMkLst>
            <pc:docMk/>
            <pc:sldMk cId="2752045962" sldId="2147473973"/>
            <ac:spMk id="873" creationId="{3FC4807A-BB0C-AC57-70EF-A04E4D494E94}"/>
          </ac:spMkLst>
        </pc:spChg>
        <pc:spChg chg="add del mod">
          <ac:chgData name="Steiner Andreas 6206 ED" userId="e6377c33-a923-4f14-8587-531c474c7b48" providerId="ADAL" clId="{6ECD27E6-B224-41CD-B4E0-E297462320DD}" dt="2023-11-24T11:38:03.870" v="134354"/>
          <ac:spMkLst>
            <pc:docMk/>
            <pc:sldMk cId="2752045962" sldId="2147473973"/>
            <ac:spMk id="874" creationId="{9EA53F10-F537-6E0B-082A-71FCE394ED18}"/>
          </ac:spMkLst>
        </pc:spChg>
        <pc:spChg chg="add del mod">
          <ac:chgData name="Steiner Andreas 6206 ED" userId="e6377c33-a923-4f14-8587-531c474c7b48" providerId="ADAL" clId="{6ECD27E6-B224-41CD-B4E0-E297462320DD}" dt="2023-11-24T11:38:06.260" v="134509"/>
          <ac:spMkLst>
            <pc:docMk/>
            <pc:sldMk cId="2752045962" sldId="2147473973"/>
            <ac:spMk id="875" creationId="{AFAF784F-019F-CF3F-3617-64E950B5CBBB}"/>
          </ac:spMkLst>
        </pc:spChg>
        <pc:spChg chg="add del mod">
          <ac:chgData name="Steiner Andreas 6206 ED" userId="e6377c33-a923-4f14-8587-531c474c7b48" providerId="ADAL" clId="{6ECD27E6-B224-41CD-B4E0-E297462320DD}" dt="2023-11-24T11:38:09.076" v="134664"/>
          <ac:spMkLst>
            <pc:docMk/>
            <pc:sldMk cId="2752045962" sldId="2147473973"/>
            <ac:spMk id="876" creationId="{55D6ABC0-7FBC-CE60-773B-9C2FFF9C8D59}"/>
          </ac:spMkLst>
        </pc:spChg>
        <pc:spChg chg="add del mod">
          <ac:chgData name="Steiner Andreas 6206 ED" userId="e6377c33-a923-4f14-8587-531c474c7b48" providerId="ADAL" clId="{6ECD27E6-B224-41CD-B4E0-E297462320DD}" dt="2023-11-24T11:38:11.947" v="134819"/>
          <ac:spMkLst>
            <pc:docMk/>
            <pc:sldMk cId="2752045962" sldId="2147473973"/>
            <ac:spMk id="877" creationId="{B7BE2771-396E-504F-52BE-E6ADA69CF995}"/>
          </ac:spMkLst>
        </pc:spChg>
        <pc:spChg chg="add del mod">
          <ac:chgData name="Steiner Andreas 6206 ED" userId="e6377c33-a923-4f14-8587-531c474c7b48" providerId="ADAL" clId="{6ECD27E6-B224-41CD-B4E0-E297462320DD}" dt="2023-11-24T11:38:14.201" v="134974"/>
          <ac:spMkLst>
            <pc:docMk/>
            <pc:sldMk cId="2752045962" sldId="2147473973"/>
            <ac:spMk id="878" creationId="{3E6EE293-631B-35FA-85A5-937F45E8A1B1}"/>
          </ac:spMkLst>
        </pc:spChg>
        <pc:spChg chg="add del mod">
          <ac:chgData name="Steiner Andreas 6206 ED" userId="e6377c33-a923-4f14-8587-531c474c7b48" providerId="ADAL" clId="{6ECD27E6-B224-41CD-B4E0-E297462320DD}" dt="2023-11-24T11:38:16.679" v="135129"/>
          <ac:spMkLst>
            <pc:docMk/>
            <pc:sldMk cId="2752045962" sldId="2147473973"/>
            <ac:spMk id="879" creationId="{A7491F8B-1D08-F8FF-F710-0251F0E32D85}"/>
          </ac:spMkLst>
        </pc:spChg>
        <pc:spChg chg="add del mod">
          <ac:chgData name="Steiner Andreas 6206 ED" userId="e6377c33-a923-4f14-8587-531c474c7b48" providerId="ADAL" clId="{6ECD27E6-B224-41CD-B4E0-E297462320DD}" dt="2023-11-24T11:38:19.498" v="135284"/>
          <ac:spMkLst>
            <pc:docMk/>
            <pc:sldMk cId="2752045962" sldId="2147473973"/>
            <ac:spMk id="880" creationId="{E0FE8622-00E1-CE4D-25CC-F70206525D9E}"/>
          </ac:spMkLst>
        </pc:spChg>
        <pc:spChg chg="add del mod">
          <ac:chgData name="Steiner Andreas 6206 ED" userId="e6377c33-a923-4f14-8587-531c474c7b48" providerId="ADAL" clId="{6ECD27E6-B224-41CD-B4E0-E297462320DD}" dt="2023-11-24T11:38:22.046" v="135439"/>
          <ac:spMkLst>
            <pc:docMk/>
            <pc:sldMk cId="2752045962" sldId="2147473973"/>
            <ac:spMk id="881" creationId="{10D26B28-7ABA-9435-6278-0851D595021B}"/>
          </ac:spMkLst>
        </pc:spChg>
        <pc:spChg chg="add del mod">
          <ac:chgData name="Steiner Andreas 6206 ED" userId="e6377c33-a923-4f14-8587-531c474c7b48" providerId="ADAL" clId="{6ECD27E6-B224-41CD-B4E0-E297462320DD}" dt="2023-11-24T11:38:24.895" v="135594"/>
          <ac:spMkLst>
            <pc:docMk/>
            <pc:sldMk cId="2752045962" sldId="2147473973"/>
            <ac:spMk id="882" creationId="{BB02B94E-0DEF-5C4B-E0A1-E2641F94B146}"/>
          </ac:spMkLst>
        </pc:spChg>
        <pc:spChg chg="add del mod">
          <ac:chgData name="Steiner Andreas 6206 ED" userId="e6377c33-a923-4f14-8587-531c474c7b48" providerId="ADAL" clId="{6ECD27E6-B224-41CD-B4E0-E297462320DD}" dt="2023-11-24T11:38:27.663" v="135749"/>
          <ac:spMkLst>
            <pc:docMk/>
            <pc:sldMk cId="2752045962" sldId="2147473973"/>
            <ac:spMk id="883" creationId="{CD0D11BA-4990-1C8B-5D06-3025D9A16458}"/>
          </ac:spMkLst>
        </pc:spChg>
        <pc:spChg chg="add del mod">
          <ac:chgData name="Steiner Andreas 6206 ED" userId="e6377c33-a923-4f14-8587-531c474c7b48" providerId="ADAL" clId="{6ECD27E6-B224-41CD-B4E0-E297462320DD}" dt="2023-11-24T11:38:30.343" v="135904"/>
          <ac:spMkLst>
            <pc:docMk/>
            <pc:sldMk cId="2752045962" sldId="2147473973"/>
            <ac:spMk id="884" creationId="{42FE82D1-F6F4-A933-13CD-90445965BA00}"/>
          </ac:spMkLst>
        </pc:spChg>
        <pc:spChg chg="add del mod">
          <ac:chgData name="Steiner Andreas 6206 ED" userId="e6377c33-a923-4f14-8587-531c474c7b48" providerId="ADAL" clId="{6ECD27E6-B224-41CD-B4E0-E297462320DD}" dt="2023-11-24T11:38:32.670" v="136059"/>
          <ac:spMkLst>
            <pc:docMk/>
            <pc:sldMk cId="2752045962" sldId="2147473973"/>
            <ac:spMk id="885" creationId="{3F1C331B-A650-4A17-3C03-0C951E4F01E4}"/>
          </ac:spMkLst>
        </pc:spChg>
        <pc:spChg chg="add del mod">
          <ac:chgData name="Steiner Andreas 6206 ED" userId="e6377c33-a923-4f14-8587-531c474c7b48" providerId="ADAL" clId="{6ECD27E6-B224-41CD-B4E0-E297462320DD}" dt="2023-11-24T11:38:35.151" v="136214"/>
          <ac:spMkLst>
            <pc:docMk/>
            <pc:sldMk cId="2752045962" sldId="2147473973"/>
            <ac:spMk id="886" creationId="{5E605637-D1F8-4D4C-243F-78FD41F3F847}"/>
          </ac:spMkLst>
        </pc:spChg>
        <pc:spChg chg="add del mod">
          <ac:chgData name="Steiner Andreas 6206 ED" userId="e6377c33-a923-4f14-8587-531c474c7b48" providerId="ADAL" clId="{6ECD27E6-B224-41CD-B4E0-E297462320DD}" dt="2023-11-24T11:38:37.913" v="136369"/>
          <ac:spMkLst>
            <pc:docMk/>
            <pc:sldMk cId="2752045962" sldId="2147473973"/>
            <ac:spMk id="887" creationId="{6E2CB831-5DB6-45A9-7F7C-8B946A2D2A7A}"/>
          </ac:spMkLst>
        </pc:spChg>
        <pc:spChg chg="add del mod">
          <ac:chgData name="Steiner Andreas 6206 ED" userId="e6377c33-a923-4f14-8587-531c474c7b48" providerId="ADAL" clId="{6ECD27E6-B224-41CD-B4E0-E297462320DD}" dt="2023-11-24T11:38:40.572" v="136524"/>
          <ac:spMkLst>
            <pc:docMk/>
            <pc:sldMk cId="2752045962" sldId="2147473973"/>
            <ac:spMk id="888" creationId="{FE1E125F-C86C-E222-C593-8260B241FAEE}"/>
          </ac:spMkLst>
        </pc:spChg>
        <pc:spChg chg="add del mod">
          <ac:chgData name="Steiner Andreas 6206 ED" userId="e6377c33-a923-4f14-8587-531c474c7b48" providerId="ADAL" clId="{6ECD27E6-B224-41CD-B4E0-E297462320DD}" dt="2023-11-24T11:38:42.975" v="136679"/>
          <ac:spMkLst>
            <pc:docMk/>
            <pc:sldMk cId="2752045962" sldId="2147473973"/>
            <ac:spMk id="889" creationId="{A1C8E05F-5FF0-1781-EA18-6169748D766C}"/>
          </ac:spMkLst>
        </pc:spChg>
        <pc:spChg chg="add del mod">
          <ac:chgData name="Steiner Andreas 6206 ED" userId="e6377c33-a923-4f14-8587-531c474c7b48" providerId="ADAL" clId="{6ECD27E6-B224-41CD-B4E0-E297462320DD}" dt="2023-11-24T11:38:45.332" v="136834"/>
          <ac:spMkLst>
            <pc:docMk/>
            <pc:sldMk cId="2752045962" sldId="2147473973"/>
            <ac:spMk id="890" creationId="{F09CF2ED-E6AA-B3C6-1186-0CAE6044176C}"/>
          </ac:spMkLst>
        </pc:spChg>
        <pc:spChg chg="add del mod">
          <ac:chgData name="Steiner Andreas 6206 ED" userId="e6377c33-a923-4f14-8587-531c474c7b48" providerId="ADAL" clId="{6ECD27E6-B224-41CD-B4E0-E297462320DD}" dt="2023-11-24T11:38:47.725" v="136989"/>
          <ac:spMkLst>
            <pc:docMk/>
            <pc:sldMk cId="2752045962" sldId="2147473973"/>
            <ac:spMk id="891" creationId="{DE662B1F-64EB-CC7B-C7CF-B171B4D34EBE}"/>
          </ac:spMkLst>
        </pc:spChg>
        <pc:spChg chg="add del mod">
          <ac:chgData name="Steiner Andreas 6206 ED" userId="e6377c33-a923-4f14-8587-531c474c7b48" providerId="ADAL" clId="{6ECD27E6-B224-41CD-B4E0-E297462320DD}" dt="2023-11-24T11:38:50.761" v="137144"/>
          <ac:spMkLst>
            <pc:docMk/>
            <pc:sldMk cId="2752045962" sldId="2147473973"/>
            <ac:spMk id="892" creationId="{6350D8F4-A059-E9B4-A2D4-A24C4A1FD623}"/>
          </ac:spMkLst>
        </pc:spChg>
        <pc:spChg chg="add del mod">
          <ac:chgData name="Steiner Andreas 6206 ED" userId="e6377c33-a923-4f14-8587-531c474c7b48" providerId="ADAL" clId="{6ECD27E6-B224-41CD-B4E0-E297462320DD}" dt="2023-11-24T11:38:53.154" v="137299"/>
          <ac:spMkLst>
            <pc:docMk/>
            <pc:sldMk cId="2752045962" sldId="2147473973"/>
            <ac:spMk id="893" creationId="{0CDE3416-8E78-71E2-5158-0CD290F84DFD}"/>
          </ac:spMkLst>
        </pc:spChg>
        <pc:spChg chg="add del mod">
          <ac:chgData name="Steiner Andreas 6206 ED" userId="e6377c33-a923-4f14-8587-531c474c7b48" providerId="ADAL" clId="{6ECD27E6-B224-41CD-B4E0-E297462320DD}" dt="2023-11-24T11:38:55.631" v="137454"/>
          <ac:spMkLst>
            <pc:docMk/>
            <pc:sldMk cId="2752045962" sldId="2147473973"/>
            <ac:spMk id="894" creationId="{7295415B-E75F-EEE0-8FA9-FED75FFD5830}"/>
          </ac:spMkLst>
        </pc:spChg>
        <pc:spChg chg="add del mod">
          <ac:chgData name="Steiner Andreas 6206 ED" userId="e6377c33-a923-4f14-8587-531c474c7b48" providerId="ADAL" clId="{6ECD27E6-B224-41CD-B4E0-E297462320DD}" dt="2023-11-24T11:38:58.237" v="137609"/>
          <ac:spMkLst>
            <pc:docMk/>
            <pc:sldMk cId="2752045962" sldId="2147473973"/>
            <ac:spMk id="895" creationId="{9FDE6E9B-9B7E-FB15-FE4D-819EF9842D15}"/>
          </ac:spMkLst>
        </pc:spChg>
        <pc:spChg chg="add del mod">
          <ac:chgData name="Steiner Andreas 6206 ED" userId="e6377c33-a923-4f14-8587-531c474c7b48" providerId="ADAL" clId="{6ECD27E6-B224-41CD-B4E0-E297462320DD}" dt="2023-11-24T11:39:00.502" v="137764"/>
          <ac:spMkLst>
            <pc:docMk/>
            <pc:sldMk cId="2752045962" sldId="2147473973"/>
            <ac:spMk id="896" creationId="{5F218AD6-FCB7-5EB5-BA83-B33338A02E37}"/>
          </ac:spMkLst>
        </pc:spChg>
        <pc:spChg chg="add del mod">
          <ac:chgData name="Steiner Andreas 6206 ED" userId="e6377c33-a923-4f14-8587-531c474c7b48" providerId="ADAL" clId="{6ECD27E6-B224-41CD-B4E0-E297462320DD}" dt="2023-11-24T11:39:03.530" v="137919"/>
          <ac:spMkLst>
            <pc:docMk/>
            <pc:sldMk cId="2752045962" sldId="2147473973"/>
            <ac:spMk id="897" creationId="{BBA5A8ED-E109-6554-E918-9E5E6460A614}"/>
          </ac:spMkLst>
        </pc:spChg>
        <pc:spChg chg="add del mod">
          <ac:chgData name="Steiner Andreas 6206 ED" userId="e6377c33-a923-4f14-8587-531c474c7b48" providerId="ADAL" clId="{6ECD27E6-B224-41CD-B4E0-E297462320DD}" dt="2023-11-24T11:39:06.182" v="138074"/>
          <ac:spMkLst>
            <pc:docMk/>
            <pc:sldMk cId="2752045962" sldId="2147473973"/>
            <ac:spMk id="898" creationId="{2C21246D-55E2-3AFE-0622-18BA2CE63F04}"/>
          </ac:spMkLst>
        </pc:spChg>
        <pc:spChg chg="add del mod">
          <ac:chgData name="Steiner Andreas 6206 ED" userId="e6377c33-a923-4f14-8587-531c474c7b48" providerId="ADAL" clId="{6ECD27E6-B224-41CD-B4E0-E297462320DD}" dt="2023-11-24T11:39:08.682" v="138229"/>
          <ac:spMkLst>
            <pc:docMk/>
            <pc:sldMk cId="2752045962" sldId="2147473973"/>
            <ac:spMk id="899" creationId="{01162FB9-E814-9557-9299-9D66C748154A}"/>
          </ac:spMkLst>
        </pc:spChg>
        <pc:spChg chg="add del mod">
          <ac:chgData name="Steiner Andreas 6206 ED" userId="e6377c33-a923-4f14-8587-531c474c7b48" providerId="ADAL" clId="{6ECD27E6-B224-41CD-B4E0-E297462320DD}" dt="2023-11-24T11:39:11.034" v="138384"/>
          <ac:spMkLst>
            <pc:docMk/>
            <pc:sldMk cId="2752045962" sldId="2147473973"/>
            <ac:spMk id="900" creationId="{E424E6E3-3E7B-E8BE-6D63-BD9A421A3E12}"/>
          </ac:spMkLst>
        </pc:spChg>
        <pc:spChg chg="add del mod">
          <ac:chgData name="Steiner Andreas 6206 ED" userId="e6377c33-a923-4f14-8587-531c474c7b48" providerId="ADAL" clId="{6ECD27E6-B224-41CD-B4E0-E297462320DD}" dt="2023-11-24T11:39:13.492" v="138539"/>
          <ac:spMkLst>
            <pc:docMk/>
            <pc:sldMk cId="2752045962" sldId="2147473973"/>
            <ac:spMk id="901" creationId="{A19D8407-09FD-92A0-504D-459820847862}"/>
          </ac:spMkLst>
        </pc:spChg>
        <pc:spChg chg="add del mod">
          <ac:chgData name="Steiner Andreas 6206 ED" userId="e6377c33-a923-4f14-8587-531c474c7b48" providerId="ADAL" clId="{6ECD27E6-B224-41CD-B4E0-E297462320DD}" dt="2023-11-24T11:39:16.181" v="138694"/>
          <ac:spMkLst>
            <pc:docMk/>
            <pc:sldMk cId="2752045962" sldId="2147473973"/>
            <ac:spMk id="902" creationId="{7381CAD8-1CEF-139F-B2EE-A25EC0E8E0E8}"/>
          </ac:spMkLst>
        </pc:spChg>
        <pc:spChg chg="add del mod">
          <ac:chgData name="Steiner Andreas 6206 ED" userId="e6377c33-a923-4f14-8587-531c474c7b48" providerId="ADAL" clId="{6ECD27E6-B224-41CD-B4E0-E297462320DD}" dt="2023-11-24T11:39:19.042" v="138849"/>
          <ac:spMkLst>
            <pc:docMk/>
            <pc:sldMk cId="2752045962" sldId="2147473973"/>
            <ac:spMk id="903" creationId="{E8D3B989-04B5-6FB2-5075-CF46BA3C17B1}"/>
          </ac:spMkLst>
        </pc:spChg>
        <pc:spChg chg="add del mod">
          <ac:chgData name="Steiner Andreas 6206 ED" userId="e6377c33-a923-4f14-8587-531c474c7b48" providerId="ADAL" clId="{6ECD27E6-B224-41CD-B4E0-E297462320DD}" dt="2023-11-24T11:39:21.682" v="139004"/>
          <ac:spMkLst>
            <pc:docMk/>
            <pc:sldMk cId="2752045962" sldId="2147473973"/>
            <ac:spMk id="904" creationId="{62FC7D2B-ADF5-A1D4-E2B3-0DD80E1F0977}"/>
          </ac:spMkLst>
        </pc:spChg>
        <pc:spChg chg="add del mod">
          <ac:chgData name="Steiner Andreas 6206 ED" userId="e6377c33-a923-4f14-8587-531c474c7b48" providerId="ADAL" clId="{6ECD27E6-B224-41CD-B4E0-E297462320DD}" dt="2023-11-24T11:39:24.256" v="139159"/>
          <ac:spMkLst>
            <pc:docMk/>
            <pc:sldMk cId="2752045962" sldId="2147473973"/>
            <ac:spMk id="905" creationId="{BF751EEC-98FD-4A07-7CD6-FEA39D7331FC}"/>
          </ac:spMkLst>
        </pc:spChg>
        <pc:spChg chg="add del mod">
          <ac:chgData name="Steiner Andreas 6206 ED" userId="e6377c33-a923-4f14-8587-531c474c7b48" providerId="ADAL" clId="{6ECD27E6-B224-41CD-B4E0-E297462320DD}" dt="2023-11-24T11:39:27.046" v="139314"/>
          <ac:spMkLst>
            <pc:docMk/>
            <pc:sldMk cId="2752045962" sldId="2147473973"/>
            <ac:spMk id="906" creationId="{32FF24F7-88AB-B7BE-32AF-A438BAD68592}"/>
          </ac:spMkLst>
        </pc:spChg>
        <pc:spChg chg="add del mod">
          <ac:chgData name="Steiner Andreas 6206 ED" userId="e6377c33-a923-4f14-8587-531c474c7b48" providerId="ADAL" clId="{6ECD27E6-B224-41CD-B4E0-E297462320DD}" dt="2023-11-24T11:39:29.672" v="139469"/>
          <ac:spMkLst>
            <pc:docMk/>
            <pc:sldMk cId="2752045962" sldId="2147473973"/>
            <ac:spMk id="907" creationId="{F9671F2D-C29D-1C32-0ED6-D29E3C63E0A8}"/>
          </ac:spMkLst>
        </pc:spChg>
        <pc:spChg chg="add del mod">
          <ac:chgData name="Steiner Andreas 6206 ED" userId="e6377c33-a923-4f14-8587-531c474c7b48" providerId="ADAL" clId="{6ECD27E6-B224-41CD-B4E0-E297462320DD}" dt="2023-11-24T11:39:32.715" v="139624"/>
          <ac:spMkLst>
            <pc:docMk/>
            <pc:sldMk cId="2752045962" sldId="2147473973"/>
            <ac:spMk id="908" creationId="{A317CF32-F53C-2608-005B-89D418A2F963}"/>
          </ac:spMkLst>
        </pc:spChg>
        <pc:spChg chg="add del mod">
          <ac:chgData name="Steiner Andreas 6206 ED" userId="e6377c33-a923-4f14-8587-531c474c7b48" providerId="ADAL" clId="{6ECD27E6-B224-41CD-B4E0-E297462320DD}" dt="2023-11-24T11:39:35.412" v="139779"/>
          <ac:spMkLst>
            <pc:docMk/>
            <pc:sldMk cId="2752045962" sldId="2147473973"/>
            <ac:spMk id="909" creationId="{137DD38F-6292-1ACC-6822-13E1C8D5D431}"/>
          </ac:spMkLst>
        </pc:spChg>
        <pc:spChg chg="add del mod">
          <ac:chgData name="Steiner Andreas 6206 ED" userId="e6377c33-a923-4f14-8587-531c474c7b48" providerId="ADAL" clId="{6ECD27E6-B224-41CD-B4E0-E297462320DD}" dt="2023-11-24T11:39:38.328" v="139934"/>
          <ac:spMkLst>
            <pc:docMk/>
            <pc:sldMk cId="2752045962" sldId="2147473973"/>
            <ac:spMk id="910" creationId="{66C7FEA9-BB7E-872A-73A3-AE9C97598D0A}"/>
          </ac:spMkLst>
        </pc:spChg>
        <pc:spChg chg="add del mod">
          <ac:chgData name="Steiner Andreas 6206 ED" userId="e6377c33-a923-4f14-8587-531c474c7b48" providerId="ADAL" clId="{6ECD27E6-B224-41CD-B4E0-E297462320DD}" dt="2023-11-24T11:39:40.998" v="140089"/>
          <ac:spMkLst>
            <pc:docMk/>
            <pc:sldMk cId="2752045962" sldId="2147473973"/>
            <ac:spMk id="911" creationId="{478E655A-E593-DCB0-ABD7-DEB4379A5DE2}"/>
          </ac:spMkLst>
        </pc:spChg>
        <pc:spChg chg="add del mod">
          <ac:chgData name="Steiner Andreas 6206 ED" userId="e6377c33-a923-4f14-8587-531c474c7b48" providerId="ADAL" clId="{6ECD27E6-B224-41CD-B4E0-E297462320DD}" dt="2023-11-24T11:39:43.627" v="140244"/>
          <ac:spMkLst>
            <pc:docMk/>
            <pc:sldMk cId="2752045962" sldId="2147473973"/>
            <ac:spMk id="912" creationId="{02CB3A4C-F3D6-B8D1-CA61-3339AA362518}"/>
          </ac:spMkLst>
        </pc:spChg>
        <pc:spChg chg="add del mod">
          <ac:chgData name="Steiner Andreas 6206 ED" userId="e6377c33-a923-4f14-8587-531c474c7b48" providerId="ADAL" clId="{6ECD27E6-B224-41CD-B4E0-E297462320DD}" dt="2023-11-24T11:39:46.188" v="140399"/>
          <ac:spMkLst>
            <pc:docMk/>
            <pc:sldMk cId="2752045962" sldId="2147473973"/>
            <ac:spMk id="913" creationId="{1062BC8B-770D-FCA4-AB1A-73959A8EE47B}"/>
          </ac:spMkLst>
        </pc:spChg>
        <pc:spChg chg="add del mod">
          <ac:chgData name="Steiner Andreas 6206 ED" userId="e6377c33-a923-4f14-8587-531c474c7b48" providerId="ADAL" clId="{6ECD27E6-B224-41CD-B4E0-E297462320DD}" dt="2023-11-24T11:39:48.619" v="140554"/>
          <ac:spMkLst>
            <pc:docMk/>
            <pc:sldMk cId="2752045962" sldId="2147473973"/>
            <ac:spMk id="914" creationId="{EB8D7ABE-06D0-941D-AE67-0241FAB4F3D1}"/>
          </ac:spMkLst>
        </pc:spChg>
        <pc:spChg chg="add del mod">
          <ac:chgData name="Steiner Andreas 6206 ED" userId="e6377c33-a923-4f14-8587-531c474c7b48" providerId="ADAL" clId="{6ECD27E6-B224-41CD-B4E0-E297462320DD}" dt="2023-11-24T11:39:51.626" v="140709"/>
          <ac:spMkLst>
            <pc:docMk/>
            <pc:sldMk cId="2752045962" sldId="2147473973"/>
            <ac:spMk id="915" creationId="{D9C2E13E-E511-EA78-D3BD-F34FA1A2126C}"/>
          </ac:spMkLst>
        </pc:spChg>
        <pc:spChg chg="add del mod">
          <ac:chgData name="Steiner Andreas 6206 ED" userId="e6377c33-a923-4f14-8587-531c474c7b48" providerId="ADAL" clId="{6ECD27E6-B224-41CD-B4E0-E297462320DD}" dt="2023-11-24T11:39:54.507" v="140864"/>
          <ac:spMkLst>
            <pc:docMk/>
            <pc:sldMk cId="2752045962" sldId="2147473973"/>
            <ac:spMk id="916" creationId="{7AAD0795-ABD6-960B-393E-D35CFA44890E}"/>
          </ac:spMkLst>
        </pc:spChg>
        <pc:spChg chg="add del mod">
          <ac:chgData name="Steiner Andreas 6206 ED" userId="e6377c33-a923-4f14-8587-531c474c7b48" providerId="ADAL" clId="{6ECD27E6-B224-41CD-B4E0-E297462320DD}" dt="2023-11-24T11:39:57.015" v="141019"/>
          <ac:spMkLst>
            <pc:docMk/>
            <pc:sldMk cId="2752045962" sldId="2147473973"/>
            <ac:spMk id="917" creationId="{2F15C07E-CCA5-008B-C9C1-54494C102220}"/>
          </ac:spMkLst>
        </pc:spChg>
        <pc:spChg chg="add del mod">
          <ac:chgData name="Steiner Andreas 6206 ED" userId="e6377c33-a923-4f14-8587-531c474c7b48" providerId="ADAL" clId="{6ECD27E6-B224-41CD-B4E0-E297462320DD}" dt="2023-11-24T11:39:59.384" v="141174"/>
          <ac:spMkLst>
            <pc:docMk/>
            <pc:sldMk cId="2752045962" sldId="2147473973"/>
            <ac:spMk id="918" creationId="{3A88A290-61B5-B397-36ED-3A72EBBC9C2C}"/>
          </ac:spMkLst>
        </pc:spChg>
        <pc:spChg chg="add del mod">
          <ac:chgData name="Steiner Andreas 6206 ED" userId="e6377c33-a923-4f14-8587-531c474c7b48" providerId="ADAL" clId="{6ECD27E6-B224-41CD-B4E0-E297462320DD}" dt="2023-11-24T11:40:02.154" v="141329"/>
          <ac:spMkLst>
            <pc:docMk/>
            <pc:sldMk cId="2752045962" sldId="2147473973"/>
            <ac:spMk id="919" creationId="{4A67C211-BEE9-1A9D-0FDF-D9BFAF6C7E03}"/>
          </ac:spMkLst>
        </pc:spChg>
        <pc:spChg chg="add del mod">
          <ac:chgData name="Steiner Andreas 6206 ED" userId="e6377c33-a923-4f14-8587-531c474c7b48" providerId="ADAL" clId="{6ECD27E6-B224-41CD-B4E0-E297462320DD}" dt="2023-11-24T11:40:04.992" v="141484"/>
          <ac:spMkLst>
            <pc:docMk/>
            <pc:sldMk cId="2752045962" sldId="2147473973"/>
            <ac:spMk id="920" creationId="{96933248-E893-69A3-31ED-18B7175F02D0}"/>
          </ac:spMkLst>
        </pc:spChg>
        <pc:spChg chg="add del mod">
          <ac:chgData name="Steiner Andreas 6206 ED" userId="e6377c33-a923-4f14-8587-531c474c7b48" providerId="ADAL" clId="{6ECD27E6-B224-41CD-B4E0-E297462320DD}" dt="2023-11-24T11:40:07.748" v="141639"/>
          <ac:spMkLst>
            <pc:docMk/>
            <pc:sldMk cId="2752045962" sldId="2147473973"/>
            <ac:spMk id="921" creationId="{014BD4D4-FF82-2398-525B-BE02D8D3ADFB}"/>
          </ac:spMkLst>
        </pc:spChg>
        <pc:spChg chg="add del mod">
          <ac:chgData name="Steiner Andreas 6206 ED" userId="e6377c33-a923-4f14-8587-531c474c7b48" providerId="ADAL" clId="{6ECD27E6-B224-41CD-B4E0-E297462320DD}" dt="2023-11-24T11:40:10.171" v="141794"/>
          <ac:spMkLst>
            <pc:docMk/>
            <pc:sldMk cId="2752045962" sldId="2147473973"/>
            <ac:spMk id="922" creationId="{43019E88-6374-986F-5565-EB4B0D300086}"/>
          </ac:spMkLst>
        </pc:spChg>
        <pc:spChg chg="add del mod">
          <ac:chgData name="Steiner Andreas 6206 ED" userId="e6377c33-a923-4f14-8587-531c474c7b48" providerId="ADAL" clId="{6ECD27E6-B224-41CD-B4E0-E297462320DD}" dt="2023-11-24T11:40:12.661" v="141949"/>
          <ac:spMkLst>
            <pc:docMk/>
            <pc:sldMk cId="2752045962" sldId="2147473973"/>
            <ac:spMk id="923" creationId="{A9C5B2E3-ED6F-13D5-B86F-6B29F83E9A9F}"/>
          </ac:spMkLst>
        </pc:spChg>
        <pc:spChg chg="add del mod">
          <ac:chgData name="Steiner Andreas 6206 ED" userId="e6377c33-a923-4f14-8587-531c474c7b48" providerId="ADAL" clId="{6ECD27E6-B224-41CD-B4E0-E297462320DD}" dt="2023-11-24T11:40:16.436" v="142104"/>
          <ac:spMkLst>
            <pc:docMk/>
            <pc:sldMk cId="2752045962" sldId="2147473973"/>
            <ac:spMk id="924" creationId="{A8BCDE84-4A98-A39C-0D2E-28DA2AACB85E}"/>
          </ac:spMkLst>
        </pc:spChg>
        <pc:spChg chg="add del mod">
          <ac:chgData name="Steiner Andreas 6206 ED" userId="e6377c33-a923-4f14-8587-531c474c7b48" providerId="ADAL" clId="{6ECD27E6-B224-41CD-B4E0-E297462320DD}" dt="2023-11-24T11:40:19.781" v="142259"/>
          <ac:spMkLst>
            <pc:docMk/>
            <pc:sldMk cId="2752045962" sldId="2147473973"/>
            <ac:spMk id="925" creationId="{D1B415C6-B534-2D63-746C-5E22DB6BE07C}"/>
          </ac:spMkLst>
        </pc:spChg>
        <pc:spChg chg="add del mod">
          <ac:chgData name="Steiner Andreas 6206 ED" userId="e6377c33-a923-4f14-8587-531c474c7b48" providerId="ADAL" clId="{6ECD27E6-B224-41CD-B4E0-E297462320DD}" dt="2023-11-24T11:40:22.581" v="142414"/>
          <ac:spMkLst>
            <pc:docMk/>
            <pc:sldMk cId="2752045962" sldId="2147473973"/>
            <ac:spMk id="926" creationId="{F65AFC34-A91F-ABA7-ED85-2B523EA015C2}"/>
          </ac:spMkLst>
        </pc:spChg>
        <pc:spChg chg="add del mod">
          <ac:chgData name="Steiner Andreas 6206 ED" userId="e6377c33-a923-4f14-8587-531c474c7b48" providerId="ADAL" clId="{6ECD27E6-B224-41CD-B4E0-E297462320DD}" dt="2023-11-24T11:40:25.269" v="142569"/>
          <ac:spMkLst>
            <pc:docMk/>
            <pc:sldMk cId="2752045962" sldId="2147473973"/>
            <ac:spMk id="927" creationId="{0C4DEA74-3BB9-1048-A53A-B3C0C0E772EB}"/>
          </ac:spMkLst>
        </pc:spChg>
        <pc:spChg chg="add del mod">
          <ac:chgData name="Steiner Andreas 6206 ED" userId="e6377c33-a923-4f14-8587-531c474c7b48" providerId="ADAL" clId="{6ECD27E6-B224-41CD-B4E0-E297462320DD}" dt="2023-11-24T11:40:28.381" v="142724"/>
          <ac:spMkLst>
            <pc:docMk/>
            <pc:sldMk cId="2752045962" sldId="2147473973"/>
            <ac:spMk id="928" creationId="{2C0731ED-064B-A6DA-33BC-9C0AD6DB4B31}"/>
          </ac:spMkLst>
        </pc:spChg>
        <pc:spChg chg="add del mod">
          <ac:chgData name="Steiner Andreas 6206 ED" userId="e6377c33-a923-4f14-8587-531c474c7b48" providerId="ADAL" clId="{6ECD27E6-B224-41CD-B4E0-E297462320DD}" dt="2023-11-24T11:40:31.033" v="142879"/>
          <ac:spMkLst>
            <pc:docMk/>
            <pc:sldMk cId="2752045962" sldId="2147473973"/>
            <ac:spMk id="929" creationId="{5890A6A9-203A-4A2C-3BFD-579655E4E54C}"/>
          </ac:spMkLst>
        </pc:spChg>
        <pc:spChg chg="add del mod">
          <ac:chgData name="Steiner Andreas 6206 ED" userId="e6377c33-a923-4f14-8587-531c474c7b48" providerId="ADAL" clId="{6ECD27E6-B224-41CD-B4E0-E297462320DD}" dt="2023-11-24T11:40:33.601" v="143034"/>
          <ac:spMkLst>
            <pc:docMk/>
            <pc:sldMk cId="2752045962" sldId="2147473973"/>
            <ac:spMk id="930" creationId="{34FE6BC5-69A2-3E5D-E7A3-07B7D8C2BF89}"/>
          </ac:spMkLst>
        </pc:spChg>
        <pc:spChg chg="add del mod">
          <ac:chgData name="Steiner Andreas 6206 ED" userId="e6377c33-a923-4f14-8587-531c474c7b48" providerId="ADAL" clId="{6ECD27E6-B224-41CD-B4E0-E297462320DD}" dt="2023-11-24T11:40:36.349" v="143189"/>
          <ac:spMkLst>
            <pc:docMk/>
            <pc:sldMk cId="2752045962" sldId="2147473973"/>
            <ac:spMk id="931" creationId="{1329653B-4368-09BE-C220-E66363D3F370}"/>
          </ac:spMkLst>
        </pc:spChg>
        <pc:spChg chg="add del mod">
          <ac:chgData name="Steiner Andreas 6206 ED" userId="e6377c33-a923-4f14-8587-531c474c7b48" providerId="ADAL" clId="{6ECD27E6-B224-41CD-B4E0-E297462320DD}" dt="2023-11-24T11:40:39.388" v="143344"/>
          <ac:spMkLst>
            <pc:docMk/>
            <pc:sldMk cId="2752045962" sldId="2147473973"/>
            <ac:spMk id="932" creationId="{AA42E972-9333-A75B-59E8-727EA4B5CE81}"/>
          </ac:spMkLst>
        </pc:spChg>
        <pc:spChg chg="add del mod">
          <ac:chgData name="Steiner Andreas 6206 ED" userId="e6377c33-a923-4f14-8587-531c474c7b48" providerId="ADAL" clId="{6ECD27E6-B224-41CD-B4E0-E297462320DD}" dt="2023-11-24T11:40:42.334" v="143499"/>
          <ac:spMkLst>
            <pc:docMk/>
            <pc:sldMk cId="2752045962" sldId="2147473973"/>
            <ac:spMk id="933" creationId="{D14E28C6-4AA5-041C-56E9-450D93089458}"/>
          </ac:spMkLst>
        </pc:spChg>
        <pc:spChg chg="add del mod">
          <ac:chgData name="Steiner Andreas 6206 ED" userId="e6377c33-a923-4f14-8587-531c474c7b48" providerId="ADAL" clId="{6ECD27E6-B224-41CD-B4E0-E297462320DD}" dt="2023-11-24T11:40:45.001" v="143654"/>
          <ac:spMkLst>
            <pc:docMk/>
            <pc:sldMk cId="2752045962" sldId="2147473973"/>
            <ac:spMk id="934" creationId="{77568EC3-8E9F-FEFC-D92E-432E23B6C73A}"/>
          </ac:spMkLst>
        </pc:spChg>
        <pc:spChg chg="add del mod">
          <ac:chgData name="Steiner Andreas 6206 ED" userId="e6377c33-a923-4f14-8587-531c474c7b48" providerId="ADAL" clId="{6ECD27E6-B224-41CD-B4E0-E297462320DD}" dt="2023-11-24T11:40:47.754" v="143809"/>
          <ac:spMkLst>
            <pc:docMk/>
            <pc:sldMk cId="2752045962" sldId="2147473973"/>
            <ac:spMk id="935" creationId="{4724C59F-2670-7923-78CE-A57DB3884F1B}"/>
          </ac:spMkLst>
        </pc:spChg>
        <pc:spChg chg="add del mod">
          <ac:chgData name="Steiner Andreas 6206 ED" userId="e6377c33-a923-4f14-8587-531c474c7b48" providerId="ADAL" clId="{6ECD27E6-B224-41CD-B4E0-E297462320DD}" dt="2023-11-24T11:40:50.530" v="143964"/>
          <ac:spMkLst>
            <pc:docMk/>
            <pc:sldMk cId="2752045962" sldId="2147473973"/>
            <ac:spMk id="936" creationId="{B475245E-9FCF-695B-FF8D-7AA429EBDD7E}"/>
          </ac:spMkLst>
        </pc:spChg>
        <pc:spChg chg="add del mod">
          <ac:chgData name="Steiner Andreas 6206 ED" userId="e6377c33-a923-4f14-8587-531c474c7b48" providerId="ADAL" clId="{6ECD27E6-B224-41CD-B4E0-E297462320DD}" dt="2023-11-24T11:40:53.393" v="144119"/>
          <ac:spMkLst>
            <pc:docMk/>
            <pc:sldMk cId="2752045962" sldId="2147473973"/>
            <ac:spMk id="937" creationId="{FFA476A8-998C-615F-D3A9-9F6565A6868D}"/>
          </ac:spMkLst>
        </pc:spChg>
        <pc:spChg chg="add del mod">
          <ac:chgData name="Steiner Andreas 6206 ED" userId="e6377c33-a923-4f14-8587-531c474c7b48" providerId="ADAL" clId="{6ECD27E6-B224-41CD-B4E0-E297462320DD}" dt="2023-11-24T11:40:56.084" v="144274"/>
          <ac:spMkLst>
            <pc:docMk/>
            <pc:sldMk cId="2752045962" sldId="2147473973"/>
            <ac:spMk id="938" creationId="{82F54233-CD3B-3071-CE0B-6A8F9D72D2D2}"/>
          </ac:spMkLst>
        </pc:spChg>
        <pc:spChg chg="add del mod">
          <ac:chgData name="Steiner Andreas 6206 ED" userId="e6377c33-a923-4f14-8587-531c474c7b48" providerId="ADAL" clId="{6ECD27E6-B224-41CD-B4E0-E297462320DD}" dt="2023-11-24T11:40:58.665" v="144429"/>
          <ac:spMkLst>
            <pc:docMk/>
            <pc:sldMk cId="2752045962" sldId="2147473973"/>
            <ac:spMk id="939" creationId="{D6F0984E-C737-DD26-688B-F839647BA224}"/>
          </ac:spMkLst>
        </pc:spChg>
        <pc:spChg chg="add del mod">
          <ac:chgData name="Steiner Andreas 6206 ED" userId="e6377c33-a923-4f14-8587-531c474c7b48" providerId="ADAL" clId="{6ECD27E6-B224-41CD-B4E0-E297462320DD}" dt="2023-11-24T11:41:01.207" v="144584"/>
          <ac:spMkLst>
            <pc:docMk/>
            <pc:sldMk cId="2752045962" sldId="2147473973"/>
            <ac:spMk id="940" creationId="{5FF6EBE8-1972-F76E-E62E-82F64F3FFF8F}"/>
          </ac:spMkLst>
        </pc:spChg>
        <pc:spChg chg="add del mod">
          <ac:chgData name="Steiner Andreas 6206 ED" userId="e6377c33-a923-4f14-8587-531c474c7b48" providerId="ADAL" clId="{6ECD27E6-B224-41CD-B4E0-E297462320DD}" dt="2023-11-24T11:41:03.890" v="144739"/>
          <ac:spMkLst>
            <pc:docMk/>
            <pc:sldMk cId="2752045962" sldId="2147473973"/>
            <ac:spMk id="941" creationId="{69ED574E-B663-3723-E303-A17246385B58}"/>
          </ac:spMkLst>
        </pc:spChg>
        <pc:spChg chg="add del mod">
          <ac:chgData name="Steiner Andreas 6206 ED" userId="e6377c33-a923-4f14-8587-531c474c7b48" providerId="ADAL" clId="{6ECD27E6-B224-41CD-B4E0-E297462320DD}" dt="2023-11-24T11:41:07.032" v="144894"/>
          <ac:spMkLst>
            <pc:docMk/>
            <pc:sldMk cId="2752045962" sldId="2147473973"/>
            <ac:spMk id="942" creationId="{E294380A-4C04-9A99-167C-077B3D801F26}"/>
          </ac:spMkLst>
        </pc:spChg>
        <pc:spChg chg="add del mod">
          <ac:chgData name="Steiner Andreas 6206 ED" userId="e6377c33-a923-4f14-8587-531c474c7b48" providerId="ADAL" clId="{6ECD27E6-B224-41CD-B4E0-E297462320DD}" dt="2023-11-24T11:41:10.155" v="145049"/>
          <ac:spMkLst>
            <pc:docMk/>
            <pc:sldMk cId="2752045962" sldId="2147473973"/>
            <ac:spMk id="943" creationId="{36CFD4F2-6F1D-D856-ACEB-E16C7165A38E}"/>
          </ac:spMkLst>
        </pc:spChg>
        <pc:spChg chg="add del mod">
          <ac:chgData name="Steiner Andreas 6206 ED" userId="e6377c33-a923-4f14-8587-531c474c7b48" providerId="ADAL" clId="{6ECD27E6-B224-41CD-B4E0-E297462320DD}" dt="2023-11-24T11:41:13.010" v="145204"/>
          <ac:spMkLst>
            <pc:docMk/>
            <pc:sldMk cId="2752045962" sldId="2147473973"/>
            <ac:spMk id="944" creationId="{62C4FFFF-4FAB-A859-B1FB-0FD7690EF425}"/>
          </ac:spMkLst>
        </pc:spChg>
        <pc:spChg chg="add del mod">
          <ac:chgData name="Steiner Andreas 6206 ED" userId="e6377c33-a923-4f14-8587-531c474c7b48" providerId="ADAL" clId="{6ECD27E6-B224-41CD-B4E0-E297462320DD}" dt="2023-11-24T11:41:16.046" v="145359"/>
          <ac:spMkLst>
            <pc:docMk/>
            <pc:sldMk cId="2752045962" sldId="2147473973"/>
            <ac:spMk id="945" creationId="{F0AFB5EA-994B-8F24-8927-3D3D6D5CDA2B}"/>
          </ac:spMkLst>
        </pc:spChg>
        <pc:spChg chg="add del mod">
          <ac:chgData name="Steiner Andreas 6206 ED" userId="e6377c33-a923-4f14-8587-531c474c7b48" providerId="ADAL" clId="{6ECD27E6-B224-41CD-B4E0-E297462320DD}" dt="2023-11-24T11:41:19.261" v="145514"/>
          <ac:spMkLst>
            <pc:docMk/>
            <pc:sldMk cId="2752045962" sldId="2147473973"/>
            <ac:spMk id="946" creationId="{BF5981B4-6715-7B07-BE2C-C7203D4D5660}"/>
          </ac:spMkLst>
        </pc:spChg>
        <pc:spChg chg="add del mod">
          <ac:chgData name="Steiner Andreas 6206 ED" userId="e6377c33-a923-4f14-8587-531c474c7b48" providerId="ADAL" clId="{6ECD27E6-B224-41CD-B4E0-E297462320DD}" dt="2023-11-24T11:41:21.810" v="145669"/>
          <ac:spMkLst>
            <pc:docMk/>
            <pc:sldMk cId="2752045962" sldId="2147473973"/>
            <ac:spMk id="947" creationId="{5E954C0C-655A-7A88-8AAD-D44629B3CD0C}"/>
          </ac:spMkLst>
        </pc:spChg>
        <pc:spChg chg="add del mod">
          <ac:chgData name="Steiner Andreas 6206 ED" userId="e6377c33-a923-4f14-8587-531c474c7b48" providerId="ADAL" clId="{6ECD27E6-B224-41CD-B4E0-E297462320DD}" dt="2023-11-24T11:41:25.696" v="145824"/>
          <ac:spMkLst>
            <pc:docMk/>
            <pc:sldMk cId="2752045962" sldId="2147473973"/>
            <ac:spMk id="948" creationId="{AB58FAA7-2FFA-5FF3-43C3-BBFEF3446CD2}"/>
          </ac:spMkLst>
        </pc:spChg>
        <pc:spChg chg="add del mod">
          <ac:chgData name="Steiner Andreas 6206 ED" userId="e6377c33-a923-4f14-8587-531c474c7b48" providerId="ADAL" clId="{6ECD27E6-B224-41CD-B4E0-E297462320DD}" dt="2023-11-24T11:41:28.687" v="145979"/>
          <ac:spMkLst>
            <pc:docMk/>
            <pc:sldMk cId="2752045962" sldId="2147473973"/>
            <ac:spMk id="949" creationId="{92639067-30C6-5E2C-9E8D-6728ABE48C87}"/>
          </ac:spMkLst>
        </pc:spChg>
        <pc:spChg chg="add del mod">
          <ac:chgData name="Steiner Andreas 6206 ED" userId="e6377c33-a923-4f14-8587-531c474c7b48" providerId="ADAL" clId="{6ECD27E6-B224-41CD-B4E0-E297462320DD}" dt="2023-11-24T11:41:31.379" v="146134"/>
          <ac:spMkLst>
            <pc:docMk/>
            <pc:sldMk cId="2752045962" sldId="2147473973"/>
            <ac:spMk id="950" creationId="{87F6B966-248E-F3DB-5359-3CDB2E6E01BA}"/>
          </ac:spMkLst>
        </pc:spChg>
        <pc:spChg chg="add del mod">
          <ac:chgData name="Steiner Andreas 6206 ED" userId="e6377c33-a923-4f14-8587-531c474c7b48" providerId="ADAL" clId="{6ECD27E6-B224-41CD-B4E0-E297462320DD}" dt="2023-11-24T11:41:33.558" v="146289"/>
          <ac:spMkLst>
            <pc:docMk/>
            <pc:sldMk cId="2752045962" sldId="2147473973"/>
            <ac:spMk id="951" creationId="{B0354EC7-7DE9-8A31-DAD2-DCFE8F0DB846}"/>
          </ac:spMkLst>
        </pc:spChg>
        <pc:spChg chg="add del mod">
          <ac:chgData name="Steiner Andreas 6206 ED" userId="e6377c33-a923-4f14-8587-531c474c7b48" providerId="ADAL" clId="{6ECD27E6-B224-41CD-B4E0-E297462320DD}" dt="2023-11-24T11:41:35.673" v="146444"/>
          <ac:spMkLst>
            <pc:docMk/>
            <pc:sldMk cId="2752045962" sldId="2147473973"/>
            <ac:spMk id="952" creationId="{ED37CD27-415A-533F-4C57-28F96E31F7C8}"/>
          </ac:spMkLst>
        </pc:spChg>
        <pc:spChg chg="add del mod">
          <ac:chgData name="Steiner Andreas 6206 ED" userId="e6377c33-a923-4f14-8587-531c474c7b48" providerId="ADAL" clId="{6ECD27E6-B224-41CD-B4E0-E297462320DD}" dt="2023-11-24T11:41:37.893" v="146599"/>
          <ac:spMkLst>
            <pc:docMk/>
            <pc:sldMk cId="2752045962" sldId="2147473973"/>
            <ac:spMk id="953" creationId="{53B1953F-7D37-69B6-C502-A8C4AAB7A084}"/>
          </ac:spMkLst>
        </pc:spChg>
        <pc:spChg chg="add del mod">
          <ac:chgData name="Steiner Andreas 6206 ED" userId="e6377c33-a923-4f14-8587-531c474c7b48" providerId="ADAL" clId="{6ECD27E6-B224-41CD-B4E0-E297462320DD}" dt="2023-11-24T11:41:40.662" v="146754"/>
          <ac:spMkLst>
            <pc:docMk/>
            <pc:sldMk cId="2752045962" sldId="2147473973"/>
            <ac:spMk id="954" creationId="{5B4B3F28-68DD-69B2-36DF-A08AB415DC70}"/>
          </ac:spMkLst>
        </pc:spChg>
        <pc:spChg chg="add del mod">
          <ac:chgData name="Steiner Andreas 6206 ED" userId="e6377c33-a923-4f14-8587-531c474c7b48" providerId="ADAL" clId="{6ECD27E6-B224-41CD-B4E0-E297462320DD}" dt="2023-11-24T11:41:42.814" v="146909"/>
          <ac:spMkLst>
            <pc:docMk/>
            <pc:sldMk cId="2752045962" sldId="2147473973"/>
            <ac:spMk id="955" creationId="{17C4712F-B9F0-D29A-9C4D-050E0816F19A}"/>
          </ac:spMkLst>
        </pc:spChg>
        <pc:spChg chg="add del mod">
          <ac:chgData name="Steiner Andreas 6206 ED" userId="e6377c33-a923-4f14-8587-531c474c7b48" providerId="ADAL" clId="{6ECD27E6-B224-41CD-B4E0-E297462320DD}" dt="2023-11-24T11:41:44.875" v="147064"/>
          <ac:spMkLst>
            <pc:docMk/>
            <pc:sldMk cId="2752045962" sldId="2147473973"/>
            <ac:spMk id="956" creationId="{1AFBD4E2-4A11-DC7A-827E-38FE3DFC50D4}"/>
          </ac:spMkLst>
        </pc:spChg>
        <pc:spChg chg="add del mod">
          <ac:chgData name="Steiner Andreas 6206 ED" userId="e6377c33-a923-4f14-8587-531c474c7b48" providerId="ADAL" clId="{6ECD27E6-B224-41CD-B4E0-E297462320DD}" dt="2023-11-24T11:41:47.405" v="147219"/>
          <ac:spMkLst>
            <pc:docMk/>
            <pc:sldMk cId="2752045962" sldId="2147473973"/>
            <ac:spMk id="957" creationId="{E45366EC-52B8-C102-C1CE-8278BA22DA34}"/>
          </ac:spMkLst>
        </pc:spChg>
        <pc:spChg chg="add del mod">
          <ac:chgData name="Steiner Andreas 6206 ED" userId="e6377c33-a923-4f14-8587-531c474c7b48" providerId="ADAL" clId="{6ECD27E6-B224-41CD-B4E0-E297462320DD}" dt="2023-11-24T11:41:49.517" v="147374"/>
          <ac:spMkLst>
            <pc:docMk/>
            <pc:sldMk cId="2752045962" sldId="2147473973"/>
            <ac:spMk id="958" creationId="{8D60BAA6-D251-052D-B04D-CD42835403DA}"/>
          </ac:spMkLst>
        </pc:spChg>
        <pc:spChg chg="add del mod">
          <ac:chgData name="Steiner Andreas 6206 ED" userId="e6377c33-a923-4f14-8587-531c474c7b48" providerId="ADAL" clId="{6ECD27E6-B224-41CD-B4E0-E297462320DD}" dt="2023-11-24T11:41:51.837" v="147529"/>
          <ac:spMkLst>
            <pc:docMk/>
            <pc:sldMk cId="2752045962" sldId="2147473973"/>
            <ac:spMk id="959" creationId="{C33A9906-6E96-E851-42C5-3C26A2040F5E}"/>
          </ac:spMkLst>
        </pc:spChg>
        <pc:spChg chg="add del mod">
          <ac:chgData name="Steiner Andreas 6206 ED" userId="e6377c33-a923-4f14-8587-531c474c7b48" providerId="ADAL" clId="{6ECD27E6-B224-41CD-B4E0-E297462320DD}" dt="2023-11-24T11:41:54.259" v="147684"/>
          <ac:spMkLst>
            <pc:docMk/>
            <pc:sldMk cId="2752045962" sldId="2147473973"/>
            <ac:spMk id="960" creationId="{C79E521C-082A-90AB-449D-C28A4A449931}"/>
          </ac:spMkLst>
        </pc:spChg>
        <pc:spChg chg="add del mod">
          <ac:chgData name="Steiner Andreas 6206 ED" userId="e6377c33-a923-4f14-8587-531c474c7b48" providerId="ADAL" clId="{6ECD27E6-B224-41CD-B4E0-E297462320DD}" dt="2023-11-24T11:41:57.377" v="147839"/>
          <ac:spMkLst>
            <pc:docMk/>
            <pc:sldMk cId="2752045962" sldId="2147473973"/>
            <ac:spMk id="961" creationId="{8E00431D-9AA7-8834-692E-054DC1CAAB88}"/>
          </ac:spMkLst>
        </pc:spChg>
        <pc:spChg chg="add del mod">
          <ac:chgData name="Steiner Andreas 6206 ED" userId="e6377c33-a923-4f14-8587-531c474c7b48" providerId="ADAL" clId="{6ECD27E6-B224-41CD-B4E0-E297462320DD}" dt="2023-11-24T11:42:00.749" v="147994"/>
          <ac:spMkLst>
            <pc:docMk/>
            <pc:sldMk cId="2752045962" sldId="2147473973"/>
            <ac:spMk id="962" creationId="{52B408BA-D76A-4DCB-3F4A-040966E1ECE0}"/>
          </ac:spMkLst>
        </pc:spChg>
        <pc:spChg chg="add del mod">
          <ac:chgData name="Steiner Andreas 6206 ED" userId="e6377c33-a923-4f14-8587-531c474c7b48" providerId="ADAL" clId="{6ECD27E6-B224-41CD-B4E0-E297462320DD}" dt="2023-11-24T11:42:04.052" v="148149"/>
          <ac:spMkLst>
            <pc:docMk/>
            <pc:sldMk cId="2752045962" sldId="2147473973"/>
            <ac:spMk id="963" creationId="{ABD07B7D-2A7C-F6E8-7192-1DC6F0947507}"/>
          </ac:spMkLst>
        </pc:spChg>
        <pc:spChg chg="add del mod">
          <ac:chgData name="Steiner Andreas 6206 ED" userId="e6377c33-a923-4f14-8587-531c474c7b48" providerId="ADAL" clId="{6ECD27E6-B224-41CD-B4E0-E297462320DD}" dt="2023-11-24T11:42:06.557" v="148304"/>
          <ac:spMkLst>
            <pc:docMk/>
            <pc:sldMk cId="2752045962" sldId="2147473973"/>
            <ac:spMk id="964" creationId="{040F88CF-3670-054E-DB6E-3F6A502605D6}"/>
          </ac:spMkLst>
        </pc:spChg>
        <pc:spChg chg="add del mod">
          <ac:chgData name="Steiner Andreas 6206 ED" userId="e6377c33-a923-4f14-8587-531c474c7b48" providerId="ADAL" clId="{6ECD27E6-B224-41CD-B4E0-E297462320DD}" dt="2023-11-24T11:42:08.800" v="148459"/>
          <ac:spMkLst>
            <pc:docMk/>
            <pc:sldMk cId="2752045962" sldId="2147473973"/>
            <ac:spMk id="965" creationId="{CF53347F-2B3A-C52A-38F2-7937F88E6A3E}"/>
          </ac:spMkLst>
        </pc:spChg>
        <pc:spChg chg="add del mod">
          <ac:chgData name="Steiner Andreas 6206 ED" userId="e6377c33-a923-4f14-8587-531c474c7b48" providerId="ADAL" clId="{6ECD27E6-B224-41CD-B4E0-E297462320DD}" dt="2023-11-24T11:42:11.404" v="148614"/>
          <ac:spMkLst>
            <pc:docMk/>
            <pc:sldMk cId="2752045962" sldId="2147473973"/>
            <ac:spMk id="966" creationId="{AD82D4A0-E4D0-BC9D-22DD-1C1A949C42B4}"/>
          </ac:spMkLst>
        </pc:spChg>
        <pc:spChg chg="add del mod">
          <ac:chgData name="Steiner Andreas 6206 ED" userId="e6377c33-a923-4f14-8587-531c474c7b48" providerId="ADAL" clId="{6ECD27E6-B224-41CD-B4E0-E297462320DD}" dt="2023-11-24T11:42:14.015" v="148769"/>
          <ac:spMkLst>
            <pc:docMk/>
            <pc:sldMk cId="2752045962" sldId="2147473973"/>
            <ac:spMk id="967" creationId="{C2DEE9B4-B750-6FC4-3DC3-EE4B27E3595D}"/>
          </ac:spMkLst>
        </pc:spChg>
        <pc:spChg chg="add del mod">
          <ac:chgData name="Steiner Andreas 6206 ED" userId="e6377c33-a923-4f14-8587-531c474c7b48" providerId="ADAL" clId="{6ECD27E6-B224-41CD-B4E0-E297462320DD}" dt="2023-11-24T11:42:16.294" v="148924"/>
          <ac:spMkLst>
            <pc:docMk/>
            <pc:sldMk cId="2752045962" sldId="2147473973"/>
            <ac:spMk id="968" creationId="{65FF3C75-E223-95A4-85FE-9FEF66C46984}"/>
          </ac:spMkLst>
        </pc:spChg>
        <pc:spChg chg="add del mod">
          <ac:chgData name="Steiner Andreas 6206 ED" userId="e6377c33-a923-4f14-8587-531c474c7b48" providerId="ADAL" clId="{6ECD27E6-B224-41CD-B4E0-E297462320DD}" dt="2023-11-24T11:42:18.423" v="149079"/>
          <ac:spMkLst>
            <pc:docMk/>
            <pc:sldMk cId="2752045962" sldId="2147473973"/>
            <ac:spMk id="969" creationId="{698E071B-7D64-7CE3-968F-84FB4BC54406}"/>
          </ac:spMkLst>
        </pc:spChg>
        <pc:spChg chg="add del mod">
          <ac:chgData name="Steiner Andreas 6206 ED" userId="e6377c33-a923-4f14-8587-531c474c7b48" providerId="ADAL" clId="{6ECD27E6-B224-41CD-B4E0-E297462320DD}" dt="2023-11-24T11:42:20.471" v="149234"/>
          <ac:spMkLst>
            <pc:docMk/>
            <pc:sldMk cId="2752045962" sldId="2147473973"/>
            <ac:spMk id="970" creationId="{AB967370-496B-C17A-8A90-8F1DD6BD51A1}"/>
          </ac:spMkLst>
        </pc:spChg>
        <pc:spChg chg="add del mod">
          <ac:chgData name="Steiner Andreas 6206 ED" userId="e6377c33-a923-4f14-8587-531c474c7b48" providerId="ADAL" clId="{6ECD27E6-B224-41CD-B4E0-E297462320DD}" dt="2023-11-24T11:42:22.533" v="149389"/>
          <ac:spMkLst>
            <pc:docMk/>
            <pc:sldMk cId="2752045962" sldId="2147473973"/>
            <ac:spMk id="971" creationId="{580157D8-23F2-F95F-30DD-3E250672A7B7}"/>
          </ac:spMkLst>
        </pc:spChg>
        <pc:spChg chg="add del mod">
          <ac:chgData name="Steiner Andreas 6206 ED" userId="e6377c33-a923-4f14-8587-531c474c7b48" providerId="ADAL" clId="{6ECD27E6-B224-41CD-B4E0-E297462320DD}" dt="2023-11-24T11:42:24.481" v="149544"/>
          <ac:spMkLst>
            <pc:docMk/>
            <pc:sldMk cId="2752045962" sldId="2147473973"/>
            <ac:spMk id="972" creationId="{F37E3931-A2E7-13CE-03ED-52348CCAEF63}"/>
          </ac:spMkLst>
        </pc:spChg>
        <pc:spChg chg="add del mod">
          <ac:chgData name="Steiner Andreas 6206 ED" userId="e6377c33-a923-4f14-8587-531c474c7b48" providerId="ADAL" clId="{6ECD27E6-B224-41CD-B4E0-E297462320DD}" dt="2023-11-24T11:42:26.403" v="149699"/>
          <ac:spMkLst>
            <pc:docMk/>
            <pc:sldMk cId="2752045962" sldId="2147473973"/>
            <ac:spMk id="973" creationId="{96A80336-F2B9-884E-8017-A2545E60602E}"/>
          </ac:spMkLst>
        </pc:spChg>
        <pc:spChg chg="add del mod">
          <ac:chgData name="Steiner Andreas 6206 ED" userId="e6377c33-a923-4f14-8587-531c474c7b48" providerId="ADAL" clId="{6ECD27E6-B224-41CD-B4E0-E297462320DD}" dt="2023-11-24T11:42:29.549" v="149854"/>
          <ac:spMkLst>
            <pc:docMk/>
            <pc:sldMk cId="2752045962" sldId="2147473973"/>
            <ac:spMk id="974" creationId="{6263B824-293F-D307-2E34-C8FF7E6575E6}"/>
          </ac:spMkLst>
        </pc:spChg>
        <pc:spChg chg="add del mod">
          <ac:chgData name="Steiner Andreas 6206 ED" userId="e6377c33-a923-4f14-8587-531c474c7b48" providerId="ADAL" clId="{6ECD27E6-B224-41CD-B4E0-E297462320DD}" dt="2023-11-24T11:42:32.522" v="150009"/>
          <ac:spMkLst>
            <pc:docMk/>
            <pc:sldMk cId="2752045962" sldId="2147473973"/>
            <ac:spMk id="975" creationId="{0721BDCF-9333-84AE-E578-52A2829F886E}"/>
          </ac:spMkLst>
        </pc:spChg>
        <pc:spChg chg="add del mod">
          <ac:chgData name="Steiner Andreas 6206 ED" userId="e6377c33-a923-4f14-8587-531c474c7b48" providerId="ADAL" clId="{6ECD27E6-B224-41CD-B4E0-E297462320DD}" dt="2023-11-24T11:42:35.779" v="150164"/>
          <ac:spMkLst>
            <pc:docMk/>
            <pc:sldMk cId="2752045962" sldId="2147473973"/>
            <ac:spMk id="976" creationId="{BBF3E0F7-F701-832B-3DBA-3CD867F77E29}"/>
          </ac:spMkLst>
        </pc:spChg>
        <pc:spChg chg="add del mod">
          <ac:chgData name="Steiner Andreas 6206 ED" userId="e6377c33-a923-4f14-8587-531c474c7b48" providerId="ADAL" clId="{6ECD27E6-B224-41CD-B4E0-E297462320DD}" dt="2023-11-24T11:42:38.069" v="150319"/>
          <ac:spMkLst>
            <pc:docMk/>
            <pc:sldMk cId="2752045962" sldId="2147473973"/>
            <ac:spMk id="977" creationId="{6914B4FE-FAAB-CD8F-2472-3100486B9898}"/>
          </ac:spMkLst>
        </pc:spChg>
        <pc:spChg chg="add del mod">
          <ac:chgData name="Steiner Andreas 6206 ED" userId="e6377c33-a923-4f14-8587-531c474c7b48" providerId="ADAL" clId="{6ECD27E6-B224-41CD-B4E0-E297462320DD}" dt="2023-11-24T11:42:40.177" v="150474"/>
          <ac:spMkLst>
            <pc:docMk/>
            <pc:sldMk cId="2752045962" sldId="2147473973"/>
            <ac:spMk id="978" creationId="{8B334874-3AA2-799A-1B2D-A55FDA1FF92C}"/>
          </ac:spMkLst>
        </pc:spChg>
        <pc:spChg chg="add del mod">
          <ac:chgData name="Steiner Andreas 6206 ED" userId="e6377c33-a923-4f14-8587-531c474c7b48" providerId="ADAL" clId="{6ECD27E6-B224-41CD-B4E0-E297462320DD}" dt="2023-11-24T11:42:42.228" v="150629"/>
          <ac:spMkLst>
            <pc:docMk/>
            <pc:sldMk cId="2752045962" sldId="2147473973"/>
            <ac:spMk id="979" creationId="{C82C7FD5-B601-20AA-6A84-1C49FB532FE3}"/>
          </ac:spMkLst>
        </pc:spChg>
        <pc:spChg chg="add del mod">
          <ac:chgData name="Steiner Andreas 6206 ED" userId="e6377c33-a923-4f14-8587-531c474c7b48" providerId="ADAL" clId="{6ECD27E6-B224-41CD-B4E0-E297462320DD}" dt="2023-11-24T11:42:44.326" v="150784"/>
          <ac:spMkLst>
            <pc:docMk/>
            <pc:sldMk cId="2752045962" sldId="2147473973"/>
            <ac:spMk id="980" creationId="{A2038365-F4BC-5419-E99C-BB575D892BB8}"/>
          </ac:spMkLst>
        </pc:spChg>
        <pc:spChg chg="add del mod">
          <ac:chgData name="Steiner Andreas 6206 ED" userId="e6377c33-a923-4f14-8587-531c474c7b48" providerId="ADAL" clId="{6ECD27E6-B224-41CD-B4E0-E297462320DD}" dt="2023-11-24T11:42:46.587" v="150939"/>
          <ac:spMkLst>
            <pc:docMk/>
            <pc:sldMk cId="2752045962" sldId="2147473973"/>
            <ac:spMk id="981" creationId="{3FDE4253-115B-27EB-89D6-011FDCA48C6F}"/>
          </ac:spMkLst>
        </pc:spChg>
        <pc:spChg chg="add del mod">
          <ac:chgData name="Steiner Andreas 6206 ED" userId="e6377c33-a923-4f14-8587-531c474c7b48" providerId="ADAL" clId="{6ECD27E6-B224-41CD-B4E0-E297462320DD}" dt="2023-11-24T11:42:48.812" v="151094"/>
          <ac:spMkLst>
            <pc:docMk/>
            <pc:sldMk cId="2752045962" sldId="2147473973"/>
            <ac:spMk id="982" creationId="{41F926DD-2735-196B-49DC-3492B5351238}"/>
          </ac:spMkLst>
        </pc:spChg>
        <pc:spChg chg="add del mod">
          <ac:chgData name="Steiner Andreas 6206 ED" userId="e6377c33-a923-4f14-8587-531c474c7b48" providerId="ADAL" clId="{6ECD27E6-B224-41CD-B4E0-E297462320DD}" dt="2023-11-24T11:42:51.066" v="151249"/>
          <ac:spMkLst>
            <pc:docMk/>
            <pc:sldMk cId="2752045962" sldId="2147473973"/>
            <ac:spMk id="983" creationId="{B502111D-7A59-27A6-B6BC-7E818029AB75}"/>
          </ac:spMkLst>
        </pc:spChg>
        <pc:spChg chg="add del mod">
          <ac:chgData name="Steiner Andreas 6206 ED" userId="e6377c33-a923-4f14-8587-531c474c7b48" providerId="ADAL" clId="{6ECD27E6-B224-41CD-B4E0-E297462320DD}" dt="2023-11-24T11:42:53.405" v="151404"/>
          <ac:spMkLst>
            <pc:docMk/>
            <pc:sldMk cId="2752045962" sldId="2147473973"/>
            <ac:spMk id="984" creationId="{34169EB0-8C58-0D63-0B7D-239F2B19A901}"/>
          </ac:spMkLst>
        </pc:spChg>
        <pc:spChg chg="add del mod">
          <ac:chgData name="Steiner Andreas 6206 ED" userId="e6377c33-a923-4f14-8587-531c474c7b48" providerId="ADAL" clId="{6ECD27E6-B224-41CD-B4E0-E297462320DD}" dt="2023-11-24T11:42:55.645" v="151559"/>
          <ac:spMkLst>
            <pc:docMk/>
            <pc:sldMk cId="2752045962" sldId="2147473973"/>
            <ac:spMk id="985" creationId="{0AFE4BB9-7894-D6FF-2C9C-33B5B849ED0C}"/>
          </ac:spMkLst>
        </pc:spChg>
        <pc:spChg chg="add del mod">
          <ac:chgData name="Steiner Andreas 6206 ED" userId="e6377c33-a923-4f14-8587-531c474c7b48" providerId="ADAL" clId="{6ECD27E6-B224-41CD-B4E0-E297462320DD}" dt="2023-11-24T11:42:58.101" v="151714"/>
          <ac:spMkLst>
            <pc:docMk/>
            <pc:sldMk cId="2752045962" sldId="2147473973"/>
            <ac:spMk id="986" creationId="{34C4B215-6E3E-AFB8-4E0B-6E9EB645A3E4}"/>
          </ac:spMkLst>
        </pc:spChg>
        <pc:spChg chg="add del mod">
          <ac:chgData name="Steiner Andreas 6206 ED" userId="e6377c33-a923-4f14-8587-531c474c7b48" providerId="ADAL" clId="{6ECD27E6-B224-41CD-B4E0-E297462320DD}" dt="2023-11-24T11:43:01.820" v="151869"/>
          <ac:spMkLst>
            <pc:docMk/>
            <pc:sldMk cId="2752045962" sldId="2147473973"/>
            <ac:spMk id="987" creationId="{AC5E3358-44CB-EA53-AD30-7F3DF452606E}"/>
          </ac:spMkLst>
        </pc:spChg>
        <pc:spChg chg="add del mod">
          <ac:chgData name="Steiner Andreas 6206 ED" userId="e6377c33-a923-4f14-8587-531c474c7b48" providerId="ADAL" clId="{6ECD27E6-B224-41CD-B4E0-E297462320DD}" dt="2023-11-24T11:43:04.133" v="152024"/>
          <ac:spMkLst>
            <pc:docMk/>
            <pc:sldMk cId="2752045962" sldId="2147473973"/>
            <ac:spMk id="988" creationId="{27343C50-1555-E200-F3F1-55628F0FE3B0}"/>
          </ac:spMkLst>
        </pc:spChg>
        <pc:spChg chg="add del mod">
          <ac:chgData name="Steiner Andreas 6206 ED" userId="e6377c33-a923-4f14-8587-531c474c7b48" providerId="ADAL" clId="{6ECD27E6-B224-41CD-B4E0-E297462320DD}" dt="2023-11-24T11:43:06.333" v="152179"/>
          <ac:spMkLst>
            <pc:docMk/>
            <pc:sldMk cId="2752045962" sldId="2147473973"/>
            <ac:spMk id="989" creationId="{84FB9A46-300A-AAAB-C1F4-81386211752F}"/>
          </ac:spMkLst>
        </pc:spChg>
        <pc:spChg chg="add del mod">
          <ac:chgData name="Steiner Andreas 6206 ED" userId="e6377c33-a923-4f14-8587-531c474c7b48" providerId="ADAL" clId="{6ECD27E6-B224-41CD-B4E0-E297462320DD}" dt="2023-11-24T11:43:08.453" v="152334"/>
          <ac:spMkLst>
            <pc:docMk/>
            <pc:sldMk cId="2752045962" sldId="2147473973"/>
            <ac:spMk id="990" creationId="{E13A6C01-CC26-F21A-B24F-5806B46D6542}"/>
          </ac:spMkLst>
        </pc:spChg>
        <pc:spChg chg="add del mod">
          <ac:chgData name="Steiner Andreas 6206 ED" userId="e6377c33-a923-4f14-8587-531c474c7b48" providerId="ADAL" clId="{6ECD27E6-B224-41CD-B4E0-E297462320DD}" dt="2023-11-24T11:43:10.604" v="152489"/>
          <ac:spMkLst>
            <pc:docMk/>
            <pc:sldMk cId="2752045962" sldId="2147473973"/>
            <ac:spMk id="991" creationId="{B02A9C7D-370D-4AE9-8B72-089475E19A29}"/>
          </ac:spMkLst>
        </pc:spChg>
        <pc:spChg chg="add del mod">
          <ac:chgData name="Steiner Andreas 6206 ED" userId="e6377c33-a923-4f14-8587-531c474c7b48" providerId="ADAL" clId="{6ECD27E6-B224-41CD-B4E0-E297462320DD}" dt="2023-11-24T11:43:12.828" v="152644"/>
          <ac:spMkLst>
            <pc:docMk/>
            <pc:sldMk cId="2752045962" sldId="2147473973"/>
            <ac:spMk id="992" creationId="{9760E8A1-BC23-78A5-848C-0087BB8305E1}"/>
          </ac:spMkLst>
        </pc:spChg>
        <pc:spChg chg="add del mod">
          <ac:chgData name="Steiner Andreas 6206 ED" userId="e6377c33-a923-4f14-8587-531c474c7b48" providerId="ADAL" clId="{6ECD27E6-B224-41CD-B4E0-E297462320DD}" dt="2023-11-24T11:43:15.161" v="152799"/>
          <ac:spMkLst>
            <pc:docMk/>
            <pc:sldMk cId="2752045962" sldId="2147473973"/>
            <ac:spMk id="993" creationId="{753A0EA4-4BEF-C99C-3B62-303E4FC55F11}"/>
          </ac:spMkLst>
        </pc:spChg>
        <pc:spChg chg="add del mod">
          <ac:chgData name="Steiner Andreas 6206 ED" userId="e6377c33-a923-4f14-8587-531c474c7b48" providerId="ADAL" clId="{6ECD27E6-B224-41CD-B4E0-E297462320DD}" dt="2023-11-24T11:43:18.245" v="152954"/>
          <ac:spMkLst>
            <pc:docMk/>
            <pc:sldMk cId="2752045962" sldId="2147473973"/>
            <ac:spMk id="994" creationId="{8C86640F-ABA4-F897-8729-CF68C7F82DF5}"/>
          </ac:spMkLst>
        </pc:spChg>
        <pc:spChg chg="add del mod">
          <ac:chgData name="Steiner Andreas 6206 ED" userId="e6377c33-a923-4f14-8587-531c474c7b48" providerId="ADAL" clId="{6ECD27E6-B224-41CD-B4E0-E297462320DD}" dt="2023-11-24T11:43:22.397" v="153109"/>
          <ac:spMkLst>
            <pc:docMk/>
            <pc:sldMk cId="2752045962" sldId="2147473973"/>
            <ac:spMk id="995" creationId="{D9B5FAFD-D17D-EF68-C60D-E3F9D370BA34}"/>
          </ac:spMkLst>
        </pc:spChg>
        <pc:spChg chg="add del mod">
          <ac:chgData name="Steiner Andreas 6206 ED" userId="e6377c33-a923-4f14-8587-531c474c7b48" providerId="ADAL" clId="{6ECD27E6-B224-41CD-B4E0-E297462320DD}" dt="2023-11-24T11:43:24.866" v="153264"/>
          <ac:spMkLst>
            <pc:docMk/>
            <pc:sldMk cId="2752045962" sldId="2147473973"/>
            <ac:spMk id="996" creationId="{7B874F97-91CA-86DD-EFC7-9F6F56C5901D}"/>
          </ac:spMkLst>
        </pc:spChg>
        <pc:spChg chg="add del mod">
          <ac:chgData name="Steiner Andreas 6206 ED" userId="e6377c33-a923-4f14-8587-531c474c7b48" providerId="ADAL" clId="{6ECD27E6-B224-41CD-B4E0-E297462320DD}" dt="2023-11-24T11:43:27.114" v="153419"/>
          <ac:spMkLst>
            <pc:docMk/>
            <pc:sldMk cId="2752045962" sldId="2147473973"/>
            <ac:spMk id="997" creationId="{6869D30D-2A14-7847-3D30-250935C8EDCD}"/>
          </ac:spMkLst>
        </pc:spChg>
        <pc:spChg chg="add del mod">
          <ac:chgData name="Steiner Andreas 6206 ED" userId="e6377c33-a923-4f14-8587-531c474c7b48" providerId="ADAL" clId="{6ECD27E6-B224-41CD-B4E0-E297462320DD}" dt="2023-11-24T11:43:29.391" v="153574"/>
          <ac:spMkLst>
            <pc:docMk/>
            <pc:sldMk cId="2752045962" sldId="2147473973"/>
            <ac:spMk id="998" creationId="{7E8EEF1D-B4DD-15DB-851A-CCF41BC6747C}"/>
          </ac:spMkLst>
        </pc:spChg>
        <pc:spChg chg="add del mod">
          <ac:chgData name="Steiner Andreas 6206 ED" userId="e6377c33-a923-4f14-8587-531c474c7b48" providerId="ADAL" clId="{6ECD27E6-B224-41CD-B4E0-E297462320DD}" dt="2023-11-24T11:43:31.638" v="153729"/>
          <ac:spMkLst>
            <pc:docMk/>
            <pc:sldMk cId="2752045962" sldId="2147473973"/>
            <ac:spMk id="999" creationId="{F099110D-05E2-DA75-3242-1034C31FD289}"/>
          </ac:spMkLst>
        </pc:spChg>
        <pc:spChg chg="add del mod">
          <ac:chgData name="Steiner Andreas 6206 ED" userId="e6377c33-a923-4f14-8587-531c474c7b48" providerId="ADAL" clId="{6ECD27E6-B224-41CD-B4E0-E297462320DD}" dt="2023-11-24T11:43:34.357" v="153884"/>
          <ac:spMkLst>
            <pc:docMk/>
            <pc:sldMk cId="2752045962" sldId="2147473973"/>
            <ac:spMk id="1000" creationId="{3C333727-FEF2-3C5D-8B19-C7DAACDB2B76}"/>
          </ac:spMkLst>
        </pc:spChg>
        <pc:spChg chg="add del mod">
          <ac:chgData name="Steiner Andreas 6206 ED" userId="e6377c33-a923-4f14-8587-531c474c7b48" providerId="ADAL" clId="{6ECD27E6-B224-41CD-B4E0-E297462320DD}" dt="2023-11-24T11:43:36.516" v="154039"/>
          <ac:spMkLst>
            <pc:docMk/>
            <pc:sldMk cId="2752045962" sldId="2147473973"/>
            <ac:spMk id="1001" creationId="{6786F5A3-A4C6-8AE1-5A7D-82951B8B0ED5}"/>
          </ac:spMkLst>
        </pc:spChg>
        <pc:spChg chg="add del mod">
          <ac:chgData name="Steiner Andreas 6206 ED" userId="e6377c33-a923-4f14-8587-531c474c7b48" providerId="ADAL" clId="{6ECD27E6-B224-41CD-B4E0-E297462320DD}" dt="2023-11-24T11:43:38.698" v="154194"/>
          <ac:spMkLst>
            <pc:docMk/>
            <pc:sldMk cId="2752045962" sldId="2147473973"/>
            <ac:spMk id="1002" creationId="{FBE0289D-3DD5-596F-59EE-40555CEBECC4}"/>
          </ac:spMkLst>
        </pc:spChg>
        <pc:spChg chg="add del mod">
          <ac:chgData name="Steiner Andreas 6206 ED" userId="e6377c33-a923-4f14-8587-531c474c7b48" providerId="ADAL" clId="{6ECD27E6-B224-41CD-B4E0-E297462320DD}" dt="2023-11-24T11:43:41.024" v="154349"/>
          <ac:spMkLst>
            <pc:docMk/>
            <pc:sldMk cId="2752045962" sldId="2147473973"/>
            <ac:spMk id="1003" creationId="{D43008C7-17DB-9D19-2E55-427EBBAEF6CD}"/>
          </ac:spMkLst>
        </pc:spChg>
        <pc:spChg chg="add del mod">
          <ac:chgData name="Steiner Andreas 6206 ED" userId="e6377c33-a923-4f14-8587-531c474c7b48" providerId="ADAL" clId="{6ECD27E6-B224-41CD-B4E0-E297462320DD}" dt="2023-11-24T11:43:44.001" v="154504"/>
          <ac:spMkLst>
            <pc:docMk/>
            <pc:sldMk cId="2752045962" sldId="2147473973"/>
            <ac:spMk id="1004" creationId="{62F37376-E2F4-E4AF-FF73-D8E2C0AA22D9}"/>
          </ac:spMkLst>
        </pc:spChg>
        <pc:spChg chg="add del mod">
          <ac:chgData name="Steiner Andreas 6206 ED" userId="e6377c33-a923-4f14-8587-531c474c7b48" providerId="ADAL" clId="{6ECD27E6-B224-41CD-B4E0-E297462320DD}" dt="2023-11-24T11:43:46.341" v="154659"/>
          <ac:spMkLst>
            <pc:docMk/>
            <pc:sldMk cId="2752045962" sldId="2147473973"/>
            <ac:spMk id="1005" creationId="{C53AD925-8513-06A6-AD16-0D0366D5352A}"/>
          </ac:spMkLst>
        </pc:spChg>
        <pc:spChg chg="add del mod">
          <ac:chgData name="Steiner Andreas 6206 ED" userId="e6377c33-a923-4f14-8587-531c474c7b48" providerId="ADAL" clId="{6ECD27E6-B224-41CD-B4E0-E297462320DD}" dt="2023-11-24T11:43:48.640" v="154814"/>
          <ac:spMkLst>
            <pc:docMk/>
            <pc:sldMk cId="2752045962" sldId="2147473973"/>
            <ac:spMk id="1006" creationId="{B16D587B-1C77-8155-59AC-106652D49EBD}"/>
          </ac:spMkLst>
        </pc:spChg>
        <pc:spChg chg="add del mod">
          <ac:chgData name="Steiner Andreas 6206 ED" userId="e6377c33-a923-4f14-8587-531c474c7b48" providerId="ADAL" clId="{6ECD27E6-B224-41CD-B4E0-E297462320DD}" dt="2023-11-24T11:43:50.695" v="154969"/>
          <ac:spMkLst>
            <pc:docMk/>
            <pc:sldMk cId="2752045962" sldId="2147473973"/>
            <ac:spMk id="1007" creationId="{F00D2542-100C-A0FA-7C7C-633669AC95B4}"/>
          </ac:spMkLst>
        </pc:spChg>
        <pc:spChg chg="add del mod">
          <ac:chgData name="Steiner Andreas 6206 ED" userId="e6377c33-a923-4f14-8587-531c474c7b48" providerId="ADAL" clId="{6ECD27E6-B224-41CD-B4E0-E297462320DD}" dt="2023-11-24T11:43:52.886" v="155124"/>
          <ac:spMkLst>
            <pc:docMk/>
            <pc:sldMk cId="2752045962" sldId="2147473973"/>
            <ac:spMk id="1008" creationId="{EE1B914B-A2CC-67BB-18E1-D9DD63E88AE5}"/>
          </ac:spMkLst>
        </pc:spChg>
        <pc:spChg chg="add del mod">
          <ac:chgData name="Steiner Andreas 6206 ED" userId="e6377c33-a923-4f14-8587-531c474c7b48" providerId="ADAL" clId="{6ECD27E6-B224-41CD-B4E0-E297462320DD}" dt="2023-11-24T11:43:55.892" v="155279"/>
          <ac:spMkLst>
            <pc:docMk/>
            <pc:sldMk cId="2752045962" sldId="2147473973"/>
            <ac:spMk id="1009" creationId="{2F98F47F-D2D8-C7F5-FCD4-3859ECFE1976}"/>
          </ac:spMkLst>
        </pc:spChg>
        <pc:spChg chg="add del mod">
          <ac:chgData name="Steiner Andreas 6206 ED" userId="e6377c33-a923-4f14-8587-531c474c7b48" providerId="ADAL" clId="{6ECD27E6-B224-41CD-B4E0-E297462320DD}" dt="2023-11-24T11:43:58.238" v="155434"/>
          <ac:spMkLst>
            <pc:docMk/>
            <pc:sldMk cId="2752045962" sldId="2147473973"/>
            <ac:spMk id="1010" creationId="{8313FD5B-5059-49C1-F6DF-15E15D681BAF}"/>
          </ac:spMkLst>
        </pc:spChg>
        <pc:spChg chg="add del mod">
          <ac:chgData name="Steiner Andreas 6206 ED" userId="e6377c33-a923-4f14-8587-531c474c7b48" providerId="ADAL" clId="{6ECD27E6-B224-41CD-B4E0-E297462320DD}" dt="2023-11-24T11:44:00.319" v="155589"/>
          <ac:spMkLst>
            <pc:docMk/>
            <pc:sldMk cId="2752045962" sldId="2147473973"/>
            <ac:spMk id="1011" creationId="{7C77ABB2-DA80-7A9E-848F-1DF60FFAB648}"/>
          </ac:spMkLst>
        </pc:spChg>
        <pc:spChg chg="add del mod">
          <ac:chgData name="Steiner Andreas 6206 ED" userId="e6377c33-a923-4f14-8587-531c474c7b48" providerId="ADAL" clId="{6ECD27E6-B224-41CD-B4E0-E297462320DD}" dt="2023-11-24T11:44:02.328" v="155744"/>
          <ac:spMkLst>
            <pc:docMk/>
            <pc:sldMk cId="2752045962" sldId="2147473973"/>
            <ac:spMk id="1012" creationId="{0ACAC48F-1366-2A1D-3994-261A63E6E258}"/>
          </ac:spMkLst>
        </pc:spChg>
        <pc:spChg chg="add del mod">
          <ac:chgData name="Steiner Andreas 6206 ED" userId="e6377c33-a923-4f14-8587-531c474c7b48" providerId="ADAL" clId="{6ECD27E6-B224-41CD-B4E0-E297462320DD}" dt="2023-11-24T11:44:04.389" v="155899"/>
          <ac:spMkLst>
            <pc:docMk/>
            <pc:sldMk cId="2752045962" sldId="2147473973"/>
            <ac:spMk id="1013" creationId="{706E6955-D17A-A9EA-F7CA-6E03607DB5EA}"/>
          </ac:spMkLst>
        </pc:spChg>
        <pc:spChg chg="add del mod">
          <ac:chgData name="Steiner Andreas 6206 ED" userId="e6377c33-a923-4f14-8587-531c474c7b48" providerId="ADAL" clId="{6ECD27E6-B224-41CD-B4E0-E297462320DD}" dt="2023-11-24T11:44:06.379" v="156054"/>
          <ac:spMkLst>
            <pc:docMk/>
            <pc:sldMk cId="2752045962" sldId="2147473973"/>
            <ac:spMk id="1014" creationId="{20FC5B43-B1D6-8F8E-6C58-EF77C8426BE6}"/>
          </ac:spMkLst>
        </pc:spChg>
        <pc:spChg chg="add del mod">
          <ac:chgData name="Steiner Andreas 6206 ED" userId="e6377c33-a923-4f14-8587-531c474c7b48" providerId="ADAL" clId="{6ECD27E6-B224-41CD-B4E0-E297462320DD}" dt="2023-11-24T11:44:08.578" v="156209"/>
          <ac:spMkLst>
            <pc:docMk/>
            <pc:sldMk cId="2752045962" sldId="2147473973"/>
            <ac:spMk id="1015" creationId="{7AF36942-EDC1-2CE1-9750-776C1672026B}"/>
          </ac:spMkLst>
        </pc:spChg>
        <pc:spChg chg="add del mod">
          <ac:chgData name="Steiner Andreas 6206 ED" userId="e6377c33-a923-4f14-8587-531c474c7b48" providerId="ADAL" clId="{6ECD27E6-B224-41CD-B4E0-E297462320DD}" dt="2023-11-24T11:44:10.639" v="156364"/>
          <ac:spMkLst>
            <pc:docMk/>
            <pc:sldMk cId="2752045962" sldId="2147473973"/>
            <ac:spMk id="1016" creationId="{3A45DEF0-DB6C-253E-4FD6-D3F370B4D503}"/>
          </ac:spMkLst>
        </pc:spChg>
        <pc:spChg chg="add del mod">
          <ac:chgData name="Steiner Andreas 6206 ED" userId="e6377c33-a923-4f14-8587-531c474c7b48" providerId="ADAL" clId="{6ECD27E6-B224-41CD-B4E0-E297462320DD}" dt="2023-11-24T11:44:12.647" v="156519"/>
          <ac:spMkLst>
            <pc:docMk/>
            <pc:sldMk cId="2752045962" sldId="2147473973"/>
            <ac:spMk id="1017" creationId="{DE525646-200A-B12D-66C9-360E9B67CFD4}"/>
          </ac:spMkLst>
        </pc:spChg>
        <pc:spChg chg="add del mod">
          <ac:chgData name="Steiner Andreas 6206 ED" userId="e6377c33-a923-4f14-8587-531c474c7b48" providerId="ADAL" clId="{6ECD27E6-B224-41CD-B4E0-E297462320DD}" dt="2023-11-24T11:44:14.628" v="156674"/>
          <ac:spMkLst>
            <pc:docMk/>
            <pc:sldMk cId="2752045962" sldId="2147473973"/>
            <ac:spMk id="1018" creationId="{D399CE7E-4ABA-D84E-CFE4-93EB4142CDA5}"/>
          </ac:spMkLst>
        </pc:spChg>
        <pc:spChg chg="add del mod">
          <ac:chgData name="Steiner Andreas 6206 ED" userId="e6377c33-a923-4f14-8587-531c474c7b48" providerId="ADAL" clId="{6ECD27E6-B224-41CD-B4E0-E297462320DD}" dt="2023-11-24T11:44:16.633" v="156829"/>
          <ac:spMkLst>
            <pc:docMk/>
            <pc:sldMk cId="2752045962" sldId="2147473973"/>
            <ac:spMk id="1019" creationId="{81722870-56A7-D9EF-8457-03B59A993339}"/>
          </ac:spMkLst>
        </pc:spChg>
        <pc:spChg chg="add del mod">
          <ac:chgData name="Steiner Andreas 6206 ED" userId="e6377c33-a923-4f14-8587-531c474c7b48" providerId="ADAL" clId="{6ECD27E6-B224-41CD-B4E0-E297462320DD}" dt="2023-11-24T11:44:18.726" v="156984"/>
          <ac:spMkLst>
            <pc:docMk/>
            <pc:sldMk cId="2752045962" sldId="2147473973"/>
            <ac:spMk id="1020" creationId="{1599B68E-D20A-20A0-DC76-E6123ACA6F21}"/>
          </ac:spMkLst>
        </pc:spChg>
        <pc:spChg chg="add del mod">
          <ac:chgData name="Steiner Andreas 6206 ED" userId="e6377c33-a923-4f14-8587-531c474c7b48" providerId="ADAL" clId="{6ECD27E6-B224-41CD-B4E0-E297462320DD}" dt="2023-11-24T11:44:20.840" v="157139"/>
          <ac:spMkLst>
            <pc:docMk/>
            <pc:sldMk cId="2752045962" sldId="2147473973"/>
            <ac:spMk id="1021" creationId="{CAC15743-21B1-FC9C-EBBE-7C322E0CB098}"/>
          </ac:spMkLst>
        </pc:spChg>
        <pc:spChg chg="add del mod">
          <ac:chgData name="Steiner Andreas 6206 ED" userId="e6377c33-a923-4f14-8587-531c474c7b48" providerId="ADAL" clId="{6ECD27E6-B224-41CD-B4E0-E297462320DD}" dt="2023-11-24T11:44:23.173" v="157294"/>
          <ac:spMkLst>
            <pc:docMk/>
            <pc:sldMk cId="2752045962" sldId="2147473973"/>
            <ac:spMk id="1022" creationId="{59C6249D-196F-2010-DCEF-D0E7A3443F88}"/>
          </ac:spMkLst>
        </pc:spChg>
        <pc:spChg chg="add del mod">
          <ac:chgData name="Steiner Andreas 6206 ED" userId="e6377c33-a923-4f14-8587-531c474c7b48" providerId="ADAL" clId="{6ECD27E6-B224-41CD-B4E0-E297462320DD}" dt="2023-11-24T11:44:25.313" v="157449"/>
          <ac:spMkLst>
            <pc:docMk/>
            <pc:sldMk cId="2752045962" sldId="2147473973"/>
            <ac:spMk id="1023" creationId="{C54CB822-C17E-A097-9EBA-FD14271809F2}"/>
          </ac:spMkLst>
        </pc:spChg>
        <pc:spChg chg="add del mod">
          <ac:chgData name="Steiner Andreas 6206 ED" userId="e6377c33-a923-4f14-8587-531c474c7b48" providerId="ADAL" clId="{6ECD27E6-B224-41CD-B4E0-E297462320DD}" dt="2023-11-24T11:44:30.737" v="157604"/>
          <ac:spMkLst>
            <pc:docMk/>
            <pc:sldMk cId="2752045962" sldId="2147473973"/>
            <ac:spMk id="1024" creationId="{2DF94172-FECD-0923-054D-126C7AD51D01}"/>
          </ac:spMkLst>
        </pc:spChg>
        <pc:spChg chg="add mod">
          <ac:chgData name="Steiner Andreas 6206 ED" userId="e6377c33-a923-4f14-8587-531c474c7b48" providerId="ADAL" clId="{6ECD27E6-B224-41CD-B4E0-E297462320DD}" dt="2023-11-24T11:44:30.737" v="157605"/>
          <ac:spMkLst>
            <pc:docMk/>
            <pc:sldMk cId="2752045962" sldId="2147473973"/>
            <ac:spMk id="1025" creationId="{9C5DC5BA-D782-0706-4623-5806E5DFC6C3}"/>
          </ac:spMkLst>
        </pc:spChg>
      </pc:sldChg>
      <pc:sldChg chg="addSp delSp modSp mod">
        <pc:chgData name="Steiner Andreas 6206 ED" userId="e6377c33-a923-4f14-8587-531c474c7b48" providerId="ADAL" clId="{6ECD27E6-B224-41CD-B4E0-E297462320DD}" dt="2023-11-24T11:44:30.805" v="157619"/>
        <pc:sldMkLst>
          <pc:docMk/>
          <pc:sldMk cId="788765567" sldId="2147473977"/>
        </pc:sldMkLst>
        <pc:spChg chg="mod">
          <ac:chgData name="Steiner Andreas 6206 ED" userId="e6377c33-a923-4f14-8587-531c474c7b48" providerId="ADAL" clId="{6ECD27E6-B224-41CD-B4E0-E297462320DD}" dt="2023-11-24T11:44:30.805" v="157615" actId="20577"/>
          <ac:spMkLst>
            <pc:docMk/>
            <pc:sldMk cId="788765567" sldId="2147473977"/>
            <ac:spMk id="3" creationId="{395DC4DF-F772-E3DD-09E2-FAC2C1156DCB}"/>
          </ac:spMkLst>
        </pc:spChg>
        <pc:spChg chg="del">
          <ac:chgData name="Steiner Andreas 6206 ED" userId="e6377c33-a923-4f14-8587-531c474c7b48" providerId="ADAL" clId="{6ECD27E6-B224-41CD-B4E0-E297462320DD}" dt="2023-11-23T19:49:53.617" v="143"/>
          <ac:spMkLst>
            <pc:docMk/>
            <pc:sldMk cId="788765567" sldId="2147473977"/>
            <ac:spMk id="5" creationId="{630B821C-A7EE-F3A1-7B2B-BA27900218ED}"/>
          </ac:spMkLst>
        </pc:spChg>
        <pc:spChg chg="add del mod">
          <ac:chgData name="Steiner Andreas 6206 ED" userId="e6377c33-a923-4f14-8587-531c474c7b48" providerId="ADAL" clId="{6ECD27E6-B224-41CD-B4E0-E297462320DD}" dt="2023-11-23T19:49:53.618" v="146"/>
          <ac:spMkLst>
            <pc:docMk/>
            <pc:sldMk cId="788765567" sldId="2147473977"/>
            <ac:spMk id="8" creationId="{38C64B2D-C625-05B9-3DEF-A3EDABFC9DFB}"/>
          </ac:spMkLst>
        </pc:spChg>
        <pc:spChg chg="add del mod">
          <ac:chgData name="Steiner Andreas 6206 ED" userId="e6377c33-a923-4f14-8587-531c474c7b48" providerId="ADAL" clId="{6ECD27E6-B224-41CD-B4E0-E297462320DD}" dt="2023-11-23T19:49:54.521" v="293"/>
          <ac:spMkLst>
            <pc:docMk/>
            <pc:sldMk cId="788765567" sldId="2147473977"/>
            <ac:spMk id="10" creationId="{325400EB-238C-5B63-A843-949F0515E0B5}"/>
          </ac:spMkLst>
        </pc:spChg>
        <pc:spChg chg="add del mod">
          <ac:chgData name="Steiner Andreas 6206 ED" userId="e6377c33-a923-4f14-8587-531c474c7b48" providerId="ADAL" clId="{6ECD27E6-B224-41CD-B4E0-E297462320DD}" dt="2023-11-23T19:50:25.374" v="448"/>
          <ac:spMkLst>
            <pc:docMk/>
            <pc:sldMk cId="788765567" sldId="2147473977"/>
            <ac:spMk id="11" creationId="{918FC24D-570F-7592-39E3-FA6200C3B78A}"/>
          </ac:spMkLst>
        </pc:spChg>
        <pc:spChg chg="add del mod">
          <ac:chgData name="Steiner Andreas 6206 ED" userId="e6377c33-a923-4f14-8587-531c474c7b48" providerId="ADAL" clId="{6ECD27E6-B224-41CD-B4E0-E297462320DD}" dt="2023-11-23T19:50:35.167" v="603"/>
          <ac:spMkLst>
            <pc:docMk/>
            <pc:sldMk cId="788765567" sldId="2147473977"/>
            <ac:spMk id="12" creationId="{E5AA49E9-A5B9-3659-8E71-CB7E01B1F2A5}"/>
          </ac:spMkLst>
        </pc:spChg>
        <pc:spChg chg="add del mod">
          <ac:chgData name="Steiner Andreas 6206 ED" userId="e6377c33-a923-4f14-8587-531c474c7b48" providerId="ADAL" clId="{6ECD27E6-B224-41CD-B4E0-E297462320DD}" dt="2023-11-23T19:50:46.833" v="758"/>
          <ac:spMkLst>
            <pc:docMk/>
            <pc:sldMk cId="788765567" sldId="2147473977"/>
            <ac:spMk id="13" creationId="{9CE8A58B-2BB7-48EA-4E25-6AAC8C502CFA}"/>
          </ac:spMkLst>
        </pc:spChg>
        <pc:spChg chg="add del mod">
          <ac:chgData name="Steiner Andreas 6206 ED" userId="e6377c33-a923-4f14-8587-531c474c7b48" providerId="ADAL" clId="{6ECD27E6-B224-41CD-B4E0-E297462320DD}" dt="2023-11-23T19:50:58.541" v="913"/>
          <ac:spMkLst>
            <pc:docMk/>
            <pc:sldMk cId="788765567" sldId="2147473977"/>
            <ac:spMk id="14" creationId="{8636883D-5EAA-B5DF-BDF0-C808E7D4E83C}"/>
          </ac:spMkLst>
        </pc:spChg>
        <pc:spChg chg="add del mod">
          <ac:chgData name="Steiner Andreas 6206 ED" userId="e6377c33-a923-4f14-8587-531c474c7b48" providerId="ADAL" clId="{6ECD27E6-B224-41CD-B4E0-E297462320DD}" dt="2023-11-23T19:51:09.220" v="1068"/>
          <ac:spMkLst>
            <pc:docMk/>
            <pc:sldMk cId="788765567" sldId="2147473977"/>
            <ac:spMk id="15" creationId="{4AFDD791-16D8-6087-0F2F-58F6C423D8AC}"/>
          </ac:spMkLst>
        </pc:spChg>
        <pc:spChg chg="add del mod">
          <ac:chgData name="Steiner Andreas 6206 ED" userId="e6377c33-a923-4f14-8587-531c474c7b48" providerId="ADAL" clId="{6ECD27E6-B224-41CD-B4E0-E297462320DD}" dt="2023-11-23T19:51:20.236" v="1223"/>
          <ac:spMkLst>
            <pc:docMk/>
            <pc:sldMk cId="788765567" sldId="2147473977"/>
            <ac:spMk id="16" creationId="{6037DE36-9108-C7D2-C3B6-7A32584ADFC0}"/>
          </ac:spMkLst>
        </pc:spChg>
        <pc:spChg chg="add del mod">
          <ac:chgData name="Steiner Andreas 6206 ED" userId="e6377c33-a923-4f14-8587-531c474c7b48" providerId="ADAL" clId="{6ECD27E6-B224-41CD-B4E0-E297462320DD}" dt="2023-11-23T19:51:31.668" v="1378"/>
          <ac:spMkLst>
            <pc:docMk/>
            <pc:sldMk cId="788765567" sldId="2147473977"/>
            <ac:spMk id="17" creationId="{37B900BD-3430-DEED-97AA-835C113DB15A}"/>
          </ac:spMkLst>
        </pc:spChg>
        <pc:spChg chg="add del mod">
          <ac:chgData name="Steiner Andreas 6206 ED" userId="e6377c33-a923-4f14-8587-531c474c7b48" providerId="ADAL" clId="{6ECD27E6-B224-41CD-B4E0-E297462320DD}" dt="2023-11-23T19:51:42.348" v="1533"/>
          <ac:spMkLst>
            <pc:docMk/>
            <pc:sldMk cId="788765567" sldId="2147473977"/>
            <ac:spMk id="18" creationId="{FDA1FA0E-4982-A0CA-A6A5-9B7C1730AE27}"/>
          </ac:spMkLst>
        </pc:spChg>
        <pc:spChg chg="add del mod">
          <ac:chgData name="Steiner Andreas 6206 ED" userId="e6377c33-a923-4f14-8587-531c474c7b48" providerId="ADAL" clId="{6ECD27E6-B224-41CD-B4E0-E297462320DD}" dt="2023-11-23T19:51:53.649" v="1688"/>
          <ac:spMkLst>
            <pc:docMk/>
            <pc:sldMk cId="788765567" sldId="2147473977"/>
            <ac:spMk id="19" creationId="{597F9F55-8FBA-3155-0FE8-963A85769296}"/>
          </ac:spMkLst>
        </pc:spChg>
        <pc:spChg chg="add del mod">
          <ac:chgData name="Steiner Andreas 6206 ED" userId="e6377c33-a923-4f14-8587-531c474c7b48" providerId="ADAL" clId="{6ECD27E6-B224-41CD-B4E0-E297462320DD}" dt="2023-11-23T19:52:05.334" v="1843"/>
          <ac:spMkLst>
            <pc:docMk/>
            <pc:sldMk cId="788765567" sldId="2147473977"/>
            <ac:spMk id="20" creationId="{442CBDF1-DEB8-29BE-FEFB-4497F8BACEF8}"/>
          </ac:spMkLst>
        </pc:spChg>
        <pc:spChg chg="add del mod">
          <ac:chgData name="Steiner Andreas 6206 ED" userId="e6377c33-a923-4f14-8587-531c474c7b48" providerId="ADAL" clId="{6ECD27E6-B224-41CD-B4E0-E297462320DD}" dt="2023-11-23T19:52:17.047" v="1998"/>
          <ac:spMkLst>
            <pc:docMk/>
            <pc:sldMk cId="788765567" sldId="2147473977"/>
            <ac:spMk id="21" creationId="{12F15360-5D10-0C92-17C0-99FCAFFD70EE}"/>
          </ac:spMkLst>
        </pc:spChg>
        <pc:spChg chg="add del mod">
          <ac:chgData name="Steiner Andreas 6206 ED" userId="e6377c33-a923-4f14-8587-531c474c7b48" providerId="ADAL" clId="{6ECD27E6-B224-41CD-B4E0-E297462320DD}" dt="2023-11-23T19:52:28.732" v="2153"/>
          <ac:spMkLst>
            <pc:docMk/>
            <pc:sldMk cId="788765567" sldId="2147473977"/>
            <ac:spMk id="22" creationId="{D3DA38FD-FAEF-76AF-47CF-98BD560FA331}"/>
          </ac:spMkLst>
        </pc:spChg>
        <pc:spChg chg="add del mod">
          <ac:chgData name="Steiner Andreas 6206 ED" userId="e6377c33-a923-4f14-8587-531c474c7b48" providerId="ADAL" clId="{6ECD27E6-B224-41CD-B4E0-E297462320DD}" dt="2023-11-23T19:52:40.422" v="2308"/>
          <ac:spMkLst>
            <pc:docMk/>
            <pc:sldMk cId="788765567" sldId="2147473977"/>
            <ac:spMk id="23" creationId="{AE0AA64D-C3FD-25D4-3486-BD0E73FA3DA2}"/>
          </ac:spMkLst>
        </pc:spChg>
        <pc:spChg chg="add del mod">
          <ac:chgData name="Steiner Andreas 6206 ED" userId="e6377c33-a923-4f14-8587-531c474c7b48" providerId="ADAL" clId="{6ECD27E6-B224-41CD-B4E0-E297462320DD}" dt="2023-11-23T19:52:51.781" v="2463"/>
          <ac:spMkLst>
            <pc:docMk/>
            <pc:sldMk cId="788765567" sldId="2147473977"/>
            <ac:spMk id="24" creationId="{D9B45A54-82CF-455E-A8E8-2D39F3FAB226}"/>
          </ac:spMkLst>
        </pc:spChg>
        <pc:spChg chg="add del mod">
          <ac:chgData name="Steiner Andreas 6206 ED" userId="e6377c33-a923-4f14-8587-531c474c7b48" providerId="ADAL" clId="{6ECD27E6-B224-41CD-B4E0-E297462320DD}" dt="2023-11-23T19:53:03.483" v="2618"/>
          <ac:spMkLst>
            <pc:docMk/>
            <pc:sldMk cId="788765567" sldId="2147473977"/>
            <ac:spMk id="25" creationId="{4A54CBDB-C5B2-D664-C621-269258CDB930}"/>
          </ac:spMkLst>
        </pc:spChg>
        <pc:spChg chg="add del mod">
          <ac:chgData name="Steiner Andreas 6206 ED" userId="e6377c33-a923-4f14-8587-531c474c7b48" providerId="ADAL" clId="{6ECD27E6-B224-41CD-B4E0-E297462320DD}" dt="2023-11-23T19:53:15.213" v="2773"/>
          <ac:spMkLst>
            <pc:docMk/>
            <pc:sldMk cId="788765567" sldId="2147473977"/>
            <ac:spMk id="26" creationId="{9139B719-7172-21FD-D837-0D145A3F3CBA}"/>
          </ac:spMkLst>
        </pc:spChg>
        <pc:spChg chg="add del mod">
          <ac:chgData name="Steiner Andreas 6206 ED" userId="e6377c33-a923-4f14-8587-531c474c7b48" providerId="ADAL" clId="{6ECD27E6-B224-41CD-B4E0-E297462320DD}" dt="2023-11-23T19:53:26.894" v="2928"/>
          <ac:spMkLst>
            <pc:docMk/>
            <pc:sldMk cId="788765567" sldId="2147473977"/>
            <ac:spMk id="27" creationId="{BED8420F-F710-2775-853C-0A52347316AE}"/>
          </ac:spMkLst>
        </pc:spChg>
        <pc:spChg chg="add del mod">
          <ac:chgData name="Steiner Andreas 6206 ED" userId="e6377c33-a923-4f14-8587-531c474c7b48" providerId="ADAL" clId="{6ECD27E6-B224-41CD-B4E0-E297462320DD}" dt="2023-11-23T19:53:38.552" v="3083"/>
          <ac:spMkLst>
            <pc:docMk/>
            <pc:sldMk cId="788765567" sldId="2147473977"/>
            <ac:spMk id="28" creationId="{02AB258B-A64A-447F-4CA7-2B0575F80F83}"/>
          </ac:spMkLst>
        </pc:spChg>
        <pc:spChg chg="add del mod">
          <ac:chgData name="Steiner Andreas 6206 ED" userId="e6377c33-a923-4f14-8587-531c474c7b48" providerId="ADAL" clId="{6ECD27E6-B224-41CD-B4E0-E297462320DD}" dt="2023-11-23T19:53:50.214" v="3238"/>
          <ac:spMkLst>
            <pc:docMk/>
            <pc:sldMk cId="788765567" sldId="2147473977"/>
            <ac:spMk id="29" creationId="{1BF59FE6-4386-8CCB-59A7-78357FECD133}"/>
          </ac:spMkLst>
        </pc:spChg>
        <pc:spChg chg="add del mod">
          <ac:chgData name="Steiner Andreas 6206 ED" userId="e6377c33-a923-4f14-8587-531c474c7b48" providerId="ADAL" clId="{6ECD27E6-B224-41CD-B4E0-E297462320DD}" dt="2023-11-23T19:54:01.888" v="3393"/>
          <ac:spMkLst>
            <pc:docMk/>
            <pc:sldMk cId="788765567" sldId="2147473977"/>
            <ac:spMk id="30" creationId="{3AA2EDC1-283F-C8D3-B6FF-6EBE1AD1C5CF}"/>
          </ac:spMkLst>
        </pc:spChg>
        <pc:spChg chg="add del mod">
          <ac:chgData name="Steiner Andreas 6206 ED" userId="e6377c33-a923-4f14-8587-531c474c7b48" providerId="ADAL" clId="{6ECD27E6-B224-41CD-B4E0-E297462320DD}" dt="2023-11-23T19:54:13.580" v="3548"/>
          <ac:spMkLst>
            <pc:docMk/>
            <pc:sldMk cId="788765567" sldId="2147473977"/>
            <ac:spMk id="31" creationId="{1DC8418B-EA50-735A-C986-2AFD5C7A104D}"/>
          </ac:spMkLst>
        </pc:spChg>
        <pc:spChg chg="add del mod">
          <ac:chgData name="Steiner Andreas 6206 ED" userId="e6377c33-a923-4f14-8587-531c474c7b48" providerId="ADAL" clId="{6ECD27E6-B224-41CD-B4E0-E297462320DD}" dt="2023-11-23T19:54:25.242" v="3703"/>
          <ac:spMkLst>
            <pc:docMk/>
            <pc:sldMk cId="788765567" sldId="2147473977"/>
            <ac:spMk id="32" creationId="{7E1548AA-9D13-DBCA-C739-A8B4BD765E4E}"/>
          </ac:spMkLst>
        </pc:spChg>
        <pc:spChg chg="add del mod">
          <ac:chgData name="Steiner Andreas 6206 ED" userId="e6377c33-a923-4f14-8587-531c474c7b48" providerId="ADAL" clId="{6ECD27E6-B224-41CD-B4E0-E297462320DD}" dt="2023-11-23T19:54:36.964" v="3858"/>
          <ac:spMkLst>
            <pc:docMk/>
            <pc:sldMk cId="788765567" sldId="2147473977"/>
            <ac:spMk id="33" creationId="{0D2D4761-AF66-D337-8946-A486AEAFB6E3}"/>
          </ac:spMkLst>
        </pc:spChg>
        <pc:spChg chg="add del mod">
          <ac:chgData name="Steiner Andreas 6206 ED" userId="e6377c33-a923-4f14-8587-531c474c7b48" providerId="ADAL" clId="{6ECD27E6-B224-41CD-B4E0-E297462320DD}" dt="2023-11-23T19:54:48.263" v="4013"/>
          <ac:spMkLst>
            <pc:docMk/>
            <pc:sldMk cId="788765567" sldId="2147473977"/>
            <ac:spMk id="34" creationId="{3A6DC50E-8146-3AAE-7E97-96ABA8FD3F6C}"/>
          </ac:spMkLst>
        </pc:spChg>
        <pc:spChg chg="add del mod">
          <ac:chgData name="Steiner Andreas 6206 ED" userId="e6377c33-a923-4f14-8587-531c474c7b48" providerId="ADAL" clId="{6ECD27E6-B224-41CD-B4E0-E297462320DD}" dt="2023-11-23T19:54:59.942" v="4168"/>
          <ac:spMkLst>
            <pc:docMk/>
            <pc:sldMk cId="788765567" sldId="2147473977"/>
            <ac:spMk id="35" creationId="{4F42356D-5229-5A20-B0FC-52F4D85F7C2D}"/>
          </ac:spMkLst>
        </pc:spChg>
        <pc:spChg chg="add del mod">
          <ac:chgData name="Steiner Andreas 6206 ED" userId="e6377c33-a923-4f14-8587-531c474c7b48" providerId="ADAL" clId="{6ECD27E6-B224-41CD-B4E0-E297462320DD}" dt="2023-11-23T19:55:11.672" v="4323"/>
          <ac:spMkLst>
            <pc:docMk/>
            <pc:sldMk cId="788765567" sldId="2147473977"/>
            <ac:spMk id="36" creationId="{6C4DFC09-D032-60EF-4106-8FE3DF1C58ED}"/>
          </ac:spMkLst>
        </pc:spChg>
        <pc:spChg chg="add del mod">
          <ac:chgData name="Steiner Andreas 6206 ED" userId="e6377c33-a923-4f14-8587-531c474c7b48" providerId="ADAL" clId="{6ECD27E6-B224-41CD-B4E0-E297462320DD}" dt="2023-11-23T19:55:23.347" v="4478"/>
          <ac:spMkLst>
            <pc:docMk/>
            <pc:sldMk cId="788765567" sldId="2147473977"/>
            <ac:spMk id="37" creationId="{4B0695F4-94EC-3008-EFD9-F62EDABB3CA4}"/>
          </ac:spMkLst>
        </pc:spChg>
        <pc:spChg chg="add del mod">
          <ac:chgData name="Steiner Andreas 6206 ED" userId="e6377c33-a923-4f14-8587-531c474c7b48" providerId="ADAL" clId="{6ECD27E6-B224-41CD-B4E0-E297462320DD}" dt="2023-11-23T19:55:35.011" v="4633"/>
          <ac:spMkLst>
            <pc:docMk/>
            <pc:sldMk cId="788765567" sldId="2147473977"/>
            <ac:spMk id="38" creationId="{A2B4C03E-FF46-42C3-BDD1-BF94C77E78D7}"/>
          </ac:spMkLst>
        </pc:spChg>
        <pc:spChg chg="add del mod">
          <ac:chgData name="Steiner Andreas 6206 ED" userId="e6377c33-a923-4f14-8587-531c474c7b48" providerId="ADAL" clId="{6ECD27E6-B224-41CD-B4E0-E297462320DD}" dt="2023-11-23T19:55:46.292" v="4788"/>
          <ac:spMkLst>
            <pc:docMk/>
            <pc:sldMk cId="788765567" sldId="2147473977"/>
            <ac:spMk id="39" creationId="{CC78119C-77FF-3D0F-AD62-3BA404F241FB}"/>
          </ac:spMkLst>
        </pc:spChg>
        <pc:spChg chg="add del mod">
          <ac:chgData name="Steiner Andreas 6206 ED" userId="e6377c33-a923-4f14-8587-531c474c7b48" providerId="ADAL" clId="{6ECD27E6-B224-41CD-B4E0-E297462320DD}" dt="2023-11-23T19:55:57.989" v="4943"/>
          <ac:spMkLst>
            <pc:docMk/>
            <pc:sldMk cId="788765567" sldId="2147473977"/>
            <ac:spMk id="40" creationId="{EA522471-86E4-CAF7-24E3-A7EE9BE485B8}"/>
          </ac:spMkLst>
        </pc:spChg>
        <pc:spChg chg="add del mod">
          <ac:chgData name="Steiner Andreas 6206 ED" userId="e6377c33-a923-4f14-8587-531c474c7b48" providerId="ADAL" clId="{6ECD27E6-B224-41CD-B4E0-E297462320DD}" dt="2023-11-23T19:56:09.668" v="5098"/>
          <ac:spMkLst>
            <pc:docMk/>
            <pc:sldMk cId="788765567" sldId="2147473977"/>
            <ac:spMk id="41" creationId="{723763CD-8DD2-7D70-DB3B-3E72634607C4}"/>
          </ac:spMkLst>
        </pc:spChg>
        <pc:spChg chg="add del mod">
          <ac:chgData name="Steiner Andreas 6206 ED" userId="e6377c33-a923-4f14-8587-531c474c7b48" providerId="ADAL" clId="{6ECD27E6-B224-41CD-B4E0-E297462320DD}" dt="2023-11-23T19:56:21.356" v="5253"/>
          <ac:spMkLst>
            <pc:docMk/>
            <pc:sldMk cId="788765567" sldId="2147473977"/>
            <ac:spMk id="42" creationId="{DE9B6350-B564-D244-5BB0-E5207EAB0CB5}"/>
          </ac:spMkLst>
        </pc:spChg>
        <pc:spChg chg="add del mod">
          <ac:chgData name="Steiner Andreas 6206 ED" userId="e6377c33-a923-4f14-8587-531c474c7b48" providerId="ADAL" clId="{6ECD27E6-B224-41CD-B4E0-E297462320DD}" dt="2023-11-23T19:56:33.039" v="5408"/>
          <ac:spMkLst>
            <pc:docMk/>
            <pc:sldMk cId="788765567" sldId="2147473977"/>
            <ac:spMk id="43" creationId="{0C82C111-3C6A-976B-DD96-12FADA7C2818}"/>
          </ac:spMkLst>
        </pc:spChg>
        <pc:spChg chg="add del mod">
          <ac:chgData name="Steiner Andreas 6206 ED" userId="e6377c33-a923-4f14-8587-531c474c7b48" providerId="ADAL" clId="{6ECD27E6-B224-41CD-B4E0-E297462320DD}" dt="2023-11-23T19:56:44.373" v="5563"/>
          <ac:spMkLst>
            <pc:docMk/>
            <pc:sldMk cId="788765567" sldId="2147473977"/>
            <ac:spMk id="44" creationId="{F33DEB0C-3CCB-E7AB-1B30-97FBE90E44F9}"/>
          </ac:spMkLst>
        </pc:spChg>
        <pc:spChg chg="add del mod">
          <ac:chgData name="Steiner Andreas 6206 ED" userId="e6377c33-a923-4f14-8587-531c474c7b48" providerId="ADAL" clId="{6ECD27E6-B224-41CD-B4E0-E297462320DD}" dt="2023-11-23T19:56:54.776" v="5718"/>
          <ac:spMkLst>
            <pc:docMk/>
            <pc:sldMk cId="788765567" sldId="2147473977"/>
            <ac:spMk id="45" creationId="{3A9A3080-69E1-EB70-3740-B9A4F9B81307}"/>
          </ac:spMkLst>
        </pc:spChg>
        <pc:spChg chg="add del mod">
          <ac:chgData name="Steiner Andreas 6206 ED" userId="e6377c33-a923-4f14-8587-531c474c7b48" providerId="ADAL" clId="{6ECD27E6-B224-41CD-B4E0-E297462320DD}" dt="2023-11-23T19:57:06.239" v="5873"/>
          <ac:spMkLst>
            <pc:docMk/>
            <pc:sldMk cId="788765567" sldId="2147473977"/>
            <ac:spMk id="46" creationId="{8DF80FB8-BFAA-EE72-2D5D-022620B1C9BE}"/>
          </ac:spMkLst>
        </pc:spChg>
        <pc:spChg chg="add del mod">
          <ac:chgData name="Steiner Andreas 6206 ED" userId="e6377c33-a923-4f14-8587-531c474c7b48" providerId="ADAL" clId="{6ECD27E6-B224-41CD-B4E0-E297462320DD}" dt="2023-11-23T19:57:17.938" v="6028"/>
          <ac:spMkLst>
            <pc:docMk/>
            <pc:sldMk cId="788765567" sldId="2147473977"/>
            <ac:spMk id="47" creationId="{2459721C-BA6C-A63C-6577-A4EB59573A20}"/>
          </ac:spMkLst>
        </pc:spChg>
        <pc:spChg chg="add del mod">
          <ac:chgData name="Steiner Andreas 6206 ED" userId="e6377c33-a923-4f14-8587-531c474c7b48" providerId="ADAL" clId="{6ECD27E6-B224-41CD-B4E0-E297462320DD}" dt="2023-11-23T19:57:29.356" v="6183"/>
          <ac:spMkLst>
            <pc:docMk/>
            <pc:sldMk cId="788765567" sldId="2147473977"/>
            <ac:spMk id="48" creationId="{2EBA165A-F5E6-A49A-9F59-A42A9BDBFEEF}"/>
          </ac:spMkLst>
        </pc:spChg>
        <pc:spChg chg="add del mod">
          <ac:chgData name="Steiner Andreas 6206 ED" userId="e6377c33-a923-4f14-8587-531c474c7b48" providerId="ADAL" clId="{6ECD27E6-B224-41CD-B4E0-E297462320DD}" dt="2023-11-23T19:57:41.009" v="6338"/>
          <ac:spMkLst>
            <pc:docMk/>
            <pc:sldMk cId="788765567" sldId="2147473977"/>
            <ac:spMk id="49" creationId="{BA8038C0-6B0A-BC12-2F48-FBBB4583A1CA}"/>
          </ac:spMkLst>
        </pc:spChg>
        <pc:spChg chg="add del mod">
          <ac:chgData name="Steiner Andreas 6206 ED" userId="e6377c33-a923-4f14-8587-531c474c7b48" providerId="ADAL" clId="{6ECD27E6-B224-41CD-B4E0-E297462320DD}" dt="2023-11-23T19:57:52.677" v="6493"/>
          <ac:spMkLst>
            <pc:docMk/>
            <pc:sldMk cId="788765567" sldId="2147473977"/>
            <ac:spMk id="50" creationId="{C9E4687C-17EC-E02B-0BAC-D7750D6CA6A1}"/>
          </ac:spMkLst>
        </pc:spChg>
        <pc:spChg chg="add del mod">
          <ac:chgData name="Steiner Andreas 6206 ED" userId="e6377c33-a923-4f14-8587-531c474c7b48" providerId="ADAL" clId="{6ECD27E6-B224-41CD-B4E0-E297462320DD}" dt="2023-11-23T19:58:04.386" v="6648"/>
          <ac:spMkLst>
            <pc:docMk/>
            <pc:sldMk cId="788765567" sldId="2147473977"/>
            <ac:spMk id="51" creationId="{052007DB-2B2F-3390-1C34-56837153016B}"/>
          </ac:spMkLst>
        </pc:spChg>
        <pc:spChg chg="add del mod">
          <ac:chgData name="Steiner Andreas 6206 ED" userId="e6377c33-a923-4f14-8587-531c474c7b48" providerId="ADAL" clId="{6ECD27E6-B224-41CD-B4E0-E297462320DD}" dt="2023-11-23T19:58:15.754" v="6803"/>
          <ac:spMkLst>
            <pc:docMk/>
            <pc:sldMk cId="788765567" sldId="2147473977"/>
            <ac:spMk id="52" creationId="{35E9264D-056F-5528-C4BD-DBE7B5C5F9BA}"/>
          </ac:spMkLst>
        </pc:spChg>
        <pc:spChg chg="add del mod">
          <ac:chgData name="Steiner Andreas 6206 ED" userId="e6377c33-a923-4f14-8587-531c474c7b48" providerId="ADAL" clId="{6ECD27E6-B224-41CD-B4E0-E297462320DD}" dt="2023-11-23T19:58:27.907" v="6958"/>
          <ac:spMkLst>
            <pc:docMk/>
            <pc:sldMk cId="788765567" sldId="2147473977"/>
            <ac:spMk id="53" creationId="{8A88756A-7950-2296-1E9F-A9D1C0AF510D}"/>
          </ac:spMkLst>
        </pc:spChg>
        <pc:spChg chg="add del mod">
          <ac:chgData name="Steiner Andreas 6206 ED" userId="e6377c33-a923-4f14-8587-531c474c7b48" providerId="ADAL" clId="{6ECD27E6-B224-41CD-B4E0-E297462320DD}" dt="2023-11-23T19:58:39.640" v="7113"/>
          <ac:spMkLst>
            <pc:docMk/>
            <pc:sldMk cId="788765567" sldId="2147473977"/>
            <ac:spMk id="54" creationId="{8AFB605B-5AC7-825F-284C-37E5F53D9459}"/>
          </ac:spMkLst>
        </pc:spChg>
        <pc:spChg chg="add del mod">
          <ac:chgData name="Steiner Andreas 6206 ED" userId="e6377c33-a923-4f14-8587-531c474c7b48" providerId="ADAL" clId="{6ECD27E6-B224-41CD-B4E0-E297462320DD}" dt="2023-11-23T19:58:51.328" v="7268"/>
          <ac:spMkLst>
            <pc:docMk/>
            <pc:sldMk cId="788765567" sldId="2147473977"/>
            <ac:spMk id="55" creationId="{27CFC8F4-15A8-B050-B49E-FF39486CDAA6}"/>
          </ac:spMkLst>
        </pc:spChg>
        <pc:spChg chg="add del mod">
          <ac:chgData name="Steiner Andreas 6206 ED" userId="e6377c33-a923-4f14-8587-531c474c7b48" providerId="ADAL" clId="{6ECD27E6-B224-41CD-B4E0-E297462320DD}" dt="2023-11-23T19:59:02.671" v="7423"/>
          <ac:spMkLst>
            <pc:docMk/>
            <pc:sldMk cId="788765567" sldId="2147473977"/>
            <ac:spMk id="56" creationId="{F7EC7B24-B239-C424-8F49-60D731F16D2E}"/>
          </ac:spMkLst>
        </pc:spChg>
        <pc:spChg chg="add del mod">
          <ac:chgData name="Steiner Andreas 6206 ED" userId="e6377c33-a923-4f14-8587-531c474c7b48" providerId="ADAL" clId="{6ECD27E6-B224-41CD-B4E0-E297462320DD}" dt="2023-11-24T08:31:41.567" v="7578"/>
          <ac:spMkLst>
            <pc:docMk/>
            <pc:sldMk cId="788765567" sldId="2147473977"/>
            <ac:spMk id="57" creationId="{51530289-171B-4607-C173-C6E661D8C4EB}"/>
          </ac:spMkLst>
        </pc:spChg>
        <pc:spChg chg="add del mod">
          <ac:chgData name="Steiner Andreas 6206 ED" userId="e6377c33-a923-4f14-8587-531c474c7b48" providerId="ADAL" clId="{6ECD27E6-B224-41CD-B4E0-E297462320DD}" dt="2023-11-24T08:31:45.249" v="7733"/>
          <ac:spMkLst>
            <pc:docMk/>
            <pc:sldMk cId="788765567" sldId="2147473977"/>
            <ac:spMk id="58" creationId="{FF29EB78-E290-233F-2361-B23512799389}"/>
          </ac:spMkLst>
        </pc:spChg>
        <pc:spChg chg="add del mod">
          <ac:chgData name="Steiner Andreas 6206 ED" userId="e6377c33-a923-4f14-8587-531c474c7b48" providerId="ADAL" clId="{6ECD27E6-B224-41CD-B4E0-E297462320DD}" dt="2023-11-24T08:31:47.093" v="7888"/>
          <ac:spMkLst>
            <pc:docMk/>
            <pc:sldMk cId="788765567" sldId="2147473977"/>
            <ac:spMk id="59" creationId="{2FD976EC-101A-9CE8-32CF-C867EFCDA8D2}"/>
          </ac:spMkLst>
        </pc:spChg>
        <pc:spChg chg="add del mod">
          <ac:chgData name="Steiner Andreas 6206 ED" userId="e6377c33-a923-4f14-8587-531c474c7b48" providerId="ADAL" clId="{6ECD27E6-B224-41CD-B4E0-E297462320DD}" dt="2023-11-24T08:31:48.979" v="8043"/>
          <ac:spMkLst>
            <pc:docMk/>
            <pc:sldMk cId="788765567" sldId="2147473977"/>
            <ac:spMk id="60" creationId="{E94A6E15-1C88-6798-E035-7280C6AB73BA}"/>
          </ac:spMkLst>
        </pc:spChg>
        <pc:spChg chg="add del mod">
          <ac:chgData name="Steiner Andreas 6206 ED" userId="e6377c33-a923-4f14-8587-531c474c7b48" providerId="ADAL" clId="{6ECD27E6-B224-41CD-B4E0-E297462320DD}" dt="2023-11-24T08:31:50.819" v="8198"/>
          <ac:spMkLst>
            <pc:docMk/>
            <pc:sldMk cId="788765567" sldId="2147473977"/>
            <ac:spMk id="61" creationId="{078F9E7D-A250-527F-3085-2B55D88442FE}"/>
          </ac:spMkLst>
        </pc:spChg>
        <pc:spChg chg="add del mod">
          <ac:chgData name="Steiner Andreas 6206 ED" userId="e6377c33-a923-4f14-8587-531c474c7b48" providerId="ADAL" clId="{6ECD27E6-B224-41CD-B4E0-E297462320DD}" dt="2023-11-24T08:31:52.627" v="8353"/>
          <ac:spMkLst>
            <pc:docMk/>
            <pc:sldMk cId="788765567" sldId="2147473977"/>
            <ac:spMk id="62" creationId="{37F6677E-D0F3-2E99-311C-3330C9585CA8}"/>
          </ac:spMkLst>
        </pc:spChg>
        <pc:spChg chg="add del mod">
          <ac:chgData name="Steiner Andreas 6206 ED" userId="e6377c33-a923-4f14-8587-531c474c7b48" providerId="ADAL" clId="{6ECD27E6-B224-41CD-B4E0-E297462320DD}" dt="2023-11-24T08:31:54.423" v="8508"/>
          <ac:spMkLst>
            <pc:docMk/>
            <pc:sldMk cId="788765567" sldId="2147473977"/>
            <ac:spMk id="63" creationId="{5F617FD4-77DA-29A6-8128-14F6FEFADE24}"/>
          </ac:spMkLst>
        </pc:spChg>
        <pc:spChg chg="add del mod">
          <ac:chgData name="Steiner Andreas 6206 ED" userId="e6377c33-a923-4f14-8587-531c474c7b48" providerId="ADAL" clId="{6ECD27E6-B224-41CD-B4E0-E297462320DD}" dt="2023-11-24T08:31:56.269" v="8663"/>
          <ac:spMkLst>
            <pc:docMk/>
            <pc:sldMk cId="788765567" sldId="2147473977"/>
            <ac:spMk id="64" creationId="{3B861859-B294-F676-FE26-14B52692B6A6}"/>
          </ac:spMkLst>
        </pc:spChg>
        <pc:spChg chg="add del mod">
          <ac:chgData name="Steiner Andreas 6206 ED" userId="e6377c33-a923-4f14-8587-531c474c7b48" providerId="ADAL" clId="{6ECD27E6-B224-41CD-B4E0-E297462320DD}" dt="2023-11-24T08:31:58.152" v="8818"/>
          <ac:spMkLst>
            <pc:docMk/>
            <pc:sldMk cId="788765567" sldId="2147473977"/>
            <ac:spMk id="65" creationId="{974AB87C-F6C3-973E-AC14-75FE3A16959D}"/>
          </ac:spMkLst>
        </pc:spChg>
        <pc:spChg chg="add del mod">
          <ac:chgData name="Steiner Andreas 6206 ED" userId="e6377c33-a923-4f14-8587-531c474c7b48" providerId="ADAL" clId="{6ECD27E6-B224-41CD-B4E0-E297462320DD}" dt="2023-11-24T08:32:00.935" v="8973"/>
          <ac:spMkLst>
            <pc:docMk/>
            <pc:sldMk cId="788765567" sldId="2147473977"/>
            <ac:spMk id="66" creationId="{A290C971-8FA0-6E05-4D25-C2ABF7FB891F}"/>
          </ac:spMkLst>
        </pc:spChg>
        <pc:spChg chg="add del mod">
          <ac:chgData name="Steiner Andreas 6206 ED" userId="e6377c33-a923-4f14-8587-531c474c7b48" providerId="ADAL" clId="{6ECD27E6-B224-41CD-B4E0-E297462320DD}" dt="2023-11-24T08:32:03.225" v="9128"/>
          <ac:spMkLst>
            <pc:docMk/>
            <pc:sldMk cId="788765567" sldId="2147473977"/>
            <ac:spMk id="67" creationId="{6F2142DA-CFF0-D8EB-32D9-0B6D902F64C1}"/>
          </ac:spMkLst>
        </pc:spChg>
        <pc:spChg chg="add del mod">
          <ac:chgData name="Steiner Andreas 6206 ED" userId="e6377c33-a923-4f14-8587-531c474c7b48" providerId="ADAL" clId="{6ECD27E6-B224-41CD-B4E0-E297462320DD}" dt="2023-11-24T08:32:05.257" v="9283"/>
          <ac:spMkLst>
            <pc:docMk/>
            <pc:sldMk cId="788765567" sldId="2147473977"/>
            <ac:spMk id="68" creationId="{35556D53-67CD-6B55-4592-83E4C92E8DF9}"/>
          </ac:spMkLst>
        </pc:spChg>
        <pc:spChg chg="add del mod">
          <ac:chgData name="Steiner Andreas 6206 ED" userId="e6377c33-a923-4f14-8587-531c474c7b48" providerId="ADAL" clId="{6ECD27E6-B224-41CD-B4E0-E297462320DD}" dt="2023-11-24T08:32:07.206" v="9438"/>
          <ac:spMkLst>
            <pc:docMk/>
            <pc:sldMk cId="788765567" sldId="2147473977"/>
            <ac:spMk id="69" creationId="{33D5D6E2-D614-9100-1DC3-F660085187AB}"/>
          </ac:spMkLst>
        </pc:spChg>
        <pc:spChg chg="add del mod">
          <ac:chgData name="Steiner Andreas 6206 ED" userId="e6377c33-a923-4f14-8587-531c474c7b48" providerId="ADAL" clId="{6ECD27E6-B224-41CD-B4E0-E297462320DD}" dt="2023-11-24T08:32:09.542" v="9593"/>
          <ac:spMkLst>
            <pc:docMk/>
            <pc:sldMk cId="788765567" sldId="2147473977"/>
            <ac:spMk id="70" creationId="{D2518244-E2AF-D2F2-3A61-3C83452254A0}"/>
          </ac:spMkLst>
        </pc:spChg>
        <pc:spChg chg="add del mod">
          <ac:chgData name="Steiner Andreas 6206 ED" userId="e6377c33-a923-4f14-8587-531c474c7b48" providerId="ADAL" clId="{6ECD27E6-B224-41CD-B4E0-E297462320DD}" dt="2023-11-24T08:32:11.842" v="9748"/>
          <ac:spMkLst>
            <pc:docMk/>
            <pc:sldMk cId="788765567" sldId="2147473977"/>
            <ac:spMk id="71" creationId="{BA8F0542-ECD5-5007-90A1-6D45C3F72110}"/>
          </ac:spMkLst>
        </pc:spChg>
        <pc:spChg chg="add del mod">
          <ac:chgData name="Steiner Andreas 6206 ED" userId="e6377c33-a923-4f14-8587-531c474c7b48" providerId="ADAL" clId="{6ECD27E6-B224-41CD-B4E0-E297462320DD}" dt="2023-11-24T08:32:13.999" v="9903"/>
          <ac:spMkLst>
            <pc:docMk/>
            <pc:sldMk cId="788765567" sldId="2147473977"/>
            <ac:spMk id="72" creationId="{4278AC89-B4FE-F925-845E-469F8BCE06BA}"/>
          </ac:spMkLst>
        </pc:spChg>
        <pc:spChg chg="add del mod">
          <ac:chgData name="Steiner Andreas 6206 ED" userId="e6377c33-a923-4f14-8587-531c474c7b48" providerId="ADAL" clId="{6ECD27E6-B224-41CD-B4E0-E297462320DD}" dt="2023-11-24T08:32:15.943" v="10058"/>
          <ac:spMkLst>
            <pc:docMk/>
            <pc:sldMk cId="788765567" sldId="2147473977"/>
            <ac:spMk id="73" creationId="{7BC98337-917D-77C7-0876-37D5FD240D30}"/>
          </ac:spMkLst>
        </pc:spChg>
        <pc:spChg chg="add del mod">
          <ac:chgData name="Steiner Andreas 6206 ED" userId="e6377c33-a923-4f14-8587-531c474c7b48" providerId="ADAL" clId="{6ECD27E6-B224-41CD-B4E0-E297462320DD}" dt="2023-11-24T08:32:17.933" v="10213"/>
          <ac:spMkLst>
            <pc:docMk/>
            <pc:sldMk cId="788765567" sldId="2147473977"/>
            <ac:spMk id="74" creationId="{B51169D6-9022-164F-FA39-68EA77C9BD1C}"/>
          </ac:spMkLst>
        </pc:spChg>
        <pc:spChg chg="add del mod">
          <ac:chgData name="Steiner Andreas 6206 ED" userId="e6377c33-a923-4f14-8587-531c474c7b48" providerId="ADAL" clId="{6ECD27E6-B224-41CD-B4E0-E297462320DD}" dt="2023-11-24T08:32:19.911" v="10368"/>
          <ac:spMkLst>
            <pc:docMk/>
            <pc:sldMk cId="788765567" sldId="2147473977"/>
            <ac:spMk id="75" creationId="{D85880DD-027C-F208-90AD-98013FDCE61B}"/>
          </ac:spMkLst>
        </pc:spChg>
        <pc:spChg chg="add del mod">
          <ac:chgData name="Steiner Andreas 6206 ED" userId="e6377c33-a923-4f14-8587-531c474c7b48" providerId="ADAL" clId="{6ECD27E6-B224-41CD-B4E0-E297462320DD}" dt="2023-11-24T08:32:21.854" v="10523"/>
          <ac:spMkLst>
            <pc:docMk/>
            <pc:sldMk cId="788765567" sldId="2147473977"/>
            <ac:spMk id="76" creationId="{7E76DE72-698E-790F-2864-D78391FE0D2E}"/>
          </ac:spMkLst>
        </pc:spChg>
        <pc:spChg chg="add del mod">
          <ac:chgData name="Steiner Andreas 6206 ED" userId="e6377c33-a923-4f14-8587-531c474c7b48" providerId="ADAL" clId="{6ECD27E6-B224-41CD-B4E0-E297462320DD}" dt="2023-11-24T08:32:24.038" v="10678"/>
          <ac:spMkLst>
            <pc:docMk/>
            <pc:sldMk cId="788765567" sldId="2147473977"/>
            <ac:spMk id="77" creationId="{7E002EF3-60F9-DA4A-847F-D5007C9148A0}"/>
          </ac:spMkLst>
        </pc:spChg>
        <pc:spChg chg="add del mod">
          <ac:chgData name="Steiner Andreas 6206 ED" userId="e6377c33-a923-4f14-8587-531c474c7b48" providerId="ADAL" clId="{6ECD27E6-B224-41CD-B4E0-E297462320DD}" dt="2023-11-24T08:32:25.982" v="10833"/>
          <ac:spMkLst>
            <pc:docMk/>
            <pc:sldMk cId="788765567" sldId="2147473977"/>
            <ac:spMk id="78" creationId="{C0A81900-395A-108C-1D5D-2EBBCE294F4A}"/>
          </ac:spMkLst>
        </pc:spChg>
        <pc:spChg chg="add del mod">
          <ac:chgData name="Steiner Andreas 6206 ED" userId="e6377c33-a923-4f14-8587-531c474c7b48" providerId="ADAL" clId="{6ECD27E6-B224-41CD-B4E0-E297462320DD}" dt="2023-11-24T08:32:27.981" v="10988"/>
          <ac:spMkLst>
            <pc:docMk/>
            <pc:sldMk cId="788765567" sldId="2147473977"/>
            <ac:spMk id="79" creationId="{BB126AF8-EAA0-4F1B-979E-27A8F9B1F929}"/>
          </ac:spMkLst>
        </pc:spChg>
        <pc:spChg chg="add del mod">
          <ac:chgData name="Steiner Andreas 6206 ED" userId="e6377c33-a923-4f14-8587-531c474c7b48" providerId="ADAL" clId="{6ECD27E6-B224-41CD-B4E0-E297462320DD}" dt="2023-11-24T08:32:29.875" v="11143"/>
          <ac:spMkLst>
            <pc:docMk/>
            <pc:sldMk cId="788765567" sldId="2147473977"/>
            <ac:spMk id="80" creationId="{374BE9AF-C0BB-C9D6-D81C-8ED1F572EB4D}"/>
          </ac:spMkLst>
        </pc:spChg>
        <pc:spChg chg="add del mod">
          <ac:chgData name="Steiner Andreas 6206 ED" userId="e6377c33-a923-4f14-8587-531c474c7b48" providerId="ADAL" clId="{6ECD27E6-B224-41CD-B4E0-E297462320DD}" dt="2023-11-24T08:32:32.008" v="11298"/>
          <ac:spMkLst>
            <pc:docMk/>
            <pc:sldMk cId="788765567" sldId="2147473977"/>
            <ac:spMk id="81" creationId="{5B21B698-0141-786A-1F80-194EC509AA63}"/>
          </ac:spMkLst>
        </pc:spChg>
        <pc:spChg chg="add del mod">
          <ac:chgData name="Steiner Andreas 6206 ED" userId="e6377c33-a923-4f14-8587-531c474c7b48" providerId="ADAL" clId="{6ECD27E6-B224-41CD-B4E0-E297462320DD}" dt="2023-11-24T08:32:34.389" v="11453"/>
          <ac:spMkLst>
            <pc:docMk/>
            <pc:sldMk cId="788765567" sldId="2147473977"/>
            <ac:spMk id="82" creationId="{00240DFE-1C09-9DC0-07A1-F2D880EEED76}"/>
          </ac:spMkLst>
        </pc:spChg>
        <pc:spChg chg="add del mod">
          <ac:chgData name="Steiner Andreas 6206 ED" userId="e6377c33-a923-4f14-8587-531c474c7b48" providerId="ADAL" clId="{6ECD27E6-B224-41CD-B4E0-E297462320DD}" dt="2023-11-24T08:32:36.725" v="11608"/>
          <ac:spMkLst>
            <pc:docMk/>
            <pc:sldMk cId="788765567" sldId="2147473977"/>
            <ac:spMk id="83" creationId="{3B289874-752C-EB1D-39C1-33086E34A41F}"/>
          </ac:spMkLst>
        </pc:spChg>
        <pc:spChg chg="add del mod">
          <ac:chgData name="Steiner Andreas 6206 ED" userId="e6377c33-a923-4f14-8587-531c474c7b48" providerId="ADAL" clId="{6ECD27E6-B224-41CD-B4E0-E297462320DD}" dt="2023-11-24T08:32:38.651" v="11763"/>
          <ac:spMkLst>
            <pc:docMk/>
            <pc:sldMk cId="788765567" sldId="2147473977"/>
            <ac:spMk id="84" creationId="{1B563342-5603-14BE-7F7A-3D20E44B687A}"/>
          </ac:spMkLst>
        </pc:spChg>
        <pc:spChg chg="add del mod">
          <ac:chgData name="Steiner Andreas 6206 ED" userId="e6377c33-a923-4f14-8587-531c474c7b48" providerId="ADAL" clId="{6ECD27E6-B224-41CD-B4E0-E297462320DD}" dt="2023-11-24T08:32:40.767" v="11918"/>
          <ac:spMkLst>
            <pc:docMk/>
            <pc:sldMk cId="788765567" sldId="2147473977"/>
            <ac:spMk id="85" creationId="{AD95DF83-A43E-D85C-706D-48D05639467D}"/>
          </ac:spMkLst>
        </pc:spChg>
        <pc:spChg chg="add del mod">
          <ac:chgData name="Steiner Andreas 6206 ED" userId="e6377c33-a923-4f14-8587-531c474c7b48" providerId="ADAL" clId="{6ECD27E6-B224-41CD-B4E0-E297462320DD}" dt="2023-11-24T08:32:42.916" v="12073"/>
          <ac:spMkLst>
            <pc:docMk/>
            <pc:sldMk cId="788765567" sldId="2147473977"/>
            <ac:spMk id="86" creationId="{13A6838E-41A8-C6CC-1CC0-509077947025}"/>
          </ac:spMkLst>
        </pc:spChg>
        <pc:spChg chg="add del mod">
          <ac:chgData name="Steiner Andreas 6206 ED" userId="e6377c33-a923-4f14-8587-531c474c7b48" providerId="ADAL" clId="{6ECD27E6-B224-41CD-B4E0-E297462320DD}" dt="2023-11-24T08:32:45.058" v="12228"/>
          <ac:spMkLst>
            <pc:docMk/>
            <pc:sldMk cId="788765567" sldId="2147473977"/>
            <ac:spMk id="87" creationId="{0FA14D98-ACB8-3335-EEC2-13A605FA8989}"/>
          </ac:spMkLst>
        </pc:spChg>
        <pc:spChg chg="add del mod">
          <ac:chgData name="Steiner Andreas 6206 ED" userId="e6377c33-a923-4f14-8587-531c474c7b48" providerId="ADAL" clId="{6ECD27E6-B224-41CD-B4E0-E297462320DD}" dt="2023-11-24T08:32:47.243" v="12383"/>
          <ac:spMkLst>
            <pc:docMk/>
            <pc:sldMk cId="788765567" sldId="2147473977"/>
            <ac:spMk id="88" creationId="{FD4CA19F-DD15-04D1-C42C-73831013357A}"/>
          </ac:spMkLst>
        </pc:spChg>
        <pc:spChg chg="add del mod">
          <ac:chgData name="Steiner Andreas 6206 ED" userId="e6377c33-a923-4f14-8587-531c474c7b48" providerId="ADAL" clId="{6ECD27E6-B224-41CD-B4E0-E297462320DD}" dt="2023-11-24T08:32:49.301" v="12538"/>
          <ac:spMkLst>
            <pc:docMk/>
            <pc:sldMk cId="788765567" sldId="2147473977"/>
            <ac:spMk id="89" creationId="{E2CB152D-E6C5-F5E3-E61E-AD8B3A3B142F}"/>
          </ac:spMkLst>
        </pc:spChg>
        <pc:spChg chg="add del mod">
          <ac:chgData name="Steiner Andreas 6206 ED" userId="e6377c33-a923-4f14-8587-531c474c7b48" providerId="ADAL" clId="{6ECD27E6-B224-41CD-B4E0-E297462320DD}" dt="2023-11-24T08:32:51.238" v="12693"/>
          <ac:spMkLst>
            <pc:docMk/>
            <pc:sldMk cId="788765567" sldId="2147473977"/>
            <ac:spMk id="90" creationId="{16CCFFC8-4811-F549-2B0E-5EE4503A9B3C}"/>
          </ac:spMkLst>
        </pc:spChg>
        <pc:spChg chg="add del mod">
          <ac:chgData name="Steiner Andreas 6206 ED" userId="e6377c33-a923-4f14-8587-531c474c7b48" providerId="ADAL" clId="{6ECD27E6-B224-41CD-B4E0-E297462320DD}" dt="2023-11-24T08:32:53.248" v="12848"/>
          <ac:spMkLst>
            <pc:docMk/>
            <pc:sldMk cId="788765567" sldId="2147473977"/>
            <ac:spMk id="91" creationId="{9A8C825D-D0BF-01EE-C0A7-6E2C72085724}"/>
          </ac:spMkLst>
        </pc:spChg>
        <pc:spChg chg="add del mod">
          <ac:chgData name="Steiner Andreas 6206 ED" userId="e6377c33-a923-4f14-8587-531c474c7b48" providerId="ADAL" clId="{6ECD27E6-B224-41CD-B4E0-E297462320DD}" dt="2023-11-24T08:32:55.242" v="13003"/>
          <ac:spMkLst>
            <pc:docMk/>
            <pc:sldMk cId="788765567" sldId="2147473977"/>
            <ac:spMk id="92" creationId="{A819587B-853D-031E-ED93-1C16A25691E8}"/>
          </ac:spMkLst>
        </pc:spChg>
        <pc:spChg chg="add del mod">
          <ac:chgData name="Steiner Andreas 6206 ED" userId="e6377c33-a923-4f14-8587-531c474c7b48" providerId="ADAL" clId="{6ECD27E6-B224-41CD-B4E0-E297462320DD}" dt="2023-11-24T08:32:57.163" v="13158"/>
          <ac:spMkLst>
            <pc:docMk/>
            <pc:sldMk cId="788765567" sldId="2147473977"/>
            <ac:spMk id="93" creationId="{27287BD9-307B-E359-FF27-F8D96A40F7FC}"/>
          </ac:spMkLst>
        </pc:spChg>
        <pc:spChg chg="add del mod">
          <ac:chgData name="Steiner Andreas 6206 ED" userId="e6377c33-a923-4f14-8587-531c474c7b48" providerId="ADAL" clId="{6ECD27E6-B224-41CD-B4E0-E297462320DD}" dt="2023-11-24T08:32:59.276" v="13313"/>
          <ac:spMkLst>
            <pc:docMk/>
            <pc:sldMk cId="788765567" sldId="2147473977"/>
            <ac:spMk id="94" creationId="{62DE5A19-FFD8-A5CA-6DAC-0674E49A4C3B}"/>
          </ac:spMkLst>
        </pc:spChg>
        <pc:spChg chg="add del mod">
          <ac:chgData name="Steiner Andreas 6206 ED" userId="e6377c33-a923-4f14-8587-531c474c7b48" providerId="ADAL" clId="{6ECD27E6-B224-41CD-B4E0-E297462320DD}" dt="2023-11-24T08:33:01.418" v="13468"/>
          <ac:spMkLst>
            <pc:docMk/>
            <pc:sldMk cId="788765567" sldId="2147473977"/>
            <ac:spMk id="95" creationId="{FDEC7B4B-C3BB-FCBB-1FA0-4B2FD11D8E8C}"/>
          </ac:spMkLst>
        </pc:spChg>
        <pc:spChg chg="add del mod">
          <ac:chgData name="Steiner Andreas 6206 ED" userId="e6377c33-a923-4f14-8587-531c474c7b48" providerId="ADAL" clId="{6ECD27E6-B224-41CD-B4E0-E297462320DD}" dt="2023-11-24T08:33:03.760" v="13623"/>
          <ac:spMkLst>
            <pc:docMk/>
            <pc:sldMk cId="788765567" sldId="2147473977"/>
            <ac:spMk id="96" creationId="{922DE96A-B834-0F96-1225-7E93299BE37B}"/>
          </ac:spMkLst>
        </pc:spChg>
        <pc:spChg chg="add del mod">
          <ac:chgData name="Steiner Andreas 6206 ED" userId="e6377c33-a923-4f14-8587-531c474c7b48" providerId="ADAL" clId="{6ECD27E6-B224-41CD-B4E0-E297462320DD}" dt="2023-11-24T08:33:06.127" v="13778"/>
          <ac:spMkLst>
            <pc:docMk/>
            <pc:sldMk cId="788765567" sldId="2147473977"/>
            <ac:spMk id="97" creationId="{16F18A6F-543D-6F08-EF6E-B421FEE33B2F}"/>
          </ac:spMkLst>
        </pc:spChg>
        <pc:spChg chg="add del mod">
          <ac:chgData name="Steiner Andreas 6206 ED" userId="e6377c33-a923-4f14-8587-531c474c7b48" providerId="ADAL" clId="{6ECD27E6-B224-41CD-B4E0-E297462320DD}" dt="2023-11-24T08:33:08.355" v="13933"/>
          <ac:spMkLst>
            <pc:docMk/>
            <pc:sldMk cId="788765567" sldId="2147473977"/>
            <ac:spMk id="98" creationId="{60844CF4-F51D-433D-B56F-44F10BE0A414}"/>
          </ac:spMkLst>
        </pc:spChg>
        <pc:spChg chg="add del mod">
          <ac:chgData name="Steiner Andreas 6206 ED" userId="e6377c33-a923-4f14-8587-531c474c7b48" providerId="ADAL" clId="{6ECD27E6-B224-41CD-B4E0-E297462320DD}" dt="2023-11-24T08:33:10.787" v="14088"/>
          <ac:spMkLst>
            <pc:docMk/>
            <pc:sldMk cId="788765567" sldId="2147473977"/>
            <ac:spMk id="99" creationId="{1CDEAF05-2D67-3FBD-9494-DA08F5803E47}"/>
          </ac:spMkLst>
        </pc:spChg>
        <pc:spChg chg="add del mod">
          <ac:chgData name="Steiner Andreas 6206 ED" userId="e6377c33-a923-4f14-8587-531c474c7b48" providerId="ADAL" clId="{6ECD27E6-B224-41CD-B4E0-E297462320DD}" dt="2023-11-24T08:33:12.733" v="14243"/>
          <ac:spMkLst>
            <pc:docMk/>
            <pc:sldMk cId="788765567" sldId="2147473977"/>
            <ac:spMk id="100" creationId="{54F929F5-FC53-5A20-03A9-23F27082A289}"/>
          </ac:spMkLst>
        </pc:spChg>
        <pc:spChg chg="add del mod">
          <ac:chgData name="Steiner Andreas 6206 ED" userId="e6377c33-a923-4f14-8587-531c474c7b48" providerId="ADAL" clId="{6ECD27E6-B224-41CD-B4E0-E297462320DD}" dt="2023-11-24T08:33:14.621" v="14398"/>
          <ac:spMkLst>
            <pc:docMk/>
            <pc:sldMk cId="788765567" sldId="2147473977"/>
            <ac:spMk id="101" creationId="{FC70711A-3A56-F716-A82C-5DC6FBCEABAF}"/>
          </ac:spMkLst>
        </pc:spChg>
        <pc:spChg chg="add del mod">
          <ac:chgData name="Steiner Andreas 6206 ED" userId="e6377c33-a923-4f14-8587-531c474c7b48" providerId="ADAL" clId="{6ECD27E6-B224-41CD-B4E0-E297462320DD}" dt="2023-11-24T08:33:16.653" v="14553"/>
          <ac:spMkLst>
            <pc:docMk/>
            <pc:sldMk cId="788765567" sldId="2147473977"/>
            <ac:spMk id="102" creationId="{FBEE0FB4-F08D-9D34-1651-FFE5CC8A39C8}"/>
          </ac:spMkLst>
        </pc:spChg>
        <pc:spChg chg="add del mod">
          <ac:chgData name="Steiner Andreas 6206 ED" userId="e6377c33-a923-4f14-8587-531c474c7b48" providerId="ADAL" clId="{6ECD27E6-B224-41CD-B4E0-E297462320DD}" dt="2023-11-24T08:33:18.961" v="14708"/>
          <ac:spMkLst>
            <pc:docMk/>
            <pc:sldMk cId="788765567" sldId="2147473977"/>
            <ac:spMk id="103" creationId="{4898C4DE-9484-D7DC-1E28-D687A2C98EBA}"/>
          </ac:spMkLst>
        </pc:spChg>
        <pc:spChg chg="add del mod">
          <ac:chgData name="Steiner Andreas 6206 ED" userId="e6377c33-a923-4f14-8587-531c474c7b48" providerId="ADAL" clId="{6ECD27E6-B224-41CD-B4E0-E297462320DD}" dt="2023-11-24T08:33:21.395" v="14863"/>
          <ac:spMkLst>
            <pc:docMk/>
            <pc:sldMk cId="788765567" sldId="2147473977"/>
            <ac:spMk id="104" creationId="{3C774808-EF4C-C350-73FC-A81B9A2F2ADD}"/>
          </ac:spMkLst>
        </pc:spChg>
        <pc:spChg chg="add del mod">
          <ac:chgData name="Steiner Andreas 6206 ED" userId="e6377c33-a923-4f14-8587-531c474c7b48" providerId="ADAL" clId="{6ECD27E6-B224-41CD-B4E0-E297462320DD}" dt="2023-11-24T08:33:23.743" v="15018"/>
          <ac:spMkLst>
            <pc:docMk/>
            <pc:sldMk cId="788765567" sldId="2147473977"/>
            <ac:spMk id="105" creationId="{13189552-C0DF-C43F-1A91-93B5B78A483D}"/>
          </ac:spMkLst>
        </pc:spChg>
        <pc:spChg chg="add del mod">
          <ac:chgData name="Steiner Andreas 6206 ED" userId="e6377c33-a923-4f14-8587-531c474c7b48" providerId="ADAL" clId="{6ECD27E6-B224-41CD-B4E0-E297462320DD}" dt="2023-11-24T08:33:26.108" v="15173"/>
          <ac:spMkLst>
            <pc:docMk/>
            <pc:sldMk cId="788765567" sldId="2147473977"/>
            <ac:spMk id="106" creationId="{D856FF62-0558-6579-237D-E4E39157A074}"/>
          </ac:spMkLst>
        </pc:spChg>
        <pc:spChg chg="add del mod">
          <ac:chgData name="Steiner Andreas 6206 ED" userId="e6377c33-a923-4f14-8587-531c474c7b48" providerId="ADAL" clId="{6ECD27E6-B224-41CD-B4E0-E297462320DD}" dt="2023-11-24T08:33:28.430" v="15328"/>
          <ac:spMkLst>
            <pc:docMk/>
            <pc:sldMk cId="788765567" sldId="2147473977"/>
            <ac:spMk id="107" creationId="{591FE17C-A9C1-42E1-4E7B-ECF17B98BD31}"/>
          </ac:spMkLst>
        </pc:spChg>
        <pc:spChg chg="add del mod">
          <ac:chgData name="Steiner Andreas 6206 ED" userId="e6377c33-a923-4f14-8587-531c474c7b48" providerId="ADAL" clId="{6ECD27E6-B224-41CD-B4E0-E297462320DD}" dt="2023-11-24T08:33:30.904" v="15483"/>
          <ac:spMkLst>
            <pc:docMk/>
            <pc:sldMk cId="788765567" sldId="2147473977"/>
            <ac:spMk id="108" creationId="{C51A4426-43E8-C2D4-E34A-BA4769AED713}"/>
          </ac:spMkLst>
        </pc:spChg>
        <pc:spChg chg="add del mod">
          <ac:chgData name="Steiner Andreas 6206 ED" userId="e6377c33-a923-4f14-8587-531c474c7b48" providerId="ADAL" clId="{6ECD27E6-B224-41CD-B4E0-E297462320DD}" dt="2023-11-24T08:33:33.648" v="15638"/>
          <ac:spMkLst>
            <pc:docMk/>
            <pc:sldMk cId="788765567" sldId="2147473977"/>
            <ac:spMk id="109" creationId="{90FF3516-9CAA-A718-18FB-3C211D60B7FA}"/>
          </ac:spMkLst>
        </pc:spChg>
        <pc:spChg chg="add del mod">
          <ac:chgData name="Steiner Andreas 6206 ED" userId="e6377c33-a923-4f14-8587-531c474c7b48" providerId="ADAL" clId="{6ECD27E6-B224-41CD-B4E0-E297462320DD}" dt="2023-11-24T08:33:35.939" v="15793"/>
          <ac:spMkLst>
            <pc:docMk/>
            <pc:sldMk cId="788765567" sldId="2147473977"/>
            <ac:spMk id="110" creationId="{E979977B-4904-2F22-F985-977AB303AE3A}"/>
          </ac:spMkLst>
        </pc:spChg>
        <pc:spChg chg="add del mod">
          <ac:chgData name="Steiner Andreas 6206 ED" userId="e6377c33-a923-4f14-8587-531c474c7b48" providerId="ADAL" clId="{6ECD27E6-B224-41CD-B4E0-E297462320DD}" dt="2023-11-24T08:33:38.051" v="15948"/>
          <ac:spMkLst>
            <pc:docMk/>
            <pc:sldMk cId="788765567" sldId="2147473977"/>
            <ac:spMk id="111" creationId="{F8E6D105-9214-A84F-29EC-406B7127F64D}"/>
          </ac:spMkLst>
        </pc:spChg>
        <pc:spChg chg="add del mod">
          <ac:chgData name="Steiner Andreas 6206 ED" userId="e6377c33-a923-4f14-8587-531c474c7b48" providerId="ADAL" clId="{6ECD27E6-B224-41CD-B4E0-E297462320DD}" dt="2023-11-24T08:33:40.444" v="16103"/>
          <ac:spMkLst>
            <pc:docMk/>
            <pc:sldMk cId="788765567" sldId="2147473977"/>
            <ac:spMk id="112" creationId="{C3D6779F-A62B-3901-465E-FC23679C669B}"/>
          </ac:spMkLst>
        </pc:spChg>
        <pc:spChg chg="add del mod">
          <ac:chgData name="Steiner Andreas 6206 ED" userId="e6377c33-a923-4f14-8587-531c474c7b48" providerId="ADAL" clId="{6ECD27E6-B224-41CD-B4E0-E297462320DD}" dt="2023-11-24T08:33:43.154" v="16258"/>
          <ac:spMkLst>
            <pc:docMk/>
            <pc:sldMk cId="788765567" sldId="2147473977"/>
            <ac:spMk id="113" creationId="{DE202320-9970-E628-5D10-23B255B43142}"/>
          </ac:spMkLst>
        </pc:spChg>
        <pc:spChg chg="add del mod">
          <ac:chgData name="Steiner Andreas 6206 ED" userId="e6377c33-a923-4f14-8587-531c474c7b48" providerId="ADAL" clId="{6ECD27E6-B224-41CD-B4E0-E297462320DD}" dt="2023-11-24T08:33:45.578" v="16413"/>
          <ac:spMkLst>
            <pc:docMk/>
            <pc:sldMk cId="788765567" sldId="2147473977"/>
            <ac:spMk id="114" creationId="{75120482-1AE3-0DB5-EB89-944BEA2FFFC3}"/>
          </ac:spMkLst>
        </pc:spChg>
        <pc:spChg chg="add del mod">
          <ac:chgData name="Steiner Andreas 6206 ED" userId="e6377c33-a923-4f14-8587-531c474c7b48" providerId="ADAL" clId="{6ECD27E6-B224-41CD-B4E0-E297462320DD}" dt="2023-11-24T08:33:47.771" v="16568"/>
          <ac:spMkLst>
            <pc:docMk/>
            <pc:sldMk cId="788765567" sldId="2147473977"/>
            <ac:spMk id="115" creationId="{5F786E89-884F-3B17-83BE-E4B70CBC0841}"/>
          </ac:spMkLst>
        </pc:spChg>
        <pc:spChg chg="add del mod">
          <ac:chgData name="Steiner Andreas 6206 ED" userId="e6377c33-a923-4f14-8587-531c474c7b48" providerId="ADAL" clId="{6ECD27E6-B224-41CD-B4E0-E297462320DD}" dt="2023-11-24T08:33:50.549" v="16723"/>
          <ac:spMkLst>
            <pc:docMk/>
            <pc:sldMk cId="788765567" sldId="2147473977"/>
            <ac:spMk id="116" creationId="{28591AF7-A21F-3ED4-A4D6-3040ED24C0F6}"/>
          </ac:spMkLst>
        </pc:spChg>
        <pc:spChg chg="add del mod">
          <ac:chgData name="Steiner Andreas 6206 ED" userId="e6377c33-a923-4f14-8587-531c474c7b48" providerId="ADAL" clId="{6ECD27E6-B224-41CD-B4E0-E297462320DD}" dt="2023-11-24T08:33:52.909" v="16878"/>
          <ac:spMkLst>
            <pc:docMk/>
            <pc:sldMk cId="788765567" sldId="2147473977"/>
            <ac:spMk id="117" creationId="{E92A7861-FED8-24BA-A0E2-A5239821D94B}"/>
          </ac:spMkLst>
        </pc:spChg>
        <pc:spChg chg="add del mod">
          <ac:chgData name="Steiner Andreas 6206 ED" userId="e6377c33-a923-4f14-8587-531c474c7b48" providerId="ADAL" clId="{6ECD27E6-B224-41CD-B4E0-E297462320DD}" dt="2023-11-24T08:33:55.071" v="17033"/>
          <ac:spMkLst>
            <pc:docMk/>
            <pc:sldMk cId="788765567" sldId="2147473977"/>
            <ac:spMk id="118" creationId="{6B6FBD48-FB8B-3887-5563-F903A6398348}"/>
          </ac:spMkLst>
        </pc:spChg>
        <pc:spChg chg="add del mod">
          <ac:chgData name="Steiner Andreas 6206 ED" userId="e6377c33-a923-4f14-8587-531c474c7b48" providerId="ADAL" clId="{6ECD27E6-B224-41CD-B4E0-E297462320DD}" dt="2023-11-24T08:33:57.457" v="17188"/>
          <ac:spMkLst>
            <pc:docMk/>
            <pc:sldMk cId="788765567" sldId="2147473977"/>
            <ac:spMk id="119" creationId="{76F6FDFF-7334-9E18-400E-16814E710C90}"/>
          </ac:spMkLst>
        </pc:spChg>
        <pc:spChg chg="add del mod">
          <ac:chgData name="Steiner Andreas 6206 ED" userId="e6377c33-a923-4f14-8587-531c474c7b48" providerId="ADAL" clId="{6ECD27E6-B224-41CD-B4E0-E297462320DD}" dt="2023-11-24T08:33:59.889" v="17343"/>
          <ac:spMkLst>
            <pc:docMk/>
            <pc:sldMk cId="788765567" sldId="2147473977"/>
            <ac:spMk id="120" creationId="{1C99AEC0-76A2-1A9A-F1E7-6F7E4BB3A5A1}"/>
          </ac:spMkLst>
        </pc:spChg>
        <pc:spChg chg="add del mod">
          <ac:chgData name="Steiner Andreas 6206 ED" userId="e6377c33-a923-4f14-8587-531c474c7b48" providerId="ADAL" clId="{6ECD27E6-B224-41CD-B4E0-E297462320DD}" dt="2023-11-24T08:34:01.935" v="17498"/>
          <ac:spMkLst>
            <pc:docMk/>
            <pc:sldMk cId="788765567" sldId="2147473977"/>
            <ac:spMk id="121" creationId="{22C0F3AE-5AD5-2FAE-85FE-B93599389CD6}"/>
          </ac:spMkLst>
        </pc:spChg>
        <pc:spChg chg="add del mod">
          <ac:chgData name="Steiner Andreas 6206 ED" userId="e6377c33-a923-4f14-8587-531c474c7b48" providerId="ADAL" clId="{6ECD27E6-B224-41CD-B4E0-E297462320DD}" dt="2023-11-24T08:34:04.238" v="17653"/>
          <ac:spMkLst>
            <pc:docMk/>
            <pc:sldMk cId="788765567" sldId="2147473977"/>
            <ac:spMk id="122" creationId="{6CAC2DAE-5B4A-9119-A409-B6AA6A1315C7}"/>
          </ac:spMkLst>
        </pc:spChg>
        <pc:spChg chg="add del mod">
          <ac:chgData name="Steiner Andreas 6206 ED" userId="e6377c33-a923-4f14-8587-531c474c7b48" providerId="ADAL" clId="{6ECD27E6-B224-41CD-B4E0-E297462320DD}" dt="2023-11-24T08:34:06.120" v="17808"/>
          <ac:spMkLst>
            <pc:docMk/>
            <pc:sldMk cId="788765567" sldId="2147473977"/>
            <ac:spMk id="123" creationId="{E7A65DA2-25BA-61F5-09A1-E6C80A601711}"/>
          </ac:spMkLst>
        </pc:spChg>
        <pc:spChg chg="add del mod">
          <ac:chgData name="Steiner Andreas 6206 ED" userId="e6377c33-a923-4f14-8587-531c474c7b48" providerId="ADAL" clId="{6ECD27E6-B224-41CD-B4E0-E297462320DD}" dt="2023-11-24T08:34:08.209" v="17963"/>
          <ac:spMkLst>
            <pc:docMk/>
            <pc:sldMk cId="788765567" sldId="2147473977"/>
            <ac:spMk id="124" creationId="{57AA4C0B-5F9D-9903-F2B7-19D5FB79D2F0}"/>
          </ac:spMkLst>
        </pc:spChg>
        <pc:spChg chg="add del mod">
          <ac:chgData name="Steiner Andreas 6206 ED" userId="e6377c33-a923-4f14-8587-531c474c7b48" providerId="ADAL" clId="{6ECD27E6-B224-41CD-B4E0-E297462320DD}" dt="2023-11-24T08:34:10.153" v="18118"/>
          <ac:spMkLst>
            <pc:docMk/>
            <pc:sldMk cId="788765567" sldId="2147473977"/>
            <ac:spMk id="125" creationId="{44C28B7F-9610-1299-6A6D-2C636A925E44}"/>
          </ac:spMkLst>
        </pc:spChg>
        <pc:spChg chg="add del mod">
          <ac:chgData name="Steiner Andreas 6206 ED" userId="e6377c33-a923-4f14-8587-531c474c7b48" providerId="ADAL" clId="{6ECD27E6-B224-41CD-B4E0-E297462320DD}" dt="2023-11-24T08:34:12.277" v="18273"/>
          <ac:spMkLst>
            <pc:docMk/>
            <pc:sldMk cId="788765567" sldId="2147473977"/>
            <ac:spMk id="126" creationId="{A7900E28-3C87-205A-2FE3-5CCBFAB69B6E}"/>
          </ac:spMkLst>
        </pc:spChg>
        <pc:spChg chg="add del mod">
          <ac:chgData name="Steiner Andreas 6206 ED" userId="e6377c33-a923-4f14-8587-531c474c7b48" providerId="ADAL" clId="{6ECD27E6-B224-41CD-B4E0-E297462320DD}" dt="2023-11-24T08:34:14.600" v="18428"/>
          <ac:spMkLst>
            <pc:docMk/>
            <pc:sldMk cId="788765567" sldId="2147473977"/>
            <ac:spMk id="127" creationId="{B57996F5-A4FB-C627-1F71-77DEEA6D4729}"/>
          </ac:spMkLst>
        </pc:spChg>
        <pc:spChg chg="add del mod">
          <ac:chgData name="Steiner Andreas 6206 ED" userId="e6377c33-a923-4f14-8587-531c474c7b48" providerId="ADAL" clId="{6ECD27E6-B224-41CD-B4E0-E297462320DD}" dt="2023-11-24T08:34:16.609" v="18583"/>
          <ac:spMkLst>
            <pc:docMk/>
            <pc:sldMk cId="788765567" sldId="2147473977"/>
            <ac:spMk id="128" creationId="{2D45E673-AFB1-E997-2B58-BDE0157F78E8}"/>
          </ac:spMkLst>
        </pc:spChg>
        <pc:spChg chg="add del mod">
          <ac:chgData name="Steiner Andreas 6206 ED" userId="e6377c33-a923-4f14-8587-531c474c7b48" providerId="ADAL" clId="{6ECD27E6-B224-41CD-B4E0-E297462320DD}" dt="2023-11-24T08:34:18.870" v="18738"/>
          <ac:spMkLst>
            <pc:docMk/>
            <pc:sldMk cId="788765567" sldId="2147473977"/>
            <ac:spMk id="129" creationId="{2AE08A94-5683-C99A-E14E-62BD1011982F}"/>
          </ac:spMkLst>
        </pc:spChg>
        <pc:spChg chg="add del mod">
          <ac:chgData name="Steiner Andreas 6206 ED" userId="e6377c33-a923-4f14-8587-531c474c7b48" providerId="ADAL" clId="{6ECD27E6-B224-41CD-B4E0-E297462320DD}" dt="2023-11-24T08:34:20.917" v="18893"/>
          <ac:spMkLst>
            <pc:docMk/>
            <pc:sldMk cId="788765567" sldId="2147473977"/>
            <ac:spMk id="130" creationId="{CDE92857-FC33-5117-B7A7-6ABA814BF2A7}"/>
          </ac:spMkLst>
        </pc:spChg>
        <pc:spChg chg="add del mod">
          <ac:chgData name="Steiner Andreas 6206 ED" userId="e6377c33-a923-4f14-8587-531c474c7b48" providerId="ADAL" clId="{6ECD27E6-B224-41CD-B4E0-E297462320DD}" dt="2023-11-24T08:34:23.041" v="19048"/>
          <ac:spMkLst>
            <pc:docMk/>
            <pc:sldMk cId="788765567" sldId="2147473977"/>
            <ac:spMk id="131" creationId="{ED6B2BD5-DA4E-A4D1-A3A4-DB2054F6173F}"/>
          </ac:spMkLst>
        </pc:spChg>
        <pc:spChg chg="add del mod">
          <ac:chgData name="Steiner Andreas 6206 ED" userId="e6377c33-a923-4f14-8587-531c474c7b48" providerId="ADAL" clId="{6ECD27E6-B224-41CD-B4E0-E297462320DD}" dt="2023-11-24T08:34:26.345" v="19203"/>
          <ac:spMkLst>
            <pc:docMk/>
            <pc:sldMk cId="788765567" sldId="2147473977"/>
            <ac:spMk id="132" creationId="{9AB6E468-4CA9-973A-B244-92656C15E068}"/>
          </ac:spMkLst>
        </pc:spChg>
        <pc:spChg chg="add del mod">
          <ac:chgData name="Steiner Andreas 6206 ED" userId="e6377c33-a923-4f14-8587-531c474c7b48" providerId="ADAL" clId="{6ECD27E6-B224-41CD-B4E0-E297462320DD}" dt="2023-11-24T08:34:28.985" v="19358"/>
          <ac:spMkLst>
            <pc:docMk/>
            <pc:sldMk cId="788765567" sldId="2147473977"/>
            <ac:spMk id="133" creationId="{B37AF03D-6CA3-2E92-560B-B6D6FA494F01}"/>
          </ac:spMkLst>
        </pc:spChg>
        <pc:spChg chg="add del mod">
          <ac:chgData name="Steiner Andreas 6206 ED" userId="e6377c33-a923-4f14-8587-531c474c7b48" providerId="ADAL" clId="{6ECD27E6-B224-41CD-B4E0-E297462320DD}" dt="2023-11-24T08:34:31.610" v="19513"/>
          <ac:spMkLst>
            <pc:docMk/>
            <pc:sldMk cId="788765567" sldId="2147473977"/>
            <ac:spMk id="134" creationId="{CDF1687F-F66D-4A69-B948-8927BF74AB16}"/>
          </ac:spMkLst>
        </pc:spChg>
        <pc:spChg chg="add del mod">
          <ac:chgData name="Steiner Andreas 6206 ED" userId="e6377c33-a923-4f14-8587-531c474c7b48" providerId="ADAL" clId="{6ECD27E6-B224-41CD-B4E0-E297462320DD}" dt="2023-11-24T08:34:33.818" v="19668"/>
          <ac:spMkLst>
            <pc:docMk/>
            <pc:sldMk cId="788765567" sldId="2147473977"/>
            <ac:spMk id="135" creationId="{25EC9E74-C95F-A4DD-C00C-4F3CEA7609D7}"/>
          </ac:spMkLst>
        </pc:spChg>
        <pc:spChg chg="add del mod">
          <ac:chgData name="Steiner Andreas 6206 ED" userId="e6377c33-a923-4f14-8587-531c474c7b48" providerId="ADAL" clId="{6ECD27E6-B224-41CD-B4E0-E297462320DD}" dt="2023-11-24T08:34:36.079" v="19823"/>
          <ac:spMkLst>
            <pc:docMk/>
            <pc:sldMk cId="788765567" sldId="2147473977"/>
            <ac:spMk id="136" creationId="{764B97B5-8A4B-DE9B-4D40-8A02DA57FF68}"/>
          </ac:spMkLst>
        </pc:spChg>
        <pc:spChg chg="add del mod">
          <ac:chgData name="Steiner Andreas 6206 ED" userId="e6377c33-a923-4f14-8587-531c474c7b48" providerId="ADAL" clId="{6ECD27E6-B224-41CD-B4E0-E297462320DD}" dt="2023-11-24T08:34:38.308" v="19978"/>
          <ac:spMkLst>
            <pc:docMk/>
            <pc:sldMk cId="788765567" sldId="2147473977"/>
            <ac:spMk id="137" creationId="{36581DBD-57EB-B8A6-C34C-3454C4274B58}"/>
          </ac:spMkLst>
        </pc:spChg>
        <pc:spChg chg="add del mod">
          <ac:chgData name="Steiner Andreas 6206 ED" userId="e6377c33-a923-4f14-8587-531c474c7b48" providerId="ADAL" clId="{6ECD27E6-B224-41CD-B4E0-E297462320DD}" dt="2023-11-24T08:34:40.657" v="20133"/>
          <ac:spMkLst>
            <pc:docMk/>
            <pc:sldMk cId="788765567" sldId="2147473977"/>
            <ac:spMk id="138" creationId="{47D34A6E-DC69-47A4-85EF-32C0DF228168}"/>
          </ac:spMkLst>
        </pc:spChg>
        <pc:spChg chg="add del mod">
          <ac:chgData name="Steiner Andreas 6206 ED" userId="e6377c33-a923-4f14-8587-531c474c7b48" providerId="ADAL" clId="{6ECD27E6-B224-41CD-B4E0-E297462320DD}" dt="2023-11-24T08:34:43.362" v="20288"/>
          <ac:spMkLst>
            <pc:docMk/>
            <pc:sldMk cId="788765567" sldId="2147473977"/>
            <ac:spMk id="139" creationId="{07EEC7FA-C286-09C8-24C9-75DA979E8B03}"/>
          </ac:spMkLst>
        </pc:spChg>
        <pc:spChg chg="add del mod">
          <ac:chgData name="Steiner Andreas 6206 ED" userId="e6377c33-a923-4f14-8587-531c474c7b48" providerId="ADAL" clId="{6ECD27E6-B224-41CD-B4E0-E297462320DD}" dt="2023-11-24T08:34:45.720" v="20443"/>
          <ac:spMkLst>
            <pc:docMk/>
            <pc:sldMk cId="788765567" sldId="2147473977"/>
            <ac:spMk id="140" creationId="{1B433500-B1E8-CD2B-E746-47810E09259A}"/>
          </ac:spMkLst>
        </pc:spChg>
        <pc:spChg chg="add del mod">
          <ac:chgData name="Steiner Andreas 6206 ED" userId="e6377c33-a923-4f14-8587-531c474c7b48" providerId="ADAL" clId="{6ECD27E6-B224-41CD-B4E0-E297462320DD}" dt="2023-11-24T08:34:47.936" v="20598"/>
          <ac:spMkLst>
            <pc:docMk/>
            <pc:sldMk cId="788765567" sldId="2147473977"/>
            <ac:spMk id="141" creationId="{BA9F91A2-B300-D3C8-CA1C-8F64ECEB8627}"/>
          </ac:spMkLst>
        </pc:spChg>
        <pc:spChg chg="add del mod">
          <ac:chgData name="Steiner Andreas 6206 ED" userId="e6377c33-a923-4f14-8587-531c474c7b48" providerId="ADAL" clId="{6ECD27E6-B224-41CD-B4E0-E297462320DD}" dt="2023-11-24T08:34:50.400" v="20753"/>
          <ac:spMkLst>
            <pc:docMk/>
            <pc:sldMk cId="788765567" sldId="2147473977"/>
            <ac:spMk id="142" creationId="{A27EFA2A-EADA-056F-51CE-15F2DF65666C}"/>
          </ac:spMkLst>
        </pc:spChg>
        <pc:spChg chg="add del mod">
          <ac:chgData name="Steiner Andreas 6206 ED" userId="e6377c33-a923-4f14-8587-531c474c7b48" providerId="ADAL" clId="{6ECD27E6-B224-41CD-B4E0-E297462320DD}" dt="2023-11-24T08:34:52.987" v="20908"/>
          <ac:spMkLst>
            <pc:docMk/>
            <pc:sldMk cId="788765567" sldId="2147473977"/>
            <ac:spMk id="143" creationId="{2F4B5C93-106B-E167-10DD-27050010A38A}"/>
          </ac:spMkLst>
        </pc:spChg>
        <pc:spChg chg="add del mod">
          <ac:chgData name="Steiner Andreas 6206 ED" userId="e6377c33-a923-4f14-8587-531c474c7b48" providerId="ADAL" clId="{6ECD27E6-B224-41CD-B4E0-E297462320DD}" dt="2023-11-24T08:34:55.402" v="21063"/>
          <ac:spMkLst>
            <pc:docMk/>
            <pc:sldMk cId="788765567" sldId="2147473977"/>
            <ac:spMk id="144" creationId="{9EC3F5E0-5F85-5A0B-0FC3-7760D7B33BA4}"/>
          </ac:spMkLst>
        </pc:spChg>
        <pc:spChg chg="add del mod">
          <ac:chgData name="Steiner Andreas 6206 ED" userId="e6377c33-a923-4f14-8587-531c474c7b48" providerId="ADAL" clId="{6ECD27E6-B224-41CD-B4E0-E297462320DD}" dt="2023-11-24T08:34:57.794" v="21218"/>
          <ac:spMkLst>
            <pc:docMk/>
            <pc:sldMk cId="788765567" sldId="2147473977"/>
            <ac:spMk id="145" creationId="{D5B62F2B-45F6-5BCA-5B2A-5FCB088F8AE1}"/>
          </ac:spMkLst>
        </pc:spChg>
        <pc:spChg chg="add del mod">
          <ac:chgData name="Steiner Andreas 6206 ED" userId="e6377c33-a923-4f14-8587-531c474c7b48" providerId="ADAL" clId="{6ECD27E6-B224-41CD-B4E0-E297462320DD}" dt="2023-11-24T08:35:00.340" v="21373"/>
          <ac:spMkLst>
            <pc:docMk/>
            <pc:sldMk cId="788765567" sldId="2147473977"/>
            <ac:spMk id="146" creationId="{D0915EEE-CAF5-C1C1-FC3B-5A4B1C3F97C6}"/>
          </ac:spMkLst>
        </pc:spChg>
        <pc:spChg chg="add del mod">
          <ac:chgData name="Steiner Andreas 6206 ED" userId="e6377c33-a923-4f14-8587-531c474c7b48" providerId="ADAL" clId="{6ECD27E6-B224-41CD-B4E0-E297462320DD}" dt="2023-11-24T08:35:02.877" v="21528"/>
          <ac:spMkLst>
            <pc:docMk/>
            <pc:sldMk cId="788765567" sldId="2147473977"/>
            <ac:spMk id="147" creationId="{67BA3245-03A2-5C4D-1C2B-104ECBB95DB4}"/>
          </ac:spMkLst>
        </pc:spChg>
        <pc:spChg chg="add del mod">
          <ac:chgData name="Steiner Andreas 6206 ED" userId="e6377c33-a923-4f14-8587-531c474c7b48" providerId="ADAL" clId="{6ECD27E6-B224-41CD-B4E0-E297462320DD}" dt="2023-11-24T08:35:05.357" v="21683"/>
          <ac:spMkLst>
            <pc:docMk/>
            <pc:sldMk cId="788765567" sldId="2147473977"/>
            <ac:spMk id="148" creationId="{B15F77ED-658D-372C-E61B-6A9A04ACB2DF}"/>
          </ac:spMkLst>
        </pc:spChg>
        <pc:spChg chg="add del mod">
          <ac:chgData name="Steiner Andreas 6206 ED" userId="e6377c33-a923-4f14-8587-531c474c7b48" providerId="ADAL" clId="{6ECD27E6-B224-41CD-B4E0-E297462320DD}" dt="2023-11-24T08:35:07.890" v="21838"/>
          <ac:spMkLst>
            <pc:docMk/>
            <pc:sldMk cId="788765567" sldId="2147473977"/>
            <ac:spMk id="149" creationId="{F77DC4C7-8BAB-66CC-9062-25C295CCB230}"/>
          </ac:spMkLst>
        </pc:spChg>
        <pc:spChg chg="add del mod">
          <ac:chgData name="Steiner Andreas 6206 ED" userId="e6377c33-a923-4f14-8587-531c474c7b48" providerId="ADAL" clId="{6ECD27E6-B224-41CD-B4E0-E297462320DD}" dt="2023-11-24T08:35:10.379" v="21993"/>
          <ac:spMkLst>
            <pc:docMk/>
            <pc:sldMk cId="788765567" sldId="2147473977"/>
            <ac:spMk id="150" creationId="{1C44DE2D-9F60-B434-9094-F21AEF1B88F2}"/>
          </ac:spMkLst>
        </pc:spChg>
        <pc:spChg chg="add del mod">
          <ac:chgData name="Steiner Andreas 6206 ED" userId="e6377c33-a923-4f14-8587-531c474c7b48" providerId="ADAL" clId="{6ECD27E6-B224-41CD-B4E0-E297462320DD}" dt="2023-11-24T08:35:12.837" v="22148"/>
          <ac:spMkLst>
            <pc:docMk/>
            <pc:sldMk cId="788765567" sldId="2147473977"/>
            <ac:spMk id="151" creationId="{D8392561-5383-0189-7CEF-10BD7FD39567}"/>
          </ac:spMkLst>
        </pc:spChg>
        <pc:spChg chg="add del mod">
          <ac:chgData name="Steiner Andreas 6206 ED" userId="e6377c33-a923-4f14-8587-531c474c7b48" providerId="ADAL" clId="{6ECD27E6-B224-41CD-B4E0-E297462320DD}" dt="2023-11-24T08:35:14.943" v="22303"/>
          <ac:spMkLst>
            <pc:docMk/>
            <pc:sldMk cId="788765567" sldId="2147473977"/>
            <ac:spMk id="152" creationId="{57FDBDE3-B521-83C3-EBA0-7E9830FFB677}"/>
          </ac:spMkLst>
        </pc:spChg>
        <pc:spChg chg="add del mod">
          <ac:chgData name="Steiner Andreas 6206 ED" userId="e6377c33-a923-4f14-8587-531c474c7b48" providerId="ADAL" clId="{6ECD27E6-B224-41CD-B4E0-E297462320DD}" dt="2023-11-24T08:35:17.381" v="22458"/>
          <ac:spMkLst>
            <pc:docMk/>
            <pc:sldMk cId="788765567" sldId="2147473977"/>
            <ac:spMk id="153" creationId="{68B4ADAC-79C1-354A-E519-43660A544C12}"/>
          </ac:spMkLst>
        </pc:spChg>
        <pc:spChg chg="add del mod">
          <ac:chgData name="Steiner Andreas 6206 ED" userId="e6377c33-a923-4f14-8587-531c474c7b48" providerId="ADAL" clId="{6ECD27E6-B224-41CD-B4E0-E297462320DD}" dt="2023-11-24T08:35:19.778" v="22613"/>
          <ac:spMkLst>
            <pc:docMk/>
            <pc:sldMk cId="788765567" sldId="2147473977"/>
            <ac:spMk id="154" creationId="{9F78823D-B901-389A-82AE-7DE05ED2A4BE}"/>
          </ac:spMkLst>
        </pc:spChg>
        <pc:spChg chg="add del mod">
          <ac:chgData name="Steiner Andreas 6206 ED" userId="e6377c33-a923-4f14-8587-531c474c7b48" providerId="ADAL" clId="{6ECD27E6-B224-41CD-B4E0-E297462320DD}" dt="2023-11-24T08:35:22.180" v="22768"/>
          <ac:spMkLst>
            <pc:docMk/>
            <pc:sldMk cId="788765567" sldId="2147473977"/>
            <ac:spMk id="155" creationId="{F37473D4-B073-FFC4-AC17-6AE3AD10215F}"/>
          </ac:spMkLst>
        </pc:spChg>
        <pc:spChg chg="add del mod">
          <ac:chgData name="Steiner Andreas 6206 ED" userId="e6377c33-a923-4f14-8587-531c474c7b48" providerId="ADAL" clId="{6ECD27E6-B224-41CD-B4E0-E297462320DD}" dt="2023-11-24T08:35:24.582" v="22923"/>
          <ac:spMkLst>
            <pc:docMk/>
            <pc:sldMk cId="788765567" sldId="2147473977"/>
            <ac:spMk id="156" creationId="{A10685B7-5E5C-4C34-334F-C28C60A17C2D}"/>
          </ac:spMkLst>
        </pc:spChg>
        <pc:spChg chg="add del mod">
          <ac:chgData name="Steiner Andreas 6206 ED" userId="e6377c33-a923-4f14-8587-531c474c7b48" providerId="ADAL" clId="{6ECD27E6-B224-41CD-B4E0-E297462320DD}" dt="2023-11-24T08:35:27.176" v="23078"/>
          <ac:spMkLst>
            <pc:docMk/>
            <pc:sldMk cId="788765567" sldId="2147473977"/>
            <ac:spMk id="157" creationId="{336F4331-9574-2616-5A95-93D10C58F47A}"/>
          </ac:spMkLst>
        </pc:spChg>
        <pc:spChg chg="add del mod">
          <ac:chgData name="Steiner Andreas 6206 ED" userId="e6377c33-a923-4f14-8587-531c474c7b48" providerId="ADAL" clId="{6ECD27E6-B224-41CD-B4E0-E297462320DD}" dt="2023-11-24T08:35:29.868" v="23233"/>
          <ac:spMkLst>
            <pc:docMk/>
            <pc:sldMk cId="788765567" sldId="2147473977"/>
            <ac:spMk id="158" creationId="{8166E5F6-3997-D790-9A84-042185BC0063}"/>
          </ac:spMkLst>
        </pc:spChg>
        <pc:spChg chg="add del mod">
          <ac:chgData name="Steiner Andreas 6206 ED" userId="e6377c33-a923-4f14-8587-531c474c7b48" providerId="ADAL" clId="{6ECD27E6-B224-41CD-B4E0-E297462320DD}" dt="2023-11-24T08:35:32.235" v="23388"/>
          <ac:spMkLst>
            <pc:docMk/>
            <pc:sldMk cId="788765567" sldId="2147473977"/>
            <ac:spMk id="159" creationId="{7AB32B93-BB98-9AB8-5626-00354663B03C}"/>
          </ac:spMkLst>
        </pc:spChg>
        <pc:spChg chg="add del mod">
          <ac:chgData name="Steiner Andreas 6206 ED" userId="e6377c33-a923-4f14-8587-531c474c7b48" providerId="ADAL" clId="{6ECD27E6-B224-41CD-B4E0-E297462320DD}" dt="2023-11-24T08:35:34.633" v="23543"/>
          <ac:spMkLst>
            <pc:docMk/>
            <pc:sldMk cId="788765567" sldId="2147473977"/>
            <ac:spMk id="160" creationId="{2068BE9C-2A9D-3002-EADB-C1AEC4390ECD}"/>
          </ac:spMkLst>
        </pc:spChg>
        <pc:spChg chg="add del mod">
          <ac:chgData name="Steiner Andreas 6206 ED" userId="e6377c33-a923-4f14-8587-531c474c7b48" providerId="ADAL" clId="{6ECD27E6-B224-41CD-B4E0-E297462320DD}" dt="2023-11-24T08:35:36.956" v="23698"/>
          <ac:spMkLst>
            <pc:docMk/>
            <pc:sldMk cId="788765567" sldId="2147473977"/>
            <ac:spMk id="161" creationId="{6ADE2016-5886-4D40-FEB4-0471EE035067}"/>
          </ac:spMkLst>
        </pc:spChg>
        <pc:spChg chg="add del mod">
          <ac:chgData name="Steiner Andreas 6206 ED" userId="e6377c33-a923-4f14-8587-531c474c7b48" providerId="ADAL" clId="{6ECD27E6-B224-41CD-B4E0-E297462320DD}" dt="2023-11-24T08:35:39.363" v="23853"/>
          <ac:spMkLst>
            <pc:docMk/>
            <pc:sldMk cId="788765567" sldId="2147473977"/>
            <ac:spMk id="162" creationId="{9D4CFC3A-E176-CD86-DE5E-12D7B6E35AC0}"/>
          </ac:spMkLst>
        </pc:spChg>
        <pc:spChg chg="add del mod">
          <ac:chgData name="Steiner Andreas 6206 ED" userId="e6377c33-a923-4f14-8587-531c474c7b48" providerId="ADAL" clId="{6ECD27E6-B224-41CD-B4E0-E297462320DD}" dt="2023-11-24T08:35:42.033" v="24008"/>
          <ac:spMkLst>
            <pc:docMk/>
            <pc:sldMk cId="788765567" sldId="2147473977"/>
            <ac:spMk id="163" creationId="{5EAF6DE6-E4BA-7BDB-3DD8-513F1171B9C0}"/>
          </ac:spMkLst>
        </pc:spChg>
        <pc:spChg chg="add del mod">
          <ac:chgData name="Steiner Andreas 6206 ED" userId="e6377c33-a923-4f14-8587-531c474c7b48" providerId="ADAL" clId="{6ECD27E6-B224-41CD-B4E0-E297462320DD}" dt="2023-11-24T08:35:44.506" v="24163"/>
          <ac:spMkLst>
            <pc:docMk/>
            <pc:sldMk cId="788765567" sldId="2147473977"/>
            <ac:spMk id="164" creationId="{B14CC402-4C41-E03F-0BD8-B4C080019EA9}"/>
          </ac:spMkLst>
        </pc:spChg>
        <pc:spChg chg="add del mod">
          <ac:chgData name="Steiner Andreas 6206 ED" userId="e6377c33-a923-4f14-8587-531c474c7b48" providerId="ADAL" clId="{6ECD27E6-B224-41CD-B4E0-E297462320DD}" dt="2023-11-24T08:35:46.774" v="24318"/>
          <ac:spMkLst>
            <pc:docMk/>
            <pc:sldMk cId="788765567" sldId="2147473977"/>
            <ac:spMk id="165" creationId="{BB5EEEBB-5B74-EF7E-247E-91C5B6D2F3A2}"/>
          </ac:spMkLst>
        </pc:spChg>
        <pc:spChg chg="add del mod">
          <ac:chgData name="Steiner Andreas 6206 ED" userId="e6377c33-a923-4f14-8587-531c474c7b48" providerId="ADAL" clId="{6ECD27E6-B224-41CD-B4E0-E297462320DD}" dt="2023-11-24T08:35:49.030" v="24473"/>
          <ac:spMkLst>
            <pc:docMk/>
            <pc:sldMk cId="788765567" sldId="2147473977"/>
            <ac:spMk id="166" creationId="{390172E4-685A-890B-0257-36CF46D44E44}"/>
          </ac:spMkLst>
        </pc:spChg>
        <pc:spChg chg="add del mod">
          <ac:chgData name="Steiner Andreas 6206 ED" userId="e6377c33-a923-4f14-8587-531c474c7b48" providerId="ADAL" clId="{6ECD27E6-B224-41CD-B4E0-E297462320DD}" dt="2023-11-24T08:35:51.316" v="24628"/>
          <ac:spMkLst>
            <pc:docMk/>
            <pc:sldMk cId="788765567" sldId="2147473977"/>
            <ac:spMk id="167" creationId="{290D8A40-A519-ADFF-53A9-278246916FDC}"/>
          </ac:spMkLst>
        </pc:spChg>
        <pc:spChg chg="add del mod">
          <ac:chgData name="Steiner Andreas 6206 ED" userId="e6377c33-a923-4f14-8587-531c474c7b48" providerId="ADAL" clId="{6ECD27E6-B224-41CD-B4E0-E297462320DD}" dt="2023-11-24T08:35:54.251" v="24783"/>
          <ac:spMkLst>
            <pc:docMk/>
            <pc:sldMk cId="788765567" sldId="2147473977"/>
            <ac:spMk id="168" creationId="{601ACEAC-18FF-9FFC-DB2B-ACD3BCC2CBD1}"/>
          </ac:spMkLst>
        </pc:spChg>
        <pc:spChg chg="add del mod">
          <ac:chgData name="Steiner Andreas 6206 ED" userId="e6377c33-a923-4f14-8587-531c474c7b48" providerId="ADAL" clId="{6ECD27E6-B224-41CD-B4E0-E297462320DD}" dt="2023-11-24T08:35:56.704" v="24938"/>
          <ac:spMkLst>
            <pc:docMk/>
            <pc:sldMk cId="788765567" sldId="2147473977"/>
            <ac:spMk id="169" creationId="{FEFE4E11-1E35-28C8-72A7-BD748A9DE3EE}"/>
          </ac:spMkLst>
        </pc:spChg>
        <pc:spChg chg="add del mod">
          <ac:chgData name="Steiner Andreas 6206 ED" userId="e6377c33-a923-4f14-8587-531c474c7b48" providerId="ADAL" clId="{6ECD27E6-B224-41CD-B4E0-E297462320DD}" dt="2023-11-24T08:35:59.251" v="25093"/>
          <ac:spMkLst>
            <pc:docMk/>
            <pc:sldMk cId="788765567" sldId="2147473977"/>
            <ac:spMk id="170" creationId="{5D991B0E-E101-5C07-F2A0-24264A3F0F67}"/>
          </ac:spMkLst>
        </pc:spChg>
        <pc:spChg chg="add del mod">
          <ac:chgData name="Steiner Andreas 6206 ED" userId="e6377c33-a923-4f14-8587-531c474c7b48" providerId="ADAL" clId="{6ECD27E6-B224-41CD-B4E0-E297462320DD}" dt="2023-11-24T08:36:01.769" v="25248"/>
          <ac:spMkLst>
            <pc:docMk/>
            <pc:sldMk cId="788765567" sldId="2147473977"/>
            <ac:spMk id="171" creationId="{5EF2D61D-8CDF-4A14-62CC-EBF558A66B1A}"/>
          </ac:spMkLst>
        </pc:spChg>
        <pc:spChg chg="add del mod">
          <ac:chgData name="Steiner Andreas 6206 ED" userId="e6377c33-a923-4f14-8587-531c474c7b48" providerId="ADAL" clId="{6ECD27E6-B224-41CD-B4E0-E297462320DD}" dt="2023-11-24T08:36:04.363" v="25403"/>
          <ac:spMkLst>
            <pc:docMk/>
            <pc:sldMk cId="788765567" sldId="2147473977"/>
            <ac:spMk id="172" creationId="{95819229-D180-1F4A-1EB8-80A019B578A9}"/>
          </ac:spMkLst>
        </pc:spChg>
        <pc:spChg chg="add del mod">
          <ac:chgData name="Steiner Andreas 6206 ED" userId="e6377c33-a923-4f14-8587-531c474c7b48" providerId="ADAL" clId="{6ECD27E6-B224-41CD-B4E0-E297462320DD}" dt="2023-11-24T08:36:06.868" v="25558"/>
          <ac:spMkLst>
            <pc:docMk/>
            <pc:sldMk cId="788765567" sldId="2147473977"/>
            <ac:spMk id="173" creationId="{57FFF17B-8BAE-9A94-C25C-DA33CC5B49CA}"/>
          </ac:spMkLst>
        </pc:spChg>
        <pc:spChg chg="add del mod">
          <ac:chgData name="Steiner Andreas 6206 ED" userId="e6377c33-a923-4f14-8587-531c474c7b48" providerId="ADAL" clId="{6ECD27E6-B224-41CD-B4E0-E297462320DD}" dt="2023-11-24T08:36:09.365" v="25713"/>
          <ac:spMkLst>
            <pc:docMk/>
            <pc:sldMk cId="788765567" sldId="2147473977"/>
            <ac:spMk id="174" creationId="{A68E6877-E583-1F84-E6CF-EC3E803F115F}"/>
          </ac:spMkLst>
        </pc:spChg>
        <pc:spChg chg="add del mod">
          <ac:chgData name="Steiner Andreas 6206 ED" userId="e6377c33-a923-4f14-8587-531c474c7b48" providerId="ADAL" clId="{6ECD27E6-B224-41CD-B4E0-E297462320DD}" dt="2023-11-24T08:36:11.876" v="25868"/>
          <ac:spMkLst>
            <pc:docMk/>
            <pc:sldMk cId="788765567" sldId="2147473977"/>
            <ac:spMk id="175" creationId="{4C5F6234-7D29-F514-DAAC-F4A676314AA1}"/>
          </ac:spMkLst>
        </pc:spChg>
        <pc:spChg chg="add del mod">
          <ac:chgData name="Steiner Andreas 6206 ED" userId="e6377c33-a923-4f14-8587-531c474c7b48" providerId="ADAL" clId="{6ECD27E6-B224-41CD-B4E0-E297462320DD}" dt="2023-11-24T08:36:14.270" v="26023"/>
          <ac:spMkLst>
            <pc:docMk/>
            <pc:sldMk cId="788765567" sldId="2147473977"/>
            <ac:spMk id="176" creationId="{4745C699-D6D2-91C6-44F6-C4C66896F910}"/>
          </ac:spMkLst>
        </pc:spChg>
        <pc:spChg chg="add del mod">
          <ac:chgData name="Steiner Andreas 6206 ED" userId="e6377c33-a923-4f14-8587-531c474c7b48" providerId="ADAL" clId="{6ECD27E6-B224-41CD-B4E0-E297462320DD}" dt="2023-11-24T08:36:17.112" v="26178"/>
          <ac:spMkLst>
            <pc:docMk/>
            <pc:sldMk cId="788765567" sldId="2147473977"/>
            <ac:spMk id="177" creationId="{A743CEDE-29D1-7FFF-4B31-26141826D32F}"/>
          </ac:spMkLst>
        </pc:spChg>
        <pc:spChg chg="add del mod">
          <ac:chgData name="Steiner Andreas 6206 ED" userId="e6377c33-a923-4f14-8587-531c474c7b48" providerId="ADAL" clId="{6ECD27E6-B224-41CD-B4E0-E297462320DD}" dt="2023-11-24T08:36:19.498" v="26333"/>
          <ac:spMkLst>
            <pc:docMk/>
            <pc:sldMk cId="788765567" sldId="2147473977"/>
            <ac:spMk id="178" creationId="{43CC46CC-B55B-FC13-D272-DDA81980D240}"/>
          </ac:spMkLst>
        </pc:spChg>
        <pc:spChg chg="add del mod">
          <ac:chgData name="Steiner Andreas 6206 ED" userId="e6377c33-a923-4f14-8587-531c474c7b48" providerId="ADAL" clId="{6ECD27E6-B224-41CD-B4E0-E297462320DD}" dt="2023-11-24T08:36:21.783" v="26488"/>
          <ac:spMkLst>
            <pc:docMk/>
            <pc:sldMk cId="788765567" sldId="2147473977"/>
            <ac:spMk id="179" creationId="{9621EF3E-C6C2-1B00-0EB4-B04AF010C407}"/>
          </ac:spMkLst>
        </pc:spChg>
        <pc:spChg chg="add del mod">
          <ac:chgData name="Steiner Andreas 6206 ED" userId="e6377c33-a923-4f14-8587-531c474c7b48" providerId="ADAL" clId="{6ECD27E6-B224-41CD-B4E0-E297462320DD}" dt="2023-11-24T08:36:24.275" v="26643"/>
          <ac:spMkLst>
            <pc:docMk/>
            <pc:sldMk cId="788765567" sldId="2147473977"/>
            <ac:spMk id="180" creationId="{A8615D7B-702F-2C05-5A3A-FBBAB8F52600}"/>
          </ac:spMkLst>
        </pc:spChg>
        <pc:spChg chg="add del mod">
          <ac:chgData name="Steiner Andreas 6206 ED" userId="e6377c33-a923-4f14-8587-531c474c7b48" providerId="ADAL" clId="{6ECD27E6-B224-41CD-B4E0-E297462320DD}" dt="2023-11-24T08:36:26.809" v="26798"/>
          <ac:spMkLst>
            <pc:docMk/>
            <pc:sldMk cId="788765567" sldId="2147473977"/>
            <ac:spMk id="181" creationId="{0D4C6275-5D78-C8C6-30C9-BAD29EAAABFE}"/>
          </ac:spMkLst>
        </pc:spChg>
        <pc:spChg chg="add del mod">
          <ac:chgData name="Steiner Andreas 6206 ED" userId="e6377c33-a923-4f14-8587-531c474c7b48" providerId="ADAL" clId="{6ECD27E6-B224-41CD-B4E0-E297462320DD}" dt="2023-11-24T08:36:29.693" v="26953"/>
          <ac:spMkLst>
            <pc:docMk/>
            <pc:sldMk cId="788765567" sldId="2147473977"/>
            <ac:spMk id="182" creationId="{2FC57C92-E165-64E0-FC84-AAF759141A10}"/>
          </ac:spMkLst>
        </pc:spChg>
        <pc:spChg chg="add del mod">
          <ac:chgData name="Steiner Andreas 6206 ED" userId="e6377c33-a923-4f14-8587-531c474c7b48" providerId="ADAL" clId="{6ECD27E6-B224-41CD-B4E0-E297462320DD}" dt="2023-11-24T08:36:32.431" v="27108"/>
          <ac:spMkLst>
            <pc:docMk/>
            <pc:sldMk cId="788765567" sldId="2147473977"/>
            <ac:spMk id="183" creationId="{E463D908-64B6-F546-FF99-FB90D1B43316}"/>
          </ac:spMkLst>
        </pc:spChg>
        <pc:spChg chg="add del mod">
          <ac:chgData name="Steiner Andreas 6206 ED" userId="e6377c33-a923-4f14-8587-531c474c7b48" providerId="ADAL" clId="{6ECD27E6-B224-41CD-B4E0-E297462320DD}" dt="2023-11-24T08:36:34.940" v="27263"/>
          <ac:spMkLst>
            <pc:docMk/>
            <pc:sldMk cId="788765567" sldId="2147473977"/>
            <ac:spMk id="184" creationId="{5B9CF4CB-9DCA-21AA-B5A6-8DE614AC2149}"/>
          </ac:spMkLst>
        </pc:spChg>
        <pc:spChg chg="add del mod">
          <ac:chgData name="Steiner Andreas 6206 ED" userId="e6377c33-a923-4f14-8587-531c474c7b48" providerId="ADAL" clId="{6ECD27E6-B224-41CD-B4E0-E297462320DD}" dt="2023-11-24T08:36:37.486" v="27418"/>
          <ac:spMkLst>
            <pc:docMk/>
            <pc:sldMk cId="788765567" sldId="2147473977"/>
            <ac:spMk id="185" creationId="{F0B3C8EE-9327-280E-44CC-5A9CB8969826}"/>
          </ac:spMkLst>
        </pc:spChg>
        <pc:spChg chg="add del mod">
          <ac:chgData name="Steiner Andreas 6206 ED" userId="e6377c33-a923-4f14-8587-531c474c7b48" providerId="ADAL" clId="{6ECD27E6-B224-41CD-B4E0-E297462320DD}" dt="2023-11-24T08:36:40.152" v="27573"/>
          <ac:spMkLst>
            <pc:docMk/>
            <pc:sldMk cId="788765567" sldId="2147473977"/>
            <ac:spMk id="186" creationId="{0211479A-BD7C-9760-5069-C26277781E70}"/>
          </ac:spMkLst>
        </pc:spChg>
        <pc:spChg chg="add del mod">
          <ac:chgData name="Steiner Andreas 6206 ED" userId="e6377c33-a923-4f14-8587-531c474c7b48" providerId="ADAL" clId="{6ECD27E6-B224-41CD-B4E0-E297462320DD}" dt="2023-11-24T08:36:42.843" v="27728"/>
          <ac:spMkLst>
            <pc:docMk/>
            <pc:sldMk cId="788765567" sldId="2147473977"/>
            <ac:spMk id="187" creationId="{A5ABB246-77B2-2A51-19BD-372F70B6DFAC}"/>
          </ac:spMkLst>
        </pc:spChg>
        <pc:spChg chg="add del mod">
          <ac:chgData name="Steiner Andreas 6206 ED" userId="e6377c33-a923-4f14-8587-531c474c7b48" providerId="ADAL" clId="{6ECD27E6-B224-41CD-B4E0-E297462320DD}" dt="2023-11-24T08:36:45.338" v="27883"/>
          <ac:spMkLst>
            <pc:docMk/>
            <pc:sldMk cId="788765567" sldId="2147473977"/>
            <ac:spMk id="188" creationId="{9F571592-B51A-0AF7-8B49-46C30E344D0F}"/>
          </ac:spMkLst>
        </pc:spChg>
        <pc:spChg chg="add del mod">
          <ac:chgData name="Steiner Andreas 6206 ED" userId="e6377c33-a923-4f14-8587-531c474c7b48" providerId="ADAL" clId="{6ECD27E6-B224-41CD-B4E0-E297462320DD}" dt="2023-11-24T08:36:47.759" v="28038"/>
          <ac:spMkLst>
            <pc:docMk/>
            <pc:sldMk cId="788765567" sldId="2147473977"/>
            <ac:spMk id="189" creationId="{F22E7432-4695-D618-0979-93ABDE1FC5E3}"/>
          </ac:spMkLst>
        </pc:spChg>
        <pc:spChg chg="add del mod">
          <ac:chgData name="Steiner Andreas 6206 ED" userId="e6377c33-a923-4f14-8587-531c474c7b48" providerId="ADAL" clId="{6ECD27E6-B224-41CD-B4E0-E297462320DD}" dt="2023-11-24T08:36:50.265" v="28193"/>
          <ac:spMkLst>
            <pc:docMk/>
            <pc:sldMk cId="788765567" sldId="2147473977"/>
            <ac:spMk id="190" creationId="{B4726415-1690-05E6-AAF1-1F57B394EDA5}"/>
          </ac:spMkLst>
        </pc:spChg>
        <pc:spChg chg="add del mod">
          <ac:chgData name="Steiner Andreas 6206 ED" userId="e6377c33-a923-4f14-8587-531c474c7b48" providerId="ADAL" clId="{6ECD27E6-B224-41CD-B4E0-E297462320DD}" dt="2023-11-24T08:36:53.314" v="28348"/>
          <ac:spMkLst>
            <pc:docMk/>
            <pc:sldMk cId="788765567" sldId="2147473977"/>
            <ac:spMk id="191" creationId="{E6E19B7B-D595-29B2-2BB7-28F31D844941}"/>
          </ac:spMkLst>
        </pc:spChg>
        <pc:spChg chg="add del mod">
          <ac:chgData name="Steiner Andreas 6206 ED" userId="e6377c33-a923-4f14-8587-531c474c7b48" providerId="ADAL" clId="{6ECD27E6-B224-41CD-B4E0-E297462320DD}" dt="2023-11-24T08:36:56.394" v="28503"/>
          <ac:spMkLst>
            <pc:docMk/>
            <pc:sldMk cId="788765567" sldId="2147473977"/>
            <ac:spMk id="192" creationId="{F86FD925-A80E-68D5-D212-1BADEC42B662}"/>
          </ac:spMkLst>
        </pc:spChg>
        <pc:spChg chg="add del mod">
          <ac:chgData name="Steiner Andreas 6206 ED" userId="e6377c33-a923-4f14-8587-531c474c7b48" providerId="ADAL" clId="{6ECD27E6-B224-41CD-B4E0-E297462320DD}" dt="2023-11-24T08:36:59.306" v="28658"/>
          <ac:spMkLst>
            <pc:docMk/>
            <pc:sldMk cId="788765567" sldId="2147473977"/>
            <ac:spMk id="193" creationId="{414455BE-3E38-B7E9-89F7-0DE8BB88EE00}"/>
          </ac:spMkLst>
        </pc:spChg>
        <pc:spChg chg="add del mod">
          <ac:chgData name="Steiner Andreas 6206 ED" userId="e6377c33-a923-4f14-8587-531c474c7b48" providerId="ADAL" clId="{6ECD27E6-B224-41CD-B4E0-E297462320DD}" dt="2023-11-24T08:37:01.927" v="28813"/>
          <ac:spMkLst>
            <pc:docMk/>
            <pc:sldMk cId="788765567" sldId="2147473977"/>
            <ac:spMk id="194" creationId="{264C9A82-6C5C-EEBD-1125-4732D56D8178}"/>
          </ac:spMkLst>
        </pc:spChg>
        <pc:spChg chg="add del mod">
          <ac:chgData name="Steiner Andreas 6206 ED" userId="e6377c33-a923-4f14-8587-531c474c7b48" providerId="ADAL" clId="{6ECD27E6-B224-41CD-B4E0-E297462320DD}" dt="2023-11-24T08:37:04.674" v="28968"/>
          <ac:spMkLst>
            <pc:docMk/>
            <pc:sldMk cId="788765567" sldId="2147473977"/>
            <ac:spMk id="195" creationId="{47991469-14CE-9A58-D14C-0F73B6E29C45}"/>
          </ac:spMkLst>
        </pc:spChg>
        <pc:spChg chg="add del mod">
          <ac:chgData name="Steiner Andreas 6206 ED" userId="e6377c33-a923-4f14-8587-531c474c7b48" providerId="ADAL" clId="{6ECD27E6-B224-41CD-B4E0-E297462320DD}" dt="2023-11-24T08:37:07.495" v="29123"/>
          <ac:spMkLst>
            <pc:docMk/>
            <pc:sldMk cId="788765567" sldId="2147473977"/>
            <ac:spMk id="196" creationId="{7E766F72-9C8A-EC50-23FB-77ED088E9F92}"/>
          </ac:spMkLst>
        </pc:spChg>
        <pc:spChg chg="add del mod">
          <ac:chgData name="Steiner Andreas 6206 ED" userId="e6377c33-a923-4f14-8587-531c474c7b48" providerId="ADAL" clId="{6ECD27E6-B224-41CD-B4E0-E297462320DD}" dt="2023-11-24T08:37:10.104" v="29278"/>
          <ac:spMkLst>
            <pc:docMk/>
            <pc:sldMk cId="788765567" sldId="2147473977"/>
            <ac:spMk id="197" creationId="{765E596B-DB9F-861B-5027-925DA68641AF}"/>
          </ac:spMkLst>
        </pc:spChg>
        <pc:spChg chg="add del mod">
          <ac:chgData name="Steiner Andreas 6206 ED" userId="e6377c33-a923-4f14-8587-531c474c7b48" providerId="ADAL" clId="{6ECD27E6-B224-41CD-B4E0-E297462320DD}" dt="2023-11-24T08:37:12.796" v="29433"/>
          <ac:spMkLst>
            <pc:docMk/>
            <pc:sldMk cId="788765567" sldId="2147473977"/>
            <ac:spMk id="198" creationId="{D97731D1-6E9C-4C64-3259-5B9D3C738F70}"/>
          </ac:spMkLst>
        </pc:spChg>
        <pc:spChg chg="add del mod">
          <ac:chgData name="Steiner Andreas 6206 ED" userId="e6377c33-a923-4f14-8587-531c474c7b48" providerId="ADAL" clId="{6ECD27E6-B224-41CD-B4E0-E297462320DD}" dt="2023-11-24T08:37:16.154" v="29588"/>
          <ac:spMkLst>
            <pc:docMk/>
            <pc:sldMk cId="788765567" sldId="2147473977"/>
            <ac:spMk id="199" creationId="{1891A51E-ED4E-BBB2-0258-96CAAB2AFC24}"/>
          </ac:spMkLst>
        </pc:spChg>
        <pc:spChg chg="add del mod">
          <ac:chgData name="Steiner Andreas 6206 ED" userId="e6377c33-a923-4f14-8587-531c474c7b48" providerId="ADAL" clId="{6ECD27E6-B224-41CD-B4E0-E297462320DD}" dt="2023-11-24T08:37:18.906" v="29743"/>
          <ac:spMkLst>
            <pc:docMk/>
            <pc:sldMk cId="788765567" sldId="2147473977"/>
            <ac:spMk id="200" creationId="{A4B88BD3-501C-9BA5-BD2B-8E1B10A5BA90}"/>
          </ac:spMkLst>
        </pc:spChg>
        <pc:spChg chg="add del mod">
          <ac:chgData name="Steiner Andreas 6206 ED" userId="e6377c33-a923-4f14-8587-531c474c7b48" providerId="ADAL" clId="{6ECD27E6-B224-41CD-B4E0-E297462320DD}" dt="2023-11-24T08:37:21.366" v="29898"/>
          <ac:spMkLst>
            <pc:docMk/>
            <pc:sldMk cId="788765567" sldId="2147473977"/>
            <ac:spMk id="201" creationId="{DD45DF3E-F252-7C85-D4AD-AA2BE28860A6}"/>
          </ac:spMkLst>
        </pc:spChg>
        <pc:spChg chg="add del mod">
          <ac:chgData name="Steiner Andreas 6206 ED" userId="e6377c33-a923-4f14-8587-531c474c7b48" providerId="ADAL" clId="{6ECD27E6-B224-41CD-B4E0-E297462320DD}" dt="2023-11-24T08:37:24.215" v="30053"/>
          <ac:spMkLst>
            <pc:docMk/>
            <pc:sldMk cId="788765567" sldId="2147473977"/>
            <ac:spMk id="202" creationId="{458A0781-F7FF-CDDC-2B16-D3D17D473307}"/>
          </ac:spMkLst>
        </pc:spChg>
        <pc:spChg chg="add del mod">
          <ac:chgData name="Steiner Andreas 6206 ED" userId="e6377c33-a923-4f14-8587-531c474c7b48" providerId="ADAL" clId="{6ECD27E6-B224-41CD-B4E0-E297462320DD}" dt="2023-11-24T08:37:26.761" v="30208"/>
          <ac:spMkLst>
            <pc:docMk/>
            <pc:sldMk cId="788765567" sldId="2147473977"/>
            <ac:spMk id="203" creationId="{6BEF1A3A-46CE-985C-8D69-E10FE4A1EABF}"/>
          </ac:spMkLst>
        </pc:spChg>
        <pc:spChg chg="add del mod">
          <ac:chgData name="Steiner Andreas 6206 ED" userId="e6377c33-a923-4f14-8587-531c474c7b48" providerId="ADAL" clId="{6ECD27E6-B224-41CD-B4E0-E297462320DD}" dt="2023-11-24T08:37:30.103" v="30363"/>
          <ac:spMkLst>
            <pc:docMk/>
            <pc:sldMk cId="788765567" sldId="2147473977"/>
            <ac:spMk id="204" creationId="{088AE689-7468-A29B-4D47-2C66C94B8A8E}"/>
          </ac:spMkLst>
        </pc:spChg>
        <pc:spChg chg="add del mod">
          <ac:chgData name="Steiner Andreas 6206 ED" userId="e6377c33-a923-4f14-8587-531c474c7b48" providerId="ADAL" clId="{6ECD27E6-B224-41CD-B4E0-E297462320DD}" dt="2023-11-24T08:37:32.926" v="30518"/>
          <ac:spMkLst>
            <pc:docMk/>
            <pc:sldMk cId="788765567" sldId="2147473977"/>
            <ac:spMk id="205" creationId="{28322471-0A53-8BA5-E883-FCC9D0602AC0}"/>
          </ac:spMkLst>
        </pc:spChg>
        <pc:spChg chg="add del mod">
          <ac:chgData name="Steiner Andreas 6206 ED" userId="e6377c33-a923-4f14-8587-531c474c7b48" providerId="ADAL" clId="{6ECD27E6-B224-41CD-B4E0-E297462320DD}" dt="2023-11-24T08:37:35.588" v="30673"/>
          <ac:spMkLst>
            <pc:docMk/>
            <pc:sldMk cId="788765567" sldId="2147473977"/>
            <ac:spMk id="206" creationId="{B28081A8-0D57-0464-5ECF-BEF95680102A}"/>
          </ac:spMkLst>
        </pc:spChg>
        <pc:spChg chg="add del mod">
          <ac:chgData name="Steiner Andreas 6206 ED" userId="e6377c33-a923-4f14-8587-531c474c7b48" providerId="ADAL" clId="{6ECD27E6-B224-41CD-B4E0-E297462320DD}" dt="2023-11-24T08:37:38.153" v="30828"/>
          <ac:spMkLst>
            <pc:docMk/>
            <pc:sldMk cId="788765567" sldId="2147473977"/>
            <ac:spMk id="207" creationId="{774A6388-F51E-D854-706A-07C3B7070284}"/>
          </ac:spMkLst>
        </pc:spChg>
        <pc:spChg chg="add del mod">
          <ac:chgData name="Steiner Andreas 6206 ED" userId="e6377c33-a923-4f14-8587-531c474c7b48" providerId="ADAL" clId="{6ECD27E6-B224-41CD-B4E0-E297462320DD}" dt="2023-11-24T08:37:42.242" v="30983"/>
          <ac:spMkLst>
            <pc:docMk/>
            <pc:sldMk cId="788765567" sldId="2147473977"/>
            <ac:spMk id="208" creationId="{FD3F1E40-8959-E838-444E-5BD102BA3121}"/>
          </ac:spMkLst>
        </pc:spChg>
        <pc:spChg chg="add del mod">
          <ac:chgData name="Steiner Andreas 6206 ED" userId="e6377c33-a923-4f14-8587-531c474c7b48" providerId="ADAL" clId="{6ECD27E6-B224-41CD-B4E0-E297462320DD}" dt="2023-11-24T08:37:45.144" v="31138"/>
          <ac:spMkLst>
            <pc:docMk/>
            <pc:sldMk cId="788765567" sldId="2147473977"/>
            <ac:spMk id="209" creationId="{D3013C6B-9238-E647-404A-E8528937F987}"/>
          </ac:spMkLst>
        </pc:spChg>
        <pc:spChg chg="add del mod">
          <ac:chgData name="Steiner Andreas 6206 ED" userId="e6377c33-a923-4f14-8587-531c474c7b48" providerId="ADAL" clId="{6ECD27E6-B224-41CD-B4E0-E297462320DD}" dt="2023-11-24T08:37:47.976" v="31293"/>
          <ac:spMkLst>
            <pc:docMk/>
            <pc:sldMk cId="788765567" sldId="2147473977"/>
            <ac:spMk id="210" creationId="{4F8C34E6-1092-51C9-6947-FD0DE6FF283F}"/>
          </ac:spMkLst>
        </pc:spChg>
        <pc:spChg chg="add del mod">
          <ac:chgData name="Steiner Andreas 6206 ED" userId="e6377c33-a923-4f14-8587-531c474c7b48" providerId="ADAL" clId="{6ECD27E6-B224-41CD-B4E0-E297462320DD}" dt="2023-11-24T08:37:50.655" v="31448"/>
          <ac:spMkLst>
            <pc:docMk/>
            <pc:sldMk cId="788765567" sldId="2147473977"/>
            <ac:spMk id="211" creationId="{E2784F18-5B89-A8E5-2FFE-1FB3CD8D7055}"/>
          </ac:spMkLst>
        </pc:spChg>
        <pc:spChg chg="add del mod">
          <ac:chgData name="Steiner Andreas 6206 ED" userId="e6377c33-a923-4f14-8587-531c474c7b48" providerId="ADAL" clId="{6ECD27E6-B224-41CD-B4E0-E297462320DD}" dt="2023-11-24T08:37:53.280" v="31603"/>
          <ac:spMkLst>
            <pc:docMk/>
            <pc:sldMk cId="788765567" sldId="2147473977"/>
            <ac:spMk id="212" creationId="{194B52C5-924F-80B4-623D-D04C3F75DDFC}"/>
          </ac:spMkLst>
        </pc:spChg>
        <pc:spChg chg="add del mod">
          <ac:chgData name="Steiner Andreas 6206 ED" userId="e6377c33-a923-4f14-8587-531c474c7b48" providerId="ADAL" clId="{6ECD27E6-B224-41CD-B4E0-E297462320DD}" dt="2023-11-24T08:37:57.407" v="31758"/>
          <ac:spMkLst>
            <pc:docMk/>
            <pc:sldMk cId="788765567" sldId="2147473977"/>
            <ac:spMk id="213" creationId="{67E78B85-A0F1-613B-0AA9-53294BD4B9CD}"/>
          </ac:spMkLst>
        </pc:spChg>
        <pc:spChg chg="add del mod">
          <ac:chgData name="Steiner Andreas 6206 ED" userId="e6377c33-a923-4f14-8587-531c474c7b48" providerId="ADAL" clId="{6ECD27E6-B224-41CD-B4E0-E297462320DD}" dt="2023-11-24T08:38:00.189" v="31913"/>
          <ac:spMkLst>
            <pc:docMk/>
            <pc:sldMk cId="788765567" sldId="2147473977"/>
            <ac:spMk id="214" creationId="{E763B3F0-6D90-449C-5EB4-36C99BF127C6}"/>
          </ac:spMkLst>
        </pc:spChg>
        <pc:spChg chg="add del mod">
          <ac:chgData name="Steiner Andreas 6206 ED" userId="e6377c33-a923-4f14-8587-531c474c7b48" providerId="ADAL" clId="{6ECD27E6-B224-41CD-B4E0-E297462320DD}" dt="2023-11-24T08:38:03.126" v="32068"/>
          <ac:spMkLst>
            <pc:docMk/>
            <pc:sldMk cId="788765567" sldId="2147473977"/>
            <ac:spMk id="215" creationId="{1A1C8E73-C0CE-39BD-2583-05EEFE0A10E8}"/>
          </ac:spMkLst>
        </pc:spChg>
        <pc:spChg chg="add del mod">
          <ac:chgData name="Steiner Andreas 6206 ED" userId="e6377c33-a923-4f14-8587-531c474c7b48" providerId="ADAL" clId="{6ECD27E6-B224-41CD-B4E0-E297462320DD}" dt="2023-11-24T08:38:06.033" v="32223"/>
          <ac:spMkLst>
            <pc:docMk/>
            <pc:sldMk cId="788765567" sldId="2147473977"/>
            <ac:spMk id="216" creationId="{8E637ECE-BA2A-A46A-CD04-C18141C1EA28}"/>
          </ac:spMkLst>
        </pc:spChg>
        <pc:spChg chg="add del mod">
          <ac:chgData name="Steiner Andreas 6206 ED" userId="e6377c33-a923-4f14-8587-531c474c7b48" providerId="ADAL" clId="{6ECD27E6-B224-41CD-B4E0-E297462320DD}" dt="2023-11-24T08:38:09.248" v="32378"/>
          <ac:spMkLst>
            <pc:docMk/>
            <pc:sldMk cId="788765567" sldId="2147473977"/>
            <ac:spMk id="217" creationId="{DCFD82B6-82A7-491A-D2BB-519786D2149E}"/>
          </ac:spMkLst>
        </pc:spChg>
        <pc:spChg chg="add del mod">
          <ac:chgData name="Steiner Andreas 6206 ED" userId="e6377c33-a923-4f14-8587-531c474c7b48" providerId="ADAL" clId="{6ECD27E6-B224-41CD-B4E0-E297462320DD}" dt="2023-11-24T08:38:11.937" v="32533"/>
          <ac:spMkLst>
            <pc:docMk/>
            <pc:sldMk cId="788765567" sldId="2147473977"/>
            <ac:spMk id="218" creationId="{B6B21282-5C26-EFB6-D9A9-A3988BC01429}"/>
          </ac:spMkLst>
        </pc:spChg>
        <pc:spChg chg="add del mod">
          <ac:chgData name="Steiner Andreas 6206 ED" userId="e6377c33-a923-4f14-8587-531c474c7b48" providerId="ADAL" clId="{6ECD27E6-B224-41CD-B4E0-E297462320DD}" dt="2023-11-24T08:38:14.554" v="32688"/>
          <ac:spMkLst>
            <pc:docMk/>
            <pc:sldMk cId="788765567" sldId="2147473977"/>
            <ac:spMk id="219" creationId="{CE97810C-4CFE-E89D-C89C-E01DFF7D2845}"/>
          </ac:spMkLst>
        </pc:spChg>
        <pc:spChg chg="add del mod">
          <ac:chgData name="Steiner Andreas 6206 ED" userId="e6377c33-a923-4f14-8587-531c474c7b48" providerId="ADAL" clId="{6ECD27E6-B224-41CD-B4E0-E297462320DD}" dt="2023-11-24T08:38:17.273" v="32843"/>
          <ac:spMkLst>
            <pc:docMk/>
            <pc:sldMk cId="788765567" sldId="2147473977"/>
            <ac:spMk id="220" creationId="{5FC9A136-4D48-2297-2DB6-91464EE47F70}"/>
          </ac:spMkLst>
        </pc:spChg>
        <pc:spChg chg="add del mod">
          <ac:chgData name="Steiner Andreas 6206 ED" userId="e6377c33-a923-4f14-8587-531c474c7b48" providerId="ADAL" clId="{6ECD27E6-B224-41CD-B4E0-E297462320DD}" dt="2023-11-24T08:38:20.263" v="32998"/>
          <ac:spMkLst>
            <pc:docMk/>
            <pc:sldMk cId="788765567" sldId="2147473977"/>
            <ac:spMk id="221" creationId="{3D244D3B-C9CC-9CF2-3180-612074E61ABB}"/>
          </ac:spMkLst>
        </pc:spChg>
        <pc:spChg chg="add del mod">
          <ac:chgData name="Steiner Andreas 6206 ED" userId="e6377c33-a923-4f14-8587-531c474c7b48" providerId="ADAL" clId="{6ECD27E6-B224-41CD-B4E0-E297462320DD}" dt="2023-11-24T08:38:23.115" v="33153"/>
          <ac:spMkLst>
            <pc:docMk/>
            <pc:sldMk cId="788765567" sldId="2147473977"/>
            <ac:spMk id="222" creationId="{88F860A9-8C4C-7E4F-85CF-051B11E2C1B8}"/>
          </ac:spMkLst>
        </pc:spChg>
        <pc:spChg chg="add del mod">
          <ac:chgData name="Steiner Andreas 6206 ED" userId="e6377c33-a923-4f14-8587-531c474c7b48" providerId="ADAL" clId="{6ECD27E6-B224-41CD-B4E0-E297462320DD}" dt="2023-11-24T08:38:25.939" v="33308"/>
          <ac:spMkLst>
            <pc:docMk/>
            <pc:sldMk cId="788765567" sldId="2147473977"/>
            <ac:spMk id="223" creationId="{30A786FB-01D6-5505-7D0F-3F27F27317D1}"/>
          </ac:spMkLst>
        </pc:spChg>
        <pc:spChg chg="add del mod">
          <ac:chgData name="Steiner Andreas 6206 ED" userId="e6377c33-a923-4f14-8587-531c474c7b48" providerId="ADAL" clId="{6ECD27E6-B224-41CD-B4E0-E297462320DD}" dt="2023-11-24T08:38:29.582" v="33463"/>
          <ac:spMkLst>
            <pc:docMk/>
            <pc:sldMk cId="788765567" sldId="2147473977"/>
            <ac:spMk id="224" creationId="{98FD3751-C2C0-C797-F0FA-948BD0914A98}"/>
          </ac:spMkLst>
        </pc:spChg>
        <pc:spChg chg="add del mod">
          <ac:chgData name="Steiner Andreas 6206 ED" userId="e6377c33-a923-4f14-8587-531c474c7b48" providerId="ADAL" clId="{6ECD27E6-B224-41CD-B4E0-E297462320DD}" dt="2023-11-24T08:38:32.674" v="33618"/>
          <ac:spMkLst>
            <pc:docMk/>
            <pc:sldMk cId="788765567" sldId="2147473977"/>
            <ac:spMk id="225" creationId="{AB718E16-C5F4-97BF-7EDB-9A596BB0EE83}"/>
          </ac:spMkLst>
        </pc:spChg>
        <pc:spChg chg="add del mod">
          <ac:chgData name="Steiner Andreas 6206 ED" userId="e6377c33-a923-4f14-8587-531c474c7b48" providerId="ADAL" clId="{6ECD27E6-B224-41CD-B4E0-E297462320DD}" dt="2023-11-24T08:38:35.310" v="33773"/>
          <ac:spMkLst>
            <pc:docMk/>
            <pc:sldMk cId="788765567" sldId="2147473977"/>
            <ac:spMk id="226" creationId="{57F61A21-32D9-B9C1-BFA0-D25DB9510504}"/>
          </ac:spMkLst>
        </pc:spChg>
        <pc:spChg chg="add del mod">
          <ac:chgData name="Steiner Andreas 6206 ED" userId="e6377c33-a923-4f14-8587-531c474c7b48" providerId="ADAL" clId="{6ECD27E6-B224-41CD-B4E0-E297462320DD}" dt="2023-11-24T08:38:37.937" v="33928"/>
          <ac:spMkLst>
            <pc:docMk/>
            <pc:sldMk cId="788765567" sldId="2147473977"/>
            <ac:spMk id="227" creationId="{6857CE71-628F-CCA9-B4CB-D703C291B849}"/>
          </ac:spMkLst>
        </pc:spChg>
        <pc:spChg chg="add del mod">
          <ac:chgData name="Steiner Andreas 6206 ED" userId="e6377c33-a923-4f14-8587-531c474c7b48" providerId="ADAL" clId="{6ECD27E6-B224-41CD-B4E0-E297462320DD}" dt="2023-11-24T08:38:40.504" v="34083"/>
          <ac:spMkLst>
            <pc:docMk/>
            <pc:sldMk cId="788765567" sldId="2147473977"/>
            <ac:spMk id="228" creationId="{6102CE4C-EC37-B44A-AEB4-528010B97A1C}"/>
          </ac:spMkLst>
        </pc:spChg>
        <pc:spChg chg="add del mod">
          <ac:chgData name="Steiner Andreas 6206 ED" userId="e6377c33-a923-4f14-8587-531c474c7b48" providerId="ADAL" clId="{6ECD27E6-B224-41CD-B4E0-E297462320DD}" dt="2023-11-24T08:38:43.021" v="34238"/>
          <ac:spMkLst>
            <pc:docMk/>
            <pc:sldMk cId="788765567" sldId="2147473977"/>
            <ac:spMk id="229" creationId="{B748F1A0-4F16-67B4-7306-8CC51DAD8616}"/>
          </ac:spMkLst>
        </pc:spChg>
        <pc:spChg chg="add del mod">
          <ac:chgData name="Steiner Andreas 6206 ED" userId="e6377c33-a923-4f14-8587-531c474c7b48" providerId="ADAL" clId="{6ECD27E6-B224-41CD-B4E0-E297462320DD}" dt="2023-11-24T08:38:47.046" v="34393"/>
          <ac:spMkLst>
            <pc:docMk/>
            <pc:sldMk cId="788765567" sldId="2147473977"/>
            <ac:spMk id="230" creationId="{BEAF33BD-80E5-DBF1-74E8-2E355A04D105}"/>
          </ac:spMkLst>
        </pc:spChg>
        <pc:spChg chg="add del mod">
          <ac:chgData name="Steiner Andreas 6206 ED" userId="e6377c33-a923-4f14-8587-531c474c7b48" providerId="ADAL" clId="{6ECD27E6-B224-41CD-B4E0-E297462320DD}" dt="2023-11-24T08:38:49.744" v="34548"/>
          <ac:spMkLst>
            <pc:docMk/>
            <pc:sldMk cId="788765567" sldId="2147473977"/>
            <ac:spMk id="231" creationId="{BC757F5F-2202-1490-64F1-7E7014AA83D9}"/>
          </ac:spMkLst>
        </pc:spChg>
        <pc:spChg chg="add del mod">
          <ac:chgData name="Steiner Andreas 6206 ED" userId="e6377c33-a923-4f14-8587-531c474c7b48" providerId="ADAL" clId="{6ECD27E6-B224-41CD-B4E0-E297462320DD}" dt="2023-11-24T08:38:52.566" v="34703"/>
          <ac:spMkLst>
            <pc:docMk/>
            <pc:sldMk cId="788765567" sldId="2147473977"/>
            <ac:spMk id="232" creationId="{09775D61-5CFF-4131-056D-9A51129A0A25}"/>
          </ac:spMkLst>
        </pc:spChg>
        <pc:spChg chg="add del mod">
          <ac:chgData name="Steiner Andreas 6206 ED" userId="e6377c33-a923-4f14-8587-531c474c7b48" providerId="ADAL" clId="{6ECD27E6-B224-41CD-B4E0-E297462320DD}" dt="2023-11-24T08:38:55.521" v="34858"/>
          <ac:spMkLst>
            <pc:docMk/>
            <pc:sldMk cId="788765567" sldId="2147473977"/>
            <ac:spMk id="233" creationId="{8B9E5832-3F34-6666-AE88-7CA677E9C7A5}"/>
          </ac:spMkLst>
        </pc:spChg>
        <pc:spChg chg="add del mod">
          <ac:chgData name="Steiner Andreas 6206 ED" userId="e6377c33-a923-4f14-8587-531c474c7b48" providerId="ADAL" clId="{6ECD27E6-B224-41CD-B4E0-E297462320DD}" dt="2023-11-24T08:38:58.753" v="35013"/>
          <ac:spMkLst>
            <pc:docMk/>
            <pc:sldMk cId="788765567" sldId="2147473977"/>
            <ac:spMk id="234" creationId="{722D4718-2BF5-EB80-0E31-78DD376E3E4F}"/>
          </ac:spMkLst>
        </pc:spChg>
        <pc:spChg chg="add del mod">
          <ac:chgData name="Steiner Andreas 6206 ED" userId="e6377c33-a923-4f14-8587-531c474c7b48" providerId="ADAL" clId="{6ECD27E6-B224-41CD-B4E0-E297462320DD}" dt="2023-11-24T08:39:02.377" v="35168"/>
          <ac:spMkLst>
            <pc:docMk/>
            <pc:sldMk cId="788765567" sldId="2147473977"/>
            <ac:spMk id="235" creationId="{1A75EF8F-A838-55B4-7E69-626C8107DA92}"/>
          </ac:spMkLst>
        </pc:spChg>
        <pc:spChg chg="add del mod">
          <ac:chgData name="Steiner Andreas 6206 ED" userId="e6377c33-a923-4f14-8587-531c474c7b48" providerId="ADAL" clId="{6ECD27E6-B224-41CD-B4E0-E297462320DD}" dt="2023-11-24T08:39:05.390" v="35323"/>
          <ac:spMkLst>
            <pc:docMk/>
            <pc:sldMk cId="788765567" sldId="2147473977"/>
            <ac:spMk id="236" creationId="{F133F04B-77B5-30DC-7BC1-81B8020FD21D}"/>
          </ac:spMkLst>
        </pc:spChg>
        <pc:spChg chg="add del mod">
          <ac:chgData name="Steiner Andreas 6206 ED" userId="e6377c33-a923-4f14-8587-531c474c7b48" providerId="ADAL" clId="{6ECD27E6-B224-41CD-B4E0-E297462320DD}" dt="2023-11-24T08:39:08.337" v="35478"/>
          <ac:spMkLst>
            <pc:docMk/>
            <pc:sldMk cId="788765567" sldId="2147473977"/>
            <ac:spMk id="237" creationId="{C353FAA8-9B9A-9FA0-FAD7-1B8AEDDE881F}"/>
          </ac:spMkLst>
        </pc:spChg>
        <pc:spChg chg="add del mod">
          <ac:chgData name="Steiner Andreas 6206 ED" userId="e6377c33-a923-4f14-8587-531c474c7b48" providerId="ADAL" clId="{6ECD27E6-B224-41CD-B4E0-E297462320DD}" dt="2023-11-24T08:39:12.886" v="35633"/>
          <ac:spMkLst>
            <pc:docMk/>
            <pc:sldMk cId="788765567" sldId="2147473977"/>
            <ac:spMk id="238" creationId="{CE8DAD3B-6939-0402-6A05-48C7A41A02BE}"/>
          </ac:spMkLst>
        </pc:spChg>
        <pc:spChg chg="add del mod">
          <ac:chgData name="Steiner Andreas 6206 ED" userId="e6377c33-a923-4f14-8587-531c474c7b48" providerId="ADAL" clId="{6ECD27E6-B224-41CD-B4E0-E297462320DD}" dt="2023-11-24T08:39:15.544" v="35788"/>
          <ac:spMkLst>
            <pc:docMk/>
            <pc:sldMk cId="788765567" sldId="2147473977"/>
            <ac:spMk id="239" creationId="{A207B33F-D32F-0B0E-A13E-ECAA8BA84E79}"/>
          </ac:spMkLst>
        </pc:spChg>
        <pc:spChg chg="add del mod">
          <ac:chgData name="Steiner Andreas 6206 ED" userId="e6377c33-a923-4f14-8587-531c474c7b48" providerId="ADAL" clId="{6ECD27E6-B224-41CD-B4E0-E297462320DD}" dt="2023-11-24T08:39:18.223" v="35943"/>
          <ac:spMkLst>
            <pc:docMk/>
            <pc:sldMk cId="788765567" sldId="2147473977"/>
            <ac:spMk id="240" creationId="{7712E57A-D94F-0383-34B7-800F4B40EA8F}"/>
          </ac:spMkLst>
        </pc:spChg>
        <pc:spChg chg="add del mod">
          <ac:chgData name="Steiner Andreas 6206 ED" userId="e6377c33-a923-4f14-8587-531c474c7b48" providerId="ADAL" clId="{6ECD27E6-B224-41CD-B4E0-E297462320DD}" dt="2023-11-24T08:39:20.842" v="36098"/>
          <ac:spMkLst>
            <pc:docMk/>
            <pc:sldMk cId="788765567" sldId="2147473977"/>
            <ac:spMk id="241" creationId="{8538D1EB-E601-CBAF-7C1D-1EDC1E481B97}"/>
          </ac:spMkLst>
        </pc:spChg>
        <pc:spChg chg="add del mod">
          <ac:chgData name="Steiner Andreas 6206 ED" userId="e6377c33-a923-4f14-8587-531c474c7b48" providerId="ADAL" clId="{6ECD27E6-B224-41CD-B4E0-E297462320DD}" dt="2023-11-24T08:39:24.015" v="36253"/>
          <ac:spMkLst>
            <pc:docMk/>
            <pc:sldMk cId="788765567" sldId="2147473977"/>
            <ac:spMk id="242" creationId="{3D2C78AC-E0F5-816A-B30B-CE8A55810E34}"/>
          </ac:spMkLst>
        </pc:spChg>
        <pc:spChg chg="add del mod">
          <ac:chgData name="Steiner Andreas 6206 ED" userId="e6377c33-a923-4f14-8587-531c474c7b48" providerId="ADAL" clId="{6ECD27E6-B224-41CD-B4E0-E297462320DD}" dt="2023-11-24T08:39:26.721" v="36408"/>
          <ac:spMkLst>
            <pc:docMk/>
            <pc:sldMk cId="788765567" sldId="2147473977"/>
            <ac:spMk id="243" creationId="{6142044D-0B38-7E00-41E6-5E5395EA25A7}"/>
          </ac:spMkLst>
        </pc:spChg>
        <pc:spChg chg="add del mod">
          <ac:chgData name="Steiner Andreas 6206 ED" userId="e6377c33-a923-4f14-8587-531c474c7b48" providerId="ADAL" clId="{6ECD27E6-B224-41CD-B4E0-E297462320DD}" dt="2023-11-24T08:39:29.494" v="36563"/>
          <ac:spMkLst>
            <pc:docMk/>
            <pc:sldMk cId="788765567" sldId="2147473977"/>
            <ac:spMk id="244" creationId="{FCFF8D97-D140-3758-A074-FC2BA294315C}"/>
          </ac:spMkLst>
        </pc:spChg>
        <pc:spChg chg="add del mod">
          <ac:chgData name="Steiner Andreas 6206 ED" userId="e6377c33-a923-4f14-8587-531c474c7b48" providerId="ADAL" clId="{6ECD27E6-B224-41CD-B4E0-E297462320DD}" dt="2023-11-24T08:39:32.058" v="36718"/>
          <ac:spMkLst>
            <pc:docMk/>
            <pc:sldMk cId="788765567" sldId="2147473977"/>
            <ac:spMk id="245" creationId="{9665085B-06DA-BCB7-6DCB-C98E9E6E30E1}"/>
          </ac:spMkLst>
        </pc:spChg>
        <pc:spChg chg="add del mod">
          <ac:chgData name="Steiner Andreas 6206 ED" userId="e6377c33-a923-4f14-8587-531c474c7b48" providerId="ADAL" clId="{6ECD27E6-B224-41CD-B4E0-E297462320DD}" dt="2023-11-24T08:39:34.564" v="36873"/>
          <ac:spMkLst>
            <pc:docMk/>
            <pc:sldMk cId="788765567" sldId="2147473977"/>
            <ac:spMk id="246" creationId="{7B50928C-EE72-7F73-3278-ACEF55002EBC}"/>
          </ac:spMkLst>
        </pc:spChg>
        <pc:spChg chg="add del mod">
          <ac:chgData name="Steiner Andreas 6206 ED" userId="e6377c33-a923-4f14-8587-531c474c7b48" providerId="ADAL" clId="{6ECD27E6-B224-41CD-B4E0-E297462320DD}" dt="2023-11-24T08:39:37.490" v="37028"/>
          <ac:spMkLst>
            <pc:docMk/>
            <pc:sldMk cId="788765567" sldId="2147473977"/>
            <ac:spMk id="247" creationId="{7114E078-07A6-A335-7C34-D09F6B813DA9}"/>
          </ac:spMkLst>
        </pc:spChg>
        <pc:spChg chg="add del mod">
          <ac:chgData name="Steiner Andreas 6206 ED" userId="e6377c33-a923-4f14-8587-531c474c7b48" providerId="ADAL" clId="{6ECD27E6-B224-41CD-B4E0-E297462320DD}" dt="2023-11-24T08:39:40.116" v="37183"/>
          <ac:spMkLst>
            <pc:docMk/>
            <pc:sldMk cId="788765567" sldId="2147473977"/>
            <ac:spMk id="248" creationId="{959CFD02-2B5F-B5BC-7012-1B298DAB0670}"/>
          </ac:spMkLst>
        </pc:spChg>
        <pc:spChg chg="add del mod">
          <ac:chgData name="Steiner Andreas 6206 ED" userId="e6377c33-a923-4f14-8587-531c474c7b48" providerId="ADAL" clId="{6ECD27E6-B224-41CD-B4E0-E297462320DD}" dt="2023-11-24T08:39:42.559" v="37338"/>
          <ac:spMkLst>
            <pc:docMk/>
            <pc:sldMk cId="788765567" sldId="2147473977"/>
            <ac:spMk id="249" creationId="{D745E307-5C3A-C2F9-A537-97F36B459D80}"/>
          </ac:spMkLst>
        </pc:spChg>
        <pc:spChg chg="add del mod">
          <ac:chgData name="Steiner Andreas 6206 ED" userId="e6377c33-a923-4f14-8587-531c474c7b48" providerId="ADAL" clId="{6ECD27E6-B224-41CD-B4E0-E297462320DD}" dt="2023-11-24T08:39:45.119" v="37493"/>
          <ac:spMkLst>
            <pc:docMk/>
            <pc:sldMk cId="788765567" sldId="2147473977"/>
            <ac:spMk id="250" creationId="{32438B73-DEC3-73AF-8763-1D8943E8BE5A}"/>
          </ac:spMkLst>
        </pc:spChg>
        <pc:spChg chg="add del mod">
          <ac:chgData name="Steiner Andreas 6206 ED" userId="e6377c33-a923-4f14-8587-531c474c7b48" providerId="ADAL" clId="{6ECD27E6-B224-41CD-B4E0-E297462320DD}" dt="2023-11-24T08:39:48.151" v="37648"/>
          <ac:spMkLst>
            <pc:docMk/>
            <pc:sldMk cId="788765567" sldId="2147473977"/>
            <ac:spMk id="251" creationId="{C8149FFD-9E73-BA7C-6017-09069E5D11CC}"/>
          </ac:spMkLst>
        </pc:spChg>
        <pc:spChg chg="add del mod">
          <ac:chgData name="Steiner Andreas 6206 ED" userId="e6377c33-a923-4f14-8587-531c474c7b48" providerId="ADAL" clId="{6ECD27E6-B224-41CD-B4E0-E297462320DD}" dt="2023-11-24T08:39:50.859" v="37803"/>
          <ac:spMkLst>
            <pc:docMk/>
            <pc:sldMk cId="788765567" sldId="2147473977"/>
            <ac:spMk id="252" creationId="{7B06F8C1-219A-D706-E7B3-8AC001B966B2}"/>
          </ac:spMkLst>
        </pc:spChg>
        <pc:spChg chg="add del mod">
          <ac:chgData name="Steiner Andreas 6206 ED" userId="e6377c33-a923-4f14-8587-531c474c7b48" providerId="ADAL" clId="{6ECD27E6-B224-41CD-B4E0-E297462320DD}" dt="2023-11-24T08:39:53.509" v="37958"/>
          <ac:spMkLst>
            <pc:docMk/>
            <pc:sldMk cId="788765567" sldId="2147473977"/>
            <ac:spMk id="253" creationId="{D76B98FB-F7B7-5AF0-84FE-066BBD0A9A61}"/>
          </ac:spMkLst>
        </pc:spChg>
        <pc:spChg chg="add del mod">
          <ac:chgData name="Steiner Andreas 6206 ED" userId="e6377c33-a923-4f14-8587-531c474c7b48" providerId="ADAL" clId="{6ECD27E6-B224-41CD-B4E0-E297462320DD}" dt="2023-11-24T08:39:56.440" v="38113"/>
          <ac:spMkLst>
            <pc:docMk/>
            <pc:sldMk cId="788765567" sldId="2147473977"/>
            <ac:spMk id="254" creationId="{0DC4D2B2-75F3-028C-BBD2-AC1FE242D245}"/>
          </ac:spMkLst>
        </pc:spChg>
        <pc:spChg chg="add del mod">
          <ac:chgData name="Steiner Andreas 6206 ED" userId="e6377c33-a923-4f14-8587-531c474c7b48" providerId="ADAL" clId="{6ECD27E6-B224-41CD-B4E0-E297462320DD}" dt="2023-11-24T08:39:59.708" v="38268"/>
          <ac:spMkLst>
            <pc:docMk/>
            <pc:sldMk cId="788765567" sldId="2147473977"/>
            <ac:spMk id="255" creationId="{EEE9C29A-905B-E248-B6A5-D07DFD3F5DA6}"/>
          </ac:spMkLst>
        </pc:spChg>
        <pc:spChg chg="add del mod">
          <ac:chgData name="Steiner Andreas 6206 ED" userId="e6377c33-a923-4f14-8587-531c474c7b48" providerId="ADAL" clId="{6ECD27E6-B224-41CD-B4E0-E297462320DD}" dt="2023-11-24T08:40:02.890" v="38423"/>
          <ac:spMkLst>
            <pc:docMk/>
            <pc:sldMk cId="788765567" sldId="2147473977"/>
            <ac:spMk id="256" creationId="{0FA2FF92-A737-A380-1455-B6275247A95A}"/>
          </ac:spMkLst>
        </pc:spChg>
        <pc:spChg chg="add del mod">
          <ac:chgData name="Steiner Andreas 6206 ED" userId="e6377c33-a923-4f14-8587-531c474c7b48" providerId="ADAL" clId="{6ECD27E6-B224-41CD-B4E0-E297462320DD}" dt="2023-11-24T08:40:05.635" v="38578"/>
          <ac:spMkLst>
            <pc:docMk/>
            <pc:sldMk cId="788765567" sldId="2147473977"/>
            <ac:spMk id="257" creationId="{4E50D8BD-0C6D-F934-A1AD-7075603A2184}"/>
          </ac:spMkLst>
        </pc:spChg>
        <pc:spChg chg="add del mod">
          <ac:chgData name="Steiner Andreas 6206 ED" userId="e6377c33-a923-4f14-8587-531c474c7b48" providerId="ADAL" clId="{6ECD27E6-B224-41CD-B4E0-E297462320DD}" dt="2023-11-24T08:40:08.182" v="38733"/>
          <ac:spMkLst>
            <pc:docMk/>
            <pc:sldMk cId="788765567" sldId="2147473977"/>
            <ac:spMk id="258" creationId="{0DEF7BBA-C105-F8C2-A153-F25ABA220192}"/>
          </ac:spMkLst>
        </pc:spChg>
        <pc:spChg chg="add del mod">
          <ac:chgData name="Steiner Andreas 6206 ED" userId="e6377c33-a923-4f14-8587-531c474c7b48" providerId="ADAL" clId="{6ECD27E6-B224-41CD-B4E0-E297462320DD}" dt="2023-11-24T08:40:10.898" v="38888"/>
          <ac:spMkLst>
            <pc:docMk/>
            <pc:sldMk cId="788765567" sldId="2147473977"/>
            <ac:spMk id="259" creationId="{4EC47BF9-E576-0B17-F77B-E4D99A46C37F}"/>
          </ac:spMkLst>
        </pc:spChg>
        <pc:spChg chg="add del mod">
          <ac:chgData name="Steiner Andreas 6206 ED" userId="e6377c33-a923-4f14-8587-531c474c7b48" providerId="ADAL" clId="{6ECD27E6-B224-41CD-B4E0-E297462320DD}" dt="2023-11-24T08:40:14.112" v="39043"/>
          <ac:spMkLst>
            <pc:docMk/>
            <pc:sldMk cId="788765567" sldId="2147473977"/>
            <ac:spMk id="260" creationId="{A2C0B11A-2027-DF50-12CF-A6AE7ACA99F8}"/>
          </ac:spMkLst>
        </pc:spChg>
        <pc:spChg chg="add del mod">
          <ac:chgData name="Steiner Andreas 6206 ED" userId="e6377c33-a923-4f14-8587-531c474c7b48" providerId="ADAL" clId="{6ECD27E6-B224-41CD-B4E0-E297462320DD}" dt="2023-11-24T08:40:16.767" v="39198"/>
          <ac:spMkLst>
            <pc:docMk/>
            <pc:sldMk cId="788765567" sldId="2147473977"/>
            <ac:spMk id="261" creationId="{48E32C39-8642-7143-9920-ADB1521BC3E7}"/>
          </ac:spMkLst>
        </pc:spChg>
        <pc:spChg chg="add del mod">
          <ac:chgData name="Steiner Andreas 6206 ED" userId="e6377c33-a923-4f14-8587-531c474c7b48" providerId="ADAL" clId="{6ECD27E6-B224-41CD-B4E0-E297462320DD}" dt="2023-11-24T08:40:19.255" v="39353"/>
          <ac:spMkLst>
            <pc:docMk/>
            <pc:sldMk cId="788765567" sldId="2147473977"/>
            <ac:spMk id="262" creationId="{FDC3CA16-CA36-2173-2AD3-7F35656AFB6C}"/>
          </ac:spMkLst>
        </pc:spChg>
        <pc:spChg chg="add del mod">
          <ac:chgData name="Steiner Andreas 6206 ED" userId="e6377c33-a923-4f14-8587-531c474c7b48" providerId="ADAL" clId="{6ECD27E6-B224-41CD-B4E0-E297462320DD}" dt="2023-11-24T08:40:21.689" v="39508"/>
          <ac:spMkLst>
            <pc:docMk/>
            <pc:sldMk cId="788765567" sldId="2147473977"/>
            <ac:spMk id="263" creationId="{A891E9C9-7B6F-A4F5-B41D-A9020F50B44C}"/>
          </ac:spMkLst>
        </pc:spChg>
        <pc:spChg chg="add del mod">
          <ac:chgData name="Steiner Andreas 6206 ED" userId="e6377c33-a923-4f14-8587-531c474c7b48" providerId="ADAL" clId="{6ECD27E6-B224-41CD-B4E0-E297462320DD}" dt="2023-11-24T08:40:24.482" v="39663"/>
          <ac:spMkLst>
            <pc:docMk/>
            <pc:sldMk cId="788765567" sldId="2147473977"/>
            <ac:spMk id="264" creationId="{418BA5D7-3E5E-73E5-2570-FD13DD6441B7}"/>
          </ac:spMkLst>
        </pc:spChg>
        <pc:spChg chg="add del mod">
          <ac:chgData name="Steiner Andreas 6206 ED" userId="e6377c33-a923-4f14-8587-531c474c7b48" providerId="ADAL" clId="{6ECD27E6-B224-41CD-B4E0-E297462320DD}" dt="2023-11-24T08:40:27.428" v="39818"/>
          <ac:spMkLst>
            <pc:docMk/>
            <pc:sldMk cId="788765567" sldId="2147473977"/>
            <ac:spMk id="265" creationId="{93A38705-C09E-194C-56C7-41C71E6E2F3C}"/>
          </ac:spMkLst>
        </pc:spChg>
        <pc:spChg chg="add del mod">
          <ac:chgData name="Steiner Andreas 6206 ED" userId="e6377c33-a923-4f14-8587-531c474c7b48" providerId="ADAL" clId="{6ECD27E6-B224-41CD-B4E0-E297462320DD}" dt="2023-11-24T08:40:29.945" v="39973"/>
          <ac:spMkLst>
            <pc:docMk/>
            <pc:sldMk cId="788765567" sldId="2147473977"/>
            <ac:spMk id="266" creationId="{666D881B-2708-8BA7-B2B1-5EBFF2458A28}"/>
          </ac:spMkLst>
        </pc:spChg>
        <pc:spChg chg="add del mod">
          <ac:chgData name="Steiner Andreas 6206 ED" userId="e6377c33-a923-4f14-8587-531c474c7b48" providerId="ADAL" clId="{6ECD27E6-B224-41CD-B4E0-E297462320DD}" dt="2023-11-24T08:40:32.615" v="40128"/>
          <ac:spMkLst>
            <pc:docMk/>
            <pc:sldMk cId="788765567" sldId="2147473977"/>
            <ac:spMk id="267" creationId="{29041940-884F-A4B8-9486-58C26DAF59FF}"/>
          </ac:spMkLst>
        </pc:spChg>
        <pc:spChg chg="add del mod">
          <ac:chgData name="Steiner Andreas 6206 ED" userId="e6377c33-a923-4f14-8587-531c474c7b48" providerId="ADAL" clId="{6ECD27E6-B224-41CD-B4E0-E297462320DD}" dt="2023-11-24T08:40:35.081" v="40283"/>
          <ac:spMkLst>
            <pc:docMk/>
            <pc:sldMk cId="788765567" sldId="2147473977"/>
            <ac:spMk id="268" creationId="{CA4C0121-D8C8-A573-235B-0CEA51840415}"/>
          </ac:spMkLst>
        </pc:spChg>
        <pc:spChg chg="add del mod">
          <ac:chgData name="Steiner Andreas 6206 ED" userId="e6377c33-a923-4f14-8587-531c474c7b48" providerId="ADAL" clId="{6ECD27E6-B224-41CD-B4E0-E297462320DD}" dt="2023-11-24T08:40:38.517" v="40438"/>
          <ac:spMkLst>
            <pc:docMk/>
            <pc:sldMk cId="788765567" sldId="2147473977"/>
            <ac:spMk id="269" creationId="{2B39FBC8-3C08-71CF-9EAE-FBA2ED0EADD2}"/>
          </ac:spMkLst>
        </pc:spChg>
        <pc:spChg chg="add del mod">
          <ac:chgData name="Steiner Andreas 6206 ED" userId="e6377c33-a923-4f14-8587-531c474c7b48" providerId="ADAL" clId="{6ECD27E6-B224-41CD-B4E0-E297462320DD}" dt="2023-11-24T08:40:41.230" v="40593"/>
          <ac:spMkLst>
            <pc:docMk/>
            <pc:sldMk cId="788765567" sldId="2147473977"/>
            <ac:spMk id="270" creationId="{3BB29F41-3588-30DA-4684-9EE9EA245F72}"/>
          </ac:spMkLst>
        </pc:spChg>
        <pc:spChg chg="add del mod">
          <ac:chgData name="Steiner Andreas 6206 ED" userId="e6377c33-a923-4f14-8587-531c474c7b48" providerId="ADAL" clId="{6ECD27E6-B224-41CD-B4E0-E297462320DD}" dt="2023-11-24T08:40:43.985" v="40748"/>
          <ac:spMkLst>
            <pc:docMk/>
            <pc:sldMk cId="788765567" sldId="2147473977"/>
            <ac:spMk id="271" creationId="{82973630-A5E4-A89B-28DA-D17922F84EC9}"/>
          </ac:spMkLst>
        </pc:spChg>
        <pc:spChg chg="add del mod">
          <ac:chgData name="Steiner Andreas 6206 ED" userId="e6377c33-a923-4f14-8587-531c474c7b48" providerId="ADAL" clId="{6ECD27E6-B224-41CD-B4E0-E297462320DD}" dt="2023-11-24T08:40:46.440" v="40903"/>
          <ac:spMkLst>
            <pc:docMk/>
            <pc:sldMk cId="788765567" sldId="2147473977"/>
            <ac:spMk id="272" creationId="{BBCC781F-DD40-ED79-CC0D-78B6EAF76D37}"/>
          </ac:spMkLst>
        </pc:spChg>
        <pc:spChg chg="add del mod">
          <ac:chgData name="Steiner Andreas 6206 ED" userId="e6377c33-a923-4f14-8587-531c474c7b48" providerId="ADAL" clId="{6ECD27E6-B224-41CD-B4E0-E297462320DD}" dt="2023-11-24T08:40:49.347" v="41058"/>
          <ac:spMkLst>
            <pc:docMk/>
            <pc:sldMk cId="788765567" sldId="2147473977"/>
            <ac:spMk id="273" creationId="{8E1C34DA-9E88-DA86-EFBD-035981071DB0}"/>
          </ac:spMkLst>
        </pc:spChg>
        <pc:spChg chg="add del mod">
          <ac:chgData name="Steiner Andreas 6206 ED" userId="e6377c33-a923-4f14-8587-531c474c7b48" providerId="ADAL" clId="{6ECD27E6-B224-41CD-B4E0-E297462320DD}" dt="2023-11-24T08:40:52.105" v="41213"/>
          <ac:spMkLst>
            <pc:docMk/>
            <pc:sldMk cId="788765567" sldId="2147473977"/>
            <ac:spMk id="274" creationId="{F67CBE3A-7950-B0D0-54F1-B5390B7CE19A}"/>
          </ac:spMkLst>
        </pc:spChg>
        <pc:spChg chg="add del mod">
          <ac:chgData name="Steiner Andreas 6206 ED" userId="e6377c33-a923-4f14-8587-531c474c7b48" providerId="ADAL" clId="{6ECD27E6-B224-41CD-B4E0-E297462320DD}" dt="2023-11-24T08:40:54.618" v="41368"/>
          <ac:spMkLst>
            <pc:docMk/>
            <pc:sldMk cId="788765567" sldId="2147473977"/>
            <ac:spMk id="275" creationId="{1048B9C2-2E37-2DC5-036B-AB835B6084F6}"/>
          </ac:spMkLst>
        </pc:spChg>
        <pc:spChg chg="add del mod">
          <ac:chgData name="Steiner Andreas 6206 ED" userId="e6377c33-a923-4f14-8587-531c474c7b48" providerId="ADAL" clId="{6ECD27E6-B224-41CD-B4E0-E297462320DD}" dt="2023-11-24T08:40:57.076" v="41523"/>
          <ac:spMkLst>
            <pc:docMk/>
            <pc:sldMk cId="788765567" sldId="2147473977"/>
            <ac:spMk id="276" creationId="{F9FC0E61-6E6B-AFBB-C18F-AE30A6A3DDD0}"/>
          </ac:spMkLst>
        </pc:spChg>
        <pc:spChg chg="add del mod">
          <ac:chgData name="Steiner Andreas 6206 ED" userId="e6377c33-a923-4f14-8587-531c474c7b48" providerId="ADAL" clId="{6ECD27E6-B224-41CD-B4E0-E297462320DD}" dt="2023-11-24T08:40:59.798" v="41678"/>
          <ac:spMkLst>
            <pc:docMk/>
            <pc:sldMk cId="788765567" sldId="2147473977"/>
            <ac:spMk id="277" creationId="{EBED9BA1-B9B3-D9E1-F9B5-2707CC7AAA61}"/>
          </ac:spMkLst>
        </pc:spChg>
        <pc:spChg chg="add del mod">
          <ac:chgData name="Steiner Andreas 6206 ED" userId="e6377c33-a923-4f14-8587-531c474c7b48" providerId="ADAL" clId="{6ECD27E6-B224-41CD-B4E0-E297462320DD}" dt="2023-11-24T08:41:02.807" v="41833"/>
          <ac:spMkLst>
            <pc:docMk/>
            <pc:sldMk cId="788765567" sldId="2147473977"/>
            <ac:spMk id="278" creationId="{A07FEEED-B48A-3013-55D1-18D09A3E6CB5}"/>
          </ac:spMkLst>
        </pc:spChg>
        <pc:spChg chg="add del mod">
          <ac:chgData name="Steiner Andreas 6206 ED" userId="e6377c33-a923-4f14-8587-531c474c7b48" providerId="ADAL" clId="{6ECD27E6-B224-41CD-B4E0-E297462320DD}" dt="2023-11-24T08:41:05.530" v="41988"/>
          <ac:spMkLst>
            <pc:docMk/>
            <pc:sldMk cId="788765567" sldId="2147473977"/>
            <ac:spMk id="279" creationId="{6017B435-7E94-D683-2742-8AB2FD08A927}"/>
          </ac:spMkLst>
        </pc:spChg>
        <pc:spChg chg="add del mod">
          <ac:chgData name="Steiner Andreas 6206 ED" userId="e6377c33-a923-4f14-8587-531c474c7b48" providerId="ADAL" clId="{6ECD27E6-B224-41CD-B4E0-E297462320DD}" dt="2023-11-24T08:41:09.104" v="42143"/>
          <ac:spMkLst>
            <pc:docMk/>
            <pc:sldMk cId="788765567" sldId="2147473977"/>
            <ac:spMk id="280" creationId="{FAC20D7D-25BF-E893-2444-3A240FBFA4CC}"/>
          </ac:spMkLst>
        </pc:spChg>
        <pc:spChg chg="add del mod">
          <ac:chgData name="Steiner Andreas 6206 ED" userId="e6377c33-a923-4f14-8587-531c474c7b48" providerId="ADAL" clId="{6ECD27E6-B224-41CD-B4E0-E297462320DD}" dt="2023-11-24T08:41:12.720" v="42298"/>
          <ac:spMkLst>
            <pc:docMk/>
            <pc:sldMk cId="788765567" sldId="2147473977"/>
            <ac:spMk id="281" creationId="{A8939DA7-171A-99B1-0FE7-114B98E05076}"/>
          </ac:spMkLst>
        </pc:spChg>
        <pc:spChg chg="add del mod">
          <ac:chgData name="Steiner Andreas 6206 ED" userId="e6377c33-a923-4f14-8587-531c474c7b48" providerId="ADAL" clId="{6ECD27E6-B224-41CD-B4E0-E297462320DD}" dt="2023-11-24T08:41:15.468" v="42453"/>
          <ac:spMkLst>
            <pc:docMk/>
            <pc:sldMk cId="788765567" sldId="2147473977"/>
            <ac:spMk id="282" creationId="{79C8765D-4BED-3375-697C-E218C8B09D33}"/>
          </ac:spMkLst>
        </pc:spChg>
        <pc:spChg chg="add del mod">
          <ac:chgData name="Steiner Andreas 6206 ED" userId="e6377c33-a923-4f14-8587-531c474c7b48" providerId="ADAL" clId="{6ECD27E6-B224-41CD-B4E0-E297462320DD}" dt="2023-11-24T08:41:17.653" v="42608"/>
          <ac:spMkLst>
            <pc:docMk/>
            <pc:sldMk cId="788765567" sldId="2147473977"/>
            <ac:spMk id="283" creationId="{0D7195AC-F75B-8D4A-C595-F6AEB7C1F197}"/>
          </ac:spMkLst>
        </pc:spChg>
        <pc:spChg chg="add del mod">
          <ac:chgData name="Steiner Andreas 6206 ED" userId="e6377c33-a923-4f14-8587-531c474c7b48" providerId="ADAL" clId="{6ECD27E6-B224-41CD-B4E0-E297462320DD}" dt="2023-11-24T08:41:19.991" v="42763"/>
          <ac:spMkLst>
            <pc:docMk/>
            <pc:sldMk cId="788765567" sldId="2147473977"/>
            <ac:spMk id="284" creationId="{1FEF5001-4F65-DA58-70D3-81BFB5A11203}"/>
          </ac:spMkLst>
        </pc:spChg>
        <pc:spChg chg="add del mod">
          <ac:chgData name="Steiner Andreas 6206 ED" userId="e6377c33-a923-4f14-8587-531c474c7b48" providerId="ADAL" clId="{6ECD27E6-B224-41CD-B4E0-E297462320DD}" dt="2023-11-24T08:41:22.332" v="42918"/>
          <ac:spMkLst>
            <pc:docMk/>
            <pc:sldMk cId="788765567" sldId="2147473977"/>
            <ac:spMk id="285" creationId="{7040DF41-39B5-C6F6-FACC-276DDB10F3CD}"/>
          </ac:spMkLst>
        </pc:spChg>
        <pc:spChg chg="add del mod">
          <ac:chgData name="Steiner Andreas 6206 ED" userId="e6377c33-a923-4f14-8587-531c474c7b48" providerId="ADAL" clId="{6ECD27E6-B224-41CD-B4E0-E297462320DD}" dt="2023-11-24T08:41:24.449" v="43073"/>
          <ac:spMkLst>
            <pc:docMk/>
            <pc:sldMk cId="788765567" sldId="2147473977"/>
            <ac:spMk id="286" creationId="{E5F2D2DA-F861-EB10-4B42-E4248AC18CD3}"/>
          </ac:spMkLst>
        </pc:spChg>
        <pc:spChg chg="add del mod">
          <ac:chgData name="Steiner Andreas 6206 ED" userId="e6377c33-a923-4f14-8587-531c474c7b48" providerId="ADAL" clId="{6ECD27E6-B224-41CD-B4E0-E297462320DD}" dt="2023-11-24T08:41:27.010" v="43228"/>
          <ac:spMkLst>
            <pc:docMk/>
            <pc:sldMk cId="788765567" sldId="2147473977"/>
            <ac:spMk id="287" creationId="{2E0C2AC3-D5A9-B162-6F5C-2C2C4393CA31}"/>
          </ac:spMkLst>
        </pc:spChg>
        <pc:spChg chg="add del mod">
          <ac:chgData name="Steiner Andreas 6206 ED" userId="e6377c33-a923-4f14-8587-531c474c7b48" providerId="ADAL" clId="{6ECD27E6-B224-41CD-B4E0-E297462320DD}" dt="2023-11-24T08:41:29.085" v="43383"/>
          <ac:spMkLst>
            <pc:docMk/>
            <pc:sldMk cId="788765567" sldId="2147473977"/>
            <ac:spMk id="288" creationId="{1B94C6C1-D22F-B4A2-BA36-EC7C6A4FD9F9}"/>
          </ac:spMkLst>
        </pc:spChg>
        <pc:spChg chg="add del mod">
          <ac:chgData name="Steiner Andreas 6206 ED" userId="e6377c33-a923-4f14-8587-531c474c7b48" providerId="ADAL" clId="{6ECD27E6-B224-41CD-B4E0-E297462320DD}" dt="2023-11-24T08:41:31.433" v="43538"/>
          <ac:spMkLst>
            <pc:docMk/>
            <pc:sldMk cId="788765567" sldId="2147473977"/>
            <ac:spMk id="289" creationId="{61F3E5ED-672F-2F45-0422-2CEA660EF226}"/>
          </ac:spMkLst>
        </pc:spChg>
        <pc:spChg chg="add del mod">
          <ac:chgData name="Steiner Andreas 6206 ED" userId="e6377c33-a923-4f14-8587-531c474c7b48" providerId="ADAL" clId="{6ECD27E6-B224-41CD-B4E0-E297462320DD}" dt="2023-11-24T08:41:35.759" v="43693"/>
          <ac:spMkLst>
            <pc:docMk/>
            <pc:sldMk cId="788765567" sldId="2147473977"/>
            <ac:spMk id="290" creationId="{1E77A21A-BB2C-A25E-9EB9-DEEDB3D5444A}"/>
          </ac:spMkLst>
        </pc:spChg>
        <pc:spChg chg="add del mod">
          <ac:chgData name="Steiner Andreas 6206 ED" userId="e6377c33-a923-4f14-8587-531c474c7b48" providerId="ADAL" clId="{6ECD27E6-B224-41CD-B4E0-E297462320DD}" dt="2023-11-24T08:41:38.779" v="43848"/>
          <ac:spMkLst>
            <pc:docMk/>
            <pc:sldMk cId="788765567" sldId="2147473977"/>
            <ac:spMk id="291" creationId="{12211339-9ADF-1541-419A-B3800FE79F39}"/>
          </ac:spMkLst>
        </pc:spChg>
        <pc:spChg chg="add del mod">
          <ac:chgData name="Steiner Andreas 6206 ED" userId="e6377c33-a923-4f14-8587-531c474c7b48" providerId="ADAL" clId="{6ECD27E6-B224-41CD-B4E0-E297462320DD}" dt="2023-11-24T08:41:40.947" v="44003"/>
          <ac:spMkLst>
            <pc:docMk/>
            <pc:sldMk cId="788765567" sldId="2147473977"/>
            <ac:spMk id="292" creationId="{B4E7D3EE-C1F1-B5C8-0B5C-DB901260E07E}"/>
          </ac:spMkLst>
        </pc:spChg>
        <pc:spChg chg="add del mod">
          <ac:chgData name="Steiner Andreas 6206 ED" userId="e6377c33-a923-4f14-8587-531c474c7b48" providerId="ADAL" clId="{6ECD27E6-B224-41CD-B4E0-E297462320DD}" dt="2023-11-24T08:41:43.348" v="44158"/>
          <ac:spMkLst>
            <pc:docMk/>
            <pc:sldMk cId="788765567" sldId="2147473977"/>
            <ac:spMk id="293" creationId="{F04FF1A0-6D8D-02E3-C370-7EFC4764114F}"/>
          </ac:spMkLst>
        </pc:spChg>
        <pc:spChg chg="add del mod">
          <ac:chgData name="Steiner Andreas 6206 ED" userId="e6377c33-a923-4f14-8587-531c474c7b48" providerId="ADAL" clId="{6ECD27E6-B224-41CD-B4E0-E297462320DD}" dt="2023-11-24T08:41:45.242" v="44313"/>
          <ac:spMkLst>
            <pc:docMk/>
            <pc:sldMk cId="788765567" sldId="2147473977"/>
            <ac:spMk id="294" creationId="{AF3916A3-B515-A23D-D839-BDF5C6448C41}"/>
          </ac:spMkLst>
        </pc:spChg>
        <pc:spChg chg="add del mod">
          <ac:chgData name="Steiner Andreas 6206 ED" userId="e6377c33-a923-4f14-8587-531c474c7b48" providerId="ADAL" clId="{6ECD27E6-B224-41CD-B4E0-E297462320DD}" dt="2023-11-24T08:41:47.176" v="44468"/>
          <ac:spMkLst>
            <pc:docMk/>
            <pc:sldMk cId="788765567" sldId="2147473977"/>
            <ac:spMk id="295" creationId="{21530C8A-1CD6-8B5E-CA4E-7FB4779F48F3}"/>
          </ac:spMkLst>
        </pc:spChg>
        <pc:spChg chg="add del mod">
          <ac:chgData name="Steiner Andreas 6206 ED" userId="e6377c33-a923-4f14-8587-531c474c7b48" providerId="ADAL" clId="{6ECD27E6-B224-41CD-B4E0-E297462320DD}" dt="2023-11-24T08:41:49.194" v="44623"/>
          <ac:spMkLst>
            <pc:docMk/>
            <pc:sldMk cId="788765567" sldId="2147473977"/>
            <ac:spMk id="296" creationId="{B8F22220-253F-327B-3C4D-9464BD3E604C}"/>
          </ac:spMkLst>
        </pc:spChg>
        <pc:spChg chg="add del mod">
          <ac:chgData name="Steiner Andreas 6206 ED" userId="e6377c33-a923-4f14-8587-531c474c7b48" providerId="ADAL" clId="{6ECD27E6-B224-41CD-B4E0-E297462320DD}" dt="2023-11-24T08:41:51.054" v="44778"/>
          <ac:spMkLst>
            <pc:docMk/>
            <pc:sldMk cId="788765567" sldId="2147473977"/>
            <ac:spMk id="297" creationId="{3BAEC758-9B1C-1C2C-355B-9BCFBBE8973C}"/>
          </ac:spMkLst>
        </pc:spChg>
        <pc:spChg chg="add del mod">
          <ac:chgData name="Steiner Andreas 6206 ED" userId="e6377c33-a923-4f14-8587-531c474c7b48" providerId="ADAL" clId="{6ECD27E6-B224-41CD-B4E0-E297462320DD}" dt="2023-11-24T08:41:53.401" v="44933"/>
          <ac:spMkLst>
            <pc:docMk/>
            <pc:sldMk cId="788765567" sldId="2147473977"/>
            <ac:spMk id="298" creationId="{8C15076D-7B1E-2F7F-557E-F96C1A7C906A}"/>
          </ac:spMkLst>
        </pc:spChg>
        <pc:spChg chg="add del mod">
          <ac:chgData name="Steiner Andreas 6206 ED" userId="e6377c33-a923-4f14-8587-531c474c7b48" providerId="ADAL" clId="{6ECD27E6-B224-41CD-B4E0-E297462320DD}" dt="2023-11-24T08:41:55.350" v="45088"/>
          <ac:spMkLst>
            <pc:docMk/>
            <pc:sldMk cId="788765567" sldId="2147473977"/>
            <ac:spMk id="299" creationId="{456F2C4C-999B-8645-46B4-2076C6263DC3}"/>
          </ac:spMkLst>
        </pc:spChg>
        <pc:spChg chg="add del mod">
          <ac:chgData name="Steiner Andreas 6206 ED" userId="e6377c33-a923-4f14-8587-531c474c7b48" providerId="ADAL" clId="{6ECD27E6-B224-41CD-B4E0-E297462320DD}" dt="2023-11-24T08:41:57.611" v="45243"/>
          <ac:spMkLst>
            <pc:docMk/>
            <pc:sldMk cId="788765567" sldId="2147473977"/>
            <ac:spMk id="300" creationId="{FF200093-74C7-52B3-BEFC-5C56226280D4}"/>
          </ac:spMkLst>
        </pc:spChg>
        <pc:spChg chg="add del mod">
          <ac:chgData name="Steiner Andreas 6206 ED" userId="e6377c33-a923-4f14-8587-531c474c7b48" providerId="ADAL" clId="{6ECD27E6-B224-41CD-B4E0-E297462320DD}" dt="2023-11-24T08:41:59.841" v="45398"/>
          <ac:spMkLst>
            <pc:docMk/>
            <pc:sldMk cId="788765567" sldId="2147473977"/>
            <ac:spMk id="301" creationId="{A0546970-8E96-D860-E8A3-B55E78CECF78}"/>
          </ac:spMkLst>
        </pc:spChg>
        <pc:spChg chg="add del mod">
          <ac:chgData name="Steiner Andreas 6206 ED" userId="e6377c33-a923-4f14-8587-531c474c7b48" providerId="ADAL" clId="{6ECD27E6-B224-41CD-B4E0-E297462320DD}" dt="2023-11-24T08:42:01.988" v="45553"/>
          <ac:spMkLst>
            <pc:docMk/>
            <pc:sldMk cId="788765567" sldId="2147473977"/>
            <ac:spMk id="302" creationId="{456EC409-3306-CBF9-F266-72CDB0593B79}"/>
          </ac:spMkLst>
        </pc:spChg>
        <pc:spChg chg="add del mod">
          <ac:chgData name="Steiner Andreas 6206 ED" userId="e6377c33-a923-4f14-8587-531c474c7b48" providerId="ADAL" clId="{6ECD27E6-B224-41CD-B4E0-E297462320DD}" dt="2023-11-24T08:42:04.012" v="45708"/>
          <ac:spMkLst>
            <pc:docMk/>
            <pc:sldMk cId="788765567" sldId="2147473977"/>
            <ac:spMk id="303" creationId="{97A394ED-C75D-8857-11E5-FBFFFD337DB6}"/>
          </ac:spMkLst>
        </pc:spChg>
        <pc:spChg chg="add del mod">
          <ac:chgData name="Steiner Andreas 6206 ED" userId="e6377c33-a923-4f14-8587-531c474c7b48" providerId="ADAL" clId="{6ECD27E6-B224-41CD-B4E0-E297462320DD}" dt="2023-11-24T08:42:05.958" v="45863"/>
          <ac:spMkLst>
            <pc:docMk/>
            <pc:sldMk cId="788765567" sldId="2147473977"/>
            <ac:spMk id="304" creationId="{AE18F300-D5B6-1524-6809-525FD09B36C2}"/>
          </ac:spMkLst>
        </pc:spChg>
        <pc:spChg chg="add del mod">
          <ac:chgData name="Steiner Andreas 6206 ED" userId="e6377c33-a923-4f14-8587-531c474c7b48" providerId="ADAL" clId="{6ECD27E6-B224-41CD-B4E0-E297462320DD}" dt="2023-11-24T08:42:07.831" v="46018"/>
          <ac:spMkLst>
            <pc:docMk/>
            <pc:sldMk cId="788765567" sldId="2147473977"/>
            <ac:spMk id="305" creationId="{DF3ECCBE-ADAD-DAA7-F3E3-A6775713D68A}"/>
          </ac:spMkLst>
        </pc:spChg>
        <pc:spChg chg="add del mod">
          <ac:chgData name="Steiner Andreas 6206 ED" userId="e6377c33-a923-4f14-8587-531c474c7b48" providerId="ADAL" clId="{6ECD27E6-B224-41CD-B4E0-E297462320DD}" dt="2023-11-24T08:42:09.726" v="46173"/>
          <ac:spMkLst>
            <pc:docMk/>
            <pc:sldMk cId="788765567" sldId="2147473977"/>
            <ac:spMk id="306" creationId="{65C0C0F1-30AF-A6BD-BEE2-FB8FA11B33B6}"/>
          </ac:spMkLst>
        </pc:spChg>
        <pc:spChg chg="add del mod">
          <ac:chgData name="Steiner Andreas 6206 ED" userId="e6377c33-a923-4f14-8587-531c474c7b48" providerId="ADAL" clId="{6ECD27E6-B224-41CD-B4E0-E297462320DD}" dt="2023-11-24T08:42:12.119" v="46328"/>
          <ac:spMkLst>
            <pc:docMk/>
            <pc:sldMk cId="788765567" sldId="2147473977"/>
            <ac:spMk id="307" creationId="{29E735C9-FB58-041D-AA78-9B780B05AAC6}"/>
          </ac:spMkLst>
        </pc:spChg>
        <pc:spChg chg="add del mod">
          <ac:chgData name="Steiner Andreas 6206 ED" userId="e6377c33-a923-4f14-8587-531c474c7b48" providerId="ADAL" clId="{6ECD27E6-B224-41CD-B4E0-E297462320DD}" dt="2023-11-24T08:42:14.687" v="46483"/>
          <ac:spMkLst>
            <pc:docMk/>
            <pc:sldMk cId="788765567" sldId="2147473977"/>
            <ac:spMk id="308" creationId="{8F7BB943-CC85-4D56-529D-91F23AA5C1B6}"/>
          </ac:spMkLst>
        </pc:spChg>
        <pc:spChg chg="add del mod">
          <ac:chgData name="Steiner Andreas 6206 ED" userId="e6377c33-a923-4f14-8587-531c474c7b48" providerId="ADAL" clId="{6ECD27E6-B224-41CD-B4E0-E297462320DD}" dt="2023-11-24T08:42:17.010" v="46638"/>
          <ac:spMkLst>
            <pc:docMk/>
            <pc:sldMk cId="788765567" sldId="2147473977"/>
            <ac:spMk id="309" creationId="{78A14424-54F4-2D1D-479F-21AC280E827F}"/>
          </ac:spMkLst>
        </pc:spChg>
        <pc:spChg chg="add del mod">
          <ac:chgData name="Steiner Andreas 6206 ED" userId="e6377c33-a923-4f14-8587-531c474c7b48" providerId="ADAL" clId="{6ECD27E6-B224-41CD-B4E0-E297462320DD}" dt="2023-11-24T08:42:19.161" v="46793"/>
          <ac:spMkLst>
            <pc:docMk/>
            <pc:sldMk cId="788765567" sldId="2147473977"/>
            <ac:spMk id="310" creationId="{DE46D32D-DA22-D691-EAFE-B4356B032DD3}"/>
          </ac:spMkLst>
        </pc:spChg>
        <pc:spChg chg="add del mod">
          <ac:chgData name="Steiner Andreas 6206 ED" userId="e6377c33-a923-4f14-8587-531c474c7b48" providerId="ADAL" clId="{6ECD27E6-B224-41CD-B4E0-E297462320DD}" dt="2023-11-24T08:42:21.518" v="46948"/>
          <ac:spMkLst>
            <pc:docMk/>
            <pc:sldMk cId="788765567" sldId="2147473977"/>
            <ac:spMk id="311" creationId="{D829A6C9-BAA7-7B28-A4F4-7F9088D6E6CA}"/>
          </ac:spMkLst>
        </pc:spChg>
        <pc:spChg chg="add del mod">
          <ac:chgData name="Steiner Andreas 6206 ED" userId="e6377c33-a923-4f14-8587-531c474c7b48" providerId="ADAL" clId="{6ECD27E6-B224-41CD-B4E0-E297462320DD}" dt="2023-11-24T08:42:24.107" v="47103"/>
          <ac:spMkLst>
            <pc:docMk/>
            <pc:sldMk cId="788765567" sldId="2147473977"/>
            <ac:spMk id="312" creationId="{5AAC1227-3B5F-0DF5-0FF2-CBB022300B4E}"/>
          </ac:spMkLst>
        </pc:spChg>
        <pc:spChg chg="add del mod">
          <ac:chgData name="Steiner Andreas 6206 ED" userId="e6377c33-a923-4f14-8587-531c474c7b48" providerId="ADAL" clId="{6ECD27E6-B224-41CD-B4E0-E297462320DD}" dt="2023-11-24T08:42:26.067" v="47258"/>
          <ac:spMkLst>
            <pc:docMk/>
            <pc:sldMk cId="788765567" sldId="2147473977"/>
            <ac:spMk id="313" creationId="{ACB1F25D-E59C-DEE7-D1BA-F64EDE538898}"/>
          </ac:spMkLst>
        </pc:spChg>
        <pc:spChg chg="add del mod">
          <ac:chgData name="Steiner Andreas 6206 ED" userId="e6377c33-a923-4f14-8587-531c474c7b48" providerId="ADAL" clId="{6ECD27E6-B224-41CD-B4E0-E297462320DD}" dt="2023-11-24T08:42:27.965" v="47413"/>
          <ac:spMkLst>
            <pc:docMk/>
            <pc:sldMk cId="788765567" sldId="2147473977"/>
            <ac:spMk id="314" creationId="{7D0C25F6-486B-99FD-6B99-52B741339356}"/>
          </ac:spMkLst>
        </pc:spChg>
        <pc:spChg chg="add del mod">
          <ac:chgData name="Steiner Andreas 6206 ED" userId="e6377c33-a923-4f14-8587-531c474c7b48" providerId="ADAL" clId="{6ECD27E6-B224-41CD-B4E0-E297462320DD}" dt="2023-11-24T08:42:29.736" v="47568"/>
          <ac:spMkLst>
            <pc:docMk/>
            <pc:sldMk cId="788765567" sldId="2147473977"/>
            <ac:spMk id="315" creationId="{97819069-1681-2213-7FBE-C200C95E66E9}"/>
          </ac:spMkLst>
        </pc:spChg>
        <pc:spChg chg="add del mod">
          <ac:chgData name="Steiner Andreas 6206 ED" userId="e6377c33-a923-4f14-8587-531c474c7b48" providerId="ADAL" clId="{6ECD27E6-B224-41CD-B4E0-E297462320DD}" dt="2023-11-24T08:42:31.653" v="47723"/>
          <ac:spMkLst>
            <pc:docMk/>
            <pc:sldMk cId="788765567" sldId="2147473977"/>
            <ac:spMk id="316" creationId="{E51966B7-75BE-364C-160C-DCA0C6203B38}"/>
          </ac:spMkLst>
        </pc:spChg>
        <pc:spChg chg="add del mod">
          <ac:chgData name="Steiner Andreas 6206 ED" userId="e6377c33-a923-4f14-8587-531c474c7b48" providerId="ADAL" clId="{6ECD27E6-B224-41CD-B4E0-E297462320DD}" dt="2023-11-24T08:42:33.663" v="47878"/>
          <ac:spMkLst>
            <pc:docMk/>
            <pc:sldMk cId="788765567" sldId="2147473977"/>
            <ac:spMk id="317" creationId="{C458C347-CE58-88C1-20CD-35C034E4861C}"/>
          </ac:spMkLst>
        </pc:spChg>
        <pc:spChg chg="add del mod">
          <ac:chgData name="Steiner Andreas 6206 ED" userId="e6377c33-a923-4f14-8587-531c474c7b48" providerId="ADAL" clId="{6ECD27E6-B224-41CD-B4E0-E297462320DD}" dt="2023-11-24T08:42:35.689" v="48033"/>
          <ac:spMkLst>
            <pc:docMk/>
            <pc:sldMk cId="788765567" sldId="2147473977"/>
            <ac:spMk id="318" creationId="{38FE5389-3E81-C027-A6C5-5A124A5FB41F}"/>
          </ac:spMkLst>
        </pc:spChg>
        <pc:spChg chg="add del mod">
          <ac:chgData name="Steiner Andreas 6206 ED" userId="e6377c33-a923-4f14-8587-531c474c7b48" providerId="ADAL" clId="{6ECD27E6-B224-41CD-B4E0-E297462320DD}" dt="2023-11-24T08:42:37.564" v="48188"/>
          <ac:spMkLst>
            <pc:docMk/>
            <pc:sldMk cId="788765567" sldId="2147473977"/>
            <ac:spMk id="319" creationId="{273AD300-606F-5362-868C-5D89208FB56F}"/>
          </ac:spMkLst>
        </pc:spChg>
        <pc:spChg chg="add del mod">
          <ac:chgData name="Steiner Andreas 6206 ED" userId="e6377c33-a923-4f14-8587-531c474c7b48" providerId="ADAL" clId="{6ECD27E6-B224-41CD-B4E0-E297462320DD}" dt="2023-11-24T08:42:39.426" v="48343"/>
          <ac:spMkLst>
            <pc:docMk/>
            <pc:sldMk cId="788765567" sldId="2147473977"/>
            <ac:spMk id="320" creationId="{132B913D-3B37-DDE2-0240-7FCF27FE0DF4}"/>
          </ac:spMkLst>
        </pc:spChg>
        <pc:spChg chg="add del mod">
          <ac:chgData name="Steiner Andreas 6206 ED" userId="e6377c33-a923-4f14-8587-531c474c7b48" providerId="ADAL" clId="{6ECD27E6-B224-41CD-B4E0-E297462320DD}" dt="2023-11-24T08:42:41.568" v="48498"/>
          <ac:spMkLst>
            <pc:docMk/>
            <pc:sldMk cId="788765567" sldId="2147473977"/>
            <ac:spMk id="321" creationId="{79875149-F4C6-4E94-152A-4F54418F4BB4}"/>
          </ac:spMkLst>
        </pc:spChg>
        <pc:spChg chg="add del mod">
          <ac:chgData name="Steiner Andreas 6206 ED" userId="e6377c33-a923-4f14-8587-531c474c7b48" providerId="ADAL" clId="{6ECD27E6-B224-41CD-B4E0-E297462320DD}" dt="2023-11-24T08:42:43.669" v="48653"/>
          <ac:spMkLst>
            <pc:docMk/>
            <pc:sldMk cId="788765567" sldId="2147473977"/>
            <ac:spMk id="322" creationId="{D58F7BC3-7304-D697-99A2-825BF82071F6}"/>
          </ac:spMkLst>
        </pc:spChg>
        <pc:spChg chg="add del mod">
          <ac:chgData name="Steiner Andreas 6206 ED" userId="e6377c33-a923-4f14-8587-531c474c7b48" providerId="ADAL" clId="{6ECD27E6-B224-41CD-B4E0-E297462320DD}" dt="2023-11-24T08:42:45.708" v="48808"/>
          <ac:spMkLst>
            <pc:docMk/>
            <pc:sldMk cId="788765567" sldId="2147473977"/>
            <ac:spMk id="323" creationId="{A194408A-57F1-B5A8-1338-691400F58EE5}"/>
          </ac:spMkLst>
        </pc:spChg>
        <pc:spChg chg="add del mod">
          <ac:chgData name="Steiner Andreas 6206 ED" userId="e6377c33-a923-4f14-8587-531c474c7b48" providerId="ADAL" clId="{6ECD27E6-B224-41CD-B4E0-E297462320DD}" dt="2023-11-24T08:42:47.572" v="48963"/>
          <ac:spMkLst>
            <pc:docMk/>
            <pc:sldMk cId="788765567" sldId="2147473977"/>
            <ac:spMk id="324" creationId="{074EA635-36AB-2090-3123-A3C547C797B1}"/>
          </ac:spMkLst>
        </pc:spChg>
        <pc:spChg chg="add del mod">
          <ac:chgData name="Steiner Andreas 6206 ED" userId="e6377c33-a923-4f14-8587-531c474c7b48" providerId="ADAL" clId="{6ECD27E6-B224-41CD-B4E0-E297462320DD}" dt="2023-11-24T08:42:49.378" v="49118"/>
          <ac:spMkLst>
            <pc:docMk/>
            <pc:sldMk cId="788765567" sldId="2147473977"/>
            <ac:spMk id="325" creationId="{6075DDBB-E82B-6CD5-8D4A-2DD9DE512B2D}"/>
          </ac:spMkLst>
        </pc:spChg>
        <pc:spChg chg="add del mod">
          <ac:chgData name="Steiner Andreas 6206 ED" userId="e6377c33-a923-4f14-8587-531c474c7b48" providerId="ADAL" clId="{6ECD27E6-B224-41CD-B4E0-E297462320DD}" dt="2023-11-24T08:42:51.240" v="49273"/>
          <ac:spMkLst>
            <pc:docMk/>
            <pc:sldMk cId="788765567" sldId="2147473977"/>
            <ac:spMk id="326" creationId="{45121E68-D8B1-D729-8AEC-CE710F66EE86}"/>
          </ac:spMkLst>
        </pc:spChg>
        <pc:spChg chg="add del mod">
          <ac:chgData name="Steiner Andreas 6206 ED" userId="e6377c33-a923-4f14-8587-531c474c7b48" providerId="ADAL" clId="{6ECD27E6-B224-41CD-B4E0-E297462320DD}" dt="2023-11-24T08:42:53.369" v="49428"/>
          <ac:spMkLst>
            <pc:docMk/>
            <pc:sldMk cId="788765567" sldId="2147473977"/>
            <ac:spMk id="327" creationId="{7974F5DF-476C-D3C7-A396-3950439EB720}"/>
          </ac:spMkLst>
        </pc:spChg>
        <pc:spChg chg="add del mod">
          <ac:chgData name="Steiner Andreas 6206 ED" userId="e6377c33-a923-4f14-8587-531c474c7b48" providerId="ADAL" clId="{6ECD27E6-B224-41CD-B4E0-E297462320DD}" dt="2023-11-24T08:42:55.989" v="49583"/>
          <ac:spMkLst>
            <pc:docMk/>
            <pc:sldMk cId="788765567" sldId="2147473977"/>
            <ac:spMk id="328" creationId="{7F7293A7-2ECA-6E4A-4511-8946454A0072}"/>
          </ac:spMkLst>
        </pc:spChg>
        <pc:spChg chg="add del mod">
          <ac:chgData name="Steiner Andreas 6206 ED" userId="e6377c33-a923-4f14-8587-531c474c7b48" providerId="ADAL" clId="{6ECD27E6-B224-41CD-B4E0-E297462320DD}" dt="2023-11-24T08:42:58.062" v="49738"/>
          <ac:spMkLst>
            <pc:docMk/>
            <pc:sldMk cId="788765567" sldId="2147473977"/>
            <ac:spMk id="329" creationId="{77CB8DE5-0117-348E-B217-6E8F425E302B}"/>
          </ac:spMkLst>
        </pc:spChg>
        <pc:spChg chg="add del mod">
          <ac:chgData name="Steiner Andreas 6206 ED" userId="e6377c33-a923-4f14-8587-531c474c7b48" providerId="ADAL" clId="{6ECD27E6-B224-41CD-B4E0-E297462320DD}" dt="2023-11-24T08:42:59.969" v="49893"/>
          <ac:spMkLst>
            <pc:docMk/>
            <pc:sldMk cId="788765567" sldId="2147473977"/>
            <ac:spMk id="330" creationId="{47ACBC90-789A-4CDE-01AB-9F3CC58940A3}"/>
          </ac:spMkLst>
        </pc:spChg>
        <pc:spChg chg="add del mod">
          <ac:chgData name="Steiner Andreas 6206 ED" userId="e6377c33-a923-4f14-8587-531c474c7b48" providerId="ADAL" clId="{6ECD27E6-B224-41CD-B4E0-E297462320DD}" dt="2023-11-24T08:43:01.975" v="50048"/>
          <ac:spMkLst>
            <pc:docMk/>
            <pc:sldMk cId="788765567" sldId="2147473977"/>
            <ac:spMk id="331" creationId="{659862E4-59E3-A524-B760-DB4B65F7F1DE}"/>
          </ac:spMkLst>
        </pc:spChg>
        <pc:spChg chg="add del mod">
          <ac:chgData name="Steiner Andreas 6206 ED" userId="e6377c33-a923-4f14-8587-531c474c7b48" providerId="ADAL" clId="{6ECD27E6-B224-41CD-B4E0-E297462320DD}" dt="2023-11-24T08:43:03.953" v="50203"/>
          <ac:spMkLst>
            <pc:docMk/>
            <pc:sldMk cId="788765567" sldId="2147473977"/>
            <ac:spMk id="332" creationId="{44755E23-7D29-B610-A7C8-AF148C984ADF}"/>
          </ac:spMkLst>
        </pc:spChg>
        <pc:spChg chg="add del mod">
          <ac:chgData name="Steiner Andreas 6206 ED" userId="e6377c33-a923-4f14-8587-531c474c7b48" providerId="ADAL" clId="{6ECD27E6-B224-41CD-B4E0-E297462320DD}" dt="2023-11-24T08:43:05.859" v="50358"/>
          <ac:spMkLst>
            <pc:docMk/>
            <pc:sldMk cId="788765567" sldId="2147473977"/>
            <ac:spMk id="333" creationId="{1CE1E6A0-F08F-D524-F6C3-CE51BA00E567}"/>
          </ac:spMkLst>
        </pc:spChg>
        <pc:spChg chg="add del mod">
          <ac:chgData name="Steiner Andreas 6206 ED" userId="e6377c33-a923-4f14-8587-531c474c7b48" providerId="ADAL" clId="{6ECD27E6-B224-41CD-B4E0-E297462320DD}" dt="2023-11-24T08:43:08.128" v="50513"/>
          <ac:spMkLst>
            <pc:docMk/>
            <pc:sldMk cId="788765567" sldId="2147473977"/>
            <ac:spMk id="334" creationId="{D5C41ADD-540D-7A13-0686-EC9F1EBE735F}"/>
          </ac:spMkLst>
        </pc:spChg>
        <pc:spChg chg="add del mod">
          <ac:chgData name="Steiner Andreas 6206 ED" userId="e6377c33-a923-4f14-8587-531c474c7b48" providerId="ADAL" clId="{6ECD27E6-B224-41CD-B4E0-E297462320DD}" dt="2023-11-24T08:43:10.096" v="50668"/>
          <ac:spMkLst>
            <pc:docMk/>
            <pc:sldMk cId="788765567" sldId="2147473977"/>
            <ac:spMk id="335" creationId="{9C133937-1F6B-70AF-C669-088E6BA723F0}"/>
          </ac:spMkLst>
        </pc:spChg>
        <pc:spChg chg="add del mod">
          <ac:chgData name="Steiner Andreas 6206 ED" userId="e6377c33-a923-4f14-8587-531c474c7b48" providerId="ADAL" clId="{6ECD27E6-B224-41CD-B4E0-E297462320DD}" dt="2023-11-24T08:43:11.948" v="50823"/>
          <ac:spMkLst>
            <pc:docMk/>
            <pc:sldMk cId="788765567" sldId="2147473977"/>
            <ac:spMk id="336" creationId="{AEC7DAC8-F97B-1B1C-F0CF-2FD951F9F9BD}"/>
          </ac:spMkLst>
        </pc:spChg>
        <pc:spChg chg="add del mod">
          <ac:chgData name="Steiner Andreas 6206 ED" userId="e6377c33-a923-4f14-8587-531c474c7b48" providerId="ADAL" clId="{6ECD27E6-B224-41CD-B4E0-E297462320DD}" dt="2023-11-24T08:43:14.009" v="50978"/>
          <ac:spMkLst>
            <pc:docMk/>
            <pc:sldMk cId="788765567" sldId="2147473977"/>
            <ac:spMk id="337" creationId="{2CCDB10F-1FA4-5F42-2AC2-376C154E7EA0}"/>
          </ac:spMkLst>
        </pc:spChg>
        <pc:spChg chg="add del mod">
          <ac:chgData name="Steiner Andreas 6206 ED" userId="e6377c33-a923-4f14-8587-531c474c7b48" providerId="ADAL" clId="{6ECD27E6-B224-41CD-B4E0-E297462320DD}" dt="2023-11-24T08:43:16.004" v="51133"/>
          <ac:spMkLst>
            <pc:docMk/>
            <pc:sldMk cId="788765567" sldId="2147473977"/>
            <ac:spMk id="338" creationId="{304E0E0A-7DF7-FBA5-3651-D0C3AC1C9399}"/>
          </ac:spMkLst>
        </pc:spChg>
        <pc:spChg chg="add del mod">
          <ac:chgData name="Steiner Andreas 6206 ED" userId="e6377c33-a923-4f14-8587-531c474c7b48" providerId="ADAL" clId="{6ECD27E6-B224-41CD-B4E0-E297462320DD}" dt="2023-11-24T08:43:18.051" v="51288"/>
          <ac:spMkLst>
            <pc:docMk/>
            <pc:sldMk cId="788765567" sldId="2147473977"/>
            <ac:spMk id="339" creationId="{502B101E-1F6E-3302-6E26-B1F3BBAC257B}"/>
          </ac:spMkLst>
        </pc:spChg>
        <pc:spChg chg="add del mod">
          <ac:chgData name="Steiner Andreas 6206 ED" userId="e6377c33-a923-4f14-8587-531c474c7b48" providerId="ADAL" clId="{6ECD27E6-B224-41CD-B4E0-E297462320DD}" dt="2023-11-24T08:43:20.045" v="51443"/>
          <ac:spMkLst>
            <pc:docMk/>
            <pc:sldMk cId="788765567" sldId="2147473977"/>
            <ac:spMk id="340" creationId="{547A5346-9648-3B5E-F4B2-E306AABBFE51}"/>
          </ac:spMkLst>
        </pc:spChg>
        <pc:spChg chg="add del mod">
          <ac:chgData name="Steiner Andreas 6206 ED" userId="e6377c33-a923-4f14-8587-531c474c7b48" providerId="ADAL" clId="{6ECD27E6-B224-41CD-B4E0-E297462320DD}" dt="2023-11-24T08:43:21.941" v="51598"/>
          <ac:spMkLst>
            <pc:docMk/>
            <pc:sldMk cId="788765567" sldId="2147473977"/>
            <ac:spMk id="341" creationId="{C0FCC329-DAFC-FE14-79A0-7E2DF46F0D30}"/>
          </ac:spMkLst>
        </pc:spChg>
        <pc:spChg chg="add del mod">
          <ac:chgData name="Steiner Andreas 6206 ED" userId="e6377c33-a923-4f14-8587-531c474c7b48" providerId="ADAL" clId="{6ECD27E6-B224-41CD-B4E0-E297462320DD}" dt="2023-11-24T08:43:23.901" v="51753"/>
          <ac:spMkLst>
            <pc:docMk/>
            <pc:sldMk cId="788765567" sldId="2147473977"/>
            <ac:spMk id="342" creationId="{86DEBD0D-6703-21A0-DC75-0F2A75294422}"/>
          </ac:spMkLst>
        </pc:spChg>
        <pc:spChg chg="add del mod">
          <ac:chgData name="Steiner Andreas 6206 ED" userId="e6377c33-a923-4f14-8587-531c474c7b48" providerId="ADAL" clId="{6ECD27E6-B224-41CD-B4E0-E297462320DD}" dt="2023-11-24T08:43:25.777" v="51908"/>
          <ac:spMkLst>
            <pc:docMk/>
            <pc:sldMk cId="788765567" sldId="2147473977"/>
            <ac:spMk id="343" creationId="{7BDF6B9A-DF56-CFDD-1399-FB3549C13C0F}"/>
          </ac:spMkLst>
        </pc:spChg>
        <pc:spChg chg="add del mod">
          <ac:chgData name="Steiner Andreas 6206 ED" userId="e6377c33-a923-4f14-8587-531c474c7b48" providerId="ADAL" clId="{6ECD27E6-B224-41CD-B4E0-E297462320DD}" dt="2023-11-24T08:43:27.603" v="52063"/>
          <ac:spMkLst>
            <pc:docMk/>
            <pc:sldMk cId="788765567" sldId="2147473977"/>
            <ac:spMk id="344" creationId="{09403F93-880C-BCAA-28F5-09DF0DDFD246}"/>
          </ac:spMkLst>
        </pc:spChg>
        <pc:spChg chg="add del mod">
          <ac:chgData name="Steiner Andreas 6206 ED" userId="e6377c33-a923-4f14-8587-531c474c7b48" providerId="ADAL" clId="{6ECD27E6-B224-41CD-B4E0-E297462320DD}" dt="2023-11-24T08:43:29.395" v="52218"/>
          <ac:spMkLst>
            <pc:docMk/>
            <pc:sldMk cId="788765567" sldId="2147473977"/>
            <ac:spMk id="345" creationId="{A2389821-FEAB-FDCB-5ACA-BBBFBBF3B924}"/>
          </ac:spMkLst>
        </pc:spChg>
        <pc:spChg chg="add del mod">
          <ac:chgData name="Steiner Andreas 6206 ED" userId="e6377c33-a923-4f14-8587-531c474c7b48" providerId="ADAL" clId="{6ECD27E6-B224-41CD-B4E0-E297462320DD}" dt="2023-11-24T08:43:32.152" v="52373"/>
          <ac:spMkLst>
            <pc:docMk/>
            <pc:sldMk cId="788765567" sldId="2147473977"/>
            <ac:spMk id="346" creationId="{DE94FDBE-A8B7-42AA-3D64-227DDE6A80F1}"/>
          </ac:spMkLst>
        </pc:spChg>
        <pc:spChg chg="add del mod">
          <ac:chgData name="Steiner Andreas 6206 ED" userId="e6377c33-a923-4f14-8587-531c474c7b48" providerId="ADAL" clId="{6ECD27E6-B224-41CD-B4E0-E297462320DD}" dt="2023-11-24T08:43:34.637" v="52528"/>
          <ac:spMkLst>
            <pc:docMk/>
            <pc:sldMk cId="788765567" sldId="2147473977"/>
            <ac:spMk id="347" creationId="{4565C2EE-807D-7B7F-A1D0-FD935F6F4E7A}"/>
          </ac:spMkLst>
        </pc:spChg>
        <pc:spChg chg="add del mod">
          <ac:chgData name="Steiner Andreas 6206 ED" userId="e6377c33-a923-4f14-8587-531c474c7b48" providerId="ADAL" clId="{6ECD27E6-B224-41CD-B4E0-E297462320DD}" dt="2023-11-24T08:43:36.717" v="52683"/>
          <ac:spMkLst>
            <pc:docMk/>
            <pc:sldMk cId="788765567" sldId="2147473977"/>
            <ac:spMk id="348" creationId="{A9B335AB-C778-2A39-83FF-63F5466B7172}"/>
          </ac:spMkLst>
        </pc:spChg>
        <pc:spChg chg="add del mod">
          <ac:chgData name="Steiner Andreas 6206 ED" userId="e6377c33-a923-4f14-8587-531c474c7b48" providerId="ADAL" clId="{6ECD27E6-B224-41CD-B4E0-E297462320DD}" dt="2023-11-24T08:43:38.840" v="52838"/>
          <ac:spMkLst>
            <pc:docMk/>
            <pc:sldMk cId="788765567" sldId="2147473977"/>
            <ac:spMk id="349" creationId="{BBAFC5A9-7EA3-BCC0-FC96-143C5BB4AA7E}"/>
          </ac:spMkLst>
        </pc:spChg>
        <pc:spChg chg="add del mod">
          <ac:chgData name="Steiner Andreas 6206 ED" userId="e6377c33-a923-4f14-8587-531c474c7b48" providerId="ADAL" clId="{6ECD27E6-B224-41CD-B4E0-E297462320DD}" dt="2023-11-24T08:43:40.945" v="52993"/>
          <ac:spMkLst>
            <pc:docMk/>
            <pc:sldMk cId="788765567" sldId="2147473977"/>
            <ac:spMk id="350" creationId="{C9ACD89D-F518-A677-4174-CB3428ED761F}"/>
          </ac:spMkLst>
        </pc:spChg>
        <pc:spChg chg="add del mod">
          <ac:chgData name="Steiner Andreas 6206 ED" userId="e6377c33-a923-4f14-8587-531c474c7b48" providerId="ADAL" clId="{6ECD27E6-B224-41CD-B4E0-E297462320DD}" dt="2023-11-24T08:43:42.897" v="53148"/>
          <ac:spMkLst>
            <pc:docMk/>
            <pc:sldMk cId="788765567" sldId="2147473977"/>
            <ac:spMk id="351" creationId="{D21DE724-2081-4ECB-D34A-998732047A7D}"/>
          </ac:spMkLst>
        </pc:spChg>
        <pc:spChg chg="add del mod">
          <ac:chgData name="Steiner Andreas 6206 ED" userId="e6377c33-a923-4f14-8587-531c474c7b48" providerId="ADAL" clId="{6ECD27E6-B224-41CD-B4E0-E297462320DD}" dt="2023-11-24T08:43:44.713" v="53303"/>
          <ac:spMkLst>
            <pc:docMk/>
            <pc:sldMk cId="788765567" sldId="2147473977"/>
            <ac:spMk id="352" creationId="{8C106E8E-DF38-9EDA-0C44-9E339B8CE45F}"/>
          </ac:spMkLst>
        </pc:spChg>
        <pc:spChg chg="add del mod">
          <ac:chgData name="Steiner Andreas 6206 ED" userId="e6377c33-a923-4f14-8587-531c474c7b48" providerId="ADAL" clId="{6ECD27E6-B224-41CD-B4E0-E297462320DD}" dt="2023-11-24T08:43:46.505" v="53458"/>
          <ac:spMkLst>
            <pc:docMk/>
            <pc:sldMk cId="788765567" sldId="2147473977"/>
            <ac:spMk id="353" creationId="{67FF8BB0-936F-55C7-FF74-A7A1BFDB441E}"/>
          </ac:spMkLst>
        </pc:spChg>
        <pc:spChg chg="add del mod">
          <ac:chgData name="Steiner Andreas 6206 ED" userId="e6377c33-a923-4f14-8587-531c474c7b48" providerId="ADAL" clId="{6ECD27E6-B224-41CD-B4E0-E297462320DD}" dt="2023-11-24T08:43:48.476" v="53613"/>
          <ac:spMkLst>
            <pc:docMk/>
            <pc:sldMk cId="788765567" sldId="2147473977"/>
            <ac:spMk id="354" creationId="{5CEB70F6-25EB-0DE5-E41F-3AD2EDCD2BE3}"/>
          </ac:spMkLst>
        </pc:spChg>
        <pc:spChg chg="add del mod">
          <ac:chgData name="Steiner Andreas 6206 ED" userId="e6377c33-a923-4f14-8587-531c474c7b48" providerId="ADAL" clId="{6ECD27E6-B224-41CD-B4E0-E297462320DD}" dt="2023-11-24T08:43:50.407" v="53768"/>
          <ac:spMkLst>
            <pc:docMk/>
            <pc:sldMk cId="788765567" sldId="2147473977"/>
            <ac:spMk id="355" creationId="{42E022F0-252F-BD43-3072-687B45842299}"/>
          </ac:spMkLst>
        </pc:spChg>
        <pc:spChg chg="add del mod">
          <ac:chgData name="Steiner Andreas 6206 ED" userId="e6377c33-a923-4f14-8587-531c474c7b48" providerId="ADAL" clId="{6ECD27E6-B224-41CD-B4E0-E297462320DD}" dt="2023-11-24T08:43:52.658" v="53923"/>
          <ac:spMkLst>
            <pc:docMk/>
            <pc:sldMk cId="788765567" sldId="2147473977"/>
            <ac:spMk id="356" creationId="{76692F39-F503-EBB2-E55D-97F9364F7AA9}"/>
          </ac:spMkLst>
        </pc:spChg>
        <pc:spChg chg="add del mod">
          <ac:chgData name="Steiner Andreas 6206 ED" userId="e6377c33-a923-4f14-8587-531c474c7b48" providerId="ADAL" clId="{6ECD27E6-B224-41CD-B4E0-E297462320DD}" dt="2023-11-24T08:43:55.246" v="54078"/>
          <ac:spMkLst>
            <pc:docMk/>
            <pc:sldMk cId="788765567" sldId="2147473977"/>
            <ac:spMk id="357" creationId="{534E907F-7301-BDA2-7FB9-FB475BFB86F1}"/>
          </ac:spMkLst>
        </pc:spChg>
        <pc:spChg chg="add del mod">
          <ac:chgData name="Steiner Andreas 6206 ED" userId="e6377c33-a923-4f14-8587-531c474c7b48" providerId="ADAL" clId="{6ECD27E6-B224-41CD-B4E0-E297462320DD}" dt="2023-11-24T08:43:57.274" v="54233"/>
          <ac:spMkLst>
            <pc:docMk/>
            <pc:sldMk cId="788765567" sldId="2147473977"/>
            <ac:spMk id="358" creationId="{BFAC856A-3030-42A0-2988-4945711720C6}"/>
          </ac:spMkLst>
        </pc:spChg>
        <pc:spChg chg="add del mod">
          <ac:chgData name="Steiner Andreas 6206 ED" userId="e6377c33-a923-4f14-8587-531c474c7b48" providerId="ADAL" clId="{6ECD27E6-B224-41CD-B4E0-E297462320DD}" dt="2023-11-24T08:43:59.540" v="54388"/>
          <ac:spMkLst>
            <pc:docMk/>
            <pc:sldMk cId="788765567" sldId="2147473977"/>
            <ac:spMk id="359" creationId="{F5005DBA-FC29-15D2-9D5D-95A9F4F91B1E}"/>
          </ac:spMkLst>
        </pc:spChg>
        <pc:spChg chg="add del mod">
          <ac:chgData name="Steiner Andreas 6206 ED" userId="e6377c33-a923-4f14-8587-531c474c7b48" providerId="ADAL" clId="{6ECD27E6-B224-41CD-B4E0-E297462320DD}" dt="2023-11-24T08:44:01.738" v="54543"/>
          <ac:spMkLst>
            <pc:docMk/>
            <pc:sldMk cId="788765567" sldId="2147473977"/>
            <ac:spMk id="360" creationId="{5E0244F9-157E-1026-7D40-51A21C5BFF59}"/>
          </ac:spMkLst>
        </pc:spChg>
        <pc:spChg chg="add del mod">
          <ac:chgData name="Steiner Andreas 6206 ED" userId="e6377c33-a923-4f14-8587-531c474c7b48" providerId="ADAL" clId="{6ECD27E6-B224-41CD-B4E0-E297462320DD}" dt="2023-11-24T08:44:03.934" v="54698"/>
          <ac:spMkLst>
            <pc:docMk/>
            <pc:sldMk cId="788765567" sldId="2147473977"/>
            <ac:spMk id="361" creationId="{63161F97-A220-47B3-510D-3535BEF71AA6}"/>
          </ac:spMkLst>
        </pc:spChg>
        <pc:spChg chg="add del mod">
          <ac:chgData name="Steiner Andreas 6206 ED" userId="e6377c33-a923-4f14-8587-531c474c7b48" providerId="ADAL" clId="{6ECD27E6-B224-41CD-B4E0-E297462320DD}" dt="2023-11-24T08:44:05.971" v="54853"/>
          <ac:spMkLst>
            <pc:docMk/>
            <pc:sldMk cId="788765567" sldId="2147473977"/>
            <ac:spMk id="362" creationId="{4B517E56-C2AA-4489-C976-216B2E7141E3}"/>
          </ac:spMkLst>
        </pc:spChg>
        <pc:spChg chg="add del mod">
          <ac:chgData name="Steiner Andreas 6206 ED" userId="e6377c33-a923-4f14-8587-531c474c7b48" providerId="ADAL" clId="{6ECD27E6-B224-41CD-B4E0-E297462320DD}" dt="2023-11-24T08:44:07.930" v="55008"/>
          <ac:spMkLst>
            <pc:docMk/>
            <pc:sldMk cId="788765567" sldId="2147473977"/>
            <ac:spMk id="363" creationId="{6BFCA9A8-3BBC-C0A4-44BD-DDECF3BBCBA4}"/>
          </ac:spMkLst>
        </pc:spChg>
        <pc:spChg chg="add del mod">
          <ac:chgData name="Steiner Andreas 6206 ED" userId="e6377c33-a923-4f14-8587-531c474c7b48" providerId="ADAL" clId="{6ECD27E6-B224-41CD-B4E0-E297462320DD}" dt="2023-11-24T08:44:09.918" v="55163"/>
          <ac:spMkLst>
            <pc:docMk/>
            <pc:sldMk cId="788765567" sldId="2147473977"/>
            <ac:spMk id="364" creationId="{9D604E89-E696-DB97-2304-C4EEEF4BA427}"/>
          </ac:spMkLst>
        </pc:spChg>
        <pc:spChg chg="add del mod">
          <ac:chgData name="Steiner Andreas 6206 ED" userId="e6377c33-a923-4f14-8587-531c474c7b48" providerId="ADAL" clId="{6ECD27E6-B224-41CD-B4E0-E297462320DD}" dt="2023-11-24T08:44:11.937" v="55318"/>
          <ac:spMkLst>
            <pc:docMk/>
            <pc:sldMk cId="788765567" sldId="2147473977"/>
            <ac:spMk id="365" creationId="{F131F0A2-BF78-0C45-9337-29C0BEEE84A2}"/>
          </ac:spMkLst>
        </pc:spChg>
        <pc:spChg chg="add del mod">
          <ac:chgData name="Steiner Andreas 6206 ED" userId="e6377c33-a923-4f14-8587-531c474c7b48" providerId="ADAL" clId="{6ECD27E6-B224-41CD-B4E0-E297462320DD}" dt="2023-11-24T08:44:14.069" v="55473"/>
          <ac:spMkLst>
            <pc:docMk/>
            <pc:sldMk cId="788765567" sldId="2147473977"/>
            <ac:spMk id="366" creationId="{ADCEECED-44E9-C0C3-C04A-D0F6F5A5CFD5}"/>
          </ac:spMkLst>
        </pc:spChg>
        <pc:spChg chg="add del mod">
          <ac:chgData name="Steiner Andreas 6206 ED" userId="e6377c33-a923-4f14-8587-531c474c7b48" providerId="ADAL" clId="{6ECD27E6-B224-41CD-B4E0-E297462320DD}" dt="2023-11-24T08:44:16.170" v="55628"/>
          <ac:spMkLst>
            <pc:docMk/>
            <pc:sldMk cId="788765567" sldId="2147473977"/>
            <ac:spMk id="367" creationId="{0A0D5CAC-8CD4-9398-C726-9A4D04550EC6}"/>
          </ac:spMkLst>
        </pc:spChg>
        <pc:spChg chg="add del mod">
          <ac:chgData name="Steiner Andreas 6206 ED" userId="e6377c33-a923-4f14-8587-531c474c7b48" providerId="ADAL" clId="{6ECD27E6-B224-41CD-B4E0-E297462320DD}" dt="2023-11-24T08:44:18.654" v="55783"/>
          <ac:spMkLst>
            <pc:docMk/>
            <pc:sldMk cId="788765567" sldId="2147473977"/>
            <ac:spMk id="368" creationId="{4D8724F3-0481-435B-4B99-83721893EA82}"/>
          </ac:spMkLst>
        </pc:spChg>
        <pc:spChg chg="add del mod">
          <ac:chgData name="Steiner Andreas 6206 ED" userId="e6377c33-a923-4f14-8587-531c474c7b48" providerId="ADAL" clId="{6ECD27E6-B224-41CD-B4E0-E297462320DD}" dt="2023-11-24T08:44:21.517" v="55938"/>
          <ac:spMkLst>
            <pc:docMk/>
            <pc:sldMk cId="788765567" sldId="2147473977"/>
            <ac:spMk id="369" creationId="{AD7254D0-A78C-9371-C618-4089D984D7F0}"/>
          </ac:spMkLst>
        </pc:spChg>
        <pc:spChg chg="add del mod">
          <ac:chgData name="Steiner Andreas 6206 ED" userId="e6377c33-a923-4f14-8587-531c474c7b48" providerId="ADAL" clId="{6ECD27E6-B224-41CD-B4E0-E297462320DD}" dt="2023-11-24T08:44:23.880" v="56093"/>
          <ac:spMkLst>
            <pc:docMk/>
            <pc:sldMk cId="788765567" sldId="2147473977"/>
            <ac:spMk id="370" creationId="{6BAC96AA-F6EF-E258-8905-B289A7A30C17}"/>
          </ac:spMkLst>
        </pc:spChg>
        <pc:spChg chg="add del mod">
          <ac:chgData name="Steiner Andreas 6206 ED" userId="e6377c33-a923-4f14-8587-531c474c7b48" providerId="ADAL" clId="{6ECD27E6-B224-41CD-B4E0-E297462320DD}" dt="2023-11-24T08:44:25.815" v="56248"/>
          <ac:spMkLst>
            <pc:docMk/>
            <pc:sldMk cId="788765567" sldId="2147473977"/>
            <ac:spMk id="371" creationId="{472C0DEE-FEC7-F5CF-D7FE-3283FC144301}"/>
          </ac:spMkLst>
        </pc:spChg>
        <pc:spChg chg="add del mod">
          <ac:chgData name="Steiner Andreas 6206 ED" userId="e6377c33-a923-4f14-8587-531c474c7b48" providerId="ADAL" clId="{6ECD27E6-B224-41CD-B4E0-E297462320DD}" dt="2023-11-24T08:44:27.985" v="56403"/>
          <ac:spMkLst>
            <pc:docMk/>
            <pc:sldMk cId="788765567" sldId="2147473977"/>
            <ac:spMk id="372" creationId="{29ABF125-CA23-7DE9-8757-A6036C504E69}"/>
          </ac:spMkLst>
        </pc:spChg>
        <pc:spChg chg="add del mod">
          <ac:chgData name="Steiner Andreas 6206 ED" userId="e6377c33-a923-4f14-8587-531c474c7b48" providerId="ADAL" clId="{6ECD27E6-B224-41CD-B4E0-E297462320DD}" dt="2023-11-24T08:44:30.017" v="56558"/>
          <ac:spMkLst>
            <pc:docMk/>
            <pc:sldMk cId="788765567" sldId="2147473977"/>
            <ac:spMk id="373" creationId="{FB4BAEDD-4ED7-EF1D-DEDD-4762A26DE34E}"/>
          </ac:spMkLst>
        </pc:spChg>
        <pc:spChg chg="add del mod">
          <ac:chgData name="Steiner Andreas 6206 ED" userId="e6377c33-a923-4f14-8587-531c474c7b48" providerId="ADAL" clId="{6ECD27E6-B224-41CD-B4E0-E297462320DD}" dt="2023-11-24T08:44:31.966" v="56713"/>
          <ac:spMkLst>
            <pc:docMk/>
            <pc:sldMk cId="788765567" sldId="2147473977"/>
            <ac:spMk id="374" creationId="{3DC0314F-01EB-2193-88BE-2991B1537602}"/>
          </ac:spMkLst>
        </pc:spChg>
        <pc:spChg chg="add del mod">
          <ac:chgData name="Steiner Andreas 6206 ED" userId="e6377c33-a923-4f14-8587-531c474c7b48" providerId="ADAL" clId="{6ECD27E6-B224-41CD-B4E0-E297462320DD}" dt="2023-11-24T08:44:33.929" v="56868"/>
          <ac:spMkLst>
            <pc:docMk/>
            <pc:sldMk cId="788765567" sldId="2147473977"/>
            <ac:spMk id="375" creationId="{7C67CF4D-984E-FFD9-8477-F690DE8465DB}"/>
          </ac:spMkLst>
        </pc:spChg>
        <pc:spChg chg="add del mod">
          <ac:chgData name="Steiner Andreas 6206 ED" userId="e6377c33-a923-4f14-8587-531c474c7b48" providerId="ADAL" clId="{6ECD27E6-B224-41CD-B4E0-E297462320DD}" dt="2023-11-24T08:44:36.421" v="57023"/>
          <ac:spMkLst>
            <pc:docMk/>
            <pc:sldMk cId="788765567" sldId="2147473977"/>
            <ac:spMk id="376" creationId="{65D967A8-1CED-1ECA-774A-F759AA1ECB50}"/>
          </ac:spMkLst>
        </pc:spChg>
        <pc:spChg chg="add del mod">
          <ac:chgData name="Steiner Andreas 6206 ED" userId="e6377c33-a923-4f14-8587-531c474c7b48" providerId="ADAL" clId="{6ECD27E6-B224-41CD-B4E0-E297462320DD}" dt="2023-11-24T08:44:39.055" v="57178"/>
          <ac:spMkLst>
            <pc:docMk/>
            <pc:sldMk cId="788765567" sldId="2147473977"/>
            <ac:spMk id="377" creationId="{04E6BE85-C042-4779-8C12-651985D5ABD4}"/>
          </ac:spMkLst>
        </pc:spChg>
        <pc:spChg chg="add del mod">
          <ac:chgData name="Steiner Andreas 6206 ED" userId="e6377c33-a923-4f14-8587-531c474c7b48" providerId="ADAL" clId="{6ECD27E6-B224-41CD-B4E0-E297462320DD}" dt="2023-11-24T08:44:41.312" v="57333"/>
          <ac:spMkLst>
            <pc:docMk/>
            <pc:sldMk cId="788765567" sldId="2147473977"/>
            <ac:spMk id="378" creationId="{0331A72E-835C-4F03-7480-8D24B8C4207F}"/>
          </ac:spMkLst>
        </pc:spChg>
        <pc:spChg chg="add del mod">
          <ac:chgData name="Steiner Andreas 6206 ED" userId="e6377c33-a923-4f14-8587-531c474c7b48" providerId="ADAL" clId="{6ECD27E6-B224-41CD-B4E0-E297462320DD}" dt="2023-11-24T08:44:43.471" v="57488"/>
          <ac:spMkLst>
            <pc:docMk/>
            <pc:sldMk cId="788765567" sldId="2147473977"/>
            <ac:spMk id="379" creationId="{44224F9B-9C65-9973-005B-7F4164D27A4C}"/>
          </ac:spMkLst>
        </pc:spChg>
        <pc:spChg chg="add del mod">
          <ac:chgData name="Steiner Andreas 6206 ED" userId="e6377c33-a923-4f14-8587-531c474c7b48" providerId="ADAL" clId="{6ECD27E6-B224-41CD-B4E0-E297462320DD}" dt="2023-11-24T08:44:45.652" v="57643"/>
          <ac:spMkLst>
            <pc:docMk/>
            <pc:sldMk cId="788765567" sldId="2147473977"/>
            <ac:spMk id="380" creationId="{3C34F92F-6751-A958-BF77-87AE51EE8974}"/>
          </ac:spMkLst>
        </pc:spChg>
        <pc:spChg chg="add del mod">
          <ac:chgData name="Steiner Andreas 6206 ED" userId="e6377c33-a923-4f14-8587-531c474c7b48" providerId="ADAL" clId="{6ECD27E6-B224-41CD-B4E0-E297462320DD}" dt="2023-11-24T08:44:48.405" v="57798"/>
          <ac:spMkLst>
            <pc:docMk/>
            <pc:sldMk cId="788765567" sldId="2147473977"/>
            <ac:spMk id="381" creationId="{285A80AF-0595-A29F-3460-6B74597CA2B0}"/>
          </ac:spMkLst>
        </pc:spChg>
        <pc:spChg chg="add del mod">
          <ac:chgData name="Steiner Andreas 6206 ED" userId="e6377c33-a923-4f14-8587-531c474c7b48" providerId="ADAL" clId="{6ECD27E6-B224-41CD-B4E0-E297462320DD}" dt="2023-11-24T08:44:50.621" v="57953"/>
          <ac:spMkLst>
            <pc:docMk/>
            <pc:sldMk cId="788765567" sldId="2147473977"/>
            <ac:spMk id="382" creationId="{DF74F7E9-61A4-42D0-615D-BB7C65684826}"/>
          </ac:spMkLst>
        </pc:spChg>
        <pc:spChg chg="add del mod">
          <ac:chgData name="Steiner Andreas 6206 ED" userId="e6377c33-a923-4f14-8587-531c474c7b48" providerId="ADAL" clId="{6ECD27E6-B224-41CD-B4E0-E297462320DD}" dt="2023-11-24T08:44:52.773" v="58108"/>
          <ac:spMkLst>
            <pc:docMk/>
            <pc:sldMk cId="788765567" sldId="2147473977"/>
            <ac:spMk id="383" creationId="{ED991836-6ECE-E2D5-A6A1-D9D714B3DCDA}"/>
          </ac:spMkLst>
        </pc:spChg>
        <pc:spChg chg="add del mod">
          <ac:chgData name="Steiner Andreas 6206 ED" userId="e6377c33-a923-4f14-8587-531c474c7b48" providerId="ADAL" clId="{6ECD27E6-B224-41CD-B4E0-E297462320DD}" dt="2023-11-24T08:44:54.977" v="58263"/>
          <ac:spMkLst>
            <pc:docMk/>
            <pc:sldMk cId="788765567" sldId="2147473977"/>
            <ac:spMk id="384" creationId="{A7621C38-7331-A7B8-B868-19CA9C0D653D}"/>
          </ac:spMkLst>
        </pc:spChg>
        <pc:spChg chg="add del mod">
          <ac:chgData name="Steiner Andreas 6206 ED" userId="e6377c33-a923-4f14-8587-531c474c7b48" providerId="ADAL" clId="{6ECD27E6-B224-41CD-B4E0-E297462320DD}" dt="2023-11-24T08:44:56.971" v="58418"/>
          <ac:spMkLst>
            <pc:docMk/>
            <pc:sldMk cId="788765567" sldId="2147473977"/>
            <ac:spMk id="385" creationId="{E7EDDAA0-7377-3C9D-D40F-C07B2EADA861}"/>
          </ac:spMkLst>
        </pc:spChg>
        <pc:spChg chg="add del mod">
          <ac:chgData name="Steiner Andreas 6206 ED" userId="e6377c33-a923-4f14-8587-531c474c7b48" providerId="ADAL" clId="{6ECD27E6-B224-41CD-B4E0-E297462320DD}" dt="2023-11-24T08:44:58.909" v="58573"/>
          <ac:spMkLst>
            <pc:docMk/>
            <pc:sldMk cId="788765567" sldId="2147473977"/>
            <ac:spMk id="386" creationId="{ABE35FCE-0758-F3CF-E521-FD6DD7574EBD}"/>
          </ac:spMkLst>
        </pc:spChg>
        <pc:spChg chg="add del mod">
          <ac:chgData name="Steiner Andreas 6206 ED" userId="e6377c33-a923-4f14-8587-531c474c7b48" providerId="ADAL" clId="{6ECD27E6-B224-41CD-B4E0-E297462320DD}" dt="2023-11-24T08:45:01.073" v="58728"/>
          <ac:spMkLst>
            <pc:docMk/>
            <pc:sldMk cId="788765567" sldId="2147473977"/>
            <ac:spMk id="387" creationId="{9E4CE73E-DE09-84DB-AF1F-831AA16E6761}"/>
          </ac:spMkLst>
        </pc:spChg>
        <pc:spChg chg="add del mod">
          <ac:chgData name="Steiner Andreas 6206 ED" userId="e6377c33-a923-4f14-8587-531c474c7b48" providerId="ADAL" clId="{6ECD27E6-B224-41CD-B4E0-E297462320DD}" dt="2023-11-24T08:45:02.991" v="58883"/>
          <ac:spMkLst>
            <pc:docMk/>
            <pc:sldMk cId="788765567" sldId="2147473977"/>
            <ac:spMk id="388" creationId="{B6FF7509-B430-00EA-AEF0-7688F0757A84}"/>
          </ac:spMkLst>
        </pc:spChg>
        <pc:spChg chg="add del mod">
          <ac:chgData name="Steiner Andreas 6206 ED" userId="e6377c33-a923-4f14-8587-531c474c7b48" providerId="ADAL" clId="{6ECD27E6-B224-41CD-B4E0-E297462320DD}" dt="2023-11-24T08:45:04.836" v="59038"/>
          <ac:spMkLst>
            <pc:docMk/>
            <pc:sldMk cId="788765567" sldId="2147473977"/>
            <ac:spMk id="389" creationId="{2A718CF0-245A-1AD7-0B43-65D65904F974}"/>
          </ac:spMkLst>
        </pc:spChg>
        <pc:spChg chg="add del mod">
          <ac:chgData name="Steiner Andreas 6206 ED" userId="e6377c33-a923-4f14-8587-531c474c7b48" providerId="ADAL" clId="{6ECD27E6-B224-41CD-B4E0-E297462320DD}" dt="2023-11-24T08:45:06.686" v="59193"/>
          <ac:spMkLst>
            <pc:docMk/>
            <pc:sldMk cId="788765567" sldId="2147473977"/>
            <ac:spMk id="390" creationId="{AB58CCA5-A1DB-1853-0575-2C72DA5D2AB1}"/>
          </ac:spMkLst>
        </pc:spChg>
        <pc:spChg chg="add del mod">
          <ac:chgData name="Steiner Andreas 6206 ED" userId="e6377c33-a923-4f14-8587-531c474c7b48" providerId="ADAL" clId="{6ECD27E6-B224-41CD-B4E0-E297462320DD}" dt="2023-11-24T08:45:08.522" v="59348"/>
          <ac:spMkLst>
            <pc:docMk/>
            <pc:sldMk cId="788765567" sldId="2147473977"/>
            <ac:spMk id="391" creationId="{ABB87688-9A3C-F002-020C-D035EB2C1DD7}"/>
          </ac:spMkLst>
        </pc:spChg>
        <pc:spChg chg="add del mod">
          <ac:chgData name="Steiner Andreas 6206 ED" userId="e6377c33-a923-4f14-8587-531c474c7b48" providerId="ADAL" clId="{6ECD27E6-B224-41CD-B4E0-E297462320DD}" dt="2023-11-24T08:45:10.353" v="59503"/>
          <ac:spMkLst>
            <pc:docMk/>
            <pc:sldMk cId="788765567" sldId="2147473977"/>
            <ac:spMk id="392" creationId="{091FC666-B307-B305-FB7C-6C45CF50FDC9}"/>
          </ac:spMkLst>
        </pc:spChg>
        <pc:spChg chg="add del mod">
          <ac:chgData name="Steiner Andreas 6206 ED" userId="e6377c33-a923-4f14-8587-531c474c7b48" providerId="ADAL" clId="{6ECD27E6-B224-41CD-B4E0-E297462320DD}" dt="2023-11-24T08:45:12.416" v="59658"/>
          <ac:spMkLst>
            <pc:docMk/>
            <pc:sldMk cId="788765567" sldId="2147473977"/>
            <ac:spMk id="393" creationId="{20450EF3-F6D8-C513-D964-292677208532}"/>
          </ac:spMkLst>
        </pc:spChg>
        <pc:spChg chg="add del mod">
          <ac:chgData name="Steiner Andreas 6206 ED" userId="e6377c33-a923-4f14-8587-531c474c7b48" providerId="ADAL" clId="{6ECD27E6-B224-41CD-B4E0-E297462320DD}" dt="2023-11-24T08:45:14.356" v="59813"/>
          <ac:spMkLst>
            <pc:docMk/>
            <pc:sldMk cId="788765567" sldId="2147473977"/>
            <ac:spMk id="394" creationId="{451193F0-F348-BA77-C554-75A44546BFC3}"/>
          </ac:spMkLst>
        </pc:spChg>
        <pc:spChg chg="add del mod">
          <ac:chgData name="Steiner Andreas 6206 ED" userId="e6377c33-a923-4f14-8587-531c474c7b48" providerId="ADAL" clId="{6ECD27E6-B224-41CD-B4E0-E297462320DD}" dt="2023-11-24T08:45:16.423" v="59968"/>
          <ac:spMkLst>
            <pc:docMk/>
            <pc:sldMk cId="788765567" sldId="2147473977"/>
            <ac:spMk id="395" creationId="{7DF62B00-2D98-9D36-7D28-477493E6D96B}"/>
          </ac:spMkLst>
        </pc:spChg>
        <pc:spChg chg="add del mod">
          <ac:chgData name="Steiner Andreas 6206 ED" userId="e6377c33-a923-4f14-8587-531c474c7b48" providerId="ADAL" clId="{6ECD27E6-B224-41CD-B4E0-E297462320DD}" dt="2023-11-24T08:45:18.366" v="60123"/>
          <ac:spMkLst>
            <pc:docMk/>
            <pc:sldMk cId="788765567" sldId="2147473977"/>
            <ac:spMk id="396" creationId="{B597123B-C0A5-3AC9-BE83-9DE157A3DAE8}"/>
          </ac:spMkLst>
        </pc:spChg>
        <pc:spChg chg="add del mod">
          <ac:chgData name="Steiner Andreas 6206 ED" userId="e6377c33-a923-4f14-8587-531c474c7b48" providerId="ADAL" clId="{6ECD27E6-B224-41CD-B4E0-E297462320DD}" dt="2023-11-24T08:45:20.259" v="60278"/>
          <ac:spMkLst>
            <pc:docMk/>
            <pc:sldMk cId="788765567" sldId="2147473977"/>
            <ac:spMk id="397" creationId="{AEFDD8C7-8E45-F598-C438-F498938A0A4A}"/>
          </ac:spMkLst>
        </pc:spChg>
        <pc:spChg chg="add del mod">
          <ac:chgData name="Steiner Andreas 6206 ED" userId="e6377c33-a923-4f14-8587-531c474c7b48" providerId="ADAL" clId="{6ECD27E6-B224-41CD-B4E0-E297462320DD}" dt="2023-11-24T08:45:22.468" v="60433"/>
          <ac:spMkLst>
            <pc:docMk/>
            <pc:sldMk cId="788765567" sldId="2147473977"/>
            <ac:spMk id="398" creationId="{6294DF3E-3772-4503-02E0-75F9A2B2DB29}"/>
          </ac:spMkLst>
        </pc:spChg>
        <pc:spChg chg="add del mod">
          <ac:chgData name="Steiner Andreas 6206 ED" userId="e6377c33-a923-4f14-8587-531c474c7b48" providerId="ADAL" clId="{6ECD27E6-B224-41CD-B4E0-E297462320DD}" dt="2023-11-24T08:45:24.638" v="60588"/>
          <ac:spMkLst>
            <pc:docMk/>
            <pc:sldMk cId="788765567" sldId="2147473977"/>
            <ac:spMk id="399" creationId="{B0931522-E7AE-3321-8A6E-AB497B7B9671}"/>
          </ac:spMkLst>
        </pc:spChg>
        <pc:spChg chg="add del mod">
          <ac:chgData name="Steiner Andreas 6206 ED" userId="e6377c33-a923-4f14-8587-531c474c7b48" providerId="ADAL" clId="{6ECD27E6-B224-41CD-B4E0-E297462320DD}" dt="2023-11-24T08:45:26.580" v="60743"/>
          <ac:spMkLst>
            <pc:docMk/>
            <pc:sldMk cId="788765567" sldId="2147473977"/>
            <ac:spMk id="400" creationId="{0C171612-7BDB-D2B6-5311-FF0C91D72DBC}"/>
          </ac:spMkLst>
        </pc:spChg>
        <pc:spChg chg="add del mod">
          <ac:chgData name="Steiner Andreas 6206 ED" userId="e6377c33-a923-4f14-8587-531c474c7b48" providerId="ADAL" clId="{6ECD27E6-B224-41CD-B4E0-E297462320DD}" dt="2023-11-24T08:45:28.462" v="60898"/>
          <ac:spMkLst>
            <pc:docMk/>
            <pc:sldMk cId="788765567" sldId="2147473977"/>
            <ac:spMk id="401" creationId="{07E41748-A481-8C35-7AD4-7A262E864CC5}"/>
          </ac:spMkLst>
        </pc:spChg>
        <pc:spChg chg="add del mod">
          <ac:chgData name="Steiner Andreas 6206 ED" userId="e6377c33-a923-4f14-8587-531c474c7b48" providerId="ADAL" clId="{6ECD27E6-B224-41CD-B4E0-E297462320DD}" dt="2023-11-24T08:45:30.305" v="61053"/>
          <ac:spMkLst>
            <pc:docMk/>
            <pc:sldMk cId="788765567" sldId="2147473977"/>
            <ac:spMk id="402" creationId="{FC692F10-0588-08CF-670F-24AF3D19F689}"/>
          </ac:spMkLst>
        </pc:spChg>
        <pc:spChg chg="add del mod">
          <ac:chgData name="Steiner Andreas 6206 ED" userId="e6377c33-a923-4f14-8587-531c474c7b48" providerId="ADAL" clId="{6ECD27E6-B224-41CD-B4E0-E297462320DD}" dt="2023-11-24T08:45:32.146" v="61208"/>
          <ac:spMkLst>
            <pc:docMk/>
            <pc:sldMk cId="788765567" sldId="2147473977"/>
            <ac:spMk id="403" creationId="{A5B1F078-FADA-FD82-893B-2E838FE08045}"/>
          </ac:spMkLst>
        </pc:spChg>
        <pc:spChg chg="add del mod">
          <ac:chgData name="Steiner Andreas 6206 ED" userId="e6377c33-a923-4f14-8587-531c474c7b48" providerId="ADAL" clId="{6ECD27E6-B224-41CD-B4E0-E297462320DD}" dt="2023-11-24T08:45:34.308" v="61363"/>
          <ac:spMkLst>
            <pc:docMk/>
            <pc:sldMk cId="788765567" sldId="2147473977"/>
            <ac:spMk id="404" creationId="{60530150-6516-D755-366C-DFE19CF047FA}"/>
          </ac:spMkLst>
        </pc:spChg>
        <pc:spChg chg="add del mod">
          <ac:chgData name="Steiner Andreas 6206 ED" userId="e6377c33-a923-4f14-8587-531c474c7b48" providerId="ADAL" clId="{6ECD27E6-B224-41CD-B4E0-E297462320DD}" dt="2023-11-24T08:45:36.358" v="61518"/>
          <ac:spMkLst>
            <pc:docMk/>
            <pc:sldMk cId="788765567" sldId="2147473977"/>
            <ac:spMk id="405" creationId="{B42B236F-8090-3CD1-FE9E-3D6E7BC01D85}"/>
          </ac:spMkLst>
        </pc:spChg>
        <pc:spChg chg="add del mod">
          <ac:chgData name="Steiner Andreas 6206 ED" userId="e6377c33-a923-4f14-8587-531c474c7b48" providerId="ADAL" clId="{6ECD27E6-B224-41CD-B4E0-E297462320DD}" dt="2023-11-24T08:45:38.215" v="61673"/>
          <ac:spMkLst>
            <pc:docMk/>
            <pc:sldMk cId="788765567" sldId="2147473977"/>
            <ac:spMk id="406" creationId="{D3597A3B-C3D9-336D-AF4E-74833E4EBA66}"/>
          </ac:spMkLst>
        </pc:spChg>
        <pc:spChg chg="add del mod">
          <ac:chgData name="Steiner Andreas 6206 ED" userId="e6377c33-a923-4f14-8587-531c474c7b48" providerId="ADAL" clId="{6ECD27E6-B224-41CD-B4E0-E297462320DD}" dt="2023-11-24T08:45:40.109" v="61828"/>
          <ac:spMkLst>
            <pc:docMk/>
            <pc:sldMk cId="788765567" sldId="2147473977"/>
            <ac:spMk id="407" creationId="{234274C6-21AF-6967-14EA-428D22FABB3B}"/>
          </ac:spMkLst>
        </pc:spChg>
        <pc:spChg chg="add del mod">
          <ac:chgData name="Steiner Andreas 6206 ED" userId="e6377c33-a923-4f14-8587-531c474c7b48" providerId="ADAL" clId="{6ECD27E6-B224-41CD-B4E0-E297462320DD}" dt="2023-11-24T08:45:42.129" v="61983"/>
          <ac:spMkLst>
            <pc:docMk/>
            <pc:sldMk cId="788765567" sldId="2147473977"/>
            <ac:spMk id="408" creationId="{9C2F6837-9467-54FA-4EB9-B54B2C51655C}"/>
          </ac:spMkLst>
        </pc:spChg>
        <pc:spChg chg="add del mod">
          <ac:chgData name="Steiner Andreas 6206 ED" userId="e6377c33-a923-4f14-8587-531c474c7b48" providerId="ADAL" clId="{6ECD27E6-B224-41CD-B4E0-E297462320DD}" dt="2023-11-24T08:45:44.102" v="62138"/>
          <ac:spMkLst>
            <pc:docMk/>
            <pc:sldMk cId="788765567" sldId="2147473977"/>
            <ac:spMk id="409" creationId="{CB53954F-E8BB-3DE5-51C4-FA0A9BF070B9}"/>
          </ac:spMkLst>
        </pc:spChg>
        <pc:spChg chg="add del mod">
          <ac:chgData name="Steiner Andreas 6206 ED" userId="e6377c33-a923-4f14-8587-531c474c7b48" providerId="ADAL" clId="{6ECD27E6-B224-41CD-B4E0-E297462320DD}" dt="2023-11-24T08:45:46.226" v="62293"/>
          <ac:spMkLst>
            <pc:docMk/>
            <pc:sldMk cId="788765567" sldId="2147473977"/>
            <ac:spMk id="410" creationId="{06F47169-65AC-604B-B1FA-170CA1890BA0}"/>
          </ac:spMkLst>
        </pc:spChg>
        <pc:spChg chg="add del mod">
          <ac:chgData name="Steiner Andreas 6206 ED" userId="e6377c33-a923-4f14-8587-531c474c7b48" providerId="ADAL" clId="{6ECD27E6-B224-41CD-B4E0-E297462320DD}" dt="2023-11-24T08:45:48.122" v="62448"/>
          <ac:spMkLst>
            <pc:docMk/>
            <pc:sldMk cId="788765567" sldId="2147473977"/>
            <ac:spMk id="411" creationId="{507145FD-CB46-5882-CC6A-4973A058E74B}"/>
          </ac:spMkLst>
        </pc:spChg>
        <pc:spChg chg="add del mod">
          <ac:chgData name="Steiner Andreas 6206 ED" userId="e6377c33-a923-4f14-8587-531c474c7b48" providerId="ADAL" clId="{6ECD27E6-B224-41CD-B4E0-E297462320DD}" dt="2023-11-24T08:45:50.471" v="62603"/>
          <ac:spMkLst>
            <pc:docMk/>
            <pc:sldMk cId="788765567" sldId="2147473977"/>
            <ac:spMk id="412" creationId="{EF82A86E-DE9C-48A4-6A94-69E50EB8D260}"/>
          </ac:spMkLst>
        </pc:spChg>
        <pc:spChg chg="add del mod">
          <ac:chgData name="Steiner Andreas 6206 ED" userId="e6377c33-a923-4f14-8587-531c474c7b48" providerId="ADAL" clId="{6ECD27E6-B224-41CD-B4E0-E297462320DD}" dt="2023-11-24T08:45:52.475" v="62758"/>
          <ac:spMkLst>
            <pc:docMk/>
            <pc:sldMk cId="788765567" sldId="2147473977"/>
            <ac:spMk id="413" creationId="{E72D06F9-519A-19F6-34DB-C1D917ABE551}"/>
          </ac:spMkLst>
        </pc:spChg>
        <pc:spChg chg="add del mod">
          <ac:chgData name="Steiner Andreas 6206 ED" userId="e6377c33-a923-4f14-8587-531c474c7b48" providerId="ADAL" clId="{6ECD27E6-B224-41CD-B4E0-E297462320DD}" dt="2023-11-24T08:45:54.491" v="62913"/>
          <ac:spMkLst>
            <pc:docMk/>
            <pc:sldMk cId="788765567" sldId="2147473977"/>
            <ac:spMk id="414" creationId="{96DBDD32-D647-F9CA-24BF-96EAC762AA21}"/>
          </ac:spMkLst>
        </pc:spChg>
        <pc:spChg chg="add del mod">
          <ac:chgData name="Steiner Andreas 6206 ED" userId="e6377c33-a923-4f14-8587-531c474c7b48" providerId="ADAL" clId="{6ECD27E6-B224-41CD-B4E0-E297462320DD}" dt="2023-11-24T08:45:56.695" v="63068"/>
          <ac:spMkLst>
            <pc:docMk/>
            <pc:sldMk cId="788765567" sldId="2147473977"/>
            <ac:spMk id="415" creationId="{9F9E3F54-698D-A752-D826-6779B3C54737}"/>
          </ac:spMkLst>
        </pc:spChg>
        <pc:spChg chg="add del mod">
          <ac:chgData name="Steiner Andreas 6206 ED" userId="e6377c33-a923-4f14-8587-531c474c7b48" providerId="ADAL" clId="{6ECD27E6-B224-41CD-B4E0-E297462320DD}" dt="2023-11-24T08:45:58.709" v="63223"/>
          <ac:spMkLst>
            <pc:docMk/>
            <pc:sldMk cId="788765567" sldId="2147473977"/>
            <ac:spMk id="416" creationId="{196820B7-3D72-845A-D70B-B2447ABE8587}"/>
          </ac:spMkLst>
        </pc:spChg>
        <pc:spChg chg="add del mod">
          <ac:chgData name="Steiner Andreas 6206 ED" userId="e6377c33-a923-4f14-8587-531c474c7b48" providerId="ADAL" clId="{6ECD27E6-B224-41CD-B4E0-E297462320DD}" dt="2023-11-24T08:46:00.809" v="63378"/>
          <ac:spMkLst>
            <pc:docMk/>
            <pc:sldMk cId="788765567" sldId="2147473977"/>
            <ac:spMk id="417" creationId="{6C697A0B-5E96-2261-92FE-34DD94D07424}"/>
          </ac:spMkLst>
        </pc:spChg>
        <pc:spChg chg="add del mod">
          <ac:chgData name="Steiner Andreas 6206 ED" userId="e6377c33-a923-4f14-8587-531c474c7b48" providerId="ADAL" clId="{6ECD27E6-B224-41CD-B4E0-E297462320DD}" dt="2023-11-24T08:46:02.869" v="63533"/>
          <ac:spMkLst>
            <pc:docMk/>
            <pc:sldMk cId="788765567" sldId="2147473977"/>
            <ac:spMk id="418" creationId="{12ABA0FE-5A89-5120-632B-EF4FA75C7460}"/>
          </ac:spMkLst>
        </pc:spChg>
        <pc:spChg chg="add del mod">
          <ac:chgData name="Steiner Andreas 6206 ED" userId="e6377c33-a923-4f14-8587-531c474c7b48" providerId="ADAL" clId="{6ECD27E6-B224-41CD-B4E0-E297462320DD}" dt="2023-11-24T08:46:05.328" v="63688"/>
          <ac:spMkLst>
            <pc:docMk/>
            <pc:sldMk cId="788765567" sldId="2147473977"/>
            <ac:spMk id="419" creationId="{3C908ADE-BEC9-C259-084C-61878F36F482}"/>
          </ac:spMkLst>
        </pc:spChg>
        <pc:spChg chg="add del mod">
          <ac:chgData name="Steiner Andreas 6206 ED" userId="e6377c33-a923-4f14-8587-531c474c7b48" providerId="ADAL" clId="{6ECD27E6-B224-41CD-B4E0-E297462320DD}" dt="2023-11-24T08:46:07.822" v="63843"/>
          <ac:spMkLst>
            <pc:docMk/>
            <pc:sldMk cId="788765567" sldId="2147473977"/>
            <ac:spMk id="420" creationId="{E57B076B-05D5-C4C5-26F5-926B833F61F2}"/>
          </ac:spMkLst>
        </pc:spChg>
        <pc:spChg chg="add del mod">
          <ac:chgData name="Steiner Andreas 6206 ED" userId="e6377c33-a923-4f14-8587-531c474c7b48" providerId="ADAL" clId="{6ECD27E6-B224-41CD-B4E0-E297462320DD}" dt="2023-11-24T08:46:09.978" v="63998"/>
          <ac:spMkLst>
            <pc:docMk/>
            <pc:sldMk cId="788765567" sldId="2147473977"/>
            <ac:spMk id="421" creationId="{D111B847-0C9B-AA5C-29A0-1E3CC1456668}"/>
          </ac:spMkLst>
        </pc:spChg>
        <pc:spChg chg="add del mod">
          <ac:chgData name="Steiner Andreas 6206 ED" userId="e6377c33-a923-4f14-8587-531c474c7b48" providerId="ADAL" clId="{6ECD27E6-B224-41CD-B4E0-E297462320DD}" dt="2023-11-24T08:46:12.187" v="64153"/>
          <ac:spMkLst>
            <pc:docMk/>
            <pc:sldMk cId="788765567" sldId="2147473977"/>
            <ac:spMk id="422" creationId="{01E1DE87-661E-E564-5634-5C3EA0922711}"/>
          </ac:spMkLst>
        </pc:spChg>
        <pc:spChg chg="add del mod">
          <ac:chgData name="Steiner Andreas 6206 ED" userId="e6377c33-a923-4f14-8587-531c474c7b48" providerId="ADAL" clId="{6ECD27E6-B224-41CD-B4E0-E297462320DD}" dt="2023-11-24T08:46:14.355" v="64308"/>
          <ac:spMkLst>
            <pc:docMk/>
            <pc:sldMk cId="788765567" sldId="2147473977"/>
            <ac:spMk id="423" creationId="{92FE1945-9E23-3528-C5BF-3402653D36D0}"/>
          </ac:spMkLst>
        </pc:spChg>
        <pc:spChg chg="add del mod">
          <ac:chgData name="Steiner Andreas 6206 ED" userId="e6377c33-a923-4f14-8587-531c474c7b48" providerId="ADAL" clId="{6ECD27E6-B224-41CD-B4E0-E297462320DD}" dt="2023-11-24T08:46:16.546" v="64463"/>
          <ac:spMkLst>
            <pc:docMk/>
            <pc:sldMk cId="788765567" sldId="2147473977"/>
            <ac:spMk id="424" creationId="{7B84A58D-19EF-8B2B-E50B-D8803529B6DA}"/>
          </ac:spMkLst>
        </pc:spChg>
        <pc:spChg chg="add del mod">
          <ac:chgData name="Steiner Andreas 6206 ED" userId="e6377c33-a923-4f14-8587-531c474c7b48" providerId="ADAL" clId="{6ECD27E6-B224-41CD-B4E0-E297462320DD}" dt="2023-11-24T08:46:18.436" v="64618"/>
          <ac:spMkLst>
            <pc:docMk/>
            <pc:sldMk cId="788765567" sldId="2147473977"/>
            <ac:spMk id="425" creationId="{34D275E1-EA5D-941C-3F3F-5E145B6396E7}"/>
          </ac:spMkLst>
        </pc:spChg>
        <pc:spChg chg="add del mod">
          <ac:chgData name="Steiner Andreas 6206 ED" userId="e6377c33-a923-4f14-8587-531c474c7b48" providerId="ADAL" clId="{6ECD27E6-B224-41CD-B4E0-E297462320DD}" dt="2023-11-24T08:46:20.980" v="64773"/>
          <ac:spMkLst>
            <pc:docMk/>
            <pc:sldMk cId="788765567" sldId="2147473977"/>
            <ac:spMk id="426" creationId="{A308B45C-753B-1E88-858A-C8EBC1445449}"/>
          </ac:spMkLst>
        </pc:spChg>
        <pc:spChg chg="add del mod">
          <ac:chgData name="Steiner Andreas 6206 ED" userId="e6377c33-a923-4f14-8587-531c474c7b48" providerId="ADAL" clId="{6ECD27E6-B224-41CD-B4E0-E297462320DD}" dt="2023-11-24T08:46:23.266" v="64928"/>
          <ac:spMkLst>
            <pc:docMk/>
            <pc:sldMk cId="788765567" sldId="2147473977"/>
            <ac:spMk id="427" creationId="{34ADC09A-4B5E-DEBC-052C-65D9260C0BC7}"/>
          </ac:spMkLst>
        </pc:spChg>
        <pc:spChg chg="add del mod">
          <ac:chgData name="Steiner Andreas 6206 ED" userId="e6377c33-a923-4f14-8587-531c474c7b48" providerId="ADAL" clId="{6ECD27E6-B224-41CD-B4E0-E297462320DD}" dt="2023-11-24T08:46:25.453" v="65083"/>
          <ac:spMkLst>
            <pc:docMk/>
            <pc:sldMk cId="788765567" sldId="2147473977"/>
            <ac:spMk id="428" creationId="{5F145458-0F26-4914-074A-BB5B2CBF2A52}"/>
          </ac:spMkLst>
        </pc:spChg>
        <pc:spChg chg="add del mod">
          <ac:chgData name="Steiner Andreas 6206 ED" userId="e6377c33-a923-4f14-8587-531c474c7b48" providerId="ADAL" clId="{6ECD27E6-B224-41CD-B4E0-E297462320DD}" dt="2023-11-24T08:46:27.776" v="65238"/>
          <ac:spMkLst>
            <pc:docMk/>
            <pc:sldMk cId="788765567" sldId="2147473977"/>
            <ac:spMk id="429" creationId="{4EBB537C-C466-3A7C-8BA6-B2F4A4A8D80F}"/>
          </ac:spMkLst>
        </pc:spChg>
        <pc:spChg chg="add del mod">
          <ac:chgData name="Steiner Andreas 6206 ED" userId="e6377c33-a923-4f14-8587-531c474c7b48" providerId="ADAL" clId="{6ECD27E6-B224-41CD-B4E0-E297462320DD}" dt="2023-11-24T08:46:29.856" v="65393"/>
          <ac:spMkLst>
            <pc:docMk/>
            <pc:sldMk cId="788765567" sldId="2147473977"/>
            <ac:spMk id="430" creationId="{16D8C3C2-9D6C-B7DD-D45B-B90057A622FD}"/>
          </ac:spMkLst>
        </pc:spChg>
        <pc:spChg chg="add del mod">
          <ac:chgData name="Steiner Andreas 6206 ED" userId="e6377c33-a923-4f14-8587-531c474c7b48" providerId="ADAL" clId="{6ECD27E6-B224-41CD-B4E0-E297462320DD}" dt="2023-11-24T08:46:32.325" v="65548"/>
          <ac:spMkLst>
            <pc:docMk/>
            <pc:sldMk cId="788765567" sldId="2147473977"/>
            <ac:spMk id="431" creationId="{7205564F-200C-955B-9C46-005E1731235A}"/>
          </ac:spMkLst>
        </pc:spChg>
        <pc:spChg chg="add del mod">
          <ac:chgData name="Steiner Andreas 6206 ED" userId="e6377c33-a923-4f14-8587-531c474c7b48" providerId="ADAL" clId="{6ECD27E6-B224-41CD-B4E0-E297462320DD}" dt="2023-11-24T08:46:34.343" v="65703"/>
          <ac:spMkLst>
            <pc:docMk/>
            <pc:sldMk cId="788765567" sldId="2147473977"/>
            <ac:spMk id="432" creationId="{ED2855AA-0FD1-1F25-E433-2F4A7884CC7E}"/>
          </ac:spMkLst>
        </pc:spChg>
        <pc:spChg chg="add del mod">
          <ac:chgData name="Steiner Andreas 6206 ED" userId="e6377c33-a923-4f14-8587-531c474c7b48" providerId="ADAL" clId="{6ECD27E6-B224-41CD-B4E0-E297462320DD}" dt="2023-11-24T08:46:36.268" v="65858"/>
          <ac:spMkLst>
            <pc:docMk/>
            <pc:sldMk cId="788765567" sldId="2147473977"/>
            <ac:spMk id="433" creationId="{49B2D9B7-F5E9-8625-1F9C-F436894B1949}"/>
          </ac:spMkLst>
        </pc:spChg>
        <pc:spChg chg="add del mod">
          <ac:chgData name="Steiner Andreas 6206 ED" userId="e6377c33-a923-4f14-8587-531c474c7b48" providerId="ADAL" clId="{6ECD27E6-B224-41CD-B4E0-E297462320DD}" dt="2023-11-24T08:46:38.357" v="66013"/>
          <ac:spMkLst>
            <pc:docMk/>
            <pc:sldMk cId="788765567" sldId="2147473977"/>
            <ac:spMk id="434" creationId="{7EF02314-9C84-300F-EFA5-4899B3AFF2F3}"/>
          </ac:spMkLst>
        </pc:spChg>
        <pc:spChg chg="add del mod">
          <ac:chgData name="Steiner Andreas 6206 ED" userId="e6377c33-a923-4f14-8587-531c474c7b48" providerId="ADAL" clId="{6ECD27E6-B224-41CD-B4E0-E297462320DD}" dt="2023-11-24T08:46:40.452" v="66168"/>
          <ac:spMkLst>
            <pc:docMk/>
            <pc:sldMk cId="788765567" sldId="2147473977"/>
            <ac:spMk id="435" creationId="{F26EB088-4561-50C7-F104-70165E221D95}"/>
          </ac:spMkLst>
        </pc:spChg>
        <pc:spChg chg="add del mod">
          <ac:chgData name="Steiner Andreas 6206 ED" userId="e6377c33-a923-4f14-8587-531c474c7b48" providerId="ADAL" clId="{6ECD27E6-B224-41CD-B4E0-E297462320DD}" dt="2023-11-24T08:46:42.728" v="66323"/>
          <ac:spMkLst>
            <pc:docMk/>
            <pc:sldMk cId="788765567" sldId="2147473977"/>
            <ac:spMk id="436" creationId="{23F8A1D5-C2A1-6DF4-886F-EEFA7932F2A5}"/>
          </ac:spMkLst>
        </pc:spChg>
        <pc:spChg chg="add del mod">
          <ac:chgData name="Steiner Andreas 6206 ED" userId="e6377c33-a923-4f14-8587-531c474c7b48" providerId="ADAL" clId="{6ECD27E6-B224-41CD-B4E0-E297462320DD}" dt="2023-11-24T08:46:44.833" v="66478"/>
          <ac:spMkLst>
            <pc:docMk/>
            <pc:sldMk cId="788765567" sldId="2147473977"/>
            <ac:spMk id="437" creationId="{B83AE292-0A33-605B-8E48-806003449E4C}"/>
          </ac:spMkLst>
        </pc:spChg>
        <pc:spChg chg="add del mod">
          <ac:chgData name="Steiner Andreas 6206 ED" userId="e6377c33-a923-4f14-8587-531c474c7b48" providerId="ADAL" clId="{6ECD27E6-B224-41CD-B4E0-E297462320DD}" dt="2023-11-24T08:46:46.913" v="66633"/>
          <ac:spMkLst>
            <pc:docMk/>
            <pc:sldMk cId="788765567" sldId="2147473977"/>
            <ac:spMk id="438" creationId="{AD01DAE5-184E-B489-D0BD-B5AE14CFBED2}"/>
          </ac:spMkLst>
        </pc:spChg>
        <pc:spChg chg="add del mod">
          <ac:chgData name="Steiner Andreas 6206 ED" userId="e6377c33-a923-4f14-8587-531c474c7b48" providerId="ADAL" clId="{6ECD27E6-B224-41CD-B4E0-E297462320DD}" dt="2023-11-24T08:46:49.047" v="66788"/>
          <ac:spMkLst>
            <pc:docMk/>
            <pc:sldMk cId="788765567" sldId="2147473977"/>
            <ac:spMk id="439" creationId="{8568F625-8A11-A6CC-BFFA-79C16211AFCC}"/>
          </ac:spMkLst>
        </pc:spChg>
        <pc:spChg chg="add del mod">
          <ac:chgData name="Steiner Andreas 6206 ED" userId="e6377c33-a923-4f14-8587-531c474c7b48" providerId="ADAL" clId="{6ECD27E6-B224-41CD-B4E0-E297462320DD}" dt="2023-11-24T08:46:51.107" v="66943"/>
          <ac:spMkLst>
            <pc:docMk/>
            <pc:sldMk cId="788765567" sldId="2147473977"/>
            <ac:spMk id="440" creationId="{8B7F3BE4-7EC6-5D19-F944-E2013E688D55}"/>
          </ac:spMkLst>
        </pc:spChg>
        <pc:spChg chg="add del mod">
          <ac:chgData name="Steiner Andreas 6206 ED" userId="e6377c33-a923-4f14-8587-531c474c7b48" providerId="ADAL" clId="{6ECD27E6-B224-41CD-B4E0-E297462320DD}" dt="2023-11-24T08:46:53.130" v="67098"/>
          <ac:spMkLst>
            <pc:docMk/>
            <pc:sldMk cId="788765567" sldId="2147473977"/>
            <ac:spMk id="441" creationId="{B453B39E-38EB-64AD-894C-22834509FBF3}"/>
          </ac:spMkLst>
        </pc:spChg>
        <pc:spChg chg="add del mod">
          <ac:chgData name="Steiner Andreas 6206 ED" userId="e6377c33-a923-4f14-8587-531c474c7b48" providerId="ADAL" clId="{6ECD27E6-B224-41CD-B4E0-E297462320DD}" dt="2023-11-24T08:46:55.128" v="67253"/>
          <ac:spMkLst>
            <pc:docMk/>
            <pc:sldMk cId="788765567" sldId="2147473977"/>
            <ac:spMk id="442" creationId="{0BF3FBF8-69A5-7ED0-1F20-158DDF965248}"/>
          </ac:spMkLst>
        </pc:spChg>
        <pc:spChg chg="add del mod">
          <ac:chgData name="Steiner Andreas 6206 ED" userId="e6377c33-a923-4f14-8587-531c474c7b48" providerId="ADAL" clId="{6ECD27E6-B224-41CD-B4E0-E297462320DD}" dt="2023-11-24T08:46:57.069" v="67408"/>
          <ac:spMkLst>
            <pc:docMk/>
            <pc:sldMk cId="788765567" sldId="2147473977"/>
            <ac:spMk id="443" creationId="{0D546E34-553E-51CF-2EE7-E2E9FC656223}"/>
          </ac:spMkLst>
        </pc:spChg>
        <pc:spChg chg="add del mod">
          <ac:chgData name="Steiner Andreas 6206 ED" userId="e6377c33-a923-4f14-8587-531c474c7b48" providerId="ADAL" clId="{6ECD27E6-B224-41CD-B4E0-E297462320DD}" dt="2023-11-24T08:46:58.943" v="67563"/>
          <ac:spMkLst>
            <pc:docMk/>
            <pc:sldMk cId="788765567" sldId="2147473977"/>
            <ac:spMk id="444" creationId="{4D2E1904-CF68-221F-BCE3-7B690EECA563}"/>
          </ac:spMkLst>
        </pc:spChg>
        <pc:spChg chg="add del mod">
          <ac:chgData name="Steiner Andreas 6206 ED" userId="e6377c33-a923-4f14-8587-531c474c7b48" providerId="ADAL" clId="{6ECD27E6-B224-41CD-B4E0-E297462320DD}" dt="2023-11-24T08:47:01.050" v="67718"/>
          <ac:spMkLst>
            <pc:docMk/>
            <pc:sldMk cId="788765567" sldId="2147473977"/>
            <ac:spMk id="445" creationId="{6935680E-9ADE-E030-E0E8-EDA3CCEE1CB4}"/>
          </ac:spMkLst>
        </pc:spChg>
        <pc:spChg chg="add del mod">
          <ac:chgData name="Steiner Andreas 6206 ED" userId="e6377c33-a923-4f14-8587-531c474c7b48" providerId="ADAL" clId="{6ECD27E6-B224-41CD-B4E0-E297462320DD}" dt="2023-11-24T08:47:03.244" v="67873"/>
          <ac:spMkLst>
            <pc:docMk/>
            <pc:sldMk cId="788765567" sldId="2147473977"/>
            <ac:spMk id="446" creationId="{0DE59B04-9EAA-61AE-AF00-56C9EB50CC28}"/>
          </ac:spMkLst>
        </pc:spChg>
        <pc:spChg chg="add del mod">
          <ac:chgData name="Steiner Andreas 6206 ED" userId="e6377c33-a923-4f14-8587-531c474c7b48" providerId="ADAL" clId="{6ECD27E6-B224-41CD-B4E0-E297462320DD}" dt="2023-11-24T08:47:05.193" v="68028"/>
          <ac:spMkLst>
            <pc:docMk/>
            <pc:sldMk cId="788765567" sldId="2147473977"/>
            <ac:spMk id="447" creationId="{BE94F64A-15D0-215C-C41D-83393830DDB3}"/>
          </ac:spMkLst>
        </pc:spChg>
        <pc:spChg chg="add del mod">
          <ac:chgData name="Steiner Andreas 6206 ED" userId="e6377c33-a923-4f14-8587-531c474c7b48" providerId="ADAL" clId="{6ECD27E6-B224-41CD-B4E0-E297462320DD}" dt="2023-11-24T08:47:06.971" v="68183"/>
          <ac:spMkLst>
            <pc:docMk/>
            <pc:sldMk cId="788765567" sldId="2147473977"/>
            <ac:spMk id="448" creationId="{8037FD73-ECC1-4C28-BF60-E5EE2EB006F3}"/>
          </ac:spMkLst>
        </pc:spChg>
        <pc:spChg chg="add del mod">
          <ac:chgData name="Steiner Andreas 6206 ED" userId="e6377c33-a923-4f14-8587-531c474c7b48" providerId="ADAL" clId="{6ECD27E6-B224-41CD-B4E0-E297462320DD}" dt="2023-11-24T08:47:08.873" v="68338"/>
          <ac:spMkLst>
            <pc:docMk/>
            <pc:sldMk cId="788765567" sldId="2147473977"/>
            <ac:spMk id="449" creationId="{5F21F77C-6400-EF7F-2630-2EDA81464B71}"/>
          </ac:spMkLst>
        </pc:spChg>
        <pc:spChg chg="add del mod">
          <ac:chgData name="Steiner Andreas 6206 ED" userId="e6377c33-a923-4f14-8587-531c474c7b48" providerId="ADAL" clId="{6ECD27E6-B224-41CD-B4E0-E297462320DD}" dt="2023-11-24T08:47:10.750" v="68493"/>
          <ac:spMkLst>
            <pc:docMk/>
            <pc:sldMk cId="788765567" sldId="2147473977"/>
            <ac:spMk id="450" creationId="{683AE657-07EF-89B3-2889-49F1176539AA}"/>
          </ac:spMkLst>
        </pc:spChg>
        <pc:spChg chg="add del mod">
          <ac:chgData name="Steiner Andreas 6206 ED" userId="e6377c33-a923-4f14-8587-531c474c7b48" providerId="ADAL" clId="{6ECD27E6-B224-41CD-B4E0-E297462320DD}" dt="2023-11-24T08:47:12.631" v="68648"/>
          <ac:spMkLst>
            <pc:docMk/>
            <pc:sldMk cId="788765567" sldId="2147473977"/>
            <ac:spMk id="451" creationId="{E88CA4FB-6A34-24BA-C81B-F4C9E88A48B2}"/>
          </ac:spMkLst>
        </pc:spChg>
        <pc:spChg chg="add del mod">
          <ac:chgData name="Steiner Andreas 6206 ED" userId="e6377c33-a923-4f14-8587-531c474c7b48" providerId="ADAL" clId="{6ECD27E6-B224-41CD-B4E0-E297462320DD}" dt="2023-11-24T08:47:14.801" v="68803"/>
          <ac:spMkLst>
            <pc:docMk/>
            <pc:sldMk cId="788765567" sldId="2147473977"/>
            <ac:spMk id="452" creationId="{A0807E30-4FC2-4851-32ED-855494C89767}"/>
          </ac:spMkLst>
        </pc:spChg>
        <pc:spChg chg="add del mod">
          <ac:chgData name="Steiner Andreas 6206 ED" userId="e6377c33-a923-4f14-8587-531c474c7b48" providerId="ADAL" clId="{6ECD27E6-B224-41CD-B4E0-E297462320DD}" dt="2023-11-24T08:47:16.745" v="68958"/>
          <ac:spMkLst>
            <pc:docMk/>
            <pc:sldMk cId="788765567" sldId="2147473977"/>
            <ac:spMk id="453" creationId="{0A13DC8B-E84C-FBA4-FADF-040B6D1521E9}"/>
          </ac:spMkLst>
        </pc:spChg>
        <pc:spChg chg="add del mod">
          <ac:chgData name="Steiner Andreas 6206 ED" userId="e6377c33-a923-4f14-8587-531c474c7b48" providerId="ADAL" clId="{6ECD27E6-B224-41CD-B4E0-E297462320DD}" dt="2023-11-24T08:47:18.696" v="69113"/>
          <ac:spMkLst>
            <pc:docMk/>
            <pc:sldMk cId="788765567" sldId="2147473977"/>
            <ac:spMk id="454" creationId="{0CFB16D1-6983-4126-194B-1C256012760B}"/>
          </ac:spMkLst>
        </pc:spChg>
        <pc:spChg chg="add del mod">
          <ac:chgData name="Steiner Andreas 6206 ED" userId="e6377c33-a923-4f14-8587-531c474c7b48" providerId="ADAL" clId="{6ECD27E6-B224-41CD-B4E0-E297462320DD}" dt="2023-11-24T08:47:20.656" v="69268"/>
          <ac:spMkLst>
            <pc:docMk/>
            <pc:sldMk cId="788765567" sldId="2147473977"/>
            <ac:spMk id="455" creationId="{FF1412DF-8E68-7F50-79C4-0FE7C12ECAC8}"/>
          </ac:spMkLst>
        </pc:spChg>
        <pc:spChg chg="add del mod">
          <ac:chgData name="Steiner Andreas 6206 ED" userId="e6377c33-a923-4f14-8587-531c474c7b48" providerId="ADAL" clId="{6ECD27E6-B224-41CD-B4E0-E297462320DD}" dt="2023-11-24T08:47:23.089" v="69423"/>
          <ac:spMkLst>
            <pc:docMk/>
            <pc:sldMk cId="788765567" sldId="2147473977"/>
            <ac:spMk id="456" creationId="{CDEFE16F-CCFB-8E8D-9950-42C5830C6629}"/>
          </ac:spMkLst>
        </pc:spChg>
        <pc:spChg chg="add del mod">
          <ac:chgData name="Steiner Andreas 6206 ED" userId="e6377c33-a923-4f14-8587-531c474c7b48" providerId="ADAL" clId="{6ECD27E6-B224-41CD-B4E0-E297462320DD}" dt="2023-11-24T08:47:25.770" v="69578"/>
          <ac:spMkLst>
            <pc:docMk/>
            <pc:sldMk cId="788765567" sldId="2147473977"/>
            <ac:spMk id="457" creationId="{F08F0A03-5E0A-6877-9C57-BE24B66374BA}"/>
          </ac:spMkLst>
        </pc:spChg>
        <pc:spChg chg="add del mod">
          <ac:chgData name="Steiner Andreas 6206 ED" userId="e6377c33-a923-4f14-8587-531c474c7b48" providerId="ADAL" clId="{6ECD27E6-B224-41CD-B4E0-E297462320DD}" dt="2023-11-24T08:47:27.937" v="69733"/>
          <ac:spMkLst>
            <pc:docMk/>
            <pc:sldMk cId="788765567" sldId="2147473977"/>
            <ac:spMk id="458" creationId="{271B5E82-408B-BCAD-0D62-54D569AB6FC2}"/>
          </ac:spMkLst>
        </pc:spChg>
        <pc:spChg chg="add del mod">
          <ac:chgData name="Steiner Andreas 6206 ED" userId="e6377c33-a923-4f14-8587-531c474c7b48" providerId="ADAL" clId="{6ECD27E6-B224-41CD-B4E0-E297462320DD}" dt="2023-11-24T08:47:29.976" v="69888"/>
          <ac:spMkLst>
            <pc:docMk/>
            <pc:sldMk cId="788765567" sldId="2147473977"/>
            <ac:spMk id="459" creationId="{D25EF3A0-C1F6-B020-DA34-73594FF81033}"/>
          </ac:spMkLst>
        </pc:spChg>
        <pc:spChg chg="add del mod">
          <ac:chgData name="Steiner Andreas 6206 ED" userId="e6377c33-a923-4f14-8587-531c474c7b48" providerId="ADAL" clId="{6ECD27E6-B224-41CD-B4E0-E297462320DD}" dt="2023-11-24T08:47:31.949" v="70043"/>
          <ac:spMkLst>
            <pc:docMk/>
            <pc:sldMk cId="788765567" sldId="2147473977"/>
            <ac:spMk id="460" creationId="{A8167A41-3130-A6AB-4BDB-669E1C7A774C}"/>
          </ac:spMkLst>
        </pc:spChg>
        <pc:spChg chg="add del mod">
          <ac:chgData name="Steiner Andreas 6206 ED" userId="e6377c33-a923-4f14-8587-531c474c7b48" providerId="ADAL" clId="{6ECD27E6-B224-41CD-B4E0-E297462320DD}" dt="2023-11-24T08:47:33.930" v="70198"/>
          <ac:spMkLst>
            <pc:docMk/>
            <pc:sldMk cId="788765567" sldId="2147473977"/>
            <ac:spMk id="461" creationId="{EC20FCED-EBBE-40F1-8C26-178D2EC68442}"/>
          </ac:spMkLst>
        </pc:spChg>
        <pc:spChg chg="add del mod">
          <ac:chgData name="Steiner Andreas 6206 ED" userId="e6377c33-a923-4f14-8587-531c474c7b48" providerId="ADAL" clId="{6ECD27E6-B224-41CD-B4E0-E297462320DD}" dt="2023-11-24T08:47:36.091" v="70353"/>
          <ac:spMkLst>
            <pc:docMk/>
            <pc:sldMk cId="788765567" sldId="2147473977"/>
            <ac:spMk id="462" creationId="{5A4C1D0C-AF61-943A-10CF-AC2E5CE0DCD5}"/>
          </ac:spMkLst>
        </pc:spChg>
        <pc:spChg chg="add del mod">
          <ac:chgData name="Steiner Andreas 6206 ED" userId="e6377c33-a923-4f14-8587-531c474c7b48" providerId="ADAL" clId="{6ECD27E6-B224-41CD-B4E0-E297462320DD}" dt="2023-11-24T08:47:38.201" v="70508"/>
          <ac:spMkLst>
            <pc:docMk/>
            <pc:sldMk cId="788765567" sldId="2147473977"/>
            <ac:spMk id="463" creationId="{EAC72F39-1BEB-B4ED-7A0E-EBD8F8C5F6E2}"/>
          </ac:spMkLst>
        </pc:spChg>
        <pc:spChg chg="add del mod">
          <ac:chgData name="Steiner Andreas 6206 ED" userId="e6377c33-a923-4f14-8587-531c474c7b48" providerId="ADAL" clId="{6ECD27E6-B224-41CD-B4E0-E297462320DD}" dt="2023-11-24T08:47:40.283" v="70663"/>
          <ac:spMkLst>
            <pc:docMk/>
            <pc:sldMk cId="788765567" sldId="2147473977"/>
            <ac:spMk id="464" creationId="{DC2F6F52-A6C9-6197-BDA0-68416817C1B6}"/>
          </ac:spMkLst>
        </pc:spChg>
        <pc:spChg chg="add del mod">
          <ac:chgData name="Steiner Andreas 6206 ED" userId="e6377c33-a923-4f14-8587-531c474c7b48" providerId="ADAL" clId="{6ECD27E6-B224-41CD-B4E0-E297462320DD}" dt="2023-11-24T08:47:42.184" v="70818"/>
          <ac:spMkLst>
            <pc:docMk/>
            <pc:sldMk cId="788765567" sldId="2147473977"/>
            <ac:spMk id="465" creationId="{368CF617-F659-CB7E-A8F9-57990DE49579}"/>
          </ac:spMkLst>
        </pc:spChg>
        <pc:spChg chg="add del mod">
          <ac:chgData name="Steiner Andreas 6206 ED" userId="e6377c33-a923-4f14-8587-531c474c7b48" providerId="ADAL" clId="{6ECD27E6-B224-41CD-B4E0-E297462320DD}" dt="2023-11-24T08:47:44.109" v="70973"/>
          <ac:spMkLst>
            <pc:docMk/>
            <pc:sldMk cId="788765567" sldId="2147473977"/>
            <ac:spMk id="466" creationId="{6C90139A-7B76-AD76-ED94-4EF3805DC55A}"/>
          </ac:spMkLst>
        </pc:spChg>
        <pc:spChg chg="add del mod">
          <ac:chgData name="Steiner Andreas 6206 ED" userId="e6377c33-a923-4f14-8587-531c474c7b48" providerId="ADAL" clId="{6ECD27E6-B224-41CD-B4E0-E297462320DD}" dt="2023-11-24T08:47:46.061" v="71128"/>
          <ac:spMkLst>
            <pc:docMk/>
            <pc:sldMk cId="788765567" sldId="2147473977"/>
            <ac:spMk id="467" creationId="{0EA6C85F-989D-66E9-CDE8-82A442878D18}"/>
          </ac:spMkLst>
        </pc:spChg>
        <pc:spChg chg="add del mod">
          <ac:chgData name="Steiner Andreas 6206 ED" userId="e6377c33-a923-4f14-8587-531c474c7b48" providerId="ADAL" clId="{6ECD27E6-B224-41CD-B4E0-E297462320DD}" dt="2023-11-24T08:47:48.159" v="71283"/>
          <ac:spMkLst>
            <pc:docMk/>
            <pc:sldMk cId="788765567" sldId="2147473977"/>
            <ac:spMk id="468" creationId="{212C29BA-C7B9-5FA2-BD82-DA302C97A6CC}"/>
          </ac:spMkLst>
        </pc:spChg>
        <pc:spChg chg="add del mod">
          <ac:chgData name="Steiner Andreas 6206 ED" userId="e6377c33-a923-4f14-8587-531c474c7b48" providerId="ADAL" clId="{6ECD27E6-B224-41CD-B4E0-E297462320DD}" dt="2023-11-24T08:47:50.248" v="71438"/>
          <ac:spMkLst>
            <pc:docMk/>
            <pc:sldMk cId="788765567" sldId="2147473977"/>
            <ac:spMk id="469" creationId="{4D7183DD-86A3-F5E6-5224-9F0957B7B21D}"/>
          </ac:spMkLst>
        </pc:spChg>
        <pc:spChg chg="add del mod">
          <ac:chgData name="Steiner Andreas 6206 ED" userId="e6377c33-a923-4f14-8587-531c474c7b48" providerId="ADAL" clId="{6ECD27E6-B224-41CD-B4E0-E297462320DD}" dt="2023-11-24T08:47:52.145" v="71593"/>
          <ac:spMkLst>
            <pc:docMk/>
            <pc:sldMk cId="788765567" sldId="2147473977"/>
            <ac:spMk id="470" creationId="{6A533B8D-826F-A208-78E3-CB10E2494D46}"/>
          </ac:spMkLst>
        </pc:spChg>
        <pc:spChg chg="add del mod">
          <ac:chgData name="Steiner Andreas 6206 ED" userId="e6377c33-a923-4f14-8587-531c474c7b48" providerId="ADAL" clId="{6ECD27E6-B224-41CD-B4E0-E297462320DD}" dt="2023-11-24T08:47:54.082" v="71748"/>
          <ac:spMkLst>
            <pc:docMk/>
            <pc:sldMk cId="788765567" sldId="2147473977"/>
            <ac:spMk id="471" creationId="{450B2C1B-A769-30F0-7C64-4DAC1E6F4A92}"/>
          </ac:spMkLst>
        </pc:spChg>
        <pc:spChg chg="add del mod">
          <ac:chgData name="Steiner Andreas 6206 ED" userId="e6377c33-a923-4f14-8587-531c474c7b48" providerId="ADAL" clId="{6ECD27E6-B224-41CD-B4E0-E297462320DD}" dt="2023-11-24T08:47:55.946" v="71903"/>
          <ac:spMkLst>
            <pc:docMk/>
            <pc:sldMk cId="788765567" sldId="2147473977"/>
            <ac:spMk id="472" creationId="{7769DDC7-8338-CFC2-C199-B8D3376F033A}"/>
          </ac:spMkLst>
        </pc:spChg>
        <pc:spChg chg="add del mod">
          <ac:chgData name="Steiner Andreas 6206 ED" userId="e6377c33-a923-4f14-8587-531c474c7b48" providerId="ADAL" clId="{6ECD27E6-B224-41CD-B4E0-E297462320DD}" dt="2023-11-24T08:47:57.936" v="72058"/>
          <ac:spMkLst>
            <pc:docMk/>
            <pc:sldMk cId="788765567" sldId="2147473977"/>
            <ac:spMk id="473" creationId="{F05E8CAE-7A56-75BD-06A6-B1B81B6E610F}"/>
          </ac:spMkLst>
        </pc:spChg>
        <pc:spChg chg="add del mod">
          <ac:chgData name="Steiner Andreas 6206 ED" userId="e6377c33-a923-4f14-8587-531c474c7b48" providerId="ADAL" clId="{6ECD27E6-B224-41CD-B4E0-E297462320DD}" dt="2023-11-24T08:48:00.073" v="72213"/>
          <ac:spMkLst>
            <pc:docMk/>
            <pc:sldMk cId="788765567" sldId="2147473977"/>
            <ac:spMk id="474" creationId="{C2BA89EE-D6FF-2EDA-630D-BC928FC0CC42}"/>
          </ac:spMkLst>
        </pc:spChg>
        <pc:spChg chg="add del mod">
          <ac:chgData name="Steiner Andreas 6206 ED" userId="e6377c33-a923-4f14-8587-531c474c7b48" providerId="ADAL" clId="{6ECD27E6-B224-41CD-B4E0-E297462320DD}" dt="2023-11-24T08:48:02.209" v="72368"/>
          <ac:spMkLst>
            <pc:docMk/>
            <pc:sldMk cId="788765567" sldId="2147473977"/>
            <ac:spMk id="475" creationId="{3BB6DE2A-8639-01BF-C633-5C415A3E0B2F}"/>
          </ac:spMkLst>
        </pc:spChg>
        <pc:spChg chg="add del mod">
          <ac:chgData name="Steiner Andreas 6206 ED" userId="e6377c33-a923-4f14-8587-531c474c7b48" providerId="ADAL" clId="{6ECD27E6-B224-41CD-B4E0-E297462320DD}" dt="2023-11-24T08:48:04.227" v="72523"/>
          <ac:spMkLst>
            <pc:docMk/>
            <pc:sldMk cId="788765567" sldId="2147473977"/>
            <ac:spMk id="476" creationId="{5B33D162-F643-0A0B-13BC-917213A6BE5F}"/>
          </ac:spMkLst>
        </pc:spChg>
        <pc:spChg chg="add del mod">
          <ac:chgData name="Steiner Andreas 6206 ED" userId="e6377c33-a923-4f14-8587-531c474c7b48" providerId="ADAL" clId="{6ECD27E6-B224-41CD-B4E0-E297462320DD}" dt="2023-11-24T08:48:06.482" v="72678"/>
          <ac:spMkLst>
            <pc:docMk/>
            <pc:sldMk cId="788765567" sldId="2147473977"/>
            <ac:spMk id="477" creationId="{3E4ED867-9896-C476-0157-561BE3407418}"/>
          </ac:spMkLst>
        </pc:spChg>
        <pc:spChg chg="add del mod">
          <ac:chgData name="Steiner Andreas 6206 ED" userId="e6377c33-a923-4f14-8587-531c474c7b48" providerId="ADAL" clId="{6ECD27E6-B224-41CD-B4E0-E297462320DD}" dt="2023-11-24T08:48:08.567" v="72833"/>
          <ac:spMkLst>
            <pc:docMk/>
            <pc:sldMk cId="788765567" sldId="2147473977"/>
            <ac:spMk id="478" creationId="{4DA4B285-BEAF-55DA-CD38-87CCD8C599E8}"/>
          </ac:spMkLst>
        </pc:spChg>
        <pc:spChg chg="add del mod">
          <ac:chgData name="Steiner Andreas 6206 ED" userId="e6377c33-a923-4f14-8587-531c474c7b48" providerId="ADAL" clId="{6ECD27E6-B224-41CD-B4E0-E297462320DD}" dt="2023-11-24T08:48:10.685" v="72988"/>
          <ac:spMkLst>
            <pc:docMk/>
            <pc:sldMk cId="788765567" sldId="2147473977"/>
            <ac:spMk id="479" creationId="{D09E50B5-F506-A22A-C2C3-3611CB844E55}"/>
          </ac:spMkLst>
        </pc:spChg>
        <pc:spChg chg="add del mod">
          <ac:chgData name="Steiner Andreas 6206 ED" userId="e6377c33-a923-4f14-8587-531c474c7b48" providerId="ADAL" clId="{6ECD27E6-B224-41CD-B4E0-E297462320DD}" dt="2023-11-24T08:48:12.609" v="73143"/>
          <ac:spMkLst>
            <pc:docMk/>
            <pc:sldMk cId="788765567" sldId="2147473977"/>
            <ac:spMk id="480" creationId="{4052A08F-08D6-5DDF-3B5A-F0B2A915332A}"/>
          </ac:spMkLst>
        </pc:spChg>
        <pc:spChg chg="add del mod">
          <ac:chgData name="Steiner Andreas 6206 ED" userId="e6377c33-a923-4f14-8587-531c474c7b48" providerId="ADAL" clId="{6ECD27E6-B224-41CD-B4E0-E297462320DD}" dt="2023-11-24T08:48:15.223" v="73298"/>
          <ac:spMkLst>
            <pc:docMk/>
            <pc:sldMk cId="788765567" sldId="2147473977"/>
            <ac:spMk id="481" creationId="{BA2BC79B-2C66-60DE-48BB-3C63C7FECA8F}"/>
          </ac:spMkLst>
        </pc:spChg>
        <pc:spChg chg="add del mod">
          <ac:chgData name="Steiner Andreas 6206 ED" userId="e6377c33-a923-4f14-8587-531c474c7b48" providerId="ADAL" clId="{6ECD27E6-B224-41CD-B4E0-E297462320DD}" dt="2023-11-24T08:48:18.022" v="73453"/>
          <ac:spMkLst>
            <pc:docMk/>
            <pc:sldMk cId="788765567" sldId="2147473977"/>
            <ac:spMk id="482" creationId="{CCF90025-7E13-245D-E67F-E697E2352080}"/>
          </ac:spMkLst>
        </pc:spChg>
        <pc:spChg chg="add del mod">
          <ac:chgData name="Steiner Andreas 6206 ED" userId="e6377c33-a923-4f14-8587-531c474c7b48" providerId="ADAL" clId="{6ECD27E6-B224-41CD-B4E0-E297462320DD}" dt="2023-11-24T08:48:20.446" v="73608"/>
          <ac:spMkLst>
            <pc:docMk/>
            <pc:sldMk cId="788765567" sldId="2147473977"/>
            <ac:spMk id="483" creationId="{BF46C9F7-8A8C-A2E0-307A-7E2F10D1E190}"/>
          </ac:spMkLst>
        </pc:spChg>
        <pc:spChg chg="add del mod">
          <ac:chgData name="Steiner Andreas 6206 ED" userId="e6377c33-a923-4f14-8587-531c474c7b48" providerId="ADAL" clId="{6ECD27E6-B224-41CD-B4E0-E297462320DD}" dt="2023-11-24T08:48:22.592" v="73763"/>
          <ac:spMkLst>
            <pc:docMk/>
            <pc:sldMk cId="788765567" sldId="2147473977"/>
            <ac:spMk id="484" creationId="{3D1CA57A-DD20-FE89-A469-1E737BF9CB55}"/>
          </ac:spMkLst>
        </pc:spChg>
        <pc:spChg chg="add del mod">
          <ac:chgData name="Steiner Andreas 6206 ED" userId="e6377c33-a923-4f14-8587-531c474c7b48" providerId="ADAL" clId="{6ECD27E6-B224-41CD-B4E0-E297462320DD}" dt="2023-11-24T08:48:24.663" v="73918"/>
          <ac:spMkLst>
            <pc:docMk/>
            <pc:sldMk cId="788765567" sldId="2147473977"/>
            <ac:spMk id="485" creationId="{7C289773-26AB-1003-54ED-6826607B09F6}"/>
          </ac:spMkLst>
        </pc:spChg>
        <pc:spChg chg="add del mod">
          <ac:chgData name="Steiner Andreas 6206 ED" userId="e6377c33-a923-4f14-8587-531c474c7b48" providerId="ADAL" clId="{6ECD27E6-B224-41CD-B4E0-E297462320DD}" dt="2023-11-24T08:48:26.764" v="74073"/>
          <ac:spMkLst>
            <pc:docMk/>
            <pc:sldMk cId="788765567" sldId="2147473977"/>
            <ac:spMk id="486" creationId="{F0376C58-7D3A-72F6-B8C8-141081612542}"/>
          </ac:spMkLst>
        </pc:spChg>
        <pc:spChg chg="add del mod">
          <ac:chgData name="Steiner Andreas 6206 ED" userId="e6377c33-a923-4f14-8587-531c474c7b48" providerId="ADAL" clId="{6ECD27E6-B224-41CD-B4E0-E297462320DD}" dt="2023-11-24T08:48:28.758" v="74228"/>
          <ac:spMkLst>
            <pc:docMk/>
            <pc:sldMk cId="788765567" sldId="2147473977"/>
            <ac:spMk id="487" creationId="{8A1A656E-54E4-101F-DD77-6E72EF568CCC}"/>
          </ac:spMkLst>
        </pc:spChg>
        <pc:spChg chg="add del mod">
          <ac:chgData name="Steiner Andreas 6206 ED" userId="e6377c33-a923-4f14-8587-531c474c7b48" providerId="ADAL" clId="{6ECD27E6-B224-41CD-B4E0-E297462320DD}" dt="2023-11-24T08:48:30.633" v="74383"/>
          <ac:spMkLst>
            <pc:docMk/>
            <pc:sldMk cId="788765567" sldId="2147473977"/>
            <ac:spMk id="488" creationId="{84C3CD36-5F22-AFB8-A6F7-8219E42FF3B8}"/>
          </ac:spMkLst>
        </pc:spChg>
        <pc:spChg chg="add del mod">
          <ac:chgData name="Steiner Andreas 6206 ED" userId="e6377c33-a923-4f14-8587-531c474c7b48" providerId="ADAL" clId="{6ECD27E6-B224-41CD-B4E0-E297462320DD}" dt="2023-11-24T08:48:32.618" v="74538"/>
          <ac:spMkLst>
            <pc:docMk/>
            <pc:sldMk cId="788765567" sldId="2147473977"/>
            <ac:spMk id="489" creationId="{F135221F-2346-372C-495F-C4BF1C064154}"/>
          </ac:spMkLst>
        </pc:spChg>
        <pc:spChg chg="add del mod">
          <ac:chgData name="Steiner Andreas 6206 ED" userId="e6377c33-a923-4f14-8587-531c474c7b48" providerId="ADAL" clId="{6ECD27E6-B224-41CD-B4E0-E297462320DD}" dt="2023-11-24T08:48:34.898" v="74693"/>
          <ac:spMkLst>
            <pc:docMk/>
            <pc:sldMk cId="788765567" sldId="2147473977"/>
            <ac:spMk id="490" creationId="{83C13787-7DDE-4838-09C1-74AECA79EE73}"/>
          </ac:spMkLst>
        </pc:spChg>
        <pc:spChg chg="add del mod">
          <ac:chgData name="Steiner Andreas 6206 ED" userId="e6377c33-a923-4f14-8587-531c474c7b48" providerId="ADAL" clId="{6ECD27E6-B224-41CD-B4E0-E297462320DD}" dt="2023-11-24T08:48:37.034" v="74848"/>
          <ac:spMkLst>
            <pc:docMk/>
            <pc:sldMk cId="788765567" sldId="2147473977"/>
            <ac:spMk id="491" creationId="{C846094D-6C81-0CAD-9488-C87B726F0480}"/>
          </ac:spMkLst>
        </pc:spChg>
        <pc:spChg chg="add del mod">
          <ac:chgData name="Steiner Andreas 6206 ED" userId="e6377c33-a923-4f14-8587-531c474c7b48" providerId="ADAL" clId="{6ECD27E6-B224-41CD-B4E0-E297462320DD}" dt="2023-11-24T08:48:39.089" v="75003"/>
          <ac:spMkLst>
            <pc:docMk/>
            <pc:sldMk cId="788765567" sldId="2147473977"/>
            <ac:spMk id="492" creationId="{FC13D72A-AD87-CB18-3E0E-5A0EEE4C4D02}"/>
          </ac:spMkLst>
        </pc:spChg>
        <pc:spChg chg="add del mod">
          <ac:chgData name="Steiner Andreas 6206 ED" userId="e6377c33-a923-4f14-8587-531c474c7b48" providerId="ADAL" clId="{6ECD27E6-B224-41CD-B4E0-E297462320DD}" dt="2023-11-24T08:48:41.291" v="75158"/>
          <ac:spMkLst>
            <pc:docMk/>
            <pc:sldMk cId="788765567" sldId="2147473977"/>
            <ac:spMk id="493" creationId="{56E466C3-A87A-A5CB-9293-C0CE292E2FAF}"/>
          </ac:spMkLst>
        </pc:spChg>
        <pc:spChg chg="add del mod">
          <ac:chgData name="Steiner Andreas 6206 ED" userId="e6377c33-a923-4f14-8587-531c474c7b48" providerId="ADAL" clId="{6ECD27E6-B224-41CD-B4E0-E297462320DD}" dt="2023-11-24T08:48:43.698" v="75313"/>
          <ac:spMkLst>
            <pc:docMk/>
            <pc:sldMk cId="788765567" sldId="2147473977"/>
            <ac:spMk id="494" creationId="{86057BDF-841E-937F-2C89-0FFD0E3FABAA}"/>
          </ac:spMkLst>
        </pc:spChg>
        <pc:spChg chg="add del mod">
          <ac:chgData name="Steiner Andreas 6206 ED" userId="e6377c33-a923-4f14-8587-531c474c7b48" providerId="ADAL" clId="{6ECD27E6-B224-41CD-B4E0-E297462320DD}" dt="2023-11-24T08:48:45.999" v="75468"/>
          <ac:spMkLst>
            <pc:docMk/>
            <pc:sldMk cId="788765567" sldId="2147473977"/>
            <ac:spMk id="495" creationId="{4CE9BC81-712D-3E92-4B3A-A191673E42FA}"/>
          </ac:spMkLst>
        </pc:spChg>
        <pc:spChg chg="add del mod">
          <ac:chgData name="Steiner Andreas 6206 ED" userId="e6377c33-a923-4f14-8587-531c474c7b48" providerId="ADAL" clId="{6ECD27E6-B224-41CD-B4E0-E297462320DD}" dt="2023-11-24T08:48:47.996" v="75623"/>
          <ac:spMkLst>
            <pc:docMk/>
            <pc:sldMk cId="788765567" sldId="2147473977"/>
            <ac:spMk id="496" creationId="{9B0724A3-46B1-C5FA-B474-C4FDBB1C23A8}"/>
          </ac:spMkLst>
        </pc:spChg>
        <pc:spChg chg="add del mod">
          <ac:chgData name="Steiner Andreas 6206 ED" userId="e6377c33-a923-4f14-8587-531c474c7b48" providerId="ADAL" clId="{6ECD27E6-B224-41CD-B4E0-E297462320DD}" dt="2023-11-24T08:48:50.007" v="75778"/>
          <ac:spMkLst>
            <pc:docMk/>
            <pc:sldMk cId="788765567" sldId="2147473977"/>
            <ac:spMk id="497" creationId="{BDFFD235-5BF6-8A1F-26BC-5EBD1DEFAB90}"/>
          </ac:spMkLst>
        </pc:spChg>
        <pc:spChg chg="add del mod">
          <ac:chgData name="Steiner Andreas 6206 ED" userId="e6377c33-a923-4f14-8587-531c474c7b48" providerId="ADAL" clId="{6ECD27E6-B224-41CD-B4E0-E297462320DD}" dt="2023-11-24T08:48:52.224" v="75933"/>
          <ac:spMkLst>
            <pc:docMk/>
            <pc:sldMk cId="788765567" sldId="2147473977"/>
            <ac:spMk id="498" creationId="{81C4BB02-F29A-32AB-2A1A-AD4295532519}"/>
          </ac:spMkLst>
        </pc:spChg>
        <pc:spChg chg="add del mod">
          <ac:chgData name="Steiner Andreas 6206 ED" userId="e6377c33-a923-4f14-8587-531c474c7b48" providerId="ADAL" clId="{6ECD27E6-B224-41CD-B4E0-E297462320DD}" dt="2023-11-24T08:48:54.097" v="76088"/>
          <ac:spMkLst>
            <pc:docMk/>
            <pc:sldMk cId="788765567" sldId="2147473977"/>
            <ac:spMk id="499" creationId="{5D02E88F-ABE2-121B-F612-84A72A66FD6F}"/>
          </ac:spMkLst>
        </pc:spChg>
        <pc:spChg chg="add del mod">
          <ac:chgData name="Steiner Andreas 6206 ED" userId="e6377c33-a923-4f14-8587-531c474c7b48" providerId="ADAL" clId="{6ECD27E6-B224-41CD-B4E0-E297462320DD}" dt="2023-11-24T08:48:56.117" v="76243"/>
          <ac:spMkLst>
            <pc:docMk/>
            <pc:sldMk cId="788765567" sldId="2147473977"/>
            <ac:spMk id="500" creationId="{20327199-D19F-EBAB-4C3B-C5FE52F395EB}"/>
          </ac:spMkLst>
        </pc:spChg>
        <pc:spChg chg="add del mod">
          <ac:chgData name="Steiner Andreas 6206 ED" userId="e6377c33-a923-4f14-8587-531c474c7b48" providerId="ADAL" clId="{6ECD27E6-B224-41CD-B4E0-E297462320DD}" dt="2023-11-24T08:48:58.045" v="76398"/>
          <ac:spMkLst>
            <pc:docMk/>
            <pc:sldMk cId="788765567" sldId="2147473977"/>
            <ac:spMk id="501" creationId="{1760A607-6F6D-E775-6F73-ADE5A6CD628E}"/>
          </ac:spMkLst>
        </pc:spChg>
        <pc:spChg chg="add del mod">
          <ac:chgData name="Steiner Andreas 6206 ED" userId="e6377c33-a923-4f14-8587-531c474c7b48" providerId="ADAL" clId="{6ECD27E6-B224-41CD-B4E0-E297462320DD}" dt="2023-11-24T08:49:00.113" v="76553"/>
          <ac:spMkLst>
            <pc:docMk/>
            <pc:sldMk cId="788765567" sldId="2147473977"/>
            <ac:spMk id="502" creationId="{457EC32D-616B-DCB3-6E01-FEF4E14929FB}"/>
          </ac:spMkLst>
        </pc:spChg>
        <pc:spChg chg="add del mod">
          <ac:chgData name="Steiner Andreas 6206 ED" userId="e6377c33-a923-4f14-8587-531c474c7b48" providerId="ADAL" clId="{6ECD27E6-B224-41CD-B4E0-E297462320DD}" dt="2023-11-24T08:49:02.074" v="76708"/>
          <ac:spMkLst>
            <pc:docMk/>
            <pc:sldMk cId="788765567" sldId="2147473977"/>
            <ac:spMk id="503" creationId="{322F7BDB-5854-CF2A-44C4-CD0B5F3A6539}"/>
          </ac:spMkLst>
        </pc:spChg>
        <pc:spChg chg="add del mod">
          <ac:chgData name="Steiner Andreas 6206 ED" userId="e6377c33-a923-4f14-8587-531c474c7b48" providerId="ADAL" clId="{6ECD27E6-B224-41CD-B4E0-E297462320DD}" dt="2023-11-24T08:49:04.041" v="76863"/>
          <ac:spMkLst>
            <pc:docMk/>
            <pc:sldMk cId="788765567" sldId="2147473977"/>
            <ac:spMk id="504" creationId="{80DDA6DC-C083-28CF-20E5-0881CDD92AD7}"/>
          </ac:spMkLst>
        </pc:spChg>
        <pc:spChg chg="add del mod">
          <ac:chgData name="Steiner Andreas 6206 ED" userId="e6377c33-a923-4f14-8587-531c474c7b48" providerId="ADAL" clId="{6ECD27E6-B224-41CD-B4E0-E297462320DD}" dt="2023-11-24T08:49:05.945" v="77018"/>
          <ac:spMkLst>
            <pc:docMk/>
            <pc:sldMk cId="788765567" sldId="2147473977"/>
            <ac:spMk id="505" creationId="{60CA8B3C-03B9-F4A7-B8E6-08FD3FEEF5ED}"/>
          </ac:spMkLst>
        </pc:spChg>
        <pc:spChg chg="add del mod">
          <ac:chgData name="Steiner Andreas 6206 ED" userId="e6377c33-a923-4f14-8587-531c474c7b48" providerId="ADAL" clId="{6ECD27E6-B224-41CD-B4E0-E297462320DD}" dt="2023-11-24T08:49:08.048" v="77173"/>
          <ac:spMkLst>
            <pc:docMk/>
            <pc:sldMk cId="788765567" sldId="2147473977"/>
            <ac:spMk id="506" creationId="{B4AAE768-DD72-7BC9-316A-985E3C313324}"/>
          </ac:spMkLst>
        </pc:spChg>
        <pc:spChg chg="add del mod">
          <ac:chgData name="Steiner Andreas 6206 ED" userId="e6377c33-a923-4f14-8587-531c474c7b48" providerId="ADAL" clId="{6ECD27E6-B224-41CD-B4E0-E297462320DD}" dt="2023-11-24T08:49:09.933" v="77328"/>
          <ac:spMkLst>
            <pc:docMk/>
            <pc:sldMk cId="788765567" sldId="2147473977"/>
            <ac:spMk id="507" creationId="{EF20F19C-01FA-6E9C-692C-841C3E0B6729}"/>
          </ac:spMkLst>
        </pc:spChg>
        <pc:spChg chg="add del mod">
          <ac:chgData name="Steiner Andreas 6206 ED" userId="e6377c33-a923-4f14-8587-531c474c7b48" providerId="ADAL" clId="{6ECD27E6-B224-41CD-B4E0-E297462320DD}" dt="2023-11-24T08:49:11.709" v="77483"/>
          <ac:spMkLst>
            <pc:docMk/>
            <pc:sldMk cId="788765567" sldId="2147473977"/>
            <ac:spMk id="508" creationId="{6EAB4DDA-9C0D-66A5-3E76-F29DE63C303D}"/>
          </ac:spMkLst>
        </pc:spChg>
        <pc:spChg chg="add del mod">
          <ac:chgData name="Steiner Andreas 6206 ED" userId="e6377c33-a923-4f14-8587-531c474c7b48" providerId="ADAL" clId="{6ECD27E6-B224-41CD-B4E0-E297462320DD}" dt="2023-11-24T08:49:13.829" v="77638"/>
          <ac:spMkLst>
            <pc:docMk/>
            <pc:sldMk cId="788765567" sldId="2147473977"/>
            <ac:spMk id="509" creationId="{0C8EFD6B-EDFF-A3CE-CFE1-1ED86A865BDD}"/>
          </ac:spMkLst>
        </pc:spChg>
        <pc:spChg chg="add del mod">
          <ac:chgData name="Steiner Andreas 6206 ED" userId="e6377c33-a923-4f14-8587-531c474c7b48" providerId="ADAL" clId="{6ECD27E6-B224-41CD-B4E0-E297462320DD}" dt="2023-11-24T08:49:15.802" v="77793"/>
          <ac:spMkLst>
            <pc:docMk/>
            <pc:sldMk cId="788765567" sldId="2147473977"/>
            <ac:spMk id="510" creationId="{2C8F15DE-6D44-2B7C-83C3-7E2767A4180B}"/>
          </ac:spMkLst>
        </pc:spChg>
        <pc:spChg chg="add del mod">
          <ac:chgData name="Steiner Andreas 6206 ED" userId="e6377c33-a923-4f14-8587-531c474c7b48" providerId="ADAL" clId="{6ECD27E6-B224-41CD-B4E0-E297462320DD}" dt="2023-11-24T08:49:17.861" v="77948"/>
          <ac:spMkLst>
            <pc:docMk/>
            <pc:sldMk cId="788765567" sldId="2147473977"/>
            <ac:spMk id="511" creationId="{BD627A53-013B-4CAB-2CE0-D590EDC9D573}"/>
          </ac:spMkLst>
        </pc:spChg>
        <pc:spChg chg="add del mod">
          <ac:chgData name="Steiner Andreas 6206 ED" userId="e6377c33-a923-4f14-8587-531c474c7b48" providerId="ADAL" clId="{6ECD27E6-B224-41CD-B4E0-E297462320DD}" dt="2023-11-24T08:49:19.881" v="78103"/>
          <ac:spMkLst>
            <pc:docMk/>
            <pc:sldMk cId="788765567" sldId="2147473977"/>
            <ac:spMk id="512" creationId="{12A678D9-423C-AC85-5B81-858CA869C6EB}"/>
          </ac:spMkLst>
        </pc:spChg>
        <pc:spChg chg="add del mod">
          <ac:chgData name="Steiner Andreas 6206 ED" userId="e6377c33-a923-4f14-8587-531c474c7b48" providerId="ADAL" clId="{6ECD27E6-B224-41CD-B4E0-E297462320DD}" dt="2023-11-24T08:49:21.761" v="78258"/>
          <ac:spMkLst>
            <pc:docMk/>
            <pc:sldMk cId="788765567" sldId="2147473977"/>
            <ac:spMk id="513" creationId="{BB4A600B-AC5C-DE2D-EA7A-8EF19C24E60F}"/>
          </ac:spMkLst>
        </pc:spChg>
        <pc:spChg chg="add del mod">
          <ac:chgData name="Steiner Andreas 6206 ED" userId="e6377c33-a923-4f14-8587-531c474c7b48" providerId="ADAL" clId="{6ECD27E6-B224-41CD-B4E0-E297462320DD}" dt="2023-11-24T08:49:23.688" v="78413"/>
          <ac:spMkLst>
            <pc:docMk/>
            <pc:sldMk cId="788765567" sldId="2147473977"/>
            <ac:spMk id="514" creationId="{C7836765-B88A-2128-6A9E-D57CF75BABF5}"/>
          </ac:spMkLst>
        </pc:spChg>
        <pc:spChg chg="add del mod">
          <ac:chgData name="Steiner Andreas 6206 ED" userId="e6377c33-a923-4f14-8587-531c474c7b48" providerId="ADAL" clId="{6ECD27E6-B224-41CD-B4E0-E297462320DD}" dt="2023-11-24T08:49:25.566" v="78568"/>
          <ac:spMkLst>
            <pc:docMk/>
            <pc:sldMk cId="788765567" sldId="2147473977"/>
            <ac:spMk id="515" creationId="{9866D615-3B0E-4AEC-F196-8C18972B6A78}"/>
          </ac:spMkLst>
        </pc:spChg>
        <pc:spChg chg="add del mod">
          <ac:chgData name="Steiner Andreas 6206 ED" userId="e6377c33-a923-4f14-8587-531c474c7b48" providerId="ADAL" clId="{6ECD27E6-B224-41CD-B4E0-E297462320DD}" dt="2023-11-24T08:49:27.641" v="78723"/>
          <ac:spMkLst>
            <pc:docMk/>
            <pc:sldMk cId="788765567" sldId="2147473977"/>
            <ac:spMk id="516" creationId="{9035C319-5716-705E-8286-374496A8808C}"/>
          </ac:spMkLst>
        </pc:spChg>
        <pc:spChg chg="add del mod">
          <ac:chgData name="Steiner Andreas 6206 ED" userId="e6377c33-a923-4f14-8587-531c474c7b48" providerId="ADAL" clId="{6ECD27E6-B224-41CD-B4E0-E297462320DD}" dt="2023-11-24T08:49:29.683" v="78878"/>
          <ac:spMkLst>
            <pc:docMk/>
            <pc:sldMk cId="788765567" sldId="2147473977"/>
            <ac:spMk id="517" creationId="{7159AFBF-434B-9EAC-581A-B0B7D03F76C3}"/>
          </ac:spMkLst>
        </pc:spChg>
        <pc:spChg chg="add del mod">
          <ac:chgData name="Steiner Andreas 6206 ED" userId="e6377c33-a923-4f14-8587-531c474c7b48" providerId="ADAL" clId="{6ECD27E6-B224-41CD-B4E0-E297462320DD}" dt="2023-11-24T08:49:31.582" v="79033"/>
          <ac:spMkLst>
            <pc:docMk/>
            <pc:sldMk cId="788765567" sldId="2147473977"/>
            <ac:spMk id="518" creationId="{43C015E8-BEE9-5D61-2BBC-9B03C72AD62C}"/>
          </ac:spMkLst>
        </pc:spChg>
        <pc:spChg chg="add del mod">
          <ac:chgData name="Steiner Andreas 6206 ED" userId="e6377c33-a923-4f14-8587-531c474c7b48" providerId="ADAL" clId="{6ECD27E6-B224-41CD-B4E0-E297462320DD}" dt="2023-11-24T08:49:33.496" v="79188"/>
          <ac:spMkLst>
            <pc:docMk/>
            <pc:sldMk cId="788765567" sldId="2147473977"/>
            <ac:spMk id="519" creationId="{6538D3A0-050A-2E1D-93F5-453BDCE600B7}"/>
          </ac:spMkLst>
        </pc:spChg>
        <pc:spChg chg="add del mod">
          <ac:chgData name="Steiner Andreas 6206 ED" userId="e6377c33-a923-4f14-8587-531c474c7b48" providerId="ADAL" clId="{6ECD27E6-B224-41CD-B4E0-E297462320DD}" dt="2023-11-24T08:49:35.390" v="79343"/>
          <ac:spMkLst>
            <pc:docMk/>
            <pc:sldMk cId="788765567" sldId="2147473977"/>
            <ac:spMk id="520" creationId="{4B04E274-DE45-7D69-54B9-BFC0E8A1AD10}"/>
          </ac:spMkLst>
        </pc:spChg>
        <pc:spChg chg="add del mod">
          <ac:chgData name="Steiner Andreas 6206 ED" userId="e6377c33-a923-4f14-8587-531c474c7b48" providerId="ADAL" clId="{6ECD27E6-B224-41CD-B4E0-E297462320DD}" dt="2023-11-24T08:49:37.229" v="79498"/>
          <ac:spMkLst>
            <pc:docMk/>
            <pc:sldMk cId="788765567" sldId="2147473977"/>
            <ac:spMk id="521" creationId="{502CD7A8-09AF-BB61-2EB7-F269C0EC7DA3}"/>
          </ac:spMkLst>
        </pc:spChg>
        <pc:spChg chg="add del mod">
          <ac:chgData name="Steiner Andreas 6206 ED" userId="e6377c33-a923-4f14-8587-531c474c7b48" providerId="ADAL" clId="{6ECD27E6-B224-41CD-B4E0-E297462320DD}" dt="2023-11-24T08:49:39.181" v="79653"/>
          <ac:spMkLst>
            <pc:docMk/>
            <pc:sldMk cId="788765567" sldId="2147473977"/>
            <ac:spMk id="522" creationId="{EEC7531B-776F-7DFE-FE77-5BE7BCD1C36F}"/>
          </ac:spMkLst>
        </pc:spChg>
        <pc:spChg chg="add del mod">
          <ac:chgData name="Steiner Andreas 6206 ED" userId="e6377c33-a923-4f14-8587-531c474c7b48" providerId="ADAL" clId="{6ECD27E6-B224-41CD-B4E0-E297462320DD}" dt="2023-11-24T08:49:41.295" v="79808"/>
          <ac:spMkLst>
            <pc:docMk/>
            <pc:sldMk cId="788765567" sldId="2147473977"/>
            <ac:spMk id="523" creationId="{BC57BAC9-37DC-8B2C-7744-155E1C0164A7}"/>
          </ac:spMkLst>
        </pc:spChg>
        <pc:spChg chg="add del mod">
          <ac:chgData name="Steiner Andreas 6206 ED" userId="e6377c33-a923-4f14-8587-531c474c7b48" providerId="ADAL" clId="{6ECD27E6-B224-41CD-B4E0-E297462320DD}" dt="2023-11-24T08:49:43.191" v="79963"/>
          <ac:spMkLst>
            <pc:docMk/>
            <pc:sldMk cId="788765567" sldId="2147473977"/>
            <ac:spMk id="524" creationId="{9202CE79-7A55-E32C-0FCC-9A3D87392BBA}"/>
          </ac:spMkLst>
        </pc:spChg>
        <pc:spChg chg="add del mod">
          <ac:chgData name="Steiner Andreas 6206 ED" userId="e6377c33-a923-4f14-8587-531c474c7b48" providerId="ADAL" clId="{6ECD27E6-B224-41CD-B4E0-E297462320DD}" dt="2023-11-24T08:49:45.132" v="80118"/>
          <ac:spMkLst>
            <pc:docMk/>
            <pc:sldMk cId="788765567" sldId="2147473977"/>
            <ac:spMk id="525" creationId="{E70483AF-EF24-951A-49CB-546C6E585787}"/>
          </ac:spMkLst>
        </pc:spChg>
        <pc:spChg chg="add del mod">
          <ac:chgData name="Steiner Andreas 6206 ED" userId="e6377c33-a923-4f14-8587-531c474c7b48" providerId="ADAL" clId="{6ECD27E6-B224-41CD-B4E0-E297462320DD}" dt="2023-11-24T08:49:47.097" v="80273"/>
          <ac:spMkLst>
            <pc:docMk/>
            <pc:sldMk cId="788765567" sldId="2147473977"/>
            <ac:spMk id="526" creationId="{55316686-169D-F498-55EC-2F14163E7277}"/>
          </ac:spMkLst>
        </pc:spChg>
        <pc:spChg chg="add del mod">
          <ac:chgData name="Steiner Andreas 6206 ED" userId="e6377c33-a923-4f14-8587-531c474c7b48" providerId="ADAL" clId="{6ECD27E6-B224-41CD-B4E0-E297462320DD}" dt="2023-11-24T08:49:48.994" v="80428"/>
          <ac:spMkLst>
            <pc:docMk/>
            <pc:sldMk cId="788765567" sldId="2147473977"/>
            <ac:spMk id="527" creationId="{0C4F0A7E-8834-9535-C255-CAEFB0B33A9A}"/>
          </ac:spMkLst>
        </pc:spChg>
        <pc:spChg chg="add del mod">
          <ac:chgData name="Steiner Andreas 6206 ED" userId="e6377c33-a923-4f14-8587-531c474c7b48" providerId="ADAL" clId="{6ECD27E6-B224-41CD-B4E0-E297462320DD}" dt="2023-11-24T08:49:50.867" v="80583"/>
          <ac:spMkLst>
            <pc:docMk/>
            <pc:sldMk cId="788765567" sldId="2147473977"/>
            <ac:spMk id="528" creationId="{A6762B19-F5E7-D1D4-F627-2019B6DE1B2A}"/>
          </ac:spMkLst>
        </pc:spChg>
        <pc:spChg chg="add del mod">
          <ac:chgData name="Steiner Andreas 6206 ED" userId="e6377c33-a923-4f14-8587-531c474c7b48" providerId="ADAL" clId="{6ECD27E6-B224-41CD-B4E0-E297462320DD}" dt="2023-11-24T08:49:52.788" v="80738"/>
          <ac:spMkLst>
            <pc:docMk/>
            <pc:sldMk cId="788765567" sldId="2147473977"/>
            <ac:spMk id="529" creationId="{FB97927E-0680-48D4-2B3C-DC783CB21E8B}"/>
          </ac:spMkLst>
        </pc:spChg>
        <pc:spChg chg="add del mod">
          <ac:chgData name="Steiner Andreas 6206 ED" userId="e6377c33-a923-4f14-8587-531c474c7b48" providerId="ADAL" clId="{6ECD27E6-B224-41CD-B4E0-E297462320DD}" dt="2023-11-24T08:49:54.721" v="80893"/>
          <ac:spMkLst>
            <pc:docMk/>
            <pc:sldMk cId="788765567" sldId="2147473977"/>
            <ac:spMk id="530" creationId="{F289FD2D-5BBB-B392-008D-B45279DE7C78}"/>
          </ac:spMkLst>
        </pc:spChg>
        <pc:spChg chg="add del mod">
          <ac:chgData name="Steiner Andreas 6206 ED" userId="e6377c33-a923-4f14-8587-531c474c7b48" providerId="ADAL" clId="{6ECD27E6-B224-41CD-B4E0-E297462320DD}" dt="2023-11-24T08:49:56.589" v="81048"/>
          <ac:spMkLst>
            <pc:docMk/>
            <pc:sldMk cId="788765567" sldId="2147473977"/>
            <ac:spMk id="531" creationId="{057E8407-5914-7103-D2E6-5AAC35A55A9D}"/>
          </ac:spMkLst>
        </pc:spChg>
        <pc:spChg chg="add del mod">
          <ac:chgData name="Steiner Andreas 6206 ED" userId="e6377c33-a923-4f14-8587-531c474c7b48" providerId="ADAL" clId="{6ECD27E6-B224-41CD-B4E0-E297462320DD}" dt="2023-11-24T08:49:58.492" v="81203"/>
          <ac:spMkLst>
            <pc:docMk/>
            <pc:sldMk cId="788765567" sldId="2147473977"/>
            <ac:spMk id="532" creationId="{096E9DEA-80B2-2723-5A6D-A006FC2B66F9}"/>
          </ac:spMkLst>
        </pc:spChg>
        <pc:spChg chg="add del mod">
          <ac:chgData name="Steiner Andreas 6206 ED" userId="e6377c33-a923-4f14-8587-531c474c7b48" providerId="ADAL" clId="{6ECD27E6-B224-41CD-B4E0-E297462320DD}" dt="2023-11-24T08:50:00.414" v="81358"/>
          <ac:spMkLst>
            <pc:docMk/>
            <pc:sldMk cId="788765567" sldId="2147473977"/>
            <ac:spMk id="533" creationId="{B6021CA7-BFC5-F101-AE3E-AA092CD08353}"/>
          </ac:spMkLst>
        </pc:spChg>
        <pc:spChg chg="add del mod">
          <ac:chgData name="Steiner Andreas 6206 ED" userId="e6377c33-a923-4f14-8587-531c474c7b48" providerId="ADAL" clId="{6ECD27E6-B224-41CD-B4E0-E297462320DD}" dt="2023-11-24T08:50:02.504" v="81513"/>
          <ac:spMkLst>
            <pc:docMk/>
            <pc:sldMk cId="788765567" sldId="2147473977"/>
            <ac:spMk id="534" creationId="{1193D752-79AF-004D-3D09-B2E5E6F6A460}"/>
          </ac:spMkLst>
        </pc:spChg>
        <pc:spChg chg="add del mod">
          <ac:chgData name="Steiner Andreas 6206 ED" userId="e6377c33-a923-4f14-8587-531c474c7b48" providerId="ADAL" clId="{6ECD27E6-B224-41CD-B4E0-E297462320DD}" dt="2023-11-24T08:50:04.564" v="81668"/>
          <ac:spMkLst>
            <pc:docMk/>
            <pc:sldMk cId="788765567" sldId="2147473977"/>
            <ac:spMk id="535" creationId="{29ED4953-E2BF-0F53-A759-20E2348DF1B1}"/>
          </ac:spMkLst>
        </pc:spChg>
        <pc:spChg chg="add del mod">
          <ac:chgData name="Steiner Andreas 6206 ED" userId="e6377c33-a923-4f14-8587-531c474c7b48" providerId="ADAL" clId="{6ECD27E6-B224-41CD-B4E0-E297462320DD}" dt="2023-11-24T08:50:06.501" v="81823"/>
          <ac:spMkLst>
            <pc:docMk/>
            <pc:sldMk cId="788765567" sldId="2147473977"/>
            <ac:spMk id="536" creationId="{41E1D834-9014-9E1F-2789-B6AEEBF82188}"/>
          </ac:spMkLst>
        </pc:spChg>
        <pc:spChg chg="add del mod">
          <ac:chgData name="Steiner Andreas 6206 ED" userId="e6377c33-a923-4f14-8587-531c474c7b48" providerId="ADAL" clId="{6ECD27E6-B224-41CD-B4E0-E297462320DD}" dt="2023-11-24T08:50:08.374" v="81978"/>
          <ac:spMkLst>
            <pc:docMk/>
            <pc:sldMk cId="788765567" sldId="2147473977"/>
            <ac:spMk id="537" creationId="{1287A6F0-F535-F40F-B0B0-5D116C714C17}"/>
          </ac:spMkLst>
        </pc:spChg>
        <pc:spChg chg="add del mod">
          <ac:chgData name="Steiner Andreas 6206 ED" userId="e6377c33-a923-4f14-8587-531c474c7b48" providerId="ADAL" clId="{6ECD27E6-B224-41CD-B4E0-E297462320DD}" dt="2023-11-24T08:50:10.282" v="82133"/>
          <ac:spMkLst>
            <pc:docMk/>
            <pc:sldMk cId="788765567" sldId="2147473977"/>
            <ac:spMk id="538" creationId="{688CA9D1-6CFC-D5C0-42DD-05903BFB45D7}"/>
          </ac:spMkLst>
        </pc:spChg>
        <pc:spChg chg="add del mod">
          <ac:chgData name="Steiner Andreas 6206 ED" userId="e6377c33-a923-4f14-8587-531c474c7b48" providerId="ADAL" clId="{6ECD27E6-B224-41CD-B4E0-E297462320DD}" dt="2023-11-24T08:50:12.198" v="82288"/>
          <ac:spMkLst>
            <pc:docMk/>
            <pc:sldMk cId="788765567" sldId="2147473977"/>
            <ac:spMk id="539" creationId="{0BBD804B-39AD-DF0F-87A2-25BC2B7AA21F}"/>
          </ac:spMkLst>
        </pc:spChg>
        <pc:spChg chg="add del mod">
          <ac:chgData name="Steiner Andreas 6206 ED" userId="e6377c33-a923-4f14-8587-531c474c7b48" providerId="ADAL" clId="{6ECD27E6-B224-41CD-B4E0-E297462320DD}" dt="2023-11-24T08:50:14.260" v="82443"/>
          <ac:spMkLst>
            <pc:docMk/>
            <pc:sldMk cId="788765567" sldId="2147473977"/>
            <ac:spMk id="540" creationId="{C2B2BA20-937C-FF76-70D4-45E0C3047B49}"/>
          </ac:spMkLst>
        </pc:spChg>
        <pc:spChg chg="add del mod">
          <ac:chgData name="Steiner Andreas 6206 ED" userId="e6377c33-a923-4f14-8587-531c474c7b48" providerId="ADAL" clId="{6ECD27E6-B224-41CD-B4E0-E297462320DD}" dt="2023-11-24T08:50:16.199" v="82598"/>
          <ac:spMkLst>
            <pc:docMk/>
            <pc:sldMk cId="788765567" sldId="2147473977"/>
            <ac:spMk id="541" creationId="{A4D439C3-D665-F829-E05B-195AF5C21005}"/>
          </ac:spMkLst>
        </pc:spChg>
        <pc:spChg chg="add del mod">
          <ac:chgData name="Steiner Andreas 6206 ED" userId="e6377c33-a923-4f14-8587-531c474c7b48" providerId="ADAL" clId="{6ECD27E6-B224-41CD-B4E0-E297462320DD}" dt="2023-11-24T08:50:18.199" v="82753"/>
          <ac:spMkLst>
            <pc:docMk/>
            <pc:sldMk cId="788765567" sldId="2147473977"/>
            <ac:spMk id="542" creationId="{DD46DB2A-4DF9-9F52-5818-23F8AC3ACF56}"/>
          </ac:spMkLst>
        </pc:spChg>
        <pc:spChg chg="add del mod">
          <ac:chgData name="Steiner Andreas 6206 ED" userId="e6377c33-a923-4f14-8587-531c474c7b48" providerId="ADAL" clId="{6ECD27E6-B224-41CD-B4E0-E297462320DD}" dt="2023-11-24T08:50:20.416" v="82908"/>
          <ac:spMkLst>
            <pc:docMk/>
            <pc:sldMk cId="788765567" sldId="2147473977"/>
            <ac:spMk id="543" creationId="{1F98D522-E187-4C59-70F9-7B9F23008577}"/>
          </ac:spMkLst>
        </pc:spChg>
        <pc:spChg chg="add del mod">
          <ac:chgData name="Steiner Andreas 6206 ED" userId="e6377c33-a923-4f14-8587-531c474c7b48" providerId="ADAL" clId="{6ECD27E6-B224-41CD-B4E0-E297462320DD}" dt="2023-11-24T08:50:22.334" v="83063"/>
          <ac:spMkLst>
            <pc:docMk/>
            <pc:sldMk cId="788765567" sldId="2147473977"/>
            <ac:spMk id="544" creationId="{B3203839-8A0D-2A9F-C6EF-C8E5AA2008A2}"/>
          </ac:spMkLst>
        </pc:spChg>
        <pc:spChg chg="add del mod">
          <ac:chgData name="Steiner Andreas 6206 ED" userId="e6377c33-a923-4f14-8587-531c474c7b48" providerId="ADAL" clId="{6ECD27E6-B224-41CD-B4E0-E297462320DD}" dt="2023-11-24T08:50:24.457" v="83218"/>
          <ac:spMkLst>
            <pc:docMk/>
            <pc:sldMk cId="788765567" sldId="2147473977"/>
            <ac:spMk id="545" creationId="{30AC0ABF-446A-17CA-EF73-6747C017CEEF}"/>
          </ac:spMkLst>
        </pc:spChg>
        <pc:spChg chg="add del mod">
          <ac:chgData name="Steiner Andreas 6206 ED" userId="e6377c33-a923-4f14-8587-531c474c7b48" providerId="ADAL" clId="{6ECD27E6-B224-41CD-B4E0-E297462320DD}" dt="2023-11-24T08:50:26.443" v="83373"/>
          <ac:spMkLst>
            <pc:docMk/>
            <pc:sldMk cId="788765567" sldId="2147473977"/>
            <ac:spMk id="546" creationId="{2879EBA1-60DF-649F-B699-D5D3D90B5F58}"/>
          </ac:spMkLst>
        </pc:spChg>
        <pc:spChg chg="add del mod">
          <ac:chgData name="Steiner Andreas 6206 ED" userId="e6377c33-a923-4f14-8587-531c474c7b48" providerId="ADAL" clId="{6ECD27E6-B224-41CD-B4E0-E297462320DD}" dt="2023-11-24T08:50:28.359" v="83528"/>
          <ac:spMkLst>
            <pc:docMk/>
            <pc:sldMk cId="788765567" sldId="2147473977"/>
            <ac:spMk id="547" creationId="{51D34345-CA74-5675-5843-304DA6E60B56}"/>
          </ac:spMkLst>
        </pc:spChg>
        <pc:spChg chg="add del mod">
          <ac:chgData name="Steiner Andreas 6206 ED" userId="e6377c33-a923-4f14-8587-531c474c7b48" providerId="ADAL" clId="{6ECD27E6-B224-41CD-B4E0-E297462320DD}" dt="2023-11-24T08:50:30.272" v="83683"/>
          <ac:spMkLst>
            <pc:docMk/>
            <pc:sldMk cId="788765567" sldId="2147473977"/>
            <ac:spMk id="548" creationId="{01DC40E9-D076-547F-A8B6-102A647B7FCB}"/>
          </ac:spMkLst>
        </pc:spChg>
        <pc:spChg chg="add del mod">
          <ac:chgData name="Steiner Andreas 6206 ED" userId="e6377c33-a923-4f14-8587-531c474c7b48" providerId="ADAL" clId="{6ECD27E6-B224-41CD-B4E0-E297462320DD}" dt="2023-11-24T08:50:32.354" v="83838"/>
          <ac:spMkLst>
            <pc:docMk/>
            <pc:sldMk cId="788765567" sldId="2147473977"/>
            <ac:spMk id="549" creationId="{C8443F0F-C6F6-6216-DAF9-CF2BAEC1C138}"/>
          </ac:spMkLst>
        </pc:spChg>
        <pc:spChg chg="add del mod">
          <ac:chgData name="Steiner Andreas 6206 ED" userId="e6377c33-a923-4f14-8587-531c474c7b48" providerId="ADAL" clId="{6ECD27E6-B224-41CD-B4E0-E297462320DD}" dt="2023-11-24T08:50:34.368" v="83993"/>
          <ac:spMkLst>
            <pc:docMk/>
            <pc:sldMk cId="788765567" sldId="2147473977"/>
            <ac:spMk id="550" creationId="{338A34CF-1F74-53D5-69AB-AA433CA1A939}"/>
          </ac:spMkLst>
        </pc:spChg>
        <pc:spChg chg="add del mod">
          <ac:chgData name="Steiner Andreas 6206 ED" userId="e6377c33-a923-4f14-8587-531c474c7b48" providerId="ADAL" clId="{6ECD27E6-B224-41CD-B4E0-E297462320DD}" dt="2023-11-24T08:50:36.592" v="84148"/>
          <ac:spMkLst>
            <pc:docMk/>
            <pc:sldMk cId="788765567" sldId="2147473977"/>
            <ac:spMk id="551" creationId="{AF87B8B3-106C-BF7E-7C08-4D29E4DAB1D9}"/>
          </ac:spMkLst>
        </pc:spChg>
        <pc:spChg chg="add del mod">
          <ac:chgData name="Steiner Andreas 6206 ED" userId="e6377c33-a923-4f14-8587-531c474c7b48" providerId="ADAL" clId="{6ECD27E6-B224-41CD-B4E0-E297462320DD}" dt="2023-11-24T08:50:38.551" v="84303"/>
          <ac:spMkLst>
            <pc:docMk/>
            <pc:sldMk cId="788765567" sldId="2147473977"/>
            <ac:spMk id="552" creationId="{2C390494-3766-88E3-ED82-53A3F2862550}"/>
          </ac:spMkLst>
        </pc:spChg>
        <pc:spChg chg="add del mod">
          <ac:chgData name="Steiner Andreas 6206 ED" userId="e6377c33-a923-4f14-8587-531c474c7b48" providerId="ADAL" clId="{6ECD27E6-B224-41CD-B4E0-E297462320DD}" dt="2023-11-24T08:50:40.540" v="84458"/>
          <ac:spMkLst>
            <pc:docMk/>
            <pc:sldMk cId="788765567" sldId="2147473977"/>
            <ac:spMk id="553" creationId="{63FD5A76-C210-E6EA-5666-A305C800EED4}"/>
          </ac:spMkLst>
        </pc:spChg>
        <pc:spChg chg="add del mod">
          <ac:chgData name="Steiner Andreas 6206 ED" userId="e6377c33-a923-4f14-8587-531c474c7b48" providerId="ADAL" clId="{6ECD27E6-B224-41CD-B4E0-E297462320DD}" dt="2023-11-24T08:50:42.531" v="84613"/>
          <ac:spMkLst>
            <pc:docMk/>
            <pc:sldMk cId="788765567" sldId="2147473977"/>
            <ac:spMk id="554" creationId="{42E6B293-32CF-803A-CE73-8DB4D479BD33}"/>
          </ac:spMkLst>
        </pc:spChg>
        <pc:spChg chg="add del mod">
          <ac:chgData name="Steiner Andreas 6206 ED" userId="e6377c33-a923-4f14-8587-531c474c7b48" providerId="ADAL" clId="{6ECD27E6-B224-41CD-B4E0-E297462320DD}" dt="2023-11-24T08:50:44.722" v="84768"/>
          <ac:spMkLst>
            <pc:docMk/>
            <pc:sldMk cId="788765567" sldId="2147473977"/>
            <ac:spMk id="555" creationId="{AB55A9CE-90B5-E95D-507A-B055DE9B1F0F}"/>
          </ac:spMkLst>
        </pc:spChg>
        <pc:spChg chg="add del mod">
          <ac:chgData name="Steiner Andreas 6206 ED" userId="e6377c33-a923-4f14-8587-531c474c7b48" providerId="ADAL" clId="{6ECD27E6-B224-41CD-B4E0-E297462320DD}" dt="2023-11-24T08:50:46.823" v="84923"/>
          <ac:spMkLst>
            <pc:docMk/>
            <pc:sldMk cId="788765567" sldId="2147473977"/>
            <ac:spMk id="556" creationId="{F931585A-24E4-E386-08D2-8B4111CBDD68}"/>
          </ac:spMkLst>
        </pc:spChg>
        <pc:spChg chg="add del mod">
          <ac:chgData name="Steiner Andreas 6206 ED" userId="e6377c33-a923-4f14-8587-531c474c7b48" providerId="ADAL" clId="{6ECD27E6-B224-41CD-B4E0-E297462320DD}" dt="2023-11-24T08:50:48.934" v="85078"/>
          <ac:spMkLst>
            <pc:docMk/>
            <pc:sldMk cId="788765567" sldId="2147473977"/>
            <ac:spMk id="557" creationId="{43A86E7B-C4D9-C597-2405-DF3036F4AB6E}"/>
          </ac:spMkLst>
        </pc:spChg>
        <pc:spChg chg="add del mod">
          <ac:chgData name="Steiner Andreas 6206 ED" userId="e6377c33-a923-4f14-8587-531c474c7b48" providerId="ADAL" clId="{6ECD27E6-B224-41CD-B4E0-E297462320DD}" dt="2023-11-24T08:50:51.034" v="85233"/>
          <ac:spMkLst>
            <pc:docMk/>
            <pc:sldMk cId="788765567" sldId="2147473977"/>
            <ac:spMk id="558" creationId="{D466596A-4B44-FE13-FB90-65E70BC6C1B3}"/>
          </ac:spMkLst>
        </pc:spChg>
        <pc:spChg chg="add del mod">
          <ac:chgData name="Steiner Andreas 6206 ED" userId="e6377c33-a923-4f14-8587-531c474c7b48" providerId="ADAL" clId="{6ECD27E6-B224-41CD-B4E0-E297462320DD}" dt="2023-11-24T08:50:53.145" v="85388"/>
          <ac:spMkLst>
            <pc:docMk/>
            <pc:sldMk cId="788765567" sldId="2147473977"/>
            <ac:spMk id="559" creationId="{ADF816FF-8E4F-EBC0-04BE-49DD0B4C9CDF}"/>
          </ac:spMkLst>
        </pc:spChg>
        <pc:spChg chg="add del mod">
          <ac:chgData name="Steiner Andreas 6206 ED" userId="e6377c33-a923-4f14-8587-531c474c7b48" providerId="ADAL" clId="{6ECD27E6-B224-41CD-B4E0-E297462320DD}" dt="2023-11-24T08:50:55.052" v="85543"/>
          <ac:spMkLst>
            <pc:docMk/>
            <pc:sldMk cId="788765567" sldId="2147473977"/>
            <ac:spMk id="560" creationId="{12244784-F7DE-DA57-2732-462FCDBB5EF1}"/>
          </ac:spMkLst>
        </pc:spChg>
        <pc:spChg chg="add del mod">
          <ac:chgData name="Steiner Andreas 6206 ED" userId="e6377c33-a923-4f14-8587-531c474c7b48" providerId="ADAL" clId="{6ECD27E6-B224-41CD-B4E0-E297462320DD}" dt="2023-11-24T08:50:56.965" v="85698"/>
          <ac:spMkLst>
            <pc:docMk/>
            <pc:sldMk cId="788765567" sldId="2147473977"/>
            <ac:spMk id="561" creationId="{2C1FC818-76D4-00DD-00C1-023B230C9925}"/>
          </ac:spMkLst>
        </pc:spChg>
        <pc:spChg chg="add del mod">
          <ac:chgData name="Steiner Andreas 6206 ED" userId="e6377c33-a923-4f14-8587-531c474c7b48" providerId="ADAL" clId="{6ECD27E6-B224-41CD-B4E0-E297462320DD}" dt="2023-11-24T08:50:59.162" v="85853"/>
          <ac:spMkLst>
            <pc:docMk/>
            <pc:sldMk cId="788765567" sldId="2147473977"/>
            <ac:spMk id="562" creationId="{71996BCA-18FB-5C8B-8ED0-F381612973FD}"/>
          </ac:spMkLst>
        </pc:spChg>
        <pc:spChg chg="add del mod">
          <ac:chgData name="Steiner Andreas 6206 ED" userId="e6377c33-a923-4f14-8587-531c474c7b48" providerId="ADAL" clId="{6ECD27E6-B224-41CD-B4E0-E297462320DD}" dt="2023-11-24T08:51:01.106" v="86008"/>
          <ac:spMkLst>
            <pc:docMk/>
            <pc:sldMk cId="788765567" sldId="2147473977"/>
            <ac:spMk id="563" creationId="{D7F0F428-336C-74AA-6ED7-A22919D5CB34}"/>
          </ac:spMkLst>
        </pc:spChg>
        <pc:spChg chg="add del mod">
          <ac:chgData name="Steiner Andreas 6206 ED" userId="e6377c33-a923-4f14-8587-531c474c7b48" providerId="ADAL" clId="{6ECD27E6-B224-41CD-B4E0-E297462320DD}" dt="2023-11-24T08:51:03.085" v="86163"/>
          <ac:spMkLst>
            <pc:docMk/>
            <pc:sldMk cId="788765567" sldId="2147473977"/>
            <ac:spMk id="564" creationId="{7A969F63-172A-9F43-21A7-BC312684B8CB}"/>
          </ac:spMkLst>
        </pc:spChg>
        <pc:spChg chg="add del mod">
          <ac:chgData name="Steiner Andreas 6206 ED" userId="e6377c33-a923-4f14-8587-531c474c7b48" providerId="ADAL" clId="{6ECD27E6-B224-41CD-B4E0-E297462320DD}" dt="2023-11-24T08:51:04.949" v="86318"/>
          <ac:spMkLst>
            <pc:docMk/>
            <pc:sldMk cId="788765567" sldId="2147473977"/>
            <ac:spMk id="565" creationId="{B13D2CC2-7DFE-EB44-3B7C-642430CB3FF1}"/>
          </ac:spMkLst>
        </pc:spChg>
        <pc:spChg chg="add del mod">
          <ac:chgData name="Steiner Andreas 6206 ED" userId="e6377c33-a923-4f14-8587-531c474c7b48" providerId="ADAL" clId="{6ECD27E6-B224-41CD-B4E0-E297462320DD}" dt="2023-11-24T08:51:06.848" v="86473"/>
          <ac:spMkLst>
            <pc:docMk/>
            <pc:sldMk cId="788765567" sldId="2147473977"/>
            <ac:spMk id="566" creationId="{CB8BFD1B-80DA-AA9A-B2B9-A8C0C40A1036}"/>
          </ac:spMkLst>
        </pc:spChg>
        <pc:spChg chg="add del mod">
          <ac:chgData name="Steiner Andreas 6206 ED" userId="e6377c33-a923-4f14-8587-531c474c7b48" providerId="ADAL" clId="{6ECD27E6-B224-41CD-B4E0-E297462320DD}" dt="2023-11-24T08:51:08.845" v="86628"/>
          <ac:spMkLst>
            <pc:docMk/>
            <pc:sldMk cId="788765567" sldId="2147473977"/>
            <ac:spMk id="567" creationId="{859AF09F-7B83-4A3F-C59D-CDDC80926BC8}"/>
          </ac:spMkLst>
        </pc:spChg>
        <pc:spChg chg="add del mod">
          <ac:chgData name="Steiner Andreas 6206 ED" userId="e6377c33-a923-4f14-8587-531c474c7b48" providerId="ADAL" clId="{6ECD27E6-B224-41CD-B4E0-E297462320DD}" dt="2023-11-24T08:51:10.867" v="86783"/>
          <ac:spMkLst>
            <pc:docMk/>
            <pc:sldMk cId="788765567" sldId="2147473977"/>
            <ac:spMk id="568" creationId="{ABD05B0A-EF49-641E-7DF6-E639A3E764CA}"/>
          </ac:spMkLst>
        </pc:spChg>
        <pc:spChg chg="add del mod">
          <ac:chgData name="Steiner Andreas 6206 ED" userId="e6377c33-a923-4f14-8587-531c474c7b48" providerId="ADAL" clId="{6ECD27E6-B224-41CD-B4E0-E297462320DD}" dt="2023-11-24T08:51:12.779" v="86938"/>
          <ac:spMkLst>
            <pc:docMk/>
            <pc:sldMk cId="788765567" sldId="2147473977"/>
            <ac:spMk id="569" creationId="{915A19C3-9D34-2BE3-0FFF-50E6519414F1}"/>
          </ac:spMkLst>
        </pc:spChg>
        <pc:spChg chg="add del mod">
          <ac:chgData name="Steiner Andreas 6206 ED" userId="e6377c33-a923-4f14-8587-531c474c7b48" providerId="ADAL" clId="{6ECD27E6-B224-41CD-B4E0-E297462320DD}" dt="2023-11-24T08:51:14.971" v="87093"/>
          <ac:spMkLst>
            <pc:docMk/>
            <pc:sldMk cId="788765567" sldId="2147473977"/>
            <ac:spMk id="570" creationId="{5DAD100D-F877-A656-05CF-C7CD47D24C41}"/>
          </ac:spMkLst>
        </pc:spChg>
        <pc:spChg chg="add del mod">
          <ac:chgData name="Steiner Andreas 6206 ED" userId="e6377c33-a923-4f14-8587-531c474c7b48" providerId="ADAL" clId="{6ECD27E6-B224-41CD-B4E0-E297462320DD}" dt="2023-11-24T08:51:17.039" v="87248"/>
          <ac:spMkLst>
            <pc:docMk/>
            <pc:sldMk cId="788765567" sldId="2147473977"/>
            <ac:spMk id="571" creationId="{98FEA126-A262-FBD7-9447-9809DBC3C2A9}"/>
          </ac:spMkLst>
        </pc:spChg>
        <pc:spChg chg="add del mod">
          <ac:chgData name="Steiner Andreas 6206 ED" userId="e6377c33-a923-4f14-8587-531c474c7b48" providerId="ADAL" clId="{6ECD27E6-B224-41CD-B4E0-E297462320DD}" dt="2023-11-24T08:51:18.964" v="87403"/>
          <ac:spMkLst>
            <pc:docMk/>
            <pc:sldMk cId="788765567" sldId="2147473977"/>
            <ac:spMk id="572" creationId="{AF1BC59F-CFF7-FBC3-B9FE-FB57595A8301}"/>
          </ac:spMkLst>
        </pc:spChg>
        <pc:spChg chg="add del mod">
          <ac:chgData name="Steiner Andreas 6206 ED" userId="e6377c33-a923-4f14-8587-531c474c7b48" providerId="ADAL" clId="{6ECD27E6-B224-41CD-B4E0-E297462320DD}" dt="2023-11-24T08:51:21.034" v="87558"/>
          <ac:spMkLst>
            <pc:docMk/>
            <pc:sldMk cId="788765567" sldId="2147473977"/>
            <ac:spMk id="573" creationId="{67165064-F144-CB13-FA45-08CE67FF4019}"/>
          </ac:spMkLst>
        </pc:spChg>
        <pc:spChg chg="add del mod">
          <ac:chgData name="Steiner Andreas 6206 ED" userId="e6377c33-a923-4f14-8587-531c474c7b48" providerId="ADAL" clId="{6ECD27E6-B224-41CD-B4E0-E297462320DD}" dt="2023-11-24T08:51:22.981" v="87713"/>
          <ac:spMkLst>
            <pc:docMk/>
            <pc:sldMk cId="788765567" sldId="2147473977"/>
            <ac:spMk id="574" creationId="{EE9EB7E8-F19A-3723-A50B-0702D8A68A6F}"/>
          </ac:spMkLst>
        </pc:spChg>
        <pc:spChg chg="add del mod">
          <ac:chgData name="Steiner Andreas 6206 ED" userId="e6377c33-a923-4f14-8587-531c474c7b48" providerId="ADAL" clId="{6ECD27E6-B224-41CD-B4E0-E297462320DD}" dt="2023-11-24T08:51:24.874" v="87868"/>
          <ac:spMkLst>
            <pc:docMk/>
            <pc:sldMk cId="788765567" sldId="2147473977"/>
            <ac:spMk id="575" creationId="{21DB7D40-30D9-29FF-C7AC-93BEDF638892}"/>
          </ac:spMkLst>
        </pc:spChg>
        <pc:spChg chg="add del mod">
          <ac:chgData name="Steiner Andreas 6206 ED" userId="e6377c33-a923-4f14-8587-531c474c7b48" providerId="ADAL" clId="{6ECD27E6-B224-41CD-B4E0-E297462320DD}" dt="2023-11-24T08:51:26.756" v="88023"/>
          <ac:spMkLst>
            <pc:docMk/>
            <pc:sldMk cId="788765567" sldId="2147473977"/>
            <ac:spMk id="576" creationId="{76E53E3F-772E-E2F0-A15D-D3208C04029B}"/>
          </ac:spMkLst>
        </pc:spChg>
        <pc:spChg chg="add del mod">
          <ac:chgData name="Steiner Andreas 6206 ED" userId="e6377c33-a923-4f14-8587-531c474c7b48" providerId="ADAL" clId="{6ECD27E6-B224-41CD-B4E0-E297462320DD}" dt="2023-11-24T08:51:28.663" v="88178"/>
          <ac:spMkLst>
            <pc:docMk/>
            <pc:sldMk cId="788765567" sldId="2147473977"/>
            <ac:spMk id="577" creationId="{B33309FE-1979-609F-D278-C73BFF415EA7}"/>
          </ac:spMkLst>
        </pc:spChg>
        <pc:spChg chg="add del mod">
          <ac:chgData name="Steiner Andreas 6206 ED" userId="e6377c33-a923-4f14-8587-531c474c7b48" providerId="ADAL" clId="{6ECD27E6-B224-41CD-B4E0-E297462320DD}" dt="2023-11-24T08:51:30.661" v="88333"/>
          <ac:spMkLst>
            <pc:docMk/>
            <pc:sldMk cId="788765567" sldId="2147473977"/>
            <ac:spMk id="578" creationId="{372503F2-CEBB-3918-C62B-F5DB222A1C79}"/>
          </ac:spMkLst>
        </pc:spChg>
        <pc:spChg chg="add del mod">
          <ac:chgData name="Steiner Andreas 6206 ED" userId="e6377c33-a923-4f14-8587-531c474c7b48" providerId="ADAL" clId="{6ECD27E6-B224-41CD-B4E0-E297462320DD}" dt="2023-11-24T08:51:32.809" v="88488"/>
          <ac:spMkLst>
            <pc:docMk/>
            <pc:sldMk cId="788765567" sldId="2147473977"/>
            <ac:spMk id="579" creationId="{2300373A-89FE-0F9D-4C53-318231921FF7}"/>
          </ac:spMkLst>
        </pc:spChg>
        <pc:spChg chg="add del mod">
          <ac:chgData name="Steiner Andreas 6206 ED" userId="e6377c33-a923-4f14-8587-531c474c7b48" providerId="ADAL" clId="{6ECD27E6-B224-41CD-B4E0-E297462320DD}" dt="2023-11-24T08:51:34.758" v="88643"/>
          <ac:spMkLst>
            <pc:docMk/>
            <pc:sldMk cId="788765567" sldId="2147473977"/>
            <ac:spMk id="580" creationId="{EF4F8913-771D-1CEB-4C7C-B87CDDF1A1D9}"/>
          </ac:spMkLst>
        </pc:spChg>
        <pc:spChg chg="add del mod">
          <ac:chgData name="Steiner Andreas 6206 ED" userId="e6377c33-a923-4f14-8587-531c474c7b48" providerId="ADAL" clId="{6ECD27E6-B224-41CD-B4E0-E297462320DD}" dt="2023-11-24T08:51:36.636" v="88798"/>
          <ac:spMkLst>
            <pc:docMk/>
            <pc:sldMk cId="788765567" sldId="2147473977"/>
            <ac:spMk id="581" creationId="{AC85A5EB-1DA1-CD62-5649-6785D33577D8}"/>
          </ac:spMkLst>
        </pc:spChg>
        <pc:spChg chg="add del mod">
          <ac:chgData name="Steiner Andreas 6206 ED" userId="e6377c33-a923-4f14-8587-531c474c7b48" providerId="ADAL" clId="{6ECD27E6-B224-41CD-B4E0-E297462320DD}" dt="2023-11-24T08:51:38.589" v="88953"/>
          <ac:spMkLst>
            <pc:docMk/>
            <pc:sldMk cId="788765567" sldId="2147473977"/>
            <ac:spMk id="582" creationId="{5E2D92BD-1003-7B99-28B3-7426CCEFBE8C}"/>
          </ac:spMkLst>
        </pc:spChg>
        <pc:spChg chg="add del mod">
          <ac:chgData name="Steiner Andreas 6206 ED" userId="e6377c33-a923-4f14-8587-531c474c7b48" providerId="ADAL" clId="{6ECD27E6-B224-41CD-B4E0-E297462320DD}" dt="2023-11-24T08:51:40.524" v="89108"/>
          <ac:spMkLst>
            <pc:docMk/>
            <pc:sldMk cId="788765567" sldId="2147473977"/>
            <ac:spMk id="583" creationId="{DCB83B17-A6A5-A958-F093-9B12FFEB40D9}"/>
          </ac:spMkLst>
        </pc:spChg>
        <pc:spChg chg="add del mod">
          <ac:chgData name="Steiner Andreas 6206 ED" userId="e6377c33-a923-4f14-8587-531c474c7b48" providerId="ADAL" clId="{6ECD27E6-B224-41CD-B4E0-E297462320DD}" dt="2023-11-24T08:51:42.534" v="89263"/>
          <ac:spMkLst>
            <pc:docMk/>
            <pc:sldMk cId="788765567" sldId="2147473977"/>
            <ac:spMk id="584" creationId="{5253A08A-404F-C3D3-F2E5-59D1644E4B18}"/>
          </ac:spMkLst>
        </pc:spChg>
        <pc:spChg chg="add del mod">
          <ac:chgData name="Steiner Andreas 6206 ED" userId="e6377c33-a923-4f14-8587-531c474c7b48" providerId="ADAL" clId="{6ECD27E6-B224-41CD-B4E0-E297462320DD}" dt="2023-11-24T08:51:44.639" v="89418"/>
          <ac:spMkLst>
            <pc:docMk/>
            <pc:sldMk cId="788765567" sldId="2147473977"/>
            <ac:spMk id="585" creationId="{D9D73FBC-D464-E26E-65E6-A76802D27264}"/>
          </ac:spMkLst>
        </pc:spChg>
        <pc:spChg chg="add del mod">
          <ac:chgData name="Steiner Andreas 6206 ED" userId="e6377c33-a923-4f14-8587-531c474c7b48" providerId="ADAL" clId="{6ECD27E6-B224-41CD-B4E0-E297462320DD}" dt="2023-11-24T08:51:46.588" v="89573"/>
          <ac:spMkLst>
            <pc:docMk/>
            <pc:sldMk cId="788765567" sldId="2147473977"/>
            <ac:spMk id="586" creationId="{2535A974-BB4B-C7BA-AB8A-59FEC4848326}"/>
          </ac:spMkLst>
        </pc:spChg>
        <pc:spChg chg="add del mod">
          <ac:chgData name="Steiner Andreas 6206 ED" userId="e6377c33-a923-4f14-8587-531c474c7b48" providerId="ADAL" clId="{6ECD27E6-B224-41CD-B4E0-E297462320DD}" dt="2023-11-24T08:51:48.472" v="89728"/>
          <ac:spMkLst>
            <pc:docMk/>
            <pc:sldMk cId="788765567" sldId="2147473977"/>
            <ac:spMk id="587" creationId="{42FDE1CB-B631-D948-9E6A-FB1B7BBEF297}"/>
          </ac:spMkLst>
        </pc:spChg>
        <pc:spChg chg="add del mod">
          <ac:chgData name="Steiner Andreas 6206 ED" userId="e6377c33-a923-4f14-8587-531c474c7b48" providerId="ADAL" clId="{6ECD27E6-B224-41CD-B4E0-E297462320DD}" dt="2023-11-24T08:51:50.413" v="89883"/>
          <ac:spMkLst>
            <pc:docMk/>
            <pc:sldMk cId="788765567" sldId="2147473977"/>
            <ac:spMk id="588" creationId="{FF42EB21-8873-000E-BE5D-76C52A14F7DC}"/>
          </ac:spMkLst>
        </pc:spChg>
        <pc:spChg chg="add del mod">
          <ac:chgData name="Steiner Andreas 6206 ED" userId="e6377c33-a923-4f14-8587-531c474c7b48" providerId="ADAL" clId="{6ECD27E6-B224-41CD-B4E0-E297462320DD}" dt="2023-11-24T08:51:52.305" v="90038"/>
          <ac:spMkLst>
            <pc:docMk/>
            <pc:sldMk cId="788765567" sldId="2147473977"/>
            <ac:spMk id="589" creationId="{CC853783-08C0-31C1-B81A-F4E3EF3D5089}"/>
          </ac:spMkLst>
        </pc:spChg>
        <pc:spChg chg="add del mod">
          <ac:chgData name="Steiner Andreas 6206 ED" userId="e6377c33-a923-4f14-8587-531c474c7b48" providerId="ADAL" clId="{6ECD27E6-B224-41CD-B4E0-E297462320DD}" dt="2023-11-24T08:51:54.309" v="90193"/>
          <ac:spMkLst>
            <pc:docMk/>
            <pc:sldMk cId="788765567" sldId="2147473977"/>
            <ac:spMk id="590" creationId="{D3D06C11-9AA7-4EE9-6E22-5C462EAB9995}"/>
          </ac:spMkLst>
        </pc:spChg>
        <pc:spChg chg="add del mod">
          <ac:chgData name="Steiner Andreas 6206 ED" userId="e6377c33-a923-4f14-8587-531c474c7b48" providerId="ADAL" clId="{6ECD27E6-B224-41CD-B4E0-E297462320DD}" dt="2023-11-24T08:51:56.282" v="90348"/>
          <ac:spMkLst>
            <pc:docMk/>
            <pc:sldMk cId="788765567" sldId="2147473977"/>
            <ac:spMk id="591" creationId="{B373FB15-16C7-B877-9311-2FF5932014BE}"/>
          </ac:spMkLst>
        </pc:spChg>
        <pc:spChg chg="add del mod">
          <ac:chgData name="Steiner Andreas 6206 ED" userId="e6377c33-a923-4f14-8587-531c474c7b48" providerId="ADAL" clId="{6ECD27E6-B224-41CD-B4E0-E297462320DD}" dt="2023-11-24T08:51:58.215" v="90503"/>
          <ac:spMkLst>
            <pc:docMk/>
            <pc:sldMk cId="788765567" sldId="2147473977"/>
            <ac:spMk id="592" creationId="{2AF8921B-323C-8CAA-DC54-DCDBB83D9C21}"/>
          </ac:spMkLst>
        </pc:spChg>
        <pc:spChg chg="add del mod">
          <ac:chgData name="Steiner Andreas 6206 ED" userId="e6377c33-a923-4f14-8587-531c474c7b48" providerId="ADAL" clId="{6ECD27E6-B224-41CD-B4E0-E297462320DD}" dt="2023-11-24T08:52:00.349" v="90658"/>
          <ac:spMkLst>
            <pc:docMk/>
            <pc:sldMk cId="788765567" sldId="2147473977"/>
            <ac:spMk id="593" creationId="{6B1EE74E-26B6-FF01-0CB5-D8BEBE591C12}"/>
          </ac:spMkLst>
        </pc:spChg>
        <pc:spChg chg="add del mod">
          <ac:chgData name="Steiner Andreas 6206 ED" userId="e6377c33-a923-4f14-8587-531c474c7b48" providerId="ADAL" clId="{6ECD27E6-B224-41CD-B4E0-E297462320DD}" dt="2023-11-24T08:52:02.307" v="90813"/>
          <ac:spMkLst>
            <pc:docMk/>
            <pc:sldMk cId="788765567" sldId="2147473977"/>
            <ac:spMk id="594" creationId="{75C05758-44DA-D1F5-B8EE-9B82F8522AFF}"/>
          </ac:spMkLst>
        </pc:spChg>
        <pc:spChg chg="add del mod">
          <ac:chgData name="Steiner Andreas 6206 ED" userId="e6377c33-a923-4f14-8587-531c474c7b48" providerId="ADAL" clId="{6ECD27E6-B224-41CD-B4E0-E297462320DD}" dt="2023-11-24T08:52:04.212" v="90968"/>
          <ac:spMkLst>
            <pc:docMk/>
            <pc:sldMk cId="788765567" sldId="2147473977"/>
            <ac:spMk id="595" creationId="{519C7449-74C4-D538-B957-C72D4043A80E}"/>
          </ac:spMkLst>
        </pc:spChg>
        <pc:spChg chg="add del mod">
          <ac:chgData name="Steiner Andreas 6206 ED" userId="e6377c33-a923-4f14-8587-531c474c7b48" providerId="ADAL" clId="{6ECD27E6-B224-41CD-B4E0-E297462320DD}" dt="2023-11-24T08:52:06.439" v="91123"/>
          <ac:spMkLst>
            <pc:docMk/>
            <pc:sldMk cId="788765567" sldId="2147473977"/>
            <ac:spMk id="596" creationId="{6F18DC0A-AE89-7671-7AA1-3CA1A6AFE837}"/>
          </ac:spMkLst>
        </pc:spChg>
        <pc:spChg chg="add del mod">
          <ac:chgData name="Steiner Andreas 6206 ED" userId="e6377c33-a923-4f14-8587-531c474c7b48" providerId="ADAL" clId="{6ECD27E6-B224-41CD-B4E0-E297462320DD}" dt="2023-11-24T08:52:08.387" v="91278"/>
          <ac:spMkLst>
            <pc:docMk/>
            <pc:sldMk cId="788765567" sldId="2147473977"/>
            <ac:spMk id="597" creationId="{852FC29F-D82E-DE71-0BC5-B1CAE55B933C}"/>
          </ac:spMkLst>
        </pc:spChg>
        <pc:spChg chg="add del mod">
          <ac:chgData name="Steiner Andreas 6206 ED" userId="e6377c33-a923-4f14-8587-531c474c7b48" providerId="ADAL" clId="{6ECD27E6-B224-41CD-B4E0-E297462320DD}" dt="2023-11-24T08:52:10.266" v="91433"/>
          <ac:spMkLst>
            <pc:docMk/>
            <pc:sldMk cId="788765567" sldId="2147473977"/>
            <ac:spMk id="598" creationId="{71C92C29-D6A0-C366-F07E-D0B262057FCB}"/>
          </ac:spMkLst>
        </pc:spChg>
        <pc:spChg chg="add del mod">
          <ac:chgData name="Steiner Andreas 6206 ED" userId="e6377c33-a923-4f14-8587-531c474c7b48" providerId="ADAL" clId="{6ECD27E6-B224-41CD-B4E0-E297462320DD}" dt="2023-11-24T08:52:12.111" v="91588"/>
          <ac:spMkLst>
            <pc:docMk/>
            <pc:sldMk cId="788765567" sldId="2147473977"/>
            <ac:spMk id="599" creationId="{730DB611-B145-9582-FE17-63B2F9F10C9B}"/>
          </ac:spMkLst>
        </pc:spChg>
        <pc:spChg chg="add del mod">
          <ac:chgData name="Steiner Andreas 6206 ED" userId="e6377c33-a923-4f14-8587-531c474c7b48" providerId="ADAL" clId="{6ECD27E6-B224-41CD-B4E0-E297462320DD}" dt="2023-11-24T08:52:14.059" v="91743"/>
          <ac:spMkLst>
            <pc:docMk/>
            <pc:sldMk cId="788765567" sldId="2147473977"/>
            <ac:spMk id="600" creationId="{8F4B5F85-4B35-8902-B2B9-91F251F8D614}"/>
          </ac:spMkLst>
        </pc:spChg>
        <pc:spChg chg="add del mod">
          <ac:chgData name="Steiner Andreas 6206 ED" userId="e6377c33-a923-4f14-8587-531c474c7b48" providerId="ADAL" clId="{6ECD27E6-B224-41CD-B4E0-E297462320DD}" dt="2023-11-24T08:52:15.976" v="91898"/>
          <ac:spMkLst>
            <pc:docMk/>
            <pc:sldMk cId="788765567" sldId="2147473977"/>
            <ac:spMk id="601" creationId="{830C894D-242A-D349-6D07-473B7A8BBDDE}"/>
          </ac:spMkLst>
        </pc:spChg>
        <pc:spChg chg="add del mod">
          <ac:chgData name="Steiner Andreas 6206 ED" userId="e6377c33-a923-4f14-8587-531c474c7b48" providerId="ADAL" clId="{6ECD27E6-B224-41CD-B4E0-E297462320DD}" dt="2023-11-24T08:52:18.128" v="92053"/>
          <ac:spMkLst>
            <pc:docMk/>
            <pc:sldMk cId="788765567" sldId="2147473977"/>
            <ac:spMk id="602" creationId="{7F004BBB-1491-4EC6-38F6-B796F2B2BFDD}"/>
          </ac:spMkLst>
        </pc:spChg>
        <pc:spChg chg="add del mod">
          <ac:chgData name="Steiner Andreas 6206 ED" userId="e6377c33-a923-4f14-8587-531c474c7b48" providerId="ADAL" clId="{6ECD27E6-B224-41CD-B4E0-E297462320DD}" dt="2023-11-24T08:52:20.091" v="92208"/>
          <ac:spMkLst>
            <pc:docMk/>
            <pc:sldMk cId="788765567" sldId="2147473977"/>
            <ac:spMk id="603" creationId="{6AC5F727-8315-68B2-32AF-2F282C3598C6}"/>
          </ac:spMkLst>
        </pc:spChg>
        <pc:spChg chg="add del mod">
          <ac:chgData name="Steiner Andreas 6206 ED" userId="e6377c33-a923-4f14-8587-531c474c7b48" providerId="ADAL" clId="{6ECD27E6-B224-41CD-B4E0-E297462320DD}" dt="2023-11-24T08:52:21.937" v="92363"/>
          <ac:spMkLst>
            <pc:docMk/>
            <pc:sldMk cId="788765567" sldId="2147473977"/>
            <ac:spMk id="604" creationId="{CC18442E-845B-C652-6E42-9BAA1932C6AB}"/>
          </ac:spMkLst>
        </pc:spChg>
        <pc:spChg chg="add del mod">
          <ac:chgData name="Steiner Andreas 6206 ED" userId="e6377c33-a923-4f14-8587-531c474c7b48" providerId="ADAL" clId="{6ECD27E6-B224-41CD-B4E0-E297462320DD}" dt="2023-11-24T08:52:23.988" v="92518"/>
          <ac:spMkLst>
            <pc:docMk/>
            <pc:sldMk cId="788765567" sldId="2147473977"/>
            <ac:spMk id="605" creationId="{BB7F5473-C9E4-1796-630E-56EEA5F78602}"/>
          </ac:spMkLst>
        </pc:spChg>
        <pc:spChg chg="add del mod">
          <ac:chgData name="Steiner Andreas 6206 ED" userId="e6377c33-a923-4f14-8587-531c474c7b48" providerId="ADAL" clId="{6ECD27E6-B224-41CD-B4E0-E297462320DD}" dt="2023-11-24T08:52:25.852" v="92673"/>
          <ac:spMkLst>
            <pc:docMk/>
            <pc:sldMk cId="788765567" sldId="2147473977"/>
            <ac:spMk id="606" creationId="{20E6F8CA-DB2A-5181-851F-7CFF293BD987}"/>
          </ac:spMkLst>
        </pc:spChg>
        <pc:spChg chg="add del mod">
          <ac:chgData name="Steiner Andreas 6206 ED" userId="e6377c33-a923-4f14-8587-531c474c7b48" providerId="ADAL" clId="{6ECD27E6-B224-41CD-B4E0-E297462320DD}" dt="2023-11-24T08:52:27.739" v="92828"/>
          <ac:spMkLst>
            <pc:docMk/>
            <pc:sldMk cId="788765567" sldId="2147473977"/>
            <ac:spMk id="607" creationId="{388F7002-27A4-77AE-5859-3E022E44A8F5}"/>
          </ac:spMkLst>
        </pc:spChg>
        <pc:spChg chg="add del mod">
          <ac:chgData name="Steiner Andreas 6206 ED" userId="e6377c33-a923-4f14-8587-531c474c7b48" providerId="ADAL" clId="{6ECD27E6-B224-41CD-B4E0-E297462320DD}" dt="2023-11-24T08:52:29.844" v="92983"/>
          <ac:spMkLst>
            <pc:docMk/>
            <pc:sldMk cId="788765567" sldId="2147473977"/>
            <ac:spMk id="608" creationId="{095A4015-12BC-C978-FD0C-57118A01679B}"/>
          </ac:spMkLst>
        </pc:spChg>
        <pc:spChg chg="add del mod">
          <ac:chgData name="Steiner Andreas 6206 ED" userId="e6377c33-a923-4f14-8587-531c474c7b48" providerId="ADAL" clId="{6ECD27E6-B224-41CD-B4E0-E297462320DD}" dt="2023-11-24T08:52:31.757" v="93138"/>
          <ac:spMkLst>
            <pc:docMk/>
            <pc:sldMk cId="788765567" sldId="2147473977"/>
            <ac:spMk id="609" creationId="{19F15A15-4856-9D02-AF5A-0F3C5D283BE7}"/>
          </ac:spMkLst>
        </pc:spChg>
        <pc:spChg chg="add del mod">
          <ac:chgData name="Steiner Andreas 6206 ED" userId="e6377c33-a923-4f14-8587-531c474c7b48" providerId="ADAL" clId="{6ECD27E6-B224-41CD-B4E0-E297462320DD}" dt="2023-11-24T08:52:33.671" v="93293"/>
          <ac:spMkLst>
            <pc:docMk/>
            <pc:sldMk cId="788765567" sldId="2147473977"/>
            <ac:spMk id="610" creationId="{6F2689A1-0EC4-1DB1-0686-A73CA16E85B3}"/>
          </ac:spMkLst>
        </pc:spChg>
        <pc:spChg chg="add del mod">
          <ac:chgData name="Steiner Andreas 6206 ED" userId="e6377c33-a923-4f14-8587-531c474c7b48" providerId="ADAL" clId="{6ECD27E6-B224-41CD-B4E0-E297462320DD}" dt="2023-11-24T08:52:35.587" v="93448"/>
          <ac:spMkLst>
            <pc:docMk/>
            <pc:sldMk cId="788765567" sldId="2147473977"/>
            <ac:spMk id="611" creationId="{0739666A-5F0B-C713-2B8D-E2332FA22D3B}"/>
          </ac:spMkLst>
        </pc:spChg>
        <pc:spChg chg="add del mod">
          <ac:chgData name="Steiner Andreas 6206 ED" userId="e6377c33-a923-4f14-8587-531c474c7b48" providerId="ADAL" clId="{6ECD27E6-B224-41CD-B4E0-E297462320DD}" dt="2023-11-24T08:52:37.502" v="93603"/>
          <ac:spMkLst>
            <pc:docMk/>
            <pc:sldMk cId="788765567" sldId="2147473977"/>
            <ac:spMk id="612" creationId="{19742554-5BEE-84B1-F6F5-5BB0746F4B22}"/>
          </ac:spMkLst>
        </pc:spChg>
        <pc:spChg chg="add del mod">
          <ac:chgData name="Steiner Andreas 6206 ED" userId="e6377c33-a923-4f14-8587-531c474c7b48" providerId="ADAL" clId="{6ECD27E6-B224-41CD-B4E0-E297462320DD}" dt="2023-11-24T08:52:39.436" v="93758"/>
          <ac:spMkLst>
            <pc:docMk/>
            <pc:sldMk cId="788765567" sldId="2147473977"/>
            <ac:spMk id="613" creationId="{5C2B9275-11E1-B4C1-DCD0-FA88CD1153A6}"/>
          </ac:spMkLst>
        </pc:spChg>
        <pc:spChg chg="add del mod">
          <ac:chgData name="Steiner Andreas 6206 ED" userId="e6377c33-a923-4f14-8587-531c474c7b48" providerId="ADAL" clId="{6ECD27E6-B224-41CD-B4E0-E297462320DD}" dt="2023-11-24T08:52:41.482" v="93913"/>
          <ac:spMkLst>
            <pc:docMk/>
            <pc:sldMk cId="788765567" sldId="2147473977"/>
            <ac:spMk id="614" creationId="{D6F109B1-9B2E-E763-EC8E-A50FA72B8FD9}"/>
          </ac:spMkLst>
        </pc:spChg>
        <pc:spChg chg="add del mod">
          <ac:chgData name="Steiner Andreas 6206 ED" userId="e6377c33-a923-4f14-8587-531c474c7b48" providerId="ADAL" clId="{6ECD27E6-B224-41CD-B4E0-E297462320DD}" dt="2023-11-24T08:52:43.411" v="94068"/>
          <ac:spMkLst>
            <pc:docMk/>
            <pc:sldMk cId="788765567" sldId="2147473977"/>
            <ac:spMk id="615" creationId="{E220D3CB-13E2-06D2-086C-F50A6FB14FF6}"/>
          </ac:spMkLst>
        </pc:spChg>
        <pc:spChg chg="add del mod">
          <ac:chgData name="Steiner Andreas 6206 ED" userId="e6377c33-a923-4f14-8587-531c474c7b48" providerId="ADAL" clId="{6ECD27E6-B224-41CD-B4E0-E297462320DD}" dt="2023-11-24T08:52:45.354" v="94223"/>
          <ac:spMkLst>
            <pc:docMk/>
            <pc:sldMk cId="788765567" sldId="2147473977"/>
            <ac:spMk id="616" creationId="{24426F3B-ABEF-DC60-E649-88AC498105F8}"/>
          </ac:spMkLst>
        </pc:spChg>
        <pc:spChg chg="add del mod">
          <ac:chgData name="Steiner Andreas 6206 ED" userId="e6377c33-a923-4f14-8587-531c474c7b48" providerId="ADAL" clId="{6ECD27E6-B224-41CD-B4E0-E297462320DD}" dt="2023-11-24T08:52:47.317" v="94378"/>
          <ac:spMkLst>
            <pc:docMk/>
            <pc:sldMk cId="788765567" sldId="2147473977"/>
            <ac:spMk id="617" creationId="{0DE5996D-90B5-36BC-5F9D-253660490F1F}"/>
          </ac:spMkLst>
        </pc:spChg>
        <pc:spChg chg="add del mod">
          <ac:chgData name="Steiner Andreas 6206 ED" userId="e6377c33-a923-4f14-8587-531c474c7b48" providerId="ADAL" clId="{6ECD27E6-B224-41CD-B4E0-E297462320DD}" dt="2023-11-24T08:52:49.404" v="94533"/>
          <ac:spMkLst>
            <pc:docMk/>
            <pc:sldMk cId="788765567" sldId="2147473977"/>
            <ac:spMk id="618" creationId="{5F68798F-D48D-A426-D0EF-D85E5D838077}"/>
          </ac:spMkLst>
        </pc:spChg>
        <pc:spChg chg="add del mod">
          <ac:chgData name="Steiner Andreas 6206 ED" userId="e6377c33-a923-4f14-8587-531c474c7b48" providerId="ADAL" clId="{6ECD27E6-B224-41CD-B4E0-E297462320DD}" dt="2023-11-24T08:52:51.594" v="94688"/>
          <ac:spMkLst>
            <pc:docMk/>
            <pc:sldMk cId="788765567" sldId="2147473977"/>
            <ac:spMk id="619" creationId="{2A74D75F-3F5C-3A4D-190D-17CBF21A68A6}"/>
          </ac:spMkLst>
        </pc:spChg>
        <pc:spChg chg="add del mod">
          <ac:chgData name="Steiner Andreas 6206 ED" userId="e6377c33-a923-4f14-8587-531c474c7b48" providerId="ADAL" clId="{6ECD27E6-B224-41CD-B4E0-E297462320DD}" dt="2023-11-24T08:52:53.537" v="94843"/>
          <ac:spMkLst>
            <pc:docMk/>
            <pc:sldMk cId="788765567" sldId="2147473977"/>
            <ac:spMk id="620" creationId="{0756FD12-A227-3B98-9DF8-675131D15930}"/>
          </ac:spMkLst>
        </pc:spChg>
        <pc:spChg chg="add del mod">
          <ac:chgData name="Steiner Andreas 6206 ED" userId="e6377c33-a923-4f14-8587-531c474c7b48" providerId="ADAL" clId="{6ECD27E6-B224-41CD-B4E0-E297462320DD}" dt="2023-11-24T08:52:55.477" v="94998"/>
          <ac:spMkLst>
            <pc:docMk/>
            <pc:sldMk cId="788765567" sldId="2147473977"/>
            <ac:spMk id="621" creationId="{0C617184-A086-86BD-B31B-4CB9DFC66091}"/>
          </ac:spMkLst>
        </pc:spChg>
        <pc:spChg chg="add del mod">
          <ac:chgData name="Steiner Andreas 6206 ED" userId="e6377c33-a923-4f14-8587-531c474c7b48" providerId="ADAL" clId="{6ECD27E6-B224-41CD-B4E0-E297462320DD}" dt="2023-11-24T08:52:57.500" v="95153"/>
          <ac:spMkLst>
            <pc:docMk/>
            <pc:sldMk cId="788765567" sldId="2147473977"/>
            <ac:spMk id="622" creationId="{654CEA8F-D083-0E7E-4A9E-05A0B41D8C5C}"/>
          </ac:spMkLst>
        </pc:spChg>
        <pc:spChg chg="add del mod">
          <ac:chgData name="Steiner Andreas 6206 ED" userId="e6377c33-a923-4f14-8587-531c474c7b48" providerId="ADAL" clId="{6ECD27E6-B224-41CD-B4E0-E297462320DD}" dt="2023-11-24T08:52:59.469" v="95308"/>
          <ac:spMkLst>
            <pc:docMk/>
            <pc:sldMk cId="788765567" sldId="2147473977"/>
            <ac:spMk id="623" creationId="{B8570146-64C9-9A36-E7D5-3FB0C32F2F9C}"/>
          </ac:spMkLst>
        </pc:spChg>
        <pc:spChg chg="add del mod">
          <ac:chgData name="Steiner Andreas 6206 ED" userId="e6377c33-a923-4f14-8587-531c474c7b48" providerId="ADAL" clId="{6ECD27E6-B224-41CD-B4E0-E297462320DD}" dt="2023-11-24T08:53:01.471" v="95463"/>
          <ac:spMkLst>
            <pc:docMk/>
            <pc:sldMk cId="788765567" sldId="2147473977"/>
            <ac:spMk id="624" creationId="{7410C517-6CBC-CD92-F9C6-9F5508AB1B35}"/>
          </ac:spMkLst>
        </pc:spChg>
        <pc:spChg chg="add del mod">
          <ac:chgData name="Steiner Andreas 6206 ED" userId="e6377c33-a923-4f14-8587-531c474c7b48" providerId="ADAL" clId="{6ECD27E6-B224-41CD-B4E0-E297462320DD}" dt="2023-11-24T08:53:03.591" v="95618"/>
          <ac:spMkLst>
            <pc:docMk/>
            <pc:sldMk cId="788765567" sldId="2147473977"/>
            <ac:spMk id="625" creationId="{29E7F4E2-13DE-DAF4-7A58-2697499993FC}"/>
          </ac:spMkLst>
        </pc:spChg>
        <pc:spChg chg="add del mod">
          <ac:chgData name="Steiner Andreas 6206 ED" userId="e6377c33-a923-4f14-8587-531c474c7b48" providerId="ADAL" clId="{6ECD27E6-B224-41CD-B4E0-E297462320DD}" dt="2023-11-24T08:53:05.533" v="95773"/>
          <ac:spMkLst>
            <pc:docMk/>
            <pc:sldMk cId="788765567" sldId="2147473977"/>
            <ac:spMk id="626" creationId="{202B4DC0-EB4A-DD24-3A15-72C6733E4603}"/>
          </ac:spMkLst>
        </pc:spChg>
        <pc:spChg chg="add del mod">
          <ac:chgData name="Steiner Andreas 6206 ED" userId="e6377c33-a923-4f14-8587-531c474c7b48" providerId="ADAL" clId="{6ECD27E6-B224-41CD-B4E0-E297462320DD}" dt="2023-11-24T08:53:07.419" v="95928"/>
          <ac:spMkLst>
            <pc:docMk/>
            <pc:sldMk cId="788765567" sldId="2147473977"/>
            <ac:spMk id="627" creationId="{AFDB8D1C-4977-025B-7921-13775C9680CF}"/>
          </ac:spMkLst>
        </pc:spChg>
        <pc:spChg chg="add del mod">
          <ac:chgData name="Steiner Andreas 6206 ED" userId="e6377c33-a923-4f14-8587-531c474c7b48" providerId="ADAL" clId="{6ECD27E6-B224-41CD-B4E0-E297462320DD}" dt="2023-11-24T08:53:09.358" v="96083"/>
          <ac:spMkLst>
            <pc:docMk/>
            <pc:sldMk cId="788765567" sldId="2147473977"/>
            <ac:spMk id="628" creationId="{6E2F2AA8-3D70-939B-B36F-1A7E807F79F7}"/>
          </ac:spMkLst>
        </pc:spChg>
        <pc:spChg chg="add del mod">
          <ac:chgData name="Steiner Andreas 6206 ED" userId="e6377c33-a923-4f14-8587-531c474c7b48" providerId="ADAL" clId="{6ECD27E6-B224-41CD-B4E0-E297462320DD}" dt="2023-11-24T08:53:11.308" v="96238"/>
          <ac:spMkLst>
            <pc:docMk/>
            <pc:sldMk cId="788765567" sldId="2147473977"/>
            <ac:spMk id="629" creationId="{F5B03D90-A8A9-95DE-0317-84B0DEE4A57D}"/>
          </ac:spMkLst>
        </pc:spChg>
        <pc:spChg chg="add del mod">
          <ac:chgData name="Steiner Andreas 6206 ED" userId="e6377c33-a923-4f14-8587-531c474c7b48" providerId="ADAL" clId="{6ECD27E6-B224-41CD-B4E0-E297462320DD}" dt="2023-11-24T08:53:13.341" v="96393"/>
          <ac:spMkLst>
            <pc:docMk/>
            <pc:sldMk cId="788765567" sldId="2147473977"/>
            <ac:spMk id="630" creationId="{182246BE-45B2-1879-230E-37A1C1FDDDD2}"/>
          </ac:spMkLst>
        </pc:spChg>
        <pc:spChg chg="add del mod">
          <ac:chgData name="Steiner Andreas 6206 ED" userId="e6377c33-a923-4f14-8587-531c474c7b48" providerId="ADAL" clId="{6ECD27E6-B224-41CD-B4E0-E297462320DD}" dt="2023-11-24T08:53:15.394" v="96548"/>
          <ac:spMkLst>
            <pc:docMk/>
            <pc:sldMk cId="788765567" sldId="2147473977"/>
            <ac:spMk id="631" creationId="{30AEE228-6783-2DE3-76B7-CFBC21E08ECF}"/>
          </ac:spMkLst>
        </pc:spChg>
        <pc:spChg chg="add del mod">
          <ac:chgData name="Steiner Andreas 6206 ED" userId="e6377c33-a923-4f14-8587-531c474c7b48" providerId="ADAL" clId="{6ECD27E6-B224-41CD-B4E0-E297462320DD}" dt="2023-11-24T08:53:17.348" v="96703"/>
          <ac:spMkLst>
            <pc:docMk/>
            <pc:sldMk cId="788765567" sldId="2147473977"/>
            <ac:spMk id="632" creationId="{68FC6385-2B61-056F-539A-746C8629F9B4}"/>
          </ac:spMkLst>
        </pc:spChg>
        <pc:spChg chg="add del mod">
          <ac:chgData name="Steiner Andreas 6206 ED" userId="e6377c33-a923-4f14-8587-531c474c7b48" providerId="ADAL" clId="{6ECD27E6-B224-41CD-B4E0-E297462320DD}" dt="2023-11-24T08:53:19.335" v="96858"/>
          <ac:spMkLst>
            <pc:docMk/>
            <pc:sldMk cId="788765567" sldId="2147473977"/>
            <ac:spMk id="633" creationId="{E3CEB452-24AD-1BC8-D000-F4ABDF32FBB2}"/>
          </ac:spMkLst>
        </pc:spChg>
        <pc:spChg chg="add del mod">
          <ac:chgData name="Steiner Andreas 6206 ED" userId="e6377c33-a923-4f14-8587-531c474c7b48" providerId="ADAL" clId="{6ECD27E6-B224-41CD-B4E0-E297462320DD}" dt="2023-11-24T08:53:21.281" v="97013"/>
          <ac:spMkLst>
            <pc:docMk/>
            <pc:sldMk cId="788765567" sldId="2147473977"/>
            <ac:spMk id="634" creationId="{6E21D8FD-83D8-1A08-7ECB-529F5649551A}"/>
          </ac:spMkLst>
        </pc:spChg>
        <pc:spChg chg="add del mod">
          <ac:chgData name="Steiner Andreas 6206 ED" userId="e6377c33-a923-4f14-8587-531c474c7b48" providerId="ADAL" clId="{6ECD27E6-B224-41CD-B4E0-E297462320DD}" dt="2023-11-24T08:53:23.236" v="97168"/>
          <ac:spMkLst>
            <pc:docMk/>
            <pc:sldMk cId="788765567" sldId="2147473977"/>
            <ac:spMk id="635" creationId="{7015CE84-CAE9-6963-796A-529C6735CED2}"/>
          </ac:spMkLst>
        </pc:spChg>
        <pc:spChg chg="add del mod">
          <ac:chgData name="Steiner Andreas 6206 ED" userId="e6377c33-a923-4f14-8587-531c474c7b48" providerId="ADAL" clId="{6ECD27E6-B224-41CD-B4E0-E297462320DD}" dt="2023-11-24T08:53:25.364" v="97323"/>
          <ac:spMkLst>
            <pc:docMk/>
            <pc:sldMk cId="788765567" sldId="2147473977"/>
            <ac:spMk id="636" creationId="{9974F890-5512-69EF-A57E-676844163FBB}"/>
          </ac:spMkLst>
        </pc:spChg>
        <pc:spChg chg="add del mod">
          <ac:chgData name="Steiner Andreas 6206 ED" userId="e6377c33-a923-4f14-8587-531c474c7b48" providerId="ADAL" clId="{6ECD27E6-B224-41CD-B4E0-E297462320DD}" dt="2023-11-24T08:53:27.339" v="97478"/>
          <ac:spMkLst>
            <pc:docMk/>
            <pc:sldMk cId="788765567" sldId="2147473977"/>
            <ac:spMk id="637" creationId="{CD57D106-41C9-5A39-5D01-143F56F71155}"/>
          </ac:spMkLst>
        </pc:spChg>
        <pc:spChg chg="add del mod">
          <ac:chgData name="Steiner Andreas 6206 ED" userId="e6377c33-a923-4f14-8587-531c474c7b48" providerId="ADAL" clId="{6ECD27E6-B224-41CD-B4E0-E297462320DD}" dt="2023-11-24T08:53:29.231" v="97633"/>
          <ac:spMkLst>
            <pc:docMk/>
            <pc:sldMk cId="788765567" sldId="2147473977"/>
            <ac:spMk id="638" creationId="{74609930-AB7D-9ECD-E288-32EF2FE52F94}"/>
          </ac:spMkLst>
        </pc:spChg>
        <pc:spChg chg="add del mod">
          <ac:chgData name="Steiner Andreas 6206 ED" userId="e6377c33-a923-4f14-8587-531c474c7b48" providerId="ADAL" clId="{6ECD27E6-B224-41CD-B4E0-E297462320DD}" dt="2023-11-24T08:53:31.134" v="97788"/>
          <ac:spMkLst>
            <pc:docMk/>
            <pc:sldMk cId="788765567" sldId="2147473977"/>
            <ac:spMk id="639" creationId="{43FDDBB2-1304-F6EE-7372-DDE727181798}"/>
          </ac:spMkLst>
        </pc:spChg>
        <pc:spChg chg="add del mod">
          <ac:chgData name="Steiner Andreas 6206 ED" userId="e6377c33-a923-4f14-8587-531c474c7b48" providerId="ADAL" clId="{6ECD27E6-B224-41CD-B4E0-E297462320DD}" dt="2023-11-24T08:53:33.073" v="97943"/>
          <ac:spMkLst>
            <pc:docMk/>
            <pc:sldMk cId="788765567" sldId="2147473977"/>
            <ac:spMk id="640" creationId="{D79F16C3-280B-4D7B-3679-3F2E6B05C3DF}"/>
          </ac:spMkLst>
        </pc:spChg>
        <pc:spChg chg="add del mod">
          <ac:chgData name="Steiner Andreas 6206 ED" userId="e6377c33-a923-4f14-8587-531c474c7b48" providerId="ADAL" clId="{6ECD27E6-B224-41CD-B4E0-E297462320DD}" dt="2023-11-24T08:53:34.995" v="98098"/>
          <ac:spMkLst>
            <pc:docMk/>
            <pc:sldMk cId="788765567" sldId="2147473977"/>
            <ac:spMk id="641" creationId="{59BC1437-487D-888D-70E4-93304D0D2906}"/>
          </ac:spMkLst>
        </pc:spChg>
        <pc:spChg chg="add del mod">
          <ac:chgData name="Steiner Andreas 6206 ED" userId="e6377c33-a923-4f14-8587-531c474c7b48" providerId="ADAL" clId="{6ECD27E6-B224-41CD-B4E0-E297462320DD}" dt="2023-11-24T08:53:37.118" v="98253"/>
          <ac:spMkLst>
            <pc:docMk/>
            <pc:sldMk cId="788765567" sldId="2147473977"/>
            <ac:spMk id="642" creationId="{B6B28D29-DCC9-B49A-65B0-6B5E6020E1A3}"/>
          </ac:spMkLst>
        </pc:spChg>
        <pc:spChg chg="add del mod">
          <ac:chgData name="Steiner Andreas 6206 ED" userId="e6377c33-a923-4f14-8587-531c474c7b48" providerId="ADAL" clId="{6ECD27E6-B224-41CD-B4E0-E297462320DD}" dt="2023-11-24T08:53:39.004" v="98408"/>
          <ac:spMkLst>
            <pc:docMk/>
            <pc:sldMk cId="788765567" sldId="2147473977"/>
            <ac:spMk id="643" creationId="{EAE56F41-3B2C-919F-8307-CF993FBE6760}"/>
          </ac:spMkLst>
        </pc:spChg>
        <pc:spChg chg="add del mod">
          <ac:chgData name="Steiner Andreas 6206 ED" userId="e6377c33-a923-4f14-8587-531c474c7b48" providerId="ADAL" clId="{6ECD27E6-B224-41CD-B4E0-E297462320DD}" dt="2023-11-24T08:53:40.956" v="98563"/>
          <ac:spMkLst>
            <pc:docMk/>
            <pc:sldMk cId="788765567" sldId="2147473977"/>
            <ac:spMk id="644" creationId="{0002F3D2-6582-24FC-9B98-A7B9A6FDFA4F}"/>
          </ac:spMkLst>
        </pc:spChg>
        <pc:spChg chg="add del mod">
          <ac:chgData name="Steiner Andreas 6206 ED" userId="e6377c33-a923-4f14-8587-531c474c7b48" providerId="ADAL" clId="{6ECD27E6-B224-41CD-B4E0-E297462320DD}" dt="2023-11-24T08:53:42.916" v="98718"/>
          <ac:spMkLst>
            <pc:docMk/>
            <pc:sldMk cId="788765567" sldId="2147473977"/>
            <ac:spMk id="645" creationId="{276A6F77-2279-31A6-8305-794CA9B4442F}"/>
          </ac:spMkLst>
        </pc:spChg>
        <pc:spChg chg="add del mod">
          <ac:chgData name="Steiner Andreas 6206 ED" userId="e6377c33-a923-4f14-8587-531c474c7b48" providerId="ADAL" clId="{6ECD27E6-B224-41CD-B4E0-E297462320DD}" dt="2023-11-24T08:53:44.852" v="98873"/>
          <ac:spMkLst>
            <pc:docMk/>
            <pc:sldMk cId="788765567" sldId="2147473977"/>
            <ac:spMk id="646" creationId="{B49853AB-526F-6759-0802-2881D3AD1B15}"/>
          </ac:spMkLst>
        </pc:spChg>
        <pc:spChg chg="add del mod">
          <ac:chgData name="Steiner Andreas 6206 ED" userId="e6377c33-a923-4f14-8587-531c474c7b48" providerId="ADAL" clId="{6ECD27E6-B224-41CD-B4E0-E297462320DD}" dt="2023-11-24T08:53:46.814" v="99028"/>
          <ac:spMkLst>
            <pc:docMk/>
            <pc:sldMk cId="788765567" sldId="2147473977"/>
            <ac:spMk id="647" creationId="{6CCF1DE8-04CA-D5C5-D1F6-E61652D980E5}"/>
          </ac:spMkLst>
        </pc:spChg>
        <pc:spChg chg="add del mod">
          <ac:chgData name="Steiner Andreas 6206 ED" userId="e6377c33-a923-4f14-8587-531c474c7b48" providerId="ADAL" clId="{6ECD27E6-B224-41CD-B4E0-E297462320DD}" dt="2023-11-24T08:53:48.857" v="99183"/>
          <ac:spMkLst>
            <pc:docMk/>
            <pc:sldMk cId="788765567" sldId="2147473977"/>
            <ac:spMk id="648" creationId="{053D305C-B31D-38E6-0E4A-957AF2B23EC7}"/>
          </ac:spMkLst>
        </pc:spChg>
        <pc:spChg chg="add del mod">
          <ac:chgData name="Steiner Andreas 6206 ED" userId="e6377c33-a923-4f14-8587-531c474c7b48" providerId="ADAL" clId="{6ECD27E6-B224-41CD-B4E0-E297462320DD}" dt="2023-11-24T08:53:50.798" v="99338"/>
          <ac:spMkLst>
            <pc:docMk/>
            <pc:sldMk cId="788765567" sldId="2147473977"/>
            <ac:spMk id="649" creationId="{81252370-0C7D-4AC0-3D17-A762F8C446C8}"/>
          </ac:spMkLst>
        </pc:spChg>
        <pc:spChg chg="add del mod">
          <ac:chgData name="Steiner Andreas 6206 ED" userId="e6377c33-a923-4f14-8587-531c474c7b48" providerId="ADAL" clId="{6ECD27E6-B224-41CD-B4E0-E297462320DD}" dt="2023-11-24T08:53:52.801" v="99493"/>
          <ac:spMkLst>
            <pc:docMk/>
            <pc:sldMk cId="788765567" sldId="2147473977"/>
            <ac:spMk id="650" creationId="{D8B70676-F74B-F35D-B8F5-E8FCA05D4A03}"/>
          </ac:spMkLst>
        </pc:spChg>
        <pc:spChg chg="add del mod">
          <ac:chgData name="Steiner Andreas 6206 ED" userId="e6377c33-a923-4f14-8587-531c474c7b48" providerId="ADAL" clId="{6ECD27E6-B224-41CD-B4E0-E297462320DD}" dt="2023-11-24T08:53:54.760" v="99648"/>
          <ac:spMkLst>
            <pc:docMk/>
            <pc:sldMk cId="788765567" sldId="2147473977"/>
            <ac:spMk id="651" creationId="{A5BA58CD-166D-B9A4-6110-68A726630DA8}"/>
          </ac:spMkLst>
        </pc:spChg>
        <pc:spChg chg="add del mod">
          <ac:chgData name="Steiner Andreas 6206 ED" userId="e6377c33-a923-4f14-8587-531c474c7b48" providerId="ADAL" clId="{6ECD27E6-B224-41CD-B4E0-E297462320DD}" dt="2023-11-24T08:53:56.694" v="99803"/>
          <ac:spMkLst>
            <pc:docMk/>
            <pc:sldMk cId="788765567" sldId="2147473977"/>
            <ac:spMk id="652" creationId="{6BD677A8-50C9-3914-DF38-FB0BF60EFBD0}"/>
          </ac:spMkLst>
        </pc:spChg>
        <pc:spChg chg="add del mod">
          <ac:chgData name="Steiner Andreas 6206 ED" userId="e6377c33-a923-4f14-8587-531c474c7b48" providerId="ADAL" clId="{6ECD27E6-B224-41CD-B4E0-E297462320DD}" dt="2023-11-24T08:53:58.786" v="99958"/>
          <ac:spMkLst>
            <pc:docMk/>
            <pc:sldMk cId="788765567" sldId="2147473977"/>
            <ac:spMk id="653" creationId="{97FD8ADE-DE9F-91FA-8F15-54797ABA08AF}"/>
          </ac:spMkLst>
        </pc:spChg>
        <pc:spChg chg="add del mod">
          <ac:chgData name="Steiner Andreas 6206 ED" userId="e6377c33-a923-4f14-8587-531c474c7b48" providerId="ADAL" clId="{6ECD27E6-B224-41CD-B4E0-E297462320DD}" dt="2023-11-24T08:54:00.858" v="100113"/>
          <ac:spMkLst>
            <pc:docMk/>
            <pc:sldMk cId="788765567" sldId="2147473977"/>
            <ac:spMk id="654" creationId="{8DDB5E4B-2FCA-D43E-06E4-BAB06829F340}"/>
          </ac:spMkLst>
        </pc:spChg>
        <pc:spChg chg="add del mod">
          <ac:chgData name="Steiner Andreas 6206 ED" userId="e6377c33-a923-4f14-8587-531c474c7b48" providerId="ADAL" clId="{6ECD27E6-B224-41CD-B4E0-E297462320DD}" dt="2023-11-24T08:54:02.860" v="100268"/>
          <ac:spMkLst>
            <pc:docMk/>
            <pc:sldMk cId="788765567" sldId="2147473977"/>
            <ac:spMk id="655" creationId="{AE86AC83-1CBF-D95C-D0A0-7A9926E19879}"/>
          </ac:spMkLst>
        </pc:spChg>
        <pc:spChg chg="add del mod">
          <ac:chgData name="Steiner Andreas 6206 ED" userId="e6377c33-a923-4f14-8587-531c474c7b48" providerId="ADAL" clId="{6ECD27E6-B224-41CD-B4E0-E297462320DD}" dt="2023-11-24T08:54:04.806" v="100423"/>
          <ac:spMkLst>
            <pc:docMk/>
            <pc:sldMk cId="788765567" sldId="2147473977"/>
            <ac:spMk id="656" creationId="{C724075A-7791-DD50-9FD1-549D6C592A11}"/>
          </ac:spMkLst>
        </pc:spChg>
        <pc:spChg chg="add del mod">
          <ac:chgData name="Steiner Andreas 6206 ED" userId="e6377c33-a923-4f14-8587-531c474c7b48" providerId="ADAL" clId="{6ECD27E6-B224-41CD-B4E0-E297462320DD}" dt="2023-11-24T08:54:06.772" v="100578"/>
          <ac:spMkLst>
            <pc:docMk/>
            <pc:sldMk cId="788765567" sldId="2147473977"/>
            <ac:spMk id="657" creationId="{E282D606-8C9C-A9C4-2862-B67725706EF8}"/>
          </ac:spMkLst>
        </pc:spChg>
        <pc:spChg chg="add del mod">
          <ac:chgData name="Steiner Andreas 6206 ED" userId="e6377c33-a923-4f14-8587-531c474c7b48" providerId="ADAL" clId="{6ECD27E6-B224-41CD-B4E0-E297462320DD}" dt="2023-11-24T08:54:08.788" v="100733"/>
          <ac:spMkLst>
            <pc:docMk/>
            <pc:sldMk cId="788765567" sldId="2147473977"/>
            <ac:spMk id="658" creationId="{B1626DB6-7B8D-242B-12F1-940E374D125B}"/>
          </ac:spMkLst>
        </pc:spChg>
        <pc:spChg chg="add del mod">
          <ac:chgData name="Steiner Andreas 6206 ED" userId="e6377c33-a923-4f14-8587-531c474c7b48" providerId="ADAL" clId="{6ECD27E6-B224-41CD-B4E0-E297462320DD}" dt="2023-11-24T08:54:10.898" v="100888"/>
          <ac:spMkLst>
            <pc:docMk/>
            <pc:sldMk cId="788765567" sldId="2147473977"/>
            <ac:spMk id="659" creationId="{34EC15B1-6ABC-2B2B-6AA0-5A7DCE463167}"/>
          </ac:spMkLst>
        </pc:spChg>
        <pc:spChg chg="add del mod">
          <ac:chgData name="Steiner Andreas 6206 ED" userId="e6377c33-a923-4f14-8587-531c474c7b48" providerId="ADAL" clId="{6ECD27E6-B224-41CD-B4E0-E297462320DD}" dt="2023-11-24T08:54:12.839" v="101043"/>
          <ac:spMkLst>
            <pc:docMk/>
            <pc:sldMk cId="788765567" sldId="2147473977"/>
            <ac:spMk id="660" creationId="{755B9C2F-D3A4-E823-289F-9C75671A8274}"/>
          </ac:spMkLst>
        </pc:spChg>
        <pc:spChg chg="add del mod">
          <ac:chgData name="Steiner Andreas 6206 ED" userId="e6377c33-a923-4f14-8587-531c474c7b48" providerId="ADAL" clId="{6ECD27E6-B224-41CD-B4E0-E297462320DD}" dt="2023-11-24T08:54:14.784" v="101198"/>
          <ac:spMkLst>
            <pc:docMk/>
            <pc:sldMk cId="788765567" sldId="2147473977"/>
            <ac:spMk id="661" creationId="{89F94412-53A2-61F0-4027-66F863A63622}"/>
          </ac:spMkLst>
        </pc:spChg>
        <pc:spChg chg="add del mod">
          <ac:chgData name="Steiner Andreas 6206 ED" userId="e6377c33-a923-4f14-8587-531c474c7b48" providerId="ADAL" clId="{6ECD27E6-B224-41CD-B4E0-E297462320DD}" dt="2023-11-24T08:54:16.680" v="101353"/>
          <ac:spMkLst>
            <pc:docMk/>
            <pc:sldMk cId="788765567" sldId="2147473977"/>
            <ac:spMk id="662" creationId="{725D2117-1E60-75CA-E45D-B2FE917DDE1C}"/>
          </ac:spMkLst>
        </pc:spChg>
        <pc:spChg chg="add del mod">
          <ac:chgData name="Steiner Andreas 6206 ED" userId="e6377c33-a923-4f14-8587-531c474c7b48" providerId="ADAL" clId="{6ECD27E6-B224-41CD-B4E0-E297462320DD}" dt="2023-11-24T08:54:18.614" v="101508"/>
          <ac:spMkLst>
            <pc:docMk/>
            <pc:sldMk cId="788765567" sldId="2147473977"/>
            <ac:spMk id="663" creationId="{170CC752-782A-5D9B-0574-FE9F9C755B52}"/>
          </ac:spMkLst>
        </pc:spChg>
        <pc:spChg chg="add del mod">
          <ac:chgData name="Steiner Andreas 6206 ED" userId="e6377c33-a923-4f14-8587-531c474c7b48" providerId="ADAL" clId="{6ECD27E6-B224-41CD-B4E0-E297462320DD}" dt="2023-11-24T08:54:20.581" v="101663"/>
          <ac:spMkLst>
            <pc:docMk/>
            <pc:sldMk cId="788765567" sldId="2147473977"/>
            <ac:spMk id="664" creationId="{A896354B-AB02-DC0A-36E1-81FA10DE3B89}"/>
          </ac:spMkLst>
        </pc:spChg>
        <pc:spChg chg="add del mod">
          <ac:chgData name="Steiner Andreas 6206 ED" userId="e6377c33-a923-4f14-8587-531c474c7b48" providerId="ADAL" clId="{6ECD27E6-B224-41CD-B4E0-E297462320DD}" dt="2023-11-24T08:54:22.657" v="101818"/>
          <ac:spMkLst>
            <pc:docMk/>
            <pc:sldMk cId="788765567" sldId="2147473977"/>
            <ac:spMk id="665" creationId="{C48F3FD7-6367-7ACF-F8F8-887DE8A0A3B7}"/>
          </ac:spMkLst>
        </pc:spChg>
        <pc:spChg chg="add del mod">
          <ac:chgData name="Steiner Andreas 6206 ED" userId="e6377c33-a923-4f14-8587-531c474c7b48" providerId="ADAL" clId="{6ECD27E6-B224-41CD-B4E0-E297462320DD}" dt="2023-11-24T08:54:24.637" v="101973"/>
          <ac:spMkLst>
            <pc:docMk/>
            <pc:sldMk cId="788765567" sldId="2147473977"/>
            <ac:spMk id="666" creationId="{5214C16E-87D4-B08A-60CF-C95786EF7EFD}"/>
          </ac:spMkLst>
        </pc:spChg>
        <pc:spChg chg="add del mod">
          <ac:chgData name="Steiner Andreas 6206 ED" userId="e6377c33-a923-4f14-8587-531c474c7b48" providerId="ADAL" clId="{6ECD27E6-B224-41CD-B4E0-E297462320DD}" dt="2023-11-24T08:54:26.576" v="102128"/>
          <ac:spMkLst>
            <pc:docMk/>
            <pc:sldMk cId="788765567" sldId="2147473977"/>
            <ac:spMk id="667" creationId="{29E6A3E6-CBA3-CE49-6E72-EEDBC4A5B49D}"/>
          </ac:spMkLst>
        </pc:spChg>
        <pc:spChg chg="add del mod">
          <ac:chgData name="Steiner Andreas 6206 ED" userId="e6377c33-a923-4f14-8587-531c474c7b48" providerId="ADAL" clId="{6ECD27E6-B224-41CD-B4E0-E297462320DD}" dt="2023-11-24T08:54:28.537" v="102283"/>
          <ac:spMkLst>
            <pc:docMk/>
            <pc:sldMk cId="788765567" sldId="2147473977"/>
            <ac:spMk id="668" creationId="{1D86B597-7818-26CD-B3ED-676EA097F87F}"/>
          </ac:spMkLst>
        </pc:spChg>
        <pc:spChg chg="add del mod">
          <ac:chgData name="Steiner Andreas 6206 ED" userId="e6377c33-a923-4f14-8587-531c474c7b48" providerId="ADAL" clId="{6ECD27E6-B224-41CD-B4E0-E297462320DD}" dt="2023-11-24T08:54:30.462" v="102438"/>
          <ac:spMkLst>
            <pc:docMk/>
            <pc:sldMk cId="788765567" sldId="2147473977"/>
            <ac:spMk id="669" creationId="{935D908B-C36A-FA8C-FC2A-E4241851C0FC}"/>
          </ac:spMkLst>
        </pc:spChg>
        <pc:spChg chg="add del mod">
          <ac:chgData name="Steiner Andreas 6206 ED" userId="e6377c33-a923-4f14-8587-531c474c7b48" providerId="ADAL" clId="{6ECD27E6-B224-41CD-B4E0-E297462320DD}" dt="2023-11-24T08:54:32.639" v="102593"/>
          <ac:spMkLst>
            <pc:docMk/>
            <pc:sldMk cId="788765567" sldId="2147473977"/>
            <ac:spMk id="670" creationId="{A3810493-ACC7-719D-FFC1-657ADA0FCDA1}"/>
          </ac:spMkLst>
        </pc:spChg>
        <pc:spChg chg="add del mod">
          <ac:chgData name="Steiner Andreas 6206 ED" userId="e6377c33-a923-4f14-8587-531c474c7b48" providerId="ADAL" clId="{6ECD27E6-B224-41CD-B4E0-E297462320DD}" dt="2023-11-24T08:54:34.617" v="102748"/>
          <ac:spMkLst>
            <pc:docMk/>
            <pc:sldMk cId="788765567" sldId="2147473977"/>
            <ac:spMk id="671" creationId="{60715BE0-26E8-8F48-CF9D-5092192B18CD}"/>
          </ac:spMkLst>
        </pc:spChg>
        <pc:spChg chg="add del mod">
          <ac:chgData name="Steiner Andreas 6206 ED" userId="e6377c33-a923-4f14-8587-531c474c7b48" providerId="ADAL" clId="{6ECD27E6-B224-41CD-B4E0-E297462320DD}" dt="2023-11-24T08:54:36.517" v="102903"/>
          <ac:spMkLst>
            <pc:docMk/>
            <pc:sldMk cId="788765567" sldId="2147473977"/>
            <ac:spMk id="672" creationId="{57B5F58A-3A03-EA34-EB0C-6CD4BEA08DE1}"/>
          </ac:spMkLst>
        </pc:spChg>
        <pc:spChg chg="add del mod">
          <ac:chgData name="Steiner Andreas 6206 ED" userId="e6377c33-a923-4f14-8587-531c474c7b48" providerId="ADAL" clId="{6ECD27E6-B224-41CD-B4E0-E297462320DD}" dt="2023-11-24T08:54:38.778" v="103058"/>
          <ac:spMkLst>
            <pc:docMk/>
            <pc:sldMk cId="788765567" sldId="2147473977"/>
            <ac:spMk id="673" creationId="{266E39D1-89DA-3410-C4AD-3E9862DE6302}"/>
          </ac:spMkLst>
        </pc:spChg>
        <pc:spChg chg="add del mod">
          <ac:chgData name="Steiner Andreas 6206 ED" userId="e6377c33-a923-4f14-8587-531c474c7b48" providerId="ADAL" clId="{6ECD27E6-B224-41CD-B4E0-E297462320DD}" dt="2023-11-24T08:54:40.895" v="103213"/>
          <ac:spMkLst>
            <pc:docMk/>
            <pc:sldMk cId="788765567" sldId="2147473977"/>
            <ac:spMk id="674" creationId="{55E050E9-5390-D880-961B-BFFCD2077A9D}"/>
          </ac:spMkLst>
        </pc:spChg>
        <pc:spChg chg="add del mod">
          <ac:chgData name="Steiner Andreas 6206 ED" userId="e6377c33-a923-4f14-8587-531c474c7b48" providerId="ADAL" clId="{6ECD27E6-B224-41CD-B4E0-E297462320DD}" dt="2023-11-24T08:54:42.833" v="103368"/>
          <ac:spMkLst>
            <pc:docMk/>
            <pc:sldMk cId="788765567" sldId="2147473977"/>
            <ac:spMk id="675" creationId="{F29CCC53-5FFF-661C-64C8-316CFFB7869E}"/>
          </ac:spMkLst>
        </pc:spChg>
        <pc:spChg chg="add del mod">
          <ac:chgData name="Steiner Andreas 6206 ED" userId="e6377c33-a923-4f14-8587-531c474c7b48" providerId="ADAL" clId="{6ECD27E6-B224-41CD-B4E0-E297462320DD}" dt="2023-11-24T08:54:45.098" v="103523"/>
          <ac:spMkLst>
            <pc:docMk/>
            <pc:sldMk cId="788765567" sldId="2147473977"/>
            <ac:spMk id="676" creationId="{895BD814-2625-8A76-C846-E2BBD1E689BD}"/>
          </ac:spMkLst>
        </pc:spChg>
        <pc:spChg chg="add del mod">
          <ac:chgData name="Steiner Andreas 6206 ED" userId="e6377c33-a923-4f14-8587-531c474c7b48" providerId="ADAL" clId="{6ECD27E6-B224-41CD-B4E0-E297462320DD}" dt="2023-11-24T08:54:47.342" v="103678"/>
          <ac:spMkLst>
            <pc:docMk/>
            <pc:sldMk cId="788765567" sldId="2147473977"/>
            <ac:spMk id="677" creationId="{0EB57CBD-12B9-4098-846E-E8C6250232F5}"/>
          </ac:spMkLst>
        </pc:spChg>
        <pc:spChg chg="add del mod">
          <ac:chgData name="Steiner Andreas 6206 ED" userId="e6377c33-a923-4f14-8587-531c474c7b48" providerId="ADAL" clId="{6ECD27E6-B224-41CD-B4E0-E297462320DD}" dt="2023-11-24T08:54:49.439" v="103833"/>
          <ac:spMkLst>
            <pc:docMk/>
            <pc:sldMk cId="788765567" sldId="2147473977"/>
            <ac:spMk id="678" creationId="{A9CE00C7-849C-5808-D64C-1ADD76019BFC}"/>
          </ac:spMkLst>
        </pc:spChg>
        <pc:spChg chg="add del mod">
          <ac:chgData name="Steiner Andreas 6206 ED" userId="e6377c33-a923-4f14-8587-531c474c7b48" providerId="ADAL" clId="{6ECD27E6-B224-41CD-B4E0-E297462320DD}" dt="2023-11-24T08:54:51.820" v="103988"/>
          <ac:spMkLst>
            <pc:docMk/>
            <pc:sldMk cId="788765567" sldId="2147473977"/>
            <ac:spMk id="679" creationId="{6AFF7B96-8146-2454-1C2D-2754726AF1D8}"/>
          </ac:spMkLst>
        </pc:spChg>
        <pc:spChg chg="add del mod">
          <ac:chgData name="Steiner Andreas 6206 ED" userId="e6377c33-a923-4f14-8587-531c474c7b48" providerId="ADAL" clId="{6ECD27E6-B224-41CD-B4E0-E297462320DD}" dt="2023-11-24T08:54:53.861" v="104143"/>
          <ac:spMkLst>
            <pc:docMk/>
            <pc:sldMk cId="788765567" sldId="2147473977"/>
            <ac:spMk id="680" creationId="{A35B375A-4614-CA14-9D02-7797D74125BD}"/>
          </ac:spMkLst>
        </pc:spChg>
        <pc:spChg chg="add del mod">
          <ac:chgData name="Steiner Andreas 6206 ED" userId="e6377c33-a923-4f14-8587-531c474c7b48" providerId="ADAL" clId="{6ECD27E6-B224-41CD-B4E0-E297462320DD}" dt="2023-11-24T08:54:55.986" v="104298"/>
          <ac:spMkLst>
            <pc:docMk/>
            <pc:sldMk cId="788765567" sldId="2147473977"/>
            <ac:spMk id="681" creationId="{944AD43E-5153-6F27-455F-6C641FCD0BF9}"/>
          </ac:spMkLst>
        </pc:spChg>
        <pc:spChg chg="add del mod">
          <ac:chgData name="Steiner Andreas 6206 ED" userId="e6377c33-a923-4f14-8587-531c474c7b48" providerId="ADAL" clId="{6ECD27E6-B224-41CD-B4E0-E297462320DD}" dt="2023-11-24T08:54:58.065" v="104453"/>
          <ac:spMkLst>
            <pc:docMk/>
            <pc:sldMk cId="788765567" sldId="2147473977"/>
            <ac:spMk id="682" creationId="{434607D5-1E7C-D281-99FC-7DC3D277A32E}"/>
          </ac:spMkLst>
        </pc:spChg>
        <pc:spChg chg="add del mod">
          <ac:chgData name="Steiner Andreas 6206 ED" userId="e6377c33-a923-4f14-8587-531c474c7b48" providerId="ADAL" clId="{6ECD27E6-B224-41CD-B4E0-E297462320DD}" dt="2023-11-24T08:55:00.066" v="104608"/>
          <ac:spMkLst>
            <pc:docMk/>
            <pc:sldMk cId="788765567" sldId="2147473977"/>
            <ac:spMk id="683" creationId="{C942F63A-FFEF-E75D-030B-5986D1E0C108}"/>
          </ac:spMkLst>
        </pc:spChg>
        <pc:spChg chg="add del mod">
          <ac:chgData name="Steiner Andreas 6206 ED" userId="e6377c33-a923-4f14-8587-531c474c7b48" providerId="ADAL" clId="{6ECD27E6-B224-41CD-B4E0-E297462320DD}" dt="2023-11-24T08:55:02.018" v="104763"/>
          <ac:spMkLst>
            <pc:docMk/>
            <pc:sldMk cId="788765567" sldId="2147473977"/>
            <ac:spMk id="684" creationId="{4880136F-65C5-5A12-AB8B-5E32606917E0}"/>
          </ac:spMkLst>
        </pc:spChg>
        <pc:spChg chg="add del mod">
          <ac:chgData name="Steiner Andreas 6206 ED" userId="e6377c33-a923-4f14-8587-531c474c7b48" providerId="ADAL" clId="{6ECD27E6-B224-41CD-B4E0-E297462320DD}" dt="2023-11-24T08:55:03.998" v="104918"/>
          <ac:spMkLst>
            <pc:docMk/>
            <pc:sldMk cId="788765567" sldId="2147473977"/>
            <ac:spMk id="685" creationId="{318B6DA6-166E-BE28-877B-58139ACCD4BF}"/>
          </ac:spMkLst>
        </pc:spChg>
        <pc:spChg chg="add del mod">
          <ac:chgData name="Steiner Andreas 6206 ED" userId="e6377c33-a923-4f14-8587-531c474c7b48" providerId="ADAL" clId="{6ECD27E6-B224-41CD-B4E0-E297462320DD}" dt="2023-11-24T08:55:06.129" v="105073"/>
          <ac:spMkLst>
            <pc:docMk/>
            <pc:sldMk cId="788765567" sldId="2147473977"/>
            <ac:spMk id="686" creationId="{01AA2B26-2419-250B-AD7C-D1101FE6F781}"/>
          </ac:spMkLst>
        </pc:spChg>
        <pc:spChg chg="add del mod">
          <ac:chgData name="Steiner Andreas 6206 ED" userId="e6377c33-a923-4f14-8587-531c474c7b48" providerId="ADAL" clId="{6ECD27E6-B224-41CD-B4E0-E297462320DD}" dt="2023-11-24T08:55:08.198" v="105228"/>
          <ac:spMkLst>
            <pc:docMk/>
            <pc:sldMk cId="788765567" sldId="2147473977"/>
            <ac:spMk id="687" creationId="{54AFE48D-7784-8B30-0811-7B59ABAD5858}"/>
          </ac:spMkLst>
        </pc:spChg>
        <pc:spChg chg="add del mod">
          <ac:chgData name="Steiner Andreas 6206 ED" userId="e6377c33-a923-4f14-8587-531c474c7b48" providerId="ADAL" clId="{6ECD27E6-B224-41CD-B4E0-E297462320DD}" dt="2023-11-24T08:55:10.197" v="105383"/>
          <ac:spMkLst>
            <pc:docMk/>
            <pc:sldMk cId="788765567" sldId="2147473977"/>
            <ac:spMk id="688" creationId="{EE125B88-4CEE-250A-718D-3B65BF50A1CF}"/>
          </ac:spMkLst>
        </pc:spChg>
        <pc:spChg chg="add del mod">
          <ac:chgData name="Steiner Andreas 6206 ED" userId="e6377c33-a923-4f14-8587-531c474c7b48" providerId="ADAL" clId="{6ECD27E6-B224-41CD-B4E0-E297462320DD}" dt="2023-11-24T08:55:12.174" v="105538"/>
          <ac:spMkLst>
            <pc:docMk/>
            <pc:sldMk cId="788765567" sldId="2147473977"/>
            <ac:spMk id="689" creationId="{DE368A3B-6A7B-7502-41F4-31FF2A650170}"/>
          </ac:spMkLst>
        </pc:spChg>
        <pc:spChg chg="add del mod">
          <ac:chgData name="Steiner Andreas 6206 ED" userId="e6377c33-a923-4f14-8587-531c474c7b48" providerId="ADAL" clId="{6ECD27E6-B224-41CD-B4E0-E297462320DD}" dt="2023-11-24T08:55:14.235" v="105693"/>
          <ac:spMkLst>
            <pc:docMk/>
            <pc:sldMk cId="788765567" sldId="2147473977"/>
            <ac:spMk id="690" creationId="{2D0E9797-6874-1AFE-3846-5CE45A7638C9}"/>
          </ac:spMkLst>
        </pc:spChg>
        <pc:spChg chg="add del mod">
          <ac:chgData name="Steiner Andreas 6206 ED" userId="e6377c33-a923-4f14-8587-531c474c7b48" providerId="ADAL" clId="{6ECD27E6-B224-41CD-B4E0-E297462320DD}" dt="2023-11-24T08:55:16.300" v="105848"/>
          <ac:spMkLst>
            <pc:docMk/>
            <pc:sldMk cId="788765567" sldId="2147473977"/>
            <ac:spMk id="691" creationId="{E3755C9F-7D8A-8FB0-82D6-8686BA7A30F2}"/>
          </ac:spMkLst>
        </pc:spChg>
        <pc:spChg chg="add del mod">
          <ac:chgData name="Steiner Andreas 6206 ED" userId="e6377c33-a923-4f14-8587-531c474c7b48" providerId="ADAL" clId="{6ECD27E6-B224-41CD-B4E0-E297462320DD}" dt="2023-11-24T08:55:18.343" v="106003"/>
          <ac:spMkLst>
            <pc:docMk/>
            <pc:sldMk cId="788765567" sldId="2147473977"/>
            <ac:spMk id="692" creationId="{9AF7C775-0492-7F53-AEC7-9881AFA16DE0}"/>
          </ac:spMkLst>
        </pc:spChg>
        <pc:spChg chg="add del mod">
          <ac:chgData name="Steiner Andreas 6206 ED" userId="e6377c33-a923-4f14-8587-531c474c7b48" providerId="ADAL" clId="{6ECD27E6-B224-41CD-B4E0-E297462320DD}" dt="2023-11-24T08:55:20.349" v="106158"/>
          <ac:spMkLst>
            <pc:docMk/>
            <pc:sldMk cId="788765567" sldId="2147473977"/>
            <ac:spMk id="693" creationId="{6E124126-27C5-DBC1-7CEE-5FD3BCEA461B}"/>
          </ac:spMkLst>
        </pc:spChg>
        <pc:spChg chg="add del mod">
          <ac:chgData name="Steiner Andreas 6206 ED" userId="e6377c33-a923-4f14-8587-531c474c7b48" providerId="ADAL" clId="{6ECD27E6-B224-41CD-B4E0-E297462320DD}" dt="2023-11-24T08:55:22.301" v="106313"/>
          <ac:spMkLst>
            <pc:docMk/>
            <pc:sldMk cId="788765567" sldId="2147473977"/>
            <ac:spMk id="694" creationId="{4220CEA1-6DC5-45DE-88B7-C91B1495DDB4}"/>
          </ac:spMkLst>
        </pc:spChg>
        <pc:spChg chg="add del mod">
          <ac:chgData name="Steiner Andreas 6206 ED" userId="e6377c33-a923-4f14-8587-531c474c7b48" providerId="ADAL" clId="{6ECD27E6-B224-41CD-B4E0-E297462320DD}" dt="2023-11-24T08:55:24.307" v="106468"/>
          <ac:spMkLst>
            <pc:docMk/>
            <pc:sldMk cId="788765567" sldId="2147473977"/>
            <ac:spMk id="695" creationId="{1FA12AD8-ED76-E39C-0CF6-01498F5C87CC}"/>
          </ac:spMkLst>
        </pc:spChg>
        <pc:spChg chg="add del mod">
          <ac:chgData name="Steiner Andreas 6206 ED" userId="e6377c33-a923-4f14-8587-531c474c7b48" providerId="ADAL" clId="{6ECD27E6-B224-41CD-B4E0-E297462320DD}" dt="2023-11-24T08:55:26.282" v="106623"/>
          <ac:spMkLst>
            <pc:docMk/>
            <pc:sldMk cId="788765567" sldId="2147473977"/>
            <ac:spMk id="696" creationId="{C964ADAD-99ED-D306-CDE8-F30E37E452E9}"/>
          </ac:spMkLst>
        </pc:spChg>
        <pc:spChg chg="add del mod">
          <ac:chgData name="Steiner Andreas 6206 ED" userId="e6377c33-a923-4f14-8587-531c474c7b48" providerId="ADAL" clId="{6ECD27E6-B224-41CD-B4E0-E297462320DD}" dt="2023-11-24T08:55:28.427" v="106778"/>
          <ac:spMkLst>
            <pc:docMk/>
            <pc:sldMk cId="788765567" sldId="2147473977"/>
            <ac:spMk id="697" creationId="{087D1CE1-2178-7019-D987-3B1A0578C6FF}"/>
          </ac:spMkLst>
        </pc:spChg>
        <pc:spChg chg="add del mod">
          <ac:chgData name="Steiner Andreas 6206 ED" userId="e6377c33-a923-4f14-8587-531c474c7b48" providerId="ADAL" clId="{6ECD27E6-B224-41CD-B4E0-E297462320DD}" dt="2023-11-24T08:55:30.419" v="106933"/>
          <ac:spMkLst>
            <pc:docMk/>
            <pc:sldMk cId="788765567" sldId="2147473977"/>
            <ac:spMk id="698" creationId="{1ED46DF1-C7C5-667D-91D2-386A4673A0A7}"/>
          </ac:spMkLst>
        </pc:spChg>
        <pc:spChg chg="add del mod">
          <ac:chgData name="Steiner Andreas 6206 ED" userId="e6377c33-a923-4f14-8587-531c474c7b48" providerId="ADAL" clId="{6ECD27E6-B224-41CD-B4E0-E297462320DD}" dt="2023-11-24T08:55:32.599" v="107088"/>
          <ac:spMkLst>
            <pc:docMk/>
            <pc:sldMk cId="788765567" sldId="2147473977"/>
            <ac:spMk id="699" creationId="{8E017062-D10C-B503-8D33-FB03A57F222F}"/>
          </ac:spMkLst>
        </pc:spChg>
        <pc:spChg chg="add del mod">
          <ac:chgData name="Steiner Andreas 6206 ED" userId="e6377c33-a923-4f14-8587-531c474c7b48" providerId="ADAL" clId="{6ECD27E6-B224-41CD-B4E0-E297462320DD}" dt="2023-11-24T08:55:34.494" v="107243"/>
          <ac:spMkLst>
            <pc:docMk/>
            <pc:sldMk cId="788765567" sldId="2147473977"/>
            <ac:spMk id="700" creationId="{69745E64-2E42-2A37-339E-D9E26FC4E5AD}"/>
          </ac:spMkLst>
        </pc:spChg>
        <pc:spChg chg="add del mod">
          <ac:chgData name="Steiner Andreas 6206 ED" userId="e6377c33-a923-4f14-8587-531c474c7b48" providerId="ADAL" clId="{6ECD27E6-B224-41CD-B4E0-E297462320DD}" dt="2023-11-24T08:55:36.434" v="107398"/>
          <ac:spMkLst>
            <pc:docMk/>
            <pc:sldMk cId="788765567" sldId="2147473977"/>
            <ac:spMk id="701" creationId="{A5B47F51-EE30-A11A-AA95-265F03DA3DB9}"/>
          </ac:spMkLst>
        </pc:spChg>
        <pc:spChg chg="add del mod">
          <ac:chgData name="Steiner Andreas 6206 ED" userId="e6377c33-a923-4f14-8587-531c474c7b48" providerId="ADAL" clId="{6ECD27E6-B224-41CD-B4E0-E297462320DD}" dt="2023-11-24T08:55:38.469" v="107553"/>
          <ac:spMkLst>
            <pc:docMk/>
            <pc:sldMk cId="788765567" sldId="2147473977"/>
            <ac:spMk id="702" creationId="{01328098-E2CA-92F0-D7C7-92243A3D2E12}"/>
          </ac:spMkLst>
        </pc:spChg>
        <pc:spChg chg="add del mod">
          <ac:chgData name="Steiner Andreas 6206 ED" userId="e6377c33-a923-4f14-8587-531c474c7b48" providerId="ADAL" clId="{6ECD27E6-B224-41CD-B4E0-E297462320DD}" dt="2023-11-24T08:55:40.514" v="107708"/>
          <ac:spMkLst>
            <pc:docMk/>
            <pc:sldMk cId="788765567" sldId="2147473977"/>
            <ac:spMk id="703" creationId="{D99C7E3D-1C6E-8E15-AED7-BD8ECAA68A0B}"/>
          </ac:spMkLst>
        </pc:spChg>
        <pc:spChg chg="add del mod">
          <ac:chgData name="Steiner Andreas 6206 ED" userId="e6377c33-a923-4f14-8587-531c474c7b48" providerId="ADAL" clId="{6ECD27E6-B224-41CD-B4E0-E297462320DD}" dt="2023-11-24T08:55:42.385" v="107863"/>
          <ac:spMkLst>
            <pc:docMk/>
            <pc:sldMk cId="788765567" sldId="2147473977"/>
            <ac:spMk id="704" creationId="{2438519F-1F6D-F57D-A9D0-892C77A52BC1}"/>
          </ac:spMkLst>
        </pc:spChg>
        <pc:spChg chg="add del mod">
          <ac:chgData name="Steiner Andreas 6206 ED" userId="e6377c33-a923-4f14-8587-531c474c7b48" providerId="ADAL" clId="{6ECD27E6-B224-41CD-B4E0-E297462320DD}" dt="2023-11-24T08:55:44.351" v="108018"/>
          <ac:spMkLst>
            <pc:docMk/>
            <pc:sldMk cId="788765567" sldId="2147473977"/>
            <ac:spMk id="705" creationId="{A9C9D50A-4BA8-85C3-E555-23F300374765}"/>
          </ac:spMkLst>
        </pc:spChg>
        <pc:spChg chg="add del mod">
          <ac:chgData name="Steiner Andreas 6206 ED" userId="e6377c33-a923-4f14-8587-531c474c7b48" providerId="ADAL" clId="{6ECD27E6-B224-41CD-B4E0-E297462320DD}" dt="2023-11-24T08:55:46.735" v="108173"/>
          <ac:spMkLst>
            <pc:docMk/>
            <pc:sldMk cId="788765567" sldId="2147473977"/>
            <ac:spMk id="706" creationId="{7D159E57-9708-AF6F-D351-4532626EFA84}"/>
          </ac:spMkLst>
        </pc:spChg>
        <pc:spChg chg="add del mod">
          <ac:chgData name="Steiner Andreas 6206 ED" userId="e6377c33-a923-4f14-8587-531c474c7b48" providerId="ADAL" clId="{6ECD27E6-B224-41CD-B4E0-E297462320DD}" dt="2023-11-24T08:55:48.906" v="108328"/>
          <ac:spMkLst>
            <pc:docMk/>
            <pc:sldMk cId="788765567" sldId="2147473977"/>
            <ac:spMk id="707" creationId="{8E802B3F-8A37-ECDD-4C31-C1515E47F825}"/>
          </ac:spMkLst>
        </pc:spChg>
        <pc:spChg chg="add del mod">
          <ac:chgData name="Steiner Andreas 6206 ED" userId="e6377c33-a923-4f14-8587-531c474c7b48" providerId="ADAL" clId="{6ECD27E6-B224-41CD-B4E0-E297462320DD}" dt="2023-11-24T08:55:51.328" v="108483"/>
          <ac:spMkLst>
            <pc:docMk/>
            <pc:sldMk cId="788765567" sldId="2147473977"/>
            <ac:spMk id="708" creationId="{720781EF-F2A7-59F0-834F-3F29BCBBB1AE}"/>
          </ac:spMkLst>
        </pc:spChg>
        <pc:spChg chg="add del mod">
          <ac:chgData name="Steiner Andreas 6206 ED" userId="e6377c33-a923-4f14-8587-531c474c7b48" providerId="ADAL" clId="{6ECD27E6-B224-41CD-B4E0-E297462320DD}" dt="2023-11-24T08:55:53.403" v="108638"/>
          <ac:spMkLst>
            <pc:docMk/>
            <pc:sldMk cId="788765567" sldId="2147473977"/>
            <ac:spMk id="709" creationId="{D9896FC2-9041-1AAC-8081-59064884B010}"/>
          </ac:spMkLst>
        </pc:spChg>
        <pc:spChg chg="add del mod">
          <ac:chgData name="Steiner Andreas 6206 ED" userId="e6377c33-a923-4f14-8587-531c474c7b48" providerId="ADAL" clId="{6ECD27E6-B224-41CD-B4E0-E297462320DD}" dt="2023-11-24T08:55:55.489" v="108793"/>
          <ac:spMkLst>
            <pc:docMk/>
            <pc:sldMk cId="788765567" sldId="2147473977"/>
            <ac:spMk id="710" creationId="{DF392104-4971-97CE-E47D-94AE5B1F340F}"/>
          </ac:spMkLst>
        </pc:spChg>
        <pc:spChg chg="add del mod">
          <ac:chgData name="Steiner Andreas 6206 ED" userId="e6377c33-a923-4f14-8587-531c474c7b48" providerId="ADAL" clId="{6ECD27E6-B224-41CD-B4E0-E297462320DD}" dt="2023-11-24T08:55:57.512" v="108948"/>
          <ac:spMkLst>
            <pc:docMk/>
            <pc:sldMk cId="788765567" sldId="2147473977"/>
            <ac:spMk id="711" creationId="{52E6D632-CC43-66E2-CCA8-2BBDC9BD0CE7}"/>
          </ac:spMkLst>
        </pc:spChg>
        <pc:spChg chg="add del mod">
          <ac:chgData name="Steiner Andreas 6206 ED" userId="e6377c33-a923-4f14-8587-531c474c7b48" providerId="ADAL" clId="{6ECD27E6-B224-41CD-B4E0-E297462320DD}" dt="2023-11-24T08:55:59.599" v="109103"/>
          <ac:spMkLst>
            <pc:docMk/>
            <pc:sldMk cId="788765567" sldId="2147473977"/>
            <ac:spMk id="712" creationId="{D986E6D5-6F73-834E-0AEF-3A6452FF27D2}"/>
          </ac:spMkLst>
        </pc:spChg>
        <pc:spChg chg="add del mod">
          <ac:chgData name="Steiner Andreas 6206 ED" userId="e6377c33-a923-4f14-8587-531c474c7b48" providerId="ADAL" clId="{6ECD27E6-B224-41CD-B4E0-E297462320DD}" dt="2023-11-24T08:56:02.004" v="109258"/>
          <ac:spMkLst>
            <pc:docMk/>
            <pc:sldMk cId="788765567" sldId="2147473977"/>
            <ac:spMk id="713" creationId="{B76A276B-79EF-070B-C59B-E0FF34BD7FDC}"/>
          </ac:spMkLst>
        </pc:spChg>
        <pc:spChg chg="add del mod">
          <ac:chgData name="Steiner Andreas 6206 ED" userId="e6377c33-a923-4f14-8587-531c474c7b48" providerId="ADAL" clId="{6ECD27E6-B224-41CD-B4E0-E297462320DD}" dt="2023-11-24T08:56:04.236" v="109413"/>
          <ac:spMkLst>
            <pc:docMk/>
            <pc:sldMk cId="788765567" sldId="2147473977"/>
            <ac:spMk id="714" creationId="{36AA1DF0-E63A-AFF9-9735-B5BAA44DAD8E}"/>
          </ac:spMkLst>
        </pc:spChg>
        <pc:spChg chg="add del mod">
          <ac:chgData name="Steiner Andreas 6206 ED" userId="e6377c33-a923-4f14-8587-531c474c7b48" providerId="ADAL" clId="{6ECD27E6-B224-41CD-B4E0-E297462320DD}" dt="2023-11-24T08:56:06.535" v="109568"/>
          <ac:spMkLst>
            <pc:docMk/>
            <pc:sldMk cId="788765567" sldId="2147473977"/>
            <ac:spMk id="715" creationId="{9491B169-F464-6183-B42D-E150418B357E}"/>
          </ac:spMkLst>
        </pc:spChg>
        <pc:spChg chg="add del mod">
          <ac:chgData name="Steiner Andreas 6206 ED" userId="e6377c33-a923-4f14-8587-531c474c7b48" providerId="ADAL" clId="{6ECD27E6-B224-41CD-B4E0-E297462320DD}" dt="2023-11-24T08:56:08.808" v="109723"/>
          <ac:spMkLst>
            <pc:docMk/>
            <pc:sldMk cId="788765567" sldId="2147473977"/>
            <ac:spMk id="716" creationId="{8C2D9C2A-F340-89DB-7C6B-8E0A1E3AC189}"/>
          </ac:spMkLst>
        </pc:spChg>
        <pc:spChg chg="add del mod">
          <ac:chgData name="Steiner Andreas 6206 ED" userId="e6377c33-a923-4f14-8587-531c474c7b48" providerId="ADAL" clId="{6ECD27E6-B224-41CD-B4E0-E297462320DD}" dt="2023-11-24T08:56:10.857" v="109878"/>
          <ac:spMkLst>
            <pc:docMk/>
            <pc:sldMk cId="788765567" sldId="2147473977"/>
            <ac:spMk id="717" creationId="{7872B8B2-02DC-430A-A938-063A0B47E8A4}"/>
          </ac:spMkLst>
        </pc:spChg>
        <pc:spChg chg="add del mod">
          <ac:chgData name="Steiner Andreas 6206 ED" userId="e6377c33-a923-4f14-8587-531c474c7b48" providerId="ADAL" clId="{6ECD27E6-B224-41CD-B4E0-E297462320DD}" dt="2023-11-24T08:56:12.977" v="110033"/>
          <ac:spMkLst>
            <pc:docMk/>
            <pc:sldMk cId="788765567" sldId="2147473977"/>
            <ac:spMk id="718" creationId="{72DEAE55-BB07-9132-9A11-87B4F2E193A3}"/>
          </ac:spMkLst>
        </pc:spChg>
        <pc:spChg chg="add del mod">
          <ac:chgData name="Steiner Andreas 6206 ED" userId="e6377c33-a923-4f14-8587-531c474c7b48" providerId="ADAL" clId="{6ECD27E6-B224-41CD-B4E0-E297462320DD}" dt="2023-11-24T08:56:15.110" v="110188"/>
          <ac:spMkLst>
            <pc:docMk/>
            <pc:sldMk cId="788765567" sldId="2147473977"/>
            <ac:spMk id="719" creationId="{AF1D5CCF-B62A-0FDE-D05B-D2AF8F2A65E1}"/>
          </ac:spMkLst>
        </pc:spChg>
        <pc:spChg chg="add del mod">
          <ac:chgData name="Steiner Andreas 6206 ED" userId="e6377c33-a923-4f14-8587-531c474c7b48" providerId="ADAL" clId="{6ECD27E6-B224-41CD-B4E0-E297462320DD}" dt="2023-11-24T08:56:17.069" v="110343"/>
          <ac:spMkLst>
            <pc:docMk/>
            <pc:sldMk cId="788765567" sldId="2147473977"/>
            <ac:spMk id="720" creationId="{E65E7DA4-D0CD-3149-93D2-23DCD21B03BC}"/>
          </ac:spMkLst>
        </pc:spChg>
        <pc:spChg chg="add del mod">
          <ac:chgData name="Steiner Andreas 6206 ED" userId="e6377c33-a923-4f14-8587-531c474c7b48" providerId="ADAL" clId="{6ECD27E6-B224-41CD-B4E0-E297462320DD}" dt="2023-11-24T08:56:19.051" v="110498"/>
          <ac:spMkLst>
            <pc:docMk/>
            <pc:sldMk cId="788765567" sldId="2147473977"/>
            <ac:spMk id="721" creationId="{6E7DA0C2-22A9-E7A2-ABF6-A16283125EC4}"/>
          </ac:spMkLst>
        </pc:spChg>
        <pc:spChg chg="add del mod">
          <ac:chgData name="Steiner Andreas 6206 ED" userId="e6377c33-a923-4f14-8587-531c474c7b48" providerId="ADAL" clId="{6ECD27E6-B224-41CD-B4E0-E297462320DD}" dt="2023-11-24T08:56:20.991" v="110653"/>
          <ac:spMkLst>
            <pc:docMk/>
            <pc:sldMk cId="788765567" sldId="2147473977"/>
            <ac:spMk id="722" creationId="{24A6B5D4-DC37-12FC-B1D8-AFC5FE7318D9}"/>
          </ac:spMkLst>
        </pc:spChg>
        <pc:spChg chg="add del mod">
          <ac:chgData name="Steiner Andreas 6206 ED" userId="e6377c33-a923-4f14-8587-531c474c7b48" providerId="ADAL" clId="{6ECD27E6-B224-41CD-B4E0-E297462320DD}" dt="2023-11-24T08:56:23.141" v="110808"/>
          <ac:spMkLst>
            <pc:docMk/>
            <pc:sldMk cId="788765567" sldId="2147473977"/>
            <ac:spMk id="723" creationId="{1BDA05B3-C284-CB0C-7463-C71058EC5BF7}"/>
          </ac:spMkLst>
        </pc:spChg>
        <pc:spChg chg="add del mod">
          <ac:chgData name="Steiner Andreas 6206 ED" userId="e6377c33-a923-4f14-8587-531c474c7b48" providerId="ADAL" clId="{6ECD27E6-B224-41CD-B4E0-E297462320DD}" dt="2023-11-24T08:56:25.336" v="110963"/>
          <ac:spMkLst>
            <pc:docMk/>
            <pc:sldMk cId="788765567" sldId="2147473977"/>
            <ac:spMk id="724" creationId="{788E5670-49DC-FB43-961A-BEC037167A85}"/>
          </ac:spMkLst>
        </pc:spChg>
        <pc:spChg chg="add del mod">
          <ac:chgData name="Steiner Andreas 6206 ED" userId="e6377c33-a923-4f14-8587-531c474c7b48" providerId="ADAL" clId="{6ECD27E6-B224-41CD-B4E0-E297462320DD}" dt="2023-11-24T08:56:27.374" v="111118"/>
          <ac:spMkLst>
            <pc:docMk/>
            <pc:sldMk cId="788765567" sldId="2147473977"/>
            <ac:spMk id="725" creationId="{B24DC45A-6100-8656-0AA8-A0F66B36FE44}"/>
          </ac:spMkLst>
        </pc:spChg>
        <pc:spChg chg="add del mod">
          <ac:chgData name="Steiner Andreas 6206 ED" userId="e6377c33-a923-4f14-8587-531c474c7b48" providerId="ADAL" clId="{6ECD27E6-B224-41CD-B4E0-E297462320DD}" dt="2023-11-24T08:56:29.426" v="111273"/>
          <ac:spMkLst>
            <pc:docMk/>
            <pc:sldMk cId="788765567" sldId="2147473977"/>
            <ac:spMk id="726" creationId="{BA221124-DD32-4708-868F-AEC2B5F65432}"/>
          </ac:spMkLst>
        </pc:spChg>
        <pc:spChg chg="add del mod">
          <ac:chgData name="Steiner Andreas 6206 ED" userId="e6377c33-a923-4f14-8587-531c474c7b48" providerId="ADAL" clId="{6ECD27E6-B224-41CD-B4E0-E297462320DD}" dt="2023-11-24T08:56:31.507" v="111428"/>
          <ac:spMkLst>
            <pc:docMk/>
            <pc:sldMk cId="788765567" sldId="2147473977"/>
            <ac:spMk id="727" creationId="{58FB95B0-CC36-F313-C0B2-F3412517A5D5}"/>
          </ac:spMkLst>
        </pc:spChg>
        <pc:spChg chg="add del mod">
          <ac:chgData name="Steiner Andreas 6206 ED" userId="e6377c33-a923-4f14-8587-531c474c7b48" providerId="ADAL" clId="{6ECD27E6-B224-41CD-B4E0-E297462320DD}" dt="2023-11-24T08:56:33.745" v="111583"/>
          <ac:spMkLst>
            <pc:docMk/>
            <pc:sldMk cId="788765567" sldId="2147473977"/>
            <ac:spMk id="728" creationId="{8E966D6F-6C77-11D3-F943-18E8440E0640}"/>
          </ac:spMkLst>
        </pc:spChg>
        <pc:spChg chg="add del mod">
          <ac:chgData name="Steiner Andreas 6206 ED" userId="e6377c33-a923-4f14-8587-531c474c7b48" providerId="ADAL" clId="{6ECD27E6-B224-41CD-B4E0-E297462320DD}" dt="2023-11-24T08:56:35.931" v="111738"/>
          <ac:spMkLst>
            <pc:docMk/>
            <pc:sldMk cId="788765567" sldId="2147473977"/>
            <ac:spMk id="729" creationId="{B6230697-BA91-A07C-C625-8BDD68D15E43}"/>
          </ac:spMkLst>
        </pc:spChg>
        <pc:spChg chg="add del mod">
          <ac:chgData name="Steiner Andreas 6206 ED" userId="e6377c33-a923-4f14-8587-531c474c7b48" providerId="ADAL" clId="{6ECD27E6-B224-41CD-B4E0-E297462320DD}" dt="2023-11-24T08:56:37.986" v="111893"/>
          <ac:spMkLst>
            <pc:docMk/>
            <pc:sldMk cId="788765567" sldId="2147473977"/>
            <ac:spMk id="730" creationId="{BF927DF0-2877-4732-1613-396B466E9AD6}"/>
          </ac:spMkLst>
        </pc:spChg>
        <pc:spChg chg="add del mod">
          <ac:chgData name="Steiner Andreas 6206 ED" userId="e6377c33-a923-4f14-8587-531c474c7b48" providerId="ADAL" clId="{6ECD27E6-B224-41CD-B4E0-E297462320DD}" dt="2023-11-24T08:56:40.124" v="112048"/>
          <ac:spMkLst>
            <pc:docMk/>
            <pc:sldMk cId="788765567" sldId="2147473977"/>
            <ac:spMk id="731" creationId="{325EECA3-10AA-F018-A577-1C818297F1E3}"/>
          </ac:spMkLst>
        </pc:spChg>
        <pc:spChg chg="add del mod">
          <ac:chgData name="Steiner Andreas 6206 ED" userId="e6377c33-a923-4f14-8587-531c474c7b48" providerId="ADAL" clId="{6ECD27E6-B224-41CD-B4E0-E297462320DD}" dt="2023-11-24T08:56:42.075" v="112203"/>
          <ac:spMkLst>
            <pc:docMk/>
            <pc:sldMk cId="788765567" sldId="2147473977"/>
            <ac:spMk id="732" creationId="{7912C68B-DE3A-6534-5816-9CB9D7AB3644}"/>
          </ac:spMkLst>
        </pc:spChg>
        <pc:spChg chg="add del mod">
          <ac:chgData name="Steiner Andreas 6206 ED" userId="e6377c33-a923-4f14-8587-531c474c7b48" providerId="ADAL" clId="{6ECD27E6-B224-41CD-B4E0-E297462320DD}" dt="2023-11-24T08:56:44.079" v="112358"/>
          <ac:spMkLst>
            <pc:docMk/>
            <pc:sldMk cId="788765567" sldId="2147473977"/>
            <ac:spMk id="733" creationId="{307C53D2-3C60-0E05-5011-B5F46C33AE1F}"/>
          </ac:spMkLst>
        </pc:spChg>
        <pc:spChg chg="add del mod">
          <ac:chgData name="Steiner Andreas 6206 ED" userId="e6377c33-a923-4f14-8587-531c474c7b48" providerId="ADAL" clId="{6ECD27E6-B224-41CD-B4E0-E297462320DD}" dt="2023-11-24T08:56:46.105" v="112513"/>
          <ac:spMkLst>
            <pc:docMk/>
            <pc:sldMk cId="788765567" sldId="2147473977"/>
            <ac:spMk id="734" creationId="{7BFB07CD-3644-ACC7-71C0-36650E8FE26C}"/>
          </ac:spMkLst>
        </pc:spChg>
        <pc:spChg chg="add del mod">
          <ac:chgData name="Steiner Andreas 6206 ED" userId="e6377c33-a923-4f14-8587-531c474c7b48" providerId="ADAL" clId="{6ECD27E6-B224-41CD-B4E0-E297462320DD}" dt="2023-11-24T08:56:48.325" v="112668"/>
          <ac:spMkLst>
            <pc:docMk/>
            <pc:sldMk cId="788765567" sldId="2147473977"/>
            <ac:spMk id="735" creationId="{16DD16E5-0D48-814B-B437-2E434C8487EF}"/>
          </ac:spMkLst>
        </pc:spChg>
        <pc:spChg chg="add del mod">
          <ac:chgData name="Steiner Andreas 6206 ED" userId="e6377c33-a923-4f14-8587-531c474c7b48" providerId="ADAL" clId="{6ECD27E6-B224-41CD-B4E0-E297462320DD}" dt="2023-11-24T08:56:50.378" v="112823"/>
          <ac:spMkLst>
            <pc:docMk/>
            <pc:sldMk cId="788765567" sldId="2147473977"/>
            <ac:spMk id="736" creationId="{C65AA348-1234-9096-A27C-4FC6B7EFA19C}"/>
          </ac:spMkLst>
        </pc:spChg>
        <pc:spChg chg="add del mod">
          <ac:chgData name="Steiner Andreas 6206 ED" userId="e6377c33-a923-4f14-8587-531c474c7b48" providerId="ADAL" clId="{6ECD27E6-B224-41CD-B4E0-E297462320DD}" dt="2023-11-24T08:56:52.305" v="112978"/>
          <ac:spMkLst>
            <pc:docMk/>
            <pc:sldMk cId="788765567" sldId="2147473977"/>
            <ac:spMk id="737" creationId="{390A5928-A6CE-F79E-84C7-27515EB1AE76}"/>
          </ac:spMkLst>
        </pc:spChg>
        <pc:spChg chg="add del mod">
          <ac:chgData name="Steiner Andreas 6206 ED" userId="e6377c33-a923-4f14-8587-531c474c7b48" providerId="ADAL" clId="{6ECD27E6-B224-41CD-B4E0-E297462320DD}" dt="2023-11-24T08:56:54.433" v="113133"/>
          <ac:spMkLst>
            <pc:docMk/>
            <pc:sldMk cId="788765567" sldId="2147473977"/>
            <ac:spMk id="738" creationId="{A044BF53-5502-53FF-BAC9-C41ADE75CC77}"/>
          </ac:spMkLst>
        </pc:spChg>
        <pc:spChg chg="add del mod">
          <ac:chgData name="Steiner Andreas 6206 ED" userId="e6377c33-a923-4f14-8587-531c474c7b48" providerId="ADAL" clId="{6ECD27E6-B224-41CD-B4E0-E297462320DD}" dt="2023-11-24T08:56:56.384" v="113288"/>
          <ac:spMkLst>
            <pc:docMk/>
            <pc:sldMk cId="788765567" sldId="2147473977"/>
            <ac:spMk id="739" creationId="{65514C1F-26A6-2C05-E943-4B60564241EF}"/>
          </ac:spMkLst>
        </pc:spChg>
        <pc:spChg chg="add del mod">
          <ac:chgData name="Steiner Andreas 6206 ED" userId="e6377c33-a923-4f14-8587-531c474c7b48" providerId="ADAL" clId="{6ECD27E6-B224-41CD-B4E0-E297462320DD}" dt="2023-11-24T08:56:58.534" v="113443"/>
          <ac:spMkLst>
            <pc:docMk/>
            <pc:sldMk cId="788765567" sldId="2147473977"/>
            <ac:spMk id="740" creationId="{5AED2196-5EB4-6DDB-EC4D-61320F66BB97}"/>
          </ac:spMkLst>
        </pc:spChg>
        <pc:spChg chg="add del mod">
          <ac:chgData name="Steiner Andreas 6206 ED" userId="e6377c33-a923-4f14-8587-531c474c7b48" providerId="ADAL" clId="{6ECD27E6-B224-41CD-B4E0-E297462320DD}" dt="2023-11-24T08:57:00.821" v="113598"/>
          <ac:spMkLst>
            <pc:docMk/>
            <pc:sldMk cId="788765567" sldId="2147473977"/>
            <ac:spMk id="741" creationId="{8277C1FD-9A9D-4B17-3243-0763A18436F2}"/>
          </ac:spMkLst>
        </pc:spChg>
        <pc:spChg chg="add del mod">
          <ac:chgData name="Steiner Andreas 6206 ED" userId="e6377c33-a923-4f14-8587-531c474c7b48" providerId="ADAL" clId="{6ECD27E6-B224-41CD-B4E0-E297462320DD}" dt="2023-11-24T08:57:03.231" v="113753"/>
          <ac:spMkLst>
            <pc:docMk/>
            <pc:sldMk cId="788765567" sldId="2147473977"/>
            <ac:spMk id="742" creationId="{2D8A5265-F9FA-1DDB-297D-33DFBACB2043}"/>
          </ac:spMkLst>
        </pc:spChg>
        <pc:spChg chg="add del mod">
          <ac:chgData name="Steiner Andreas 6206 ED" userId="e6377c33-a923-4f14-8587-531c474c7b48" providerId="ADAL" clId="{6ECD27E6-B224-41CD-B4E0-E297462320DD}" dt="2023-11-24T09:02:21.814" v="113908"/>
          <ac:spMkLst>
            <pc:docMk/>
            <pc:sldMk cId="788765567" sldId="2147473977"/>
            <ac:spMk id="743" creationId="{CC224911-E08D-408A-8835-BF39AE565FE3}"/>
          </ac:spMkLst>
        </pc:spChg>
        <pc:spChg chg="add del mod">
          <ac:chgData name="Steiner Andreas 6206 ED" userId="e6377c33-a923-4f14-8587-531c474c7b48" providerId="ADAL" clId="{6ECD27E6-B224-41CD-B4E0-E297462320DD}" dt="2023-11-24T09:02:27.604" v="114063"/>
          <ac:spMkLst>
            <pc:docMk/>
            <pc:sldMk cId="788765567" sldId="2147473977"/>
            <ac:spMk id="744" creationId="{CA9350E7-AB1C-6611-C010-AF4E56EC09AF}"/>
          </ac:spMkLst>
        </pc:spChg>
        <pc:spChg chg="add del mod">
          <ac:chgData name="Steiner Andreas 6206 ED" userId="e6377c33-a923-4f14-8587-531c474c7b48" providerId="ADAL" clId="{6ECD27E6-B224-41CD-B4E0-E297462320DD}" dt="2023-11-24T09:02:30.226" v="114218"/>
          <ac:spMkLst>
            <pc:docMk/>
            <pc:sldMk cId="788765567" sldId="2147473977"/>
            <ac:spMk id="745" creationId="{AAC4F836-E8E7-CCB6-D3A4-AA635DDB6384}"/>
          </ac:spMkLst>
        </pc:spChg>
        <pc:spChg chg="add del mod">
          <ac:chgData name="Steiner Andreas 6206 ED" userId="e6377c33-a923-4f14-8587-531c474c7b48" providerId="ADAL" clId="{6ECD27E6-B224-41CD-B4E0-E297462320DD}" dt="2023-11-24T09:02:33.608" v="114373"/>
          <ac:spMkLst>
            <pc:docMk/>
            <pc:sldMk cId="788765567" sldId="2147473977"/>
            <ac:spMk id="746" creationId="{997B44FB-F5A1-B9B4-2B08-3854E12270DA}"/>
          </ac:spMkLst>
        </pc:spChg>
        <pc:spChg chg="add del mod">
          <ac:chgData name="Steiner Andreas 6206 ED" userId="e6377c33-a923-4f14-8587-531c474c7b48" providerId="ADAL" clId="{6ECD27E6-B224-41CD-B4E0-E297462320DD}" dt="2023-11-24T09:02:36.953" v="114528"/>
          <ac:spMkLst>
            <pc:docMk/>
            <pc:sldMk cId="788765567" sldId="2147473977"/>
            <ac:spMk id="747" creationId="{5A1B2D94-43D4-17F7-22D9-A331168C261F}"/>
          </ac:spMkLst>
        </pc:spChg>
        <pc:spChg chg="add del mod">
          <ac:chgData name="Steiner Andreas 6206 ED" userId="e6377c33-a923-4f14-8587-531c474c7b48" providerId="ADAL" clId="{6ECD27E6-B224-41CD-B4E0-E297462320DD}" dt="2023-11-24T11:31:22.751" v="114683"/>
          <ac:spMkLst>
            <pc:docMk/>
            <pc:sldMk cId="788765567" sldId="2147473977"/>
            <ac:spMk id="748" creationId="{D22DD763-99BD-BEE8-E39F-DE5EB0C0ED8A}"/>
          </ac:spMkLst>
        </pc:spChg>
        <pc:spChg chg="add del mod">
          <ac:chgData name="Steiner Andreas 6206 ED" userId="e6377c33-a923-4f14-8587-531c474c7b48" providerId="ADAL" clId="{6ECD27E6-B224-41CD-B4E0-E297462320DD}" dt="2023-11-24T11:33:30.045" v="114838"/>
          <ac:spMkLst>
            <pc:docMk/>
            <pc:sldMk cId="788765567" sldId="2147473977"/>
            <ac:spMk id="749" creationId="{2762467E-AB42-94F0-4BF2-FF3C70CCC878}"/>
          </ac:spMkLst>
        </pc:spChg>
        <pc:spChg chg="add del mod">
          <ac:chgData name="Steiner Andreas 6206 ED" userId="e6377c33-a923-4f14-8587-531c474c7b48" providerId="ADAL" clId="{6ECD27E6-B224-41CD-B4E0-E297462320DD}" dt="2023-11-24T11:33:36.525" v="114993"/>
          <ac:spMkLst>
            <pc:docMk/>
            <pc:sldMk cId="788765567" sldId="2147473977"/>
            <ac:spMk id="750" creationId="{DC8ED083-8D8A-01CA-78BD-3D4D81C30087}"/>
          </ac:spMkLst>
        </pc:spChg>
        <pc:spChg chg="add del mod">
          <ac:chgData name="Steiner Andreas 6206 ED" userId="e6377c33-a923-4f14-8587-531c474c7b48" providerId="ADAL" clId="{6ECD27E6-B224-41CD-B4E0-E297462320DD}" dt="2023-11-24T11:33:39.657" v="115148"/>
          <ac:spMkLst>
            <pc:docMk/>
            <pc:sldMk cId="788765567" sldId="2147473977"/>
            <ac:spMk id="751" creationId="{611498DE-F77E-D04D-2887-CA9654A41F3C}"/>
          </ac:spMkLst>
        </pc:spChg>
        <pc:spChg chg="add del mod">
          <ac:chgData name="Steiner Andreas 6206 ED" userId="e6377c33-a923-4f14-8587-531c474c7b48" providerId="ADAL" clId="{6ECD27E6-B224-41CD-B4E0-E297462320DD}" dt="2023-11-24T11:33:43.252" v="115303"/>
          <ac:spMkLst>
            <pc:docMk/>
            <pc:sldMk cId="788765567" sldId="2147473977"/>
            <ac:spMk id="752" creationId="{9586F8ED-604A-A136-1B36-EFFE57FE4595}"/>
          </ac:spMkLst>
        </pc:spChg>
        <pc:spChg chg="add del mod">
          <ac:chgData name="Steiner Andreas 6206 ED" userId="e6377c33-a923-4f14-8587-531c474c7b48" providerId="ADAL" clId="{6ECD27E6-B224-41CD-B4E0-E297462320DD}" dt="2023-11-24T11:33:46.429" v="115458"/>
          <ac:spMkLst>
            <pc:docMk/>
            <pc:sldMk cId="788765567" sldId="2147473977"/>
            <ac:spMk id="753" creationId="{EEF1BC91-DDA2-DAAA-727C-6D21F4CF2082}"/>
          </ac:spMkLst>
        </pc:spChg>
        <pc:spChg chg="add del mod">
          <ac:chgData name="Steiner Andreas 6206 ED" userId="e6377c33-a923-4f14-8587-531c474c7b48" providerId="ADAL" clId="{6ECD27E6-B224-41CD-B4E0-E297462320DD}" dt="2023-11-24T11:33:49.496" v="115613"/>
          <ac:spMkLst>
            <pc:docMk/>
            <pc:sldMk cId="788765567" sldId="2147473977"/>
            <ac:spMk id="754" creationId="{FEA6EAAD-3C0E-9975-A872-71837978CA55}"/>
          </ac:spMkLst>
        </pc:spChg>
        <pc:spChg chg="add del mod">
          <ac:chgData name="Steiner Andreas 6206 ED" userId="e6377c33-a923-4f14-8587-531c474c7b48" providerId="ADAL" clId="{6ECD27E6-B224-41CD-B4E0-E297462320DD}" dt="2023-11-24T11:33:52.155" v="115768"/>
          <ac:spMkLst>
            <pc:docMk/>
            <pc:sldMk cId="788765567" sldId="2147473977"/>
            <ac:spMk id="755" creationId="{48A5A812-3C5C-9E2A-F972-1E49127834E2}"/>
          </ac:spMkLst>
        </pc:spChg>
        <pc:spChg chg="add del mod">
          <ac:chgData name="Steiner Andreas 6206 ED" userId="e6377c33-a923-4f14-8587-531c474c7b48" providerId="ADAL" clId="{6ECD27E6-B224-41CD-B4E0-E297462320DD}" dt="2023-11-24T11:33:55.031" v="115923"/>
          <ac:spMkLst>
            <pc:docMk/>
            <pc:sldMk cId="788765567" sldId="2147473977"/>
            <ac:spMk id="756" creationId="{5243851A-51C5-23B1-5683-EE56166253E3}"/>
          </ac:spMkLst>
        </pc:spChg>
        <pc:spChg chg="add del mod">
          <ac:chgData name="Steiner Andreas 6206 ED" userId="e6377c33-a923-4f14-8587-531c474c7b48" providerId="ADAL" clId="{6ECD27E6-B224-41CD-B4E0-E297462320DD}" dt="2023-11-24T11:33:57.466" v="116078"/>
          <ac:spMkLst>
            <pc:docMk/>
            <pc:sldMk cId="788765567" sldId="2147473977"/>
            <ac:spMk id="757" creationId="{0B5D7DC6-8E8E-B7F9-A63B-72B42E55792F}"/>
          </ac:spMkLst>
        </pc:spChg>
        <pc:spChg chg="add del mod">
          <ac:chgData name="Steiner Andreas 6206 ED" userId="e6377c33-a923-4f14-8587-531c474c7b48" providerId="ADAL" clId="{6ECD27E6-B224-41CD-B4E0-E297462320DD}" dt="2023-11-24T11:33:59.795" v="116233"/>
          <ac:spMkLst>
            <pc:docMk/>
            <pc:sldMk cId="788765567" sldId="2147473977"/>
            <ac:spMk id="758" creationId="{6F40ADFC-D594-BEC1-03FA-509437626DE4}"/>
          </ac:spMkLst>
        </pc:spChg>
        <pc:spChg chg="add del mod">
          <ac:chgData name="Steiner Andreas 6206 ED" userId="e6377c33-a923-4f14-8587-531c474c7b48" providerId="ADAL" clId="{6ECD27E6-B224-41CD-B4E0-E297462320DD}" dt="2023-11-24T11:34:02.166" v="116388"/>
          <ac:spMkLst>
            <pc:docMk/>
            <pc:sldMk cId="788765567" sldId="2147473977"/>
            <ac:spMk id="759" creationId="{7A008C26-E6FB-B9ED-DF1C-D4AA28FA26E4}"/>
          </ac:spMkLst>
        </pc:spChg>
        <pc:spChg chg="add del mod">
          <ac:chgData name="Steiner Andreas 6206 ED" userId="e6377c33-a923-4f14-8587-531c474c7b48" providerId="ADAL" clId="{6ECD27E6-B224-41CD-B4E0-E297462320DD}" dt="2023-11-24T11:34:04.464" v="116543"/>
          <ac:spMkLst>
            <pc:docMk/>
            <pc:sldMk cId="788765567" sldId="2147473977"/>
            <ac:spMk id="760" creationId="{B941C582-332A-F6EF-D1E2-E4E277C7DD0C}"/>
          </ac:spMkLst>
        </pc:spChg>
        <pc:spChg chg="add del mod">
          <ac:chgData name="Steiner Andreas 6206 ED" userId="e6377c33-a923-4f14-8587-531c474c7b48" providerId="ADAL" clId="{6ECD27E6-B224-41CD-B4E0-E297462320DD}" dt="2023-11-24T11:34:07.004" v="116698"/>
          <ac:spMkLst>
            <pc:docMk/>
            <pc:sldMk cId="788765567" sldId="2147473977"/>
            <ac:spMk id="761" creationId="{88F78501-6B92-B596-28CF-934BEDEE1A61}"/>
          </ac:spMkLst>
        </pc:spChg>
        <pc:spChg chg="add del mod">
          <ac:chgData name="Steiner Andreas 6206 ED" userId="e6377c33-a923-4f14-8587-531c474c7b48" providerId="ADAL" clId="{6ECD27E6-B224-41CD-B4E0-E297462320DD}" dt="2023-11-24T11:34:09.635" v="116853"/>
          <ac:spMkLst>
            <pc:docMk/>
            <pc:sldMk cId="788765567" sldId="2147473977"/>
            <ac:spMk id="762" creationId="{B1A985FA-D42F-A8F8-4867-923CF193FE25}"/>
          </ac:spMkLst>
        </pc:spChg>
        <pc:spChg chg="add del mod">
          <ac:chgData name="Steiner Andreas 6206 ED" userId="e6377c33-a923-4f14-8587-531c474c7b48" providerId="ADAL" clId="{6ECD27E6-B224-41CD-B4E0-E297462320DD}" dt="2023-11-24T11:34:11.495" v="117008"/>
          <ac:spMkLst>
            <pc:docMk/>
            <pc:sldMk cId="788765567" sldId="2147473977"/>
            <ac:spMk id="763" creationId="{747639F3-B9E1-A5A7-02AA-B0DD13B19F8B}"/>
          </ac:spMkLst>
        </pc:spChg>
        <pc:spChg chg="add del mod">
          <ac:chgData name="Steiner Andreas 6206 ED" userId="e6377c33-a923-4f14-8587-531c474c7b48" providerId="ADAL" clId="{6ECD27E6-B224-41CD-B4E0-E297462320DD}" dt="2023-11-24T11:34:13.248" v="117163"/>
          <ac:spMkLst>
            <pc:docMk/>
            <pc:sldMk cId="788765567" sldId="2147473977"/>
            <ac:spMk id="764" creationId="{FE1FA955-E98C-0344-D611-92FCE7F9EF1F}"/>
          </ac:spMkLst>
        </pc:spChg>
        <pc:spChg chg="add del mod">
          <ac:chgData name="Steiner Andreas 6206 ED" userId="e6377c33-a923-4f14-8587-531c474c7b48" providerId="ADAL" clId="{6ECD27E6-B224-41CD-B4E0-E297462320DD}" dt="2023-11-24T11:34:15.050" v="117318"/>
          <ac:spMkLst>
            <pc:docMk/>
            <pc:sldMk cId="788765567" sldId="2147473977"/>
            <ac:spMk id="765" creationId="{A31C5929-FCB1-0322-F6D7-B763CD4AF161}"/>
          </ac:spMkLst>
        </pc:spChg>
        <pc:spChg chg="add del mod">
          <ac:chgData name="Steiner Andreas 6206 ED" userId="e6377c33-a923-4f14-8587-531c474c7b48" providerId="ADAL" clId="{6ECD27E6-B224-41CD-B4E0-E297462320DD}" dt="2023-11-24T11:34:16.838" v="117473"/>
          <ac:spMkLst>
            <pc:docMk/>
            <pc:sldMk cId="788765567" sldId="2147473977"/>
            <ac:spMk id="766" creationId="{226B1527-9E5D-0FFC-EECC-A8DFE00A71FF}"/>
          </ac:spMkLst>
        </pc:spChg>
        <pc:spChg chg="add del mod">
          <ac:chgData name="Steiner Andreas 6206 ED" userId="e6377c33-a923-4f14-8587-531c474c7b48" providerId="ADAL" clId="{6ECD27E6-B224-41CD-B4E0-E297462320DD}" dt="2023-11-24T11:34:18.655" v="117628"/>
          <ac:spMkLst>
            <pc:docMk/>
            <pc:sldMk cId="788765567" sldId="2147473977"/>
            <ac:spMk id="767" creationId="{FFBCC063-B865-596D-B98F-AFE165555A2F}"/>
          </ac:spMkLst>
        </pc:spChg>
        <pc:spChg chg="add del mod">
          <ac:chgData name="Steiner Andreas 6206 ED" userId="e6377c33-a923-4f14-8587-531c474c7b48" providerId="ADAL" clId="{6ECD27E6-B224-41CD-B4E0-E297462320DD}" dt="2023-11-24T11:34:20.791" v="117783"/>
          <ac:spMkLst>
            <pc:docMk/>
            <pc:sldMk cId="788765567" sldId="2147473977"/>
            <ac:spMk id="768" creationId="{6994981D-5AD8-0345-49B2-8A7EFC1B5C9B}"/>
          </ac:spMkLst>
        </pc:spChg>
        <pc:spChg chg="add del mod">
          <ac:chgData name="Steiner Andreas 6206 ED" userId="e6377c33-a923-4f14-8587-531c474c7b48" providerId="ADAL" clId="{6ECD27E6-B224-41CD-B4E0-E297462320DD}" dt="2023-11-24T11:34:22.695" v="117938"/>
          <ac:spMkLst>
            <pc:docMk/>
            <pc:sldMk cId="788765567" sldId="2147473977"/>
            <ac:spMk id="769" creationId="{4B0A5919-0B9E-0510-F86D-8020E8CBA533}"/>
          </ac:spMkLst>
        </pc:spChg>
        <pc:spChg chg="add del mod">
          <ac:chgData name="Steiner Andreas 6206 ED" userId="e6377c33-a923-4f14-8587-531c474c7b48" providerId="ADAL" clId="{6ECD27E6-B224-41CD-B4E0-E297462320DD}" dt="2023-11-24T11:34:24.802" v="118093"/>
          <ac:spMkLst>
            <pc:docMk/>
            <pc:sldMk cId="788765567" sldId="2147473977"/>
            <ac:spMk id="770" creationId="{546A0B1D-D817-46F6-7AD7-ED6C97997F4A}"/>
          </ac:spMkLst>
        </pc:spChg>
        <pc:spChg chg="add del mod">
          <ac:chgData name="Steiner Andreas 6206 ED" userId="e6377c33-a923-4f14-8587-531c474c7b48" providerId="ADAL" clId="{6ECD27E6-B224-41CD-B4E0-E297462320DD}" dt="2023-11-24T11:34:27.417" v="118248"/>
          <ac:spMkLst>
            <pc:docMk/>
            <pc:sldMk cId="788765567" sldId="2147473977"/>
            <ac:spMk id="771" creationId="{9563C9BE-6A86-9493-31A2-F8FD732294AE}"/>
          </ac:spMkLst>
        </pc:spChg>
        <pc:spChg chg="add del mod">
          <ac:chgData name="Steiner Andreas 6206 ED" userId="e6377c33-a923-4f14-8587-531c474c7b48" providerId="ADAL" clId="{6ECD27E6-B224-41CD-B4E0-E297462320DD}" dt="2023-11-24T11:34:29.425" v="118403"/>
          <ac:spMkLst>
            <pc:docMk/>
            <pc:sldMk cId="788765567" sldId="2147473977"/>
            <ac:spMk id="772" creationId="{EE49D036-2F64-28E8-7F6F-82F49B82E017}"/>
          </ac:spMkLst>
        </pc:spChg>
        <pc:spChg chg="add del mod">
          <ac:chgData name="Steiner Andreas 6206 ED" userId="e6377c33-a923-4f14-8587-531c474c7b48" providerId="ADAL" clId="{6ECD27E6-B224-41CD-B4E0-E297462320DD}" dt="2023-11-24T11:34:31.711" v="118558"/>
          <ac:spMkLst>
            <pc:docMk/>
            <pc:sldMk cId="788765567" sldId="2147473977"/>
            <ac:spMk id="773" creationId="{5A7F3A2B-0FCB-D86B-AA1C-44452FF49129}"/>
          </ac:spMkLst>
        </pc:spChg>
        <pc:spChg chg="add del mod">
          <ac:chgData name="Steiner Andreas 6206 ED" userId="e6377c33-a923-4f14-8587-531c474c7b48" providerId="ADAL" clId="{6ECD27E6-B224-41CD-B4E0-E297462320DD}" dt="2023-11-24T11:34:33.656" v="118713"/>
          <ac:spMkLst>
            <pc:docMk/>
            <pc:sldMk cId="788765567" sldId="2147473977"/>
            <ac:spMk id="774" creationId="{104AA88A-C61C-0923-A245-8FF6EED6E4FB}"/>
          </ac:spMkLst>
        </pc:spChg>
        <pc:spChg chg="add del mod">
          <ac:chgData name="Steiner Andreas 6206 ED" userId="e6377c33-a923-4f14-8587-531c474c7b48" providerId="ADAL" clId="{6ECD27E6-B224-41CD-B4E0-E297462320DD}" dt="2023-11-24T11:34:35.646" v="118868"/>
          <ac:spMkLst>
            <pc:docMk/>
            <pc:sldMk cId="788765567" sldId="2147473977"/>
            <ac:spMk id="775" creationId="{DF396E0E-D7D8-A3D8-C85A-EB547FA517AC}"/>
          </ac:spMkLst>
        </pc:spChg>
        <pc:spChg chg="add del mod">
          <ac:chgData name="Steiner Andreas 6206 ED" userId="e6377c33-a923-4f14-8587-531c474c7b48" providerId="ADAL" clId="{6ECD27E6-B224-41CD-B4E0-E297462320DD}" dt="2023-11-24T11:34:37.749" v="119023"/>
          <ac:spMkLst>
            <pc:docMk/>
            <pc:sldMk cId="788765567" sldId="2147473977"/>
            <ac:spMk id="776" creationId="{169B364B-2797-627F-4AFF-E6AF0D96925B}"/>
          </ac:spMkLst>
        </pc:spChg>
        <pc:spChg chg="add del mod">
          <ac:chgData name="Steiner Andreas 6206 ED" userId="e6377c33-a923-4f14-8587-531c474c7b48" providerId="ADAL" clId="{6ECD27E6-B224-41CD-B4E0-E297462320DD}" dt="2023-11-24T11:34:39.715" v="119178"/>
          <ac:spMkLst>
            <pc:docMk/>
            <pc:sldMk cId="788765567" sldId="2147473977"/>
            <ac:spMk id="777" creationId="{7F2ADAB1-42B1-7529-1391-76A4C9C3C5AE}"/>
          </ac:spMkLst>
        </pc:spChg>
        <pc:spChg chg="add del mod">
          <ac:chgData name="Steiner Andreas 6206 ED" userId="e6377c33-a923-4f14-8587-531c474c7b48" providerId="ADAL" clId="{6ECD27E6-B224-41CD-B4E0-E297462320DD}" dt="2023-11-24T11:34:41.899" v="119333"/>
          <ac:spMkLst>
            <pc:docMk/>
            <pc:sldMk cId="788765567" sldId="2147473977"/>
            <ac:spMk id="778" creationId="{87BC240A-EFDB-24BB-CD1B-4AF52186F904}"/>
          </ac:spMkLst>
        </pc:spChg>
        <pc:spChg chg="add del mod">
          <ac:chgData name="Steiner Andreas 6206 ED" userId="e6377c33-a923-4f14-8587-531c474c7b48" providerId="ADAL" clId="{6ECD27E6-B224-41CD-B4E0-E297462320DD}" dt="2023-11-24T11:34:44.018" v="119488"/>
          <ac:spMkLst>
            <pc:docMk/>
            <pc:sldMk cId="788765567" sldId="2147473977"/>
            <ac:spMk id="779" creationId="{635997BB-FE53-A652-B800-5558982C1820}"/>
          </ac:spMkLst>
        </pc:spChg>
        <pc:spChg chg="add del mod">
          <ac:chgData name="Steiner Andreas 6206 ED" userId="e6377c33-a923-4f14-8587-531c474c7b48" providerId="ADAL" clId="{6ECD27E6-B224-41CD-B4E0-E297462320DD}" dt="2023-11-24T11:34:46.031" v="119643"/>
          <ac:spMkLst>
            <pc:docMk/>
            <pc:sldMk cId="788765567" sldId="2147473977"/>
            <ac:spMk id="780" creationId="{6F79976A-7930-6B70-75C7-3715FFE5040C}"/>
          </ac:spMkLst>
        </pc:spChg>
        <pc:spChg chg="add del mod">
          <ac:chgData name="Steiner Andreas 6206 ED" userId="e6377c33-a923-4f14-8587-531c474c7b48" providerId="ADAL" clId="{6ECD27E6-B224-41CD-B4E0-E297462320DD}" dt="2023-11-24T11:34:47.938" v="119798"/>
          <ac:spMkLst>
            <pc:docMk/>
            <pc:sldMk cId="788765567" sldId="2147473977"/>
            <ac:spMk id="781" creationId="{CE665388-0AAA-6CE5-7DC4-2DBC0E6DCD29}"/>
          </ac:spMkLst>
        </pc:spChg>
        <pc:spChg chg="add del mod">
          <ac:chgData name="Steiner Andreas 6206 ED" userId="e6377c33-a923-4f14-8587-531c474c7b48" providerId="ADAL" clId="{6ECD27E6-B224-41CD-B4E0-E297462320DD}" dt="2023-11-24T11:34:50.150" v="119953"/>
          <ac:spMkLst>
            <pc:docMk/>
            <pc:sldMk cId="788765567" sldId="2147473977"/>
            <ac:spMk id="782" creationId="{9B522841-49AB-12F0-3113-50BEF5A45DFC}"/>
          </ac:spMkLst>
        </pc:spChg>
        <pc:spChg chg="add del mod">
          <ac:chgData name="Steiner Andreas 6206 ED" userId="e6377c33-a923-4f14-8587-531c474c7b48" providerId="ADAL" clId="{6ECD27E6-B224-41CD-B4E0-E297462320DD}" dt="2023-11-24T11:34:52.248" v="120108"/>
          <ac:spMkLst>
            <pc:docMk/>
            <pc:sldMk cId="788765567" sldId="2147473977"/>
            <ac:spMk id="783" creationId="{AC8F20D9-F152-418D-C399-33EC7D964116}"/>
          </ac:spMkLst>
        </pc:spChg>
        <pc:spChg chg="add del mod">
          <ac:chgData name="Steiner Andreas 6206 ED" userId="e6377c33-a923-4f14-8587-531c474c7b48" providerId="ADAL" clId="{6ECD27E6-B224-41CD-B4E0-E297462320DD}" dt="2023-11-24T11:34:54.180" v="120263"/>
          <ac:spMkLst>
            <pc:docMk/>
            <pc:sldMk cId="788765567" sldId="2147473977"/>
            <ac:spMk id="784" creationId="{B5D43233-B3B8-48AF-7FED-F472BC8503B6}"/>
          </ac:spMkLst>
        </pc:spChg>
        <pc:spChg chg="add del mod">
          <ac:chgData name="Steiner Andreas 6206 ED" userId="e6377c33-a923-4f14-8587-531c474c7b48" providerId="ADAL" clId="{6ECD27E6-B224-41CD-B4E0-E297462320DD}" dt="2023-11-24T11:34:56.053" v="120418"/>
          <ac:spMkLst>
            <pc:docMk/>
            <pc:sldMk cId="788765567" sldId="2147473977"/>
            <ac:spMk id="785" creationId="{0E4D3E0E-B4A4-FB83-7DB0-640363A34BBF}"/>
          </ac:spMkLst>
        </pc:spChg>
        <pc:spChg chg="add del mod">
          <ac:chgData name="Steiner Andreas 6206 ED" userId="e6377c33-a923-4f14-8587-531c474c7b48" providerId="ADAL" clId="{6ECD27E6-B224-41CD-B4E0-E297462320DD}" dt="2023-11-24T11:34:57.883" v="120573"/>
          <ac:spMkLst>
            <pc:docMk/>
            <pc:sldMk cId="788765567" sldId="2147473977"/>
            <ac:spMk id="786" creationId="{4C69263F-DD52-870D-3AA7-5583090BEC4A}"/>
          </ac:spMkLst>
        </pc:spChg>
        <pc:spChg chg="add del mod">
          <ac:chgData name="Steiner Andreas 6206 ED" userId="e6377c33-a923-4f14-8587-531c474c7b48" providerId="ADAL" clId="{6ECD27E6-B224-41CD-B4E0-E297462320DD}" dt="2023-11-24T11:34:59.746" v="120728"/>
          <ac:spMkLst>
            <pc:docMk/>
            <pc:sldMk cId="788765567" sldId="2147473977"/>
            <ac:spMk id="787" creationId="{9545B62E-D2FD-BD5E-088B-91F78F17262B}"/>
          </ac:spMkLst>
        </pc:spChg>
        <pc:spChg chg="add del mod">
          <ac:chgData name="Steiner Andreas 6206 ED" userId="e6377c33-a923-4f14-8587-531c474c7b48" providerId="ADAL" clId="{6ECD27E6-B224-41CD-B4E0-E297462320DD}" dt="2023-11-24T11:35:01.586" v="120883"/>
          <ac:spMkLst>
            <pc:docMk/>
            <pc:sldMk cId="788765567" sldId="2147473977"/>
            <ac:spMk id="788" creationId="{9BF899A5-4980-C5CC-0C9A-D94A5ED2F971}"/>
          </ac:spMkLst>
        </pc:spChg>
        <pc:spChg chg="add del mod">
          <ac:chgData name="Steiner Andreas 6206 ED" userId="e6377c33-a923-4f14-8587-531c474c7b48" providerId="ADAL" clId="{6ECD27E6-B224-41CD-B4E0-E297462320DD}" dt="2023-11-24T11:35:03.457" v="121038"/>
          <ac:spMkLst>
            <pc:docMk/>
            <pc:sldMk cId="788765567" sldId="2147473977"/>
            <ac:spMk id="789" creationId="{21BFDA89-06CB-D518-AD10-20392C1140AD}"/>
          </ac:spMkLst>
        </pc:spChg>
        <pc:spChg chg="add del mod">
          <ac:chgData name="Steiner Andreas 6206 ED" userId="e6377c33-a923-4f14-8587-531c474c7b48" providerId="ADAL" clId="{6ECD27E6-B224-41CD-B4E0-E297462320DD}" dt="2023-11-24T11:35:05.359" v="121193"/>
          <ac:spMkLst>
            <pc:docMk/>
            <pc:sldMk cId="788765567" sldId="2147473977"/>
            <ac:spMk id="790" creationId="{9950AA8F-F20C-2844-F09F-6485330F2E3C}"/>
          </ac:spMkLst>
        </pc:spChg>
        <pc:spChg chg="add del mod">
          <ac:chgData name="Steiner Andreas 6206 ED" userId="e6377c33-a923-4f14-8587-531c474c7b48" providerId="ADAL" clId="{6ECD27E6-B224-41CD-B4E0-E297462320DD}" dt="2023-11-24T11:35:07.565" v="121348"/>
          <ac:spMkLst>
            <pc:docMk/>
            <pc:sldMk cId="788765567" sldId="2147473977"/>
            <ac:spMk id="791" creationId="{B6D03246-73D3-0DD2-650B-80C4C4A903FB}"/>
          </ac:spMkLst>
        </pc:spChg>
        <pc:spChg chg="add del mod">
          <ac:chgData name="Steiner Andreas 6206 ED" userId="e6377c33-a923-4f14-8587-531c474c7b48" providerId="ADAL" clId="{6ECD27E6-B224-41CD-B4E0-E297462320DD}" dt="2023-11-24T11:35:09.509" v="121503"/>
          <ac:spMkLst>
            <pc:docMk/>
            <pc:sldMk cId="788765567" sldId="2147473977"/>
            <ac:spMk id="792" creationId="{6AA53B13-9892-793D-9C72-50967575BD82}"/>
          </ac:spMkLst>
        </pc:spChg>
        <pc:spChg chg="add del mod">
          <ac:chgData name="Steiner Andreas 6206 ED" userId="e6377c33-a923-4f14-8587-531c474c7b48" providerId="ADAL" clId="{6ECD27E6-B224-41CD-B4E0-E297462320DD}" dt="2023-11-24T11:35:11.474" v="121658"/>
          <ac:spMkLst>
            <pc:docMk/>
            <pc:sldMk cId="788765567" sldId="2147473977"/>
            <ac:spMk id="793" creationId="{C57F0DE7-B188-F31C-9C39-392A0D2C3609}"/>
          </ac:spMkLst>
        </pc:spChg>
        <pc:spChg chg="add del mod">
          <ac:chgData name="Steiner Andreas 6206 ED" userId="e6377c33-a923-4f14-8587-531c474c7b48" providerId="ADAL" clId="{6ECD27E6-B224-41CD-B4E0-E297462320DD}" dt="2023-11-24T11:35:13.192" v="121813"/>
          <ac:spMkLst>
            <pc:docMk/>
            <pc:sldMk cId="788765567" sldId="2147473977"/>
            <ac:spMk id="794" creationId="{E4F5501A-6961-4C74-A941-36E244F649CD}"/>
          </ac:spMkLst>
        </pc:spChg>
        <pc:spChg chg="add del mod">
          <ac:chgData name="Steiner Andreas 6206 ED" userId="e6377c33-a923-4f14-8587-531c474c7b48" providerId="ADAL" clId="{6ECD27E6-B224-41CD-B4E0-E297462320DD}" dt="2023-11-24T11:35:15.138" v="121968"/>
          <ac:spMkLst>
            <pc:docMk/>
            <pc:sldMk cId="788765567" sldId="2147473977"/>
            <ac:spMk id="795" creationId="{16883B7B-613D-9590-3573-DE0C91BB7CBC}"/>
          </ac:spMkLst>
        </pc:spChg>
        <pc:spChg chg="add del mod">
          <ac:chgData name="Steiner Andreas 6206 ED" userId="e6377c33-a923-4f14-8587-531c474c7b48" providerId="ADAL" clId="{6ECD27E6-B224-41CD-B4E0-E297462320DD}" dt="2023-11-24T11:35:16.821" v="122123"/>
          <ac:spMkLst>
            <pc:docMk/>
            <pc:sldMk cId="788765567" sldId="2147473977"/>
            <ac:spMk id="796" creationId="{8C44E47B-1A65-BBAF-DC0F-30D3E1112FCE}"/>
          </ac:spMkLst>
        </pc:spChg>
        <pc:spChg chg="add del mod">
          <ac:chgData name="Steiner Andreas 6206 ED" userId="e6377c33-a923-4f14-8587-531c474c7b48" providerId="ADAL" clId="{6ECD27E6-B224-41CD-B4E0-E297462320DD}" dt="2023-11-24T11:35:18.517" v="122278"/>
          <ac:spMkLst>
            <pc:docMk/>
            <pc:sldMk cId="788765567" sldId="2147473977"/>
            <ac:spMk id="797" creationId="{25A6827A-7BDE-0CD9-86BD-060E7554EDE6}"/>
          </ac:spMkLst>
        </pc:spChg>
        <pc:spChg chg="add del mod">
          <ac:chgData name="Steiner Andreas 6206 ED" userId="e6377c33-a923-4f14-8587-531c474c7b48" providerId="ADAL" clId="{6ECD27E6-B224-41CD-B4E0-E297462320DD}" dt="2023-11-24T11:35:20.140" v="122433"/>
          <ac:spMkLst>
            <pc:docMk/>
            <pc:sldMk cId="788765567" sldId="2147473977"/>
            <ac:spMk id="798" creationId="{33522E4A-9362-CB6B-2CC6-45DEA604D157}"/>
          </ac:spMkLst>
        </pc:spChg>
        <pc:spChg chg="add del mod">
          <ac:chgData name="Steiner Andreas 6206 ED" userId="e6377c33-a923-4f14-8587-531c474c7b48" providerId="ADAL" clId="{6ECD27E6-B224-41CD-B4E0-E297462320DD}" dt="2023-11-24T11:35:21.775" v="122588"/>
          <ac:spMkLst>
            <pc:docMk/>
            <pc:sldMk cId="788765567" sldId="2147473977"/>
            <ac:spMk id="799" creationId="{6AAA32FA-0CC6-495D-E740-A03F33B80B93}"/>
          </ac:spMkLst>
        </pc:spChg>
        <pc:spChg chg="add del mod">
          <ac:chgData name="Steiner Andreas 6206 ED" userId="e6377c33-a923-4f14-8587-531c474c7b48" providerId="ADAL" clId="{6ECD27E6-B224-41CD-B4E0-E297462320DD}" dt="2023-11-24T11:35:23.504" v="122743"/>
          <ac:spMkLst>
            <pc:docMk/>
            <pc:sldMk cId="788765567" sldId="2147473977"/>
            <ac:spMk id="800" creationId="{06599BDA-EFDB-0A4D-63F9-5ADDE3702A25}"/>
          </ac:spMkLst>
        </pc:spChg>
        <pc:spChg chg="add del mod">
          <ac:chgData name="Steiner Andreas 6206 ED" userId="e6377c33-a923-4f14-8587-531c474c7b48" providerId="ADAL" clId="{6ECD27E6-B224-41CD-B4E0-E297462320DD}" dt="2023-11-24T11:35:25.586" v="122898"/>
          <ac:spMkLst>
            <pc:docMk/>
            <pc:sldMk cId="788765567" sldId="2147473977"/>
            <ac:spMk id="801" creationId="{082C0C7A-EA9D-1BB9-3A36-D24F3879DBBC}"/>
          </ac:spMkLst>
        </pc:spChg>
        <pc:spChg chg="add del mod">
          <ac:chgData name="Steiner Andreas 6206 ED" userId="e6377c33-a923-4f14-8587-531c474c7b48" providerId="ADAL" clId="{6ECD27E6-B224-41CD-B4E0-E297462320DD}" dt="2023-11-24T11:35:27.584" v="123053"/>
          <ac:spMkLst>
            <pc:docMk/>
            <pc:sldMk cId="788765567" sldId="2147473977"/>
            <ac:spMk id="802" creationId="{1ABD7EA7-E8AB-9C06-9952-A48AA1D27866}"/>
          </ac:spMkLst>
        </pc:spChg>
        <pc:spChg chg="add del mod">
          <ac:chgData name="Steiner Andreas 6206 ED" userId="e6377c33-a923-4f14-8587-531c474c7b48" providerId="ADAL" clId="{6ECD27E6-B224-41CD-B4E0-E297462320DD}" dt="2023-11-24T11:35:29.449" v="123208"/>
          <ac:spMkLst>
            <pc:docMk/>
            <pc:sldMk cId="788765567" sldId="2147473977"/>
            <ac:spMk id="803" creationId="{7641DF2F-FA36-905B-0052-E6AAC070506D}"/>
          </ac:spMkLst>
        </pc:spChg>
        <pc:spChg chg="add del mod">
          <ac:chgData name="Steiner Andreas 6206 ED" userId="e6377c33-a923-4f14-8587-531c474c7b48" providerId="ADAL" clId="{6ECD27E6-B224-41CD-B4E0-E297462320DD}" dt="2023-11-24T11:35:31.160" v="123363"/>
          <ac:spMkLst>
            <pc:docMk/>
            <pc:sldMk cId="788765567" sldId="2147473977"/>
            <ac:spMk id="804" creationId="{44EC5E0B-7F13-5795-2968-841F75BC1CE2}"/>
          </ac:spMkLst>
        </pc:spChg>
        <pc:spChg chg="add del mod">
          <ac:chgData name="Steiner Andreas 6206 ED" userId="e6377c33-a923-4f14-8587-531c474c7b48" providerId="ADAL" clId="{6ECD27E6-B224-41CD-B4E0-E297462320DD}" dt="2023-11-24T11:35:34.130" v="123518"/>
          <ac:spMkLst>
            <pc:docMk/>
            <pc:sldMk cId="788765567" sldId="2147473977"/>
            <ac:spMk id="805" creationId="{2F4B8F6B-D41B-B872-E8C0-D0FC52DADED8}"/>
          </ac:spMkLst>
        </pc:spChg>
        <pc:spChg chg="add del mod">
          <ac:chgData name="Steiner Andreas 6206 ED" userId="e6377c33-a923-4f14-8587-531c474c7b48" providerId="ADAL" clId="{6ECD27E6-B224-41CD-B4E0-E297462320DD}" dt="2023-11-24T11:35:35.926" v="123673"/>
          <ac:spMkLst>
            <pc:docMk/>
            <pc:sldMk cId="788765567" sldId="2147473977"/>
            <ac:spMk id="806" creationId="{FA1EBA4B-0890-B33F-75E4-04BEA8580B24}"/>
          </ac:spMkLst>
        </pc:spChg>
        <pc:spChg chg="add del mod">
          <ac:chgData name="Steiner Andreas 6206 ED" userId="e6377c33-a923-4f14-8587-531c474c7b48" providerId="ADAL" clId="{6ECD27E6-B224-41CD-B4E0-E297462320DD}" dt="2023-11-24T11:35:37.578" v="123828"/>
          <ac:spMkLst>
            <pc:docMk/>
            <pc:sldMk cId="788765567" sldId="2147473977"/>
            <ac:spMk id="807" creationId="{F62874FE-67B0-94CE-8B50-2780CCA84F85}"/>
          </ac:spMkLst>
        </pc:spChg>
        <pc:spChg chg="add del mod">
          <ac:chgData name="Steiner Andreas 6206 ED" userId="e6377c33-a923-4f14-8587-531c474c7b48" providerId="ADAL" clId="{6ECD27E6-B224-41CD-B4E0-E297462320DD}" dt="2023-11-24T11:35:39.217" v="123983"/>
          <ac:spMkLst>
            <pc:docMk/>
            <pc:sldMk cId="788765567" sldId="2147473977"/>
            <ac:spMk id="808" creationId="{0696068A-1D4F-DA9A-C699-600698D4D192}"/>
          </ac:spMkLst>
        </pc:spChg>
        <pc:spChg chg="add del mod">
          <ac:chgData name="Steiner Andreas 6206 ED" userId="e6377c33-a923-4f14-8587-531c474c7b48" providerId="ADAL" clId="{6ECD27E6-B224-41CD-B4E0-E297462320DD}" dt="2023-11-24T11:35:40.913" v="124138"/>
          <ac:spMkLst>
            <pc:docMk/>
            <pc:sldMk cId="788765567" sldId="2147473977"/>
            <ac:spMk id="809" creationId="{BCE879DA-D1D9-CE82-4957-485E31E0F109}"/>
          </ac:spMkLst>
        </pc:spChg>
        <pc:spChg chg="add del mod">
          <ac:chgData name="Steiner Andreas 6206 ED" userId="e6377c33-a923-4f14-8587-531c474c7b48" providerId="ADAL" clId="{6ECD27E6-B224-41CD-B4E0-E297462320DD}" dt="2023-11-24T11:35:42.514" v="124293"/>
          <ac:spMkLst>
            <pc:docMk/>
            <pc:sldMk cId="788765567" sldId="2147473977"/>
            <ac:spMk id="810" creationId="{A4806825-1468-07C1-EEAF-2EF1AE21A5F9}"/>
          </ac:spMkLst>
        </pc:spChg>
        <pc:spChg chg="add del mod">
          <ac:chgData name="Steiner Andreas 6206 ED" userId="e6377c33-a923-4f14-8587-531c474c7b48" providerId="ADAL" clId="{6ECD27E6-B224-41CD-B4E0-E297462320DD}" dt="2023-11-24T11:35:44.211" v="124448"/>
          <ac:spMkLst>
            <pc:docMk/>
            <pc:sldMk cId="788765567" sldId="2147473977"/>
            <ac:spMk id="811" creationId="{9C45C41B-88EF-5502-1281-450B01EB3F4E}"/>
          </ac:spMkLst>
        </pc:spChg>
        <pc:spChg chg="add del mod">
          <ac:chgData name="Steiner Andreas 6206 ED" userId="e6377c33-a923-4f14-8587-531c474c7b48" providerId="ADAL" clId="{6ECD27E6-B224-41CD-B4E0-E297462320DD}" dt="2023-11-24T11:35:45.841" v="124603"/>
          <ac:spMkLst>
            <pc:docMk/>
            <pc:sldMk cId="788765567" sldId="2147473977"/>
            <ac:spMk id="812" creationId="{7D206C24-7283-ADB6-34C9-ACB5006B4431}"/>
          </ac:spMkLst>
        </pc:spChg>
        <pc:spChg chg="add del mod">
          <ac:chgData name="Steiner Andreas 6206 ED" userId="e6377c33-a923-4f14-8587-531c474c7b48" providerId="ADAL" clId="{6ECD27E6-B224-41CD-B4E0-E297462320DD}" dt="2023-11-24T11:35:47.556" v="124758"/>
          <ac:spMkLst>
            <pc:docMk/>
            <pc:sldMk cId="788765567" sldId="2147473977"/>
            <ac:spMk id="813" creationId="{DC36F264-7FB7-6CF1-F887-0877669A5DA5}"/>
          </ac:spMkLst>
        </pc:spChg>
        <pc:spChg chg="add del mod">
          <ac:chgData name="Steiner Andreas 6206 ED" userId="e6377c33-a923-4f14-8587-531c474c7b48" providerId="ADAL" clId="{6ECD27E6-B224-41CD-B4E0-E297462320DD}" dt="2023-11-24T11:35:49.360" v="124913"/>
          <ac:spMkLst>
            <pc:docMk/>
            <pc:sldMk cId="788765567" sldId="2147473977"/>
            <ac:spMk id="814" creationId="{C10ACDE4-EF6A-7CA8-431C-CA59FA43A625}"/>
          </ac:spMkLst>
        </pc:spChg>
        <pc:spChg chg="add del mod">
          <ac:chgData name="Steiner Andreas 6206 ED" userId="e6377c33-a923-4f14-8587-531c474c7b48" providerId="ADAL" clId="{6ECD27E6-B224-41CD-B4E0-E297462320DD}" dt="2023-11-24T11:35:51.264" v="125068"/>
          <ac:spMkLst>
            <pc:docMk/>
            <pc:sldMk cId="788765567" sldId="2147473977"/>
            <ac:spMk id="815" creationId="{422F88F0-4864-C7DE-A2B8-C9EE292A2A35}"/>
          </ac:spMkLst>
        </pc:spChg>
        <pc:spChg chg="add del mod">
          <ac:chgData name="Steiner Andreas 6206 ED" userId="e6377c33-a923-4f14-8587-531c474c7b48" providerId="ADAL" clId="{6ECD27E6-B224-41CD-B4E0-E297462320DD}" dt="2023-11-24T11:35:52.980" v="125223"/>
          <ac:spMkLst>
            <pc:docMk/>
            <pc:sldMk cId="788765567" sldId="2147473977"/>
            <ac:spMk id="816" creationId="{0C02567A-1989-311A-B6EC-F96A3A2E4891}"/>
          </ac:spMkLst>
        </pc:spChg>
        <pc:spChg chg="add del mod">
          <ac:chgData name="Steiner Andreas 6206 ED" userId="e6377c33-a923-4f14-8587-531c474c7b48" providerId="ADAL" clId="{6ECD27E6-B224-41CD-B4E0-E297462320DD}" dt="2023-11-24T11:35:55.008" v="125378"/>
          <ac:spMkLst>
            <pc:docMk/>
            <pc:sldMk cId="788765567" sldId="2147473977"/>
            <ac:spMk id="817" creationId="{2CFCE458-8439-8CAB-63FD-D514201528FA}"/>
          </ac:spMkLst>
        </pc:spChg>
        <pc:spChg chg="add del mod">
          <ac:chgData name="Steiner Andreas 6206 ED" userId="e6377c33-a923-4f14-8587-531c474c7b48" providerId="ADAL" clId="{6ECD27E6-B224-41CD-B4E0-E297462320DD}" dt="2023-11-24T11:35:57.209" v="125533"/>
          <ac:spMkLst>
            <pc:docMk/>
            <pc:sldMk cId="788765567" sldId="2147473977"/>
            <ac:spMk id="818" creationId="{2F8409B0-A9BD-5497-7229-EE7CA89CB01E}"/>
          </ac:spMkLst>
        </pc:spChg>
        <pc:spChg chg="add del mod">
          <ac:chgData name="Steiner Andreas 6206 ED" userId="e6377c33-a923-4f14-8587-531c474c7b48" providerId="ADAL" clId="{6ECD27E6-B224-41CD-B4E0-E297462320DD}" dt="2023-11-24T11:35:58.957" v="125688"/>
          <ac:spMkLst>
            <pc:docMk/>
            <pc:sldMk cId="788765567" sldId="2147473977"/>
            <ac:spMk id="819" creationId="{553AE28E-88A6-4C03-C30B-D30280A2597B}"/>
          </ac:spMkLst>
        </pc:spChg>
        <pc:spChg chg="add del mod">
          <ac:chgData name="Steiner Andreas 6206 ED" userId="e6377c33-a923-4f14-8587-531c474c7b48" providerId="ADAL" clId="{6ECD27E6-B224-41CD-B4E0-E297462320DD}" dt="2023-11-24T11:36:00.699" v="125843"/>
          <ac:spMkLst>
            <pc:docMk/>
            <pc:sldMk cId="788765567" sldId="2147473977"/>
            <ac:spMk id="820" creationId="{16AF6A02-3731-9AA4-957B-57DFEFF28288}"/>
          </ac:spMkLst>
        </pc:spChg>
        <pc:spChg chg="add del mod">
          <ac:chgData name="Steiner Andreas 6206 ED" userId="e6377c33-a923-4f14-8587-531c474c7b48" providerId="ADAL" clId="{6ECD27E6-B224-41CD-B4E0-E297462320DD}" dt="2023-11-24T11:36:02.428" v="125998"/>
          <ac:spMkLst>
            <pc:docMk/>
            <pc:sldMk cId="788765567" sldId="2147473977"/>
            <ac:spMk id="821" creationId="{F1D21065-B414-B00E-ACAD-EAF7EFC0B229}"/>
          </ac:spMkLst>
        </pc:spChg>
        <pc:spChg chg="add del mod">
          <ac:chgData name="Steiner Andreas 6206 ED" userId="e6377c33-a923-4f14-8587-531c474c7b48" providerId="ADAL" clId="{6ECD27E6-B224-41CD-B4E0-E297462320DD}" dt="2023-11-24T11:36:04.189" v="126153"/>
          <ac:spMkLst>
            <pc:docMk/>
            <pc:sldMk cId="788765567" sldId="2147473977"/>
            <ac:spMk id="822" creationId="{5E3CE602-4406-4FD6-9FEB-4DA42C26A0A7}"/>
          </ac:spMkLst>
        </pc:spChg>
        <pc:spChg chg="add del mod">
          <ac:chgData name="Steiner Andreas 6206 ED" userId="e6377c33-a923-4f14-8587-531c474c7b48" providerId="ADAL" clId="{6ECD27E6-B224-41CD-B4E0-E297462320DD}" dt="2023-11-24T11:36:05.951" v="126308"/>
          <ac:spMkLst>
            <pc:docMk/>
            <pc:sldMk cId="788765567" sldId="2147473977"/>
            <ac:spMk id="823" creationId="{F472A6A1-216E-F654-F88D-B4E17BA88E02}"/>
          </ac:spMkLst>
        </pc:spChg>
        <pc:spChg chg="add del mod">
          <ac:chgData name="Steiner Andreas 6206 ED" userId="e6377c33-a923-4f14-8587-531c474c7b48" providerId="ADAL" clId="{6ECD27E6-B224-41CD-B4E0-E297462320DD}" dt="2023-11-24T11:36:07.663" v="126463"/>
          <ac:spMkLst>
            <pc:docMk/>
            <pc:sldMk cId="788765567" sldId="2147473977"/>
            <ac:spMk id="824" creationId="{68FB0C03-9AFC-3E58-B57B-CD36B779FAE1}"/>
          </ac:spMkLst>
        </pc:spChg>
        <pc:spChg chg="add del mod">
          <ac:chgData name="Steiner Andreas 6206 ED" userId="e6377c33-a923-4f14-8587-531c474c7b48" providerId="ADAL" clId="{6ECD27E6-B224-41CD-B4E0-E297462320DD}" dt="2023-11-24T11:36:09.488" v="126618"/>
          <ac:spMkLst>
            <pc:docMk/>
            <pc:sldMk cId="788765567" sldId="2147473977"/>
            <ac:spMk id="825" creationId="{4C3F7C15-2B3C-9A85-62F8-6A988070BA76}"/>
          </ac:spMkLst>
        </pc:spChg>
        <pc:spChg chg="add del mod">
          <ac:chgData name="Steiner Andreas 6206 ED" userId="e6377c33-a923-4f14-8587-531c474c7b48" providerId="ADAL" clId="{6ECD27E6-B224-41CD-B4E0-E297462320DD}" dt="2023-11-24T11:36:11.356" v="126773"/>
          <ac:spMkLst>
            <pc:docMk/>
            <pc:sldMk cId="788765567" sldId="2147473977"/>
            <ac:spMk id="826" creationId="{D3F66E6A-BF73-2A52-73EF-661A60A15414}"/>
          </ac:spMkLst>
        </pc:spChg>
        <pc:spChg chg="add del mod">
          <ac:chgData name="Steiner Andreas 6206 ED" userId="e6377c33-a923-4f14-8587-531c474c7b48" providerId="ADAL" clId="{6ECD27E6-B224-41CD-B4E0-E297462320DD}" dt="2023-11-24T11:36:13.201" v="126928"/>
          <ac:spMkLst>
            <pc:docMk/>
            <pc:sldMk cId="788765567" sldId="2147473977"/>
            <ac:spMk id="827" creationId="{ADA55363-7799-B609-C179-AF3FEA8CED2D}"/>
          </ac:spMkLst>
        </pc:spChg>
        <pc:spChg chg="add del mod">
          <ac:chgData name="Steiner Andreas 6206 ED" userId="e6377c33-a923-4f14-8587-531c474c7b48" providerId="ADAL" clId="{6ECD27E6-B224-41CD-B4E0-E297462320DD}" dt="2023-11-24T11:36:15.088" v="127083"/>
          <ac:spMkLst>
            <pc:docMk/>
            <pc:sldMk cId="788765567" sldId="2147473977"/>
            <ac:spMk id="828" creationId="{230DBE94-8D2D-A560-BCB4-E672BF729E23}"/>
          </ac:spMkLst>
        </pc:spChg>
        <pc:spChg chg="add del mod">
          <ac:chgData name="Steiner Andreas 6206 ED" userId="e6377c33-a923-4f14-8587-531c474c7b48" providerId="ADAL" clId="{6ECD27E6-B224-41CD-B4E0-E297462320DD}" dt="2023-11-24T11:36:17.757" v="127238"/>
          <ac:spMkLst>
            <pc:docMk/>
            <pc:sldMk cId="788765567" sldId="2147473977"/>
            <ac:spMk id="829" creationId="{2C0A1699-7B09-923D-5B0B-16418274025F}"/>
          </ac:spMkLst>
        </pc:spChg>
        <pc:spChg chg="add del mod">
          <ac:chgData name="Steiner Andreas 6206 ED" userId="e6377c33-a923-4f14-8587-531c474c7b48" providerId="ADAL" clId="{6ECD27E6-B224-41CD-B4E0-E297462320DD}" dt="2023-11-24T11:36:20.298" v="127393"/>
          <ac:spMkLst>
            <pc:docMk/>
            <pc:sldMk cId="788765567" sldId="2147473977"/>
            <ac:spMk id="830" creationId="{30D4E417-EEFA-ACA2-971C-69139BDFFE95}"/>
          </ac:spMkLst>
        </pc:spChg>
        <pc:spChg chg="add del mod">
          <ac:chgData name="Steiner Andreas 6206 ED" userId="e6377c33-a923-4f14-8587-531c474c7b48" providerId="ADAL" clId="{6ECD27E6-B224-41CD-B4E0-E297462320DD}" dt="2023-11-24T11:36:22.622" v="127548"/>
          <ac:spMkLst>
            <pc:docMk/>
            <pc:sldMk cId="788765567" sldId="2147473977"/>
            <ac:spMk id="831" creationId="{2F09DA3B-EF7E-144B-6D48-E75E73E593D9}"/>
          </ac:spMkLst>
        </pc:spChg>
        <pc:spChg chg="add del mod">
          <ac:chgData name="Steiner Andreas 6206 ED" userId="e6377c33-a923-4f14-8587-531c474c7b48" providerId="ADAL" clId="{6ECD27E6-B224-41CD-B4E0-E297462320DD}" dt="2023-11-24T11:36:25.860" v="127703"/>
          <ac:spMkLst>
            <pc:docMk/>
            <pc:sldMk cId="788765567" sldId="2147473977"/>
            <ac:spMk id="832" creationId="{C15B3E1B-D03B-6D0B-5AA6-046447E30A07}"/>
          </ac:spMkLst>
        </pc:spChg>
        <pc:spChg chg="add del mod">
          <ac:chgData name="Steiner Andreas 6206 ED" userId="e6377c33-a923-4f14-8587-531c474c7b48" providerId="ADAL" clId="{6ECD27E6-B224-41CD-B4E0-E297462320DD}" dt="2023-11-24T11:36:28.573" v="127858"/>
          <ac:spMkLst>
            <pc:docMk/>
            <pc:sldMk cId="788765567" sldId="2147473977"/>
            <ac:spMk id="833" creationId="{969BD159-03C8-3F37-197E-80F922ED277D}"/>
          </ac:spMkLst>
        </pc:spChg>
        <pc:spChg chg="add del mod">
          <ac:chgData name="Steiner Andreas 6206 ED" userId="e6377c33-a923-4f14-8587-531c474c7b48" providerId="ADAL" clId="{6ECD27E6-B224-41CD-B4E0-E297462320DD}" dt="2023-11-24T11:36:31.249" v="128013"/>
          <ac:spMkLst>
            <pc:docMk/>
            <pc:sldMk cId="788765567" sldId="2147473977"/>
            <ac:spMk id="834" creationId="{DA20FD35-0375-0D40-2ABD-3D57EB6B547D}"/>
          </ac:spMkLst>
        </pc:spChg>
        <pc:spChg chg="add del mod">
          <ac:chgData name="Steiner Andreas 6206 ED" userId="e6377c33-a923-4f14-8587-531c474c7b48" providerId="ADAL" clId="{6ECD27E6-B224-41CD-B4E0-E297462320DD}" dt="2023-11-24T11:36:33.496" v="128168"/>
          <ac:spMkLst>
            <pc:docMk/>
            <pc:sldMk cId="788765567" sldId="2147473977"/>
            <ac:spMk id="835" creationId="{FA7E4EBC-EAB8-FE1F-D5B6-DBB90A149A6F}"/>
          </ac:spMkLst>
        </pc:spChg>
        <pc:spChg chg="add del mod">
          <ac:chgData name="Steiner Andreas 6206 ED" userId="e6377c33-a923-4f14-8587-531c474c7b48" providerId="ADAL" clId="{6ECD27E6-B224-41CD-B4E0-E297462320DD}" dt="2023-11-24T11:36:35.547" v="128323"/>
          <ac:spMkLst>
            <pc:docMk/>
            <pc:sldMk cId="788765567" sldId="2147473977"/>
            <ac:spMk id="836" creationId="{C2D4498D-9FC1-32EC-D124-0E5A10F7D9E5}"/>
          </ac:spMkLst>
        </pc:spChg>
        <pc:spChg chg="add del mod">
          <ac:chgData name="Steiner Andreas 6206 ED" userId="e6377c33-a923-4f14-8587-531c474c7b48" providerId="ADAL" clId="{6ECD27E6-B224-41CD-B4E0-E297462320DD}" dt="2023-11-24T11:36:37.705" v="128478"/>
          <ac:spMkLst>
            <pc:docMk/>
            <pc:sldMk cId="788765567" sldId="2147473977"/>
            <ac:spMk id="837" creationId="{BF9583FA-AAA8-48B9-7057-C65FD62DC2E2}"/>
          </ac:spMkLst>
        </pc:spChg>
        <pc:spChg chg="add del mod">
          <ac:chgData name="Steiner Andreas 6206 ED" userId="e6377c33-a923-4f14-8587-531c474c7b48" providerId="ADAL" clId="{6ECD27E6-B224-41CD-B4E0-E297462320DD}" dt="2023-11-24T11:36:39.903" v="128633"/>
          <ac:spMkLst>
            <pc:docMk/>
            <pc:sldMk cId="788765567" sldId="2147473977"/>
            <ac:spMk id="838" creationId="{3DC57604-FADD-07C5-13A8-59DF15D2BDEC}"/>
          </ac:spMkLst>
        </pc:spChg>
        <pc:spChg chg="add del mod">
          <ac:chgData name="Steiner Andreas 6206 ED" userId="e6377c33-a923-4f14-8587-531c474c7b48" providerId="ADAL" clId="{6ECD27E6-B224-41CD-B4E0-E297462320DD}" dt="2023-11-24T11:36:42.449" v="128788"/>
          <ac:spMkLst>
            <pc:docMk/>
            <pc:sldMk cId="788765567" sldId="2147473977"/>
            <ac:spMk id="839" creationId="{D4AB99A3-2EF0-9FAB-291A-D9BC188AE3F0}"/>
          </ac:spMkLst>
        </pc:spChg>
        <pc:spChg chg="add del mod">
          <ac:chgData name="Steiner Andreas 6206 ED" userId="e6377c33-a923-4f14-8587-531c474c7b48" providerId="ADAL" clId="{6ECD27E6-B224-41CD-B4E0-E297462320DD}" dt="2023-11-24T11:36:44.748" v="128943"/>
          <ac:spMkLst>
            <pc:docMk/>
            <pc:sldMk cId="788765567" sldId="2147473977"/>
            <ac:spMk id="840" creationId="{C952DD1F-E4E3-72E9-DE06-E82FB67AC40E}"/>
          </ac:spMkLst>
        </pc:spChg>
        <pc:spChg chg="add del mod">
          <ac:chgData name="Steiner Andreas 6206 ED" userId="e6377c33-a923-4f14-8587-531c474c7b48" providerId="ADAL" clId="{6ECD27E6-B224-41CD-B4E0-E297462320DD}" dt="2023-11-24T11:36:46.689" v="129098"/>
          <ac:spMkLst>
            <pc:docMk/>
            <pc:sldMk cId="788765567" sldId="2147473977"/>
            <ac:spMk id="841" creationId="{4572A8F0-8A8A-3418-A6EC-F26AFD43E144}"/>
          </ac:spMkLst>
        </pc:spChg>
        <pc:spChg chg="add del mod">
          <ac:chgData name="Steiner Andreas 6206 ED" userId="e6377c33-a923-4f14-8587-531c474c7b48" providerId="ADAL" clId="{6ECD27E6-B224-41CD-B4E0-E297462320DD}" dt="2023-11-24T11:36:48.672" v="129253"/>
          <ac:spMkLst>
            <pc:docMk/>
            <pc:sldMk cId="788765567" sldId="2147473977"/>
            <ac:spMk id="842" creationId="{6516683E-C8CC-0EC2-5A36-5132E0E19A1A}"/>
          </ac:spMkLst>
        </pc:spChg>
        <pc:spChg chg="add del mod">
          <ac:chgData name="Steiner Andreas 6206 ED" userId="e6377c33-a923-4f14-8587-531c474c7b48" providerId="ADAL" clId="{6ECD27E6-B224-41CD-B4E0-E297462320DD}" dt="2023-11-24T11:36:50.643" v="129408"/>
          <ac:spMkLst>
            <pc:docMk/>
            <pc:sldMk cId="788765567" sldId="2147473977"/>
            <ac:spMk id="843" creationId="{C4EE880B-43FC-44AC-61EB-2D289C09AC7F}"/>
          </ac:spMkLst>
        </pc:spChg>
        <pc:spChg chg="add del mod">
          <ac:chgData name="Steiner Andreas 6206 ED" userId="e6377c33-a923-4f14-8587-531c474c7b48" providerId="ADAL" clId="{6ECD27E6-B224-41CD-B4E0-E297462320DD}" dt="2023-11-24T11:36:52.785" v="129563"/>
          <ac:spMkLst>
            <pc:docMk/>
            <pc:sldMk cId="788765567" sldId="2147473977"/>
            <ac:spMk id="844" creationId="{1C47E870-A7FD-BAD5-541D-36975D91C644}"/>
          </ac:spMkLst>
        </pc:spChg>
        <pc:spChg chg="add del mod">
          <ac:chgData name="Steiner Andreas 6206 ED" userId="e6377c33-a923-4f14-8587-531c474c7b48" providerId="ADAL" clId="{6ECD27E6-B224-41CD-B4E0-E297462320DD}" dt="2023-11-24T11:36:55.698" v="129718"/>
          <ac:spMkLst>
            <pc:docMk/>
            <pc:sldMk cId="788765567" sldId="2147473977"/>
            <ac:spMk id="845" creationId="{A0DE9C02-2653-C24E-03FA-D3E615CB1916}"/>
          </ac:spMkLst>
        </pc:spChg>
        <pc:spChg chg="add del mod">
          <ac:chgData name="Steiner Andreas 6206 ED" userId="e6377c33-a923-4f14-8587-531c474c7b48" providerId="ADAL" clId="{6ECD27E6-B224-41CD-B4E0-E297462320DD}" dt="2023-11-24T11:36:57.930" v="129873"/>
          <ac:spMkLst>
            <pc:docMk/>
            <pc:sldMk cId="788765567" sldId="2147473977"/>
            <ac:spMk id="846" creationId="{F500C425-0C0C-968E-4BFF-DC8244E4A226}"/>
          </ac:spMkLst>
        </pc:spChg>
        <pc:spChg chg="add del mod">
          <ac:chgData name="Steiner Andreas 6206 ED" userId="e6377c33-a923-4f14-8587-531c474c7b48" providerId="ADAL" clId="{6ECD27E6-B224-41CD-B4E0-E297462320DD}" dt="2023-11-24T11:37:00.247" v="130028"/>
          <ac:spMkLst>
            <pc:docMk/>
            <pc:sldMk cId="788765567" sldId="2147473977"/>
            <ac:spMk id="847" creationId="{8C4C1859-509A-0B4B-3F20-DD22B1BB422F}"/>
          </ac:spMkLst>
        </pc:spChg>
        <pc:spChg chg="add del mod">
          <ac:chgData name="Steiner Andreas 6206 ED" userId="e6377c33-a923-4f14-8587-531c474c7b48" providerId="ADAL" clId="{6ECD27E6-B224-41CD-B4E0-E297462320DD}" dt="2023-11-24T11:37:02.050" v="130183"/>
          <ac:spMkLst>
            <pc:docMk/>
            <pc:sldMk cId="788765567" sldId="2147473977"/>
            <ac:spMk id="848" creationId="{E8F13075-FAFA-1866-D472-BD1E3098E41B}"/>
          </ac:spMkLst>
        </pc:spChg>
        <pc:spChg chg="add del mod">
          <ac:chgData name="Steiner Andreas 6206 ED" userId="e6377c33-a923-4f14-8587-531c474c7b48" providerId="ADAL" clId="{6ECD27E6-B224-41CD-B4E0-E297462320DD}" dt="2023-11-24T11:37:03.793" v="130338"/>
          <ac:spMkLst>
            <pc:docMk/>
            <pc:sldMk cId="788765567" sldId="2147473977"/>
            <ac:spMk id="849" creationId="{DD029D30-F014-2817-3C07-DE557E2467E9}"/>
          </ac:spMkLst>
        </pc:spChg>
        <pc:spChg chg="add del mod">
          <ac:chgData name="Steiner Andreas 6206 ED" userId="e6377c33-a923-4f14-8587-531c474c7b48" providerId="ADAL" clId="{6ECD27E6-B224-41CD-B4E0-E297462320DD}" dt="2023-11-24T11:37:05.665" v="130493"/>
          <ac:spMkLst>
            <pc:docMk/>
            <pc:sldMk cId="788765567" sldId="2147473977"/>
            <ac:spMk id="850" creationId="{1F1839CB-F7B3-647A-66F7-0FE4E2E09A75}"/>
          </ac:spMkLst>
        </pc:spChg>
        <pc:spChg chg="add del mod">
          <ac:chgData name="Steiner Andreas 6206 ED" userId="e6377c33-a923-4f14-8587-531c474c7b48" providerId="ADAL" clId="{6ECD27E6-B224-41CD-B4E0-E297462320DD}" dt="2023-11-24T11:37:07.440" v="130648"/>
          <ac:spMkLst>
            <pc:docMk/>
            <pc:sldMk cId="788765567" sldId="2147473977"/>
            <ac:spMk id="851" creationId="{8A997F89-FAE0-61B0-8669-0096D7F9EFB1}"/>
          </ac:spMkLst>
        </pc:spChg>
        <pc:spChg chg="add del mod">
          <ac:chgData name="Steiner Andreas 6206 ED" userId="e6377c33-a923-4f14-8587-531c474c7b48" providerId="ADAL" clId="{6ECD27E6-B224-41CD-B4E0-E297462320DD}" dt="2023-11-24T11:37:09.143" v="130803"/>
          <ac:spMkLst>
            <pc:docMk/>
            <pc:sldMk cId="788765567" sldId="2147473977"/>
            <ac:spMk id="852" creationId="{8A3ACBF6-CC71-8FA2-EFF3-52E0ACCE2117}"/>
          </ac:spMkLst>
        </pc:spChg>
        <pc:spChg chg="add del mod">
          <ac:chgData name="Steiner Andreas 6206 ED" userId="e6377c33-a923-4f14-8587-531c474c7b48" providerId="ADAL" clId="{6ECD27E6-B224-41CD-B4E0-E297462320DD}" dt="2023-11-24T11:37:10.833" v="130958"/>
          <ac:spMkLst>
            <pc:docMk/>
            <pc:sldMk cId="788765567" sldId="2147473977"/>
            <ac:spMk id="853" creationId="{EDD837A4-56ED-6DAE-A7E5-91F1A0BFD01E}"/>
          </ac:spMkLst>
        </pc:spChg>
        <pc:spChg chg="add del mod">
          <ac:chgData name="Steiner Andreas 6206 ED" userId="e6377c33-a923-4f14-8587-531c474c7b48" providerId="ADAL" clId="{6ECD27E6-B224-41CD-B4E0-E297462320DD}" dt="2023-11-24T11:37:12.500" v="131113"/>
          <ac:spMkLst>
            <pc:docMk/>
            <pc:sldMk cId="788765567" sldId="2147473977"/>
            <ac:spMk id="854" creationId="{C49F973A-F83B-85C0-8A99-327A821D121B}"/>
          </ac:spMkLst>
        </pc:spChg>
        <pc:spChg chg="add del mod">
          <ac:chgData name="Steiner Andreas 6206 ED" userId="e6377c33-a923-4f14-8587-531c474c7b48" providerId="ADAL" clId="{6ECD27E6-B224-41CD-B4E0-E297462320DD}" dt="2023-11-24T11:37:14.180" v="131268"/>
          <ac:spMkLst>
            <pc:docMk/>
            <pc:sldMk cId="788765567" sldId="2147473977"/>
            <ac:spMk id="855" creationId="{A33FB166-3B85-0A0F-54C5-64EAB98D4257}"/>
          </ac:spMkLst>
        </pc:spChg>
        <pc:spChg chg="add del mod">
          <ac:chgData name="Steiner Andreas 6206 ED" userId="e6377c33-a923-4f14-8587-531c474c7b48" providerId="ADAL" clId="{6ECD27E6-B224-41CD-B4E0-E297462320DD}" dt="2023-11-24T11:37:16.271" v="131423"/>
          <ac:spMkLst>
            <pc:docMk/>
            <pc:sldMk cId="788765567" sldId="2147473977"/>
            <ac:spMk id="856" creationId="{0DFE5EF1-7789-8E7A-AB7F-1433A9763405}"/>
          </ac:spMkLst>
        </pc:spChg>
        <pc:spChg chg="add del mod">
          <ac:chgData name="Steiner Andreas 6206 ED" userId="e6377c33-a923-4f14-8587-531c474c7b48" providerId="ADAL" clId="{6ECD27E6-B224-41CD-B4E0-E297462320DD}" dt="2023-11-24T11:37:18.237" v="131578"/>
          <ac:spMkLst>
            <pc:docMk/>
            <pc:sldMk cId="788765567" sldId="2147473977"/>
            <ac:spMk id="857" creationId="{86016054-25D0-9659-163A-C8FADDECCB88}"/>
          </ac:spMkLst>
        </pc:spChg>
        <pc:spChg chg="add del mod">
          <ac:chgData name="Steiner Andreas 6206 ED" userId="e6377c33-a923-4f14-8587-531c474c7b48" providerId="ADAL" clId="{6ECD27E6-B224-41CD-B4E0-E297462320DD}" dt="2023-11-24T11:37:20.116" v="131733"/>
          <ac:spMkLst>
            <pc:docMk/>
            <pc:sldMk cId="788765567" sldId="2147473977"/>
            <ac:spMk id="858" creationId="{6EBFA810-7C86-EBCA-50D2-7DF8A8BC2AA9}"/>
          </ac:spMkLst>
        </pc:spChg>
        <pc:spChg chg="add del mod">
          <ac:chgData name="Steiner Andreas 6206 ED" userId="e6377c33-a923-4f14-8587-531c474c7b48" providerId="ADAL" clId="{6ECD27E6-B224-41CD-B4E0-E297462320DD}" dt="2023-11-24T11:37:22.024" v="131888"/>
          <ac:spMkLst>
            <pc:docMk/>
            <pc:sldMk cId="788765567" sldId="2147473977"/>
            <ac:spMk id="859" creationId="{CC0F04A5-284F-4F86-3471-2F311CCAF42D}"/>
          </ac:spMkLst>
        </pc:spChg>
        <pc:spChg chg="add del mod">
          <ac:chgData name="Steiner Andreas 6206 ED" userId="e6377c33-a923-4f14-8587-531c474c7b48" providerId="ADAL" clId="{6ECD27E6-B224-41CD-B4E0-E297462320DD}" dt="2023-11-24T11:37:23.778" v="132043"/>
          <ac:spMkLst>
            <pc:docMk/>
            <pc:sldMk cId="788765567" sldId="2147473977"/>
            <ac:spMk id="860" creationId="{E4E56D72-E86F-77C4-4600-488483F41540}"/>
          </ac:spMkLst>
        </pc:spChg>
        <pc:spChg chg="add del mod">
          <ac:chgData name="Steiner Andreas 6206 ED" userId="e6377c33-a923-4f14-8587-531c474c7b48" providerId="ADAL" clId="{6ECD27E6-B224-41CD-B4E0-E297462320DD}" dt="2023-11-24T11:37:25.495" v="132198"/>
          <ac:spMkLst>
            <pc:docMk/>
            <pc:sldMk cId="788765567" sldId="2147473977"/>
            <ac:spMk id="861" creationId="{C0353056-9B05-106B-1B02-8C0079995FD8}"/>
          </ac:spMkLst>
        </pc:spChg>
        <pc:spChg chg="add del mod">
          <ac:chgData name="Steiner Andreas 6206 ED" userId="e6377c33-a923-4f14-8587-531c474c7b48" providerId="ADAL" clId="{6ECD27E6-B224-41CD-B4E0-E297462320DD}" dt="2023-11-24T11:37:27.503" v="132353"/>
          <ac:spMkLst>
            <pc:docMk/>
            <pc:sldMk cId="788765567" sldId="2147473977"/>
            <ac:spMk id="862" creationId="{52681E48-9E9C-E41C-83B7-1B3F11E3F577}"/>
          </ac:spMkLst>
        </pc:spChg>
        <pc:spChg chg="add del mod">
          <ac:chgData name="Steiner Andreas 6206 ED" userId="e6377c33-a923-4f14-8587-531c474c7b48" providerId="ADAL" clId="{6ECD27E6-B224-41CD-B4E0-E297462320DD}" dt="2023-11-24T11:37:30.220" v="132508"/>
          <ac:spMkLst>
            <pc:docMk/>
            <pc:sldMk cId="788765567" sldId="2147473977"/>
            <ac:spMk id="863" creationId="{88238580-A2DC-6484-287D-DFC1B73D762F}"/>
          </ac:spMkLst>
        </pc:spChg>
        <pc:spChg chg="add del mod">
          <ac:chgData name="Steiner Andreas 6206 ED" userId="e6377c33-a923-4f14-8587-531c474c7b48" providerId="ADAL" clId="{6ECD27E6-B224-41CD-B4E0-E297462320DD}" dt="2023-11-24T11:37:32.850" v="132663"/>
          <ac:spMkLst>
            <pc:docMk/>
            <pc:sldMk cId="788765567" sldId="2147473977"/>
            <ac:spMk id="864" creationId="{C211AF9D-EB50-158B-9A47-FE5E7AD373FA}"/>
          </ac:spMkLst>
        </pc:spChg>
        <pc:spChg chg="add del mod">
          <ac:chgData name="Steiner Andreas 6206 ED" userId="e6377c33-a923-4f14-8587-531c474c7b48" providerId="ADAL" clId="{6ECD27E6-B224-41CD-B4E0-E297462320DD}" dt="2023-11-24T11:37:35.700" v="132818"/>
          <ac:spMkLst>
            <pc:docMk/>
            <pc:sldMk cId="788765567" sldId="2147473977"/>
            <ac:spMk id="865" creationId="{C1B5C119-57A1-EFC5-182B-124F509A9486}"/>
          </ac:spMkLst>
        </pc:spChg>
        <pc:spChg chg="add del mod">
          <ac:chgData name="Steiner Andreas 6206 ED" userId="e6377c33-a923-4f14-8587-531c474c7b48" providerId="ADAL" clId="{6ECD27E6-B224-41CD-B4E0-E297462320DD}" dt="2023-11-24T11:37:38.464" v="132973"/>
          <ac:spMkLst>
            <pc:docMk/>
            <pc:sldMk cId="788765567" sldId="2147473977"/>
            <ac:spMk id="866" creationId="{2C2A39D9-B996-EE17-02D3-3AAC4C2EB968}"/>
          </ac:spMkLst>
        </pc:spChg>
        <pc:spChg chg="add del mod">
          <ac:chgData name="Steiner Andreas 6206 ED" userId="e6377c33-a923-4f14-8587-531c474c7b48" providerId="ADAL" clId="{6ECD27E6-B224-41CD-B4E0-E297462320DD}" dt="2023-11-24T11:37:40.976" v="133128"/>
          <ac:spMkLst>
            <pc:docMk/>
            <pc:sldMk cId="788765567" sldId="2147473977"/>
            <ac:spMk id="867" creationId="{D09F90E6-5574-BA5B-09F9-9350884C9350}"/>
          </ac:spMkLst>
        </pc:spChg>
        <pc:spChg chg="add del mod">
          <ac:chgData name="Steiner Andreas 6206 ED" userId="e6377c33-a923-4f14-8587-531c474c7b48" providerId="ADAL" clId="{6ECD27E6-B224-41CD-B4E0-E297462320DD}" dt="2023-11-24T11:37:44.124" v="133283"/>
          <ac:spMkLst>
            <pc:docMk/>
            <pc:sldMk cId="788765567" sldId="2147473977"/>
            <ac:spMk id="868" creationId="{7952C027-1F25-F91F-71E6-F8177A67553A}"/>
          </ac:spMkLst>
        </pc:spChg>
        <pc:spChg chg="add del mod">
          <ac:chgData name="Steiner Andreas 6206 ED" userId="e6377c33-a923-4f14-8587-531c474c7b48" providerId="ADAL" clId="{6ECD27E6-B224-41CD-B4E0-E297462320DD}" dt="2023-11-24T11:37:48.189" v="133438"/>
          <ac:spMkLst>
            <pc:docMk/>
            <pc:sldMk cId="788765567" sldId="2147473977"/>
            <ac:spMk id="869" creationId="{5A7E1460-D42A-982D-3039-A023A086AAFE}"/>
          </ac:spMkLst>
        </pc:spChg>
        <pc:spChg chg="add del mod">
          <ac:chgData name="Steiner Andreas 6206 ED" userId="e6377c33-a923-4f14-8587-531c474c7b48" providerId="ADAL" clId="{6ECD27E6-B224-41CD-B4E0-E297462320DD}" dt="2023-11-24T11:37:51.394" v="133593"/>
          <ac:spMkLst>
            <pc:docMk/>
            <pc:sldMk cId="788765567" sldId="2147473977"/>
            <ac:spMk id="870" creationId="{6E2FD5B2-5567-80A1-6F6E-9CA13DB43C15}"/>
          </ac:spMkLst>
        </pc:spChg>
        <pc:spChg chg="add del mod">
          <ac:chgData name="Steiner Andreas 6206 ED" userId="e6377c33-a923-4f14-8587-531c474c7b48" providerId="ADAL" clId="{6ECD27E6-B224-41CD-B4E0-E297462320DD}" dt="2023-11-24T11:37:54.175" v="133748"/>
          <ac:spMkLst>
            <pc:docMk/>
            <pc:sldMk cId="788765567" sldId="2147473977"/>
            <ac:spMk id="871" creationId="{49BFC9B4-F75A-F295-801A-FD13E45986F7}"/>
          </ac:spMkLst>
        </pc:spChg>
        <pc:spChg chg="add del mod">
          <ac:chgData name="Steiner Andreas 6206 ED" userId="e6377c33-a923-4f14-8587-531c474c7b48" providerId="ADAL" clId="{6ECD27E6-B224-41CD-B4E0-E297462320DD}" dt="2023-11-24T11:37:56.560" v="133903"/>
          <ac:spMkLst>
            <pc:docMk/>
            <pc:sldMk cId="788765567" sldId="2147473977"/>
            <ac:spMk id="872" creationId="{4819E74D-A88C-3D99-FB09-2EFF5522776A}"/>
          </ac:spMkLst>
        </pc:spChg>
        <pc:spChg chg="add del mod">
          <ac:chgData name="Steiner Andreas 6206 ED" userId="e6377c33-a923-4f14-8587-531c474c7b48" providerId="ADAL" clId="{6ECD27E6-B224-41CD-B4E0-E297462320DD}" dt="2023-11-24T11:37:59.153" v="134058"/>
          <ac:spMkLst>
            <pc:docMk/>
            <pc:sldMk cId="788765567" sldId="2147473977"/>
            <ac:spMk id="873" creationId="{1C7FCD4C-70BA-98A3-831C-4FFEA561CEC7}"/>
          </ac:spMkLst>
        </pc:spChg>
        <pc:spChg chg="add del mod">
          <ac:chgData name="Steiner Andreas 6206 ED" userId="e6377c33-a923-4f14-8587-531c474c7b48" providerId="ADAL" clId="{6ECD27E6-B224-41CD-B4E0-E297462320DD}" dt="2023-11-24T11:38:01.386" v="134213"/>
          <ac:spMkLst>
            <pc:docMk/>
            <pc:sldMk cId="788765567" sldId="2147473977"/>
            <ac:spMk id="874" creationId="{0ECAB864-7E3E-9749-90DE-02E5377186D5}"/>
          </ac:spMkLst>
        </pc:spChg>
        <pc:spChg chg="add del mod">
          <ac:chgData name="Steiner Andreas 6206 ED" userId="e6377c33-a923-4f14-8587-531c474c7b48" providerId="ADAL" clId="{6ECD27E6-B224-41CD-B4E0-E297462320DD}" dt="2023-11-24T11:38:03.937" v="134368"/>
          <ac:spMkLst>
            <pc:docMk/>
            <pc:sldMk cId="788765567" sldId="2147473977"/>
            <ac:spMk id="875" creationId="{EA7CD83C-FB0C-596A-2A83-9FEBA28D0706}"/>
          </ac:spMkLst>
        </pc:spChg>
        <pc:spChg chg="add del mod">
          <ac:chgData name="Steiner Andreas 6206 ED" userId="e6377c33-a923-4f14-8587-531c474c7b48" providerId="ADAL" clId="{6ECD27E6-B224-41CD-B4E0-E297462320DD}" dt="2023-11-24T11:38:06.380" v="134523"/>
          <ac:spMkLst>
            <pc:docMk/>
            <pc:sldMk cId="788765567" sldId="2147473977"/>
            <ac:spMk id="876" creationId="{B48F8DC2-6F68-3781-1D8C-476D61F72C15}"/>
          </ac:spMkLst>
        </pc:spChg>
        <pc:spChg chg="add del mod">
          <ac:chgData name="Steiner Andreas 6206 ED" userId="e6377c33-a923-4f14-8587-531c474c7b48" providerId="ADAL" clId="{6ECD27E6-B224-41CD-B4E0-E297462320DD}" dt="2023-11-24T11:38:09.315" v="134678"/>
          <ac:spMkLst>
            <pc:docMk/>
            <pc:sldMk cId="788765567" sldId="2147473977"/>
            <ac:spMk id="877" creationId="{FB43D643-80D9-694B-BE64-A53AD5F04F6B}"/>
          </ac:spMkLst>
        </pc:spChg>
        <pc:spChg chg="add del mod">
          <ac:chgData name="Steiner Andreas 6206 ED" userId="e6377c33-a923-4f14-8587-531c474c7b48" providerId="ADAL" clId="{6ECD27E6-B224-41CD-B4E0-E297462320DD}" dt="2023-11-24T11:38:12.034" v="134833"/>
          <ac:spMkLst>
            <pc:docMk/>
            <pc:sldMk cId="788765567" sldId="2147473977"/>
            <ac:spMk id="878" creationId="{11DC39F2-2242-F234-4586-CD637310857C}"/>
          </ac:spMkLst>
        </pc:spChg>
        <pc:spChg chg="add del mod">
          <ac:chgData name="Steiner Andreas 6206 ED" userId="e6377c33-a923-4f14-8587-531c474c7b48" providerId="ADAL" clId="{6ECD27E6-B224-41CD-B4E0-E297462320DD}" dt="2023-11-24T11:38:14.324" v="134988"/>
          <ac:spMkLst>
            <pc:docMk/>
            <pc:sldMk cId="788765567" sldId="2147473977"/>
            <ac:spMk id="879" creationId="{6C308EB3-D676-FC7A-1EC0-1643499BF289}"/>
          </ac:spMkLst>
        </pc:spChg>
        <pc:spChg chg="add del mod">
          <ac:chgData name="Steiner Andreas 6206 ED" userId="e6377c33-a923-4f14-8587-531c474c7b48" providerId="ADAL" clId="{6ECD27E6-B224-41CD-B4E0-E297462320DD}" dt="2023-11-24T11:38:16.743" v="135143"/>
          <ac:spMkLst>
            <pc:docMk/>
            <pc:sldMk cId="788765567" sldId="2147473977"/>
            <ac:spMk id="880" creationId="{1CC905D8-1F9B-BC14-E226-A9AB5AFA66EB}"/>
          </ac:spMkLst>
        </pc:spChg>
        <pc:spChg chg="add del mod">
          <ac:chgData name="Steiner Andreas 6206 ED" userId="e6377c33-a923-4f14-8587-531c474c7b48" providerId="ADAL" clId="{6ECD27E6-B224-41CD-B4E0-E297462320DD}" dt="2023-11-24T11:38:19.675" v="135298"/>
          <ac:spMkLst>
            <pc:docMk/>
            <pc:sldMk cId="788765567" sldId="2147473977"/>
            <ac:spMk id="881" creationId="{F5DEA172-DFAD-BC09-66EA-D8234A7054D8}"/>
          </ac:spMkLst>
        </pc:spChg>
        <pc:spChg chg="add del mod">
          <ac:chgData name="Steiner Andreas 6206 ED" userId="e6377c33-a923-4f14-8587-531c474c7b48" providerId="ADAL" clId="{6ECD27E6-B224-41CD-B4E0-E297462320DD}" dt="2023-11-24T11:38:22.284" v="135453"/>
          <ac:spMkLst>
            <pc:docMk/>
            <pc:sldMk cId="788765567" sldId="2147473977"/>
            <ac:spMk id="882" creationId="{453414C8-53DD-511F-47B6-CD54B69398BD}"/>
          </ac:spMkLst>
        </pc:spChg>
        <pc:spChg chg="add del mod">
          <ac:chgData name="Steiner Andreas 6206 ED" userId="e6377c33-a923-4f14-8587-531c474c7b48" providerId="ADAL" clId="{6ECD27E6-B224-41CD-B4E0-E297462320DD}" dt="2023-11-24T11:38:24.988" v="135608"/>
          <ac:spMkLst>
            <pc:docMk/>
            <pc:sldMk cId="788765567" sldId="2147473977"/>
            <ac:spMk id="883" creationId="{881F4D33-6B83-7EA1-698A-5CE239C537C2}"/>
          </ac:spMkLst>
        </pc:spChg>
        <pc:spChg chg="add del mod">
          <ac:chgData name="Steiner Andreas 6206 ED" userId="e6377c33-a923-4f14-8587-531c474c7b48" providerId="ADAL" clId="{6ECD27E6-B224-41CD-B4E0-E297462320DD}" dt="2023-11-24T11:38:27.735" v="135763"/>
          <ac:spMkLst>
            <pc:docMk/>
            <pc:sldMk cId="788765567" sldId="2147473977"/>
            <ac:spMk id="884" creationId="{15E2E0D9-01B4-2E78-C9EA-23EC910DB189}"/>
          </ac:spMkLst>
        </pc:spChg>
        <pc:spChg chg="add del mod">
          <ac:chgData name="Steiner Andreas 6206 ED" userId="e6377c33-a923-4f14-8587-531c474c7b48" providerId="ADAL" clId="{6ECD27E6-B224-41CD-B4E0-E297462320DD}" dt="2023-11-24T11:38:30.426" v="135918"/>
          <ac:spMkLst>
            <pc:docMk/>
            <pc:sldMk cId="788765567" sldId="2147473977"/>
            <ac:spMk id="885" creationId="{ED45E9B7-A726-3810-6B36-A78E8479D966}"/>
          </ac:spMkLst>
        </pc:spChg>
        <pc:spChg chg="add del mod">
          <ac:chgData name="Steiner Andreas 6206 ED" userId="e6377c33-a923-4f14-8587-531c474c7b48" providerId="ADAL" clId="{6ECD27E6-B224-41CD-B4E0-E297462320DD}" dt="2023-11-24T11:38:32.747" v="136073"/>
          <ac:spMkLst>
            <pc:docMk/>
            <pc:sldMk cId="788765567" sldId="2147473977"/>
            <ac:spMk id="886" creationId="{6E706028-71B3-6CC3-3C41-E0F86FFA9ACD}"/>
          </ac:spMkLst>
        </pc:spChg>
        <pc:spChg chg="add del mod">
          <ac:chgData name="Steiner Andreas 6206 ED" userId="e6377c33-a923-4f14-8587-531c474c7b48" providerId="ADAL" clId="{6ECD27E6-B224-41CD-B4E0-E297462320DD}" dt="2023-11-24T11:38:35.223" v="136228"/>
          <ac:spMkLst>
            <pc:docMk/>
            <pc:sldMk cId="788765567" sldId="2147473977"/>
            <ac:spMk id="887" creationId="{B50DDA46-9FFC-9528-3AF9-8B4CD81D0F2D}"/>
          </ac:spMkLst>
        </pc:spChg>
        <pc:spChg chg="add del mod">
          <ac:chgData name="Steiner Andreas 6206 ED" userId="e6377c33-a923-4f14-8587-531c474c7b48" providerId="ADAL" clId="{6ECD27E6-B224-41CD-B4E0-E297462320DD}" dt="2023-11-24T11:38:38.060" v="136383"/>
          <ac:spMkLst>
            <pc:docMk/>
            <pc:sldMk cId="788765567" sldId="2147473977"/>
            <ac:spMk id="888" creationId="{37174214-65CF-B9D0-C1D6-BA86DB3C9DA0}"/>
          </ac:spMkLst>
        </pc:spChg>
        <pc:spChg chg="add del mod">
          <ac:chgData name="Steiner Andreas 6206 ED" userId="e6377c33-a923-4f14-8587-531c474c7b48" providerId="ADAL" clId="{6ECD27E6-B224-41CD-B4E0-E297462320DD}" dt="2023-11-24T11:38:40.661" v="136538"/>
          <ac:spMkLst>
            <pc:docMk/>
            <pc:sldMk cId="788765567" sldId="2147473977"/>
            <ac:spMk id="889" creationId="{4296C7AB-17D9-C256-6793-3C233BB09582}"/>
          </ac:spMkLst>
        </pc:spChg>
        <pc:spChg chg="add del mod">
          <ac:chgData name="Steiner Andreas 6206 ED" userId="e6377c33-a923-4f14-8587-531c474c7b48" providerId="ADAL" clId="{6ECD27E6-B224-41CD-B4E0-E297462320DD}" dt="2023-11-24T11:38:43.046" v="136693"/>
          <ac:spMkLst>
            <pc:docMk/>
            <pc:sldMk cId="788765567" sldId="2147473977"/>
            <ac:spMk id="890" creationId="{FCE990DB-4C69-18B5-6A52-853073111552}"/>
          </ac:spMkLst>
        </pc:spChg>
        <pc:spChg chg="add del mod">
          <ac:chgData name="Steiner Andreas 6206 ED" userId="e6377c33-a923-4f14-8587-531c474c7b48" providerId="ADAL" clId="{6ECD27E6-B224-41CD-B4E0-E297462320DD}" dt="2023-11-24T11:38:45.465" v="136848"/>
          <ac:spMkLst>
            <pc:docMk/>
            <pc:sldMk cId="788765567" sldId="2147473977"/>
            <ac:spMk id="891" creationId="{42314AA0-70EE-7467-A47F-B12BED7788F7}"/>
          </ac:spMkLst>
        </pc:spChg>
        <pc:spChg chg="add del mod">
          <ac:chgData name="Steiner Andreas 6206 ED" userId="e6377c33-a923-4f14-8587-531c474c7b48" providerId="ADAL" clId="{6ECD27E6-B224-41CD-B4E0-E297462320DD}" dt="2023-11-24T11:38:47.798" v="137003"/>
          <ac:spMkLst>
            <pc:docMk/>
            <pc:sldMk cId="788765567" sldId="2147473977"/>
            <ac:spMk id="892" creationId="{76811C1F-0C95-3B19-6C94-91CF9F72687C}"/>
          </ac:spMkLst>
        </pc:spChg>
        <pc:spChg chg="add del mod">
          <ac:chgData name="Steiner Andreas 6206 ED" userId="e6377c33-a923-4f14-8587-531c474c7b48" providerId="ADAL" clId="{6ECD27E6-B224-41CD-B4E0-E297462320DD}" dt="2023-11-24T11:38:50.876" v="137158"/>
          <ac:spMkLst>
            <pc:docMk/>
            <pc:sldMk cId="788765567" sldId="2147473977"/>
            <ac:spMk id="893" creationId="{D1B991C3-F6A3-9053-F951-EFC21BEA516C}"/>
          </ac:spMkLst>
        </pc:spChg>
        <pc:spChg chg="add del mod">
          <ac:chgData name="Steiner Andreas 6206 ED" userId="e6377c33-a923-4f14-8587-531c474c7b48" providerId="ADAL" clId="{6ECD27E6-B224-41CD-B4E0-E297462320DD}" dt="2023-11-24T11:38:53.257" v="137313"/>
          <ac:spMkLst>
            <pc:docMk/>
            <pc:sldMk cId="788765567" sldId="2147473977"/>
            <ac:spMk id="894" creationId="{C38631BA-7884-9BDE-D2D8-A9199B178B83}"/>
          </ac:spMkLst>
        </pc:spChg>
        <pc:spChg chg="add del mod">
          <ac:chgData name="Steiner Andreas 6206 ED" userId="e6377c33-a923-4f14-8587-531c474c7b48" providerId="ADAL" clId="{6ECD27E6-B224-41CD-B4E0-E297462320DD}" dt="2023-11-24T11:38:55.734" v="137468"/>
          <ac:spMkLst>
            <pc:docMk/>
            <pc:sldMk cId="788765567" sldId="2147473977"/>
            <ac:spMk id="895" creationId="{F708FE76-6072-D48D-53C3-97D186675229}"/>
          </ac:spMkLst>
        </pc:spChg>
        <pc:spChg chg="add del mod">
          <ac:chgData name="Steiner Andreas 6206 ED" userId="e6377c33-a923-4f14-8587-531c474c7b48" providerId="ADAL" clId="{6ECD27E6-B224-41CD-B4E0-E297462320DD}" dt="2023-11-24T11:38:58.305" v="137623"/>
          <ac:spMkLst>
            <pc:docMk/>
            <pc:sldMk cId="788765567" sldId="2147473977"/>
            <ac:spMk id="896" creationId="{9D2A4380-2C06-7CE0-0EFC-550DA7DA66D8}"/>
          </ac:spMkLst>
        </pc:spChg>
        <pc:spChg chg="add del mod">
          <ac:chgData name="Steiner Andreas 6206 ED" userId="e6377c33-a923-4f14-8587-531c474c7b48" providerId="ADAL" clId="{6ECD27E6-B224-41CD-B4E0-E297462320DD}" dt="2023-11-24T11:39:00.585" v="137778"/>
          <ac:spMkLst>
            <pc:docMk/>
            <pc:sldMk cId="788765567" sldId="2147473977"/>
            <ac:spMk id="897" creationId="{07B47E22-86D7-425B-ADA8-DA562C2DF521}"/>
          </ac:spMkLst>
        </pc:spChg>
        <pc:spChg chg="add del mod">
          <ac:chgData name="Steiner Andreas 6206 ED" userId="e6377c33-a923-4f14-8587-531c474c7b48" providerId="ADAL" clId="{6ECD27E6-B224-41CD-B4E0-E297462320DD}" dt="2023-11-24T11:39:03.633" v="137933"/>
          <ac:spMkLst>
            <pc:docMk/>
            <pc:sldMk cId="788765567" sldId="2147473977"/>
            <ac:spMk id="898" creationId="{C5E7A620-431F-0C59-27E2-07651AEC76C3}"/>
          </ac:spMkLst>
        </pc:spChg>
        <pc:spChg chg="add del mod">
          <ac:chgData name="Steiner Andreas 6206 ED" userId="e6377c33-a923-4f14-8587-531c474c7b48" providerId="ADAL" clId="{6ECD27E6-B224-41CD-B4E0-E297462320DD}" dt="2023-11-24T11:39:06.266" v="138088"/>
          <ac:spMkLst>
            <pc:docMk/>
            <pc:sldMk cId="788765567" sldId="2147473977"/>
            <ac:spMk id="899" creationId="{A3D1D154-E92A-15DB-4AE0-0A241565DE39}"/>
          </ac:spMkLst>
        </pc:spChg>
        <pc:spChg chg="add del mod">
          <ac:chgData name="Steiner Andreas 6206 ED" userId="e6377c33-a923-4f14-8587-531c474c7b48" providerId="ADAL" clId="{6ECD27E6-B224-41CD-B4E0-E297462320DD}" dt="2023-11-24T11:39:08.766" v="138243"/>
          <ac:spMkLst>
            <pc:docMk/>
            <pc:sldMk cId="788765567" sldId="2147473977"/>
            <ac:spMk id="900" creationId="{9FC36C63-4615-6E20-5770-6D1EEF389505}"/>
          </ac:spMkLst>
        </pc:spChg>
        <pc:spChg chg="add del mod">
          <ac:chgData name="Steiner Andreas 6206 ED" userId="e6377c33-a923-4f14-8587-531c474c7b48" providerId="ADAL" clId="{6ECD27E6-B224-41CD-B4E0-E297462320DD}" dt="2023-11-24T11:39:11.130" v="138398"/>
          <ac:spMkLst>
            <pc:docMk/>
            <pc:sldMk cId="788765567" sldId="2147473977"/>
            <ac:spMk id="901" creationId="{6312F769-BEDC-D7E5-539B-1FE5CEFB7E9A}"/>
          </ac:spMkLst>
        </pc:spChg>
        <pc:spChg chg="add del mod">
          <ac:chgData name="Steiner Andreas 6206 ED" userId="e6377c33-a923-4f14-8587-531c474c7b48" providerId="ADAL" clId="{6ECD27E6-B224-41CD-B4E0-E297462320DD}" dt="2023-11-24T11:39:13.625" v="138553"/>
          <ac:spMkLst>
            <pc:docMk/>
            <pc:sldMk cId="788765567" sldId="2147473977"/>
            <ac:spMk id="902" creationId="{189D4580-FB4D-7AAB-BDF8-0A272C36849E}"/>
          </ac:spMkLst>
        </pc:spChg>
        <pc:spChg chg="add del mod">
          <ac:chgData name="Steiner Andreas 6206 ED" userId="e6377c33-a923-4f14-8587-531c474c7b48" providerId="ADAL" clId="{6ECD27E6-B224-41CD-B4E0-E297462320DD}" dt="2023-11-24T11:39:16.318" v="138708"/>
          <ac:spMkLst>
            <pc:docMk/>
            <pc:sldMk cId="788765567" sldId="2147473977"/>
            <ac:spMk id="903" creationId="{9BE077B0-24FA-6748-BC6D-3C99FB86F933}"/>
          </ac:spMkLst>
        </pc:spChg>
        <pc:spChg chg="add del mod">
          <ac:chgData name="Steiner Andreas 6206 ED" userId="e6377c33-a923-4f14-8587-531c474c7b48" providerId="ADAL" clId="{6ECD27E6-B224-41CD-B4E0-E297462320DD}" dt="2023-11-24T11:39:19.122" v="138863"/>
          <ac:spMkLst>
            <pc:docMk/>
            <pc:sldMk cId="788765567" sldId="2147473977"/>
            <ac:spMk id="904" creationId="{2B045B8E-9EEF-6C30-DA7A-BE22C2ACB8BE}"/>
          </ac:spMkLst>
        </pc:spChg>
        <pc:spChg chg="add del mod">
          <ac:chgData name="Steiner Andreas 6206 ED" userId="e6377c33-a923-4f14-8587-531c474c7b48" providerId="ADAL" clId="{6ECD27E6-B224-41CD-B4E0-E297462320DD}" dt="2023-11-24T11:39:21.804" v="139018"/>
          <ac:spMkLst>
            <pc:docMk/>
            <pc:sldMk cId="788765567" sldId="2147473977"/>
            <ac:spMk id="905" creationId="{24F51D1B-531D-ECE3-D7AB-66EAD9F30DA8}"/>
          </ac:spMkLst>
        </pc:spChg>
        <pc:spChg chg="add del mod">
          <ac:chgData name="Steiner Andreas 6206 ED" userId="e6377c33-a923-4f14-8587-531c474c7b48" providerId="ADAL" clId="{6ECD27E6-B224-41CD-B4E0-E297462320DD}" dt="2023-11-24T11:39:24.405" v="139173"/>
          <ac:spMkLst>
            <pc:docMk/>
            <pc:sldMk cId="788765567" sldId="2147473977"/>
            <ac:spMk id="906" creationId="{3DD35E50-9A06-5055-2D7B-BC04C5016562}"/>
          </ac:spMkLst>
        </pc:spChg>
        <pc:spChg chg="add del mod">
          <ac:chgData name="Steiner Andreas 6206 ED" userId="e6377c33-a923-4f14-8587-531c474c7b48" providerId="ADAL" clId="{6ECD27E6-B224-41CD-B4E0-E297462320DD}" dt="2023-11-24T11:39:27.130" v="139328"/>
          <ac:spMkLst>
            <pc:docMk/>
            <pc:sldMk cId="788765567" sldId="2147473977"/>
            <ac:spMk id="907" creationId="{1756FE1F-2DF4-C170-D910-E957F5FDE96C}"/>
          </ac:spMkLst>
        </pc:spChg>
        <pc:spChg chg="add del mod">
          <ac:chgData name="Steiner Andreas 6206 ED" userId="e6377c33-a923-4f14-8587-531c474c7b48" providerId="ADAL" clId="{6ECD27E6-B224-41CD-B4E0-E297462320DD}" dt="2023-11-24T11:39:29.774" v="139483"/>
          <ac:spMkLst>
            <pc:docMk/>
            <pc:sldMk cId="788765567" sldId="2147473977"/>
            <ac:spMk id="908" creationId="{0FF1F114-DF3C-AA50-4093-84DBA64FAEDA}"/>
          </ac:spMkLst>
        </pc:spChg>
        <pc:spChg chg="add del mod">
          <ac:chgData name="Steiner Andreas 6206 ED" userId="e6377c33-a923-4f14-8587-531c474c7b48" providerId="ADAL" clId="{6ECD27E6-B224-41CD-B4E0-E297462320DD}" dt="2023-11-24T11:39:32.866" v="139638"/>
          <ac:spMkLst>
            <pc:docMk/>
            <pc:sldMk cId="788765567" sldId="2147473977"/>
            <ac:spMk id="909" creationId="{C5F2A791-876F-6695-1B20-C729EDBDB53E}"/>
          </ac:spMkLst>
        </pc:spChg>
        <pc:spChg chg="add del mod">
          <ac:chgData name="Steiner Andreas 6206 ED" userId="e6377c33-a923-4f14-8587-531c474c7b48" providerId="ADAL" clId="{6ECD27E6-B224-41CD-B4E0-E297462320DD}" dt="2023-11-24T11:39:35.502" v="139793"/>
          <ac:spMkLst>
            <pc:docMk/>
            <pc:sldMk cId="788765567" sldId="2147473977"/>
            <ac:spMk id="910" creationId="{DFB6724F-AD5A-B790-73FA-347B0EDDE176}"/>
          </ac:spMkLst>
        </pc:spChg>
        <pc:spChg chg="add del mod">
          <ac:chgData name="Steiner Andreas 6206 ED" userId="e6377c33-a923-4f14-8587-531c474c7b48" providerId="ADAL" clId="{6ECD27E6-B224-41CD-B4E0-E297462320DD}" dt="2023-11-24T11:39:38.453" v="139948"/>
          <ac:spMkLst>
            <pc:docMk/>
            <pc:sldMk cId="788765567" sldId="2147473977"/>
            <ac:spMk id="911" creationId="{4431439A-7B45-23EE-176E-281AF6528DF6}"/>
          </ac:spMkLst>
        </pc:spChg>
        <pc:spChg chg="add del mod">
          <ac:chgData name="Steiner Andreas 6206 ED" userId="e6377c33-a923-4f14-8587-531c474c7b48" providerId="ADAL" clId="{6ECD27E6-B224-41CD-B4E0-E297462320DD}" dt="2023-11-24T11:39:41.112" v="140103"/>
          <ac:spMkLst>
            <pc:docMk/>
            <pc:sldMk cId="788765567" sldId="2147473977"/>
            <ac:spMk id="912" creationId="{354903FC-4231-ACF7-7A23-97D181B79F42}"/>
          </ac:spMkLst>
        </pc:spChg>
        <pc:spChg chg="add del mod">
          <ac:chgData name="Steiner Andreas 6206 ED" userId="e6377c33-a923-4f14-8587-531c474c7b48" providerId="ADAL" clId="{6ECD27E6-B224-41CD-B4E0-E297462320DD}" dt="2023-11-24T11:39:43.781" v="140258"/>
          <ac:spMkLst>
            <pc:docMk/>
            <pc:sldMk cId="788765567" sldId="2147473977"/>
            <ac:spMk id="913" creationId="{44B91B6E-6625-E94C-1F2B-AC9EA6B3BEF2}"/>
          </ac:spMkLst>
        </pc:spChg>
        <pc:spChg chg="add del mod">
          <ac:chgData name="Steiner Andreas 6206 ED" userId="e6377c33-a923-4f14-8587-531c474c7b48" providerId="ADAL" clId="{6ECD27E6-B224-41CD-B4E0-E297462320DD}" dt="2023-11-24T11:39:46.290" v="140413"/>
          <ac:spMkLst>
            <pc:docMk/>
            <pc:sldMk cId="788765567" sldId="2147473977"/>
            <ac:spMk id="914" creationId="{DE730391-D44A-9B70-0894-7F8251E6BF00}"/>
          </ac:spMkLst>
        </pc:spChg>
        <pc:spChg chg="add del mod">
          <ac:chgData name="Steiner Andreas 6206 ED" userId="e6377c33-a923-4f14-8587-531c474c7b48" providerId="ADAL" clId="{6ECD27E6-B224-41CD-B4E0-E297462320DD}" dt="2023-11-24T11:39:48.716" v="140568"/>
          <ac:spMkLst>
            <pc:docMk/>
            <pc:sldMk cId="788765567" sldId="2147473977"/>
            <ac:spMk id="915" creationId="{B5AE1404-80B2-A195-BAB1-E16E9EE11AD3}"/>
          </ac:spMkLst>
        </pc:spChg>
        <pc:spChg chg="add del mod">
          <ac:chgData name="Steiner Andreas 6206 ED" userId="e6377c33-a923-4f14-8587-531c474c7b48" providerId="ADAL" clId="{6ECD27E6-B224-41CD-B4E0-E297462320DD}" dt="2023-11-24T11:39:51.705" v="140723"/>
          <ac:spMkLst>
            <pc:docMk/>
            <pc:sldMk cId="788765567" sldId="2147473977"/>
            <ac:spMk id="916" creationId="{C6AC8C77-543B-4FA3-3238-1E9FF6B74257}"/>
          </ac:spMkLst>
        </pc:spChg>
        <pc:spChg chg="add del mod">
          <ac:chgData name="Steiner Andreas 6206 ED" userId="e6377c33-a923-4f14-8587-531c474c7b48" providerId="ADAL" clId="{6ECD27E6-B224-41CD-B4E0-E297462320DD}" dt="2023-11-24T11:39:54.627" v="140878"/>
          <ac:spMkLst>
            <pc:docMk/>
            <pc:sldMk cId="788765567" sldId="2147473977"/>
            <ac:spMk id="917" creationId="{0C5456F5-9759-3B54-76AC-664148C58884}"/>
          </ac:spMkLst>
        </pc:spChg>
        <pc:spChg chg="add del mod">
          <ac:chgData name="Steiner Andreas 6206 ED" userId="e6377c33-a923-4f14-8587-531c474c7b48" providerId="ADAL" clId="{6ECD27E6-B224-41CD-B4E0-E297462320DD}" dt="2023-11-24T11:39:57.111" v="141033"/>
          <ac:spMkLst>
            <pc:docMk/>
            <pc:sldMk cId="788765567" sldId="2147473977"/>
            <ac:spMk id="918" creationId="{2460A931-50F8-DD76-3441-30DAA9BE10D6}"/>
          </ac:spMkLst>
        </pc:spChg>
        <pc:spChg chg="add del mod">
          <ac:chgData name="Steiner Andreas 6206 ED" userId="e6377c33-a923-4f14-8587-531c474c7b48" providerId="ADAL" clId="{6ECD27E6-B224-41CD-B4E0-E297462320DD}" dt="2023-11-24T11:39:59.477" v="141188"/>
          <ac:spMkLst>
            <pc:docMk/>
            <pc:sldMk cId="788765567" sldId="2147473977"/>
            <ac:spMk id="919" creationId="{222574EE-514D-4A43-20B5-EF09F1A7B2FD}"/>
          </ac:spMkLst>
        </pc:spChg>
        <pc:spChg chg="add del mod">
          <ac:chgData name="Steiner Andreas 6206 ED" userId="e6377c33-a923-4f14-8587-531c474c7b48" providerId="ADAL" clId="{6ECD27E6-B224-41CD-B4E0-E297462320DD}" dt="2023-11-24T11:40:02.284" v="141343"/>
          <ac:spMkLst>
            <pc:docMk/>
            <pc:sldMk cId="788765567" sldId="2147473977"/>
            <ac:spMk id="920" creationId="{9A256856-A9F7-5BAD-0CD7-E2FA8D26ABC8}"/>
          </ac:spMkLst>
        </pc:spChg>
        <pc:spChg chg="add del mod">
          <ac:chgData name="Steiner Andreas 6206 ED" userId="e6377c33-a923-4f14-8587-531c474c7b48" providerId="ADAL" clId="{6ECD27E6-B224-41CD-B4E0-E297462320DD}" dt="2023-11-24T11:40:05.080" v="141498"/>
          <ac:spMkLst>
            <pc:docMk/>
            <pc:sldMk cId="788765567" sldId="2147473977"/>
            <ac:spMk id="921" creationId="{C6C7AB98-E28F-C0D9-B2D3-DDA7680F5563}"/>
          </ac:spMkLst>
        </pc:spChg>
        <pc:spChg chg="add del mod">
          <ac:chgData name="Steiner Andreas 6206 ED" userId="e6377c33-a923-4f14-8587-531c474c7b48" providerId="ADAL" clId="{6ECD27E6-B224-41CD-B4E0-E297462320DD}" dt="2023-11-24T11:40:07.823" v="141653"/>
          <ac:spMkLst>
            <pc:docMk/>
            <pc:sldMk cId="788765567" sldId="2147473977"/>
            <ac:spMk id="922" creationId="{67CD8213-0D9D-AED1-3B22-A71D4B6E7ABB}"/>
          </ac:spMkLst>
        </pc:spChg>
        <pc:spChg chg="add del mod">
          <ac:chgData name="Steiner Andreas 6206 ED" userId="e6377c33-a923-4f14-8587-531c474c7b48" providerId="ADAL" clId="{6ECD27E6-B224-41CD-B4E0-E297462320DD}" dt="2023-11-24T11:40:10.276" v="141808"/>
          <ac:spMkLst>
            <pc:docMk/>
            <pc:sldMk cId="788765567" sldId="2147473977"/>
            <ac:spMk id="923" creationId="{82EDC36D-017A-700A-F209-38485AB21D8E}"/>
          </ac:spMkLst>
        </pc:spChg>
        <pc:spChg chg="add del mod">
          <ac:chgData name="Steiner Andreas 6206 ED" userId="e6377c33-a923-4f14-8587-531c474c7b48" providerId="ADAL" clId="{6ECD27E6-B224-41CD-B4E0-E297462320DD}" dt="2023-11-24T11:40:12.746" v="141963"/>
          <ac:spMkLst>
            <pc:docMk/>
            <pc:sldMk cId="788765567" sldId="2147473977"/>
            <ac:spMk id="924" creationId="{87ED736E-693A-EFF5-4613-607D0464AB42}"/>
          </ac:spMkLst>
        </pc:spChg>
        <pc:spChg chg="add del mod">
          <ac:chgData name="Steiner Andreas 6206 ED" userId="e6377c33-a923-4f14-8587-531c474c7b48" providerId="ADAL" clId="{6ECD27E6-B224-41CD-B4E0-E297462320DD}" dt="2023-11-24T11:40:16.693" v="142118"/>
          <ac:spMkLst>
            <pc:docMk/>
            <pc:sldMk cId="788765567" sldId="2147473977"/>
            <ac:spMk id="925" creationId="{87F21CE1-5FC5-3723-0D99-CE1BD4172366}"/>
          </ac:spMkLst>
        </pc:spChg>
        <pc:spChg chg="add del mod">
          <ac:chgData name="Steiner Andreas 6206 ED" userId="e6377c33-a923-4f14-8587-531c474c7b48" providerId="ADAL" clId="{6ECD27E6-B224-41CD-B4E0-E297462320DD}" dt="2023-11-24T11:40:19.946" v="142273"/>
          <ac:spMkLst>
            <pc:docMk/>
            <pc:sldMk cId="788765567" sldId="2147473977"/>
            <ac:spMk id="926" creationId="{737AB52C-CA89-EB9C-BE29-7EEC5B6978C7}"/>
          </ac:spMkLst>
        </pc:spChg>
        <pc:spChg chg="add del mod">
          <ac:chgData name="Steiner Andreas 6206 ED" userId="e6377c33-a923-4f14-8587-531c474c7b48" providerId="ADAL" clId="{6ECD27E6-B224-41CD-B4E0-E297462320DD}" dt="2023-11-24T11:40:22.700" v="142428"/>
          <ac:spMkLst>
            <pc:docMk/>
            <pc:sldMk cId="788765567" sldId="2147473977"/>
            <ac:spMk id="927" creationId="{BB567C9E-4B84-7926-7E52-B5A612A2573F}"/>
          </ac:spMkLst>
        </pc:spChg>
        <pc:spChg chg="add del mod">
          <ac:chgData name="Steiner Andreas 6206 ED" userId="e6377c33-a923-4f14-8587-531c474c7b48" providerId="ADAL" clId="{6ECD27E6-B224-41CD-B4E0-E297462320DD}" dt="2023-11-24T11:40:25.411" v="142583"/>
          <ac:spMkLst>
            <pc:docMk/>
            <pc:sldMk cId="788765567" sldId="2147473977"/>
            <ac:spMk id="928" creationId="{DF753FB8-2656-288C-84C3-3DEBD14FCC0A}"/>
          </ac:spMkLst>
        </pc:spChg>
        <pc:spChg chg="add del mod">
          <ac:chgData name="Steiner Andreas 6206 ED" userId="e6377c33-a923-4f14-8587-531c474c7b48" providerId="ADAL" clId="{6ECD27E6-B224-41CD-B4E0-E297462320DD}" dt="2023-11-24T11:40:28.499" v="142738"/>
          <ac:spMkLst>
            <pc:docMk/>
            <pc:sldMk cId="788765567" sldId="2147473977"/>
            <ac:spMk id="929" creationId="{68883D25-516C-5821-5F42-A9CBBDB00A0E}"/>
          </ac:spMkLst>
        </pc:spChg>
        <pc:spChg chg="add del mod">
          <ac:chgData name="Steiner Andreas 6206 ED" userId="e6377c33-a923-4f14-8587-531c474c7b48" providerId="ADAL" clId="{6ECD27E6-B224-41CD-B4E0-E297462320DD}" dt="2023-11-24T11:40:31.148" v="142893"/>
          <ac:spMkLst>
            <pc:docMk/>
            <pc:sldMk cId="788765567" sldId="2147473977"/>
            <ac:spMk id="930" creationId="{70A98064-FCEE-0B99-DB3E-542166B96239}"/>
          </ac:spMkLst>
        </pc:spChg>
        <pc:spChg chg="add del mod">
          <ac:chgData name="Steiner Andreas 6206 ED" userId="e6377c33-a923-4f14-8587-531c474c7b48" providerId="ADAL" clId="{6ECD27E6-B224-41CD-B4E0-E297462320DD}" dt="2023-11-24T11:40:33.697" v="143048"/>
          <ac:spMkLst>
            <pc:docMk/>
            <pc:sldMk cId="788765567" sldId="2147473977"/>
            <ac:spMk id="931" creationId="{E57F6377-58C8-E6D6-D362-337AE3E17ADB}"/>
          </ac:spMkLst>
        </pc:spChg>
        <pc:spChg chg="add del mod">
          <ac:chgData name="Steiner Andreas 6206 ED" userId="e6377c33-a923-4f14-8587-531c474c7b48" providerId="ADAL" clId="{6ECD27E6-B224-41CD-B4E0-E297462320DD}" dt="2023-11-24T11:40:36.504" v="143203"/>
          <ac:spMkLst>
            <pc:docMk/>
            <pc:sldMk cId="788765567" sldId="2147473977"/>
            <ac:spMk id="932" creationId="{E94818EE-69C2-8BAA-F47B-559BE605D30B}"/>
          </ac:spMkLst>
        </pc:spChg>
        <pc:spChg chg="add del mod">
          <ac:chgData name="Steiner Andreas 6206 ED" userId="e6377c33-a923-4f14-8587-531c474c7b48" providerId="ADAL" clId="{6ECD27E6-B224-41CD-B4E0-E297462320DD}" dt="2023-11-24T11:40:39.535" v="143358"/>
          <ac:spMkLst>
            <pc:docMk/>
            <pc:sldMk cId="788765567" sldId="2147473977"/>
            <ac:spMk id="933" creationId="{CFB81D0E-6CB4-09A9-6B3C-6607D5D92028}"/>
          </ac:spMkLst>
        </pc:spChg>
        <pc:spChg chg="add del mod">
          <ac:chgData name="Steiner Andreas 6206 ED" userId="e6377c33-a923-4f14-8587-531c474c7b48" providerId="ADAL" clId="{6ECD27E6-B224-41CD-B4E0-E297462320DD}" dt="2023-11-24T11:40:42.421" v="143513"/>
          <ac:spMkLst>
            <pc:docMk/>
            <pc:sldMk cId="788765567" sldId="2147473977"/>
            <ac:spMk id="934" creationId="{EEC1825C-9532-5F8F-D6D7-7051A7AFC180}"/>
          </ac:spMkLst>
        </pc:spChg>
        <pc:spChg chg="add del mod">
          <ac:chgData name="Steiner Andreas 6206 ED" userId="e6377c33-a923-4f14-8587-531c474c7b48" providerId="ADAL" clId="{6ECD27E6-B224-41CD-B4E0-E297462320DD}" dt="2023-11-24T11:40:45.083" v="143668"/>
          <ac:spMkLst>
            <pc:docMk/>
            <pc:sldMk cId="788765567" sldId="2147473977"/>
            <ac:spMk id="935" creationId="{6FF520F3-4138-CB75-4F2D-12EAD29F5449}"/>
          </ac:spMkLst>
        </pc:spChg>
        <pc:spChg chg="add del mod">
          <ac:chgData name="Steiner Andreas 6206 ED" userId="e6377c33-a923-4f14-8587-531c474c7b48" providerId="ADAL" clId="{6ECD27E6-B224-41CD-B4E0-E297462320DD}" dt="2023-11-24T11:40:47.848" v="143823"/>
          <ac:spMkLst>
            <pc:docMk/>
            <pc:sldMk cId="788765567" sldId="2147473977"/>
            <ac:spMk id="936" creationId="{79800C4A-B296-95E5-91AF-E227ED2EDEE7}"/>
          </ac:spMkLst>
        </pc:spChg>
        <pc:spChg chg="add del mod">
          <ac:chgData name="Steiner Andreas 6206 ED" userId="e6377c33-a923-4f14-8587-531c474c7b48" providerId="ADAL" clId="{6ECD27E6-B224-41CD-B4E0-E297462320DD}" dt="2023-11-24T11:40:50.646" v="143978"/>
          <ac:spMkLst>
            <pc:docMk/>
            <pc:sldMk cId="788765567" sldId="2147473977"/>
            <ac:spMk id="937" creationId="{B65F06AF-BCEA-1791-92B3-CFF1B0A2D5B1}"/>
          </ac:spMkLst>
        </pc:spChg>
        <pc:spChg chg="add del mod">
          <ac:chgData name="Steiner Andreas 6206 ED" userId="e6377c33-a923-4f14-8587-531c474c7b48" providerId="ADAL" clId="{6ECD27E6-B224-41CD-B4E0-E297462320DD}" dt="2023-11-24T11:40:53.512" v="144133"/>
          <ac:spMkLst>
            <pc:docMk/>
            <pc:sldMk cId="788765567" sldId="2147473977"/>
            <ac:spMk id="938" creationId="{87BBF265-71C4-892A-F581-C2E4B2CF6518}"/>
          </ac:spMkLst>
        </pc:spChg>
        <pc:spChg chg="add del mod">
          <ac:chgData name="Steiner Andreas 6206 ED" userId="e6377c33-a923-4f14-8587-531c474c7b48" providerId="ADAL" clId="{6ECD27E6-B224-41CD-B4E0-E297462320DD}" dt="2023-11-24T11:40:56.250" v="144288"/>
          <ac:spMkLst>
            <pc:docMk/>
            <pc:sldMk cId="788765567" sldId="2147473977"/>
            <ac:spMk id="939" creationId="{8E484395-AAEA-930D-09F8-90BEED08771D}"/>
          </ac:spMkLst>
        </pc:spChg>
        <pc:spChg chg="add del mod">
          <ac:chgData name="Steiner Andreas 6206 ED" userId="e6377c33-a923-4f14-8587-531c474c7b48" providerId="ADAL" clId="{6ECD27E6-B224-41CD-B4E0-E297462320DD}" dt="2023-11-24T11:40:58.772" v="144443"/>
          <ac:spMkLst>
            <pc:docMk/>
            <pc:sldMk cId="788765567" sldId="2147473977"/>
            <ac:spMk id="940" creationId="{D1E7FC7D-3844-7F9F-8CAF-AFA91EBEAE95}"/>
          </ac:spMkLst>
        </pc:spChg>
        <pc:spChg chg="add del mod">
          <ac:chgData name="Steiner Andreas 6206 ED" userId="e6377c33-a923-4f14-8587-531c474c7b48" providerId="ADAL" clId="{6ECD27E6-B224-41CD-B4E0-E297462320DD}" dt="2023-11-24T11:41:01.362" v="144598"/>
          <ac:spMkLst>
            <pc:docMk/>
            <pc:sldMk cId="788765567" sldId="2147473977"/>
            <ac:spMk id="941" creationId="{D10F1767-1725-883F-827C-E4CED1A092BA}"/>
          </ac:spMkLst>
        </pc:spChg>
        <pc:spChg chg="add del mod">
          <ac:chgData name="Steiner Andreas 6206 ED" userId="e6377c33-a923-4f14-8587-531c474c7b48" providerId="ADAL" clId="{6ECD27E6-B224-41CD-B4E0-E297462320DD}" dt="2023-11-24T11:41:04.079" v="144753"/>
          <ac:spMkLst>
            <pc:docMk/>
            <pc:sldMk cId="788765567" sldId="2147473977"/>
            <ac:spMk id="942" creationId="{CB44E73F-F202-3668-D2A3-B3F80A41C8AC}"/>
          </ac:spMkLst>
        </pc:spChg>
        <pc:spChg chg="add del mod">
          <ac:chgData name="Steiner Andreas 6206 ED" userId="e6377c33-a923-4f14-8587-531c474c7b48" providerId="ADAL" clId="{6ECD27E6-B224-41CD-B4E0-E297462320DD}" dt="2023-11-24T11:41:07.143" v="144908"/>
          <ac:spMkLst>
            <pc:docMk/>
            <pc:sldMk cId="788765567" sldId="2147473977"/>
            <ac:spMk id="943" creationId="{D1AF338F-2D1C-1091-40FF-45B263977840}"/>
          </ac:spMkLst>
        </pc:spChg>
        <pc:spChg chg="add del mod">
          <ac:chgData name="Steiner Andreas 6206 ED" userId="e6377c33-a923-4f14-8587-531c474c7b48" providerId="ADAL" clId="{6ECD27E6-B224-41CD-B4E0-E297462320DD}" dt="2023-11-24T11:41:10.243" v="145063"/>
          <ac:spMkLst>
            <pc:docMk/>
            <pc:sldMk cId="788765567" sldId="2147473977"/>
            <ac:spMk id="944" creationId="{0C2938CA-0EB5-5AF8-0666-1BBD070B12F0}"/>
          </ac:spMkLst>
        </pc:spChg>
        <pc:spChg chg="add del mod">
          <ac:chgData name="Steiner Andreas 6206 ED" userId="e6377c33-a923-4f14-8587-531c474c7b48" providerId="ADAL" clId="{6ECD27E6-B224-41CD-B4E0-E297462320DD}" dt="2023-11-24T11:41:13.149" v="145218"/>
          <ac:spMkLst>
            <pc:docMk/>
            <pc:sldMk cId="788765567" sldId="2147473977"/>
            <ac:spMk id="945" creationId="{B2DBA1F4-D5BC-E79B-1703-F94D4D5EFAF2}"/>
          </ac:spMkLst>
        </pc:spChg>
        <pc:spChg chg="add del mod">
          <ac:chgData name="Steiner Andreas 6206 ED" userId="e6377c33-a923-4f14-8587-531c474c7b48" providerId="ADAL" clId="{6ECD27E6-B224-41CD-B4E0-E297462320DD}" dt="2023-11-24T11:41:16.174" v="145373"/>
          <ac:spMkLst>
            <pc:docMk/>
            <pc:sldMk cId="788765567" sldId="2147473977"/>
            <ac:spMk id="946" creationId="{F8607ED9-087F-FA36-3582-95C92804C675}"/>
          </ac:spMkLst>
        </pc:spChg>
        <pc:spChg chg="add del mod">
          <ac:chgData name="Steiner Andreas 6206 ED" userId="e6377c33-a923-4f14-8587-531c474c7b48" providerId="ADAL" clId="{6ECD27E6-B224-41CD-B4E0-E297462320DD}" dt="2023-11-24T11:41:19.418" v="145528"/>
          <ac:spMkLst>
            <pc:docMk/>
            <pc:sldMk cId="788765567" sldId="2147473977"/>
            <ac:spMk id="947" creationId="{A988FD42-ED58-3FC4-D798-F0B3B054E4DA}"/>
          </ac:spMkLst>
        </pc:spChg>
        <pc:spChg chg="add del mod">
          <ac:chgData name="Steiner Andreas 6206 ED" userId="e6377c33-a923-4f14-8587-531c474c7b48" providerId="ADAL" clId="{6ECD27E6-B224-41CD-B4E0-E297462320DD}" dt="2023-11-24T11:41:21.948" v="145683"/>
          <ac:spMkLst>
            <pc:docMk/>
            <pc:sldMk cId="788765567" sldId="2147473977"/>
            <ac:spMk id="948" creationId="{3B993934-B3FA-AFE1-30C9-27F8D783C4F3}"/>
          </ac:spMkLst>
        </pc:spChg>
        <pc:spChg chg="add del mod">
          <ac:chgData name="Steiner Andreas 6206 ED" userId="e6377c33-a923-4f14-8587-531c474c7b48" providerId="ADAL" clId="{6ECD27E6-B224-41CD-B4E0-E297462320DD}" dt="2023-11-24T11:41:25.808" v="145838"/>
          <ac:spMkLst>
            <pc:docMk/>
            <pc:sldMk cId="788765567" sldId="2147473977"/>
            <ac:spMk id="949" creationId="{704CE109-4CEF-643C-34DB-BA1DEBA4AB70}"/>
          </ac:spMkLst>
        </pc:spChg>
        <pc:spChg chg="add del mod">
          <ac:chgData name="Steiner Andreas 6206 ED" userId="e6377c33-a923-4f14-8587-531c474c7b48" providerId="ADAL" clId="{6ECD27E6-B224-41CD-B4E0-E297462320DD}" dt="2023-11-24T11:41:28.874" v="145993"/>
          <ac:spMkLst>
            <pc:docMk/>
            <pc:sldMk cId="788765567" sldId="2147473977"/>
            <ac:spMk id="950" creationId="{7B52B7B1-9ADB-FFBA-622F-B3540A668FB9}"/>
          </ac:spMkLst>
        </pc:spChg>
        <pc:spChg chg="add del mod">
          <ac:chgData name="Steiner Andreas 6206 ED" userId="e6377c33-a923-4f14-8587-531c474c7b48" providerId="ADAL" clId="{6ECD27E6-B224-41CD-B4E0-E297462320DD}" dt="2023-11-24T11:41:31.473" v="146148"/>
          <ac:spMkLst>
            <pc:docMk/>
            <pc:sldMk cId="788765567" sldId="2147473977"/>
            <ac:spMk id="951" creationId="{E6F38EEE-495B-23C9-9B2A-0A9A2F0E9B34}"/>
          </ac:spMkLst>
        </pc:spChg>
        <pc:spChg chg="add del mod">
          <ac:chgData name="Steiner Andreas 6206 ED" userId="e6377c33-a923-4f14-8587-531c474c7b48" providerId="ADAL" clId="{6ECD27E6-B224-41CD-B4E0-E297462320DD}" dt="2023-11-24T11:41:33.625" v="146303"/>
          <ac:spMkLst>
            <pc:docMk/>
            <pc:sldMk cId="788765567" sldId="2147473977"/>
            <ac:spMk id="952" creationId="{A3F3CA93-81DF-0DB5-8230-8DC17C6338F9}"/>
          </ac:spMkLst>
        </pc:spChg>
        <pc:spChg chg="add del mod">
          <ac:chgData name="Steiner Andreas 6206 ED" userId="e6377c33-a923-4f14-8587-531c474c7b48" providerId="ADAL" clId="{6ECD27E6-B224-41CD-B4E0-E297462320DD}" dt="2023-11-24T11:41:35.743" v="146458"/>
          <ac:spMkLst>
            <pc:docMk/>
            <pc:sldMk cId="788765567" sldId="2147473977"/>
            <ac:spMk id="953" creationId="{25169791-7549-2989-CB56-5CF1A147274B}"/>
          </ac:spMkLst>
        </pc:spChg>
        <pc:spChg chg="add del mod">
          <ac:chgData name="Steiner Andreas 6206 ED" userId="e6377c33-a923-4f14-8587-531c474c7b48" providerId="ADAL" clId="{6ECD27E6-B224-41CD-B4E0-E297462320DD}" dt="2023-11-24T11:41:37.969" v="146613"/>
          <ac:spMkLst>
            <pc:docMk/>
            <pc:sldMk cId="788765567" sldId="2147473977"/>
            <ac:spMk id="954" creationId="{F229D03C-EDE7-06A2-9D9F-7251973CBA02}"/>
          </ac:spMkLst>
        </pc:spChg>
        <pc:spChg chg="add del mod">
          <ac:chgData name="Steiner Andreas 6206 ED" userId="e6377c33-a923-4f14-8587-531c474c7b48" providerId="ADAL" clId="{6ECD27E6-B224-41CD-B4E0-E297462320DD}" dt="2023-11-24T11:41:40.763" v="146768"/>
          <ac:spMkLst>
            <pc:docMk/>
            <pc:sldMk cId="788765567" sldId="2147473977"/>
            <ac:spMk id="955" creationId="{97F1A60A-1CDA-FA86-4755-081A54C0EAEB}"/>
          </ac:spMkLst>
        </pc:spChg>
        <pc:spChg chg="add del mod">
          <ac:chgData name="Steiner Andreas 6206 ED" userId="e6377c33-a923-4f14-8587-531c474c7b48" providerId="ADAL" clId="{6ECD27E6-B224-41CD-B4E0-E297462320DD}" dt="2023-11-24T11:41:42.875" v="146923"/>
          <ac:spMkLst>
            <pc:docMk/>
            <pc:sldMk cId="788765567" sldId="2147473977"/>
            <ac:spMk id="956" creationId="{73420A60-CCF0-D8BE-436F-BB14EE714236}"/>
          </ac:spMkLst>
        </pc:spChg>
        <pc:spChg chg="add del mod">
          <ac:chgData name="Steiner Andreas 6206 ED" userId="e6377c33-a923-4f14-8587-531c474c7b48" providerId="ADAL" clId="{6ECD27E6-B224-41CD-B4E0-E297462320DD}" dt="2023-11-24T11:41:44.943" v="147078"/>
          <ac:spMkLst>
            <pc:docMk/>
            <pc:sldMk cId="788765567" sldId="2147473977"/>
            <ac:spMk id="957" creationId="{852CADFA-19DA-5D81-91B0-02538C6A8688}"/>
          </ac:spMkLst>
        </pc:spChg>
        <pc:spChg chg="add del mod">
          <ac:chgData name="Steiner Andreas 6206 ED" userId="e6377c33-a923-4f14-8587-531c474c7b48" providerId="ADAL" clId="{6ECD27E6-B224-41CD-B4E0-E297462320DD}" dt="2023-11-24T11:41:47.484" v="147233"/>
          <ac:spMkLst>
            <pc:docMk/>
            <pc:sldMk cId="788765567" sldId="2147473977"/>
            <ac:spMk id="958" creationId="{40FC9609-DF69-0BF8-49C9-AF162C3405A4}"/>
          </ac:spMkLst>
        </pc:spChg>
        <pc:spChg chg="add del mod">
          <ac:chgData name="Steiner Andreas 6206 ED" userId="e6377c33-a923-4f14-8587-531c474c7b48" providerId="ADAL" clId="{6ECD27E6-B224-41CD-B4E0-E297462320DD}" dt="2023-11-24T11:41:49.595" v="147388"/>
          <ac:spMkLst>
            <pc:docMk/>
            <pc:sldMk cId="788765567" sldId="2147473977"/>
            <ac:spMk id="959" creationId="{063CE4AC-7706-703D-FEC4-850EC68990AD}"/>
          </ac:spMkLst>
        </pc:spChg>
        <pc:spChg chg="add del mod">
          <ac:chgData name="Steiner Andreas 6206 ED" userId="e6377c33-a923-4f14-8587-531c474c7b48" providerId="ADAL" clId="{6ECD27E6-B224-41CD-B4E0-E297462320DD}" dt="2023-11-24T11:41:51.951" v="147543"/>
          <ac:spMkLst>
            <pc:docMk/>
            <pc:sldMk cId="788765567" sldId="2147473977"/>
            <ac:spMk id="960" creationId="{2450AD79-113A-6C52-45EE-21B1E835BFE0}"/>
          </ac:spMkLst>
        </pc:spChg>
        <pc:spChg chg="add del mod">
          <ac:chgData name="Steiner Andreas 6206 ED" userId="e6377c33-a923-4f14-8587-531c474c7b48" providerId="ADAL" clId="{6ECD27E6-B224-41CD-B4E0-E297462320DD}" dt="2023-11-24T11:41:54.326" v="147698"/>
          <ac:spMkLst>
            <pc:docMk/>
            <pc:sldMk cId="788765567" sldId="2147473977"/>
            <ac:spMk id="961" creationId="{E381DC15-5D9E-B5DD-9E37-E8773CC6244E}"/>
          </ac:spMkLst>
        </pc:spChg>
        <pc:spChg chg="add del mod">
          <ac:chgData name="Steiner Andreas 6206 ED" userId="e6377c33-a923-4f14-8587-531c474c7b48" providerId="ADAL" clId="{6ECD27E6-B224-41CD-B4E0-E297462320DD}" dt="2023-11-24T11:41:57.536" v="147853"/>
          <ac:spMkLst>
            <pc:docMk/>
            <pc:sldMk cId="788765567" sldId="2147473977"/>
            <ac:spMk id="962" creationId="{9558ED51-F79B-D3CE-6070-578DAB7DE353}"/>
          </ac:spMkLst>
        </pc:spChg>
        <pc:spChg chg="add del mod">
          <ac:chgData name="Steiner Andreas 6206 ED" userId="e6377c33-a923-4f14-8587-531c474c7b48" providerId="ADAL" clId="{6ECD27E6-B224-41CD-B4E0-E297462320DD}" dt="2023-11-24T11:42:00.945" v="148008"/>
          <ac:spMkLst>
            <pc:docMk/>
            <pc:sldMk cId="788765567" sldId="2147473977"/>
            <ac:spMk id="963" creationId="{53A14453-E45C-33E6-D574-447FA3497858}"/>
          </ac:spMkLst>
        </pc:spChg>
        <pc:spChg chg="add del mod">
          <ac:chgData name="Steiner Andreas 6206 ED" userId="e6377c33-a923-4f14-8587-531c474c7b48" providerId="ADAL" clId="{6ECD27E6-B224-41CD-B4E0-E297462320DD}" dt="2023-11-24T11:42:04.142" v="148163"/>
          <ac:spMkLst>
            <pc:docMk/>
            <pc:sldMk cId="788765567" sldId="2147473977"/>
            <ac:spMk id="964" creationId="{95704B97-01D7-706C-AC42-AE013A094FB1}"/>
          </ac:spMkLst>
        </pc:spChg>
        <pc:spChg chg="add del mod">
          <ac:chgData name="Steiner Andreas 6206 ED" userId="e6377c33-a923-4f14-8587-531c474c7b48" providerId="ADAL" clId="{6ECD27E6-B224-41CD-B4E0-E297462320DD}" dt="2023-11-24T11:42:06.650" v="148318"/>
          <ac:spMkLst>
            <pc:docMk/>
            <pc:sldMk cId="788765567" sldId="2147473977"/>
            <ac:spMk id="965" creationId="{92036DC7-FCD0-EF5D-EA0D-D0AAC3E5608E}"/>
          </ac:spMkLst>
        </pc:spChg>
        <pc:spChg chg="add del mod">
          <ac:chgData name="Steiner Andreas 6206 ED" userId="e6377c33-a923-4f14-8587-531c474c7b48" providerId="ADAL" clId="{6ECD27E6-B224-41CD-B4E0-E297462320DD}" dt="2023-11-24T11:42:08.905" v="148473"/>
          <ac:spMkLst>
            <pc:docMk/>
            <pc:sldMk cId="788765567" sldId="2147473977"/>
            <ac:spMk id="966" creationId="{D2E9E05D-62AE-D512-F6D7-F40A9C2D9C4B}"/>
          </ac:spMkLst>
        </pc:spChg>
        <pc:spChg chg="add del mod">
          <ac:chgData name="Steiner Andreas 6206 ED" userId="e6377c33-a923-4f14-8587-531c474c7b48" providerId="ADAL" clId="{6ECD27E6-B224-41CD-B4E0-E297462320DD}" dt="2023-11-24T11:42:11.500" v="148628"/>
          <ac:spMkLst>
            <pc:docMk/>
            <pc:sldMk cId="788765567" sldId="2147473977"/>
            <ac:spMk id="967" creationId="{A821A5AC-8682-3095-074F-C73F63377250}"/>
          </ac:spMkLst>
        </pc:spChg>
        <pc:spChg chg="add del mod">
          <ac:chgData name="Steiner Andreas 6206 ED" userId="e6377c33-a923-4f14-8587-531c474c7b48" providerId="ADAL" clId="{6ECD27E6-B224-41CD-B4E0-E297462320DD}" dt="2023-11-24T11:42:14.116" v="148783"/>
          <ac:spMkLst>
            <pc:docMk/>
            <pc:sldMk cId="788765567" sldId="2147473977"/>
            <ac:spMk id="968" creationId="{59A1670A-B1C8-6B0B-2105-FBE336B1BB74}"/>
          </ac:spMkLst>
        </pc:spChg>
        <pc:spChg chg="add del mod">
          <ac:chgData name="Steiner Andreas 6206 ED" userId="e6377c33-a923-4f14-8587-531c474c7b48" providerId="ADAL" clId="{6ECD27E6-B224-41CD-B4E0-E297462320DD}" dt="2023-11-24T11:42:16.363" v="148938"/>
          <ac:spMkLst>
            <pc:docMk/>
            <pc:sldMk cId="788765567" sldId="2147473977"/>
            <ac:spMk id="969" creationId="{460563B2-EB23-920C-6203-726AF56063AF}"/>
          </ac:spMkLst>
        </pc:spChg>
        <pc:spChg chg="add del mod">
          <ac:chgData name="Steiner Andreas 6206 ED" userId="e6377c33-a923-4f14-8587-531c474c7b48" providerId="ADAL" clId="{6ECD27E6-B224-41CD-B4E0-E297462320DD}" dt="2023-11-24T11:42:18.491" v="149093"/>
          <ac:spMkLst>
            <pc:docMk/>
            <pc:sldMk cId="788765567" sldId="2147473977"/>
            <ac:spMk id="970" creationId="{129B1C7F-F9C3-31EF-EFC3-BB0694C37DD0}"/>
          </ac:spMkLst>
        </pc:spChg>
        <pc:spChg chg="add del mod">
          <ac:chgData name="Steiner Andreas 6206 ED" userId="e6377c33-a923-4f14-8587-531c474c7b48" providerId="ADAL" clId="{6ECD27E6-B224-41CD-B4E0-E297462320DD}" dt="2023-11-24T11:42:20.536" v="149248"/>
          <ac:spMkLst>
            <pc:docMk/>
            <pc:sldMk cId="788765567" sldId="2147473977"/>
            <ac:spMk id="971" creationId="{7E9301F7-8F3D-7D0A-32A2-227A48706AF7}"/>
          </ac:spMkLst>
        </pc:spChg>
        <pc:spChg chg="add del mod">
          <ac:chgData name="Steiner Andreas 6206 ED" userId="e6377c33-a923-4f14-8587-531c474c7b48" providerId="ADAL" clId="{6ECD27E6-B224-41CD-B4E0-E297462320DD}" dt="2023-11-24T11:42:22.602" v="149403"/>
          <ac:spMkLst>
            <pc:docMk/>
            <pc:sldMk cId="788765567" sldId="2147473977"/>
            <ac:spMk id="972" creationId="{9D90DD0C-55FB-9421-0766-DB4DED245D6D}"/>
          </ac:spMkLst>
        </pc:spChg>
        <pc:spChg chg="add del mod">
          <ac:chgData name="Steiner Andreas 6206 ED" userId="e6377c33-a923-4f14-8587-531c474c7b48" providerId="ADAL" clId="{6ECD27E6-B224-41CD-B4E0-E297462320DD}" dt="2023-11-24T11:42:24.549" v="149558"/>
          <ac:spMkLst>
            <pc:docMk/>
            <pc:sldMk cId="788765567" sldId="2147473977"/>
            <ac:spMk id="973" creationId="{FB3AFDB0-D39D-72FC-3BEF-9502A46E6373}"/>
          </ac:spMkLst>
        </pc:spChg>
        <pc:spChg chg="add del mod">
          <ac:chgData name="Steiner Andreas 6206 ED" userId="e6377c33-a923-4f14-8587-531c474c7b48" providerId="ADAL" clId="{6ECD27E6-B224-41CD-B4E0-E297462320DD}" dt="2023-11-24T11:42:26.462" v="149713"/>
          <ac:spMkLst>
            <pc:docMk/>
            <pc:sldMk cId="788765567" sldId="2147473977"/>
            <ac:spMk id="974" creationId="{3ADE8972-4206-6F81-4C08-2074A6433A13}"/>
          </ac:spMkLst>
        </pc:spChg>
        <pc:spChg chg="add del mod">
          <ac:chgData name="Steiner Andreas 6206 ED" userId="e6377c33-a923-4f14-8587-531c474c7b48" providerId="ADAL" clId="{6ECD27E6-B224-41CD-B4E0-E297462320DD}" dt="2023-11-24T11:42:29.639" v="149868"/>
          <ac:spMkLst>
            <pc:docMk/>
            <pc:sldMk cId="788765567" sldId="2147473977"/>
            <ac:spMk id="975" creationId="{BCFF7ED9-2DAA-78AB-0E34-7C2B0C7AEE19}"/>
          </ac:spMkLst>
        </pc:spChg>
        <pc:spChg chg="add del mod">
          <ac:chgData name="Steiner Andreas 6206 ED" userId="e6377c33-a923-4f14-8587-531c474c7b48" providerId="ADAL" clId="{6ECD27E6-B224-41CD-B4E0-E297462320DD}" dt="2023-11-24T11:42:32.652" v="150023"/>
          <ac:spMkLst>
            <pc:docMk/>
            <pc:sldMk cId="788765567" sldId="2147473977"/>
            <ac:spMk id="976" creationId="{5BDC921C-0B51-4DB0-90C4-A939C0DD7E17}"/>
          </ac:spMkLst>
        </pc:spChg>
        <pc:spChg chg="add del mod">
          <ac:chgData name="Steiner Andreas 6206 ED" userId="e6377c33-a923-4f14-8587-531c474c7b48" providerId="ADAL" clId="{6ECD27E6-B224-41CD-B4E0-E297462320DD}" dt="2023-11-24T11:42:35.862" v="150178"/>
          <ac:spMkLst>
            <pc:docMk/>
            <pc:sldMk cId="788765567" sldId="2147473977"/>
            <ac:spMk id="977" creationId="{4D1C39B2-F332-F1CD-EC86-4CC821412698}"/>
          </ac:spMkLst>
        </pc:spChg>
        <pc:spChg chg="add del mod">
          <ac:chgData name="Steiner Andreas 6206 ED" userId="e6377c33-a923-4f14-8587-531c474c7b48" providerId="ADAL" clId="{6ECD27E6-B224-41CD-B4E0-E297462320DD}" dt="2023-11-24T11:42:38.182" v="150333"/>
          <ac:spMkLst>
            <pc:docMk/>
            <pc:sldMk cId="788765567" sldId="2147473977"/>
            <ac:spMk id="978" creationId="{786CDBA6-43A0-3262-B84E-0D57A4CC7A0D}"/>
          </ac:spMkLst>
        </pc:spChg>
        <pc:spChg chg="add del mod">
          <ac:chgData name="Steiner Andreas 6206 ED" userId="e6377c33-a923-4f14-8587-531c474c7b48" providerId="ADAL" clId="{6ECD27E6-B224-41CD-B4E0-E297462320DD}" dt="2023-11-24T11:42:40.260" v="150488"/>
          <ac:spMkLst>
            <pc:docMk/>
            <pc:sldMk cId="788765567" sldId="2147473977"/>
            <ac:spMk id="979" creationId="{C5CC68C7-5FC2-2D1C-B0F1-6519CDD582EB}"/>
          </ac:spMkLst>
        </pc:spChg>
        <pc:spChg chg="add del mod">
          <ac:chgData name="Steiner Andreas 6206 ED" userId="e6377c33-a923-4f14-8587-531c474c7b48" providerId="ADAL" clId="{6ECD27E6-B224-41CD-B4E0-E297462320DD}" dt="2023-11-24T11:42:42.292" v="150643"/>
          <ac:spMkLst>
            <pc:docMk/>
            <pc:sldMk cId="788765567" sldId="2147473977"/>
            <ac:spMk id="980" creationId="{8AC15C7A-196A-EF31-2052-1AB6F53B2B9B}"/>
          </ac:spMkLst>
        </pc:spChg>
        <pc:spChg chg="add del mod">
          <ac:chgData name="Steiner Andreas 6206 ED" userId="e6377c33-a923-4f14-8587-531c474c7b48" providerId="ADAL" clId="{6ECD27E6-B224-41CD-B4E0-E297462320DD}" dt="2023-11-24T11:42:44.391" v="150798"/>
          <ac:spMkLst>
            <pc:docMk/>
            <pc:sldMk cId="788765567" sldId="2147473977"/>
            <ac:spMk id="981" creationId="{F9E065F8-02F7-6C7E-227C-9009DE5FE8F9}"/>
          </ac:spMkLst>
        </pc:spChg>
        <pc:spChg chg="add del mod">
          <ac:chgData name="Steiner Andreas 6206 ED" userId="e6377c33-a923-4f14-8587-531c474c7b48" providerId="ADAL" clId="{6ECD27E6-B224-41CD-B4E0-E297462320DD}" dt="2023-11-24T11:42:46.681" v="150953"/>
          <ac:spMkLst>
            <pc:docMk/>
            <pc:sldMk cId="788765567" sldId="2147473977"/>
            <ac:spMk id="982" creationId="{B83954B9-2238-7A89-1E35-61475EB1CEEA}"/>
          </ac:spMkLst>
        </pc:spChg>
        <pc:spChg chg="add del mod">
          <ac:chgData name="Steiner Andreas 6206 ED" userId="e6377c33-a923-4f14-8587-531c474c7b48" providerId="ADAL" clId="{6ECD27E6-B224-41CD-B4E0-E297462320DD}" dt="2023-11-24T11:42:48.884" v="151108"/>
          <ac:spMkLst>
            <pc:docMk/>
            <pc:sldMk cId="788765567" sldId="2147473977"/>
            <ac:spMk id="983" creationId="{94B7E71E-DDE3-8EE6-9D54-6B7F08B6A9AC}"/>
          </ac:spMkLst>
        </pc:spChg>
        <pc:spChg chg="add del mod">
          <ac:chgData name="Steiner Andreas 6206 ED" userId="e6377c33-a923-4f14-8587-531c474c7b48" providerId="ADAL" clId="{6ECD27E6-B224-41CD-B4E0-E297462320DD}" dt="2023-11-24T11:42:51.181" v="151263"/>
          <ac:spMkLst>
            <pc:docMk/>
            <pc:sldMk cId="788765567" sldId="2147473977"/>
            <ac:spMk id="984" creationId="{60B0EC29-2BC0-2984-5106-D9C7C652D630}"/>
          </ac:spMkLst>
        </pc:spChg>
        <pc:spChg chg="add del mod">
          <ac:chgData name="Steiner Andreas 6206 ED" userId="e6377c33-a923-4f14-8587-531c474c7b48" providerId="ADAL" clId="{6ECD27E6-B224-41CD-B4E0-E297462320DD}" dt="2023-11-24T11:42:53.473" v="151418"/>
          <ac:spMkLst>
            <pc:docMk/>
            <pc:sldMk cId="788765567" sldId="2147473977"/>
            <ac:spMk id="985" creationId="{2F045A6D-D97A-1B92-C9A5-6E8E46EF8254}"/>
          </ac:spMkLst>
        </pc:spChg>
        <pc:spChg chg="add del mod">
          <ac:chgData name="Steiner Andreas 6206 ED" userId="e6377c33-a923-4f14-8587-531c474c7b48" providerId="ADAL" clId="{6ECD27E6-B224-41CD-B4E0-E297462320DD}" dt="2023-11-24T11:42:55.714" v="151573"/>
          <ac:spMkLst>
            <pc:docMk/>
            <pc:sldMk cId="788765567" sldId="2147473977"/>
            <ac:spMk id="986" creationId="{AD3BFB6D-D2DB-A262-0BEC-188C24E85B25}"/>
          </ac:spMkLst>
        </pc:spChg>
        <pc:spChg chg="add del mod">
          <ac:chgData name="Steiner Andreas 6206 ED" userId="e6377c33-a923-4f14-8587-531c474c7b48" providerId="ADAL" clId="{6ECD27E6-B224-41CD-B4E0-E297462320DD}" dt="2023-11-24T11:42:58.187" v="151728"/>
          <ac:spMkLst>
            <pc:docMk/>
            <pc:sldMk cId="788765567" sldId="2147473977"/>
            <ac:spMk id="987" creationId="{FAF7F5A6-C421-FFF9-5EB3-5944DC0B814E}"/>
          </ac:spMkLst>
        </pc:spChg>
        <pc:spChg chg="add del mod">
          <ac:chgData name="Steiner Andreas 6206 ED" userId="e6377c33-a923-4f14-8587-531c474c7b48" providerId="ADAL" clId="{6ECD27E6-B224-41CD-B4E0-E297462320DD}" dt="2023-11-24T11:43:01.904" v="151883"/>
          <ac:spMkLst>
            <pc:docMk/>
            <pc:sldMk cId="788765567" sldId="2147473977"/>
            <ac:spMk id="988" creationId="{FBCDF39A-38B2-8919-4CF5-C8734F08B181}"/>
          </ac:spMkLst>
        </pc:spChg>
        <pc:spChg chg="add del mod">
          <ac:chgData name="Steiner Andreas 6206 ED" userId="e6377c33-a923-4f14-8587-531c474c7b48" providerId="ADAL" clId="{6ECD27E6-B224-41CD-B4E0-E297462320DD}" dt="2023-11-24T11:43:04.269" v="152038"/>
          <ac:spMkLst>
            <pc:docMk/>
            <pc:sldMk cId="788765567" sldId="2147473977"/>
            <ac:spMk id="989" creationId="{DE6CBCA6-F314-48DC-4219-46A038D2CA2D}"/>
          </ac:spMkLst>
        </pc:spChg>
        <pc:spChg chg="add del mod">
          <ac:chgData name="Steiner Andreas 6206 ED" userId="e6377c33-a923-4f14-8587-531c474c7b48" providerId="ADAL" clId="{6ECD27E6-B224-41CD-B4E0-E297462320DD}" dt="2023-11-24T11:43:06.411" v="152193"/>
          <ac:spMkLst>
            <pc:docMk/>
            <pc:sldMk cId="788765567" sldId="2147473977"/>
            <ac:spMk id="990" creationId="{EE547A0D-69E4-75A2-943E-2B850D26CDD3}"/>
          </ac:spMkLst>
        </pc:spChg>
        <pc:spChg chg="add del mod">
          <ac:chgData name="Steiner Andreas 6206 ED" userId="e6377c33-a923-4f14-8587-531c474c7b48" providerId="ADAL" clId="{6ECD27E6-B224-41CD-B4E0-E297462320DD}" dt="2023-11-24T11:43:08.537" v="152348"/>
          <ac:spMkLst>
            <pc:docMk/>
            <pc:sldMk cId="788765567" sldId="2147473977"/>
            <ac:spMk id="991" creationId="{27E07A1D-0BEF-7212-D87F-033D749C1BE9}"/>
          </ac:spMkLst>
        </pc:spChg>
        <pc:spChg chg="add del mod">
          <ac:chgData name="Steiner Andreas 6206 ED" userId="e6377c33-a923-4f14-8587-531c474c7b48" providerId="ADAL" clId="{6ECD27E6-B224-41CD-B4E0-E297462320DD}" dt="2023-11-24T11:43:10.693" v="152503"/>
          <ac:spMkLst>
            <pc:docMk/>
            <pc:sldMk cId="788765567" sldId="2147473977"/>
            <ac:spMk id="992" creationId="{F0FFF1C5-E189-8D27-369F-B4B666667FD4}"/>
          </ac:spMkLst>
        </pc:spChg>
        <pc:spChg chg="add del mod">
          <ac:chgData name="Steiner Andreas 6206 ED" userId="e6377c33-a923-4f14-8587-531c474c7b48" providerId="ADAL" clId="{6ECD27E6-B224-41CD-B4E0-E297462320DD}" dt="2023-11-24T11:43:12.923" v="152658"/>
          <ac:spMkLst>
            <pc:docMk/>
            <pc:sldMk cId="788765567" sldId="2147473977"/>
            <ac:spMk id="993" creationId="{BAF5D8B6-D58A-561E-C502-99DDE386DF70}"/>
          </ac:spMkLst>
        </pc:spChg>
        <pc:spChg chg="add del mod">
          <ac:chgData name="Steiner Andreas 6206 ED" userId="e6377c33-a923-4f14-8587-531c474c7b48" providerId="ADAL" clId="{6ECD27E6-B224-41CD-B4E0-E297462320DD}" dt="2023-11-24T11:43:15.268" v="152813"/>
          <ac:spMkLst>
            <pc:docMk/>
            <pc:sldMk cId="788765567" sldId="2147473977"/>
            <ac:spMk id="994" creationId="{F4071ADD-0A3B-45C2-026F-C5EE8E91E6EE}"/>
          </ac:spMkLst>
        </pc:spChg>
        <pc:spChg chg="add del mod">
          <ac:chgData name="Steiner Andreas 6206 ED" userId="e6377c33-a923-4f14-8587-531c474c7b48" providerId="ADAL" clId="{6ECD27E6-B224-41CD-B4E0-E297462320DD}" dt="2023-11-24T11:43:18.396" v="152968"/>
          <ac:spMkLst>
            <pc:docMk/>
            <pc:sldMk cId="788765567" sldId="2147473977"/>
            <ac:spMk id="995" creationId="{7EA38187-AC3E-4719-FAD9-EE7FF11A5516}"/>
          </ac:spMkLst>
        </pc:spChg>
        <pc:spChg chg="add del mod">
          <ac:chgData name="Steiner Andreas 6206 ED" userId="e6377c33-a923-4f14-8587-531c474c7b48" providerId="ADAL" clId="{6ECD27E6-B224-41CD-B4E0-E297462320DD}" dt="2023-11-24T11:43:22.501" v="153123"/>
          <ac:spMkLst>
            <pc:docMk/>
            <pc:sldMk cId="788765567" sldId="2147473977"/>
            <ac:spMk id="996" creationId="{98838426-197C-6E2D-0EC1-CEC9130A0BAC}"/>
          </ac:spMkLst>
        </pc:spChg>
        <pc:spChg chg="add del mod">
          <ac:chgData name="Steiner Andreas 6206 ED" userId="e6377c33-a923-4f14-8587-531c474c7b48" providerId="ADAL" clId="{6ECD27E6-B224-41CD-B4E0-E297462320DD}" dt="2023-11-24T11:43:24.939" v="153278"/>
          <ac:spMkLst>
            <pc:docMk/>
            <pc:sldMk cId="788765567" sldId="2147473977"/>
            <ac:spMk id="997" creationId="{A21BFC56-B356-7244-A4B7-5AAB46B65B82}"/>
          </ac:spMkLst>
        </pc:spChg>
        <pc:spChg chg="add del mod">
          <ac:chgData name="Steiner Andreas 6206 ED" userId="e6377c33-a923-4f14-8587-531c474c7b48" providerId="ADAL" clId="{6ECD27E6-B224-41CD-B4E0-E297462320DD}" dt="2023-11-24T11:43:27.186" v="153433"/>
          <ac:spMkLst>
            <pc:docMk/>
            <pc:sldMk cId="788765567" sldId="2147473977"/>
            <ac:spMk id="998" creationId="{F46BFEBA-232D-6A56-181D-608F3CB6D8A0}"/>
          </ac:spMkLst>
        </pc:spChg>
        <pc:spChg chg="add del mod">
          <ac:chgData name="Steiner Andreas 6206 ED" userId="e6377c33-a923-4f14-8587-531c474c7b48" providerId="ADAL" clId="{6ECD27E6-B224-41CD-B4E0-E297462320DD}" dt="2023-11-24T11:43:29.466" v="153588"/>
          <ac:spMkLst>
            <pc:docMk/>
            <pc:sldMk cId="788765567" sldId="2147473977"/>
            <ac:spMk id="999" creationId="{3B9B2A23-7FA7-1EA4-DF4C-46515635355D}"/>
          </ac:spMkLst>
        </pc:spChg>
        <pc:spChg chg="add del mod">
          <ac:chgData name="Steiner Andreas 6206 ED" userId="e6377c33-a923-4f14-8587-531c474c7b48" providerId="ADAL" clId="{6ECD27E6-B224-41CD-B4E0-E297462320DD}" dt="2023-11-24T11:43:31.709" v="153743"/>
          <ac:spMkLst>
            <pc:docMk/>
            <pc:sldMk cId="788765567" sldId="2147473977"/>
            <ac:spMk id="1000" creationId="{183D7909-9265-8A96-B417-4CEFFCE26BBD}"/>
          </ac:spMkLst>
        </pc:spChg>
        <pc:spChg chg="add del mod">
          <ac:chgData name="Steiner Andreas 6206 ED" userId="e6377c33-a923-4f14-8587-531c474c7b48" providerId="ADAL" clId="{6ECD27E6-B224-41CD-B4E0-E297462320DD}" dt="2023-11-24T11:43:34.462" v="153898"/>
          <ac:spMkLst>
            <pc:docMk/>
            <pc:sldMk cId="788765567" sldId="2147473977"/>
            <ac:spMk id="1001" creationId="{848B05C4-7A0F-2F9C-D116-5951F3F41317}"/>
          </ac:spMkLst>
        </pc:spChg>
        <pc:spChg chg="add del mod">
          <ac:chgData name="Steiner Andreas 6206 ED" userId="e6377c33-a923-4f14-8587-531c474c7b48" providerId="ADAL" clId="{6ECD27E6-B224-41CD-B4E0-E297462320DD}" dt="2023-11-24T11:43:36.591" v="154053"/>
          <ac:spMkLst>
            <pc:docMk/>
            <pc:sldMk cId="788765567" sldId="2147473977"/>
            <ac:spMk id="1002" creationId="{314257E7-3685-882F-4438-A255FC412E90}"/>
          </ac:spMkLst>
        </pc:spChg>
        <pc:spChg chg="add del mod">
          <ac:chgData name="Steiner Andreas 6206 ED" userId="e6377c33-a923-4f14-8587-531c474c7b48" providerId="ADAL" clId="{6ECD27E6-B224-41CD-B4E0-E297462320DD}" dt="2023-11-24T11:43:38.777" v="154208"/>
          <ac:spMkLst>
            <pc:docMk/>
            <pc:sldMk cId="788765567" sldId="2147473977"/>
            <ac:spMk id="1003" creationId="{98ED228B-C3EA-6DF2-B671-8DAA0DDBB5B1}"/>
          </ac:spMkLst>
        </pc:spChg>
        <pc:spChg chg="add del mod">
          <ac:chgData name="Steiner Andreas 6206 ED" userId="e6377c33-a923-4f14-8587-531c474c7b48" providerId="ADAL" clId="{6ECD27E6-B224-41CD-B4E0-E297462320DD}" dt="2023-11-24T11:43:41.180" v="154363"/>
          <ac:spMkLst>
            <pc:docMk/>
            <pc:sldMk cId="788765567" sldId="2147473977"/>
            <ac:spMk id="1004" creationId="{948608D5-3F6F-7D8B-E3A8-EDE81CA2A566}"/>
          </ac:spMkLst>
        </pc:spChg>
        <pc:spChg chg="add del mod">
          <ac:chgData name="Steiner Andreas 6206 ED" userId="e6377c33-a923-4f14-8587-531c474c7b48" providerId="ADAL" clId="{6ECD27E6-B224-41CD-B4E0-E297462320DD}" dt="2023-11-24T11:43:44.088" v="154518"/>
          <ac:spMkLst>
            <pc:docMk/>
            <pc:sldMk cId="788765567" sldId="2147473977"/>
            <ac:spMk id="1005" creationId="{17D7C3F4-0890-1A49-A248-25079C08E32A}"/>
          </ac:spMkLst>
        </pc:spChg>
        <pc:spChg chg="add del mod">
          <ac:chgData name="Steiner Andreas 6206 ED" userId="e6377c33-a923-4f14-8587-531c474c7b48" providerId="ADAL" clId="{6ECD27E6-B224-41CD-B4E0-E297462320DD}" dt="2023-11-24T11:43:46.411" v="154673"/>
          <ac:spMkLst>
            <pc:docMk/>
            <pc:sldMk cId="788765567" sldId="2147473977"/>
            <ac:spMk id="1006" creationId="{4761E6BB-07BE-335B-4054-CBB4388CECEB}"/>
          </ac:spMkLst>
        </pc:spChg>
        <pc:spChg chg="add del mod">
          <ac:chgData name="Steiner Andreas 6206 ED" userId="e6377c33-a923-4f14-8587-531c474c7b48" providerId="ADAL" clId="{6ECD27E6-B224-41CD-B4E0-E297462320DD}" dt="2023-11-24T11:43:48.707" v="154828"/>
          <ac:spMkLst>
            <pc:docMk/>
            <pc:sldMk cId="788765567" sldId="2147473977"/>
            <ac:spMk id="1007" creationId="{8DB3D5D4-4BFE-1538-DAC7-2ECB9DDBDD03}"/>
          </ac:spMkLst>
        </pc:spChg>
        <pc:spChg chg="add del mod">
          <ac:chgData name="Steiner Andreas 6206 ED" userId="e6377c33-a923-4f14-8587-531c474c7b48" providerId="ADAL" clId="{6ECD27E6-B224-41CD-B4E0-E297462320DD}" dt="2023-11-24T11:43:50.760" v="154983"/>
          <ac:spMkLst>
            <pc:docMk/>
            <pc:sldMk cId="788765567" sldId="2147473977"/>
            <ac:spMk id="1008" creationId="{F89BF539-B6F0-20A8-2FAF-21AEDFED3439}"/>
          </ac:spMkLst>
        </pc:spChg>
        <pc:spChg chg="add del mod">
          <ac:chgData name="Steiner Andreas 6206 ED" userId="e6377c33-a923-4f14-8587-531c474c7b48" providerId="ADAL" clId="{6ECD27E6-B224-41CD-B4E0-E297462320DD}" dt="2023-11-24T11:43:52.949" v="155138"/>
          <ac:spMkLst>
            <pc:docMk/>
            <pc:sldMk cId="788765567" sldId="2147473977"/>
            <ac:spMk id="1009" creationId="{55BBCE46-E7B9-7064-968A-79D7D31630DE}"/>
          </ac:spMkLst>
        </pc:spChg>
        <pc:spChg chg="add del mod">
          <ac:chgData name="Steiner Andreas 6206 ED" userId="e6377c33-a923-4f14-8587-531c474c7b48" providerId="ADAL" clId="{6ECD27E6-B224-41CD-B4E0-E297462320DD}" dt="2023-11-24T11:43:55.993" v="155293"/>
          <ac:spMkLst>
            <pc:docMk/>
            <pc:sldMk cId="788765567" sldId="2147473977"/>
            <ac:spMk id="1010" creationId="{BD75B6D7-CB1A-DECC-2E6F-3D9BB8B6EA6B}"/>
          </ac:spMkLst>
        </pc:spChg>
        <pc:spChg chg="add del mod">
          <ac:chgData name="Steiner Andreas 6206 ED" userId="e6377c33-a923-4f14-8587-531c474c7b48" providerId="ADAL" clId="{6ECD27E6-B224-41CD-B4E0-E297462320DD}" dt="2023-11-24T11:43:58.312" v="155448"/>
          <ac:spMkLst>
            <pc:docMk/>
            <pc:sldMk cId="788765567" sldId="2147473977"/>
            <ac:spMk id="1011" creationId="{9DE7A13C-3B42-EBB6-F9C3-2177BCE58DDC}"/>
          </ac:spMkLst>
        </pc:spChg>
        <pc:spChg chg="add del mod">
          <ac:chgData name="Steiner Andreas 6206 ED" userId="e6377c33-a923-4f14-8587-531c474c7b48" providerId="ADAL" clId="{6ECD27E6-B224-41CD-B4E0-E297462320DD}" dt="2023-11-24T11:44:00.392" v="155603"/>
          <ac:spMkLst>
            <pc:docMk/>
            <pc:sldMk cId="788765567" sldId="2147473977"/>
            <ac:spMk id="1012" creationId="{FAC67DD9-E3E8-11CC-2247-98A340F4D871}"/>
          </ac:spMkLst>
        </pc:spChg>
        <pc:spChg chg="add del mod">
          <ac:chgData name="Steiner Andreas 6206 ED" userId="e6377c33-a923-4f14-8587-531c474c7b48" providerId="ADAL" clId="{6ECD27E6-B224-41CD-B4E0-E297462320DD}" dt="2023-11-24T11:44:02.397" v="155758"/>
          <ac:spMkLst>
            <pc:docMk/>
            <pc:sldMk cId="788765567" sldId="2147473977"/>
            <ac:spMk id="1013" creationId="{DF0782DF-2532-95F6-7604-642F8BD36322}"/>
          </ac:spMkLst>
        </pc:spChg>
        <pc:spChg chg="add del mod">
          <ac:chgData name="Steiner Andreas 6206 ED" userId="e6377c33-a923-4f14-8587-531c474c7b48" providerId="ADAL" clId="{6ECD27E6-B224-41CD-B4E0-E297462320DD}" dt="2023-11-24T11:44:04.453" v="155913"/>
          <ac:spMkLst>
            <pc:docMk/>
            <pc:sldMk cId="788765567" sldId="2147473977"/>
            <ac:spMk id="1014" creationId="{5809F421-E787-F5D8-5B08-0063CD0FA642}"/>
          </ac:spMkLst>
        </pc:spChg>
        <pc:spChg chg="add del mod">
          <ac:chgData name="Steiner Andreas 6206 ED" userId="e6377c33-a923-4f14-8587-531c474c7b48" providerId="ADAL" clId="{6ECD27E6-B224-41CD-B4E0-E297462320DD}" dt="2023-11-24T11:44:06.442" v="156068"/>
          <ac:spMkLst>
            <pc:docMk/>
            <pc:sldMk cId="788765567" sldId="2147473977"/>
            <ac:spMk id="1015" creationId="{3522CE18-4692-6340-7B93-F9404F0774FF}"/>
          </ac:spMkLst>
        </pc:spChg>
        <pc:spChg chg="add del mod">
          <ac:chgData name="Steiner Andreas 6206 ED" userId="e6377c33-a923-4f14-8587-531c474c7b48" providerId="ADAL" clId="{6ECD27E6-B224-41CD-B4E0-E297462320DD}" dt="2023-11-24T11:44:08.642" v="156223"/>
          <ac:spMkLst>
            <pc:docMk/>
            <pc:sldMk cId="788765567" sldId="2147473977"/>
            <ac:spMk id="1016" creationId="{D2292221-7C02-E750-B40F-6A869BA03779}"/>
          </ac:spMkLst>
        </pc:spChg>
        <pc:spChg chg="add del mod">
          <ac:chgData name="Steiner Andreas 6206 ED" userId="e6377c33-a923-4f14-8587-531c474c7b48" providerId="ADAL" clId="{6ECD27E6-B224-41CD-B4E0-E297462320DD}" dt="2023-11-24T11:44:10.699" v="156378"/>
          <ac:spMkLst>
            <pc:docMk/>
            <pc:sldMk cId="788765567" sldId="2147473977"/>
            <ac:spMk id="1017" creationId="{B76BB0CF-6A7B-FDA5-8904-9763E52A13F6}"/>
          </ac:spMkLst>
        </pc:spChg>
        <pc:spChg chg="add del mod">
          <ac:chgData name="Steiner Andreas 6206 ED" userId="e6377c33-a923-4f14-8587-531c474c7b48" providerId="ADAL" clId="{6ECD27E6-B224-41CD-B4E0-E297462320DD}" dt="2023-11-24T11:44:12.715" v="156533"/>
          <ac:spMkLst>
            <pc:docMk/>
            <pc:sldMk cId="788765567" sldId="2147473977"/>
            <ac:spMk id="1018" creationId="{ADDB6A59-9605-CD6D-369C-E7CDBAD38C29}"/>
          </ac:spMkLst>
        </pc:spChg>
        <pc:spChg chg="add del mod">
          <ac:chgData name="Steiner Andreas 6206 ED" userId="e6377c33-a923-4f14-8587-531c474c7b48" providerId="ADAL" clId="{6ECD27E6-B224-41CD-B4E0-E297462320DD}" dt="2023-11-24T11:44:14.711" v="156688"/>
          <ac:spMkLst>
            <pc:docMk/>
            <pc:sldMk cId="788765567" sldId="2147473977"/>
            <ac:spMk id="1019" creationId="{07180263-AD68-0225-582D-A37DC1CC5B62}"/>
          </ac:spMkLst>
        </pc:spChg>
        <pc:spChg chg="add del mod">
          <ac:chgData name="Steiner Andreas 6206 ED" userId="e6377c33-a923-4f14-8587-531c474c7b48" providerId="ADAL" clId="{6ECD27E6-B224-41CD-B4E0-E297462320DD}" dt="2023-11-24T11:44:16.700" v="156843"/>
          <ac:spMkLst>
            <pc:docMk/>
            <pc:sldMk cId="788765567" sldId="2147473977"/>
            <ac:spMk id="1020" creationId="{3C81D462-354C-4371-F512-D348689EAC23}"/>
          </ac:spMkLst>
        </pc:spChg>
        <pc:spChg chg="add del mod">
          <ac:chgData name="Steiner Andreas 6206 ED" userId="e6377c33-a923-4f14-8587-531c474c7b48" providerId="ADAL" clId="{6ECD27E6-B224-41CD-B4E0-E297462320DD}" dt="2023-11-24T11:44:18.800" v="156998"/>
          <ac:spMkLst>
            <pc:docMk/>
            <pc:sldMk cId="788765567" sldId="2147473977"/>
            <ac:spMk id="1021" creationId="{81C780D6-DAFD-440D-F1EF-BD8D05A6A1FA}"/>
          </ac:spMkLst>
        </pc:spChg>
        <pc:spChg chg="add del mod">
          <ac:chgData name="Steiner Andreas 6206 ED" userId="e6377c33-a923-4f14-8587-531c474c7b48" providerId="ADAL" clId="{6ECD27E6-B224-41CD-B4E0-E297462320DD}" dt="2023-11-24T11:44:20.901" v="157153"/>
          <ac:spMkLst>
            <pc:docMk/>
            <pc:sldMk cId="788765567" sldId="2147473977"/>
            <ac:spMk id="1022" creationId="{93912C8F-CA2C-E5FD-DC04-C014322A84F6}"/>
          </ac:spMkLst>
        </pc:spChg>
        <pc:spChg chg="add del mod">
          <ac:chgData name="Steiner Andreas 6206 ED" userId="e6377c33-a923-4f14-8587-531c474c7b48" providerId="ADAL" clId="{6ECD27E6-B224-41CD-B4E0-E297462320DD}" dt="2023-11-24T11:44:23.241" v="157308"/>
          <ac:spMkLst>
            <pc:docMk/>
            <pc:sldMk cId="788765567" sldId="2147473977"/>
            <ac:spMk id="1023" creationId="{AF220A60-C1C5-5F72-A639-23729117C067}"/>
          </ac:spMkLst>
        </pc:spChg>
        <pc:spChg chg="add del mod">
          <ac:chgData name="Steiner Andreas 6206 ED" userId="e6377c33-a923-4f14-8587-531c474c7b48" providerId="ADAL" clId="{6ECD27E6-B224-41CD-B4E0-E297462320DD}" dt="2023-11-24T11:44:25.375" v="157463"/>
          <ac:spMkLst>
            <pc:docMk/>
            <pc:sldMk cId="788765567" sldId="2147473977"/>
            <ac:spMk id="1024" creationId="{DC640F1F-276F-7283-92D2-2EF7C640A996}"/>
          </ac:spMkLst>
        </pc:spChg>
        <pc:spChg chg="add del mod">
          <ac:chgData name="Steiner Andreas 6206 ED" userId="e6377c33-a923-4f14-8587-531c474c7b48" providerId="ADAL" clId="{6ECD27E6-B224-41CD-B4E0-E297462320DD}" dt="2023-11-24T11:44:30.805" v="157618"/>
          <ac:spMkLst>
            <pc:docMk/>
            <pc:sldMk cId="788765567" sldId="2147473977"/>
            <ac:spMk id="1025" creationId="{7C1C05DA-A417-4DDF-A34A-60A3C878752A}"/>
          </ac:spMkLst>
        </pc:spChg>
        <pc:spChg chg="add mod">
          <ac:chgData name="Steiner Andreas 6206 ED" userId="e6377c33-a923-4f14-8587-531c474c7b48" providerId="ADAL" clId="{6ECD27E6-B224-41CD-B4E0-E297462320DD}" dt="2023-11-24T11:44:30.805" v="157619"/>
          <ac:spMkLst>
            <pc:docMk/>
            <pc:sldMk cId="788765567" sldId="2147473977"/>
            <ac:spMk id="1026" creationId="{662C2BA4-9A67-5B31-07BD-4A670844818B}"/>
          </ac:spMkLst>
        </pc:spChg>
      </pc:sldChg>
      <pc:sldChg chg="addSp delSp modSp mod">
        <pc:chgData name="Steiner Andreas 6206 ED" userId="e6377c33-a923-4f14-8587-531c474c7b48" providerId="ADAL" clId="{6ECD27E6-B224-41CD-B4E0-E297462320DD}" dt="2023-11-24T11:44:30.831" v="157629"/>
        <pc:sldMkLst>
          <pc:docMk/>
          <pc:sldMk cId="1966364550" sldId="2147473979"/>
        </pc:sldMkLst>
        <pc:spChg chg="mod">
          <ac:chgData name="Steiner Andreas 6206 ED" userId="e6377c33-a923-4f14-8587-531c474c7b48" providerId="ADAL" clId="{6ECD27E6-B224-41CD-B4E0-E297462320DD}" dt="2023-11-24T11:44:30.827" v="157625" actId="20577"/>
          <ac:spMkLst>
            <pc:docMk/>
            <pc:sldMk cId="1966364550" sldId="2147473979"/>
            <ac:spMk id="3" creationId="{4E8CC9C0-365F-2AE2-45F2-482F3CE5F5BC}"/>
          </ac:spMkLst>
        </pc:spChg>
        <pc:spChg chg="add del mod">
          <ac:chgData name="Steiner Andreas 6206 ED" userId="e6377c33-a923-4f14-8587-531c474c7b48" providerId="ADAL" clId="{6ECD27E6-B224-41CD-B4E0-E297462320DD}" dt="2023-11-23T19:49:53.635" v="162"/>
          <ac:spMkLst>
            <pc:docMk/>
            <pc:sldMk cId="1966364550" sldId="2147473979"/>
            <ac:spMk id="4" creationId="{686B4C5B-2AC8-1679-AD60-14912A0AF286}"/>
          </ac:spMkLst>
        </pc:spChg>
        <pc:spChg chg="del">
          <ac:chgData name="Steiner Andreas 6206 ED" userId="e6377c33-a923-4f14-8587-531c474c7b48" providerId="ADAL" clId="{6ECD27E6-B224-41CD-B4E0-E297462320DD}" dt="2023-11-23T19:49:53.633" v="159"/>
          <ac:spMkLst>
            <pc:docMk/>
            <pc:sldMk cId="1966364550" sldId="2147473979"/>
            <ac:spMk id="5" creationId="{64E93222-32B7-20A4-715C-D9A68AE48A8A}"/>
          </ac:spMkLst>
        </pc:spChg>
        <pc:spChg chg="add del mod">
          <ac:chgData name="Steiner Andreas 6206 ED" userId="e6377c33-a923-4f14-8587-531c474c7b48" providerId="ADAL" clId="{6ECD27E6-B224-41CD-B4E0-E297462320DD}" dt="2023-11-23T19:49:54.532" v="303"/>
          <ac:spMkLst>
            <pc:docMk/>
            <pc:sldMk cId="1966364550" sldId="2147473979"/>
            <ac:spMk id="6" creationId="{3CEDEAF8-5354-2B2C-624F-9333C77688DA}"/>
          </ac:spMkLst>
        </pc:spChg>
        <pc:spChg chg="add del mod">
          <ac:chgData name="Steiner Andreas 6206 ED" userId="e6377c33-a923-4f14-8587-531c474c7b48" providerId="ADAL" clId="{6ECD27E6-B224-41CD-B4E0-E297462320DD}" dt="2023-11-23T19:50:25.391" v="458"/>
          <ac:spMkLst>
            <pc:docMk/>
            <pc:sldMk cId="1966364550" sldId="2147473979"/>
            <ac:spMk id="8" creationId="{DEFE2706-8878-D43E-A52B-0CAF6560AB92}"/>
          </ac:spMkLst>
        </pc:spChg>
        <pc:spChg chg="add del mod">
          <ac:chgData name="Steiner Andreas 6206 ED" userId="e6377c33-a923-4f14-8587-531c474c7b48" providerId="ADAL" clId="{6ECD27E6-B224-41CD-B4E0-E297462320DD}" dt="2023-11-23T19:50:35.182" v="613"/>
          <ac:spMkLst>
            <pc:docMk/>
            <pc:sldMk cId="1966364550" sldId="2147473979"/>
            <ac:spMk id="9" creationId="{8CB9496F-181F-CCAB-AD50-4B883C4D767B}"/>
          </ac:spMkLst>
        </pc:spChg>
        <pc:spChg chg="add del mod">
          <ac:chgData name="Steiner Andreas 6206 ED" userId="e6377c33-a923-4f14-8587-531c474c7b48" providerId="ADAL" clId="{6ECD27E6-B224-41CD-B4E0-E297462320DD}" dt="2023-11-23T19:50:46.848" v="768"/>
          <ac:spMkLst>
            <pc:docMk/>
            <pc:sldMk cId="1966364550" sldId="2147473979"/>
            <ac:spMk id="10" creationId="{8A5F7657-8F14-396B-D4C4-8D6324E1F797}"/>
          </ac:spMkLst>
        </pc:spChg>
        <pc:spChg chg="add del mod">
          <ac:chgData name="Steiner Andreas 6206 ED" userId="e6377c33-a923-4f14-8587-531c474c7b48" providerId="ADAL" clId="{6ECD27E6-B224-41CD-B4E0-E297462320DD}" dt="2023-11-23T19:50:58.557" v="923"/>
          <ac:spMkLst>
            <pc:docMk/>
            <pc:sldMk cId="1966364550" sldId="2147473979"/>
            <ac:spMk id="11" creationId="{37C13B9B-EB1B-1392-DD18-52F756647B15}"/>
          </ac:spMkLst>
        </pc:spChg>
        <pc:spChg chg="add del mod">
          <ac:chgData name="Steiner Andreas 6206 ED" userId="e6377c33-a923-4f14-8587-531c474c7b48" providerId="ADAL" clId="{6ECD27E6-B224-41CD-B4E0-E297462320DD}" dt="2023-11-23T19:51:09.236" v="1078"/>
          <ac:spMkLst>
            <pc:docMk/>
            <pc:sldMk cId="1966364550" sldId="2147473979"/>
            <ac:spMk id="13" creationId="{73561F77-6D59-4E32-FF8E-9AB7D0ABE936}"/>
          </ac:spMkLst>
        </pc:spChg>
        <pc:spChg chg="add del mod">
          <ac:chgData name="Steiner Andreas 6206 ED" userId="e6377c33-a923-4f14-8587-531c474c7b48" providerId="ADAL" clId="{6ECD27E6-B224-41CD-B4E0-E297462320DD}" dt="2023-11-23T19:51:20.253" v="1233"/>
          <ac:spMkLst>
            <pc:docMk/>
            <pc:sldMk cId="1966364550" sldId="2147473979"/>
            <ac:spMk id="15" creationId="{6C73C227-15FA-E424-EE5E-2D47C25C82FF}"/>
          </ac:spMkLst>
        </pc:spChg>
        <pc:spChg chg="add del mod">
          <ac:chgData name="Steiner Andreas 6206 ED" userId="e6377c33-a923-4f14-8587-531c474c7b48" providerId="ADAL" clId="{6ECD27E6-B224-41CD-B4E0-E297462320DD}" dt="2023-11-23T19:51:31.685" v="1388"/>
          <ac:spMkLst>
            <pc:docMk/>
            <pc:sldMk cId="1966364550" sldId="2147473979"/>
            <ac:spMk id="16" creationId="{20AD954F-7860-D2EB-4BDD-CCD71A1D7CF2}"/>
          </ac:spMkLst>
        </pc:spChg>
        <pc:spChg chg="add del mod">
          <ac:chgData name="Steiner Andreas 6206 ED" userId="e6377c33-a923-4f14-8587-531c474c7b48" providerId="ADAL" clId="{6ECD27E6-B224-41CD-B4E0-E297462320DD}" dt="2023-11-23T19:51:42.364" v="1543"/>
          <ac:spMkLst>
            <pc:docMk/>
            <pc:sldMk cId="1966364550" sldId="2147473979"/>
            <ac:spMk id="17" creationId="{1146090B-8BE1-9F85-4D6C-4C53EA2D271C}"/>
          </ac:spMkLst>
        </pc:spChg>
        <pc:spChg chg="add del mod">
          <ac:chgData name="Steiner Andreas 6206 ED" userId="e6377c33-a923-4f14-8587-531c474c7b48" providerId="ADAL" clId="{6ECD27E6-B224-41CD-B4E0-E297462320DD}" dt="2023-11-23T19:51:53.658" v="1698"/>
          <ac:spMkLst>
            <pc:docMk/>
            <pc:sldMk cId="1966364550" sldId="2147473979"/>
            <ac:spMk id="18" creationId="{1B91A7BE-8146-F3A2-41C4-51225F1907BD}"/>
          </ac:spMkLst>
        </pc:spChg>
        <pc:spChg chg="add del mod">
          <ac:chgData name="Steiner Andreas 6206 ED" userId="e6377c33-a923-4f14-8587-531c474c7b48" providerId="ADAL" clId="{6ECD27E6-B224-41CD-B4E0-E297462320DD}" dt="2023-11-23T19:52:05.349" v="1853"/>
          <ac:spMkLst>
            <pc:docMk/>
            <pc:sldMk cId="1966364550" sldId="2147473979"/>
            <ac:spMk id="19" creationId="{656F4F16-06D0-6C37-B461-E24CD5A88FB3}"/>
          </ac:spMkLst>
        </pc:spChg>
        <pc:spChg chg="add del mod">
          <ac:chgData name="Steiner Andreas 6206 ED" userId="e6377c33-a923-4f14-8587-531c474c7b48" providerId="ADAL" clId="{6ECD27E6-B224-41CD-B4E0-E297462320DD}" dt="2023-11-23T19:52:17.065" v="2008"/>
          <ac:spMkLst>
            <pc:docMk/>
            <pc:sldMk cId="1966364550" sldId="2147473979"/>
            <ac:spMk id="20" creationId="{01CAAF02-7BF5-AD97-02EF-FBDF1D2C8B83}"/>
          </ac:spMkLst>
        </pc:spChg>
        <pc:spChg chg="add del mod">
          <ac:chgData name="Steiner Andreas 6206 ED" userId="e6377c33-a923-4f14-8587-531c474c7b48" providerId="ADAL" clId="{6ECD27E6-B224-41CD-B4E0-E297462320DD}" dt="2023-11-23T19:52:28.748" v="2163"/>
          <ac:spMkLst>
            <pc:docMk/>
            <pc:sldMk cId="1966364550" sldId="2147473979"/>
            <ac:spMk id="21" creationId="{7D78FF15-A39B-CBB9-8EDF-7A53B7749C1B}"/>
          </ac:spMkLst>
        </pc:spChg>
        <pc:spChg chg="add del mod">
          <ac:chgData name="Steiner Andreas 6206 ED" userId="e6377c33-a923-4f14-8587-531c474c7b48" providerId="ADAL" clId="{6ECD27E6-B224-41CD-B4E0-E297462320DD}" dt="2023-11-23T19:52:40.436" v="2318"/>
          <ac:spMkLst>
            <pc:docMk/>
            <pc:sldMk cId="1966364550" sldId="2147473979"/>
            <ac:spMk id="22" creationId="{EC4475B9-6D3B-73A6-4F94-9B99B14F72B9}"/>
          </ac:spMkLst>
        </pc:spChg>
        <pc:spChg chg="add del mod">
          <ac:chgData name="Steiner Andreas 6206 ED" userId="e6377c33-a923-4f14-8587-531c474c7b48" providerId="ADAL" clId="{6ECD27E6-B224-41CD-B4E0-E297462320DD}" dt="2023-11-23T19:52:51.792" v="2473"/>
          <ac:spMkLst>
            <pc:docMk/>
            <pc:sldMk cId="1966364550" sldId="2147473979"/>
            <ac:spMk id="23" creationId="{CE4133E7-0197-C823-FA88-0037593A71CC}"/>
          </ac:spMkLst>
        </pc:spChg>
        <pc:spChg chg="add del mod">
          <ac:chgData name="Steiner Andreas 6206 ED" userId="e6377c33-a923-4f14-8587-531c474c7b48" providerId="ADAL" clId="{6ECD27E6-B224-41CD-B4E0-E297462320DD}" dt="2023-11-23T19:53:03.499" v="2628"/>
          <ac:spMkLst>
            <pc:docMk/>
            <pc:sldMk cId="1966364550" sldId="2147473979"/>
            <ac:spMk id="24" creationId="{D1D0300C-E0C4-0F92-9405-BE49CEC17039}"/>
          </ac:spMkLst>
        </pc:spChg>
        <pc:spChg chg="add del mod">
          <ac:chgData name="Steiner Andreas 6206 ED" userId="e6377c33-a923-4f14-8587-531c474c7b48" providerId="ADAL" clId="{6ECD27E6-B224-41CD-B4E0-E297462320DD}" dt="2023-11-23T19:53:15.230" v="2783"/>
          <ac:spMkLst>
            <pc:docMk/>
            <pc:sldMk cId="1966364550" sldId="2147473979"/>
            <ac:spMk id="25" creationId="{D8538CB5-6C3D-B6A3-CC2C-B63A32665CB5}"/>
          </ac:spMkLst>
        </pc:spChg>
        <pc:spChg chg="add del mod">
          <ac:chgData name="Steiner Andreas 6206 ED" userId="e6377c33-a923-4f14-8587-531c474c7b48" providerId="ADAL" clId="{6ECD27E6-B224-41CD-B4E0-E297462320DD}" dt="2023-11-23T19:53:26.910" v="2938"/>
          <ac:spMkLst>
            <pc:docMk/>
            <pc:sldMk cId="1966364550" sldId="2147473979"/>
            <ac:spMk id="26" creationId="{3DF8AF6A-352A-4B0F-41F7-8F45B06223D9}"/>
          </ac:spMkLst>
        </pc:spChg>
        <pc:spChg chg="add del mod">
          <ac:chgData name="Steiner Andreas 6206 ED" userId="e6377c33-a923-4f14-8587-531c474c7b48" providerId="ADAL" clId="{6ECD27E6-B224-41CD-B4E0-E297462320DD}" dt="2023-11-23T19:53:38.567" v="3093"/>
          <ac:spMkLst>
            <pc:docMk/>
            <pc:sldMk cId="1966364550" sldId="2147473979"/>
            <ac:spMk id="27" creationId="{4C34AACA-50E0-B213-F57D-AA3D8179BC6B}"/>
          </ac:spMkLst>
        </pc:spChg>
        <pc:spChg chg="add del mod">
          <ac:chgData name="Steiner Andreas 6206 ED" userId="e6377c33-a923-4f14-8587-531c474c7b48" providerId="ADAL" clId="{6ECD27E6-B224-41CD-B4E0-E297462320DD}" dt="2023-11-23T19:53:50.230" v="3248"/>
          <ac:spMkLst>
            <pc:docMk/>
            <pc:sldMk cId="1966364550" sldId="2147473979"/>
            <ac:spMk id="28" creationId="{1F253C4B-B6CC-DE64-6B8F-2088D6617010}"/>
          </ac:spMkLst>
        </pc:spChg>
        <pc:spChg chg="add del mod">
          <ac:chgData name="Steiner Andreas 6206 ED" userId="e6377c33-a923-4f14-8587-531c474c7b48" providerId="ADAL" clId="{6ECD27E6-B224-41CD-B4E0-E297462320DD}" dt="2023-11-23T19:54:01.904" v="3403"/>
          <ac:spMkLst>
            <pc:docMk/>
            <pc:sldMk cId="1966364550" sldId="2147473979"/>
            <ac:spMk id="29" creationId="{1B671F7E-6A84-2EB6-887A-F53E6210C4A0}"/>
          </ac:spMkLst>
        </pc:spChg>
        <pc:spChg chg="add del mod">
          <ac:chgData name="Steiner Andreas 6206 ED" userId="e6377c33-a923-4f14-8587-531c474c7b48" providerId="ADAL" clId="{6ECD27E6-B224-41CD-B4E0-E297462320DD}" dt="2023-11-23T19:54:13.596" v="3558"/>
          <ac:spMkLst>
            <pc:docMk/>
            <pc:sldMk cId="1966364550" sldId="2147473979"/>
            <ac:spMk id="30" creationId="{4518CEB4-6975-A2CA-78D8-0CF3EAACC819}"/>
          </ac:spMkLst>
        </pc:spChg>
        <pc:spChg chg="add del mod">
          <ac:chgData name="Steiner Andreas 6206 ED" userId="e6377c33-a923-4f14-8587-531c474c7b48" providerId="ADAL" clId="{6ECD27E6-B224-41CD-B4E0-E297462320DD}" dt="2023-11-23T19:54:25.257" v="3713"/>
          <ac:spMkLst>
            <pc:docMk/>
            <pc:sldMk cId="1966364550" sldId="2147473979"/>
            <ac:spMk id="31" creationId="{C1784E54-C3BB-6D12-EC63-B42D36059D0E}"/>
          </ac:spMkLst>
        </pc:spChg>
        <pc:spChg chg="add del mod">
          <ac:chgData name="Steiner Andreas 6206 ED" userId="e6377c33-a923-4f14-8587-531c474c7b48" providerId="ADAL" clId="{6ECD27E6-B224-41CD-B4E0-E297462320DD}" dt="2023-11-23T19:54:36.978" v="3868"/>
          <ac:spMkLst>
            <pc:docMk/>
            <pc:sldMk cId="1966364550" sldId="2147473979"/>
            <ac:spMk id="32" creationId="{FFE0856A-29C8-22E9-7FC5-1B7D23FBB846}"/>
          </ac:spMkLst>
        </pc:spChg>
        <pc:spChg chg="add del mod">
          <ac:chgData name="Steiner Andreas 6206 ED" userId="e6377c33-a923-4f14-8587-531c474c7b48" providerId="ADAL" clId="{6ECD27E6-B224-41CD-B4E0-E297462320DD}" dt="2023-11-23T19:54:48.274" v="4023"/>
          <ac:spMkLst>
            <pc:docMk/>
            <pc:sldMk cId="1966364550" sldId="2147473979"/>
            <ac:spMk id="33" creationId="{3B559758-B621-D566-8430-F05F1F2BEA8D}"/>
          </ac:spMkLst>
        </pc:spChg>
        <pc:spChg chg="add del mod">
          <ac:chgData name="Steiner Andreas 6206 ED" userId="e6377c33-a923-4f14-8587-531c474c7b48" providerId="ADAL" clId="{6ECD27E6-B224-41CD-B4E0-E297462320DD}" dt="2023-11-23T19:54:59.959" v="4178"/>
          <ac:spMkLst>
            <pc:docMk/>
            <pc:sldMk cId="1966364550" sldId="2147473979"/>
            <ac:spMk id="34" creationId="{D4390B63-BE9F-1587-CEE3-EC096A3ED98D}"/>
          </ac:spMkLst>
        </pc:spChg>
        <pc:spChg chg="add del mod">
          <ac:chgData name="Steiner Andreas 6206 ED" userId="e6377c33-a923-4f14-8587-531c474c7b48" providerId="ADAL" clId="{6ECD27E6-B224-41CD-B4E0-E297462320DD}" dt="2023-11-23T19:55:11.688" v="4333"/>
          <ac:spMkLst>
            <pc:docMk/>
            <pc:sldMk cId="1966364550" sldId="2147473979"/>
            <ac:spMk id="35" creationId="{AC0A0A26-B2BD-4AB1-BD65-6196B7F846AD}"/>
          </ac:spMkLst>
        </pc:spChg>
        <pc:spChg chg="add del mod">
          <ac:chgData name="Steiner Andreas 6206 ED" userId="e6377c33-a923-4f14-8587-531c474c7b48" providerId="ADAL" clId="{6ECD27E6-B224-41CD-B4E0-E297462320DD}" dt="2023-11-23T19:55:23.362" v="4488"/>
          <ac:spMkLst>
            <pc:docMk/>
            <pc:sldMk cId="1966364550" sldId="2147473979"/>
            <ac:spMk id="36" creationId="{33B59CDF-F4EC-B29D-6B2D-05CE8E8A0296}"/>
          </ac:spMkLst>
        </pc:spChg>
        <pc:spChg chg="add del mod">
          <ac:chgData name="Steiner Andreas 6206 ED" userId="e6377c33-a923-4f14-8587-531c474c7b48" providerId="ADAL" clId="{6ECD27E6-B224-41CD-B4E0-E297462320DD}" dt="2023-11-23T19:55:35.028" v="4643"/>
          <ac:spMkLst>
            <pc:docMk/>
            <pc:sldMk cId="1966364550" sldId="2147473979"/>
            <ac:spMk id="37" creationId="{7F5BEAAC-B121-AFC3-8DE9-85B9BC8E19A1}"/>
          </ac:spMkLst>
        </pc:spChg>
        <pc:spChg chg="add del mod">
          <ac:chgData name="Steiner Andreas 6206 ED" userId="e6377c33-a923-4f14-8587-531c474c7b48" providerId="ADAL" clId="{6ECD27E6-B224-41CD-B4E0-E297462320DD}" dt="2023-11-23T19:55:46.305" v="4798"/>
          <ac:spMkLst>
            <pc:docMk/>
            <pc:sldMk cId="1966364550" sldId="2147473979"/>
            <ac:spMk id="38" creationId="{A7B7717C-8EEE-5252-C9A6-897DB4AC0462}"/>
          </ac:spMkLst>
        </pc:spChg>
        <pc:spChg chg="add del mod">
          <ac:chgData name="Steiner Andreas 6206 ED" userId="e6377c33-a923-4f14-8587-531c474c7b48" providerId="ADAL" clId="{6ECD27E6-B224-41CD-B4E0-E297462320DD}" dt="2023-11-23T19:55:58.003" v="4953"/>
          <ac:spMkLst>
            <pc:docMk/>
            <pc:sldMk cId="1966364550" sldId="2147473979"/>
            <ac:spMk id="39" creationId="{3F6F857F-5DEC-0D10-5A60-ECDE5C4D12F9}"/>
          </ac:spMkLst>
        </pc:spChg>
        <pc:spChg chg="add del mod">
          <ac:chgData name="Steiner Andreas 6206 ED" userId="e6377c33-a923-4f14-8587-531c474c7b48" providerId="ADAL" clId="{6ECD27E6-B224-41CD-B4E0-E297462320DD}" dt="2023-11-23T19:56:09.683" v="5108"/>
          <ac:spMkLst>
            <pc:docMk/>
            <pc:sldMk cId="1966364550" sldId="2147473979"/>
            <ac:spMk id="40" creationId="{9CB7D512-CF49-5A66-F228-DB7FB1B68594}"/>
          </ac:spMkLst>
        </pc:spChg>
        <pc:spChg chg="add del mod">
          <ac:chgData name="Steiner Andreas 6206 ED" userId="e6377c33-a923-4f14-8587-531c474c7b48" providerId="ADAL" clId="{6ECD27E6-B224-41CD-B4E0-E297462320DD}" dt="2023-11-23T19:56:21.372" v="5263"/>
          <ac:spMkLst>
            <pc:docMk/>
            <pc:sldMk cId="1966364550" sldId="2147473979"/>
            <ac:spMk id="41" creationId="{08085392-E912-F508-9D34-BE28A20B5AA0}"/>
          </ac:spMkLst>
        </pc:spChg>
        <pc:spChg chg="add del mod">
          <ac:chgData name="Steiner Andreas 6206 ED" userId="e6377c33-a923-4f14-8587-531c474c7b48" providerId="ADAL" clId="{6ECD27E6-B224-41CD-B4E0-E297462320DD}" dt="2023-11-23T19:56:33.054" v="5418"/>
          <ac:spMkLst>
            <pc:docMk/>
            <pc:sldMk cId="1966364550" sldId="2147473979"/>
            <ac:spMk id="42" creationId="{FE3F0A78-3F1D-D8ED-41EB-B5D938AE124F}"/>
          </ac:spMkLst>
        </pc:spChg>
        <pc:spChg chg="add del mod">
          <ac:chgData name="Steiner Andreas 6206 ED" userId="e6377c33-a923-4f14-8587-531c474c7b48" providerId="ADAL" clId="{6ECD27E6-B224-41CD-B4E0-E297462320DD}" dt="2023-11-23T19:56:44.385" v="5573"/>
          <ac:spMkLst>
            <pc:docMk/>
            <pc:sldMk cId="1966364550" sldId="2147473979"/>
            <ac:spMk id="43" creationId="{AA1A389E-882A-BC0C-3821-363DB88FEDAE}"/>
          </ac:spMkLst>
        </pc:spChg>
        <pc:spChg chg="add del mod">
          <ac:chgData name="Steiner Andreas 6206 ED" userId="e6377c33-a923-4f14-8587-531c474c7b48" providerId="ADAL" clId="{6ECD27E6-B224-41CD-B4E0-E297462320DD}" dt="2023-11-23T19:56:54.791" v="5728"/>
          <ac:spMkLst>
            <pc:docMk/>
            <pc:sldMk cId="1966364550" sldId="2147473979"/>
            <ac:spMk id="44" creationId="{72199F9D-8774-FE09-6FC2-4FAE1E8FDE24}"/>
          </ac:spMkLst>
        </pc:spChg>
        <pc:spChg chg="add del mod">
          <ac:chgData name="Steiner Andreas 6206 ED" userId="e6377c33-a923-4f14-8587-531c474c7b48" providerId="ADAL" clId="{6ECD27E6-B224-41CD-B4E0-E297462320DD}" dt="2023-11-23T19:57:06.253" v="5883"/>
          <ac:spMkLst>
            <pc:docMk/>
            <pc:sldMk cId="1966364550" sldId="2147473979"/>
            <ac:spMk id="45" creationId="{6E91D592-91B4-8BB0-0C19-FEC604998F9F}"/>
          </ac:spMkLst>
        </pc:spChg>
        <pc:spChg chg="add del mod">
          <ac:chgData name="Steiner Andreas 6206 ED" userId="e6377c33-a923-4f14-8587-531c474c7b48" providerId="ADAL" clId="{6ECD27E6-B224-41CD-B4E0-E297462320DD}" dt="2023-11-23T19:57:17.957" v="6038"/>
          <ac:spMkLst>
            <pc:docMk/>
            <pc:sldMk cId="1966364550" sldId="2147473979"/>
            <ac:spMk id="46" creationId="{E5BA9A4D-3631-176A-0876-C6C6C7BC10D4}"/>
          </ac:spMkLst>
        </pc:spChg>
        <pc:spChg chg="add del mod">
          <ac:chgData name="Steiner Andreas 6206 ED" userId="e6377c33-a923-4f14-8587-531c474c7b48" providerId="ADAL" clId="{6ECD27E6-B224-41CD-B4E0-E297462320DD}" dt="2023-11-23T19:57:29.367" v="6193"/>
          <ac:spMkLst>
            <pc:docMk/>
            <pc:sldMk cId="1966364550" sldId="2147473979"/>
            <ac:spMk id="47" creationId="{D65D8B8A-E552-7222-E900-E5D0466D4365}"/>
          </ac:spMkLst>
        </pc:spChg>
        <pc:spChg chg="add del mod">
          <ac:chgData name="Steiner Andreas 6206 ED" userId="e6377c33-a923-4f14-8587-531c474c7b48" providerId="ADAL" clId="{6ECD27E6-B224-41CD-B4E0-E297462320DD}" dt="2023-11-23T19:57:41.025" v="6348"/>
          <ac:spMkLst>
            <pc:docMk/>
            <pc:sldMk cId="1966364550" sldId="2147473979"/>
            <ac:spMk id="48" creationId="{4B43EEAF-FA8B-E9EB-3B69-51D10D8B555C}"/>
          </ac:spMkLst>
        </pc:spChg>
        <pc:spChg chg="add del mod">
          <ac:chgData name="Steiner Andreas 6206 ED" userId="e6377c33-a923-4f14-8587-531c474c7b48" providerId="ADAL" clId="{6ECD27E6-B224-41CD-B4E0-E297462320DD}" dt="2023-11-23T19:57:52.691" v="6503"/>
          <ac:spMkLst>
            <pc:docMk/>
            <pc:sldMk cId="1966364550" sldId="2147473979"/>
            <ac:spMk id="49" creationId="{71EE1018-1467-BE7D-25D2-619C508577D5}"/>
          </ac:spMkLst>
        </pc:spChg>
        <pc:spChg chg="add del mod">
          <ac:chgData name="Steiner Andreas 6206 ED" userId="e6377c33-a923-4f14-8587-531c474c7b48" providerId="ADAL" clId="{6ECD27E6-B224-41CD-B4E0-E297462320DD}" dt="2023-11-23T19:58:04.403" v="6658"/>
          <ac:spMkLst>
            <pc:docMk/>
            <pc:sldMk cId="1966364550" sldId="2147473979"/>
            <ac:spMk id="50" creationId="{6222AFD6-4DBF-0B18-89A3-2BACD3C1C672}"/>
          </ac:spMkLst>
        </pc:spChg>
        <pc:spChg chg="add del mod">
          <ac:chgData name="Steiner Andreas 6206 ED" userId="e6377c33-a923-4f14-8587-531c474c7b48" providerId="ADAL" clId="{6ECD27E6-B224-41CD-B4E0-E297462320DD}" dt="2023-11-23T19:58:15.765" v="6813"/>
          <ac:spMkLst>
            <pc:docMk/>
            <pc:sldMk cId="1966364550" sldId="2147473979"/>
            <ac:spMk id="51" creationId="{6D54DCFE-1DBD-DC8E-B210-FBE2358512BF}"/>
          </ac:spMkLst>
        </pc:spChg>
        <pc:spChg chg="add del mod">
          <ac:chgData name="Steiner Andreas 6206 ED" userId="e6377c33-a923-4f14-8587-531c474c7b48" providerId="ADAL" clId="{6ECD27E6-B224-41CD-B4E0-E297462320DD}" dt="2023-11-23T19:58:27.922" v="6968"/>
          <ac:spMkLst>
            <pc:docMk/>
            <pc:sldMk cId="1966364550" sldId="2147473979"/>
            <ac:spMk id="52" creationId="{7B219936-CD62-D53A-97EA-A58503B6D897}"/>
          </ac:spMkLst>
        </pc:spChg>
        <pc:spChg chg="add del mod">
          <ac:chgData name="Steiner Andreas 6206 ED" userId="e6377c33-a923-4f14-8587-531c474c7b48" providerId="ADAL" clId="{6ECD27E6-B224-41CD-B4E0-E297462320DD}" dt="2023-11-23T19:58:39.654" v="7123"/>
          <ac:spMkLst>
            <pc:docMk/>
            <pc:sldMk cId="1966364550" sldId="2147473979"/>
            <ac:spMk id="53" creationId="{9D71B9B6-DD9E-F0BA-2592-37FB4B38CB70}"/>
          </ac:spMkLst>
        </pc:spChg>
        <pc:spChg chg="add del mod">
          <ac:chgData name="Steiner Andreas 6206 ED" userId="e6377c33-a923-4f14-8587-531c474c7b48" providerId="ADAL" clId="{6ECD27E6-B224-41CD-B4E0-E297462320DD}" dt="2023-11-23T19:58:51.344" v="7278"/>
          <ac:spMkLst>
            <pc:docMk/>
            <pc:sldMk cId="1966364550" sldId="2147473979"/>
            <ac:spMk id="54" creationId="{2EC7DB2D-3629-BA76-0302-011363B8FD8A}"/>
          </ac:spMkLst>
        </pc:spChg>
        <pc:spChg chg="add del mod">
          <ac:chgData name="Steiner Andreas 6206 ED" userId="e6377c33-a923-4f14-8587-531c474c7b48" providerId="ADAL" clId="{6ECD27E6-B224-41CD-B4E0-E297462320DD}" dt="2023-11-23T19:59:02.680" v="7433"/>
          <ac:spMkLst>
            <pc:docMk/>
            <pc:sldMk cId="1966364550" sldId="2147473979"/>
            <ac:spMk id="55" creationId="{09CC4A9C-36F2-5CB9-2E9C-78BCB4C45D90}"/>
          </ac:spMkLst>
        </pc:spChg>
        <pc:spChg chg="add del mod">
          <ac:chgData name="Steiner Andreas 6206 ED" userId="e6377c33-a923-4f14-8587-531c474c7b48" providerId="ADAL" clId="{6ECD27E6-B224-41CD-B4E0-E297462320DD}" dt="2023-11-24T08:31:41.580" v="7588"/>
          <ac:spMkLst>
            <pc:docMk/>
            <pc:sldMk cId="1966364550" sldId="2147473979"/>
            <ac:spMk id="56" creationId="{817F6197-0BEF-EEB6-2627-CCD6D007ADEB}"/>
          </ac:spMkLst>
        </pc:spChg>
        <pc:spChg chg="add del mod">
          <ac:chgData name="Steiner Andreas 6206 ED" userId="e6377c33-a923-4f14-8587-531c474c7b48" providerId="ADAL" clId="{6ECD27E6-B224-41CD-B4E0-E297462320DD}" dt="2023-11-24T08:31:45.262" v="7743"/>
          <ac:spMkLst>
            <pc:docMk/>
            <pc:sldMk cId="1966364550" sldId="2147473979"/>
            <ac:spMk id="57" creationId="{35270CA4-2268-C73E-39AE-D8E78956B7ED}"/>
          </ac:spMkLst>
        </pc:spChg>
        <pc:spChg chg="add del mod">
          <ac:chgData name="Steiner Andreas 6206 ED" userId="e6377c33-a923-4f14-8587-531c474c7b48" providerId="ADAL" clId="{6ECD27E6-B224-41CD-B4E0-E297462320DD}" dt="2023-11-24T08:31:47.102" v="7898"/>
          <ac:spMkLst>
            <pc:docMk/>
            <pc:sldMk cId="1966364550" sldId="2147473979"/>
            <ac:spMk id="58" creationId="{9BCCA33B-C89E-4414-0F48-D937A88541EF}"/>
          </ac:spMkLst>
        </pc:spChg>
        <pc:spChg chg="add del mod">
          <ac:chgData name="Steiner Andreas 6206 ED" userId="e6377c33-a923-4f14-8587-531c474c7b48" providerId="ADAL" clId="{6ECD27E6-B224-41CD-B4E0-E297462320DD}" dt="2023-11-24T08:31:48.990" v="8053"/>
          <ac:spMkLst>
            <pc:docMk/>
            <pc:sldMk cId="1966364550" sldId="2147473979"/>
            <ac:spMk id="59" creationId="{92D3A746-D410-67B6-4019-167566D8B535}"/>
          </ac:spMkLst>
        </pc:spChg>
        <pc:spChg chg="add del mod">
          <ac:chgData name="Steiner Andreas 6206 ED" userId="e6377c33-a923-4f14-8587-531c474c7b48" providerId="ADAL" clId="{6ECD27E6-B224-41CD-B4E0-E297462320DD}" dt="2023-11-24T08:31:50.829" v="8208"/>
          <ac:spMkLst>
            <pc:docMk/>
            <pc:sldMk cId="1966364550" sldId="2147473979"/>
            <ac:spMk id="60" creationId="{16DA8BAF-0A47-B74F-0248-22B9584ABF1B}"/>
          </ac:spMkLst>
        </pc:spChg>
        <pc:spChg chg="add del mod">
          <ac:chgData name="Steiner Andreas 6206 ED" userId="e6377c33-a923-4f14-8587-531c474c7b48" providerId="ADAL" clId="{6ECD27E6-B224-41CD-B4E0-E297462320DD}" dt="2023-11-24T08:31:52.641" v="8363"/>
          <ac:spMkLst>
            <pc:docMk/>
            <pc:sldMk cId="1966364550" sldId="2147473979"/>
            <ac:spMk id="61" creationId="{BA4F9D3A-6791-2C50-030E-DA6D6A8FE0AF}"/>
          </ac:spMkLst>
        </pc:spChg>
        <pc:spChg chg="add del mod">
          <ac:chgData name="Steiner Andreas 6206 ED" userId="e6377c33-a923-4f14-8587-531c474c7b48" providerId="ADAL" clId="{6ECD27E6-B224-41CD-B4E0-E297462320DD}" dt="2023-11-24T08:31:54.433" v="8518"/>
          <ac:spMkLst>
            <pc:docMk/>
            <pc:sldMk cId="1966364550" sldId="2147473979"/>
            <ac:spMk id="62" creationId="{48F4F5D6-C687-7D91-736B-913CC4312153}"/>
          </ac:spMkLst>
        </pc:spChg>
        <pc:spChg chg="add del mod">
          <ac:chgData name="Steiner Andreas 6206 ED" userId="e6377c33-a923-4f14-8587-531c474c7b48" providerId="ADAL" clId="{6ECD27E6-B224-41CD-B4E0-E297462320DD}" dt="2023-11-24T08:31:56.279" v="8673"/>
          <ac:spMkLst>
            <pc:docMk/>
            <pc:sldMk cId="1966364550" sldId="2147473979"/>
            <ac:spMk id="63" creationId="{C2CB704A-48D4-21DB-99F8-97EC0512B19F}"/>
          </ac:spMkLst>
        </pc:spChg>
        <pc:spChg chg="add del mod">
          <ac:chgData name="Steiner Andreas 6206 ED" userId="e6377c33-a923-4f14-8587-531c474c7b48" providerId="ADAL" clId="{6ECD27E6-B224-41CD-B4E0-E297462320DD}" dt="2023-11-24T08:31:58.168" v="8828"/>
          <ac:spMkLst>
            <pc:docMk/>
            <pc:sldMk cId="1966364550" sldId="2147473979"/>
            <ac:spMk id="64" creationId="{8E218BAB-9946-DAA2-8C94-4924A3BE7BB1}"/>
          </ac:spMkLst>
        </pc:spChg>
        <pc:spChg chg="add del mod">
          <ac:chgData name="Steiner Andreas 6206 ED" userId="e6377c33-a923-4f14-8587-531c474c7b48" providerId="ADAL" clId="{6ECD27E6-B224-41CD-B4E0-E297462320DD}" dt="2023-11-24T08:32:00.959" v="8983"/>
          <ac:spMkLst>
            <pc:docMk/>
            <pc:sldMk cId="1966364550" sldId="2147473979"/>
            <ac:spMk id="65" creationId="{8DFDC577-3EB1-A97A-8F4F-0635617FB8E2}"/>
          </ac:spMkLst>
        </pc:spChg>
        <pc:spChg chg="add del mod">
          <ac:chgData name="Steiner Andreas 6206 ED" userId="e6377c33-a923-4f14-8587-531c474c7b48" providerId="ADAL" clId="{6ECD27E6-B224-41CD-B4E0-E297462320DD}" dt="2023-11-24T08:32:03.242" v="9138"/>
          <ac:spMkLst>
            <pc:docMk/>
            <pc:sldMk cId="1966364550" sldId="2147473979"/>
            <ac:spMk id="66" creationId="{7299CB0E-689B-0B0F-157F-7B6089B51A38}"/>
          </ac:spMkLst>
        </pc:spChg>
        <pc:spChg chg="add del mod">
          <ac:chgData name="Steiner Andreas 6206 ED" userId="e6377c33-a923-4f14-8587-531c474c7b48" providerId="ADAL" clId="{6ECD27E6-B224-41CD-B4E0-E297462320DD}" dt="2023-11-24T08:32:05.269" v="9293"/>
          <ac:spMkLst>
            <pc:docMk/>
            <pc:sldMk cId="1966364550" sldId="2147473979"/>
            <ac:spMk id="67" creationId="{904D1F72-EF54-6AF0-DA5A-E45B13433F69}"/>
          </ac:spMkLst>
        </pc:spChg>
        <pc:spChg chg="add del mod">
          <ac:chgData name="Steiner Andreas 6206 ED" userId="e6377c33-a923-4f14-8587-531c474c7b48" providerId="ADAL" clId="{6ECD27E6-B224-41CD-B4E0-E297462320DD}" dt="2023-11-24T08:32:07.220" v="9448"/>
          <ac:spMkLst>
            <pc:docMk/>
            <pc:sldMk cId="1966364550" sldId="2147473979"/>
            <ac:spMk id="68" creationId="{D55A4C39-0841-9FA4-4138-07782E32CE63}"/>
          </ac:spMkLst>
        </pc:spChg>
        <pc:spChg chg="add del mod">
          <ac:chgData name="Steiner Andreas 6206 ED" userId="e6377c33-a923-4f14-8587-531c474c7b48" providerId="ADAL" clId="{6ECD27E6-B224-41CD-B4E0-E297462320DD}" dt="2023-11-24T08:32:09.558" v="9603"/>
          <ac:spMkLst>
            <pc:docMk/>
            <pc:sldMk cId="1966364550" sldId="2147473979"/>
            <ac:spMk id="69" creationId="{9CEC1CC5-A8A0-378B-69E4-A6FA0CD1F376}"/>
          </ac:spMkLst>
        </pc:spChg>
        <pc:spChg chg="add del mod">
          <ac:chgData name="Steiner Andreas 6206 ED" userId="e6377c33-a923-4f14-8587-531c474c7b48" providerId="ADAL" clId="{6ECD27E6-B224-41CD-B4E0-E297462320DD}" dt="2023-11-24T08:32:11.865" v="9758"/>
          <ac:spMkLst>
            <pc:docMk/>
            <pc:sldMk cId="1966364550" sldId="2147473979"/>
            <ac:spMk id="70" creationId="{12B1EE6B-BABA-901F-141C-85E61A1BF229}"/>
          </ac:spMkLst>
        </pc:spChg>
        <pc:spChg chg="add del mod">
          <ac:chgData name="Steiner Andreas 6206 ED" userId="e6377c33-a923-4f14-8587-531c474c7b48" providerId="ADAL" clId="{6ECD27E6-B224-41CD-B4E0-E297462320DD}" dt="2023-11-24T08:32:14.016" v="9913"/>
          <ac:spMkLst>
            <pc:docMk/>
            <pc:sldMk cId="1966364550" sldId="2147473979"/>
            <ac:spMk id="71" creationId="{22C0555B-70B6-7ECF-3241-01228BBC0A4F}"/>
          </ac:spMkLst>
        </pc:spChg>
        <pc:spChg chg="add del mod">
          <ac:chgData name="Steiner Andreas 6206 ED" userId="e6377c33-a923-4f14-8587-531c474c7b48" providerId="ADAL" clId="{6ECD27E6-B224-41CD-B4E0-E297462320DD}" dt="2023-11-24T08:32:15.960" v="10068"/>
          <ac:spMkLst>
            <pc:docMk/>
            <pc:sldMk cId="1966364550" sldId="2147473979"/>
            <ac:spMk id="72" creationId="{DCE39FAA-E07E-DFE4-5E04-8E96117AD544}"/>
          </ac:spMkLst>
        </pc:spChg>
        <pc:spChg chg="add del mod">
          <ac:chgData name="Steiner Andreas 6206 ED" userId="e6377c33-a923-4f14-8587-531c474c7b48" providerId="ADAL" clId="{6ECD27E6-B224-41CD-B4E0-E297462320DD}" dt="2023-11-24T08:32:17.948" v="10223"/>
          <ac:spMkLst>
            <pc:docMk/>
            <pc:sldMk cId="1966364550" sldId="2147473979"/>
            <ac:spMk id="73" creationId="{BD01FD1B-3506-37AF-22AF-DD5237AD8642}"/>
          </ac:spMkLst>
        </pc:spChg>
        <pc:spChg chg="add del mod">
          <ac:chgData name="Steiner Andreas 6206 ED" userId="e6377c33-a923-4f14-8587-531c474c7b48" providerId="ADAL" clId="{6ECD27E6-B224-41CD-B4E0-E297462320DD}" dt="2023-11-24T08:32:19.924" v="10378"/>
          <ac:spMkLst>
            <pc:docMk/>
            <pc:sldMk cId="1966364550" sldId="2147473979"/>
            <ac:spMk id="74" creationId="{2FF409B0-00D5-89A2-807E-4AF68BEE6E38}"/>
          </ac:spMkLst>
        </pc:spChg>
        <pc:spChg chg="add del mod">
          <ac:chgData name="Steiner Andreas 6206 ED" userId="e6377c33-a923-4f14-8587-531c474c7b48" providerId="ADAL" clId="{6ECD27E6-B224-41CD-B4E0-E297462320DD}" dt="2023-11-24T08:32:21.868" v="10533"/>
          <ac:spMkLst>
            <pc:docMk/>
            <pc:sldMk cId="1966364550" sldId="2147473979"/>
            <ac:spMk id="75" creationId="{E0BED7B8-05B5-5F9D-0A51-4F60BA288260}"/>
          </ac:spMkLst>
        </pc:spChg>
        <pc:spChg chg="add del mod">
          <ac:chgData name="Steiner Andreas 6206 ED" userId="e6377c33-a923-4f14-8587-531c474c7b48" providerId="ADAL" clId="{6ECD27E6-B224-41CD-B4E0-E297462320DD}" dt="2023-11-24T08:32:24.054" v="10688"/>
          <ac:spMkLst>
            <pc:docMk/>
            <pc:sldMk cId="1966364550" sldId="2147473979"/>
            <ac:spMk id="76" creationId="{06F9F2CF-18E5-28BE-BF21-967F575ACE62}"/>
          </ac:spMkLst>
        </pc:spChg>
        <pc:spChg chg="add del mod">
          <ac:chgData name="Steiner Andreas 6206 ED" userId="e6377c33-a923-4f14-8587-531c474c7b48" providerId="ADAL" clId="{6ECD27E6-B224-41CD-B4E0-E297462320DD}" dt="2023-11-24T08:32:25.996" v="10843"/>
          <ac:spMkLst>
            <pc:docMk/>
            <pc:sldMk cId="1966364550" sldId="2147473979"/>
            <ac:spMk id="77" creationId="{2BD196F8-E88E-726C-C276-309389A0F2F3}"/>
          </ac:spMkLst>
        </pc:spChg>
        <pc:spChg chg="add del mod">
          <ac:chgData name="Steiner Andreas 6206 ED" userId="e6377c33-a923-4f14-8587-531c474c7b48" providerId="ADAL" clId="{6ECD27E6-B224-41CD-B4E0-E297462320DD}" dt="2023-11-24T08:32:27.994" v="10998"/>
          <ac:spMkLst>
            <pc:docMk/>
            <pc:sldMk cId="1966364550" sldId="2147473979"/>
            <ac:spMk id="78" creationId="{D5003953-2522-B5EF-8A48-DB47AE6529EC}"/>
          </ac:spMkLst>
        </pc:spChg>
        <pc:spChg chg="add del mod">
          <ac:chgData name="Steiner Andreas 6206 ED" userId="e6377c33-a923-4f14-8587-531c474c7b48" providerId="ADAL" clId="{6ECD27E6-B224-41CD-B4E0-E297462320DD}" dt="2023-11-24T08:32:29.890" v="11153"/>
          <ac:spMkLst>
            <pc:docMk/>
            <pc:sldMk cId="1966364550" sldId="2147473979"/>
            <ac:spMk id="79" creationId="{C30A575C-D719-9BC5-6AA6-4C7195817D23}"/>
          </ac:spMkLst>
        </pc:spChg>
        <pc:spChg chg="add del mod">
          <ac:chgData name="Steiner Andreas 6206 ED" userId="e6377c33-a923-4f14-8587-531c474c7b48" providerId="ADAL" clId="{6ECD27E6-B224-41CD-B4E0-E297462320DD}" dt="2023-11-24T08:32:32.025" v="11308"/>
          <ac:spMkLst>
            <pc:docMk/>
            <pc:sldMk cId="1966364550" sldId="2147473979"/>
            <ac:spMk id="80" creationId="{E62AB1F4-E68E-C2F8-3E11-F63D92E7E040}"/>
          </ac:spMkLst>
        </pc:spChg>
        <pc:spChg chg="add del mod">
          <ac:chgData name="Steiner Andreas 6206 ED" userId="e6377c33-a923-4f14-8587-531c474c7b48" providerId="ADAL" clId="{6ECD27E6-B224-41CD-B4E0-E297462320DD}" dt="2023-11-24T08:32:34.412" v="11463"/>
          <ac:spMkLst>
            <pc:docMk/>
            <pc:sldMk cId="1966364550" sldId="2147473979"/>
            <ac:spMk id="81" creationId="{1E2EDD34-4158-5900-A107-D2D865DDF21A}"/>
          </ac:spMkLst>
        </pc:spChg>
        <pc:spChg chg="add del mod">
          <ac:chgData name="Steiner Andreas 6206 ED" userId="e6377c33-a923-4f14-8587-531c474c7b48" providerId="ADAL" clId="{6ECD27E6-B224-41CD-B4E0-E297462320DD}" dt="2023-11-24T08:32:36.741" v="11618"/>
          <ac:spMkLst>
            <pc:docMk/>
            <pc:sldMk cId="1966364550" sldId="2147473979"/>
            <ac:spMk id="82" creationId="{E362E281-C259-0336-B469-1270FAA69D93}"/>
          </ac:spMkLst>
        </pc:spChg>
        <pc:spChg chg="add del mod">
          <ac:chgData name="Steiner Andreas 6206 ED" userId="e6377c33-a923-4f14-8587-531c474c7b48" providerId="ADAL" clId="{6ECD27E6-B224-41CD-B4E0-E297462320DD}" dt="2023-11-24T08:32:38.666" v="11773"/>
          <ac:spMkLst>
            <pc:docMk/>
            <pc:sldMk cId="1966364550" sldId="2147473979"/>
            <ac:spMk id="83" creationId="{E6C10E2E-357E-723C-F6BF-C3265F3ADCB2}"/>
          </ac:spMkLst>
        </pc:spChg>
        <pc:spChg chg="add del mod">
          <ac:chgData name="Steiner Andreas 6206 ED" userId="e6377c33-a923-4f14-8587-531c474c7b48" providerId="ADAL" clId="{6ECD27E6-B224-41CD-B4E0-E297462320DD}" dt="2023-11-24T08:32:40.784" v="11928"/>
          <ac:spMkLst>
            <pc:docMk/>
            <pc:sldMk cId="1966364550" sldId="2147473979"/>
            <ac:spMk id="84" creationId="{047212E5-698D-ADBD-6C99-847E861056FE}"/>
          </ac:spMkLst>
        </pc:spChg>
        <pc:spChg chg="add del mod">
          <ac:chgData name="Steiner Andreas 6206 ED" userId="e6377c33-a923-4f14-8587-531c474c7b48" providerId="ADAL" clId="{6ECD27E6-B224-41CD-B4E0-E297462320DD}" dt="2023-11-24T08:32:42.936" v="12083"/>
          <ac:spMkLst>
            <pc:docMk/>
            <pc:sldMk cId="1966364550" sldId="2147473979"/>
            <ac:spMk id="85" creationId="{0ED091E9-C1CF-0879-515E-946FCD4EAFF9}"/>
          </ac:spMkLst>
        </pc:spChg>
        <pc:spChg chg="add del mod">
          <ac:chgData name="Steiner Andreas 6206 ED" userId="e6377c33-a923-4f14-8587-531c474c7b48" providerId="ADAL" clId="{6ECD27E6-B224-41CD-B4E0-E297462320DD}" dt="2023-11-24T08:32:45.074" v="12238"/>
          <ac:spMkLst>
            <pc:docMk/>
            <pc:sldMk cId="1966364550" sldId="2147473979"/>
            <ac:spMk id="86" creationId="{3789EF42-6876-6A7B-6284-43386FECC4EA}"/>
          </ac:spMkLst>
        </pc:spChg>
        <pc:spChg chg="add del mod">
          <ac:chgData name="Steiner Andreas 6206 ED" userId="e6377c33-a923-4f14-8587-531c474c7b48" providerId="ADAL" clId="{6ECD27E6-B224-41CD-B4E0-E297462320DD}" dt="2023-11-24T08:32:47.262" v="12393"/>
          <ac:spMkLst>
            <pc:docMk/>
            <pc:sldMk cId="1966364550" sldId="2147473979"/>
            <ac:spMk id="87" creationId="{3C64C524-DEA1-4B9E-CBB3-860AE21CBD83}"/>
          </ac:spMkLst>
        </pc:spChg>
        <pc:spChg chg="add del mod">
          <ac:chgData name="Steiner Andreas 6206 ED" userId="e6377c33-a923-4f14-8587-531c474c7b48" providerId="ADAL" clId="{6ECD27E6-B224-41CD-B4E0-E297462320DD}" dt="2023-11-24T08:32:49.319" v="12548"/>
          <ac:spMkLst>
            <pc:docMk/>
            <pc:sldMk cId="1966364550" sldId="2147473979"/>
            <ac:spMk id="88" creationId="{1093183D-8613-B83E-5839-2048781465FA}"/>
          </ac:spMkLst>
        </pc:spChg>
        <pc:spChg chg="add del mod">
          <ac:chgData name="Steiner Andreas 6206 ED" userId="e6377c33-a923-4f14-8587-531c474c7b48" providerId="ADAL" clId="{6ECD27E6-B224-41CD-B4E0-E297462320DD}" dt="2023-11-24T08:32:51.254" v="12703"/>
          <ac:spMkLst>
            <pc:docMk/>
            <pc:sldMk cId="1966364550" sldId="2147473979"/>
            <ac:spMk id="89" creationId="{06B0ECA3-B89D-74B1-8790-D0AF97A57056}"/>
          </ac:spMkLst>
        </pc:spChg>
        <pc:spChg chg="add del mod">
          <ac:chgData name="Steiner Andreas 6206 ED" userId="e6377c33-a923-4f14-8587-531c474c7b48" providerId="ADAL" clId="{6ECD27E6-B224-41CD-B4E0-E297462320DD}" dt="2023-11-24T08:32:53.265" v="12858"/>
          <ac:spMkLst>
            <pc:docMk/>
            <pc:sldMk cId="1966364550" sldId="2147473979"/>
            <ac:spMk id="90" creationId="{666120D2-69D5-06EF-C0D6-29D0C4C020A3}"/>
          </ac:spMkLst>
        </pc:spChg>
        <pc:spChg chg="add del mod">
          <ac:chgData name="Steiner Andreas 6206 ED" userId="e6377c33-a923-4f14-8587-531c474c7b48" providerId="ADAL" clId="{6ECD27E6-B224-41CD-B4E0-E297462320DD}" dt="2023-11-24T08:32:55.259" v="13013"/>
          <ac:spMkLst>
            <pc:docMk/>
            <pc:sldMk cId="1966364550" sldId="2147473979"/>
            <ac:spMk id="91" creationId="{F74646F1-6D62-358E-03DF-D48A651CE6BB}"/>
          </ac:spMkLst>
        </pc:spChg>
        <pc:spChg chg="add del mod">
          <ac:chgData name="Steiner Andreas 6206 ED" userId="e6377c33-a923-4f14-8587-531c474c7b48" providerId="ADAL" clId="{6ECD27E6-B224-41CD-B4E0-E297462320DD}" dt="2023-11-24T08:32:57.181" v="13168"/>
          <ac:spMkLst>
            <pc:docMk/>
            <pc:sldMk cId="1966364550" sldId="2147473979"/>
            <ac:spMk id="92" creationId="{213C9F58-4742-8B17-A9C5-EE9E934DDADE}"/>
          </ac:spMkLst>
        </pc:spChg>
        <pc:spChg chg="add del mod">
          <ac:chgData name="Steiner Andreas 6206 ED" userId="e6377c33-a923-4f14-8587-531c474c7b48" providerId="ADAL" clId="{6ECD27E6-B224-41CD-B4E0-E297462320DD}" dt="2023-11-24T08:32:59.290" v="13323"/>
          <ac:spMkLst>
            <pc:docMk/>
            <pc:sldMk cId="1966364550" sldId="2147473979"/>
            <ac:spMk id="93" creationId="{A5B1C4D7-7155-8F70-FF26-FDE45CDB29D3}"/>
          </ac:spMkLst>
        </pc:spChg>
        <pc:spChg chg="add del mod">
          <ac:chgData name="Steiner Andreas 6206 ED" userId="e6377c33-a923-4f14-8587-531c474c7b48" providerId="ADAL" clId="{6ECD27E6-B224-41CD-B4E0-E297462320DD}" dt="2023-11-24T08:33:01.434" v="13478"/>
          <ac:spMkLst>
            <pc:docMk/>
            <pc:sldMk cId="1966364550" sldId="2147473979"/>
            <ac:spMk id="94" creationId="{57FA6A0A-9632-DF60-6899-473D8819C3C3}"/>
          </ac:spMkLst>
        </pc:spChg>
        <pc:spChg chg="add del mod">
          <ac:chgData name="Steiner Andreas 6206 ED" userId="e6377c33-a923-4f14-8587-531c474c7b48" providerId="ADAL" clId="{6ECD27E6-B224-41CD-B4E0-E297462320DD}" dt="2023-11-24T08:33:03.777" v="13633"/>
          <ac:spMkLst>
            <pc:docMk/>
            <pc:sldMk cId="1966364550" sldId="2147473979"/>
            <ac:spMk id="95" creationId="{24AC11B9-DD07-452C-C03F-6F87E4CDE6F7}"/>
          </ac:spMkLst>
        </pc:spChg>
        <pc:spChg chg="add del mod">
          <ac:chgData name="Steiner Andreas 6206 ED" userId="e6377c33-a923-4f14-8587-531c474c7b48" providerId="ADAL" clId="{6ECD27E6-B224-41CD-B4E0-E297462320DD}" dt="2023-11-24T08:33:06.145" v="13788"/>
          <ac:spMkLst>
            <pc:docMk/>
            <pc:sldMk cId="1966364550" sldId="2147473979"/>
            <ac:spMk id="96" creationId="{CA889FBF-3337-4BD9-705F-973C04F07547}"/>
          </ac:spMkLst>
        </pc:spChg>
        <pc:spChg chg="add del mod">
          <ac:chgData name="Steiner Andreas 6206 ED" userId="e6377c33-a923-4f14-8587-531c474c7b48" providerId="ADAL" clId="{6ECD27E6-B224-41CD-B4E0-E297462320DD}" dt="2023-11-24T08:33:08.376" v="13943"/>
          <ac:spMkLst>
            <pc:docMk/>
            <pc:sldMk cId="1966364550" sldId="2147473979"/>
            <ac:spMk id="97" creationId="{4E9D013E-92FC-4E91-5A85-BB2EF972DA3D}"/>
          </ac:spMkLst>
        </pc:spChg>
        <pc:spChg chg="add del mod">
          <ac:chgData name="Steiner Andreas 6206 ED" userId="e6377c33-a923-4f14-8587-531c474c7b48" providerId="ADAL" clId="{6ECD27E6-B224-41CD-B4E0-E297462320DD}" dt="2023-11-24T08:33:10.801" v="14098"/>
          <ac:spMkLst>
            <pc:docMk/>
            <pc:sldMk cId="1966364550" sldId="2147473979"/>
            <ac:spMk id="98" creationId="{9770A534-AD5E-0A61-CA07-16F20231FB02}"/>
          </ac:spMkLst>
        </pc:spChg>
        <pc:spChg chg="add del mod">
          <ac:chgData name="Steiner Andreas 6206 ED" userId="e6377c33-a923-4f14-8587-531c474c7b48" providerId="ADAL" clId="{6ECD27E6-B224-41CD-B4E0-E297462320DD}" dt="2023-11-24T08:33:12.748" v="14253"/>
          <ac:spMkLst>
            <pc:docMk/>
            <pc:sldMk cId="1966364550" sldId="2147473979"/>
            <ac:spMk id="99" creationId="{0E5DEADE-0CCF-651B-EDD5-A8DC7F9D30B2}"/>
          </ac:spMkLst>
        </pc:spChg>
        <pc:spChg chg="add del mod">
          <ac:chgData name="Steiner Andreas 6206 ED" userId="e6377c33-a923-4f14-8587-531c474c7b48" providerId="ADAL" clId="{6ECD27E6-B224-41CD-B4E0-E297462320DD}" dt="2023-11-24T08:33:14.638" v="14408"/>
          <ac:spMkLst>
            <pc:docMk/>
            <pc:sldMk cId="1966364550" sldId="2147473979"/>
            <ac:spMk id="100" creationId="{56E4A425-6191-93EB-4FC4-2EEC2B8A512E}"/>
          </ac:spMkLst>
        </pc:spChg>
        <pc:spChg chg="add del mod">
          <ac:chgData name="Steiner Andreas 6206 ED" userId="e6377c33-a923-4f14-8587-531c474c7b48" providerId="ADAL" clId="{6ECD27E6-B224-41CD-B4E0-E297462320DD}" dt="2023-11-24T08:33:16.669" v="14563"/>
          <ac:spMkLst>
            <pc:docMk/>
            <pc:sldMk cId="1966364550" sldId="2147473979"/>
            <ac:spMk id="101" creationId="{965838CD-90DF-C67B-9D05-DD2669EBC6B0}"/>
          </ac:spMkLst>
        </pc:spChg>
        <pc:spChg chg="add del mod">
          <ac:chgData name="Steiner Andreas 6206 ED" userId="e6377c33-a923-4f14-8587-531c474c7b48" providerId="ADAL" clId="{6ECD27E6-B224-41CD-B4E0-E297462320DD}" dt="2023-11-24T08:33:18.979" v="14718"/>
          <ac:spMkLst>
            <pc:docMk/>
            <pc:sldMk cId="1966364550" sldId="2147473979"/>
            <ac:spMk id="102" creationId="{6846EEEF-5928-08A8-BADD-6171FF6628E6}"/>
          </ac:spMkLst>
        </pc:spChg>
        <pc:spChg chg="add del mod">
          <ac:chgData name="Steiner Andreas 6206 ED" userId="e6377c33-a923-4f14-8587-531c474c7b48" providerId="ADAL" clId="{6ECD27E6-B224-41CD-B4E0-E297462320DD}" dt="2023-11-24T08:33:21.418" v="14873"/>
          <ac:spMkLst>
            <pc:docMk/>
            <pc:sldMk cId="1966364550" sldId="2147473979"/>
            <ac:spMk id="103" creationId="{9FEF4B60-734A-6A8B-3A1C-29196F8E7963}"/>
          </ac:spMkLst>
        </pc:spChg>
        <pc:spChg chg="add del mod">
          <ac:chgData name="Steiner Andreas 6206 ED" userId="e6377c33-a923-4f14-8587-531c474c7b48" providerId="ADAL" clId="{6ECD27E6-B224-41CD-B4E0-E297462320DD}" dt="2023-11-24T08:33:23.772" v="15028"/>
          <ac:spMkLst>
            <pc:docMk/>
            <pc:sldMk cId="1966364550" sldId="2147473979"/>
            <ac:spMk id="104" creationId="{492ADEF1-B955-009A-4FC4-EFF2815FC401}"/>
          </ac:spMkLst>
        </pc:spChg>
        <pc:spChg chg="add del mod">
          <ac:chgData name="Steiner Andreas 6206 ED" userId="e6377c33-a923-4f14-8587-531c474c7b48" providerId="ADAL" clId="{6ECD27E6-B224-41CD-B4E0-E297462320DD}" dt="2023-11-24T08:33:26.125" v="15183"/>
          <ac:spMkLst>
            <pc:docMk/>
            <pc:sldMk cId="1966364550" sldId="2147473979"/>
            <ac:spMk id="105" creationId="{6A8CA984-0B3F-F641-6A58-DFE5BA553A4E}"/>
          </ac:spMkLst>
        </pc:spChg>
        <pc:spChg chg="add del mod">
          <ac:chgData name="Steiner Andreas 6206 ED" userId="e6377c33-a923-4f14-8587-531c474c7b48" providerId="ADAL" clId="{6ECD27E6-B224-41CD-B4E0-E297462320DD}" dt="2023-11-24T08:33:28.455" v="15338"/>
          <ac:spMkLst>
            <pc:docMk/>
            <pc:sldMk cId="1966364550" sldId="2147473979"/>
            <ac:spMk id="106" creationId="{D569ADCE-15EF-8A9A-C4F8-2928B9D09F99}"/>
          </ac:spMkLst>
        </pc:spChg>
        <pc:spChg chg="add del mod">
          <ac:chgData name="Steiner Andreas 6206 ED" userId="e6377c33-a923-4f14-8587-531c474c7b48" providerId="ADAL" clId="{6ECD27E6-B224-41CD-B4E0-E297462320DD}" dt="2023-11-24T08:33:30.923" v="15493"/>
          <ac:spMkLst>
            <pc:docMk/>
            <pc:sldMk cId="1966364550" sldId="2147473979"/>
            <ac:spMk id="107" creationId="{936852C2-522D-0634-A7EC-989DF5943647}"/>
          </ac:spMkLst>
        </pc:spChg>
        <pc:spChg chg="add del mod">
          <ac:chgData name="Steiner Andreas 6206 ED" userId="e6377c33-a923-4f14-8587-531c474c7b48" providerId="ADAL" clId="{6ECD27E6-B224-41CD-B4E0-E297462320DD}" dt="2023-11-24T08:33:33.666" v="15648"/>
          <ac:spMkLst>
            <pc:docMk/>
            <pc:sldMk cId="1966364550" sldId="2147473979"/>
            <ac:spMk id="108" creationId="{B58BE917-DDC8-B10F-B3AD-36BFC6B6E58C}"/>
          </ac:spMkLst>
        </pc:spChg>
        <pc:spChg chg="add del mod">
          <ac:chgData name="Steiner Andreas 6206 ED" userId="e6377c33-a923-4f14-8587-531c474c7b48" providerId="ADAL" clId="{6ECD27E6-B224-41CD-B4E0-E297462320DD}" dt="2023-11-24T08:33:35.956" v="15803"/>
          <ac:spMkLst>
            <pc:docMk/>
            <pc:sldMk cId="1966364550" sldId="2147473979"/>
            <ac:spMk id="109" creationId="{276A42A3-8511-2B28-AA0A-25A23B707D77}"/>
          </ac:spMkLst>
        </pc:spChg>
        <pc:spChg chg="add del mod">
          <ac:chgData name="Steiner Andreas 6206 ED" userId="e6377c33-a923-4f14-8587-531c474c7b48" providerId="ADAL" clId="{6ECD27E6-B224-41CD-B4E0-E297462320DD}" dt="2023-11-24T08:33:38.066" v="15958"/>
          <ac:spMkLst>
            <pc:docMk/>
            <pc:sldMk cId="1966364550" sldId="2147473979"/>
            <ac:spMk id="110" creationId="{6EA01288-DD0D-13D4-DA98-2334A2EDD8D6}"/>
          </ac:spMkLst>
        </pc:spChg>
        <pc:spChg chg="add del mod">
          <ac:chgData name="Steiner Andreas 6206 ED" userId="e6377c33-a923-4f14-8587-531c474c7b48" providerId="ADAL" clId="{6ECD27E6-B224-41CD-B4E0-E297462320DD}" dt="2023-11-24T08:33:40.485" v="16113"/>
          <ac:spMkLst>
            <pc:docMk/>
            <pc:sldMk cId="1966364550" sldId="2147473979"/>
            <ac:spMk id="111" creationId="{3B942B4A-CFB1-3CEA-A17D-C6D022D4BC01}"/>
          </ac:spMkLst>
        </pc:spChg>
        <pc:spChg chg="add del mod">
          <ac:chgData name="Steiner Andreas 6206 ED" userId="e6377c33-a923-4f14-8587-531c474c7b48" providerId="ADAL" clId="{6ECD27E6-B224-41CD-B4E0-E297462320DD}" dt="2023-11-24T08:33:43.175" v="16268"/>
          <ac:spMkLst>
            <pc:docMk/>
            <pc:sldMk cId="1966364550" sldId="2147473979"/>
            <ac:spMk id="112" creationId="{CC22C953-9857-7A94-B107-E3139AA20B75}"/>
          </ac:spMkLst>
        </pc:spChg>
        <pc:spChg chg="add del mod">
          <ac:chgData name="Steiner Andreas 6206 ED" userId="e6377c33-a923-4f14-8587-531c474c7b48" providerId="ADAL" clId="{6ECD27E6-B224-41CD-B4E0-E297462320DD}" dt="2023-11-24T08:33:45.595" v="16423"/>
          <ac:spMkLst>
            <pc:docMk/>
            <pc:sldMk cId="1966364550" sldId="2147473979"/>
            <ac:spMk id="113" creationId="{B6B7B7BD-3B7F-230A-ED73-B93FE59CF21C}"/>
          </ac:spMkLst>
        </pc:spChg>
        <pc:spChg chg="add del mod">
          <ac:chgData name="Steiner Andreas 6206 ED" userId="e6377c33-a923-4f14-8587-531c474c7b48" providerId="ADAL" clId="{6ECD27E6-B224-41CD-B4E0-E297462320DD}" dt="2023-11-24T08:33:47.788" v="16578"/>
          <ac:spMkLst>
            <pc:docMk/>
            <pc:sldMk cId="1966364550" sldId="2147473979"/>
            <ac:spMk id="114" creationId="{EC73DC83-ABA9-935D-5C8F-DCFF2DE57D55}"/>
          </ac:spMkLst>
        </pc:spChg>
        <pc:spChg chg="add del mod">
          <ac:chgData name="Steiner Andreas 6206 ED" userId="e6377c33-a923-4f14-8587-531c474c7b48" providerId="ADAL" clId="{6ECD27E6-B224-41CD-B4E0-E297462320DD}" dt="2023-11-24T08:33:50.568" v="16733"/>
          <ac:spMkLst>
            <pc:docMk/>
            <pc:sldMk cId="1966364550" sldId="2147473979"/>
            <ac:spMk id="115" creationId="{C6DE1D97-7D1D-8D92-483B-F151AEAB0A98}"/>
          </ac:spMkLst>
        </pc:spChg>
        <pc:spChg chg="add del mod">
          <ac:chgData name="Steiner Andreas 6206 ED" userId="e6377c33-a923-4f14-8587-531c474c7b48" providerId="ADAL" clId="{6ECD27E6-B224-41CD-B4E0-E297462320DD}" dt="2023-11-24T08:33:52.926" v="16888"/>
          <ac:spMkLst>
            <pc:docMk/>
            <pc:sldMk cId="1966364550" sldId="2147473979"/>
            <ac:spMk id="116" creationId="{C22B6A51-EFAB-5AEE-6531-79096B2B1F81}"/>
          </ac:spMkLst>
        </pc:spChg>
        <pc:spChg chg="add del mod">
          <ac:chgData name="Steiner Andreas 6206 ED" userId="e6377c33-a923-4f14-8587-531c474c7b48" providerId="ADAL" clId="{6ECD27E6-B224-41CD-B4E0-E297462320DD}" dt="2023-11-24T08:33:55.089" v="17043"/>
          <ac:spMkLst>
            <pc:docMk/>
            <pc:sldMk cId="1966364550" sldId="2147473979"/>
            <ac:spMk id="117" creationId="{934F4597-F1E5-9204-F3CF-2B7CE9F944BE}"/>
          </ac:spMkLst>
        </pc:spChg>
        <pc:spChg chg="add del mod">
          <ac:chgData name="Steiner Andreas 6206 ED" userId="e6377c33-a923-4f14-8587-531c474c7b48" providerId="ADAL" clId="{6ECD27E6-B224-41CD-B4E0-E297462320DD}" dt="2023-11-24T08:33:57.473" v="17198"/>
          <ac:spMkLst>
            <pc:docMk/>
            <pc:sldMk cId="1966364550" sldId="2147473979"/>
            <ac:spMk id="118" creationId="{302EED9A-53E9-0913-E29C-C4DD8BB31884}"/>
          </ac:spMkLst>
        </pc:spChg>
        <pc:spChg chg="add del mod">
          <ac:chgData name="Steiner Andreas 6206 ED" userId="e6377c33-a923-4f14-8587-531c474c7b48" providerId="ADAL" clId="{6ECD27E6-B224-41CD-B4E0-E297462320DD}" dt="2023-11-24T08:33:59.905" v="17353"/>
          <ac:spMkLst>
            <pc:docMk/>
            <pc:sldMk cId="1966364550" sldId="2147473979"/>
            <ac:spMk id="119" creationId="{BDC8939E-1B70-949B-559B-1597CC7B68A8}"/>
          </ac:spMkLst>
        </pc:spChg>
        <pc:spChg chg="add del mod">
          <ac:chgData name="Steiner Andreas 6206 ED" userId="e6377c33-a923-4f14-8587-531c474c7b48" providerId="ADAL" clId="{6ECD27E6-B224-41CD-B4E0-E297462320DD}" dt="2023-11-24T08:34:01.962" v="17508"/>
          <ac:spMkLst>
            <pc:docMk/>
            <pc:sldMk cId="1966364550" sldId="2147473979"/>
            <ac:spMk id="120" creationId="{090E10ED-951B-EB42-5D3B-ADFA1E0D7083}"/>
          </ac:spMkLst>
        </pc:spChg>
        <pc:spChg chg="add del mod">
          <ac:chgData name="Steiner Andreas 6206 ED" userId="e6377c33-a923-4f14-8587-531c474c7b48" providerId="ADAL" clId="{6ECD27E6-B224-41CD-B4E0-E297462320DD}" dt="2023-11-24T08:34:04.254" v="17663"/>
          <ac:spMkLst>
            <pc:docMk/>
            <pc:sldMk cId="1966364550" sldId="2147473979"/>
            <ac:spMk id="121" creationId="{BA115D33-B69E-F355-A19C-DBA3573BBAF9}"/>
          </ac:spMkLst>
        </pc:spChg>
        <pc:spChg chg="add del mod">
          <ac:chgData name="Steiner Andreas 6206 ED" userId="e6377c33-a923-4f14-8587-531c474c7b48" providerId="ADAL" clId="{6ECD27E6-B224-41CD-B4E0-E297462320DD}" dt="2023-11-24T08:34:06.138" v="17818"/>
          <ac:spMkLst>
            <pc:docMk/>
            <pc:sldMk cId="1966364550" sldId="2147473979"/>
            <ac:spMk id="122" creationId="{FBD6FB51-81B6-9FD8-4C41-23291F493AD1}"/>
          </ac:spMkLst>
        </pc:spChg>
        <pc:spChg chg="add del mod">
          <ac:chgData name="Steiner Andreas 6206 ED" userId="e6377c33-a923-4f14-8587-531c474c7b48" providerId="ADAL" clId="{6ECD27E6-B224-41CD-B4E0-E297462320DD}" dt="2023-11-24T08:34:08.227" v="17973"/>
          <ac:spMkLst>
            <pc:docMk/>
            <pc:sldMk cId="1966364550" sldId="2147473979"/>
            <ac:spMk id="123" creationId="{B9F03555-9802-846B-67FD-062D80B8A1E1}"/>
          </ac:spMkLst>
        </pc:spChg>
        <pc:spChg chg="add del mod">
          <ac:chgData name="Steiner Andreas 6206 ED" userId="e6377c33-a923-4f14-8587-531c474c7b48" providerId="ADAL" clId="{6ECD27E6-B224-41CD-B4E0-E297462320DD}" dt="2023-11-24T08:34:10.170" v="18128"/>
          <ac:spMkLst>
            <pc:docMk/>
            <pc:sldMk cId="1966364550" sldId="2147473979"/>
            <ac:spMk id="124" creationId="{AAAF9960-E7F8-206F-4E29-EB9C288A5C36}"/>
          </ac:spMkLst>
        </pc:spChg>
        <pc:spChg chg="add del mod">
          <ac:chgData name="Steiner Andreas 6206 ED" userId="e6377c33-a923-4f14-8587-531c474c7b48" providerId="ADAL" clId="{6ECD27E6-B224-41CD-B4E0-E297462320DD}" dt="2023-11-24T08:34:12.301" v="18283"/>
          <ac:spMkLst>
            <pc:docMk/>
            <pc:sldMk cId="1966364550" sldId="2147473979"/>
            <ac:spMk id="125" creationId="{E4771EF2-2775-5C8C-561B-DE37496A7C0B}"/>
          </ac:spMkLst>
        </pc:spChg>
        <pc:spChg chg="add del mod">
          <ac:chgData name="Steiner Andreas 6206 ED" userId="e6377c33-a923-4f14-8587-531c474c7b48" providerId="ADAL" clId="{6ECD27E6-B224-41CD-B4E0-E297462320DD}" dt="2023-11-24T08:34:14.618" v="18438"/>
          <ac:spMkLst>
            <pc:docMk/>
            <pc:sldMk cId="1966364550" sldId="2147473979"/>
            <ac:spMk id="126" creationId="{EDBBBF4E-44AF-419E-0AD0-E1896303775C}"/>
          </ac:spMkLst>
        </pc:spChg>
        <pc:spChg chg="add del mod">
          <ac:chgData name="Steiner Andreas 6206 ED" userId="e6377c33-a923-4f14-8587-531c474c7b48" providerId="ADAL" clId="{6ECD27E6-B224-41CD-B4E0-E297462320DD}" dt="2023-11-24T08:34:16.625" v="18593"/>
          <ac:spMkLst>
            <pc:docMk/>
            <pc:sldMk cId="1966364550" sldId="2147473979"/>
            <ac:spMk id="127" creationId="{32201901-0E69-065D-FE23-ED6AC5F2D03D}"/>
          </ac:spMkLst>
        </pc:spChg>
        <pc:spChg chg="add del mod">
          <ac:chgData name="Steiner Andreas 6206 ED" userId="e6377c33-a923-4f14-8587-531c474c7b48" providerId="ADAL" clId="{6ECD27E6-B224-41CD-B4E0-E297462320DD}" dt="2023-11-24T08:34:18.888" v="18748"/>
          <ac:spMkLst>
            <pc:docMk/>
            <pc:sldMk cId="1966364550" sldId="2147473979"/>
            <ac:spMk id="128" creationId="{4E5E492A-2E47-33C6-00CB-AB5EED278D2B}"/>
          </ac:spMkLst>
        </pc:spChg>
        <pc:spChg chg="add del mod">
          <ac:chgData name="Steiner Andreas 6206 ED" userId="e6377c33-a923-4f14-8587-531c474c7b48" providerId="ADAL" clId="{6ECD27E6-B224-41CD-B4E0-E297462320DD}" dt="2023-11-24T08:34:20.933" v="18903"/>
          <ac:spMkLst>
            <pc:docMk/>
            <pc:sldMk cId="1966364550" sldId="2147473979"/>
            <ac:spMk id="129" creationId="{BDAD5E60-4F78-496A-D374-482FE64D28BF}"/>
          </ac:spMkLst>
        </pc:spChg>
        <pc:spChg chg="add del mod">
          <ac:chgData name="Steiner Andreas 6206 ED" userId="e6377c33-a923-4f14-8587-531c474c7b48" providerId="ADAL" clId="{6ECD27E6-B224-41CD-B4E0-E297462320DD}" dt="2023-11-24T08:34:23.065" v="19058"/>
          <ac:spMkLst>
            <pc:docMk/>
            <pc:sldMk cId="1966364550" sldId="2147473979"/>
            <ac:spMk id="130" creationId="{F2210B16-CD47-F32A-1DED-F51F02B76104}"/>
          </ac:spMkLst>
        </pc:spChg>
        <pc:spChg chg="add del mod">
          <ac:chgData name="Steiner Andreas 6206 ED" userId="e6377c33-a923-4f14-8587-531c474c7b48" providerId="ADAL" clId="{6ECD27E6-B224-41CD-B4E0-E297462320DD}" dt="2023-11-24T08:34:26.369" v="19213"/>
          <ac:spMkLst>
            <pc:docMk/>
            <pc:sldMk cId="1966364550" sldId="2147473979"/>
            <ac:spMk id="131" creationId="{8EF0FEAF-09D1-7AEC-4D0F-D22DC6A1DBE5}"/>
          </ac:spMkLst>
        </pc:spChg>
        <pc:spChg chg="add del mod">
          <ac:chgData name="Steiner Andreas 6206 ED" userId="e6377c33-a923-4f14-8587-531c474c7b48" providerId="ADAL" clId="{6ECD27E6-B224-41CD-B4E0-E297462320DD}" dt="2023-11-24T08:34:29.029" v="19368"/>
          <ac:spMkLst>
            <pc:docMk/>
            <pc:sldMk cId="1966364550" sldId="2147473979"/>
            <ac:spMk id="132" creationId="{75E4C618-9027-D519-03C8-4F882D23BDF3}"/>
          </ac:spMkLst>
        </pc:spChg>
        <pc:spChg chg="add del mod">
          <ac:chgData name="Steiner Andreas 6206 ED" userId="e6377c33-a923-4f14-8587-531c474c7b48" providerId="ADAL" clId="{6ECD27E6-B224-41CD-B4E0-E297462320DD}" dt="2023-11-24T08:34:31.630" v="19523"/>
          <ac:spMkLst>
            <pc:docMk/>
            <pc:sldMk cId="1966364550" sldId="2147473979"/>
            <ac:spMk id="133" creationId="{F20C55A4-585D-629A-8736-4D6ED0E47F1A}"/>
          </ac:spMkLst>
        </pc:spChg>
        <pc:spChg chg="add del mod">
          <ac:chgData name="Steiner Andreas 6206 ED" userId="e6377c33-a923-4f14-8587-531c474c7b48" providerId="ADAL" clId="{6ECD27E6-B224-41CD-B4E0-E297462320DD}" dt="2023-11-24T08:34:33.840" v="19678"/>
          <ac:spMkLst>
            <pc:docMk/>
            <pc:sldMk cId="1966364550" sldId="2147473979"/>
            <ac:spMk id="134" creationId="{356044CB-8F3D-6C6C-BEE8-F63EC8063771}"/>
          </ac:spMkLst>
        </pc:spChg>
        <pc:spChg chg="add del mod">
          <ac:chgData name="Steiner Andreas 6206 ED" userId="e6377c33-a923-4f14-8587-531c474c7b48" providerId="ADAL" clId="{6ECD27E6-B224-41CD-B4E0-E297462320DD}" dt="2023-11-24T08:34:36.099" v="19833"/>
          <ac:spMkLst>
            <pc:docMk/>
            <pc:sldMk cId="1966364550" sldId="2147473979"/>
            <ac:spMk id="135" creationId="{A0C59B98-80F0-D86D-8B21-1963D6B54F22}"/>
          </ac:spMkLst>
        </pc:spChg>
        <pc:spChg chg="add del mod">
          <ac:chgData name="Steiner Andreas 6206 ED" userId="e6377c33-a923-4f14-8587-531c474c7b48" providerId="ADAL" clId="{6ECD27E6-B224-41CD-B4E0-E297462320DD}" dt="2023-11-24T08:34:38.327" v="19988"/>
          <ac:spMkLst>
            <pc:docMk/>
            <pc:sldMk cId="1966364550" sldId="2147473979"/>
            <ac:spMk id="136" creationId="{90DA8E8E-B6D3-F783-5BF8-F7F9869E9070}"/>
          </ac:spMkLst>
        </pc:spChg>
        <pc:spChg chg="add del mod">
          <ac:chgData name="Steiner Andreas 6206 ED" userId="e6377c33-a923-4f14-8587-531c474c7b48" providerId="ADAL" clId="{6ECD27E6-B224-41CD-B4E0-E297462320DD}" dt="2023-11-24T08:34:40.683" v="20143"/>
          <ac:spMkLst>
            <pc:docMk/>
            <pc:sldMk cId="1966364550" sldId="2147473979"/>
            <ac:spMk id="137" creationId="{56A023BD-3FEE-6BEE-9426-B96D08C0E147}"/>
          </ac:spMkLst>
        </pc:spChg>
        <pc:spChg chg="add del mod">
          <ac:chgData name="Steiner Andreas 6206 ED" userId="e6377c33-a923-4f14-8587-531c474c7b48" providerId="ADAL" clId="{6ECD27E6-B224-41CD-B4E0-E297462320DD}" dt="2023-11-24T08:34:43.383" v="20298"/>
          <ac:spMkLst>
            <pc:docMk/>
            <pc:sldMk cId="1966364550" sldId="2147473979"/>
            <ac:spMk id="138" creationId="{AB60DC44-E33B-5503-B8E4-EB33EEC31870}"/>
          </ac:spMkLst>
        </pc:spChg>
        <pc:spChg chg="add del mod">
          <ac:chgData name="Steiner Andreas 6206 ED" userId="e6377c33-a923-4f14-8587-531c474c7b48" providerId="ADAL" clId="{6ECD27E6-B224-41CD-B4E0-E297462320DD}" dt="2023-11-24T08:34:45.741" v="20453"/>
          <ac:spMkLst>
            <pc:docMk/>
            <pc:sldMk cId="1966364550" sldId="2147473979"/>
            <ac:spMk id="139" creationId="{C681D795-8A1D-F36D-63CE-E3601117E55A}"/>
          </ac:spMkLst>
        </pc:spChg>
        <pc:spChg chg="add del mod">
          <ac:chgData name="Steiner Andreas 6206 ED" userId="e6377c33-a923-4f14-8587-531c474c7b48" providerId="ADAL" clId="{6ECD27E6-B224-41CD-B4E0-E297462320DD}" dt="2023-11-24T08:34:47.955" v="20608"/>
          <ac:spMkLst>
            <pc:docMk/>
            <pc:sldMk cId="1966364550" sldId="2147473979"/>
            <ac:spMk id="140" creationId="{51C64411-EE31-89B7-5004-192E439C3884}"/>
          </ac:spMkLst>
        </pc:spChg>
        <pc:spChg chg="add del mod">
          <ac:chgData name="Steiner Andreas 6206 ED" userId="e6377c33-a923-4f14-8587-531c474c7b48" providerId="ADAL" clId="{6ECD27E6-B224-41CD-B4E0-E297462320DD}" dt="2023-11-24T08:34:50.419" v="20763"/>
          <ac:spMkLst>
            <pc:docMk/>
            <pc:sldMk cId="1966364550" sldId="2147473979"/>
            <ac:spMk id="141" creationId="{81C08F6D-247E-4ED8-713B-60AFD4109B9F}"/>
          </ac:spMkLst>
        </pc:spChg>
        <pc:spChg chg="add del mod">
          <ac:chgData name="Steiner Andreas 6206 ED" userId="e6377c33-a923-4f14-8587-531c474c7b48" providerId="ADAL" clId="{6ECD27E6-B224-41CD-B4E0-E297462320DD}" dt="2023-11-24T08:34:53.012" v="20918"/>
          <ac:spMkLst>
            <pc:docMk/>
            <pc:sldMk cId="1966364550" sldId="2147473979"/>
            <ac:spMk id="142" creationId="{1B08FAD4-7DB1-593C-EB52-5017F9B4742F}"/>
          </ac:spMkLst>
        </pc:spChg>
        <pc:spChg chg="add del mod">
          <ac:chgData name="Steiner Andreas 6206 ED" userId="e6377c33-a923-4f14-8587-531c474c7b48" providerId="ADAL" clId="{6ECD27E6-B224-41CD-B4E0-E297462320DD}" dt="2023-11-24T08:34:55.421" v="21073"/>
          <ac:spMkLst>
            <pc:docMk/>
            <pc:sldMk cId="1966364550" sldId="2147473979"/>
            <ac:spMk id="143" creationId="{C11F782E-C209-33DC-2F9C-02B6FAC898A1}"/>
          </ac:spMkLst>
        </pc:spChg>
        <pc:spChg chg="add del mod">
          <ac:chgData name="Steiner Andreas 6206 ED" userId="e6377c33-a923-4f14-8587-531c474c7b48" providerId="ADAL" clId="{6ECD27E6-B224-41CD-B4E0-E297462320DD}" dt="2023-11-24T08:34:57.821" v="21228"/>
          <ac:spMkLst>
            <pc:docMk/>
            <pc:sldMk cId="1966364550" sldId="2147473979"/>
            <ac:spMk id="144" creationId="{4E7C37FB-A1B0-1013-91C8-946A81B6918A}"/>
          </ac:spMkLst>
        </pc:spChg>
        <pc:spChg chg="add del mod">
          <ac:chgData name="Steiner Andreas 6206 ED" userId="e6377c33-a923-4f14-8587-531c474c7b48" providerId="ADAL" clId="{6ECD27E6-B224-41CD-B4E0-E297462320DD}" dt="2023-11-24T08:35:00.379" v="21383"/>
          <ac:spMkLst>
            <pc:docMk/>
            <pc:sldMk cId="1966364550" sldId="2147473979"/>
            <ac:spMk id="145" creationId="{875BEE8D-F69F-4618-9EEB-96EC2D8B84F0}"/>
          </ac:spMkLst>
        </pc:spChg>
        <pc:spChg chg="add del mod">
          <ac:chgData name="Steiner Andreas 6206 ED" userId="e6377c33-a923-4f14-8587-531c474c7b48" providerId="ADAL" clId="{6ECD27E6-B224-41CD-B4E0-E297462320DD}" dt="2023-11-24T08:35:02.896" v="21538"/>
          <ac:spMkLst>
            <pc:docMk/>
            <pc:sldMk cId="1966364550" sldId="2147473979"/>
            <ac:spMk id="146" creationId="{8A00352F-F5D5-EE9E-179B-ED60DB0A26F2}"/>
          </ac:spMkLst>
        </pc:spChg>
        <pc:spChg chg="add del mod">
          <ac:chgData name="Steiner Andreas 6206 ED" userId="e6377c33-a923-4f14-8587-531c474c7b48" providerId="ADAL" clId="{6ECD27E6-B224-41CD-B4E0-E297462320DD}" dt="2023-11-24T08:35:05.377" v="21693"/>
          <ac:spMkLst>
            <pc:docMk/>
            <pc:sldMk cId="1966364550" sldId="2147473979"/>
            <ac:spMk id="147" creationId="{08B509C0-2964-22E9-75BB-65C4AED04EDA}"/>
          </ac:spMkLst>
        </pc:spChg>
        <pc:spChg chg="add del mod">
          <ac:chgData name="Steiner Andreas 6206 ED" userId="e6377c33-a923-4f14-8587-531c474c7b48" providerId="ADAL" clId="{6ECD27E6-B224-41CD-B4E0-E297462320DD}" dt="2023-11-24T08:35:07.911" v="21848"/>
          <ac:spMkLst>
            <pc:docMk/>
            <pc:sldMk cId="1966364550" sldId="2147473979"/>
            <ac:spMk id="148" creationId="{5C52F37C-8D3D-19E3-F52A-456EC478ABBA}"/>
          </ac:spMkLst>
        </pc:spChg>
        <pc:spChg chg="add del mod">
          <ac:chgData name="Steiner Andreas 6206 ED" userId="e6377c33-a923-4f14-8587-531c474c7b48" providerId="ADAL" clId="{6ECD27E6-B224-41CD-B4E0-E297462320DD}" dt="2023-11-24T08:35:10.395" v="22003"/>
          <ac:spMkLst>
            <pc:docMk/>
            <pc:sldMk cId="1966364550" sldId="2147473979"/>
            <ac:spMk id="149" creationId="{D179EAC8-E47E-9186-AB80-BF5FBFA94000}"/>
          </ac:spMkLst>
        </pc:spChg>
        <pc:spChg chg="add del mod">
          <ac:chgData name="Steiner Andreas 6206 ED" userId="e6377c33-a923-4f14-8587-531c474c7b48" providerId="ADAL" clId="{6ECD27E6-B224-41CD-B4E0-E297462320DD}" dt="2023-11-24T08:35:12.853" v="22158"/>
          <ac:spMkLst>
            <pc:docMk/>
            <pc:sldMk cId="1966364550" sldId="2147473979"/>
            <ac:spMk id="150" creationId="{13CB0C92-2C4B-6A4F-28EB-389A382B14FB}"/>
          </ac:spMkLst>
        </pc:spChg>
        <pc:spChg chg="add del mod">
          <ac:chgData name="Steiner Andreas 6206 ED" userId="e6377c33-a923-4f14-8587-531c474c7b48" providerId="ADAL" clId="{6ECD27E6-B224-41CD-B4E0-E297462320DD}" dt="2023-11-24T08:35:14.964" v="22313"/>
          <ac:spMkLst>
            <pc:docMk/>
            <pc:sldMk cId="1966364550" sldId="2147473979"/>
            <ac:spMk id="151" creationId="{BF08ADE3-BAB0-0E25-A7EF-1462D76F7B16}"/>
          </ac:spMkLst>
        </pc:spChg>
        <pc:spChg chg="add del mod">
          <ac:chgData name="Steiner Andreas 6206 ED" userId="e6377c33-a923-4f14-8587-531c474c7b48" providerId="ADAL" clId="{6ECD27E6-B224-41CD-B4E0-E297462320DD}" dt="2023-11-24T08:35:17.402" v="22468"/>
          <ac:spMkLst>
            <pc:docMk/>
            <pc:sldMk cId="1966364550" sldId="2147473979"/>
            <ac:spMk id="152" creationId="{80905D9F-264E-5DD9-1442-FE64D6435EA8}"/>
          </ac:spMkLst>
        </pc:spChg>
        <pc:spChg chg="add del mod">
          <ac:chgData name="Steiner Andreas 6206 ED" userId="e6377c33-a923-4f14-8587-531c474c7b48" providerId="ADAL" clId="{6ECD27E6-B224-41CD-B4E0-E297462320DD}" dt="2023-11-24T08:35:19.799" v="22623"/>
          <ac:spMkLst>
            <pc:docMk/>
            <pc:sldMk cId="1966364550" sldId="2147473979"/>
            <ac:spMk id="153" creationId="{82A2C30B-0A29-00F1-7B88-E8D60C4F957D}"/>
          </ac:spMkLst>
        </pc:spChg>
        <pc:spChg chg="add del mod">
          <ac:chgData name="Steiner Andreas 6206 ED" userId="e6377c33-a923-4f14-8587-531c474c7b48" providerId="ADAL" clId="{6ECD27E6-B224-41CD-B4E0-E297462320DD}" dt="2023-11-24T08:35:22.199" v="22778"/>
          <ac:spMkLst>
            <pc:docMk/>
            <pc:sldMk cId="1966364550" sldId="2147473979"/>
            <ac:spMk id="154" creationId="{9F6EAEE5-F11A-A3B0-1DD4-7A9A6FBC6174}"/>
          </ac:spMkLst>
        </pc:spChg>
        <pc:spChg chg="add del mod">
          <ac:chgData name="Steiner Andreas 6206 ED" userId="e6377c33-a923-4f14-8587-531c474c7b48" providerId="ADAL" clId="{6ECD27E6-B224-41CD-B4E0-E297462320DD}" dt="2023-11-24T08:35:24.602" v="22933"/>
          <ac:spMkLst>
            <pc:docMk/>
            <pc:sldMk cId="1966364550" sldId="2147473979"/>
            <ac:spMk id="155" creationId="{29CD4025-4134-001D-CE4B-D09FEA41AF5F}"/>
          </ac:spMkLst>
        </pc:spChg>
        <pc:spChg chg="add del mod">
          <ac:chgData name="Steiner Andreas 6206 ED" userId="e6377c33-a923-4f14-8587-531c474c7b48" providerId="ADAL" clId="{6ECD27E6-B224-41CD-B4E0-E297462320DD}" dt="2023-11-24T08:35:27.194" v="23088"/>
          <ac:spMkLst>
            <pc:docMk/>
            <pc:sldMk cId="1966364550" sldId="2147473979"/>
            <ac:spMk id="156" creationId="{AE5B6D8B-0CF0-0F82-6360-F9B85661F4A2}"/>
          </ac:spMkLst>
        </pc:spChg>
        <pc:spChg chg="add del mod">
          <ac:chgData name="Steiner Andreas 6206 ED" userId="e6377c33-a923-4f14-8587-531c474c7b48" providerId="ADAL" clId="{6ECD27E6-B224-41CD-B4E0-E297462320DD}" dt="2023-11-24T08:35:29.901" v="23243"/>
          <ac:spMkLst>
            <pc:docMk/>
            <pc:sldMk cId="1966364550" sldId="2147473979"/>
            <ac:spMk id="157" creationId="{5B83A808-8814-0B4B-72CC-8CB42660680A}"/>
          </ac:spMkLst>
        </pc:spChg>
        <pc:spChg chg="add del mod">
          <ac:chgData name="Steiner Andreas 6206 ED" userId="e6377c33-a923-4f14-8587-531c474c7b48" providerId="ADAL" clId="{6ECD27E6-B224-41CD-B4E0-E297462320DD}" dt="2023-11-24T08:35:32.257" v="23398"/>
          <ac:spMkLst>
            <pc:docMk/>
            <pc:sldMk cId="1966364550" sldId="2147473979"/>
            <ac:spMk id="158" creationId="{511E4512-454B-E552-0FA4-AF3DC237C66D}"/>
          </ac:spMkLst>
        </pc:spChg>
        <pc:spChg chg="add del mod">
          <ac:chgData name="Steiner Andreas 6206 ED" userId="e6377c33-a923-4f14-8587-531c474c7b48" providerId="ADAL" clId="{6ECD27E6-B224-41CD-B4E0-E297462320DD}" dt="2023-11-24T08:35:34.654" v="23553"/>
          <ac:spMkLst>
            <pc:docMk/>
            <pc:sldMk cId="1966364550" sldId="2147473979"/>
            <ac:spMk id="159" creationId="{E9F0ACC5-8C5A-8E53-EA1B-11A3C50CE2CC}"/>
          </ac:spMkLst>
        </pc:spChg>
        <pc:spChg chg="add del mod">
          <ac:chgData name="Steiner Andreas 6206 ED" userId="e6377c33-a923-4f14-8587-531c474c7b48" providerId="ADAL" clId="{6ECD27E6-B224-41CD-B4E0-E297462320DD}" dt="2023-11-24T08:35:36.975" v="23708"/>
          <ac:spMkLst>
            <pc:docMk/>
            <pc:sldMk cId="1966364550" sldId="2147473979"/>
            <ac:spMk id="160" creationId="{739CDF21-AF98-254F-65B8-1491F5EA5BD2}"/>
          </ac:spMkLst>
        </pc:spChg>
        <pc:spChg chg="add del mod">
          <ac:chgData name="Steiner Andreas 6206 ED" userId="e6377c33-a923-4f14-8587-531c474c7b48" providerId="ADAL" clId="{6ECD27E6-B224-41CD-B4E0-E297462320DD}" dt="2023-11-24T08:35:39.386" v="23863"/>
          <ac:spMkLst>
            <pc:docMk/>
            <pc:sldMk cId="1966364550" sldId="2147473979"/>
            <ac:spMk id="161" creationId="{E7CD4C4C-1D69-81F6-FD88-AE28D3EC3C49}"/>
          </ac:spMkLst>
        </pc:spChg>
        <pc:spChg chg="add del mod">
          <ac:chgData name="Steiner Andreas 6206 ED" userId="e6377c33-a923-4f14-8587-531c474c7b48" providerId="ADAL" clId="{6ECD27E6-B224-41CD-B4E0-E297462320DD}" dt="2023-11-24T08:35:42.054" v="24018"/>
          <ac:spMkLst>
            <pc:docMk/>
            <pc:sldMk cId="1966364550" sldId="2147473979"/>
            <ac:spMk id="162" creationId="{95D8775A-7298-1BE0-A78E-C0A7C41E6357}"/>
          </ac:spMkLst>
        </pc:spChg>
        <pc:spChg chg="add del mod">
          <ac:chgData name="Steiner Andreas 6206 ED" userId="e6377c33-a923-4f14-8587-531c474c7b48" providerId="ADAL" clId="{6ECD27E6-B224-41CD-B4E0-E297462320DD}" dt="2023-11-24T08:35:44.525" v="24173"/>
          <ac:spMkLst>
            <pc:docMk/>
            <pc:sldMk cId="1966364550" sldId="2147473979"/>
            <ac:spMk id="163" creationId="{6912713F-E1F0-36DE-528B-007C506496C0}"/>
          </ac:spMkLst>
        </pc:spChg>
        <pc:spChg chg="add del mod">
          <ac:chgData name="Steiner Andreas 6206 ED" userId="e6377c33-a923-4f14-8587-531c474c7b48" providerId="ADAL" clId="{6ECD27E6-B224-41CD-B4E0-E297462320DD}" dt="2023-11-24T08:35:46.796" v="24328"/>
          <ac:spMkLst>
            <pc:docMk/>
            <pc:sldMk cId="1966364550" sldId="2147473979"/>
            <ac:spMk id="164" creationId="{319713D7-89EA-7775-C824-DCB849510DD9}"/>
          </ac:spMkLst>
        </pc:spChg>
        <pc:spChg chg="add del mod">
          <ac:chgData name="Steiner Andreas 6206 ED" userId="e6377c33-a923-4f14-8587-531c474c7b48" providerId="ADAL" clId="{6ECD27E6-B224-41CD-B4E0-E297462320DD}" dt="2023-11-24T08:35:49.048" v="24483"/>
          <ac:spMkLst>
            <pc:docMk/>
            <pc:sldMk cId="1966364550" sldId="2147473979"/>
            <ac:spMk id="165" creationId="{EDAD108D-9D25-6A58-C983-F153D11294A8}"/>
          </ac:spMkLst>
        </pc:spChg>
        <pc:spChg chg="add del mod">
          <ac:chgData name="Steiner Andreas 6206 ED" userId="e6377c33-a923-4f14-8587-531c474c7b48" providerId="ADAL" clId="{6ECD27E6-B224-41CD-B4E0-E297462320DD}" dt="2023-11-24T08:35:51.336" v="24638"/>
          <ac:spMkLst>
            <pc:docMk/>
            <pc:sldMk cId="1966364550" sldId="2147473979"/>
            <ac:spMk id="166" creationId="{78A9B0C0-C3D2-4CB2-14C5-9C557AC26631}"/>
          </ac:spMkLst>
        </pc:spChg>
        <pc:spChg chg="add del mod">
          <ac:chgData name="Steiner Andreas 6206 ED" userId="e6377c33-a923-4f14-8587-531c474c7b48" providerId="ADAL" clId="{6ECD27E6-B224-41CD-B4E0-E297462320DD}" dt="2023-11-24T08:35:54.273" v="24793"/>
          <ac:spMkLst>
            <pc:docMk/>
            <pc:sldMk cId="1966364550" sldId="2147473979"/>
            <ac:spMk id="167" creationId="{49687B0F-FA0D-9F8B-4CFA-95A2C067EEF2}"/>
          </ac:spMkLst>
        </pc:spChg>
        <pc:spChg chg="add del mod">
          <ac:chgData name="Steiner Andreas 6206 ED" userId="e6377c33-a923-4f14-8587-531c474c7b48" providerId="ADAL" clId="{6ECD27E6-B224-41CD-B4E0-E297462320DD}" dt="2023-11-24T08:35:56.730" v="24948"/>
          <ac:spMkLst>
            <pc:docMk/>
            <pc:sldMk cId="1966364550" sldId="2147473979"/>
            <ac:spMk id="168" creationId="{69F2D857-B8F3-E529-CCF8-9FF690DFFF35}"/>
          </ac:spMkLst>
        </pc:spChg>
        <pc:spChg chg="add del mod">
          <ac:chgData name="Steiner Andreas 6206 ED" userId="e6377c33-a923-4f14-8587-531c474c7b48" providerId="ADAL" clId="{6ECD27E6-B224-41CD-B4E0-E297462320DD}" dt="2023-11-24T08:35:59.276" v="25103"/>
          <ac:spMkLst>
            <pc:docMk/>
            <pc:sldMk cId="1966364550" sldId="2147473979"/>
            <ac:spMk id="169" creationId="{2FE7C215-30CE-9341-68F5-23DAF310B007}"/>
          </ac:spMkLst>
        </pc:spChg>
        <pc:spChg chg="add del mod">
          <ac:chgData name="Steiner Andreas 6206 ED" userId="e6377c33-a923-4f14-8587-531c474c7b48" providerId="ADAL" clId="{6ECD27E6-B224-41CD-B4E0-E297462320DD}" dt="2023-11-24T08:36:01.788" v="25258"/>
          <ac:spMkLst>
            <pc:docMk/>
            <pc:sldMk cId="1966364550" sldId="2147473979"/>
            <ac:spMk id="170" creationId="{91E5B5F4-147A-5F97-42B0-1A82950A8EDD}"/>
          </ac:spMkLst>
        </pc:spChg>
        <pc:spChg chg="add del mod">
          <ac:chgData name="Steiner Andreas 6206 ED" userId="e6377c33-a923-4f14-8587-531c474c7b48" providerId="ADAL" clId="{6ECD27E6-B224-41CD-B4E0-E297462320DD}" dt="2023-11-24T08:36:04.387" v="25413"/>
          <ac:spMkLst>
            <pc:docMk/>
            <pc:sldMk cId="1966364550" sldId="2147473979"/>
            <ac:spMk id="171" creationId="{15A499D4-8DCE-C3E1-D313-7C632D3227AA}"/>
          </ac:spMkLst>
        </pc:spChg>
        <pc:spChg chg="add del mod">
          <ac:chgData name="Steiner Andreas 6206 ED" userId="e6377c33-a923-4f14-8587-531c474c7b48" providerId="ADAL" clId="{6ECD27E6-B224-41CD-B4E0-E297462320DD}" dt="2023-11-24T08:36:06.888" v="25568"/>
          <ac:spMkLst>
            <pc:docMk/>
            <pc:sldMk cId="1966364550" sldId="2147473979"/>
            <ac:spMk id="172" creationId="{EF2DFBE3-9E2E-30E4-6AEB-73E9EEEA1B5C}"/>
          </ac:spMkLst>
        </pc:spChg>
        <pc:spChg chg="add del mod">
          <ac:chgData name="Steiner Andreas 6206 ED" userId="e6377c33-a923-4f14-8587-531c474c7b48" providerId="ADAL" clId="{6ECD27E6-B224-41CD-B4E0-E297462320DD}" dt="2023-11-24T08:36:09.386" v="25723"/>
          <ac:spMkLst>
            <pc:docMk/>
            <pc:sldMk cId="1966364550" sldId="2147473979"/>
            <ac:spMk id="173" creationId="{E7F4D866-639F-BAFD-608A-E2020EAA46F5}"/>
          </ac:spMkLst>
        </pc:spChg>
        <pc:spChg chg="add del mod">
          <ac:chgData name="Steiner Andreas 6206 ED" userId="e6377c33-a923-4f14-8587-531c474c7b48" providerId="ADAL" clId="{6ECD27E6-B224-41CD-B4E0-E297462320DD}" dt="2023-11-24T08:36:11.902" v="25878"/>
          <ac:spMkLst>
            <pc:docMk/>
            <pc:sldMk cId="1966364550" sldId="2147473979"/>
            <ac:spMk id="174" creationId="{46E1215E-0D98-E16B-50AB-CC8A69A174EB}"/>
          </ac:spMkLst>
        </pc:spChg>
        <pc:spChg chg="add del mod">
          <ac:chgData name="Steiner Andreas 6206 ED" userId="e6377c33-a923-4f14-8587-531c474c7b48" providerId="ADAL" clId="{6ECD27E6-B224-41CD-B4E0-E297462320DD}" dt="2023-11-24T08:36:14.290" v="26033"/>
          <ac:spMkLst>
            <pc:docMk/>
            <pc:sldMk cId="1966364550" sldId="2147473979"/>
            <ac:spMk id="175" creationId="{38BB650B-9BC3-2955-1C3B-876154D84F36}"/>
          </ac:spMkLst>
        </pc:spChg>
        <pc:spChg chg="add del mod">
          <ac:chgData name="Steiner Andreas 6206 ED" userId="e6377c33-a923-4f14-8587-531c474c7b48" providerId="ADAL" clId="{6ECD27E6-B224-41CD-B4E0-E297462320DD}" dt="2023-11-24T08:36:17.138" v="26188"/>
          <ac:spMkLst>
            <pc:docMk/>
            <pc:sldMk cId="1966364550" sldId="2147473979"/>
            <ac:spMk id="176" creationId="{22ED5A48-D30E-4FFA-CF7E-E76B0A737585}"/>
          </ac:spMkLst>
        </pc:spChg>
        <pc:spChg chg="add del mod">
          <ac:chgData name="Steiner Andreas 6206 ED" userId="e6377c33-a923-4f14-8587-531c474c7b48" providerId="ADAL" clId="{6ECD27E6-B224-41CD-B4E0-E297462320DD}" dt="2023-11-24T08:36:19.519" v="26343"/>
          <ac:spMkLst>
            <pc:docMk/>
            <pc:sldMk cId="1966364550" sldId="2147473979"/>
            <ac:spMk id="177" creationId="{665FDD6E-8056-F405-C705-D0E93AD3076B}"/>
          </ac:spMkLst>
        </pc:spChg>
        <pc:spChg chg="add del mod">
          <ac:chgData name="Steiner Andreas 6206 ED" userId="e6377c33-a923-4f14-8587-531c474c7b48" providerId="ADAL" clId="{6ECD27E6-B224-41CD-B4E0-E297462320DD}" dt="2023-11-24T08:36:21.804" v="26498"/>
          <ac:spMkLst>
            <pc:docMk/>
            <pc:sldMk cId="1966364550" sldId="2147473979"/>
            <ac:spMk id="178" creationId="{850E99E3-74C7-2853-F388-EEF0A5A99ACE}"/>
          </ac:spMkLst>
        </pc:spChg>
        <pc:spChg chg="add del mod">
          <ac:chgData name="Steiner Andreas 6206 ED" userId="e6377c33-a923-4f14-8587-531c474c7b48" providerId="ADAL" clId="{6ECD27E6-B224-41CD-B4E0-E297462320DD}" dt="2023-11-24T08:36:24.295" v="26653"/>
          <ac:spMkLst>
            <pc:docMk/>
            <pc:sldMk cId="1966364550" sldId="2147473979"/>
            <ac:spMk id="179" creationId="{62CABA41-3622-7BD2-1F27-9264A830F9B4}"/>
          </ac:spMkLst>
        </pc:spChg>
        <pc:spChg chg="add del mod">
          <ac:chgData name="Steiner Andreas 6206 ED" userId="e6377c33-a923-4f14-8587-531c474c7b48" providerId="ADAL" clId="{6ECD27E6-B224-41CD-B4E0-E297462320DD}" dt="2023-11-24T08:36:26.852" v="26808"/>
          <ac:spMkLst>
            <pc:docMk/>
            <pc:sldMk cId="1966364550" sldId="2147473979"/>
            <ac:spMk id="180" creationId="{9DCE745B-4C66-4686-FCED-0B7C8F0E6547}"/>
          </ac:spMkLst>
        </pc:spChg>
        <pc:spChg chg="add del mod">
          <ac:chgData name="Steiner Andreas 6206 ED" userId="e6377c33-a923-4f14-8587-531c474c7b48" providerId="ADAL" clId="{6ECD27E6-B224-41CD-B4E0-E297462320DD}" dt="2023-11-24T08:36:29.711" v="26963"/>
          <ac:spMkLst>
            <pc:docMk/>
            <pc:sldMk cId="1966364550" sldId="2147473979"/>
            <ac:spMk id="181" creationId="{38534826-A226-F45B-6CF7-CE6B62BDF1AB}"/>
          </ac:spMkLst>
        </pc:spChg>
        <pc:spChg chg="add del mod">
          <ac:chgData name="Steiner Andreas 6206 ED" userId="e6377c33-a923-4f14-8587-531c474c7b48" providerId="ADAL" clId="{6ECD27E6-B224-41CD-B4E0-E297462320DD}" dt="2023-11-24T08:36:32.456" v="27118"/>
          <ac:spMkLst>
            <pc:docMk/>
            <pc:sldMk cId="1966364550" sldId="2147473979"/>
            <ac:spMk id="182" creationId="{43DEDAC7-83F5-2C40-F3D4-F12378E3FF3B}"/>
          </ac:spMkLst>
        </pc:spChg>
        <pc:spChg chg="add del mod">
          <ac:chgData name="Steiner Andreas 6206 ED" userId="e6377c33-a923-4f14-8587-531c474c7b48" providerId="ADAL" clId="{6ECD27E6-B224-41CD-B4E0-E297462320DD}" dt="2023-11-24T08:36:34.968" v="27273"/>
          <ac:spMkLst>
            <pc:docMk/>
            <pc:sldMk cId="1966364550" sldId="2147473979"/>
            <ac:spMk id="183" creationId="{2307DDE4-E412-73B9-0601-940CF7149CB9}"/>
          </ac:spMkLst>
        </pc:spChg>
        <pc:spChg chg="add del mod">
          <ac:chgData name="Steiner Andreas 6206 ED" userId="e6377c33-a923-4f14-8587-531c474c7b48" providerId="ADAL" clId="{6ECD27E6-B224-41CD-B4E0-E297462320DD}" dt="2023-11-24T08:36:37.524" v="27428"/>
          <ac:spMkLst>
            <pc:docMk/>
            <pc:sldMk cId="1966364550" sldId="2147473979"/>
            <ac:spMk id="184" creationId="{938799EE-8DE0-4580-F2E0-FE063E224959}"/>
          </ac:spMkLst>
        </pc:spChg>
        <pc:spChg chg="add del mod">
          <ac:chgData name="Steiner Andreas 6206 ED" userId="e6377c33-a923-4f14-8587-531c474c7b48" providerId="ADAL" clId="{6ECD27E6-B224-41CD-B4E0-E297462320DD}" dt="2023-11-24T08:36:40.174" v="27583"/>
          <ac:spMkLst>
            <pc:docMk/>
            <pc:sldMk cId="1966364550" sldId="2147473979"/>
            <ac:spMk id="185" creationId="{2E41DEEC-6FD2-2683-3C59-85A486E229D1}"/>
          </ac:spMkLst>
        </pc:spChg>
        <pc:spChg chg="add del mod">
          <ac:chgData name="Steiner Andreas 6206 ED" userId="e6377c33-a923-4f14-8587-531c474c7b48" providerId="ADAL" clId="{6ECD27E6-B224-41CD-B4E0-E297462320DD}" dt="2023-11-24T08:36:42.867" v="27738"/>
          <ac:spMkLst>
            <pc:docMk/>
            <pc:sldMk cId="1966364550" sldId="2147473979"/>
            <ac:spMk id="186" creationId="{70E35A7F-2AFD-7768-2473-06B32BF65A56}"/>
          </ac:spMkLst>
        </pc:spChg>
        <pc:spChg chg="add del mod">
          <ac:chgData name="Steiner Andreas 6206 ED" userId="e6377c33-a923-4f14-8587-531c474c7b48" providerId="ADAL" clId="{6ECD27E6-B224-41CD-B4E0-E297462320DD}" dt="2023-11-24T08:36:45.359" v="27893"/>
          <ac:spMkLst>
            <pc:docMk/>
            <pc:sldMk cId="1966364550" sldId="2147473979"/>
            <ac:spMk id="187" creationId="{3144BF9B-6564-DD2A-BD69-891934D729AD}"/>
          </ac:spMkLst>
        </pc:spChg>
        <pc:spChg chg="add del mod">
          <ac:chgData name="Steiner Andreas 6206 ED" userId="e6377c33-a923-4f14-8587-531c474c7b48" providerId="ADAL" clId="{6ECD27E6-B224-41CD-B4E0-E297462320DD}" dt="2023-11-24T08:36:47.784" v="28048"/>
          <ac:spMkLst>
            <pc:docMk/>
            <pc:sldMk cId="1966364550" sldId="2147473979"/>
            <ac:spMk id="188" creationId="{34A96626-CFB9-1D79-7021-6B81B5C28632}"/>
          </ac:spMkLst>
        </pc:spChg>
        <pc:spChg chg="add del mod">
          <ac:chgData name="Steiner Andreas 6206 ED" userId="e6377c33-a923-4f14-8587-531c474c7b48" providerId="ADAL" clId="{6ECD27E6-B224-41CD-B4E0-E297462320DD}" dt="2023-11-24T08:36:50.292" v="28203"/>
          <ac:spMkLst>
            <pc:docMk/>
            <pc:sldMk cId="1966364550" sldId="2147473979"/>
            <ac:spMk id="189" creationId="{1027393A-E9F6-971A-1586-F2C2446E2678}"/>
          </ac:spMkLst>
        </pc:spChg>
        <pc:spChg chg="add del mod">
          <ac:chgData name="Steiner Andreas 6206 ED" userId="e6377c33-a923-4f14-8587-531c474c7b48" providerId="ADAL" clId="{6ECD27E6-B224-41CD-B4E0-E297462320DD}" dt="2023-11-24T08:36:53.338" v="28358"/>
          <ac:spMkLst>
            <pc:docMk/>
            <pc:sldMk cId="1966364550" sldId="2147473979"/>
            <ac:spMk id="190" creationId="{59AEF86E-34EC-4AD4-F05B-4A55B91D39F5}"/>
          </ac:spMkLst>
        </pc:spChg>
        <pc:spChg chg="add del mod">
          <ac:chgData name="Steiner Andreas 6206 ED" userId="e6377c33-a923-4f14-8587-531c474c7b48" providerId="ADAL" clId="{6ECD27E6-B224-41CD-B4E0-E297462320DD}" dt="2023-11-24T08:36:56.416" v="28513"/>
          <ac:spMkLst>
            <pc:docMk/>
            <pc:sldMk cId="1966364550" sldId="2147473979"/>
            <ac:spMk id="191" creationId="{BAAC915C-FC22-AB15-80AE-FC536D5A8DC5}"/>
          </ac:spMkLst>
        </pc:spChg>
        <pc:spChg chg="add del mod">
          <ac:chgData name="Steiner Andreas 6206 ED" userId="e6377c33-a923-4f14-8587-531c474c7b48" providerId="ADAL" clId="{6ECD27E6-B224-41CD-B4E0-E297462320DD}" dt="2023-11-24T08:36:59.328" v="28668"/>
          <ac:spMkLst>
            <pc:docMk/>
            <pc:sldMk cId="1966364550" sldId="2147473979"/>
            <ac:spMk id="192" creationId="{5335D7D5-52CC-B095-C4C0-257EB5531CA1}"/>
          </ac:spMkLst>
        </pc:spChg>
        <pc:spChg chg="add del mod">
          <ac:chgData name="Steiner Andreas 6206 ED" userId="e6377c33-a923-4f14-8587-531c474c7b48" providerId="ADAL" clId="{6ECD27E6-B224-41CD-B4E0-E297462320DD}" dt="2023-11-24T08:37:01.962" v="28823"/>
          <ac:spMkLst>
            <pc:docMk/>
            <pc:sldMk cId="1966364550" sldId="2147473979"/>
            <ac:spMk id="193" creationId="{26E34A94-6855-B583-DBD1-8F096BE86BB6}"/>
          </ac:spMkLst>
        </pc:spChg>
        <pc:spChg chg="add del mod">
          <ac:chgData name="Steiner Andreas 6206 ED" userId="e6377c33-a923-4f14-8587-531c474c7b48" providerId="ADAL" clId="{6ECD27E6-B224-41CD-B4E0-E297462320DD}" dt="2023-11-24T08:37:04.703" v="28978"/>
          <ac:spMkLst>
            <pc:docMk/>
            <pc:sldMk cId="1966364550" sldId="2147473979"/>
            <ac:spMk id="194" creationId="{C5727533-7F9D-2547-27B9-7F02166BBE24}"/>
          </ac:spMkLst>
        </pc:spChg>
        <pc:spChg chg="add del mod">
          <ac:chgData name="Steiner Andreas 6206 ED" userId="e6377c33-a923-4f14-8587-531c474c7b48" providerId="ADAL" clId="{6ECD27E6-B224-41CD-B4E0-E297462320DD}" dt="2023-11-24T08:37:07.520" v="29133"/>
          <ac:spMkLst>
            <pc:docMk/>
            <pc:sldMk cId="1966364550" sldId="2147473979"/>
            <ac:spMk id="195" creationId="{31824D3E-DC53-5485-E69D-F9F6D8FC6318}"/>
          </ac:spMkLst>
        </pc:spChg>
        <pc:spChg chg="add del mod">
          <ac:chgData name="Steiner Andreas 6206 ED" userId="e6377c33-a923-4f14-8587-531c474c7b48" providerId="ADAL" clId="{6ECD27E6-B224-41CD-B4E0-E297462320DD}" dt="2023-11-24T08:37:10.165" v="29288"/>
          <ac:spMkLst>
            <pc:docMk/>
            <pc:sldMk cId="1966364550" sldId="2147473979"/>
            <ac:spMk id="196" creationId="{94DDCE8D-922A-773B-0789-166830695104}"/>
          </ac:spMkLst>
        </pc:spChg>
        <pc:spChg chg="add del mod">
          <ac:chgData name="Steiner Andreas 6206 ED" userId="e6377c33-a923-4f14-8587-531c474c7b48" providerId="ADAL" clId="{6ECD27E6-B224-41CD-B4E0-E297462320DD}" dt="2023-11-24T08:37:12.829" v="29443"/>
          <ac:spMkLst>
            <pc:docMk/>
            <pc:sldMk cId="1966364550" sldId="2147473979"/>
            <ac:spMk id="197" creationId="{18C8BD4C-30B6-1D98-4611-1072559C8A91}"/>
          </ac:spMkLst>
        </pc:spChg>
        <pc:spChg chg="add del mod">
          <ac:chgData name="Steiner Andreas 6206 ED" userId="e6377c33-a923-4f14-8587-531c474c7b48" providerId="ADAL" clId="{6ECD27E6-B224-41CD-B4E0-E297462320DD}" dt="2023-11-24T08:37:16.185" v="29598"/>
          <ac:spMkLst>
            <pc:docMk/>
            <pc:sldMk cId="1966364550" sldId="2147473979"/>
            <ac:spMk id="198" creationId="{384FFEFD-5FDC-FFC8-1C90-B22195E77C50}"/>
          </ac:spMkLst>
        </pc:spChg>
        <pc:spChg chg="add del mod">
          <ac:chgData name="Steiner Andreas 6206 ED" userId="e6377c33-a923-4f14-8587-531c474c7b48" providerId="ADAL" clId="{6ECD27E6-B224-41CD-B4E0-E297462320DD}" dt="2023-11-24T08:37:18.932" v="29753"/>
          <ac:spMkLst>
            <pc:docMk/>
            <pc:sldMk cId="1966364550" sldId="2147473979"/>
            <ac:spMk id="199" creationId="{C134AD9C-98E4-597E-14C5-90A77D917829}"/>
          </ac:spMkLst>
        </pc:spChg>
        <pc:spChg chg="add del mod">
          <ac:chgData name="Steiner Andreas 6206 ED" userId="e6377c33-a923-4f14-8587-531c474c7b48" providerId="ADAL" clId="{6ECD27E6-B224-41CD-B4E0-E297462320DD}" dt="2023-11-24T08:37:21.388" v="29908"/>
          <ac:spMkLst>
            <pc:docMk/>
            <pc:sldMk cId="1966364550" sldId="2147473979"/>
            <ac:spMk id="200" creationId="{46D545F9-7FC1-5164-28E3-AE21C78B8F53}"/>
          </ac:spMkLst>
        </pc:spChg>
        <pc:spChg chg="add del mod">
          <ac:chgData name="Steiner Andreas 6206 ED" userId="e6377c33-a923-4f14-8587-531c474c7b48" providerId="ADAL" clId="{6ECD27E6-B224-41CD-B4E0-E297462320DD}" dt="2023-11-24T08:37:24.241" v="30063"/>
          <ac:spMkLst>
            <pc:docMk/>
            <pc:sldMk cId="1966364550" sldId="2147473979"/>
            <ac:spMk id="201" creationId="{C182F5F1-747C-E3BD-9ABB-030DBBA966F2}"/>
          </ac:spMkLst>
        </pc:spChg>
        <pc:spChg chg="add del mod">
          <ac:chgData name="Steiner Andreas 6206 ED" userId="e6377c33-a923-4f14-8587-531c474c7b48" providerId="ADAL" clId="{6ECD27E6-B224-41CD-B4E0-E297462320DD}" dt="2023-11-24T08:37:26.802" v="30218"/>
          <ac:spMkLst>
            <pc:docMk/>
            <pc:sldMk cId="1966364550" sldId="2147473979"/>
            <ac:spMk id="202" creationId="{4D40A4D8-F297-705D-765E-1F1B5B1B218A}"/>
          </ac:spMkLst>
        </pc:spChg>
        <pc:spChg chg="add del mod">
          <ac:chgData name="Steiner Andreas 6206 ED" userId="e6377c33-a923-4f14-8587-531c474c7b48" providerId="ADAL" clId="{6ECD27E6-B224-41CD-B4E0-E297462320DD}" dt="2023-11-24T08:37:30.131" v="30373"/>
          <ac:spMkLst>
            <pc:docMk/>
            <pc:sldMk cId="1966364550" sldId="2147473979"/>
            <ac:spMk id="203" creationId="{8C13A0A6-DFDE-DAA6-3409-DD3BB8A6A499}"/>
          </ac:spMkLst>
        </pc:spChg>
        <pc:spChg chg="add del mod">
          <ac:chgData name="Steiner Andreas 6206 ED" userId="e6377c33-a923-4f14-8587-531c474c7b48" providerId="ADAL" clId="{6ECD27E6-B224-41CD-B4E0-E297462320DD}" dt="2023-11-24T08:37:32.954" v="30528"/>
          <ac:spMkLst>
            <pc:docMk/>
            <pc:sldMk cId="1966364550" sldId="2147473979"/>
            <ac:spMk id="204" creationId="{33C6D3C4-023D-FD3B-D05A-C0B4FEB9EAF4}"/>
          </ac:spMkLst>
        </pc:spChg>
        <pc:spChg chg="add del mod">
          <ac:chgData name="Steiner Andreas 6206 ED" userId="e6377c33-a923-4f14-8587-531c474c7b48" providerId="ADAL" clId="{6ECD27E6-B224-41CD-B4E0-E297462320DD}" dt="2023-11-24T08:37:35.615" v="30683"/>
          <ac:spMkLst>
            <pc:docMk/>
            <pc:sldMk cId="1966364550" sldId="2147473979"/>
            <ac:spMk id="205" creationId="{445C8F7F-A207-842E-5236-1ABCEBF84B35}"/>
          </ac:spMkLst>
        </pc:spChg>
        <pc:spChg chg="add del mod">
          <ac:chgData name="Steiner Andreas 6206 ED" userId="e6377c33-a923-4f14-8587-531c474c7b48" providerId="ADAL" clId="{6ECD27E6-B224-41CD-B4E0-E297462320DD}" dt="2023-11-24T08:37:38.180" v="30838"/>
          <ac:spMkLst>
            <pc:docMk/>
            <pc:sldMk cId="1966364550" sldId="2147473979"/>
            <ac:spMk id="206" creationId="{ACE4D29B-6F65-E77C-0380-F90BF328EE14}"/>
          </ac:spMkLst>
        </pc:spChg>
        <pc:spChg chg="add del mod">
          <ac:chgData name="Steiner Andreas 6206 ED" userId="e6377c33-a923-4f14-8587-531c474c7b48" providerId="ADAL" clId="{6ECD27E6-B224-41CD-B4E0-E297462320DD}" dt="2023-11-24T08:37:42.298" v="30993"/>
          <ac:spMkLst>
            <pc:docMk/>
            <pc:sldMk cId="1966364550" sldId="2147473979"/>
            <ac:spMk id="207" creationId="{8FD22AA1-FF89-1178-1449-B531ACABDF43}"/>
          </ac:spMkLst>
        </pc:spChg>
        <pc:spChg chg="add del mod">
          <ac:chgData name="Steiner Andreas 6206 ED" userId="e6377c33-a923-4f14-8587-531c474c7b48" providerId="ADAL" clId="{6ECD27E6-B224-41CD-B4E0-E297462320DD}" dt="2023-11-24T08:37:45.169" v="31148"/>
          <ac:spMkLst>
            <pc:docMk/>
            <pc:sldMk cId="1966364550" sldId="2147473979"/>
            <ac:spMk id="208" creationId="{DEEDCD31-8019-A1CE-7682-EF09F9A8F938}"/>
          </ac:spMkLst>
        </pc:spChg>
        <pc:spChg chg="add del mod">
          <ac:chgData name="Steiner Andreas 6206 ED" userId="e6377c33-a923-4f14-8587-531c474c7b48" providerId="ADAL" clId="{6ECD27E6-B224-41CD-B4E0-E297462320DD}" dt="2023-11-24T08:37:48.011" v="31303"/>
          <ac:spMkLst>
            <pc:docMk/>
            <pc:sldMk cId="1966364550" sldId="2147473979"/>
            <ac:spMk id="209" creationId="{3AA1CEF1-ECB8-0BFB-8262-F4A4DC4A8287}"/>
          </ac:spMkLst>
        </pc:spChg>
        <pc:spChg chg="add del mod">
          <ac:chgData name="Steiner Andreas 6206 ED" userId="e6377c33-a923-4f14-8587-531c474c7b48" providerId="ADAL" clId="{6ECD27E6-B224-41CD-B4E0-E297462320DD}" dt="2023-11-24T08:37:50.692" v="31458"/>
          <ac:spMkLst>
            <pc:docMk/>
            <pc:sldMk cId="1966364550" sldId="2147473979"/>
            <ac:spMk id="210" creationId="{52CCDB6C-8D91-F9F1-3AE4-F1EDBEF7D3A7}"/>
          </ac:spMkLst>
        </pc:spChg>
        <pc:spChg chg="add del mod">
          <ac:chgData name="Steiner Andreas 6206 ED" userId="e6377c33-a923-4f14-8587-531c474c7b48" providerId="ADAL" clId="{6ECD27E6-B224-41CD-B4E0-E297462320DD}" dt="2023-11-24T08:37:53.320" v="31613"/>
          <ac:spMkLst>
            <pc:docMk/>
            <pc:sldMk cId="1966364550" sldId="2147473979"/>
            <ac:spMk id="211" creationId="{C593BAD3-2713-9B4C-80E7-362052631466}"/>
          </ac:spMkLst>
        </pc:spChg>
        <pc:spChg chg="add del mod">
          <ac:chgData name="Steiner Andreas 6206 ED" userId="e6377c33-a923-4f14-8587-531c474c7b48" providerId="ADAL" clId="{6ECD27E6-B224-41CD-B4E0-E297462320DD}" dt="2023-11-24T08:37:57.436" v="31768"/>
          <ac:spMkLst>
            <pc:docMk/>
            <pc:sldMk cId="1966364550" sldId="2147473979"/>
            <ac:spMk id="212" creationId="{8ACAE8CA-8076-8ACC-B330-B1A2AA81C22C}"/>
          </ac:spMkLst>
        </pc:spChg>
        <pc:spChg chg="add del mod">
          <ac:chgData name="Steiner Andreas 6206 ED" userId="e6377c33-a923-4f14-8587-531c474c7b48" providerId="ADAL" clId="{6ECD27E6-B224-41CD-B4E0-E297462320DD}" dt="2023-11-24T08:38:00.214" v="31923"/>
          <ac:spMkLst>
            <pc:docMk/>
            <pc:sldMk cId="1966364550" sldId="2147473979"/>
            <ac:spMk id="213" creationId="{08FA0CDF-8D23-F1F0-D2B7-DE81F143B7FD}"/>
          </ac:spMkLst>
        </pc:spChg>
        <pc:spChg chg="add del mod">
          <ac:chgData name="Steiner Andreas 6206 ED" userId="e6377c33-a923-4f14-8587-531c474c7b48" providerId="ADAL" clId="{6ECD27E6-B224-41CD-B4E0-E297462320DD}" dt="2023-11-24T08:38:03.150" v="32078"/>
          <ac:spMkLst>
            <pc:docMk/>
            <pc:sldMk cId="1966364550" sldId="2147473979"/>
            <ac:spMk id="214" creationId="{CCFE5734-18E3-C0C3-CB61-008C12F4B936}"/>
          </ac:spMkLst>
        </pc:spChg>
        <pc:spChg chg="add del mod">
          <ac:chgData name="Steiner Andreas 6206 ED" userId="e6377c33-a923-4f14-8587-531c474c7b48" providerId="ADAL" clId="{6ECD27E6-B224-41CD-B4E0-E297462320DD}" dt="2023-11-24T08:38:06.055" v="32233"/>
          <ac:spMkLst>
            <pc:docMk/>
            <pc:sldMk cId="1966364550" sldId="2147473979"/>
            <ac:spMk id="215" creationId="{E784FCC3-7865-C88A-D67A-B9B0C2CB2550}"/>
          </ac:spMkLst>
        </pc:spChg>
        <pc:spChg chg="add del mod">
          <ac:chgData name="Steiner Andreas 6206 ED" userId="e6377c33-a923-4f14-8587-531c474c7b48" providerId="ADAL" clId="{6ECD27E6-B224-41CD-B4E0-E297462320DD}" dt="2023-11-24T08:38:09.276" v="32388"/>
          <ac:spMkLst>
            <pc:docMk/>
            <pc:sldMk cId="1966364550" sldId="2147473979"/>
            <ac:spMk id="216" creationId="{599A311A-1BF4-C6BD-6222-4A21A44C3666}"/>
          </ac:spMkLst>
        </pc:spChg>
        <pc:spChg chg="add del mod">
          <ac:chgData name="Steiner Andreas 6206 ED" userId="e6377c33-a923-4f14-8587-531c474c7b48" providerId="ADAL" clId="{6ECD27E6-B224-41CD-B4E0-E297462320DD}" dt="2023-11-24T08:38:11.967" v="32543"/>
          <ac:spMkLst>
            <pc:docMk/>
            <pc:sldMk cId="1966364550" sldId="2147473979"/>
            <ac:spMk id="217" creationId="{8F1FF88B-4D66-D76D-B658-7619977A92F4}"/>
          </ac:spMkLst>
        </pc:spChg>
        <pc:spChg chg="add del mod">
          <ac:chgData name="Steiner Andreas 6206 ED" userId="e6377c33-a923-4f14-8587-531c474c7b48" providerId="ADAL" clId="{6ECD27E6-B224-41CD-B4E0-E297462320DD}" dt="2023-11-24T08:38:14.579" v="32698"/>
          <ac:spMkLst>
            <pc:docMk/>
            <pc:sldMk cId="1966364550" sldId="2147473979"/>
            <ac:spMk id="218" creationId="{B1315F91-0B27-45D4-26A9-2F9E86C4460D}"/>
          </ac:spMkLst>
        </pc:spChg>
        <pc:spChg chg="add del mod">
          <ac:chgData name="Steiner Andreas 6206 ED" userId="e6377c33-a923-4f14-8587-531c474c7b48" providerId="ADAL" clId="{6ECD27E6-B224-41CD-B4E0-E297462320DD}" dt="2023-11-24T08:38:17.296" v="32853"/>
          <ac:spMkLst>
            <pc:docMk/>
            <pc:sldMk cId="1966364550" sldId="2147473979"/>
            <ac:spMk id="219" creationId="{D9A0E6A4-8C49-8ADC-22E5-ECE2D0788FC9}"/>
          </ac:spMkLst>
        </pc:spChg>
        <pc:spChg chg="add del mod">
          <ac:chgData name="Steiner Andreas 6206 ED" userId="e6377c33-a923-4f14-8587-531c474c7b48" providerId="ADAL" clId="{6ECD27E6-B224-41CD-B4E0-E297462320DD}" dt="2023-11-24T08:38:20.291" v="33008"/>
          <ac:spMkLst>
            <pc:docMk/>
            <pc:sldMk cId="1966364550" sldId="2147473979"/>
            <ac:spMk id="220" creationId="{C83F30B6-2BDB-A64B-856A-612E1AB4E6E1}"/>
          </ac:spMkLst>
        </pc:spChg>
        <pc:spChg chg="add del mod">
          <ac:chgData name="Steiner Andreas 6206 ED" userId="e6377c33-a923-4f14-8587-531c474c7b48" providerId="ADAL" clId="{6ECD27E6-B224-41CD-B4E0-E297462320DD}" dt="2023-11-24T08:38:23.142" v="33163"/>
          <ac:spMkLst>
            <pc:docMk/>
            <pc:sldMk cId="1966364550" sldId="2147473979"/>
            <ac:spMk id="221" creationId="{926AF9E8-2380-78A8-649C-69B4A5DF13A3}"/>
          </ac:spMkLst>
        </pc:spChg>
        <pc:spChg chg="add del mod">
          <ac:chgData name="Steiner Andreas 6206 ED" userId="e6377c33-a923-4f14-8587-531c474c7b48" providerId="ADAL" clId="{6ECD27E6-B224-41CD-B4E0-E297462320DD}" dt="2023-11-24T08:38:25.996" v="33318"/>
          <ac:spMkLst>
            <pc:docMk/>
            <pc:sldMk cId="1966364550" sldId="2147473979"/>
            <ac:spMk id="222" creationId="{655EB5AD-1F8C-CC1F-E571-DF68CB7DC362}"/>
          </ac:spMkLst>
        </pc:spChg>
        <pc:spChg chg="add del mod">
          <ac:chgData name="Steiner Andreas 6206 ED" userId="e6377c33-a923-4f14-8587-531c474c7b48" providerId="ADAL" clId="{6ECD27E6-B224-41CD-B4E0-E297462320DD}" dt="2023-11-24T08:38:29.620" v="33473"/>
          <ac:spMkLst>
            <pc:docMk/>
            <pc:sldMk cId="1966364550" sldId="2147473979"/>
            <ac:spMk id="223" creationId="{67B01916-976F-C0CE-4952-FCE37C45E6D0}"/>
          </ac:spMkLst>
        </pc:spChg>
        <pc:spChg chg="add del mod">
          <ac:chgData name="Steiner Andreas 6206 ED" userId="e6377c33-a923-4f14-8587-531c474c7b48" providerId="ADAL" clId="{6ECD27E6-B224-41CD-B4E0-E297462320DD}" dt="2023-11-24T08:38:32.701" v="33628"/>
          <ac:spMkLst>
            <pc:docMk/>
            <pc:sldMk cId="1966364550" sldId="2147473979"/>
            <ac:spMk id="224" creationId="{6436F41B-837A-F022-98E8-33A7A6B79FA1}"/>
          </ac:spMkLst>
        </pc:spChg>
        <pc:spChg chg="add del mod">
          <ac:chgData name="Steiner Andreas 6206 ED" userId="e6377c33-a923-4f14-8587-531c474c7b48" providerId="ADAL" clId="{6ECD27E6-B224-41CD-B4E0-E297462320DD}" dt="2023-11-24T08:38:35.337" v="33783"/>
          <ac:spMkLst>
            <pc:docMk/>
            <pc:sldMk cId="1966364550" sldId="2147473979"/>
            <ac:spMk id="225" creationId="{0FB3EA6C-DFEC-B893-2B1D-B05E85CAB77C}"/>
          </ac:spMkLst>
        </pc:spChg>
        <pc:spChg chg="add del mod">
          <ac:chgData name="Steiner Andreas 6206 ED" userId="e6377c33-a923-4f14-8587-531c474c7b48" providerId="ADAL" clId="{6ECD27E6-B224-41CD-B4E0-E297462320DD}" dt="2023-11-24T08:38:37.976" v="33938"/>
          <ac:spMkLst>
            <pc:docMk/>
            <pc:sldMk cId="1966364550" sldId="2147473979"/>
            <ac:spMk id="226" creationId="{96DC33B9-6F55-7C72-EBD8-70B3D73950CF}"/>
          </ac:spMkLst>
        </pc:spChg>
        <pc:spChg chg="add del mod">
          <ac:chgData name="Steiner Andreas 6206 ED" userId="e6377c33-a923-4f14-8587-531c474c7b48" providerId="ADAL" clId="{6ECD27E6-B224-41CD-B4E0-E297462320DD}" dt="2023-11-24T08:38:40.530" v="34093"/>
          <ac:spMkLst>
            <pc:docMk/>
            <pc:sldMk cId="1966364550" sldId="2147473979"/>
            <ac:spMk id="227" creationId="{C957D358-030E-9328-ACD6-83791CB4723E}"/>
          </ac:spMkLst>
        </pc:spChg>
        <pc:spChg chg="add del mod">
          <ac:chgData name="Steiner Andreas 6206 ED" userId="e6377c33-a923-4f14-8587-531c474c7b48" providerId="ADAL" clId="{6ECD27E6-B224-41CD-B4E0-E297462320DD}" dt="2023-11-24T08:38:43.123" v="34248"/>
          <ac:spMkLst>
            <pc:docMk/>
            <pc:sldMk cId="1966364550" sldId="2147473979"/>
            <ac:spMk id="228" creationId="{10B1E17F-0A8F-545C-B43D-EC047E6FD4A8}"/>
          </ac:spMkLst>
        </pc:spChg>
        <pc:spChg chg="add del mod">
          <ac:chgData name="Steiner Andreas 6206 ED" userId="e6377c33-a923-4f14-8587-531c474c7b48" providerId="ADAL" clId="{6ECD27E6-B224-41CD-B4E0-E297462320DD}" dt="2023-11-24T08:38:47.070" v="34403"/>
          <ac:spMkLst>
            <pc:docMk/>
            <pc:sldMk cId="1966364550" sldId="2147473979"/>
            <ac:spMk id="229" creationId="{BEA74D63-E55B-11E9-F65D-31018882B7AE}"/>
          </ac:spMkLst>
        </pc:spChg>
        <pc:spChg chg="add del mod">
          <ac:chgData name="Steiner Andreas 6206 ED" userId="e6377c33-a923-4f14-8587-531c474c7b48" providerId="ADAL" clId="{6ECD27E6-B224-41CD-B4E0-E297462320DD}" dt="2023-11-24T08:38:49.767" v="34558"/>
          <ac:spMkLst>
            <pc:docMk/>
            <pc:sldMk cId="1966364550" sldId="2147473979"/>
            <ac:spMk id="230" creationId="{2E44118F-1157-141C-B006-5CEFB124762F}"/>
          </ac:spMkLst>
        </pc:spChg>
        <pc:spChg chg="add del mod">
          <ac:chgData name="Steiner Andreas 6206 ED" userId="e6377c33-a923-4f14-8587-531c474c7b48" providerId="ADAL" clId="{6ECD27E6-B224-41CD-B4E0-E297462320DD}" dt="2023-11-24T08:38:52.595" v="34713"/>
          <ac:spMkLst>
            <pc:docMk/>
            <pc:sldMk cId="1966364550" sldId="2147473979"/>
            <ac:spMk id="231" creationId="{2CA69CAB-EF1D-73E1-0C37-D9E11D194FB9}"/>
          </ac:spMkLst>
        </pc:spChg>
        <pc:spChg chg="add del mod">
          <ac:chgData name="Steiner Andreas 6206 ED" userId="e6377c33-a923-4f14-8587-531c474c7b48" providerId="ADAL" clId="{6ECD27E6-B224-41CD-B4E0-E297462320DD}" dt="2023-11-24T08:38:55.544" v="34868"/>
          <ac:spMkLst>
            <pc:docMk/>
            <pc:sldMk cId="1966364550" sldId="2147473979"/>
            <ac:spMk id="232" creationId="{E84E7A04-1DD3-6ACA-0441-15AA133443FF}"/>
          </ac:spMkLst>
        </pc:spChg>
        <pc:spChg chg="add del mod">
          <ac:chgData name="Steiner Andreas 6206 ED" userId="e6377c33-a923-4f14-8587-531c474c7b48" providerId="ADAL" clId="{6ECD27E6-B224-41CD-B4E0-E297462320DD}" dt="2023-11-24T08:38:58.786" v="35023"/>
          <ac:spMkLst>
            <pc:docMk/>
            <pc:sldMk cId="1966364550" sldId="2147473979"/>
            <ac:spMk id="233" creationId="{D868ADE1-32FD-EEAB-6C3F-9062556BFC94}"/>
          </ac:spMkLst>
        </pc:spChg>
        <pc:spChg chg="add del mod">
          <ac:chgData name="Steiner Andreas 6206 ED" userId="e6377c33-a923-4f14-8587-531c474c7b48" providerId="ADAL" clId="{6ECD27E6-B224-41CD-B4E0-E297462320DD}" dt="2023-11-24T08:39:02.416" v="35178"/>
          <ac:spMkLst>
            <pc:docMk/>
            <pc:sldMk cId="1966364550" sldId="2147473979"/>
            <ac:spMk id="234" creationId="{1A09B8BE-9B70-63F4-A0D3-34C4BF00345D}"/>
          </ac:spMkLst>
        </pc:spChg>
        <pc:spChg chg="add del mod">
          <ac:chgData name="Steiner Andreas 6206 ED" userId="e6377c33-a923-4f14-8587-531c474c7b48" providerId="ADAL" clId="{6ECD27E6-B224-41CD-B4E0-E297462320DD}" dt="2023-11-24T08:39:05.429" v="35333"/>
          <ac:spMkLst>
            <pc:docMk/>
            <pc:sldMk cId="1966364550" sldId="2147473979"/>
            <ac:spMk id="235" creationId="{9219D012-9BB8-9BDD-3B4E-AA6E3C9AFCDC}"/>
          </ac:spMkLst>
        </pc:spChg>
        <pc:spChg chg="add del mod">
          <ac:chgData name="Steiner Andreas 6206 ED" userId="e6377c33-a923-4f14-8587-531c474c7b48" providerId="ADAL" clId="{6ECD27E6-B224-41CD-B4E0-E297462320DD}" dt="2023-11-24T08:39:08.365" v="35488"/>
          <ac:spMkLst>
            <pc:docMk/>
            <pc:sldMk cId="1966364550" sldId="2147473979"/>
            <ac:spMk id="236" creationId="{80A6165D-80B7-9840-0773-D6DC0566C7A8}"/>
          </ac:spMkLst>
        </pc:spChg>
        <pc:spChg chg="add del mod">
          <ac:chgData name="Steiner Andreas 6206 ED" userId="e6377c33-a923-4f14-8587-531c474c7b48" providerId="ADAL" clId="{6ECD27E6-B224-41CD-B4E0-E297462320DD}" dt="2023-11-24T08:39:12.910" v="35643"/>
          <ac:spMkLst>
            <pc:docMk/>
            <pc:sldMk cId="1966364550" sldId="2147473979"/>
            <ac:spMk id="237" creationId="{DFC3B3B6-2969-BE53-B687-D0BA8F0BDA26}"/>
          </ac:spMkLst>
        </pc:spChg>
        <pc:spChg chg="add del mod">
          <ac:chgData name="Steiner Andreas 6206 ED" userId="e6377c33-a923-4f14-8587-531c474c7b48" providerId="ADAL" clId="{6ECD27E6-B224-41CD-B4E0-E297462320DD}" dt="2023-11-24T08:39:15.569" v="35798"/>
          <ac:spMkLst>
            <pc:docMk/>
            <pc:sldMk cId="1966364550" sldId="2147473979"/>
            <ac:spMk id="238" creationId="{7389EB1D-3B6C-B548-08D1-B88195F194ED}"/>
          </ac:spMkLst>
        </pc:spChg>
        <pc:spChg chg="add del mod">
          <ac:chgData name="Steiner Andreas 6206 ED" userId="e6377c33-a923-4f14-8587-531c474c7b48" providerId="ADAL" clId="{6ECD27E6-B224-41CD-B4E0-E297462320DD}" dt="2023-11-24T08:39:18.249" v="35953"/>
          <ac:spMkLst>
            <pc:docMk/>
            <pc:sldMk cId="1966364550" sldId="2147473979"/>
            <ac:spMk id="239" creationId="{151ED7DD-B79E-7C8E-958A-33D12B78BBBD}"/>
          </ac:spMkLst>
        </pc:spChg>
        <pc:spChg chg="add del mod">
          <ac:chgData name="Steiner Andreas 6206 ED" userId="e6377c33-a923-4f14-8587-531c474c7b48" providerId="ADAL" clId="{6ECD27E6-B224-41CD-B4E0-E297462320DD}" dt="2023-11-24T08:39:20.893" v="36108"/>
          <ac:spMkLst>
            <pc:docMk/>
            <pc:sldMk cId="1966364550" sldId="2147473979"/>
            <ac:spMk id="240" creationId="{399907BC-87AC-C044-59F5-F5E07C00D08C}"/>
          </ac:spMkLst>
        </pc:spChg>
        <pc:spChg chg="add del mod">
          <ac:chgData name="Steiner Andreas 6206 ED" userId="e6377c33-a923-4f14-8587-531c474c7b48" providerId="ADAL" clId="{6ECD27E6-B224-41CD-B4E0-E297462320DD}" dt="2023-11-24T08:39:24.040" v="36263"/>
          <ac:spMkLst>
            <pc:docMk/>
            <pc:sldMk cId="1966364550" sldId="2147473979"/>
            <ac:spMk id="241" creationId="{77BD4200-72BB-A8DC-A957-41C65ADF5EE1}"/>
          </ac:spMkLst>
        </pc:spChg>
        <pc:spChg chg="add del mod">
          <ac:chgData name="Steiner Andreas 6206 ED" userId="e6377c33-a923-4f14-8587-531c474c7b48" providerId="ADAL" clId="{6ECD27E6-B224-41CD-B4E0-E297462320DD}" dt="2023-11-24T08:39:26.761" v="36418"/>
          <ac:spMkLst>
            <pc:docMk/>
            <pc:sldMk cId="1966364550" sldId="2147473979"/>
            <ac:spMk id="242" creationId="{37ABE69D-01E1-B92A-FB75-EFD65FA44963}"/>
          </ac:spMkLst>
        </pc:spChg>
        <pc:spChg chg="add del mod">
          <ac:chgData name="Steiner Andreas 6206 ED" userId="e6377c33-a923-4f14-8587-531c474c7b48" providerId="ADAL" clId="{6ECD27E6-B224-41CD-B4E0-E297462320DD}" dt="2023-11-24T08:39:29.518" v="36573"/>
          <ac:spMkLst>
            <pc:docMk/>
            <pc:sldMk cId="1966364550" sldId="2147473979"/>
            <ac:spMk id="243" creationId="{4A7E9DDC-1D3B-1835-D42E-582FECBC79F6}"/>
          </ac:spMkLst>
        </pc:spChg>
        <pc:spChg chg="add del mod">
          <ac:chgData name="Steiner Andreas 6206 ED" userId="e6377c33-a923-4f14-8587-531c474c7b48" providerId="ADAL" clId="{6ECD27E6-B224-41CD-B4E0-E297462320DD}" dt="2023-11-24T08:39:32.090" v="36728"/>
          <ac:spMkLst>
            <pc:docMk/>
            <pc:sldMk cId="1966364550" sldId="2147473979"/>
            <ac:spMk id="244" creationId="{A4BF33CF-5EE9-12C0-061A-B167DA07FC52}"/>
          </ac:spMkLst>
        </pc:spChg>
        <pc:spChg chg="add del mod">
          <ac:chgData name="Steiner Andreas 6206 ED" userId="e6377c33-a923-4f14-8587-531c474c7b48" providerId="ADAL" clId="{6ECD27E6-B224-41CD-B4E0-E297462320DD}" dt="2023-11-24T08:39:34.588" v="36883"/>
          <ac:spMkLst>
            <pc:docMk/>
            <pc:sldMk cId="1966364550" sldId="2147473979"/>
            <ac:spMk id="245" creationId="{7F2C49BD-7C06-E6DA-8912-8F9F92D7458F}"/>
          </ac:spMkLst>
        </pc:spChg>
        <pc:spChg chg="add del mod">
          <ac:chgData name="Steiner Andreas 6206 ED" userId="e6377c33-a923-4f14-8587-531c474c7b48" providerId="ADAL" clId="{6ECD27E6-B224-41CD-B4E0-E297462320DD}" dt="2023-11-24T08:39:37.519" v="37038"/>
          <ac:spMkLst>
            <pc:docMk/>
            <pc:sldMk cId="1966364550" sldId="2147473979"/>
            <ac:spMk id="246" creationId="{93E7BA61-DDE3-6043-A317-CB78A2BF4841}"/>
          </ac:spMkLst>
        </pc:spChg>
        <pc:spChg chg="add del mod">
          <ac:chgData name="Steiner Andreas 6206 ED" userId="e6377c33-a923-4f14-8587-531c474c7b48" providerId="ADAL" clId="{6ECD27E6-B224-41CD-B4E0-E297462320DD}" dt="2023-11-24T08:39:40.145" v="37193"/>
          <ac:spMkLst>
            <pc:docMk/>
            <pc:sldMk cId="1966364550" sldId="2147473979"/>
            <ac:spMk id="247" creationId="{F20E6276-8363-48A8-9EB6-3F5723BD1F09}"/>
          </ac:spMkLst>
        </pc:spChg>
        <pc:spChg chg="add del mod">
          <ac:chgData name="Steiner Andreas 6206 ED" userId="e6377c33-a923-4f14-8587-531c474c7b48" providerId="ADAL" clId="{6ECD27E6-B224-41CD-B4E0-E297462320DD}" dt="2023-11-24T08:39:42.583" v="37348"/>
          <ac:spMkLst>
            <pc:docMk/>
            <pc:sldMk cId="1966364550" sldId="2147473979"/>
            <ac:spMk id="248" creationId="{54EBA562-75E5-0E58-EDD9-0A130D98FC7B}"/>
          </ac:spMkLst>
        </pc:spChg>
        <pc:spChg chg="add del mod">
          <ac:chgData name="Steiner Andreas 6206 ED" userId="e6377c33-a923-4f14-8587-531c474c7b48" providerId="ADAL" clId="{6ECD27E6-B224-41CD-B4E0-E297462320DD}" dt="2023-11-24T08:39:45.145" v="37503"/>
          <ac:spMkLst>
            <pc:docMk/>
            <pc:sldMk cId="1966364550" sldId="2147473979"/>
            <ac:spMk id="249" creationId="{50E0F9EC-A800-50B4-2F0A-31C9D26F2622}"/>
          </ac:spMkLst>
        </pc:spChg>
        <pc:spChg chg="add del mod">
          <ac:chgData name="Steiner Andreas 6206 ED" userId="e6377c33-a923-4f14-8587-531c474c7b48" providerId="ADAL" clId="{6ECD27E6-B224-41CD-B4E0-E297462320DD}" dt="2023-11-24T08:39:48.176" v="37658"/>
          <ac:spMkLst>
            <pc:docMk/>
            <pc:sldMk cId="1966364550" sldId="2147473979"/>
            <ac:spMk id="250" creationId="{7F7E5BB0-8C93-2B28-B56F-A891E17FCC0E}"/>
          </ac:spMkLst>
        </pc:spChg>
        <pc:spChg chg="add del mod">
          <ac:chgData name="Steiner Andreas 6206 ED" userId="e6377c33-a923-4f14-8587-531c474c7b48" providerId="ADAL" clId="{6ECD27E6-B224-41CD-B4E0-E297462320DD}" dt="2023-11-24T08:39:50.881" v="37813"/>
          <ac:spMkLst>
            <pc:docMk/>
            <pc:sldMk cId="1966364550" sldId="2147473979"/>
            <ac:spMk id="251" creationId="{49588178-E0F7-58FF-9D1A-75783A450F4E}"/>
          </ac:spMkLst>
        </pc:spChg>
        <pc:spChg chg="add del mod">
          <ac:chgData name="Steiner Andreas 6206 ED" userId="e6377c33-a923-4f14-8587-531c474c7b48" providerId="ADAL" clId="{6ECD27E6-B224-41CD-B4E0-E297462320DD}" dt="2023-11-24T08:39:53.532" v="37968"/>
          <ac:spMkLst>
            <pc:docMk/>
            <pc:sldMk cId="1966364550" sldId="2147473979"/>
            <ac:spMk id="252" creationId="{8736DD97-7985-0676-00B5-2C5B4E107330}"/>
          </ac:spMkLst>
        </pc:spChg>
        <pc:spChg chg="add del mod">
          <ac:chgData name="Steiner Andreas 6206 ED" userId="e6377c33-a923-4f14-8587-531c474c7b48" providerId="ADAL" clId="{6ECD27E6-B224-41CD-B4E0-E297462320DD}" dt="2023-11-24T08:39:56.471" v="38123"/>
          <ac:spMkLst>
            <pc:docMk/>
            <pc:sldMk cId="1966364550" sldId="2147473979"/>
            <ac:spMk id="253" creationId="{067AE5AB-6E47-648B-1B8E-14F27C506227}"/>
          </ac:spMkLst>
        </pc:spChg>
        <pc:spChg chg="add del mod">
          <ac:chgData name="Steiner Andreas 6206 ED" userId="e6377c33-a923-4f14-8587-531c474c7b48" providerId="ADAL" clId="{6ECD27E6-B224-41CD-B4E0-E297462320DD}" dt="2023-11-24T08:39:59.763" v="38278"/>
          <ac:spMkLst>
            <pc:docMk/>
            <pc:sldMk cId="1966364550" sldId="2147473979"/>
            <ac:spMk id="254" creationId="{00CB771B-5E0C-3CA6-27F3-CC516C10A03A}"/>
          </ac:spMkLst>
        </pc:spChg>
        <pc:spChg chg="add del mod">
          <ac:chgData name="Steiner Andreas 6206 ED" userId="e6377c33-a923-4f14-8587-531c474c7b48" providerId="ADAL" clId="{6ECD27E6-B224-41CD-B4E0-E297462320DD}" dt="2023-11-24T08:40:02.915" v="38433"/>
          <ac:spMkLst>
            <pc:docMk/>
            <pc:sldMk cId="1966364550" sldId="2147473979"/>
            <ac:spMk id="255" creationId="{BB2DB7BC-4666-3D9C-4E22-07F4CFF6C4BF}"/>
          </ac:spMkLst>
        </pc:spChg>
        <pc:spChg chg="add del mod">
          <ac:chgData name="Steiner Andreas 6206 ED" userId="e6377c33-a923-4f14-8587-531c474c7b48" providerId="ADAL" clId="{6ECD27E6-B224-41CD-B4E0-E297462320DD}" dt="2023-11-24T08:40:05.656" v="38588"/>
          <ac:spMkLst>
            <pc:docMk/>
            <pc:sldMk cId="1966364550" sldId="2147473979"/>
            <ac:spMk id="256" creationId="{88082D2D-54B2-3CD1-95FA-517196C4DE74}"/>
          </ac:spMkLst>
        </pc:spChg>
        <pc:spChg chg="add del mod">
          <ac:chgData name="Steiner Andreas 6206 ED" userId="e6377c33-a923-4f14-8587-531c474c7b48" providerId="ADAL" clId="{6ECD27E6-B224-41CD-B4E0-E297462320DD}" dt="2023-11-24T08:40:08.218" v="38743"/>
          <ac:spMkLst>
            <pc:docMk/>
            <pc:sldMk cId="1966364550" sldId="2147473979"/>
            <ac:spMk id="257" creationId="{F5E0EDDB-EEE0-5591-6CD8-D24DB6DE7479}"/>
          </ac:spMkLst>
        </pc:spChg>
        <pc:spChg chg="add del mod">
          <ac:chgData name="Steiner Andreas 6206 ED" userId="e6377c33-a923-4f14-8587-531c474c7b48" providerId="ADAL" clId="{6ECD27E6-B224-41CD-B4E0-E297462320DD}" dt="2023-11-24T08:40:10.963" v="38898"/>
          <ac:spMkLst>
            <pc:docMk/>
            <pc:sldMk cId="1966364550" sldId="2147473979"/>
            <ac:spMk id="258" creationId="{D0D4492F-DFBF-414C-95EC-5A0361C7A4F1}"/>
          </ac:spMkLst>
        </pc:spChg>
        <pc:spChg chg="add del mod">
          <ac:chgData name="Steiner Andreas 6206 ED" userId="e6377c33-a923-4f14-8587-531c474c7b48" providerId="ADAL" clId="{6ECD27E6-B224-41CD-B4E0-E297462320DD}" dt="2023-11-24T08:40:14.143" v="39053"/>
          <ac:spMkLst>
            <pc:docMk/>
            <pc:sldMk cId="1966364550" sldId="2147473979"/>
            <ac:spMk id="259" creationId="{FBAC1247-9592-8AA8-E044-B10C4F1BE187}"/>
          </ac:spMkLst>
        </pc:spChg>
        <pc:spChg chg="add del mod">
          <ac:chgData name="Steiner Andreas 6206 ED" userId="e6377c33-a923-4f14-8587-531c474c7b48" providerId="ADAL" clId="{6ECD27E6-B224-41CD-B4E0-E297462320DD}" dt="2023-11-24T08:40:16.798" v="39208"/>
          <ac:spMkLst>
            <pc:docMk/>
            <pc:sldMk cId="1966364550" sldId="2147473979"/>
            <ac:spMk id="260" creationId="{7D58338A-8FA6-D115-DCD8-EFED9AB658B2}"/>
          </ac:spMkLst>
        </pc:spChg>
        <pc:spChg chg="add del mod">
          <ac:chgData name="Steiner Andreas 6206 ED" userId="e6377c33-a923-4f14-8587-531c474c7b48" providerId="ADAL" clId="{6ECD27E6-B224-41CD-B4E0-E297462320DD}" dt="2023-11-24T08:40:19.286" v="39363"/>
          <ac:spMkLst>
            <pc:docMk/>
            <pc:sldMk cId="1966364550" sldId="2147473979"/>
            <ac:spMk id="261" creationId="{C146B4BA-583F-C2A8-8C07-6426C19CB2E5}"/>
          </ac:spMkLst>
        </pc:spChg>
        <pc:spChg chg="add del mod">
          <ac:chgData name="Steiner Andreas 6206 ED" userId="e6377c33-a923-4f14-8587-531c474c7b48" providerId="ADAL" clId="{6ECD27E6-B224-41CD-B4E0-E297462320DD}" dt="2023-11-24T08:40:21.716" v="39518"/>
          <ac:spMkLst>
            <pc:docMk/>
            <pc:sldMk cId="1966364550" sldId="2147473979"/>
            <ac:spMk id="262" creationId="{8CCFA10E-A4DE-5C5A-F087-67AD46A39166}"/>
          </ac:spMkLst>
        </pc:spChg>
        <pc:spChg chg="add del mod">
          <ac:chgData name="Steiner Andreas 6206 ED" userId="e6377c33-a923-4f14-8587-531c474c7b48" providerId="ADAL" clId="{6ECD27E6-B224-41CD-B4E0-E297462320DD}" dt="2023-11-24T08:40:24.514" v="39673"/>
          <ac:spMkLst>
            <pc:docMk/>
            <pc:sldMk cId="1966364550" sldId="2147473979"/>
            <ac:spMk id="263" creationId="{27570990-FFED-1EEB-6AE2-04DD3CE47B6F}"/>
          </ac:spMkLst>
        </pc:spChg>
        <pc:spChg chg="add del mod">
          <ac:chgData name="Steiner Andreas 6206 ED" userId="e6377c33-a923-4f14-8587-531c474c7b48" providerId="ADAL" clId="{6ECD27E6-B224-41CD-B4E0-E297462320DD}" dt="2023-11-24T08:40:27.454" v="39828"/>
          <ac:spMkLst>
            <pc:docMk/>
            <pc:sldMk cId="1966364550" sldId="2147473979"/>
            <ac:spMk id="264" creationId="{19609861-5205-0171-D189-E822F1046E7A}"/>
          </ac:spMkLst>
        </pc:spChg>
        <pc:spChg chg="add del mod">
          <ac:chgData name="Steiner Andreas 6206 ED" userId="e6377c33-a923-4f14-8587-531c474c7b48" providerId="ADAL" clId="{6ECD27E6-B224-41CD-B4E0-E297462320DD}" dt="2023-11-24T08:40:29.976" v="39983"/>
          <ac:spMkLst>
            <pc:docMk/>
            <pc:sldMk cId="1966364550" sldId="2147473979"/>
            <ac:spMk id="265" creationId="{AA0D27DF-3913-3A88-79D7-95454CFC93CB}"/>
          </ac:spMkLst>
        </pc:spChg>
        <pc:spChg chg="add del mod">
          <ac:chgData name="Steiner Andreas 6206 ED" userId="e6377c33-a923-4f14-8587-531c474c7b48" providerId="ADAL" clId="{6ECD27E6-B224-41CD-B4E0-E297462320DD}" dt="2023-11-24T08:40:32.641" v="40138"/>
          <ac:spMkLst>
            <pc:docMk/>
            <pc:sldMk cId="1966364550" sldId="2147473979"/>
            <ac:spMk id="266" creationId="{A39192D4-4E65-A3FE-5334-0ABCA37A6D7F}"/>
          </ac:spMkLst>
        </pc:spChg>
        <pc:spChg chg="add del mod">
          <ac:chgData name="Steiner Andreas 6206 ED" userId="e6377c33-a923-4f14-8587-531c474c7b48" providerId="ADAL" clId="{6ECD27E6-B224-41CD-B4E0-E297462320DD}" dt="2023-11-24T08:40:35.121" v="40293"/>
          <ac:spMkLst>
            <pc:docMk/>
            <pc:sldMk cId="1966364550" sldId="2147473979"/>
            <ac:spMk id="267" creationId="{865EC7FB-2C61-48E7-54FA-E90D34F25712}"/>
          </ac:spMkLst>
        </pc:spChg>
        <pc:spChg chg="add del mod">
          <ac:chgData name="Steiner Andreas 6206 ED" userId="e6377c33-a923-4f14-8587-531c474c7b48" providerId="ADAL" clId="{6ECD27E6-B224-41CD-B4E0-E297462320DD}" dt="2023-11-24T08:40:38.542" v="40448"/>
          <ac:spMkLst>
            <pc:docMk/>
            <pc:sldMk cId="1966364550" sldId="2147473979"/>
            <ac:spMk id="268" creationId="{EEEE6DBA-83E8-955C-76E0-9DDD36B4F042}"/>
          </ac:spMkLst>
        </pc:spChg>
        <pc:spChg chg="add del mod">
          <ac:chgData name="Steiner Andreas 6206 ED" userId="e6377c33-a923-4f14-8587-531c474c7b48" providerId="ADAL" clId="{6ECD27E6-B224-41CD-B4E0-E297462320DD}" dt="2023-11-24T08:40:41.293" v="40603"/>
          <ac:spMkLst>
            <pc:docMk/>
            <pc:sldMk cId="1966364550" sldId="2147473979"/>
            <ac:spMk id="269" creationId="{7789F502-EE52-4A46-8C17-6DD0F7F76451}"/>
          </ac:spMkLst>
        </pc:spChg>
        <pc:spChg chg="add del mod">
          <ac:chgData name="Steiner Andreas 6206 ED" userId="e6377c33-a923-4f14-8587-531c474c7b48" providerId="ADAL" clId="{6ECD27E6-B224-41CD-B4E0-E297462320DD}" dt="2023-11-24T08:40:44.021" v="40758"/>
          <ac:spMkLst>
            <pc:docMk/>
            <pc:sldMk cId="1966364550" sldId="2147473979"/>
            <ac:spMk id="270" creationId="{B534B38C-79E1-C67A-BDFF-2E376A9F921F}"/>
          </ac:spMkLst>
        </pc:spChg>
        <pc:spChg chg="add del mod">
          <ac:chgData name="Steiner Andreas 6206 ED" userId="e6377c33-a923-4f14-8587-531c474c7b48" providerId="ADAL" clId="{6ECD27E6-B224-41CD-B4E0-E297462320DD}" dt="2023-11-24T08:40:46.480" v="40913"/>
          <ac:spMkLst>
            <pc:docMk/>
            <pc:sldMk cId="1966364550" sldId="2147473979"/>
            <ac:spMk id="271" creationId="{B8854591-5E6B-9E2E-11FE-F4D51C03BC54}"/>
          </ac:spMkLst>
        </pc:spChg>
        <pc:spChg chg="add del mod">
          <ac:chgData name="Steiner Andreas 6206 ED" userId="e6377c33-a923-4f14-8587-531c474c7b48" providerId="ADAL" clId="{6ECD27E6-B224-41CD-B4E0-E297462320DD}" dt="2023-11-24T08:40:49.395" v="41068"/>
          <ac:spMkLst>
            <pc:docMk/>
            <pc:sldMk cId="1966364550" sldId="2147473979"/>
            <ac:spMk id="272" creationId="{16D080BF-AE07-962D-808D-98B7A650AB35}"/>
          </ac:spMkLst>
        </pc:spChg>
        <pc:spChg chg="add del mod">
          <ac:chgData name="Steiner Andreas 6206 ED" userId="e6377c33-a923-4f14-8587-531c474c7b48" providerId="ADAL" clId="{6ECD27E6-B224-41CD-B4E0-E297462320DD}" dt="2023-11-24T08:40:52.132" v="41223"/>
          <ac:spMkLst>
            <pc:docMk/>
            <pc:sldMk cId="1966364550" sldId="2147473979"/>
            <ac:spMk id="273" creationId="{638975D3-266C-F2AC-6DB8-E6D3BAD3F911}"/>
          </ac:spMkLst>
        </pc:spChg>
        <pc:spChg chg="add del mod">
          <ac:chgData name="Steiner Andreas 6206 ED" userId="e6377c33-a923-4f14-8587-531c474c7b48" providerId="ADAL" clId="{6ECD27E6-B224-41CD-B4E0-E297462320DD}" dt="2023-11-24T08:40:54.642" v="41378"/>
          <ac:spMkLst>
            <pc:docMk/>
            <pc:sldMk cId="1966364550" sldId="2147473979"/>
            <ac:spMk id="274" creationId="{EBEB0A6D-5E86-F3E6-08B2-444CCF7E14FF}"/>
          </ac:spMkLst>
        </pc:spChg>
        <pc:spChg chg="add del mod">
          <ac:chgData name="Steiner Andreas 6206 ED" userId="e6377c33-a923-4f14-8587-531c474c7b48" providerId="ADAL" clId="{6ECD27E6-B224-41CD-B4E0-E297462320DD}" dt="2023-11-24T08:40:57.106" v="41533"/>
          <ac:spMkLst>
            <pc:docMk/>
            <pc:sldMk cId="1966364550" sldId="2147473979"/>
            <ac:spMk id="275" creationId="{4B4BB3D5-F5A3-1695-F36F-9FD6366EC948}"/>
          </ac:spMkLst>
        </pc:spChg>
        <pc:spChg chg="add del mod">
          <ac:chgData name="Steiner Andreas 6206 ED" userId="e6377c33-a923-4f14-8587-531c474c7b48" providerId="ADAL" clId="{6ECD27E6-B224-41CD-B4E0-E297462320DD}" dt="2023-11-24T08:40:59.828" v="41688"/>
          <ac:spMkLst>
            <pc:docMk/>
            <pc:sldMk cId="1966364550" sldId="2147473979"/>
            <ac:spMk id="276" creationId="{7C87BF43-A3B0-94BB-41B2-686AF4080619}"/>
          </ac:spMkLst>
        </pc:spChg>
        <pc:spChg chg="add del mod">
          <ac:chgData name="Steiner Andreas 6206 ED" userId="e6377c33-a923-4f14-8587-531c474c7b48" providerId="ADAL" clId="{6ECD27E6-B224-41CD-B4E0-E297462320DD}" dt="2023-11-24T08:41:02.835" v="41843"/>
          <ac:spMkLst>
            <pc:docMk/>
            <pc:sldMk cId="1966364550" sldId="2147473979"/>
            <ac:spMk id="277" creationId="{344C3930-7779-3606-E00A-9C2238CD80FA}"/>
          </ac:spMkLst>
        </pc:spChg>
        <pc:spChg chg="add del mod">
          <ac:chgData name="Steiner Andreas 6206 ED" userId="e6377c33-a923-4f14-8587-531c474c7b48" providerId="ADAL" clId="{6ECD27E6-B224-41CD-B4E0-E297462320DD}" dt="2023-11-24T08:41:05.594" v="41998"/>
          <ac:spMkLst>
            <pc:docMk/>
            <pc:sldMk cId="1966364550" sldId="2147473979"/>
            <ac:spMk id="278" creationId="{1090C2D6-DDF6-935C-7CD6-D1C0485EB363}"/>
          </ac:spMkLst>
        </pc:spChg>
        <pc:spChg chg="add del mod">
          <ac:chgData name="Steiner Andreas 6206 ED" userId="e6377c33-a923-4f14-8587-531c474c7b48" providerId="ADAL" clId="{6ECD27E6-B224-41CD-B4E0-E297462320DD}" dt="2023-11-24T08:41:09.143" v="42153"/>
          <ac:spMkLst>
            <pc:docMk/>
            <pc:sldMk cId="1966364550" sldId="2147473979"/>
            <ac:spMk id="279" creationId="{0798DA03-B61F-CE23-4A46-A62139AAB959}"/>
          </ac:spMkLst>
        </pc:spChg>
        <pc:spChg chg="add del mod">
          <ac:chgData name="Steiner Andreas 6206 ED" userId="e6377c33-a923-4f14-8587-531c474c7b48" providerId="ADAL" clId="{6ECD27E6-B224-41CD-B4E0-E297462320DD}" dt="2023-11-24T08:41:12.753" v="42308"/>
          <ac:spMkLst>
            <pc:docMk/>
            <pc:sldMk cId="1966364550" sldId="2147473979"/>
            <ac:spMk id="280" creationId="{204239FF-876D-117B-3798-0D79AC958B7F}"/>
          </ac:spMkLst>
        </pc:spChg>
        <pc:spChg chg="add del mod">
          <ac:chgData name="Steiner Andreas 6206 ED" userId="e6377c33-a923-4f14-8587-531c474c7b48" providerId="ADAL" clId="{6ECD27E6-B224-41CD-B4E0-E297462320DD}" dt="2023-11-24T08:41:15.496" v="42463"/>
          <ac:spMkLst>
            <pc:docMk/>
            <pc:sldMk cId="1966364550" sldId="2147473979"/>
            <ac:spMk id="281" creationId="{67B5A0C9-8AF7-E341-EC84-2068D19376EB}"/>
          </ac:spMkLst>
        </pc:spChg>
        <pc:spChg chg="add del mod">
          <ac:chgData name="Steiner Andreas 6206 ED" userId="e6377c33-a923-4f14-8587-531c474c7b48" providerId="ADAL" clId="{6ECD27E6-B224-41CD-B4E0-E297462320DD}" dt="2023-11-24T08:41:17.681" v="42618"/>
          <ac:spMkLst>
            <pc:docMk/>
            <pc:sldMk cId="1966364550" sldId="2147473979"/>
            <ac:spMk id="282" creationId="{4B8EF248-6401-D9FF-8DD6-0E88BE3549C6}"/>
          </ac:spMkLst>
        </pc:spChg>
        <pc:spChg chg="add del mod">
          <ac:chgData name="Steiner Andreas 6206 ED" userId="e6377c33-a923-4f14-8587-531c474c7b48" providerId="ADAL" clId="{6ECD27E6-B224-41CD-B4E0-E297462320DD}" dt="2023-11-24T08:41:20.012" v="42773"/>
          <ac:spMkLst>
            <pc:docMk/>
            <pc:sldMk cId="1966364550" sldId="2147473979"/>
            <ac:spMk id="283" creationId="{0712B9E1-CA9A-02C0-5E90-B966B563FE70}"/>
          </ac:spMkLst>
        </pc:spChg>
        <pc:spChg chg="add del mod">
          <ac:chgData name="Steiner Andreas 6206 ED" userId="e6377c33-a923-4f14-8587-531c474c7b48" providerId="ADAL" clId="{6ECD27E6-B224-41CD-B4E0-E297462320DD}" dt="2023-11-24T08:41:22.353" v="42928"/>
          <ac:spMkLst>
            <pc:docMk/>
            <pc:sldMk cId="1966364550" sldId="2147473979"/>
            <ac:spMk id="284" creationId="{8C9707AD-6125-A4CE-9C4A-61546FE9EF0B}"/>
          </ac:spMkLst>
        </pc:spChg>
        <pc:spChg chg="add del mod">
          <ac:chgData name="Steiner Andreas 6206 ED" userId="e6377c33-a923-4f14-8587-531c474c7b48" providerId="ADAL" clId="{6ECD27E6-B224-41CD-B4E0-E297462320DD}" dt="2023-11-24T08:41:24.469" v="43083"/>
          <ac:spMkLst>
            <pc:docMk/>
            <pc:sldMk cId="1966364550" sldId="2147473979"/>
            <ac:spMk id="285" creationId="{5C10BF2E-54A9-77DD-5591-33A72810CD79}"/>
          </ac:spMkLst>
        </pc:spChg>
        <pc:spChg chg="add del mod">
          <ac:chgData name="Steiner Andreas 6206 ED" userId="e6377c33-a923-4f14-8587-531c474c7b48" providerId="ADAL" clId="{6ECD27E6-B224-41CD-B4E0-E297462320DD}" dt="2023-11-24T08:41:27.034" v="43238"/>
          <ac:spMkLst>
            <pc:docMk/>
            <pc:sldMk cId="1966364550" sldId="2147473979"/>
            <ac:spMk id="286" creationId="{3C5F0A33-C134-A012-7B69-2A2492654859}"/>
          </ac:spMkLst>
        </pc:spChg>
        <pc:spChg chg="add del mod">
          <ac:chgData name="Steiner Andreas 6206 ED" userId="e6377c33-a923-4f14-8587-531c474c7b48" providerId="ADAL" clId="{6ECD27E6-B224-41CD-B4E0-E297462320DD}" dt="2023-11-24T08:41:29.105" v="43393"/>
          <ac:spMkLst>
            <pc:docMk/>
            <pc:sldMk cId="1966364550" sldId="2147473979"/>
            <ac:spMk id="287" creationId="{702B9E26-85E9-20BE-E8A9-C6F7CF99C7B1}"/>
          </ac:spMkLst>
        </pc:spChg>
        <pc:spChg chg="add del mod">
          <ac:chgData name="Steiner Andreas 6206 ED" userId="e6377c33-a923-4f14-8587-531c474c7b48" providerId="ADAL" clId="{6ECD27E6-B224-41CD-B4E0-E297462320DD}" dt="2023-11-24T08:41:31.467" v="43548"/>
          <ac:spMkLst>
            <pc:docMk/>
            <pc:sldMk cId="1966364550" sldId="2147473979"/>
            <ac:spMk id="288" creationId="{3DCC4706-1403-CAC4-8DA6-C304A6F3A82A}"/>
          </ac:spMkLst>
        </pc:spChg>
        <pc:spChg chg="add del mod">
          <ac:chgData name="Steiner Andreas 6206 ED" userId="e6377c33-a923-4f14-8587-531c474c7b48" providerId="ADAL" clId="{6ECD27E6-B224-41CD-B4E0-E297462320DD}" dt="2023-11-24T08:41:35.778" v="43703"/>
          <ac:spMkLst>
            <pc:docMk/>
            <pc:sldMk cId="1966364550" sldId="2147473979"/>
            <ac:spMk id="289" creationId="{F8615584-F47B-1B7F-6059-FFD223F49224}"/>
          </ac:spMkLst>
        </pc:spChg>
        <pc:spChg chg="add del mod">
          <ac:chgData name="Steiner Andreas 6206 ED" userId="e6377c33-a923-4f14-8587-531c474c7b48" providerId="ADAL" clId="{6ECD27E6-B224-41CD-B4E0-E297462320DD}" dt="2023-11-24T08:41:38.802" v="43858"/>
          <ac:spMkLst>
            <pc:docMk/>
            <pc:sldMk cId="1966364550" sldId="2147473979"/>
            <ac:spMk id="290" creationId="{E65B6F80-ACFB-1ADA-EE9F-6D657D0883A5}"/>
          </ac:spMkLst>
        </pc:spChg>
        <pc:spChg chg="add del mod">
          <ac:chgData name="Steiner Andreas 6206 ED" userId="e6377c33-a923-4f14-8587-531c474c7b48" providerId="ADAL" clId="{6ECD27E6-B224-41CD-B4E0-E297462320DD}" dt="2023-11-24T08:41:40.968" v="44013"/>
          <ac:spMkLst>
            <pc:docMk/>
            <pc:sldMk cId="1966364550" sldId="2147473979"/>
            <ac:spMk id="291" creationId="{ED016776-23C7-B195-5EB1-C3904134FA96}"/>
          </ac:spMkLst>
        </pc:spChg>
        <pc:spChg chg="add del mod">
          <ac:chgData name="Steiner Andreas 6206 ED" userId="e6377c33-a923-4f14-8587-531c474c7b48" providerId="ADAL" clId="{6ECD27E6-B224-41CD-B4E0-E297462320DD}" dt="2023-11-24T08:41:43.359" v="44168"/>
          <ac:spMkLst>
            <pc:docMk/>
            <pc:sldMk cId="1966364550" sldId="2147473979"/>
            <ac:spMk id="292" creationId="{FDA778D1-F1CA-9438-260C-6E09EE6628D5}"/>
          </ac:spMkLst>
        </pc:spChg>
        <pc:spChg chg="add del mod">
          <ac:chgData name="Steiner Andreas 6206 ED" userId="e6377c33-a923-4f14-8587-531c474c7b48" providerId="ADAL" clId="{6ECD27E6-B224-41CD-B4E0-E297462320DD}" dt="2023-11-24T08:41:45.260" v="44323"/>
          <ac:spMkLst>
            <pc:docMk/>
            <pc:sldMk cId="1966364550" sldId="2147473979"/>
            <ac:spMk id="293" creationId="{F05E15A8-AF5B-0945-5804-D2650F0D6BB1}"/>
          </ac:spMkLst>
        </pc:spChg>
        <pc:spChg chg="add del mod">
          <ac:chgData name="Steiner Andreas 6206 ED" userId="e6377c33-a923-4f14-8587-531c474c7b48" providerId="ADAL" clId="{6ECD27E6-B224-41CD-B4E0-E297462320DD}" dt="2023-11-24T08:41:47.196" v="44478"/>
          <ac:spMkLst>
            <pc:docMk/>
            <pc:sldMk cId="1966364550" sldId="2147473979"/>
            <ac:spMk id="294" creationId="{9FC3FBEF-8ECB-7420-88DE-694A7BA9439B}"/>
          </ac:spMkLst>
        </pc:spChg>
        <pc:spChg chg="add del mod">
          <ac:chgData name="Steiner Andreas 6206 ED" userId="e6377c33-a923-4f14-8587-531c474c7b48" providerId="ADAL" clId="{6ECD27E6-B224-41CD-B4E0-E297462320DD}" dt="2023-11-24T08:41:49.213" v="44633"/>
          <ac:spMkLst>
            <pc:docMk/>
            <pc:sldMk cId="1966364550" sldId="2147473979"/>
            <ac:spMk id="295" creationId="{4D25BD20-9A0C-63E3-5B71-4A699312970A}"/>
          </ac:spMkLst>
        </pc:spChg>
        <pc:spChg chg="add del mod">
          <ac:chgData name="Steiner Andreas 6206 ED" userId="e6377c33-a923-4f14-8587-531c474c7b48" providerId="ADAL" clId="{6ECD27E6-B224-41CD-B4E0-E297462320DD}" dt="2023-11-24T08:41:51.071" v="44788"/>
          <ac:spMkLst>
            <pc:docMk/>
            <pc:sldMk cId="1966364550" sldId="2147473979"/>
            <ac:spMk id="296" creationId="{9CFF4D44-021C-D744-D1DF-11B55042450D}"/>
          </ac:spMkLst>
        </pc:spChg>
        <pc:spChg chg="add del mod">
          <ac:chgData name="Steiner Andreas 6206 ED" userId="e6377c33-a923-4f14-8587-531c474c7b48" providerId="ADAL" clId="{6ECD27E6-B224-41CD-B4E0-E297462320DD}" dt="2023-11-24T08:41:53.422" v="44943"/>
          <ac:spMkLst>
            <pc:docMk/>
            <pc:sldMk cId="1966364550" sldId="2147473979"/>
            <ac:spMk id="297" creationId="{11BD06E6-BCEE-1332-A606-B120F3711D33}"/>
          </ac:spMkLst>
        </pc:spChg>
        <pc:spChg chg="add del mod">
          <ac:chgData name="Steiner Andreas 6206 ED" userId="e6377c33-a923-4f14-8587-531c474c7b48" providerId="ADAL" clId="{6ECD27E6-B224-41CD-B4E0-E297462320DD}" dt="2023-11-24T08:41:55.384" v="45098"/>
          <ac:spMkLst>
            <pc:docMk/>
            <pc:sldMk cId="1966364550" sldId="2147473979"/>
            <ac:spMk id="298" creationId="{D6787AEB-B2FF-241D-BC2D-7135A7774E7C}"/>
          </ac:spMkLst>
        </pc:spChg>
        <pc:spChg chg="add del mod">
          <ac:chgData name="Steiner Andreas 6206 ED" userId="e6377c33-a923-4f14-8587-531c474c7b48" providerId="ADAL" clId="{6ECD27E6-B224-41CD-B4E0-E297462320DD}" dt="2023-11-24T08:41:57.636" v="45253"/>
          <ac:spMkLst>
            <pc:docMk/>
            <pc:sldMk cId="1966364550" sldId="2147473979"/>
            <ac:spMk id="299" creationId="{AFCD9709-CC12-59E8-89FB-B4EB4145D039}"/>
          </ac:spMkLst>
        </pc:spChg>
        <pc:spChg chg="add del mod">
          <ac:chgData name="Steiner Andreas 6206 ED" userId="e6377c33-a923-4f14-8587-531c474c7b48" providerId="ADAL" clId="{6ECD27E6-B224-41CD-B4E0-E297462320DD}" dt="2023-11-24T08:41:59.864" v="45408"/>
          <ac:spMkLst>
            <pc:docMk/>
            <pc:sldMk cId="1966364550" sldId="2147473979"/>
            <ac:spMk id="300" creationId="{12AF3862-1A0C-9B68-03A6-B2ADF40EC6F7}"/>
          </ac:spMkLst>
        </pc:spChg>
        <pc:spChg chg="add del mod">
          <ac:chgData name="Steiner Andreas 6206 ED" userId="e6377c33-a923-4f14-8587-531c474c7b48" providerId="ADAL" clId="{6ECD27E6-B224-41CD-B4E0-E297462320DD}" dt="2023-11-24T08:42:02.007" v="45563"/>
          <ac:spMkLst>
            <pc:docMk/>
            <pc:sldMk cId="1966364550" sldId="2147473979"/>
            <ac:spMk id="301" creationId="{9EFB5252-8962-DF82-0AC3-5941ECC73F70}"/>
          </ac:spMkLst>
        </pc:spChg>
        <pc:spChg chg="add del mod">
          <ac:chgData name="Steiner Andreas 6206 ED" userId="e6377c33-a923-4f14-8587-531c474c7b48" providerId="ADAL" clId="{6ECD27E6-B224-41CD-B4E0-E297462320DD}" dt="2023-11-24T08:42:04.033" v="45718"/>
          <ac:spMkLst>
            <pc:docMk/>
            <pc:sldMk cId="1966364550" sldId="2147473979"/>
            <ac:spMk id="302" creationId="{C500590B-24EE-FDED-14AF-5E9E899FE201}"/>
          </ac:spMkLst>
        </pc:spChg>
        <pc:spChg chg="add del mod">
          <ac:chgData name="Steiner Andreas 6206 ED" userId="e6377c33-a923-4f14-8587-531c474c7b48" providerId="ADAL" clId="{6ECD27E6-B224-41CD-B4E0-E297462320DD}" dt="2023-11-24T08:42:05.976" v="45873"/>
          <ac:spMkLst>
            <pc:docMk/>
            <pc:sldMk cId="1966364550" sldId="2147473979"/>
            <ac:spMk id="303" creationId="{E4B9AB1E-D3C8-A059-FF35-4E4A20957A53}"/>
          </ac:spMkLst>
        </pc:spChg>
        <pc:spChg chg="add del mod">
          <ac:chgData name="Steiner Andreas 6206 ED" userId="e6377c33-a923-4f14-8587-531c474c7b48" providerId="ADAL" clId="{6ECD27E6-B224-41CD-B4E0-E297462320DD}" dt="2023-11-24T08:42:07.855" v="46028"/>
          <ac:spMkLst>
            <pc:docMk/>
            <pc:sldMk cId="1966364550" sldId="2147473979"/>
            <ac:spMk id="304" creationId="{9B4E75A0-5DD8-DA80-1A07-798601B644CF}"/>
          </ac:spMkLst>
        </pc:spChg>
        <pc:spChg chg="add del mod">
          <ac:chgData name="Steiner Andreas 6206 ED" userId="e6377c33-a923-4f14-8587-531c474c7b48" providerId="ADAL" clId="{6ECD27E6-B224-41CD-B4E0-E297462320DD}" dt="2023-11-24T08:42:09.766" v="46183"/>
          <ac:spMkLst>
            <pc:docMk/>
            <pc:sldMk cId="1966364550" sldId="2147473979"/>
            <ac:spMk id="305" creationId="{CBB8C985-955A-59C4-A0B5-AF57F11E59A9}"/>
          </ac:spMkLst>
        </pc:spChg>
        <pc:spChg chg="add del mod">
          <ac:chgData name="Steiner Andreas 6206 ED" userId="e6377c33-a923-4f14-8587-531c474c7b48" providerId="ADAL" clId="{6ECD27E6-B224-41CD-B4E0-E297462320DD}" dt="2023-11-24T08:42:12.138" v="46338"/>
          <ac:spMkLst>
            <pc:docMk/>
            <pc:sldMk cId="1966364550" sldId="2147473979"/>
            <ac:spMk id="306" creationId="{E453EE38-7C6E-2249-E921-2CFB7E09FF31}"/>
          </ac:spMkLst>
        </pc:spChg>
        <pc:spChg chg="add del mod">
          <ac:chgData name="Steiner Andreas 6206 ED" userId="e6377c33-a923-4f14-8587-531c474c7b48" providerId="ADAL" clId="{6ECD27E6-B224-41CD-B4E0-E297462320DD}" dt="2023-11-24T08:42:14.712" v="46493"/>
          <ac:spMkLst>
            <pc:docMk/>
            <pc:sldMk cId="1966364550" sldId="2147473979"/>
            <ac:spMk id="307" creationId="{D21A0C17-A7DB-1267-E32C-7F5451E372CB}"/>
          </ac:spMkLst>
        </pc:spChg>
        <pc:spChg chg="add del mod">
          <ac:chgData name="Steiner Andreas 6206 ED" userId="e6377c33-a923-4f14-8587-531c474c7b48" providerId="ADAL" clId="{6ECD27E6-B224-41CD-B4E0-E297462320DD}" dt="2023-11-24T08:42:17.029" v="46648"/>
          <ac:spMkLst>
            <pc:docMk/>
            <pc:sldMk cId="1966364550" sldId="2147473979"/>
            <ac:spMk id="308" creationId="{A74DBDA8-C675-9F76-53E4-B825DF58E9B6}"/>
          </ac:spMkLst>
        </pc:spChg>
        <pc:spChg chg="add del mod">
          <ac:chgData name="Steiner Andreas 6206 ED" userId="e6377c33-a923-4f14-8587-531c474c7b48" providerId="ADAL" clId="{6ECD27E6-B224-41CD-B4E0-E297462320DD}" dt="2023-11-24T08:42:19.190" v="46803"/>
          <ac:spMkLst>
            <pc:docMk/>
            <pc:sldMk cId="1966364550" sldId="2147473979"/>
            <ac:spMk id="309" creationId="{489490EE-DFE4-5B13-10C1-590F961DD063}"/>
          </ac:spMkLst>
        </pc:spChg>
        <pc:spChg chg="add del mod">
          <ac:chgData name="Steiner Andreas 6206 ED" userId="e6377c33-a923-4f14-8587-531c474c7b48" providerId="ADAL" clId="{6ECD27E6-B224-41CD-B4E0-E297462320DD}" dt="2023-11-24T08:42:21.541" v="46958"/>
          <ac:spMkLst>
            <pc:docMk/>
            <pc:sldMk cId="1966364550" sldId="2147473979"/>
            <ac:spMk id="310" creationId="{D9C09CE8-9C85-1B92-E639-408E3BF5CA55}"/>
          </ac:spMkLst>
        </pc:spChg>
        <pc:spChg chg="add del mod">
          <ac:chgData name="Steiner Andreas 6206 ED" userId="e6377c33-a923-4f14-8587-531c474c7b48" providerId="ADAL" clId="{6ECD27E6-B224-41CD-B4E0-E297462320DD}" dt="2023-11-24T08:42:24.124" v="47113"/>
          <ac:spMkLst>
            <pc:docMk/>
            <pc:sldMk cId="1966364550" sldId="2147473979"/>
            <ac:spMk id="311" creationId="{AF45607C-7FCC-A478-F7CB-D68E3019C017}"/>
          </ac:spMkLst>
        </pc:spChg>
        <pc:spChg chg="add del mod">
          <ac:chgData name="Steiner Andreas 6206 ED" userId="e6377c33-a923-4f14-8587-531c474c7b48" providerId="ADAL" clId="{6ECD27E6-B224-41CD-B4E0-E297462320DD}" dt="2023-11-24T08:42:26.084" v="47268"/>
          <ac:spMkLst>
            <pc:docMk/>
            <pc:sldMk cId="1966364550" sldId="2147473979"/>
            <ac:spMk id="312" creationId="{FB5054ED-EDE3-9D63-0DFD-0A5D8A115A62}"/>
          </ac:spMkLst>
        </pc:spChg>
        <pc:spChg chg="add del mod">
          <ac:chgData name="Steiner Andreas 6206 ED" userId="e6377c33-a923-4f14-8587-531c474c7b48" providerId="ADAL" clId="{6ECD27E6-B224-41CD-B4E0-E297462320DD}" dt="2023-11-24T08:42:27.981" v="47423"/>
          <ac:spMkLst>
            <pc:docMk/>
            <pc:sldMk cId="1966364550" sldId="2147473979"/>
            <ac:spMk id="313" creationId="{8011B230-E6BD-D24B-AB8D-AC84602FFE72}"/>
          </ac:spMkLst>
        </pc:spChg>
        <pc:spChg chg="add del mod">
          <ac:chgData name="Steiner Andreas 6206 ED" userId="e6377c33-a923-4f14-8587-531c474c7b48" providerId="ADAL" clId="{6ECD27E6-B224-41CD-B4E0-E297462320DD}" dt="2023-11-24T08:42:29.755" v="47578"/>
          <ac:spMkLst>
            <pc:docMk/>
            <pc:sldMk cId="1966364550" sldId="2147473979"/>
            <ac:spMk id="314" creationId="{941E8752-6A0A-4830-39CF-4652B63CE31B}"/>
          </ac:spMkLst>
        </pc:spChg>
        <pc:spChg chg="add del mod">
          <ac:chgData name="Steiner Andreas 6206 ED" userId="e6377c33-a923-4f14-8587-531c474c7b48" providerId="ADAL" clId="{6ECD27E6-B224-41CD-B4E0-E297462320DD}" dt="2023-11-24T08:42:31.673" v="47733"/>
          <ac:spMkLst>
            <pc:docMk/>
            <pc:sldMk cId="1966364550" sldId="2147473979"/>
            <ac:spMk id="315" creationId="{91EAB6C8-E9E1-0541-5AD5-485DCAC7629B}"/>
          </ac:spMkLst>
        </pc:spChg>
        <pc:spChg chg="add del mod">
          <ac:chgData name="Steiner Andreas 6206 ED" userId="e6377c33-a923-4f14-8587-531c474c7b48" providerId="ADAL" clId="{6ECD27E6-B224-41CD-B4E0-E297462320DD}" dt="2023-11-24T08:42:33.682" v="47888"/>
          <ac:spMkLst>
            <pc:docMk/>
            <pc:sldMk cId="1966364550" sldId="2147473979"/>
            <ac:spMk id="316" creationId="{148ACF04-413D-CFAA-D78A-EF424BDC80DE}"/>
          </ac:spMkLst>
        </pc:spChg>
        <pc:spChg chg="add del mod">
          <ac:chgData name="Steiner Andreas 6206 ED" userId="e6377c33-a923-4f14-8587-531c474c7b48" providerId="ADAL" clId="{6ECD27E6-B224-41CD-B4E0-E297462320DD}" dt="2023-11-24T08:42:35.708" v="48043"/>
          <ac:spMkLst>
            <pc:docMk/>
            <pc:sldMk cId="1966364550" sldId="2147473979"/>
            <ac:spMk id="317" creationId="{3B971C22-D56A-1C15-6C7C-19497CF450F2}"/>
          </ac:spMkLst>
        </pc:spChg>
        <pc:spChg chg="add del mod">
          <ac:chgData name="Steiner Andreas 6206 ED" userId="e6377c33-a923-4f14-8587-531c474c7b48" providerId="ADAL" clId="{6ECD27E6-B224-41CD-B4E0-E297462320DD}" dt="2023-11-24T08:42:37.587" v="48198"/>
          <ac:spMkLst>
            <pc:docMk/>
            <pc:sldMk cId="1966364550" sldId="2147473979"/>
            <ac:spMk id="318" creationId="{65B0CA5A-110E-6FC2-C89C-B1F0FAC6E43D}"/>
          </ac:spMkLst>
        </pc:spChg>
        <pc:spChg chg="add del mod">
          <ac:chgData name="Steiner Andreas 6206 ED" userId="e6377c33-a923-4f14-8587-531c474c7b48" providerId="ADAL" clId="{6ECD27E6-B224-41CD-B4E0-E297462320DD}" dt="2023-11-24T08:42:39.447" v="48353"/>
          <ac:spMkLst>
            <pc:docMk/>
            <pc:sldMk cId="1966364550" sldId="2147473979"/>
            <ac:spMk id="319" creationId="{A5D4539F-3765-EE39-3371-5D63AF6523AC}"/>
          </ac:spMkLst>
        </pc:spChg>
        <pc:spChg chg="add del mod">
          <ac:chgData name="Steiner Andreas 6206 ED" userId="e6377c33-a923-4f14-8587-531c474c7b48" providerId="ADAL" clId="{6ECD27E6-B224-41CD-B4E0-E297462320DD}" dt="2023-11-24T08:42:41.587" v="48508"/>
          <ac:spMkLst>
            <pc:docMk/>
            <pc:sldMk cId="1966364550" sldId="2147473979"/>
            <ac:spMk id="320" creationId="{BDD10693-D9AE-B48A-7799-418D678E7214}"/>
          </ac:spMkLst>
        </pc:spChg>
        <pc:spChg chg="add del mod">
          <ac:chgData name="Steiner Andreas 6206 ED" userId="e6377c33-a923-4f14-8587-531c474c7b48" providerId="ADAL" clId="{6ECD27E6-B224-41CD-B4E0-E297462320DD}" dt="2023-11-24T08:42:43.690" v="48663"/>
          <ac:spMkLst>
            <pc:docMk/>
            <pc:sldMk cId="1966364550" sldId="2147473979"/>
            <ac:spMk id="321" creationId="{5442C2E7-ECF0-9897-BA24-392D190730D0}"/>
          </ac:spMkLst>
        </pc:spChg>
        <pc:spChg chg="add del mod">
          <ac:chgData name="Steiner Andreas 6206 ED" userId="e6377c33-a923-4f14-8587-531c474c7b48" providerId="ADAL" clId="{6ECD27E6-B224-41CD-B4E0-E297462320DD}" dt="2023-11-24T08:42:45.731" v="48818"/>
          <ac:spMkLst>
            <pc:docMk/>
            <pc:sldMk cId="1966364550" sldId="2147473979"/>
            <ac:spMk id="322" creationId="{FB2F1AB8-9A92-1BFA-C77E-B49153BD7E00}"/>
          </ac:spMkLst>
        </pc:spChg>
        <pc:spChg chg="add del mod">
          <ac:chgData name="Steiner Andreas 6206 ED" userId="e6377c33-a923-4f14-8587-531c474c7b48" providerId="ADAL" clId="{6ECD27E6-B224-41CD-B4E0-E297462320DD}" dt="2023-11-24T08:42:47.587" v="48973"/>
          <ac:spMkLst>
            <pc:docMk/>
            <pc:sldMk cId="1966364550" sldId="2147473979"/>
            <ac:spMk id="323" creationId="{ACC0C7E9-F250-4A9E-1163-B32DDB66C7DA}"/>
          </ac:spMkLst>
        </pc:spChg>
        <pc:spChg chg="add del mod">
          <ac:chgData name="Steiner Andreas 6206 ED" userId="e6377c33-a923-4f14-8587-531c474c7b48" providerId="ADAL" clId="{6ECD27E6-B224-41CD-B4E0-E297462320DD}" dt="2023-11-24T08:42:49.397" v="49128"/>
          <ac:spMkLst>
            <pc:docMk/>
            <pc:sldMk cId="1966364550" sldId="2147473979"/>
            <ac:spMk id="324" creationId="{41797148-1062-8D5C-341A-61C77569CC88}"/>
          </ac:spMkLst>
        </pc:spChg>
        <pc:spChg chg="add del mod">
          <ac:chgData name="Steiner Andreas 6206 ED" userId="e6377c33-a923-4f14-8587-531c474c7b48" providerId="ADAL" clId="{6ECD27E6-B224-41CD-B4E0-E297462320DD}" dt="2023-11-24T08:42:51.259" v="49283"/>
          <ac:spMkLst>
            <pc:docMk/>
            <pc:sldMk cId="1966364550" sldId="2147473979"/>
            <ac:spMk id="325" creationId="{E122DA2D-7E67-02AA-DA7C-C99C3A5A041F}"/>
          </ac:spMkLst>
        </pc:spChg>
        <pc:spChg chg="add del mod">
          <ac:chgData name="Steiner Andreas 6206 ED" userId="e6377c33-a923-4f14-8587-531c474c7b48" providerId="ADAL" clId="{6ECD27E6-B224-41CD-B4E0-E297462320DD}" dt="2023-11-24T08:42:53.387" v="49438"/>
          <ac:spMkLst>
            <pc:docMk/>
            <pc:sldMk cId="1966364550" sldId="2147473979"/>
            <ac:spMk id="326" creationId="{F8F84DB4-CE78-97FF-2ED9-7648A6856F7E}"/>
          </ac:spMkLst>
        </pc:spChg>
        <pc:spChg chg="add del mod">
          <ac:chgData name="Steiner Andreas 6206 ED" userId="e6377c33-a923-4f14-8587-531c474c7b48" providerId="ADAL" clId="{6ECD27E6-B224-41CD-B4E0-E297462320DD}" dt="2023-11-24T08:42:56.022" v="49593"/>
          <ac:spMkLst>
            <pc:docMk/>
            <pc:sldMk cId="1966364550" sldId="2147473979"/>
            <ac:spMk id="327" creationId="{FBB91B84-7929-60A7-078B-DD031F854046}"/>
          </ac:spMkLst>
        </pc:spChg>
        <pc:spChg chg="add del mod">
          <ac:chgData name="Steiner Andreas 6206 ED" userId="e6377c33-a923-4f14-8587-531c474c7b48" providerId="ADAL" clId="{6ECD27E6-B224-41CD-B4E0-E297462320DD}" dt="2023-11-24T08:42:58.082" v="49748"/>
          <ac:spMkLst>
            <pc:docMk/>
            <pc:sldMk cId="1966364550" sldId="2147473979"/>
            <ac:spMk id="328" creationId="{BB83A3BA-02B6-5CB2-64C3-44E99CAF3D72}"/>
          </ac:spMkLst>
        </pc:spChg>
        <pc:spChg chg="add del mod">
          <ac:chgData name="Steiner Andreas 6206 ED" userId="e6377c33-a923-4f14-8587-531c474c7b48" providerId="ADAL" clId="{6ECD27E6-B224-41CD-B4E0-E297462320DD}" dt="2023-11-24T08:42:59.990" v="49903"/>
          <ac:spMkLst>
            <pc:docMk/>
            <pc:sldMk cId="1966364550" sldId="2147473979"/>
            <ac:spMk id="329" creationId="{A32A4227-8620-25C9-CA5B-9EC6FCAF91C9}"/>
          </ac:spMkLst>
        </pc:spChg>
        <pc:spChg chg="add del mod">
          <ac:chgData name="Steiner Andreas 6206 ED" userId="e6377c33-a923-4f14-8587-531c474c7b48" providerId="ADAL" clId="{6ECD27E6-B224-41CD-B4E0-E297462320DD}" dt="2023-11-24T08:43:01.995" v="50058"/>
          <ac:spMkLst>
            <pc:docMk/>
            <pc:sldMk cId="1966364550" sldId="2147473979"/>
            <ac:spMk id="330" creationId="{50F77F19-8A9A-CCC0-7C7B-6E9334A9502C}"/>
          </ac:spMkLst>
        </pc:spChg>
        <pc:spChg chg="add del mod">
          <ac:chgData name="Steiner Andreas 6206 ED" userId="e6377c33-a923-4f14-8587-531c474c7b48" providerId="ADAL" clId="{6ECD27E6-B224-41CD-B4E0-E297462320DD}" dt="2023-11-24T08:43:03.970" v="50213"/>
          <ac:spMkLst>
            <pc:docMk/>
            <pc:sldMk cId="1966364550" sldId="2147473979"/>
            <ac:spMk id="331" creationId="{627A8A03-4DC9-FB83-02C5-8F9321C9123E}"/>
          </ac:spMkLst>
        </pc:spChg>
        <pc:spChg chg="add del mod">
          <ac:chgData name="Steiner Andreas 6206 ED" userId="e6377c33-a923-4f14-8587-531c474c7b48" providerId="ADAL" clId="{6ECD27E6-B224-41CD-B4E0-E297462320DD}" dt="2023-11-24T08:43:05.877" v="50368"/>
          <ac:spMkLst>
            <pc:docMk/>
            <pc:sldMk cId="1966364550" sldId="2147473979"/>
            <ac:spMk id="332" creationId="{6DB4E109-A053-DBB2-C231-A500FA6C0F62}"/>
          </ac:spMkLst>
        </pc:spChg>
        <pc:spChg chg="add del mod">
          <ac:chgData name="Steiner Andreas 6206 ED" userId="e6377c33-a923-4f14-8587-531c474c7b48" providerId="ADAL" clId="{6ECD27E6-B224-41CD-B4E0-E297462320DD}" dt="2023-11-24T08:43:08.136" v="50523"/>
          <ac:spMkLst>
            <pc:docMk/>
            <pc:sldMk cId="1966364550" sldId="2147473979"/>
            <ac:spMk id="333" creationId="{E976BB57-4E05-4515-776A-694186EDC797}"/>
          </ac:spMkLst>
        </pc:spChg>
        <pc:spChg chg="add del mod">
          <ac:chgData name="Steiner Andreas 6206 ED" userId="e6377c33-a923-4f14-8587-531c474c7b48" providerId="ADAL" clId="{6ECD27E6-B224-41CD-B4E0-E297462320DD}" dt="2023-11-24T08:43:10.115" v="50678"/>
          <ac:spMkLst>
            <pc:docMk/>
            <pc:sldMk cId="1966364550" sldId="2147473979"/>
            <ac:spMk id="334" creationId="{705B6F14-E6D7-7E5A-F11C-C8760A6E0079}"/>
          </ac:spMkLst>
        </pc:spChg>
        <pc:spChg chg="add del mod">
          <ac:chgData name="Steiner Andreas 6206 ED" userId="e6377c33-a923-4f14-8587-531c474c7b48" providerId="ADAL" clId="{6ECD27E6-B224-41CD-B4E0-E297462320DD}" dt="2023-11-24T08:43:11.970" v="50833"/>
          <ac:spMkLst>
            <pc:docMk/>
            <pc:sldMk cId="1966364550" sldId="2147473979"/>
            <ac:spMk id="335" creationId="{6033534C-212C-D850-133A-8C75D4894A35}"/>
          </ac:spMkLst>
        </pc:spChg>
        <pc:spChg chg="add del mod">
          <ac:chgData name="Steiner Andreas 6206 ED" userId="e6377c33-a923-4f14-8587-531c474c7b48" providerId="ADAL" clId="{6ECD27E6-B224-41CD-B4E0-E297462320DD}" dt="2023-11-24T08:43:14.031" v="50988"/>
          <ac:spMkLst>
            <pc:docMk/>
            <pc:sldMk cId="1966364550" sldId="2147473979"/>
            <ac:spMk id="336" creationId="{7DE14D6C-EF46-9965-9B96-0EFDDC443019}"/>
          </ac:spMkLst>
        </pc:spChg>
        <pc:spChg chg="add del mod">
          <ac:chgData name="Steiner Andreas 6206 ED" userId="e6377c33-a923-4f14-8587-531c474c7b48" providerId="ADAL" clId="{6ECD27E6-B224-41CD-B4E0-E297462320DD}" dt="2023-11-24T08:43:16.024" v="51143"/>
          <ac:spMkLst>
            <pc:docMk/>
            <pc:sldMk cId="1966364550" sldId="2147473979"/>
            <ac:spMk id="337" creationId="{B4CBB149-7915-E337-0064-ABB6900AE3A2}"/>
          </ac:spMkLst>
        </pc:spChg>
        <pc:spChg chg="add del mod">
          <ac:chgData name="Steiner Andreas 6206 ED" userId="e6377c33-a923-4f14-8587-531c474c7b48" providerId="ADAL" clId="{6ECD27E6-B224-41CD-B4E0-E297462320DD}" dt="2023-11-24T08:43:18.069" v="51298"/>
          <ac:spMkLst>
            <pc:docMk/>
            <pc:sldMk cId="1966364550" sldId="2147473979"/>
            <ac:spMk id="338" creationId="{6C1E5F08-C79B-A048-430D-8C19410EC183}"/>
          </ac:spMkLst>
        </pc:spChg>
        <pc:spChg chg="add del mod">
          <ac:chgData name="Steiner Andreas 6206 ED" userId="e6377c33-a923-4f14-8587-531c474c7b48" providerId="ADAL" clId="{6ECD27E6-B224-41CD-B4E0-E297462320DD}" dt="2023-11-24T08:43:20.064" v="51453"/>
          <ac:spMkLst>
            <pc:docMk/>
            <pc:sldMk cId="1966364550" sldId="2147473979"/>
            <ac:spMk id="339" creationId="{48DE1095-77EB-AF91-ADF2-5704E79D8311}"/>
          </ac:spMkLst>
        </pc:spChg>
        <pc:spChg chg="add del mod">
          <ac:chgData name="Steiner Andreas 6206 ED" userId="e6377c33-a923-4f14-8587-531c474c7b48" providerId="ADAL" clId="{6ECD27E6-B224-41CD-B4E0-E297462320DD}" dt="2023-11-24T08:43:21.965" v="51608"/>
          <ac:spMkLst>
            <pc:docMk/>
            <pc:sldMk cId="1966364550" sldId="2147473979"/>
            <ac:spMk id="340" creationId="{5A8352E8-F337-C414-7AB0-DD67645F57D5}"/>
          </ac:spMkLst>
        </pc:spChg>
        <pc:spChg chg="add del mod">
          <ac:chgData name="Steiner Andreas 6206 ED" userId="e6377c33-a923-4f14-8587-531c474c7b48" providerId="ADAL" clId="{6ECD27E6-B224-41CD-B4E0-E297462320DD}" dt="2023-11-24T08:43:23.919" v="51763"/>
          <ac:spMkLst>
            <pc:docMk/>
            <pc:sldMk cId="1966364550" sldId="2147473979"/>
            <ac:spMk id="341" creationId="{4AD88DB7-D927-22D7-CE12-D6301585591A}"/>
          </ac:spMkLst>
        </pc:spChg>
        <pc:spChg chg="add del mod">
          <ac:chgData name="Steiner Andreas 6206 ED" userId="e6377c33-a923-4f14-8587-531c474c7b48" providerId="ADAL" clId="{6ECD27E6-B224-41CD-B4E0-E297462320DD}" dt="2023-11-24T08:43:25.797" v="51918"/>
          <ac:spMkLst>
            <pc:docMk/>
            <pc:sldMk cId="1966364550" sldId="2147473979"/>
            <ac:spMk id="342" creationId="{19E09560-20FC-7868-FF5B-DC1157592CC4}"/>
          </ac:spMkLst>
        </pc:spChg>
        <pc:spChg chg="add del mod">
          <ac:chgData name="Steiner Andreas 6206 ED" userId="e6377c33-a923-4f14-8587-531c474c7b48" providerId="ADAL" clId="{6ECD27E6-B224-41CD-B4E0-E297462320DD}" dt="2023-11-24T08:43:27.619" v="52073"/>
          <ac:spMkLst>
            <pc:docMk/>
            <pc:sldMk cId="1966364550" sldId="2147473979"/>
            <ac:spMk id="343" creationId="{801FBD59-7C5A-4A17-E35E-08486D2401D9}"/>
          </ac:spMkLst>
        </pc:spChg>
        <pc:spChg chg="add del mod">
          <ac:chgData name="Steiner Andreas 6206 ED" userId="e6377c33-a923-4f14-8587-531c474c7b48" providerId="ADAL" clId="{6ECD27E6-B224-41CD-B4E0-E297462320DD}" dt="2023-11-24T08:43:29.411" v="52228"/>
          <ac:spMkLst>
            <pc:docMk/>
            <pc:sldMk cId="1966364550" sldId="2147473979"/>
            <ac:spMk id="344" creationId="{1E902503-6E88-7A7E-8DC4-A9D26446A19E}"/>
          </ac:spMkLst>
        </pc:spChg>
        <pc:spChg chg="add del mod">
          <ac:chgData name="Steiner Andreas 6206 ED" userId="e6377c33-a923-4f14-8587-531c474c7b48" providerId="ADAL" clId="{6ECD27E6-B224-41CD-B4E0-E297462320DD}" dt="2023-11-24T08:43:32.175" v="52383"/>
          <ac:spMkLst>
            <pc:docMk/>
            <pc:sldMk cId="1966364550" sldId="2147473979"/>
            <ac:spMk id="345" creationId="{2921874E-BD22-9725-C1A1-3D6D4CB09E71}"/>
          </ac:spMkLst>
        </pc:spChg>
        <pc:spChg chg="add del mod">
          <ac:chgData name="Steiner Andreas 6206 ED" userId="e6377c33-a923-4f14-8587-531c474c7b48" providerId="ADAL" clId="{6ECD27E6-B224-41CD-B4E0-E297462320DD}" dt="2023-11-24T08:43:34.655" v="52538"/>
          <ac:spMkLst>
            <pc:docMk/>
            <pc:sldMk cId="1966364550" sldId="2147473979"/>
            <ac:spMk id="346" creationId="{BB1B0CCB-DF5B-1525-3579-32E86809FBE8}"/>
          </ac:spMkLst>
        </pc:spChg>
        <pc:spChg chg="add del mod">
          <ac:chgData name="Steiner Andreas 6206 ED" userId="e6377c33-a923-4f14-8587-531c474c7b48" providerId="ADAL" clId="{6ECD27E6-B224-41CD-B4E0-E297462320DD}" dt="2023-11-24T08:43:36.735" v="52693"/>
          <ac:spMkLst>
            <pc:docMk/>
            <pc:sldMk cId="1966364550" sldId="2147473979"/>
            <ac:spMk id="347" creationId="{5A45F743-52AB-5FB8-4A48-BDA9E53CA187}"/>
          </ac:spMkLst>
        </pc:spChg>
        <pc:spChg chg="add del mod">
          <ac:chgData name="Steiner Andreas 6206 ED" userId="e6377c33-a923-4f14-8587-531c474c7b48" providerId="ADAL" clId="{6ECD27E6-B224-41CD-B4E0-E297462320DD}" dt="2023-11-24T08:43:38.861" v="52848"/>
          <ac:spMkLst>
            <pc:docMk/>
            <pc:sldMk cId="1966364550" sldId="2147473979"/>
            <ac:spMk id="348" creationId="{9E838DF7-2C13-3469-36DA-A4EB097FA805}"/>
          </ac:spMkLst>
        </pc:spChg>
        <pc:spChg chg="add del mod">
          <ac:chgData name="Steiner Andreas 6206 ED" userId="e6377c33-a923-4f14-8587-531c474c7b48" providerId="ADAL" clId="{6ECD27E6-B224-41CD-B4E0-E297462320DD}" dt="2023-11-24T08:43:40.967" v="53003"/>
          <ac:spMkLst>
            <pc:docMk/>
            <pc:sldMk cId="1966364550" sldId="2147473979"/>
            <ac:spMk id="349" creationId="{DE86246D-82FF-3382-3749-609BD465DFB6}"/>
          </ac:spMkLst>
        </pc:spChg>
        <pc:spChg chg="add del mod">
          <ac:chgData name="Steiner Andreas 6206 ED" userId="e6377c33-a923-4f14-8587-531c474c7b48" providerId="ADAL" clId="{6ECD27E6-B224-41CD-B4E0-E297462320DD}" dt="2023-11-24T08:43:42.916" v="53158"/>
          <ac:spMkLst>
            <pc:docMk/>
            <pc:sldMk cId="1966364550" sldId="2147473979"/>
            <ac:spMk id="350" creationId="{3BE8F65C-DFCC-B3F7-6255-F89088BBBC51}"/>
          </ac:spMkLst>
        </pc:spChg>
        <pc:spChg chg="add del mod">
          <ac:chgData name="Steiner Andreas 6206 ED" userId="e6377c33-a923-4f14-8587-531c474c7b48" providerId="ADAL" clId="{6ECD27E6-B224-41CD-B4E0-E297462320DD}" dt="2023-11-24T08:43:44.732" v="53313"/>
          <ac:spMkLst>
            <pc:docMk/>
            <pc:sldMk cId="1966364550" sldId="2147473979"/>
            <ac:spMk id="351" creationId="{9BC82559-49EB-2AB6-A621-3D8FC04A8749}"/>
          </ac:spMkLst>
        </pc:spChg>
        <pc:spChg chg="add del mod">
          <ac:chgData name="Steiner Andreas 6206 ED" userId="e6377c33-a923-4f14-8587-531c474c7b48" providerId="ADAL" clId="{6ECD27E6-B224-41CD-B4E0-E297462320DD}" dt="2023-11-24T08:43:46.522" v="53468"/>
          <ac:spMkLst>
            <pc:docMk/>
            <pc:sldMk cId="1966364550" sldId="2147473979"/>
            <ac:spMk id="352" creationId="{D04F83D9-E39A-0442-77C7-2EDF4770F12D}"/>
          </ac:spMkLst>
        </pc:spChg>
        <pc:spChg chg="add del mod">
          <ac:chgData name="Steiner Andreas 6206 ED" userId="e6377c33-a923-4f14-8587-531c474c7b48" providerId="ADAL" clId="{6ECD27E6-B224-41CD-B4E0-E297462320DD}" dt="2023-11-24T08:43:48.495" v="53623"/>
          <ac:spMkLst>
            <pc:docMk/>
            <pc:sldMk cId="1966364550" sldId="2147473979"/>
            <ac:spMk id="353" creationId="{D342043E-0741-101F-2E4C-6F6E0AF86C24}"/>
          </ac:spMkLst>
        </pc:spChg>
        <pc:spChg chg="add del mod">
          <ac:chgData name="Steiner Andreas 6206 ED" userId="e6377c33-a923-4f14-8587-531c474c7b48" providerId="ADAL" clId="{6ECD27E6-B224-41CD-B4E0-E297462320DD}" dt="2023-11-24T08:43:50.425" v="53778"/>
          <ac:spMkLst>
            <pc:docMk/>
            <pc:sldMk cId="1966364550" sldId="2147473979"/>
            <ac:spMk id="354" creationId="{B5A40802-A053-CCCD-FB20-5F3B9F99759A}"/>
          </ac:spMkLst>
        </pc:spChg>
        <pc:spChg chg="add del mod">
          <ac:chgData name="Steiner Andreas 6206 ED" userId="e6377c33-a923-4f14-8587-531c474c7b48" providerId="ADAL" clId="{6ECD27E6-B224-41CD-B4E0-E297462320DD}" dt="2023-11-24T08:43:52.687" v="53933"/>
          <ac:spMkLst>
            <pc:docMk/>
            <pc:sldMk cId="1966364550" sldId="2147473979"/>
            <ac:spMk id="355" creationId="{E84D6005-3852-B066-EDA5-86CD18CE8CAC}"/>
          </ac:spMkLst>
        </pc:spChg>
        <pc:spChg chg="add del mod">
          <ac:chgData name="Steiner Andreas 6206 ED" userId="e6377c33-a923-4f14-8587-531c474c7b48" providerId="ADAL" clId="{6ECD27E6-B224-41CD-B4E0-E297462320DD}" dt="2023-11-24T08:43:55.266" v="54088"/>
          <ac:spMkLst>
            <pc:docMk/>
            <pc:sldMk cId="1966364550" sldId="2147473979"/>
            <ac:spMk id="356" creationId="{DB5842D7-E852-BADD-9CCF-71F5DBCFBEA5}"/>
          </ac:spMkLst>
        </pc:spChg>
        <pc:spChg chg="add del mod">
          <ac:chgData name="Steiner Andreas 6206 ED" userId="e6377c33-a923-4f14-8587-531c474c7b48" providerId="ADAL" clId="{6ECD27E6-B224-41CD-B4E0-E297462320DD}" dt="2023-11-24T08:43:57.293" v="54243"/>
          <ac:spMkLst>
            <pc:docMk/>
            <pc:sldMk cId="1966364550" sldId="2147473979"/>
            <ac:spMk id="357" creationId="{E36F92A3-FB76-F235-2B7D-877F39508624}"/>
          </ac:spMkLst>
        </pc:spChg>
        <pc:spChg chg="add del mod">
          <ac:chgData name="Steiner Andreas 6206 ED" userId="e6377c33-a923-4f14-8587-531c474c7b48" providerId="ADAL" clId="{6ECD27E6-B224-41CD-B4E0-E297462320DD}" dt="2023-11-24T08:43:59.575" v="54398"/>
          <ac:spMkLst>
            <pc:docMk/>
            <pc:sldMk cId="1966364550" sldId="2147473979"/>
            <ac:spMk id="358" creationId="{59186E6A-A8A1-7F44-0F48-F56EC80F3B03}"/>
          </ac:spMkLst>
        </pc:spChg>
        <pc:spChg chg="add del mod">
          <ac:chgData name="Steiner Andreas 6206 ED" userId="e6377c33-a923-4f14-8587-531c474c7b48" providerId="ADAL" clId="{6ECD27E6-B224-41CD-B4E0-E297462320DD}" dt="2023-11-24T08:44:01.759" v="54553"/>
          <ac:spMkLst>
            <pc:docMk/>
            <pc:sldMk cId="1966364550" sldId="2147473979"/>
            <ac:spMk id="359" creationId="{36125432-A29F-E2A1-A492-60F17DFB3D0B}"/>
          </ac:spMkLst>
        </pc:spChg>
        <pc:spChg chg="add del mod">
          <ac:chgData name="Steiner Andreas 6206 ED" userId="e6377c33-a923-4f14-8587-531c474c7b48" providerId="ADAL" clId="{6ECD27E6-B224-41CD-B4E0-E297462320DD}" dt="2023-11-24T08:44:03.965" v="54708"/>
          <ac:spMkLst>
            <pc:docMk/>
            <pc:sldMk cId="1966364550" sldId="2147473979"/>
            <ac:spMk id="360" creationId="{E1E2EA38-FC50-AB61-CFB8-4F96F1E1392F}"/>
          </ac:spMkLst>
        </pc:spChg>
        <pc:spChg chg="add del mod">
          <ac:chgData name="Steiner Andreas 6206 ED" userId="e6377c33-a923-4f14-8587-531c474c7b48" providerId="ADAL" clId="{6ECD27E6-B224-41CD-B4E0-E297462320DD}" dt="2023-11-24T08:44:05.994" v="54863"/>
          <ac:spMkLst>
            <pc:docMk/>
            <pc:sldMk cId="1966364550" sldId="2147473979"/>
            <ac:spMk id="361" creationId="{CE2B7BBA-C105-818F-9269-E0938E4CB234}"/>
          </ac:spMkLst>
        </pc:spChg>
        <pc:spChg chg="add del mod">
          <ac:chgData name="Steiner Andreas 6206 ED" userId="e6377c33-a923-4f14-8587-531c474c7b48" providerId="ADAL" clId="{6ECD27E6-B224-41CD-B4E0-E297462320DD}" dt="2023-11-24T08:44:07.966" v="55018"/>
          <ac:spMkLst>
            <pc:docMk/>
            <pc:sldMk cId="1966364550" sldId="2147473979"/>
            <ac:spMk id="362" creationId="{73DA29B8-F62A-CAAD-A8AB-53F6E4F7D3BA}"/>
          </ac:spMkLst>
        </pc:spChg>
        <pc:spChg chg="add del mod">
          <ac:chgData name="Steiner Andreas 6206 ED" userId="e6377c33-a923-4f14-8587-531c474c7b48" providerId="ADAL" clId="{6ECD27E6-B224-41CD-B4E0-E297462320DD}" dt="2023-11-24T08:44:09.935" v="55173"/>
          <ac:spMkLst>
            <pc:docMk/>
            <pc:sldMk cId="1966364550" sldId="2147473979"/>
            <ac:spMk id="363" creationId="{DF87F1AC-529C-284F-2D79-E90064CA13D7}"/>
          </ac:spMkLst>
        </pc:spChg>
        <pc:spChg chg="add del mod">
          <ac:chgData name="Steiner Andreas 6206 ED" userId="e6377c33-a923-4f14-8587-531c474c7b48" providerId="ADAL" clId="{6ECD27E6-B224-41CD-B4E0-E297462320DD}" dt="2023-11-24T08:44:11.959" v="55328"/>
          <ac:spMkLst>
            <pc:docMk/>
            <pc:sldMk cId="1966364550" sldId="2147473979"/>
            <ac:spMk id="364" creationId="{D0CD0B10-C73B-2C87-A214-7B0037C81266}"/>
          </ac:spMkLst>
        </pc:spChg>
        <pc:spChg chg="add del mod">
          <ac:chgData name="Steiner Andreas 6206 ED" userId="e6377c33-a923-4f14-8587-531c474c7b48" providerId="ADAL" clId="{6ECD27E6-B224-41CD-B4E0-E297462320DD}" dt="2023-11-24T08:44:14.091" v="55483"/>
          <ac:spMkLst>
            <pc:docMk/>
            <pc:sldMk cId="1966364550" sldId="2147473979"/>
            <ac:spMk id="365" creationId="{335C6ECA-C3A1-4EF5-C566-18FFB61BE8B5}"/>
          </ac:spMkLst>
        </pc:spChg>
        <pc:spChg chg="add del mod">
          <ac:chgData name="Steiner Andreas 6206 ED" userId="e6377c33-a923-4f14-8587-531c474c7b48" providerId="ADAL" clId="{6ECD27E6-B224-41CD-B4E0-E297462320DD}" dt="2023-11-24T08:44:16.193" v="55638"/>
          <ac:spMkLst>
            <pc:docMk/>
            <pc:sldMk cId="1966364550" sldId="2147473979"/>
            <ac:spMk id="366" creationId="{CECA1756-81F7-1919-82CA-28575C9071E1}"/>
          </ac:spMkLst>
        </pc:spChg>
        <pc:spChg chg="add del mod">
          <ac:chgData name="Steiner Andreas 6206 ED" userId="e6377c33-a923-4f14-8587-531c474c7b48" providerId="ADAL" clId="{6ECD27E6-B224-41CD-B4E0-E297462320DD}" dt="2023-11-24T08:44:18.681" v="55793"/>
          <ac:spMkLst>
            <pc:docMk/>
            <pc:sldMk cId="1966364550" sldId="2147473979"/>
            <ac:spMk id="367" creationId="{441368C1-6B1E-285B-3426-21B8D1C15798}"/>
          </ac:spMkLst>
        </pc:spChg>
        <pc:spChg chg="add del mod">
          <ac:chgData name="Steiner Andreas 6206 ED" userId="e6377c33-a923-4f14-8587-531c474c7b48" providerId="ADAL" clId="{6ECD27E6-B224-41CD-B4E0-E297462320DD}" dt="2023-11-24T08:44:21.543" v="55948"/>
          <ac:spMkLst>
            <pc:docMk/>
            <pc:sldMk cId="1966364550" sldId="2147473979"/>
            <ac:spMk id="368" creationId="{5746B95C-14CE-725D-E3BB-89B1A4CA6F65}"/>
          </ac:spMkLst>
        </pc:spChg>
        <pc:spChg chg="add del mod">
          <ac:chgData name="Steiner Andreas 6206 ED" userId="e6377c33-a923-4f14-8587-531c474c7b48" providerId="ADAL" clId="{6ECD27E6-B224-41CD-B4E0-E297462320DD}" dt="2023-11-24T08:44:23.903" v="56103"/>
          <ac:spMkLst>
            <pc:docMk/>
            <pc:sldMk cId="1966364550" sldId="2147473979"/>
            <ac:spMk id="369" creationId="{3F40826F-73ED-779F-D064-46DAA3BDC965}"/>
          </ac:spMkLst>
        </pc:spChg>
        <pc:spChg chg="add del mod">
          <ac:chgData name="Steiner Andreas 6206 ED" userId="e6377c33-a923-4f14-8587-531c474c7b48" providerId="ADAL" clId="{6ECD27E6-B224-41CD-B4E0-E297462320DD}" dt="2023-11-24T08:44:25.835" v="56258"/>
          <ac:spMkLst>
            <pc:docMk/>
            <pc:sldMk cId="1966364550" sldId="2147473979"/>
            <ac:spMk id="370" creationId="{7AAD2463-EAA1-6799-F4D9-D898EC667C09}"/>
          </ac:spMkLst>
        </pc:spChg>
        <pc:spChg chg="add del mod">
          <ac:chgData name="Steiner Andreas 6206 ED" userId="e6377c33-a923-4f14-8587-531c474c7b48" providerId="ADAL" clId="{6ECD27E6-B224-41CD-B4E0-E297462320DD}" dt="2023-11-24T08:44:28.013" v="56413"/>
          <ac:spMkLst>
            <pc:docMk/>
            <pc:sldMk cId="1966364550" sldId="2147473979"/>
            <ac:spMk id="371" creationId="{CA10F11A-0D2B-4FF6-51EA-3592240D0229}"/>
          </ac:spMkLst>
        </pc:spChg>
        <pc:spChg chg="add del mod">
          <ac:chgData name="Steiner Andreas 6206 ED" userId="e6377c33-a923-4f14-8587-531c474c7b48" providerId="ADAL" clId="{6ECD27E6-B224-41CD-B4E0-E297462320DD}" dt="2023-11-24T08:44:30.037" v="56568"/>
          <ac:spMkLst>
            <pc:docMk/>
            <pc:sldMk cId="1966364550" sldId="2147473979"/>
            <ac:spMk id="372" creationId="{212335A7-6A72-7739-A8EC-D4431CABD631}"/>
          </ac:spMkLst>
        </pc:spChg>
        <pc:spChg chg="add del mod">
          <ac:chgData name="Steiner Andreas 6206 ED" userId="e6377c33-a923-4f14-8587-531c474c7b48" providerId="ADAL" clId="{6ECD27E6-B224-41CD-B4E0-E297462320DD}" dt="2023-11-24T08:44:31.984" v="56723"/>
          <ac:spMkLst>
            <pc:docMk/>
            <pc:sldMk cId="1966364550" sldId="2147473979"/>
            <ac:spMk id="373" creationId="{468EBB83-FA28-DECC-1655-76C0F104FA8E}"/>
          </ac:spMkLst>
        </pc:spChg>
        <pc:spChg chg="add del mod">
          <ac:chgData name="Steiner Andreas 6206 ED" userId="e6377c33-a923-4f14-8587-531c474c7b48" providerId="ADAL" clId="{6ECD27E6-B224-41CD-B4E0-E297462320DD}" dt="2023-11-24T08:44:33.949" v="56878"/>
          <ac:spMkLst>
            <pc:docMk/>
            <pc:sldMk cId="1966364550" sldId="2147473979"/>
            <ac:spMk id="374" creationId="{CADAF66B-3406-6733-A1C0-35B7075B9C7A}"/>
          </ac:spMkLst>
        </pc:spChg>
        <pc:spChg chg="add del mod">
          <ac:chgData name="Steiner Andreas 6206 ED" userId="e6377c33-a923-4f14-8587-531c474c7b48" providerId="ADAL" clId="{6ECD27E6-B224-41CD-B4E0-E297462320DD}" dt="2023-11-24T08:44:36.456" v="57033"/>
          <ac:spMkLst>
            <pc:docMk/>
            <pc:sldMk cId="1966364550" sldId="2147473979"/>
            <ac:spMk id="375" creationId="{1BAD152A-4504-533D-7676-B1ECC0E6F4E3}"/>
          </ac:spMkLst>
        </pc:spChg>
        <pc:spChg chg="add del mod">
          <ac:chgData name="Steiner Andreas 6206 ED" userId="e6377c33-a923-4f14-8587-531c474c7b48" providerId="ADAL" clId="{6ECD27E6-B224-41CD-B4E0-E297462320DD}" dt="2023-11-24T08:44:39.086" v="57188"/>
          <ac:spMkLst>
            <pc:docMk/>
            <pc:sldMk cId="1966364550" sldId="2147473979"/>
            <ac:spMk id="376" creationId="{F8923743-FE84-6F43-D091-D606738F690D}"/>
          </ac:spMkLst>
        </pc:spChg>
        <pc:spChg chg="add del mod">
          <ac:chgData name="Steiner Andreas 6206 ED" userId="e6377c33-a923-4f14-8587-531c474c7b48" providerId="ADAL" clId="{6ECD27E6-B224-41CD-B4E0-E297462320DD}" dt="2023-11-24T08:44:41.342" v="57343"/>
          <ac:spMkLst>
            <pc:docMk/>
            <pc:sldMk cId="1966364550" sldId="2147473979"/>
            <ac:spMk id="377" creationId="{24E14127-14E7-ECA7-343B-3C083F86585E}"/>
          </ac:spMkLst>
        </pc:spChg>
        <pc:spChg chg="add del mod">
          <ac:chgData name="Steiner Andreas 6206 ED" userId="e6377c33-a923-4f14-8587-531c474c7b48" providerId="ADAL" clId="{6ECD27E6-B224-41CD-B4E0-E297462320DD}" dt="2023-11-24T08:44:43.492" v="57498"/>
          <ac:spMkLst>
            <pc:docMk/>
            <pc:sldMk cId="1966364550" sldId="2147473979"/>
            <ac:spMk id="378" creationId="{F5E0D7ED-989D-F637-B3A1-3F4D71BD3DD1}"/>
          </ac:spMkLst>
        </pc:spChg>
        <pc:spChg chg="add del mod">
          <ac:chgData name="Steiner Andreas 6206 ED" userId="e6377c33-a923-4f14-8587-531c474c7b48" providerId="ADAL" clId="{6ECD27E6-B224-41CD-B4E0-E297462320DD}" dt="2023-11-24T08:44:45.672" v="57653"/>
          <ac:spMkLst>
            <pc:docMk/>
            <pc:sldMk cId="1966364550" sldId="2147473979"/>
            <ac:spMk id="379" creationId="{AB9FB9AE-551C-B3E6-9EC1-F7DC33A0BE86}"/>
          </ac:spMkLst>
        </pc:spChg>
        <pc:spChg chg="add del mod">
          <ac:chgData name="Steiner Andreas 6206 ED" userId="e6377c33-a923-4f14-8587-531c474c7b48" providerId="ADAL" clId="{6ECD27E6-B224-41CD-B4E0-E297462320DD}" dt="2023-11-24T08:44:48.425" v="57808"/>
          <ac:spMkLst>
            <pc:docMk/>
            <pc:sldMk cId="1966364550" sldId="2147473979"/>
            <ac:spMk id="380" creationId="{1A67F556-4430-CD42-0DD2-9D4E853A62BC}"/>
          </ac:spMkLst>
        </pc:spChg>
        <pc:spChg chg="add del mod">
          <ac:chgData name="Steiner Andreas 6206 ED" userId="e6377c33-a923-4f14-8587-531c474c7b48" providerId="ADAL" clId="{6ECD27E6-B224-41CD-B4E0-E297462320DD}" dt="2023-11-24T08:44:50.641" v="57963"/>
          <ac:spMkLst>
            <pc:docMk/>
            <pc:sldMk cId="1966364550" sldId="2147473979"/>
            <ac:spMk id="381" creationId="{013CB7B5-5A72-FF48-8F73-583B0396EC7E}"/>
          </ac:spMkLst>
        </pc:spChg>
        <pc:spChg chg="add del mod">
          <ac:chgData name="Steiner Andreas 6206 ED" userId="e6377c33-a923-4f14-8587-531c474c7b48" providerId="ADAL" clId="{6ECD27E6-B224-41CD-B4E0-E297462320DD}" dt="2023-11-24T08:44:52.792" v="58118"/>
          <ac:spMkLst>
            <pc:docMk/>
            <pc:sldMk cId="1966364550" sldId="2147473979"/>
            <ac:spMk id="382" creationId="{25165E96-2491-59CA-2D88-7B2A43E56804}"/>
          </ac:spMkLst>
        </pc:spChg>
        <pc:spChg chg="add del mod">
          <ac:chgData name="Steiner Andreas 6206 ED" userId="e6377c33-a923-4f14-8587-531c474c7b48" providerId="ADAL" clId="{6ECD27E6-B224-41CD-B4E0-E297462320DD}" dt="2023-11-24T08:44:55" v="58273"/>
          <ac:spMkLst>
            <pc:docMk/>
            <pc:sldMk cId="1966364550" sldId="2147473979"/>
            <ac:spMk id="383" creationId="{4C5E2DF4-0F8C-A135-4258-4BDCDDD540D6}"/>
          </ac:spMkLst>
        </pc:spChg>
        <pc:spChg chg="add del mod">
          <ac:chgData name="Steiner Andreas 6206 ED" userId="e6377c33-a923-4f14-8587-531c474c7b48" providerId="ADAL" clId="{6ECD27E6-B224-41CD-B4E0-E297462320DD}" dt="2023-11-24T08:44:56.990" v="58428"/>
          <ac:spMkLst>
            <pc:docMk/>
            <pc:sldMk cId="1966364550" sldId="2147473979"/>
            <ac:spMk id="384" creationId="{62240840-D527-BBC7-B9AE-2EB1F344B76C}"/>
          </ac:spMkLst>
        </pc:spChg>
        <pc:spChg chg="add del mod">
          <ac:chgData name="Steiner Andreas 6206 ED" userId="e6377c33-a923-4f14-8587-531c474c7b48" providerId="ADAL" clId="{6ECD27E6-B224-41CD-B4E0-E297462320DD}" dt="2023-11-24T08:44:58.928" v="58583"/>
          <ac:spMkLst>
            <pc:docMk/>
            <pc:sldMk cId="1966364550" sldId="2147473979"/>
            <ac:spMk id="385" creationId="{63310B95-9679-B9B6-C0C3-E49D6A57D134}"/>
          </ac:spMkLst>
        </pc:spChg>
        <pc:spChg chg="add del mod">
          <ac:chgData name="Steiner Andreas 6206 ED" userId="e6377c33-a923-4f14-8587-531c474c7b48" providerId="ADAL" clId="{6ECD27E6-B224-41CD-B4E0-E297462320DD}" dt="2023-11-24T08:45:01.092" v="58738"/>
          <ac:spMkLst>
            <pc:docMk/>
            <pc:sldMk cId="1966364550" sldId="2147473979"/>
            <ac:spMk id="386" creationId="{4943E72D-E179-B332-AF17-86A38BCCC50B}"/>
          </ac:spMkLst>
        </pc:spChg>
        <pc:spChg chg="add del mod">
          <ac:chgData name="Steiner Andreas 6206 ED" userId="e6377c33-a923-4f14-8587-531c474c7b48" providerId="ADAL" clId="{6ECD27E6-B224-41CD-B4E0-E297462320DD}" dt="2023-11-24T08:45:03.009" v="58893"/>
          <ac:spMkLst>
            <pc:docMk/>
            <pc:sldMk cId="1966364550" sldId="2147473979"/>
            <ac:spMk id="387" creationId="{C7DBB226-544B-DF1F-3737-3C9F03E42A83}"/>
          </ac:spMkLst>
        </pc:spChg>
        <pc:spChg chg="add del mod">
          <ac:chgData name="Steiner Andreas 6206 ED" userId="e6377c33-a923-4f14-8587-531c474c7b48" providerId="ADAL" clId="{6ECD27E6-B224-41CD-B4E0-E297462320DD}" dt="2023-11-24T08:45:04.853" v="59048"/>
          <ac:spMkLst>
            <pc:docMk/>
            <pc:sldMk cId="1966364550" sldId="2147473979"/>
            <ac:spMk id="388" creationId="{79D292CA-3AFB-6707-112D-2A486BBA8597}"/>
          </ac:spMkLst>
        </pc:spChg>
        <pc:spChg chg="add del mod">
          <ac:chgData name="Steiner Andreas 6206 ED" userId="e6377c33-a923-4f14-8587-531c474c7b48" providerId="ADAL" clId="{6ECD27E6-B224-41CD-B4E0-E297462320DD}" dt="2023-11-24T08:45:06.702" v="59203"/>
          <ac:spMkLst>
            <pc:docMk/>
            <pc:sldMk cId="1966364550" sldId="2147473979"/>
            <ac:spMk id="389" creationId="{FDA9183D-A752-575F-D8A9-A69A4EF22495}"/>
          </ac:spMkLst>
        </pc:spChg>
        <pc:spChg chg="add del mod">
          <ac:chgData name="Steiner Andreas 6206 ED" userId="e6377c33-a923-4f14-8587-531c474c7b48" providerId="ADAL" clId="{6ECD27E6-B224-41CD-B4E0-E297462320DD}" dt="2023-11-24T08:45:08.533" v="59358"/>
          <ac:spMkLst>
            <pc:docMk/>
            <pc:sldMk cId="1966364550" sldId="2147473979"/>
            <ac:spMk id="390" creationId="{81FDC0BE-3F39-0BA5-797E-BB0D05ACA181}"/>
          </ac:spMkLst>
        </pc:spChg>
        <pc:spChg chg="add del mod">
          <ac:chgData name="Steiner Andreas 6206 ED" userId="e6377c33-a923-4f14-8587-531c474c7b48" providerId="ADAL" clId="{6ECD27E6-B224-41CD-B4E0-E297462320DD}" dt="2023-11-24T08:45:10.375" v="59513"/>
          <ac:spMkLst>
            <pc:docMk/>
            <pc:sldMk cId="1966364550" sldId="2147473979"/>
            <ac:spMk id="391" creationId="{0569C329-E625-36FE-3FBB-C076211D94B0}"/>
          </ac:spMkLst>
        </pc:spChg>
        <pc:spChg chg="add del mod">
          <ac:chgData name="Steiner Andreas 6206 ED" userId="e6377c33-a923-4f14-8587-531c474c7b48" providerId="ADAL" clId="{6ECD27E6-B224-41CD-B4E0-E297462320DD}" dt="2023-11-24T08:45:12.435" v="59668"/>
          <ac:spMkLst>
            <pc:docMk/>
            <pc:sldMk cId="1966364550" sldId="2147473979"/>
            <ac:spMk id="392" creationId="{4AF4A4AF-4B2F-57F1-A254-9FE2C8F87538}"/>
          </ac:spMkLst>
        </pc:spChg>
        <pc:spChg chg="add del mod">
          <ac:chgData name="Steiner Andreas 6206 ED" userId="e6377c33-a923-4f14-8587-531c474c7b48" providerId="ADAL" clId="{6ECD27E6-B224-41CD-B4E0-E297462320DD}" dt="2023-11-24T08:45:14.374" v="59823"/>
          <ac:spMkLst>
            <pc:docMk/>
            <pc:sldMk cId="1966364550" sldId="2147473979"/>
            <ac:spMk id="393" creationId="{D8A56B4B-6EC7-76F9-B84B-066C52956F92}"/>
          </ac:spMkLst>
        </pc:spChg>
        <pc:spChg chg="add del mod">
          <ac:chgData name="Steiner Andreas 6206 ED" userId="e6377c33-a923-4f14-8587-531c474c7b48" providerId="ADAL" clId="{6ECD27E6-B224-41CD-B4E0-E297462320DD}" dt="2023-11-24T08:45:16.440" v="59978"/>
          <ac:spMkLst>
            <pc:docMk/>
            <pc:sldMk cId="1966364550" sldId="2147473979"/>
            <ac:spMk id="394" creationId="{BC15D60B-C549-FC30-B9BE-03EAD4C14914}"/>
          </ac:spMkLst>
        </pc:spChg>
        <pc:spChg chg="add del mod">
          <ac:chgData name="Steiner Andreas 6206 ED" userId="e6377c33-a923-4f14-8587-531c474c7b48" providerId="ADAL" clId="{6ECD27E6-B224-41CD-B4E0-E297462320DD}" dt="2023-11-24T08:45:18.388" v="60133"/>
          <ac:spMkLst>
            <pc:docMk/>
            <pc:sldMk cId="1966364550" sldId="2147473979"/>
            <ac:spMk id="395" creationId="{0B786084-EE30-8BAA-A964-33453D5DA234}"/>
          </ac:spMkLst>
        </pc:spChg>
        <pc:spChg chg="add del mod">
          <ac:chgData name="Steiner Andreas 6206 ED" userId="e6377c33-a923-4f14-8587-531c474c7b48" providerId="ADAL" clId="{6ECD27E6-B224-41CD-B4E0-E297462320DD}" dt="2023-11-24T08:45:20.276" v="60288"/>
          <ac:spMkLst>
            <pc:docMk/>
            <pc:sldMk cId="1966364550" sldId="2147473979"/>
            <ac:spMk id="396" creationId="{AD00E73B-7FB0-861F-730A-69ED0A623E30}"/>
          </ac:spMkLst>
        </pc:spChg>
        <pc:spChg chg="add del mod">
          <ac:chgData name="Steiner Andreas 6206 ED" userId="e6377c33-a923-4f14-8587-531c474c7b48" providerId="ADAL" clId="{6ECD27E6-B224-41CD-B4E0-E297462320DD}" dt="2023-11-24T08:45:22.491" v="60443"/>
          <ac:spMkLst>
            <pc:docMk/>
            <pc:sldMk cId="1966364550" sldId="2147473979"/>
            <ac:spMk id="397" creationId="{3E25CD68-B3B5-5B46-BF8C-5F73B6B302BC}"/>
          </ac:spMkLst>
        </pc:spChg>
        <pc:spChg chg="add del mod">
          <ac:chgData name="Steiner Andreas 6206 ED" userId="e6377c33-a923-4f14-8587-531c474c7b48" providerId="ADAL" clId="{6ECD27E6-B224-41CD-B4E0-E297462320DD}" dt="2023-11-24T08:45:24.661" v="60598"/>
          <ac:spMkLst>
            <pc:docMk/>
            <pc:sldMk cId="1966364550" sldId="2147473979"/>
            <ac:spMk id="398" creationId="{653FCA29-BB77-1A52-A682-B8A6AC86CE2A}"/>
          </ac:spMkLst>
        </pc:spChg>
        <pc:spChg chg="add del mod">
          <ac:chgData name="Steiner Andreas 6206 ED" userId="e6377c33-a923-4f14-8587-531c474c7b48" providerId="ADAL" clId="{6ECD27E6-B224-41CD-B4E0-E297462320DD}" dt="2023-11-24T08:45:26.599" v="60753"/>
          <ac:spMkLst>
            <pc:docMk/>
            <pc:sldMk cId="1966364550" sldId="2147473979"/>
            <ac:spMk id="399" creationId="{18D18181-D18F-4924-0C60-56239E9B63A9}"/>
          </ac:spMkLst>
        </pc:spChg>
        <pc:spChg chg="add del mod">
          <ac:chgData name="Steiner Andreas 6206 ED" userId="e6377c33-a923-4f14-8587-531c474c7b48" providerId="ADAL" clId="{6ECD27E6-B224-41CD-B4E0-E297462320DD}" dt="2023-11-24T08:45:28.480" v="60908"/>
          <ac:spMkLst>
            <pc:docMk/>
            <pc:sldMk cId="1966364550" sldId="2147473979"/>
            <ac:spMk id="400" creationId="{19707978-1DCA-480E-0AE6-9A90741A574E}"/>
          </ac:spMkLst>
        </pc:spChg>
        <pc:spChg chg="add del mod">
          <ac:chgData name="Steiner Andreas 6206 ED" userId="e6377c33-a923-4f14-8587-531c474c7b48" providerId="ADAL" clId="{6ECD27E6-B224-41CD-B4E0-E297462320DD}" dt="2023-11-24T08:45:30.324" v="61063"/>
          <ac:spMkLst>
            <pc:docMk/>
            <pc:sldMk cId="1966364550" sldId="2147473979"/>
            <ac:spMk id="401" creationId="{59ECA307-04DC-8012-B3CD-111B5DDB6568}"/>
          </ac:spMkLst>
        </pc:spChg>
        <pc:spChg chg="add del mod">
          <ac:chgData name="Steiner Andreas 6206 ED" userId="e6377c33-a923-4f14-8587-531c474c7b48" providerId="ADAL" clId="{6ECD27E6-B224-41CD-B4E0-E297462320DD}" dt="2023-11-24T08:45:32.162" v="61218"/>
          <ac:spMkLst>
            <pc:docMk/>
            <pc:sldMk cId="1966364550" sldId="2147473979"/>
            <ac:spMk id="402" creationId="{66DE3A72-0B55-7EB9-CB28-640625D34562}"/>
          </ac:spMkLst>
        </pc:spChg>
        <pc:spChg chg="add del mod">
          <ac:chgData name="Steiner Andreas 6206 ED" userId="e6377c33-a923-4f14-8587-531c474c7b48" providerId="ADAL" clId="{6ECD27E6-B224-41CD-B4E0-E297462320DD}" dt="2023-11-24T08:45:34.331" v="61373"/>
          <ac:spMkLst>
            <pc:docMk/>
            <pc:sldMk cId="1966364550" sldId="2147473979"/>
            <ac:spMk id="403" creationId="{3F44E54F-F999-9083-E192-C7AB1688DDD4}"/>
          </ac:spMkLst>
        </pc:spChg>
        <pc:spChg chg="add del mod">
          <ac:chgData name="Steiner Andreas 6206 ED" userId="e6377c33-a923-4f14-8587-531c474c7b48" providerId="ADAL" clId="{6ECD27E6-B224-41CD-B4E0-E297462320DD}" dt="2023-11-24T08:45:36.379" v="61528"/>
          <ac:spMkLst>
            <pc:docMk/>
            <pc:sldMk cId="1966364550" sldId="2147473979"/>
            <ac:spMk id="404" creationId="{A29B7A91-8112-0777-2FC6-E0B4BC6311EB}"/>
          </ac:spMkLst>
        </pc:spChg>
        <pc:spChg chg="add del mod">
          <ac:chgData name="Steiner Andreas 6206 ED" userId="e6377c33-a923-4f14-8587-531c474c7b48" providerId="ADAL" clId="{6ECD27E6-B224-41CD-B4E0-E297462320DD}" dt="2023-11-24T08:45:38.232" v="61683"/>
          <ac:spMkLst>
            <pc:docMk/>
            <pc:sldMk cId="1966364550" sldId="2147473979"/>
            <ac:spMk id="405" creationId="{9E3AEF7F-311D-800E-7665-ABE754621FDC}"/>
          </ac:spMkLst>
        </pc:spChg>
        <pc:spChg chg="add del mod">
          <ac:chgData name="Steiner Andreas 6206 ED" userId="e6377c33-a923-4f14-8587-531c474c7b48" providerId="ADAL" clId="{6ECD27E6-B224-41CD-B4E0-E297462320DD}" dt="2023-11-24T08:45:40.127" v="61838"/>
          <ac:spMkLst>
            <pc:docMk/>
            <pc:sldMk cId="1966364550" sldId="2147473979"/>
            <ac:spMk id="406" creationId="{5F478850-5107-99AB-5346-304D344AFBA6}"/>
          </ac:spMkLst>
        </pc:spChg>
        <pc:spChg chg="add del mod">
          <ac:chgData name="Steiner Andreas 6206 ED" userId="e6377c33-a923-4f14-8587-531c474c7b48" providerId="ADAL" clId="{6ECD27E6-B224-41CD-B4E0-E297462320DD}" dt="2023-11-24T08:45:42.154" v="61993"/>
          <ac:spMkLst>
            <pc:docMk/>
            <pc:sldMk cId="1966364550" sldId="2147473979"/>
            <ac:spMk id="407" creationId="{801D76AB-6A90-04D0-111D-58335C3E7259}"/>
          </ac:spMkLst>
        </pc:spChg>
        <pc:spChg chg="add del mod">
          <ac:chgData name="Steiner Andreas 6206 ED" userId="e6377c33-a923-4f14-8587-531c474c7b48" providerId="ADAL" clId="{6ECD27E6-B224-41CD-B4E0-E297462320DD}" dt="2023-11-24T08:45:44.123" v="62148"/>
          <ac:spMkLst>
            <pc:docMk/>
            <pc:sldMk cId="1966364550" sldId="2147473979"/>
            <ac:spMk id="408" creationId="{96E2A50B-AFC0-74E2-8474-253D70CF2B58}"/>
          </ac:spMkLst>
        </pc:spChg>
        <pc:spChg chg="add del mod">
          <ac:chgData name="Steiner Andreas 6206 ED" userId="e6377c33-a923-4f14-8587-531c474c7b48" providerId="ADAL" clId="{6ECD27E6-B224-41CD-B4E0-E297462320DD}" dt="2023-11-24T08:45:46.246" v="62303"/>
          <ac:spMkLst>
            <pc:docMk/>
            <pc:sldMk cId="1966364550" sldId="2147473979"/>
            <ac:spMk id="409" creationId="{9B530165-3453-1654-64C2-F985978ADA64}"/>
          </ac:spMkLst>
        </pc:spChg>
        <pc:spChg chg="add del mod">
          <ac:chgData name="Steiner Andreas 6206 ED" userId="e6377c33-a923-4f14-8587-531c474c7b48" providerId="ADAL" clId="{6ECD27E6-B224-41CD-B4E0-E297462320DD}" dt="2023-11-24T08:45:48.142" v="62458"/>
          <ac:spMkLst>
            <pc:docMk/>
            <pc:sldMk cId="1966364550" sldId="2147473979"/>
            <ac:spMk id="410" creationId="{258271B6-8B42-8BC7-625C-78300F02AAEF}"/>
          </ac:spMkLst>
        </pc:spChg>
        <pc:spChg chg="add del mod">
          <ac:chgData name="Steiner Andreas 6206 ED" userId="e6377c33-a923-4f14-8587-531c474c7b48" providerId="ADAL" clId="{6ECD27E6-B224-41CD-B4E0-E297462320DD}" dt="2023-11-24T08:45:50.494" v="62613"/>
          <ac:spMkLst>
            <pc:docMk/>
            <pc:sldMk cId="1966364550" sldId="2147473979"/>
            <ac:spMk id="411" creationId="{CE4EBB7B-00A8-7887-CD24-6F5079F62449}"/>
          </ac:spMkLst>
        </pc:spChg>
        <pc:spChg chg="add del mod">
          <ac:chgData name="Steiner Andreas 6206 ED" userId="e6377c33-a923-4f14-8587-531c474c7b48" providerId="ADAL" clId="{6ECD27E6-B224-41CD-B4E0-E297462320DD}" dt="2023-11-24T08:45:52.497" v="62768"/>
          <ac:spMkLst>
            <pc:docMk/>
            <pc:sldMk cId="1966364550" sldId="2147473979"/>
            <ac:spMk id="412" creationId="{86D1665A-6295-8A52-DC69-F2E99D006D56}"/>
          </ac:spMkLst>
        </pc:spChg>
        <pc:spChg chg="add del mod">
          <ac:chgData name="Steiner Andreas 6206 ED" userId="e6377c33-a923-4f14-8587-531c474c7b48" providerId="ADAL" clId="{6ECD27E6-B224-41CD-B4E0-E297462320DD}" dt="2023-11-24T08:45:54.511" v="62923"/>
          <ac:spMkLst>
            <pc:docMk/>
            <pc:sldMk cId="1966364550" sldId="2147473979"/>
            <ac:spMk id="413" creationId="{E905A374-E703-CFD7-C3B0-4FFB68A93C45}"/>
          </ac:spMkLst>
        </pc:spChg>
        <pc:spChg chg="add del mod">
          <ac:chgData name="Steiner Andreas 6206 ED" userId="e6377c33-a923-4f14-8587-531c474c7b48" providerId="ADAL" clId="{6ECD27E6-B224-41CD-B4E0-E297462320DD}" dt="2023-11-24T08:45:56.719" v="63078"/>
          <ac:spMkLst>
            <pc:docMk/>
            <pc:sldMk cId="1966364550" sldId="2147473979"/>
            <ac:spMk id="414" creationId="{E28BFB52-3CD1-6CE8-C266-7AC931F36B82}"/>
          </ac:spMkLst>
        </pc:spChg>
        <pc:spChg chg="add del mod">
          <ac:chgData name="Steiner Andreas 6206 ED" userId="e6377c33-a923-4f14-8587-531c474c7b48" providerId="ADAL" clId="{6ECD27E6-B224-41CD-B4E0-E297462320DD}" dt="2023-11-24T08:45:58.731" v="63233"/>
          <ac:spMkLst>
            <pc:docMk/>
            <pc:sldMk cId="1966364550" sldId="2147473979"/>
            <ac:spMk id="415" creationId="{8BC3B93C-FA02-FE55-277E-70FC0B50252F}"/>
          </ac:spMkLst>
        </pc:spChg>
        <pc:spChg chg="add del mod">
          <ac:chgData name="Steiner Andreas 6206 ED" userId="e6377c33-a923-4f14-8587-531c474c7b48" providerId="ADAL" clId="{6ECD27E6-B224-41CD-B4E0-E297462320DD}" dt="2023-11-24T08:46:00.829" v="63388"/>
          <ac:spMkLst>
            <pc:docMk/>
            <pc:sldMk cId="1966364550" sldId="2147473979"/>
            <ac:spMk id="416" creationId="{DC04E334-28AF-B37D-A32C-DB0FF9E4B8AF}"/>
          </ac:spMkLst>
        </pc:spChg>
        <pc:spChg chg="add del mod">
          <ac:chgData name="Steiner Andreas 6206 ED" userId="e6377c33-a923-4f14-8587-531c474c7b48" providerId="ADAL" clId="{6ECD27E6-B224-41CD-B4E0-E297462320DD}" dt="2023-11-24T08:46:02.894" v="63543"/>
          <ac:spMkLst>
            <pc:docMk/>
            <pc:sldMk cId="1966364550" sldId="2147473979"/>
            <ac:spMk id="417" creationId="{77C869E6-69EB-F60E-97BE-1C861CAE22FE}"/>
          </ac:spMkLst>
        </pc:spChg>
        <pc:spChg chg="add del mod">
          <ac:chgData name="Steiner Andreas 6206 ED" userId="e6377c33-a923-4f14-8587-531c474c7b48" providerId="ADAL" clId="{6ECD27E6-B224-41CD-B4E0-E297462320DD}" dt="2023-11-24T08:46:05.354" v="63698"/>
          <ac:spMkLst>
            <pc:docMk/>
            <pc:sldMk cId="1966364550" sldId="2147473979"/>
            <ac:spMk id="418" creationId="{1C0A8F2C-D7A0-3D67-90AC-0C7BB0B05C56}"/>
          </ac:spMkLst>
        </pc:spChg>
        <pc:spChg chg="add del mod">
          <ac:chgData name="Steiner Andreas 6206 ED" userId="e6377c33-a923-4f14-8587-531c474c7b48" providerId="ADAL" clId="{6ECD27E6-B224-41CD-B4E0-E297462320DD}" dt="2023-11-24T08:46:07.872" v="63853"/>
          <ac:spMkLst>
            <pc:docMk/>
            <pc:sldMk cId="1966364550" sldId="2147473979"/>
            <ac:spMk id="419" creationId="{48424A93-5450-FE4B-5252-43FED5C521D3}"/>
          </ac:spMkLst>
        </pc:spChg>
        <pc:spChg chg="add del mod">
          <ac:chgData name="Steiner Andreas 6206 ED" userId="e6377c33-a923-4f14-8587-531c474c7b48" providerId="ADAL" clId="{6ECD27E6-B224-41CD-B4E0-E297462320DD}" dt="2023-11-24T08:46:09.998" v="64008"/>
          <ac:spMkLst>
            <pc:docMk/>
            <pc:sldMk cId="1966364550" sldId="2147473979"/>
            <ac:spMk id="420" creationId="{D6014F3A-ACC6-1A2A-93C3-4E0E584B0634}"/>
          </ac:spMkLst>
        </pc:spChg>
        <pc:spChg chg="add del mod">
          <ac:chgData name="Steiner Andreas 6206 ED" userId="e6377c33-a923-4f14-8587-531c474c7b48" providerId="ADAL" clId="{6ECD27E6-B224-41CD-B4E0-E297462320DD}" dt="2023-11-24T08:46:12.210" v="64163"/>
          <ac:spMkLst>
            <pc:docMk/>
            <pc:sldMk cId="1966364550" sldId="2147473979"/>
            <ac:spMk id="421" creationId="{74366768-F8BC-EF63-E292-3A90BC7D1944}"/>
          </ac:spMkLst>
        </pc:spChg>
        <pc:spChg chg="add del mod">
          <ac:chgData name="Steiner Andreas 6206 ED" userId="e6377c33-a923-4f14-8587-531c474c7b48" providerId="ADAL" clId="{6ECD27E6-B224-41CD-B4E0-E297462320DD}" dt="2023-11-24T08:46:14.379" v="64318"/>
          <ac:spMkLst>
            <pc:docMk/>
            <pc:sldMk cId="1966364550" sldId="2147473979"/>
            <ac:spMk id="422" creationId="{17B4D425-DF4C-C952-CA9F-BAC1BCA2E2CA}"/>
          </ac:spMkLst>
        </pc:spChg>
        <pc:spChg chg="add del mod">
          <ac:chgData name="Steiner Andreas 6206 ED" userId="e6377c33-a923-4f14-8587-531c474c7b48" providerId="ADAL" clId="{6ECD27E6-B224-41CD-B4E0-E297462320DD}" dt="2023-11-24T08:46:16.565" v="64473"/>
          <ac:spMkLst>
            <pc:docMk/>
            <pc:sldMk cId="1966364550" sldId="2147473979"/>
            <ac:spMk id="423" creationId="{E41C3791-553C-73D4-6F34-0A1FBBB8648B}"/>
          </ac:spMkLst>
        </pc:spChg>
        <pc:spChg chg="add del mod">
          <ac:chgData name="Steiner Andreas 6206 ED" userId="e6377c33-a923-4f14-8587-531c474c7b48" providerId="ADAL" clId="{6ECD27E6-B224-41CD-B4E0-E297462320DD}" dt="2023-11-24T08:46:18.456" v="64628"/>
          <ac:spMkLst>
            <pc:docMk/>
            <pc:sldMk cId="1966364550" sldId="2147473979"/>
            <ac:spMk id="424" creationId="{F0502578-3BEB-40B3-92D7-86A865262CF6}"/>
          </ac:spMkLst>
        </pc:spChg>
        <pc:spChg chg="add del mod">
          <ac:chgData name="Steiner Andreas 6206 ED" userId="e6377c33-a923-4f14-8587-531c474c7b48" providerId="ADAL" clId="{6ECD27E6-B224-41CD-B4E0-E297462320DD}" dt="2023-11-24T08:46:21" v="64783"/>
          <ac:spMkLst>
            <pc:docMk/>
            <pc:sldMk cId="1966364550" sldId="2147473979"/>
            <ac:spMk id="425" creationId="{40AE080A-020F-E477-E360-2FB0FEDE3090}"/>
          </ac:spMkLst>
        </pc:spChg>
        <pc:spChg chg="add del mod">
          <ac:chgData name="Steiner Andreas 6206 ED" userId="e6377c33-a923-4f14-8587-531c474c7b48" providerId="ADAL" clId="{6ECD27E6-B224-41CD-B4E0-E297462320DD}" dt="2023-11-24T08:46:23.314" v="64938"/>
          <ac:spMkLst>
            <pc:docMk/>
            <pc:sldMk cId="1966364550" sldId="2147473979"/>
            <ac:spMk id="426" creationId="{8EB3401C-95DD-7666-AF64-177F506BC729}"/>
          </ac:spMkLst>
        </pc:spChg>
        <pc:spChg chg="add del mod">
          <ac:chgData name="Steiner Andreas 6206 ED" userId="e6377c33-a923-4f14-8587-531c474c7b48" providerId="ADAL" clId="{6ECD27E6-B224-41CD-B4E0-E297462320DD}" dt="2023-11-24T08:46:25.475" v="65093"/>
          <ac:spMkLst>
            <pc:docMk/>
            <pc:sldMk cId="1966364550" sldId="2147473979"/>
            <ac:spMk id="427" creationId="{95235196-BEE2-3417-ABFA-982141B6200E}"/>
          </ac:spMkLst>
        </pc:spChg>
        <pc:spChg chg="add del mod">
          <ac:chgData name="Steiner Andreas 6206 ED" userId="e6377c33-a923-4f14-8587-531c474c7b48" providerId="ADAL" clId="{6ECD27E6-B224-41CD-B4E0-E297462320DD}" dt="2023-11-24T08:46:27.795" v="65248"/>
          <ac:spMkLst>
            <pc:docMk/>
            <pc:sldMk cId="1966364550" sldId="2147473979"/>
            <ac:spMk id="428" creationId="{6ED1CAAA-4FFA-05D9-619A-D80444761BB9}"/>
          </ac:spMkLst>
        </pc:spChg>
        <pc:spChg chg="add del mod">
          <ac:chgData name="Steiner Andreas 6206 ED" userId="e6377c33-a923-4f14-8587-531c474c7b48" providerId="ADAL" clId="{6ECD27E6-B224-41CD-B4E0-E297462320DD}" dt="2023-11-24T08:46:29.880" v="65403"/>
          <ac:spMkLst>
            <pc:docMk/>
            <pc:sldMk cId="1966364550" sldId="2147473979"/>
            <ac:spMk id="429" creationId="{8C253820-1D2F-1186-4E54-2C2D32D50E8A}"/>
          </ac:spMkLst>
        </pc:spChg>
        <pc:spChg chg="add del mod">
          <ac:chgData name="Steiner Andreas 6206 ED" userId="e6377c33-a923-4f14-8587-531c474c7b48" providerId="ADAL" clId="{6ECD27E6-B224-41CD-B4E0-E297462320DD}" dt="2023-11-24T08:46:32.349" v="65558"/>
          <ac:spMkLst>
            <pc:docMk/>
            <pc:sldMk cId="1966364550" sldId="2147473979"/>
            <ac:spMk id="430" creationId="{A5436EFD-34F8-C438-80D9-AE3F605052D8}"/>
          </ac:spMkLst>
        </pc:spChg>
        <pc:spChg chg="add del mod">
          <ac:chgData name="Steiner Andreas 6206 ED" userId="e6377c33-a923-4f14-8587-531c474c7b48" providerId="ADAL" clId="{6ECD27E6-B224-41CD-B4E0-E297462320DD}" dt="2023-11-24T08:46:34.360" v="65713"/>
          <ac:spMkLst>
            <pc:docMk/>
            <pc:sldMk cId="1966364550" sldId="2147473979"/>
            <ac:spMk id="431" creationId="{FB618BE6-5881-0D1A-F3E9-5E90BFF3F51B}"/>
          </ac:spMkLst>
        </pc:spChg>
        <pc:spChg chg="add del mod">
          <ac:chgData name="Steiner Andreas 6206 ED" userId="e6377c33-a923-4f14-8587-531c474c7b48" providerId="ADAL" clId="{6ECD27E6-B224-41CD-B4E0-E297462320DD}" dt="2023-11-24T08:46:36.285" v="65868"/>
          <ac:spMkLst>
            <pc:docMk/>
            <pc:sldMk cId="1966364550" sldId="2147473979"/>
            <ac:spMk id="432" creationId="{FF5D9177-8977-3FD0-856C-E0B6504E6679}"/>
          </ac:spMkLst>
        </pc:spChg>
        <pc:spChg chg="add del mod">
          <ac:chgData name="Steiner Andreas 6206 ED" userId="e6377c33-a923-4f14-8587-531c474c7b48" providerId="ADAL" clId="{6ECD27E6-B224-41CD-B4E0-E297462320DD}" dt="2023-11-24T08:46:38.377" v="66023"/>
          <ac:spMkLst>
            <pc:docMk/>
            <pc:sldMk cId="1966364550" sldId="2147473979"/>
            <ac:spMk id="433" creationId="{876D117F-9986-D78D-4F49-0CF66C6D6130}"/>
          </ac:spMkLst>
        </pc:spChg>
        <pc:spChg chg="add del mod">
          <ac:chgData name="Steiner Andreas 6206 ED" userId="e6377c33-a923-4f14-8587-531c474c7b48" providerId="ADAL" clId="{6ECD27E6-B224-41CD-B4E0-E297462320DD}" dt="2023-11-24T08:46:40.479" v="66178"/>
          <ac:spMkLst>
            <pc:docMk/>
            <pc:sldMk cId="1966364550" sldId="2147473979"/>
            <ac:spMk id="434" creationId="{B1445C0B-4E30-2637-A55F-C295EABCEED4}"/>
          </ac:spMkLst>
        </pc:spChg>
        <pc:spChg chg="add del mod">
          <ac:chgData name="Steiner Andreas 6206 ED" userId="e6377c33-a923-4f14-8587-531c474c7b48" providerId="ADAL" clId="{6ECD27E6-B224-41CD-B4E0-E297462320DD}" dt="2023-11-24T08:46:42.749" v="66333"/>
          <ac:spMkLst>
            <pc:docMk/>
            <pc:sldMk cId="1966364550" sldId="2147473979"/>
            <ac:spMk id="435" creationId="{D4731D08-099A-F17F-0249-5A2AA7E62BE6}"/>
          </ac:spMkLst>
        </pc:spChg>
        <pc:spChg chg="add del mod">
          <ac:chgData name="Steiner Andreas 6206 ED" userId="e6377c33-a923-4f14-8587-531c474c7b48" providerId="ADAL" clId="{6ECD27E6-B224-41CD-B4E0-E297462320DD}" dt="2023-11-24T08:46:44.855" v="66488"/>
          <ac:spMkLst>
            <pc:docMk/>
            <pc:sldMk cId="1966364550" sldId="2147473979"/>
            <ac:spMk id="436" creationId="{C3C79DCD-A26B-FE33-58E8-9DCEA05207C6}"/>
          </ac:spMkLst>
        </pc:spChg>
        <pc:spChg chg="add del mod">
          <ac:chgData name="Steiner Andreas 6206 ED" userId="e6377c33-a923-4f14-8587-531c474c7b48" providerId="ADAL" clId="{6ECD27E6-B224-41CD-B4E0-E297462320DD}" dt="2023-11-24T08:46:46.934" v="66643"/>
          <ac:spMkLst>
            <pc:docMk/>
            <pc:sldMk cId="1966364550" sldId="2147473979"/>
            <ac:spMk id="437" creationId="{C620E672-BC3F-F409-6F38-4B74773E17DF}"/>
          </ac:spMkLst>
        </pc:spChg>
        <pc:spChg chg="add del mod">
          <ac:chgData name="Steiner Andreas 6206 ED" userId="e6377c33-a923-4f14-8587-531c474c7b48" providerId="ADAL" clId="{6ECD27E6-B224-41CD-B4E0-E297462320DD}" dt="2023-11-24T08:46:49.064" v="66798"/>
          <ac:spMkLst>
            <pc:docMk/>
            <pc:sldMk cId="1966364550" sldId="2147473979"/>
            <ac:spMk id="438" creationId="{00A46405-D41D-D50C-6D9B-A8A489E1387A}"/>
          </ac:spMkLst>
        </pc:spChg>
        <pc:spChg chg="add del mod">
          <ac:chgData name="Steiner Andreas 6206 ED" userId="e6377c33-a923-4f14-8587-531c474c7b48" providerId="ADAL" clId="{6ECD27E6-B224-41CD-B4E0-E297462320DD}" dt="2023-11-24T08:46:51.126" v="66953"/>
          <ac:spMkLst>
            <pc:docMk/>
            <pc:sldMk cId="1966364550" sldId="2147473979"/>
            <ac:spMk id="439" creationId="{82CEB4E7-09E3-339C-C173-101723CF247A}"/>
          </ac:spMkLst>
        </pc:spChg>
        <pc:spChg chg="add del mod">
          <ac:chgData name="Steiner Andreas 6206 ED" userId="e6377c33-a923-4f14-8587-531c474c7b48" providerId="ADAL" clId="{6ECD27E6-B224-41CD-B4E0-E297462320DD}" dt="2023-11-24T08:46:53.146" v="67108"/>
          <ac:spMkLst>
            <pc:docMk/>
            <pc:sldMk cId="1966364550" sldId="2147473979"/>
            <ac:spMk id="440" creationId="{778408E8-4D43-D8E5-A634-CE0C415FB4AE}"/>
          </ac:spMkLst>
        </pc:spChg>
        <pc:spChg chg="add del mod">
          <ac:chgData name="Steiner Andreas 6206 ED" userId="e6377c33-a923-4f14-8587-531c474c7b48" providerId="ADAL" clId="{6ECD27E6-B224-41CD-B4E0-E297462320DD}" dt="2023-11-24T08:46:55.148" v="67263"/>
          <ac:spMkLst>
            <pc:docMk/>
            <pc:sldMk cId="1966364550" sldId="2147473979"/>
            <ac:spMk id="441" creationId="{C10D52D8-5092-8437-7BFF-CBFD10F06589}"/>
          </ac:spMkLst>
        </pc:spChg>
        <pc:spChg chg="add del mod">
          <ac:chgData name="Steiner Andreas 6206 ED" userId="e6377c33-a923-4f14-8587-531c474c7b48" providerId="ADAL" clId="{6ECD27E6-B224-41CD-B4E0-E297462320DD}" dt="2023-11-24T08:46:57.086" v="67418"/>
          <ac:spMkLst>
            <pc:docMk/>
            <pc:sldMk cId="1966364550" sldId="2147473979"/>
            <ac:spMk id="442" creationId="{78D920D7-056C-9004-8B23-CFAAE3014760}"/>
          </ac:spMkLst>
        </pc:spChg>
        <pc:spChg chg="add del mod">
          <ac:chgData name="Steiner Andreas 6206 ED" userId="e6377c33-a923-4f14-8587-531c474c7b48" providerId="ADAL" clId="{6ECD27E6-B224-41CD-B4E0-E297462320DD}" dt="2023-11-24T08:46:58.961" v="67573"/>
          <ac:spMkLst>
            <pc:docMk/>
            <pc:sldMk cId="1966364550" sldId="2147473979"/>
            <ac:spMk id="443" creationId="{4D729FDA-0FED-FB19-E002-A837FEAF2ACF}"/>
          </ac:spMkLst>
        </pc:spChg>
        <pc:spChg chg="add del mod">
          <ac:chgData name="Steiner Andreas 6206 ED" userId="e6377c33-a923-4f14-8587-531c474c7b48" providerId="ADAL" clId="{6ECD27E6-B224-41CD-B4E0-E297462320DD}" dt="2023-11-24T08:47:01.068" v="67728"/>
          <ac:spMkLst>
            <pc:docMk/>
            <pc:sldMk cId="1966364550" sldId="2147473979"/>
            <ac:spMk id="444" creationId="{47D803E3-5B60-98E2-0EE5-9EF9A63527E4}"/>
          </ac:spMkLst>
        </pc:spChg>
        <pc:spChg chg="add del mod">
          <ac:chgData name="Steiner Andreas 6206 ED" userId="e6377c33-a923-4f14-8587-531c474c7b48" providerId="ADAL" clId="{6ECD27E6-B224-41CD-B4E0-E297462320DD}" dt="2023-11-24T08:47:03.267" v="67883"/>
          <ac:spMkLst>
            <pc:docMk/>
            <pc:sldMk cId="1966364550" sldId="2147473979"/>
            <ac:spMk id="445" creationId="{3DD60D76-3644-CB99-B6C8-54614DF5DE40}"/>
          </ac:spMkLst>
        </pc:spChg>
        <pc:spChg chg="add del mod">
          <ac:chgData name="Steiner Andreas 6206 ED" userId="e6377c33-a923-4f14-8587-531c474c7b48" providerId="ADAL" clId="{6ECD27E6-B224-41CD-B4E0-E297462320DD}" dt="2023-11-24T08:47:05.210" v="68038"/>
          <ac:spMkLst>
            <pc:docMk/>
            <pc:sldMk cId="1966364550" sldId="2147473979"/>
            <ac:spMk id="446" creationId="{47E1D4A3-3309-8F83-F900-1C2FB3F2147C}"/>
          </ac:spMkLst>
        </pc:spChg>
        <pc:spChg chg="add del mod">
          <ac:chgData name="Steiner Andreas 6206 ED" userId="e6377c33-a923-4f14-8587-531c474c7b48" providerId="ADAL" clId="{6ECD27E6-B224-41CD-B4E0-E297462320DD}" dt="2023-11-24T08:47:06.987" v="68193"/>
          <ac:spMkLst>
            <pc:docMk/>
            <pc:sldMk cId="1966364550" sldId="2147473979"/>
            <ac:spMk id="447" creationId="{7F128544-2F27-A641-E896-037FCB6806E0}"/>
          </ac:spMkLst>
        </pc:spChg>
        <pc:spChg chg="add del mod">
          <ac:chgData name="Steiner Andreas 6206 ED" userId="e6377c33-a923-4f14-8587-531c474c7b48" providerId="ADAL" clId="{6ECD27E6-B224-41CD-B4E0-E297462320DD}" dt="2023-11-24T08:47:08.891" v="68348"/>
          <ac:spMkLst>
            <pc:docMk/>
            <pc:sldMk cId="1966364550" sldId="2147473979"/>
            <ac:spMk id="448" creationId="{F518DDD1-B20B-11E0-B85C-8CE38B9EA077}"/>
          </ac:spMkLst>
        </pc:spChg>
        <pc:spChg chg="add del mod">
          <ac:chgData name="Steiner Andreas 6206 ED" userId="e6377c33-a923-4f14-8587-531c474c7b48" providerId="ADAL" clId="{6ECD27E6-B224-41CD-B4E0-E297462320DD}" dt="2023-11-24T08:47:10.768" v="68503"/>
          <ac:spMkLst>
            <pc:docMk/>
            <pc:sldMk cId="1966364550" sldId="2147473979"/>
            <ac:spMk id="449" creationId="{A3B43262-F319-48A7-FB48-09E78E610406}"/>
          </ac:spMkLst>
        </pc:spChg>
        <pc:spChg chg="add del mod">
          <ac:chgData name="Steiner Andreas 6206 ED" userId="e6377c33-a923-4f14-8587-531c474c7b48" providerId="ADAL" clId="{6ECD27E6-B224-41CD-B4E0-E297462320DD}" dt="2023-11-24T08:47:12.650" v="68658"/>
          <ac:spMkLst>
            <pc:docMk/>
            <pc:sldMk cId="1966364550" sldId="2147473979"/>
            <ac:spMk id="450" creationId="{26D1079E-0638-D4F2-7029-DCD67D7B3B2D}"/>
          </ac:spMkLst>
        </pc:spChg>
        <pc:spChg chg="add del mod">
          <ac:chgData name="Steiner Andreas 6206 ED" userId="e6377c33-a923-4f14-8587-531c474c7b48" providerId="ADAL" clId="{6ECD27E6-B224-41CD-B4E0-E297462320DD}" dt="2023-11-24T08:47:14.821" v="68813"/>
          <ac:spMkLst>
            <pc:docMk/>
            <pc:sldMk cId="1966364550" sldId="2147473979"/>
            <ac:spMk id="451" creationId="{0B72D1EA-B102-FD59-268D-08E068DBC03F}"/>
          </ac:spMkLst>
        </pc:spChg>
        <pc:spChg chg="add del mod">
          <ac:chgData name="Steiner Andreas 6206 ED" userId="e6377c33-a923-4f14-8587-531c474c7b48" providerId="ADAL" clId="{6ECD27E6-B224-41CD-B4E0-E297462320DD}" dt="2023-11-24T08:47:16.762" v="68968"/>
          <ac:spMkLst>
            <pc:docMk/>
            <pc:sldMk cId="1966364550" sldId="2147473979"/>
            <ac:spMk id="452" creationId="{25134BBA-B62C-CF9A-9E7C-AFB7F9AFC769}"/>
          </ac:spMkLst>
        </pc:spChg>
        <pc:spChg chg="add del mod">
          <ac:chgData name="Steiner Andreas 6206 ED" userId="e6377c33-a923-4f14-8587-531c474c7b48" providerId="ADAL" clId="{6ECD27E6-B224-41CD-B4E0-E297462320DD}" dt="2023-11-24T08:47:18.719" v="69123"/>
          <ac:spMkLst>
            <pc:docMk/>
            <pc:sldMk cId="1966364550" sldId="2147473979"/>
            <ac:spMk id="453" creationId="{F766411A-9B1E-2AD4-3197-626C4F0BA37F}"/>
          </ac:spMkLst>
        </pc:spChg>
        <pc:spChg chg="add del mod">
          <ac:chgData name="Steiner Andreas 6206 ED" userId="e6377c33-a923-4f14-8587-531c474c7b48" providerId="ADAL" clId="{6ECD27E6-B224-41CD-B4E0-E297462320DD}" dt="2023-11-24T08:47:20.672" v="69278"/>
          <ac:spMkLst>
            <pc:docMk/>
            <pc:sldMk cId="1966364550" sldId="2147473979"/>
            <ac:spMk id="454" creationId="{A2D8A9B0-BEE4-363E-ED4F-33D67594F86C}"/>
          </ac:spMkLst>
        </pc:spChg>
        <pc:spChg chg="add del mod">
          <ac:chgData name="Steiner Andreas 6206 ED" userId="e6377c33-a923-4f14-8587-531c474c7b48" providerId="ADAL" clId="{6ECD27E6-B224-41CD-B4E0-E297462320DD}" dt="2023-11-24T08:47:23.121" v="69433"/>
          <ac:spMkLst>
            <pc:docMk/>
            <pc:sldMk cId="1966364550" sldId="2147473979"/>
            <ac:spMk id="455" creationId="{A6F8BE48-E38C-43E4-D960-E295980D10C3}"/>
          </ac:spMkLst>
        </pc:spChg>
        <pc:spChg chg="add del mod">
          <ac:chgData name="Steiner Andreas 6206 ED" userId="e6377c33-a923-4f14-8587-531c474c7b48" providerId="ADAL" clId="{6ECD27E6-B224-41CD-B4E0-E297462320DD}" dt="2023-11-24T08:47:25.797" v="69588"/>
          <ac:spMkLst>
            <pc:docMk/>
            <pc:sldMk cId="1966364550" sldId="2147473979"/>
            <ac:spMk id="456" creationId="{E80BEBD9-C71D-CE98-4D95-2F8E5DC0219F}"/>
          </ac:spMkLst>
        </pc:spChg>
        <pc:spChg chg="add del mod">
          <ac:chgData name="Steiner Andreas 6206 ED" userId="e6377c33-a923-4f14-8587-531c474c7b48" providerId="ADAL" clId="{6ECD27E6-B224-41CD-B4E0-E297462320DD}" dt="2023-11-24T08:47:27.960" v="69743"/>
          <ac:spMkLst>
            <pc:docMk/>
            <pc:sldMk cId="1966364550" sldId="2147473979"/>
            <ac:spMk id="457" creationId="{8835535D-F669-2609-A253-D1E0D0D8AC23}"/>
          </ac:spMkLst>
        </pc:spChg>
        <pc:spChg chg="add del mod">
          <ac:chgData name="Steiner Andreas 6206 ED" userId="e6377c33-a923-4f14-8587-531c474c7b48" providerId="ADAL" clId="{6ECD27E6-B224-41CD-B4E0-E297462320DD}" dt="2023-11-24T08:47:29.995" v="69898"/>
          <ac:spMkLst>
            <pc:docMk/>
            <pc:sldMk cId="1966364550" sldId="2147473979"/>
            <ac:spMk id="458" creationId="{43503FFC-7707-DD30-0E6F-C70E9F27D49E}"/>
          </ac:spMkLst>
        </pc:spChg>
        <pc:spChg chg="add del mod">
          <ac:chgData name="Steiner Andreas 6206 ED" userId="e6377c33-a923-4f14-8587-531c474c7b48" providerId="ADAL" clId="{6ECD27E6-B224-41CD-B4E0-E297462320DD}" dt="2023-11-24T08:47:31.988" v="70053"/>
          <ac:spMkLst>
            <pc:docMk/>
            <pc:sldMk cId="1966364550" sldId="2147473979"/>
            <ac:spMk id="459" creationId="{940A1BAC-0A67-B795-DAEF-72779548AEE0}"/>
          </ac:spMkLst>
        </pc:spChg>
        <pc:spChg chg="add del mod">
          <ac:chgData name="Steiner Andreas 6206 ED" userId="e6377c33-a923-4f14-8587-531c474c7b48" providerId="ADAL" clId="{6ECD27E6-B224-41CD-B4E0-E297462320DD}" dt="2023-11-24T08:47:33.948" v="70208"/>
          <ac:spMkLst>
            <pc:docMk/>
            <pc:sldMk cId="1966364550" sldId="2147473979"/>
            <ac:spMk id="460" creationId="{9A6712B7-CB74-E74E-1B82-3DBFF87BEB32}"/>
          </ac:spMkLst>
        </pc:spChg>
        <pc:spChg chg="add del mod">
          <ac:chgData name="Steiner Andreas 6206 ED" userId="e6377c33-a923-4f14-8587-531c474c7b48" providerId="ADAL" clId="{6ECD27E6-B224-41CD-B4E0-E297462320DD}" dt="2023-11-24T08:47:36.110" v="70363"/>
          <ac:spMkLst>
            <pc:docMk/>
            <pc:sldMk cId="1966364550" sldId="2147473979"/>
            <ac:spMk id="461" creationId="{829B0F04-EADF-F2C4-1A52-E3A93E939FD5}"/>
          </ac:spMkLst>
        </pc:spChg>
        <pc:spChg chg="add del mod">
          <ac:chgData name="Steiner Andreas 6206 ED" userId="e6377c33-a923-4f14-8587-531c474c7b48" providerId="ADAL" clId="{6ECD27E6-B224-41CD-B4E0-E297462320DD}" dt="2023-11-24T08:47:38.218" v="70518"/>
          <ac:spMkLst>
            <pc:docMk/>
            <pc:sldMk cId="1966364550" sldId="2147473979"/>
            <ac:spMk id="462" creationId="{FA344A8E-F562-506A-E189-0A4C4C65C480}"/>
          </ac:spMkLst>
        </pc:spChg>
        <pc:spChg chg="add del mod">
          <ac:chgData name="Steiner Andreas 6206 ED" userId="e6377c33-a923-4f14-8587-531c474c7b48" providerId="ADAL" clId="{6ECD27E6-B224-41CD-B4E0-E297462320DD}" dt="2023-11-24T08:47:40.304" v="70673"/>
          <ac:spMkLst>
            <pc:docMk/>
            <pc:sldMk cId="1966364550" sldId="2147473979"/>
            <ac:spMk id="463" creationId="{FEDBA211-C244-0AE2-9FC2-9B49B0F3CC12}"/>
          </ac:spMkLst>
        </pc:spChg>
        <pc:spChg chg="add del mod">
          <ac:chgData name="Steiner Andreas 6206 ED" userId="e6377c33-a923-4f14-8587-531c474c7b48" providerId="ADAL" clId="{6ECD27E6-B224-41CD-B4E0-E297462320DD}" dt="2023-11-24T08:47:42.201" v="70828"/>
          <ac:spMkLst>
            <pc:docMk/>
            <pc:sldMk cId="1966364550" sldId="2147473979"/>
            <ac:spMk id="464" creationId="{A69000EF-EEF7-A5F9-5DA7-12360526602D}"/>
          </ac:spMkLst>
        </pc:spChg>
        <pc:spChg chg="add del mod">
          <ac:chgData name="Steiner Andreas 6206 ED" userId="e6377c33-a923-4f14-8587-531c474c7b48" providerId="ADAL" clId="{6ECD27E6-B224-41CD-B4E0-E297462320DD}" dt="2023-11-24T08:47:44.129" v="70983"/>
          <ac:spMkLst>
            <pc:docMk/>
            <pc:sldMk cId="1966364550" sldId="2147473979"/>
            <ac:spMk id="465" creationId="{9BA265C2-786B-9229-8E31-583C4AA66558}"/>
          </ac:spMkLst>
        </pc:spChg>
        <pc:spChg chg="add del mod">
          <ac:chgData name="Steiner Andreas 6206 ED" userId="e6377c33-a923-4f14-8587-531c474c7b48" providerId="ADAL" clId="{6ECD27E6-B224-41CD-B4E0-E297462320DD}" dt="2023-11-24T08:47:46.080" v="71138"/>
          <ac:spMkLst>
            <pc:docMk/>
            <pc:sldMk cId="1966364550" sldId="2147473979"/>
            <ac:spMk id="466" creationId="{756154D5-9C51-21CE-8434-AC6896542A57}"/>
          </ac:spMkLst>
        </pc:spChg>
        <pc:spChg chg="add del mod">
          <ac:chgData name="Steiner Andreas 6206 ED" userId="e6377c33-a923-4f14-8587-531c474c7b48" providerId="ADAL" clId="{6ECD27E6-B224-41CD-B4E0-E297462320DD}" dt="2023-11-24T08:47:48.183" v="71293"/>
          <ac:spMkLst>
            <pc:docMk/>
            <pc:sldMk cId="1966364550" sldId="2147473979"/>
            <ac:spMk id="467" creationId="{7710C8C6-0EC1-928F-AA4B-78FA91BE2019}"/>
          </ac:spMkLst>
        </pc:spChg>
        <pc:spChg chg="add del mod">
          <ac:chgData name="Steiner Andreas 6206 ED" userId="e6377c33-a923-4f14-8587-531c474c7b48" providerId="ADAL" clId="{6ECD27E6-B224-41CD-B4E0-E297462320DD}" dt="2023-11-24T08:47:50.270" v="71448"/>
          <ac:spMkLst>
            <pc:docMk/>
            <pc:sldMk cId="1966364550" sldId="2147473979"/>
            <ac:spMk id="468" creationId="{206FBF2D-7613-F7DF-CCBE-80DE525D5C5C}"/>
          </ac:spMkLst>
        </pc:spChg>
        <pc:spChg chg="add del mod">
          <ac:chgData name="Steiner Andreas 6206 ED" userId="e6377c33-a923-4f14-8587-531c474c7b48" providerId="ADAL" clId="{6ECD27E6-B224-41CD-B4E0-E297462320DD}" dt="2023-11-24T08:47:52.167" v="71603"/>
          <ac:spMkLst>
            <pc:docMk/>
            <pc:sldMk cId="1966364550" sldId="2147473979"/>
            <ac:spMk id="469" creationId="{79FD5B40-1400-8A8A-15EB-98460833D5A4}"/>
          </ac:spMkLst>
        </pc:spChg>
        <pc:spChg chg="add del mod">
          <ac:chgData name="Steiner Andreas 6206 ED" userId="e6377c33-a923-4f14-8587-531c474c7b48" providerId="ADAL" clId="{6ECD27E6-B224-41CD-B4E0-E297462320DD}" dt="2023-11-24T08:47:54.098" v="71758"/>
          <ac:spMkLst>
            <pc:docMk/>
            <pc:sldMk cId="1966364550" sldId="2147473979"/>
            <ac:spMk id="470" creationId="{D43770D9-2CBE-454B-E629-EEAD09412E22}"/>
          </ac:spMkLst>
        </pc:spChg>
        <pc:spChg chg="add del mod">
          <ac:chgData name="Steiner Andreas 6206 ED" userId="e6377c33-a923-4f14-8587-531c474c7b48" providerId="ADAL" clId="{6ECD27E6-B224-41CD-B4E0-E297462320DD}" dt="2023-11-24T08:47:55.967" v="71913"/>
          <ac:spMkLst>
            <pc:docMk/>
            <pc:sldMk cId="1966364550" sldId="2147473979"/>
            <ac:spMk id="471" creationId="{944A2EBB-A71C-E1FB-B5FC-86A746574EF1}"/>
          </ac:spMkLst>
        </pc:spChg>
        <pc:spChg chg="add del mod">
          <ac:chgData name="Steiner Andreas 6206 ED" userId="e6377c33-a923-4f14-8587-531c474c7b48" providerId="ADAL" clId="{6ECD27E6-B224-41CD-B4E0-E297462320DD}" dt="2023-11-24T08:47:57.954" v="72068"/>
          <ac:spMkLst>
            <pc:docMk/>
            <pc:sldMk cId="1966364550" sldId="2147473979"/>
            <ac:spMk id="472" creationId="{04F4D075-EA42-CF1E-9298-EA19BC5FACDB}"/>
          </ac:spMkLst>
        </pc:spChg>
        <pc:spChg chg="add del mod">
          <ac:chgData name="Steiner Andreas 6206 ED" userId="e6377c33-a923-4f14-8587-531c474c7b48" providerId="ADAL" clId="{6ECD27E6-B224-41CD-B4E0-E297462320DD}" dt="2023-11-24T08:48:00.096" v="72223"/>
          <ac:spMkLst>
            <pc:docMk/>
            <pc:sldMk cId="1966364550" sldId="2147473979"/>
            <ac:spMk id="473" creationId="{0CAAE266-7E82-8E99-1302-B98DF63DA32B}"/>
          </ac:spMkLst>
        </pc:spChg>
        <pc:spChg chg="add del mod">
          <ac:chgData name="Steiner Andreas 6206 ED" userId="e6377c33-a923-4f14-8587-531c474c7b48" providerId="ADAL" clId="{6ECD27E6-B224-41CD-B4E0-E297462320DD}" dt="2023-11-24T08:48:02.230" v="72378"/>
          <ac:spMkLst>
            <pc:docMk/>
            <pc:sldMk cId="1966364550" sldId="2147473979"/>
            <ac:spMk id="474" creationId="{2BF11EE1-C04D-5B60-127D-791467F01246}"/>
          </ac:spMkLst>
        </pc:spChg>
        <pc:spChg chg="add del mod">
          <ac:chgData name="Steiner Andreas 6206 ED" userId="e6377c33-a923-4f14-8587-531c474c7b48" providerId="ADAL" clId="{6ECD27E6-B224-41CD-B4E0-E297462320DD}" dt="2023-11-24T08:48:04.246" v="72533"/>
          <ac:spMkLst>
            <pc:docMk/>
            <pc:sldMk cId="1966364550" sldId="2147473979"/>
            <ac:spMk id="475" creationId="{EC1B2A8E-0606-9BA1-1645-C55386E65812}"/>
          </ac:spMkLst>
        </pc:spChg>
        <pc:spChg chg="add del mod">
          <ac:chgData name="Steiner Andreas 6206 ED" userId="e6377c33-a923-4f14-8587-531c474c7b48" providerId="ADAL" clId="{6ECD27E6-B224-41CD-B4E0-E297462320DD}" dt="2023-11-24T08:48:06.505" v="72688"/>
          <ac:spMkLst>
            <pc:docMk/>
            <pc:sldMk cId="1966364550" sldId="2147473979"/>
            <ac:spMk id="476" creationId="{D5CBF74E-5EBD-4B41-0CB1-A2DCE21E39A2}"/>
          </ac:spMkLst>
        </pc:spChg>
        <pc:spChg chg="add del mod">
          <ac:chgData name="Steiner Andreas 6206 ED" userId="e6377c33-a923-4f14-8587-531c474c7b48" providerId="ADAL" clId="{6ECD27E6-B224-41CD-B4E0-E297462320DD}" dt="2023-11-24T08:48:08.599" v="72843"/>
          <ac:spMkLst>
            <pc:docMk/>
            <pc:sldMk cId="1966364550" sldId="2147473979"/>
            <ac:spMk id="477" creationId="{1FC33E1E-2578-FC1F-318F-DCA7DB7F6CC2}"/>
          </ac:spMkLst>
        </pc:spChg>
        <pc:spChg chg="add del mod">
          <ac:chgData name="Steiner Andreas 6206 ED" userId="e6377c33-a923-4f14-8587-531c474c7b48" providerId="ADAL" clId="{6ECD27E6-B224-41CD-B4E0-E297462320DD}" dt="2023-11-24T08:48:10.708" v="72998"/>
          <ac:spMkLst>
            <pc:docMk/>
            <pc:sldMk cId="1966364550" sldId="2147473979"/>
            <ac:spMk id="478" creationId="{EB0CC476-F967-B2C1-1F44-47AC0F0B97E9}"/>
          </ac:spMkLst>
        </pc:spChg>
        <pc:spChg chg="add del mod">
          <ac:chgData name="Steiner Andreas 6206 ED" userId="e6377c33-a923-4f14-8587-531c474c7b48" providerId="ADAL" clId="{6ECD27E6-B224-41CD-B4E0-E297462320DD}" dt="2023-11-24T08:48:12.628" v="73153"/>
          <ac:spMkLst>
            <pc:docMk/>
            <pc:sldMk cId="1966364550" sldId="2147473979"/>
            <ac:spMk id="479" creationId="{92F9D130-0E96-4AA3-72A7-0F9AF7E416BB}"/>
          </ac:spMkLst>
        </pc:spChg>
        <pc:spChg chg="add del mod">
          <ac:chgData name="Steiner Andreas 6206 ED" userId="e6377c33-a923-4f14-8587-531c474c7b48" providerId="ADAL" clId="{6ECD27E6-B224-41CD-B4E0-E297462320DD}" dt="2023-11-24T08:48:15.263" v="73308"/>
          <ac:spMkLst>
            <pc:docMk/>
            <pc:sldMk cId="1966364550" sldId="2147473979"/>
            <ac:spMk id="480" creationId="{52B9C7C2-37F8-8BDA-BFB9-F49E0D4EB46D}"/>
          </ac:spMkLst>
        </pc:spChg>
        <pc:spChg chg="add del mod">
          <ac:chgData name="Steiner Andreas 6206 ED" userId="e6377c33-a923-4f14-8587-531c474c7b48" providerId="ADAL" clId="{6ECD27E6-B224-41CD-B4E0-E297462320DD}" dt="2023-11-24T08:48:18.054" v="73463"/>
          <ac:spMkLst>
            <pc:docMk/>
            <pc:sldMk cId="1966364550" sldId="2147473979"/>
            <ac:spMk id="481" creationId="{78268784-38C3-A438-9D7F-37678AF7765C}"/>
          </ac:spMkLst>
        </pc:spChg>
        <pc:spChg chg="add del mod">
          <ac:chgData name="Steiner Andreas 6206 ED" userId="e6377c33-a923-4f14-8587-531c474c7b48" providerId="ADAL" clId="{6ECD27E6-B224-41CD-B4E0-E297462320DD}" dt="2023-11-24T08:48:20.465" v="73618"/>
          <ac:spMkLst>
            <pc:docMk/>
            <pc:sldMk cId="1966364550" sldId="2147473979"/>
            <ac:spMk id="482" creationId="{E3C08901-D8AF-C06C-978B-E8C1B44110B1}"/>
          </ac:spMkLst>
        </pc:spChg>
        <pc:spChg chg="add del mod">
          <ac:chgData name="Steiner Andreas 6206 ED" userId="e6377c33-a923-4f14-8587-531c474c7b48" providerId="ADAL" clId="{6ECD27E6-B224-41CD-B4E0-E297462320DD}" dt="2023-11-24T08:48:22.613" v="73773"/>
          <ac:spMkLst>
            <pc:docMk/>
            <pc:sldMk cId="1966364550" sldId="2147473979"/>
            <ac:spMk id="483" creationId="{AC2B3C0C-6BD5-2CDB-E0D6-D5EFA6FA89C2}"/>
          </ac:spMkLst>
        </pc:spChg>
        <pc:spChg chg="add del mod">
          <ac:chgData name="Steiner Andreas 6206 ED" userId="e6377c33-a923-4f14-8587-531c474c7b48" providerId="ADAL" clId="{6ECD27E6-B224-41CD-B4E0-E297462320DD}" dt="2023-11-24T08:48:24.686" v="73928"/>
          <ac:spMkLst>
            <pc:docMk/>
            <pc:sldMk cId="1966364550" sldId="2147473979"/>
            <ac:spMk id="484" creationId="{D78592FE-7E4B-11A4-9BA8-9914C57A47CB}"/>
          </ac:spMkLst>
        </pc:spChg>
        <pc:spChg chg="add del mod">
          <ac:chgData name="Steiner Andreas 6206 ED" userId="e6377c33-a923-4f14-8587-531c474c7b48" providerId="ADAL" clId="{6ECD27E6-B224-41CD-B4E0-E297462320DD}" dt="2023-11-24T08:48:26.783" v="74083"/>
          <ac:spMkLst>
            <pc:docMk/>
            <pc:sldMk cId="1966364550" sldId="2147473979"/>
            <ac:spMk id="485" creationId="{7E31E77F-40A6-3D00-A8B0-EF445B501B45}"/>
          </ac:spMkLst>
        </pc:spChg>
        <pc:spChg chg="add del mod">
          <ac:chgData name="Steiner Andreas 6206 ED" userId="e6377c33-a923-4f14-8587-531c474c7b48" providerId="ADAL" clId="{6ECD27E6-B224-41CD-B4E0-E297462320DD}" dt="2023-11-24T08:48:28.775" v="74238"/>
          <ac:spMkLst>
            <pc:docMk/>
            <pc:sldMk cId="1966364550" sldId="2147473979"/>
            <ac:spMk id="486" creationId="{AFEA9115-37B0-FF52-858C-8D5BE41D2620}"/>
          </ac:spMkLst>
        </pc:spChg>
        <pc:spChg chg="add del mod">
          <ac:chgData name="Steiner Andreas 6206 ED" userId="e6377c33-a923-4f14-8587-531c474c7b48" providerId="ADAL" clId="{6ECD27E6-B224-41CD-B4E0-E297462320DD}" dt="2023-11-24T08:48:30.649" v="74393"/>
          <ac:spMkLst>
            <pc:docMk/>
            <pc:sldMk cId="1966364550" sldId="2147473979"/>
            <ac:spMk id="487" creationId="{4718F609-B75B-B1DD-B0AA-EE36C60ADD33}"/>
          </ac:spMkLst>
        </pc:spChg>
        <pc:spChg chg="add del mod">
          <ac:chgData name="Steiner Andreas 6206 ED" userId="e6377c33-a923-4f14-8587-531c474c7b48" providerId="ADAL" clId="{6ECD27E6-B224-41CD-B4E0-E297462320DD}" dt="2023-11-24T08:48:32.636" v="74548"/>
          <ac:spMkLst>
            <pc:docMk/>
            <pc:sldMk cId="1966364550" sldId="2147473979"/>
            <ac:spMk id="488" creationId="{A1AF73F3-1378-4DFD-D0A4-075EAC111132}"/>
          </ac:spMkLst>
        </pc:spChg>
        <pc:spChg chg="add del mod">
          <ac:chgData name="Steiner Andreas 6206 ED" userId="e6377c33-a923-4f14-8587-531c474c7b48" providerId="ADAL" clId="{6ECD27E6-B224-41CD-B4E0-E297462320DD}" dt="2023-11-24T08:48:34.917" v="74703"/>
          <ac:spMkLst>
            <pc:docMk/>
            <pc:sldMk cId="1966364550" sldId="2147473979"/>
            <ac:spMk id="489" creationId="{C380F61D-13C6-779B-C07C-A56820883EAD}"/>
          </ac:spMkLst>
        </pc:spChg>
        <pc:spChg chg="add del mod">
          <ac:chgData name="Steiner Andreas 6206 ED" userId="e6377c33-a923-4f14-8587-531c474c7b48" providerId="ADAL" clId="{6ECD27E6-B224-41CD-B4E0-E297462320DD}" dt="2023-11-24T08:48:37.053" v="74858"/>
          <ac:spMkLst>
            <pc:docMk/>
            <pc:sldMk cId="1966364550" sldId="2147473979"/>
            <ac:spMk id="490" creationId="{39E6BF49-758D-72E5-4209-DDB19636D112}"/>
          </ac:spMkLst>
        </pc:spChg>
        <pc:spChg chg="add del mod">
          <ac:chgData name="Steiner Andreas 6206 ED" userId="e6377c33-a923-4f14-8587-531c474c7b48" providerId="ADAL" clId="{6ECD27E6-B224-41CD-B4E0-E297462320DD}" dt="2023-11-24T08:48:39.107" v="75013"/>
          <ac:spMkLst>
            <pc:docMk/>
            <pc:sldMk cId="1966364550" sldId="2147473979"/>
            <ac:spMk id="491" creationId="{EE829FA5-E68D-11D8-A999-32C83AF8A25A}"/>
          </ac:spMkLst>
        </pc:spChg>
        <pc:spChg chg="add del mod">
          <ac:chgData name="Steiner Andreas 6206 ED" userId="e6377c33-a923-4f14-8587-531c474c7b48" providerId="ADAL" clId="{6ECD27E6-B224-41CD-B4E0-E297462320DD}" dt="2023-11-24T08:48:41.318" v="75168"/>
          <ac:spMkLst>
            <pc:docMk/>
            <pc:sldMk cId="1966364550" sldId="2147473979"/>
            <ac:spMk id="492" creationId="{916D32AB-7FA0-66CD-1E71-002AC8A38F49}"/>
          </ac:spMkLst>
        </pc:spChg>
        <pc:spChg chg="add del mod">
          <ac:chgData name="Steiner Andreas 6206 ED" userId="e6377c33-a923-4f14-8587-531c474c7b48" providerId="ADAL" clId="{6ECD27E6-B224-41CD-B4E0-E297462320DD}" dt="2023-11-24T08:48:43.722" v="75323"/>
          <ac:spMkLst>
            <pc:docMk/>
            <pc:sldMk cId="1966364550" sldId="2147473979"/>
            <ac:spMk id="493" creationId="{E88DDECF-A554-A9E0-9B7D-73357FFBA583}"/>
          </ac:spMkLst>
        </pc:spChg>
        <pc:spChg chg="add del mod">
          <ac:chgData name="Steiner Andreas 6206 ED" userId="e6377c33-a923-4f14-8587-531c474c7b48" providerId="ADAL" clId="{6ECD27E6-B224-41CD-B4E0-E297462320DD}" dt="2023-11-24T08:48:46.022" v="75478"/>
          <ac:spMkLst>
            <pc:docMk/>
            <pc:sldMk cId="1966364550" sldId="2147473979"/>
            <ac:spMk id="494" creationId="{7AA8C278-F4BC-0B79-5474-53ACD31953D1}"/>
          </ac:spMkLst>
        </pc:spChg>
        <pc:spChg chg="add del mod">
          <ac:chgData name="Steiner Andreas 6206 ED" userId="e6377c33-a923-4f14-8587-531c474c7b48" providerId="ADAL" clId="{6ECD27E6-B224-41CD-B4E0-E297462320DD}" dt="2023-11-24T08:48:48.013" v="75633"/>
          <ac:spMkLst>
            <pc:docMk/>
            <pc:sldMk cId="1966364550" sldId="2147473979"/>
            <ac:spMk id="495" creationId="{342F5CB4-2465-6F90-DA9A-E14EFD1A4165}"/>
          </ac:spMkLst>
        </pc:spChg>
        <pc:spChg chg="add del mod">
          <ac:chgData name="Steiner Andreas 6206 ED" userId="e6377c33-a923-4f14-8587-531c474c7b48" providerId="ADAL" clId="{6ECD27E6-B224-41CD-B4E0-E297462320DD}" dt="2023-11-24T08:48:50.049" v="75788"/>
          <ac:spMkLst>
            <pc:docMk/>
            <pc:sldMk cId="1966364550" sldId="2147473979"/>
            <ac:spMk id="496" creationId="{6DC7E0F4-43DF-07E4-D14C-FF91AD854F8B}"/>
          </ac:spMkLst>
        </pc:spChg>
        <pc:spChg chg="add del mod">
          <ac:chgData name="Steiner Andreas 6206 ED" userId="e6377c33-a923-4f14-8587-531c474c7b48" providerId="ADAL" clId="{6ECD27E6-B224-41CD-B4E0-E297462320DD}" dt="2023-11-24T08:48:52.245" v="75943"/>
          <ac:spMkLst>
            <pc:docMk/>
            <pc:sldMk cId="1966364550" sldId="2147473979"/>
            <ac:spMk id="497" creationId="{8542CC83-C8D7-624D-45F6-09CA36CA7AE2}"/>
          </ac:spMkLst>
        </pc:spChg>
        <pc:spChg chg="add del mod">
          <ac:chgData name="Steiner Andreas 6206 ED" userId="e6377c33-a923-4f14-8587-531c474c7b48" providerId="ADAL" clId="{6ECD27E6-B224-41CD-B4E0-E297462320DD}" dt="2023-11-24T08:48:54.112" v="76098"/>
          <ac:spMkLst>
            <pc:docMk/>
            <pc:sldMk cId="1966364550" sldId="2147473979"/>
            <ac:spMk id="498" creationId="{4F140894-742D-CDD1-A011-D491AB8B41FD}"/>
          </ac:spMkLst>
        </pc:spChg>
        <pc:spChg chg="add del mod">
          <ac:chgData name="Steiner Andreas 6206 ED" userId="e6377c33-a923-4f14-8587-531c474c7b48" providerId="ADAL" clId="{6ECD27E6-B224-41CD-B4E0-E297462320DD}" dt="2023-11-24T08:48:56.139" v="76253"/>
          <ac:spMkLst>
            <pc:docMk/>
            <pc:sldMk cId="1966364550" sldId="2147473979"/>
            <ac:spMk id="499" creationId="{3A968F06-8D2D-962F-485A-18536F57521D}"/>
          </ac:spMkLst>
        </pc:spChg>
        <pc:spChg chg="add del mod">
          <ac:chgData name="Steiner Andreas 6206 ED" userId="e6377c33-a923-4f14-8587-531c474c7b48" providerId="ADAL" clId="{6ECD27E6-B224-41CD-B4E0-E297462320DD}" dt="2023-11-24T08:48:58.061" v="76408"/>
          <ac:spMkLst>
            <pc:docMk/>
            <pc:sldMk cId="1966364550" sldId="2147473979"/>
            <ac:spMk id="500" creationId="{F8D16B74-825E-0918-897F-03551B83113A}"/>
          </ac:spMkLst>
        </pc:spChg>
        <pc:spChg chg="add del mod">
          <ac:chgData name="Steiner Andreas 6206 ED" userId="e6377c33-a923-4f14-8587-531c474c7b48" providerId="ADAL" clId="{6ECD27E6-B224-41CD-B4E0-E297462320DD}" dt="2023-11-24T08:49:00.136" v="76563"/>
          <ac:spMkLst>
            <pc:docMk/>
            <pc:sldMk cId="1966364550" sldId="2147473979"/>
            <ac:spMk id="501" creationId="{321A4235-5110-5DCA-68D2-F42174F60E6C}"/>
          </ac:spMkLst>
        </pc:spChg>
        <pc:spChg chg="add del mod">
          <ac:chgData name="Steiner Andreas 6206 ED" userId="e6377c33-a923-4f14-8587-531c474c7b48" providerId="ADAL" clId="{6ECD27E6-B224-41CD-B4E0-E297462320DD}" dt="2023-11-24T08:49:02.091" v="76718"/>
          <ac:spMkLst>
            <pc:docMk/>
            <pc:sldMk cId="1966364550" sldId="2147473979"/>
            <ac:spMk id="502" creationId="{94C78159-6ABB-FD25-AFCB-B5E2876888C9}"/>
          </ac:spMkLst>
        </pc:spChg>
        <pc:spChg chg="add del mod">
          <ac:chgData name="Steiner Andreas 6206 ED" userId="e6377c33-a923-4f14-8587-531c474c7b48" providerId="ADAL" clId="{6ECD27E6-B224-41CD-B4E0-E297462320DD}" dt="2023-11-24T08:49:04.059" v="76873"/>
          <ac:spMkLst>
            <pc:docMk/>
            <pc:sldMk cId="1966364550" sldId="2147473979"/>
            <ac:spMk id="503" creationId="{8A41577B-ACF0-3D78-6C41-EF020E21A83F}"/>
          </ac:spMkLst>
        </pc:spChg>
        <pc:spChg chg="add del mod">
          <ac:chgData name="Steiner Andreas 6206 ED" userId="e6377c33-a923-4f14-8587-531c474c7b48" providerId="ADAL" clId="{6ECD27E6-B224-41CD-B4E0-E297462320DD}" dt="2023-11-24T08:49:05.965" v="77028"/>
          <ac:spMkLst>
            <pc:docMk/>
            <pc:sldMk cId="1966364550" sldId="2147473979"/>
            <ac:spMk id="504" creationId="{0B11F94B-D336-E8E7-6B1A-B8FAEF493C6E}"/>
          </ac:spMkLst>
        </pc:spChg>
        <pc:spChg chg="add del mod">
          <ac:chgData name="Steiner Andreas 6206 ED" userId="e6377c33-a923-4f14-8587-531c474c7b48" providerId="ADAL" clId="{6ECD27E6-B224-41CD-B4E0-E297462320DD}" dt="2023-11-24T08:49:08.052" v="77183"/>
          <ac:spMkLst>
            <pc:docMk/>
            <pc:sldMk cId="1966364550" sldId="2147473979"/>
            <ac:spMk id="505" creationId="{743DADEB-198C-7647-5F6B-5E3F5803D3C8}"/>
          </ac:spMkLst>
        </pc:spChg>
        <pc:spChg chg="add del mod">
          <ac:chgData name="Steiner Andreas 6206 ED" userId="e6377c33-a923-4f14-8587-531c474c7b48" providerId="ADAL" clId="{6ECD27E6-B224-41CD-B4E0-E297462320DD}" dt="2023-11-24T08:49:09.953" v="77338"/>
          <ac:spMkLst>
            <pc:docMk/>
            <pc:sldMk cId="1966364550" sldId="2147473979"/>
            <ac:spMk id="506" creationId="{8F7FCDC9-31F3-A9EE-B3A7-E3316A075C80}"/>
          </ac:spMkLst>
        </pc:spChg>
        <pc:spChg chg="add del mod">
          <ac:chgData name="Steiner Andreas 6206 ED" userId="e6377c33-a923-4f14-8587-531c474c7b48" providerId="ADAL" clId="{6ECD27E6-B224-41CD-B4E0-E297462320DD}" dt="2023-11-24T08:49:11.726" v="77493"/>
          <ac:spMkLst>
            <pc:docMk/>
            <pc:sldMk cId="1966364550" sldId="2147473979"/>
            <ac:spMk id="507" creationId="{CB813A45-58BD-F256-8C2C-E751100B5A16}"/>
          </ac:spMkLst>
        </pc:spChg>
        <pc:spChg chg="add del mod">
          <ac:chgData name="Steiner Andreas 6206 ED" userId="e6377c33-a923-4f14-8587-531c474c7b48" providerId="ADAL" clId="{6ECD27E6-B224-41CD-B4E0-E297462320DD}" dt="2023-11-24T08:49:13.848" v="77648"/>
          <ac:spMkLst>
            <pc:docMk/>
            <pc:sldMk cId="1966364550" sldId="2147473979"/>
            <ac:spMk id="508" creationId="{CE23BBB7-DFB4-88AB-9343-5120B8D12DFE}"/>
          </ac:spMkLst>
        </pc:spChg>
        <pc:spChg chg="add del mod">
          <ac:chgData name="Steiner Andreas 6206 ED" userId="e6377c33-a923-4f14-8587-531c474c7b48" providerId="ADAL" clId="{6ECD27E6-B224-41CD-B4E0-E297462320DD}" dt="2023-11-24T08:49:15.817" v="77803"/>
          <ac:spMkLst>
            <pc:docMk/>
            <pc:sldMk cId="1966364550" sldId="2147473979"/>
            <ac:spMk id="509" creationId="{6A0F749A-C009-3DCB-156C-DD69C6CCA1DF}"/>
          </ac:spMkLst>
        </pc:spChg>
        <pc:spChg chg="add del mod">
          <ac:chgData name="Steiner Andreas 6206 ED" userId="e6377c33-a923-4f14-8587-531c474c7b48" providerId="ADAL" clId="{6ECD27E6-B224-41CD-B4E0-E297462320DD}" dt="2023-11-24T08:49:17.886" v="77958"/>
          <ac:spMkLst>
            <pc:docMk/>
            <pc:sldMk cId="1966364550" sldId="2147473979"/>
            <ac:spMk id="510" creationId="{4B069C29-95C5-BCEE-B9EE-47EF56F28F92}"/>
          </ac:spMkLst>
        </pc:spChg>
        <pc:spChg chg="add del mod">
          <ac:chgData name="Steiner Andreas 6206 ED" userId="e6377c33-a923-4f14-8587-531c474c7b48" providerId="ADAL" clId="{6ECD27E6-B224-41CD-B4E0-E297462320DD}" dt="2023-11-24T08:49:19.899" v="78113"/>
          <ac:spMkLst>
            <pc:docMk/>
            <pc:sldMk cId="1966364550" sldId="2147473979"/>
            <ac:spMk id="511" creationId="{BE25B114-38D2-7B25-E06A-E1574A9BC135}"/>
          </ac:spMkLst>
        </pc:spChg>
        <pc:spChg chg="add del mod">
          <ac:chgData name="Steiner Andreas 6206 ED" userId="e6377c33-a923-4f14-8587-531c474c7b48" providerId="ADAL" clId="{6ECD27E6-B224-41CD-B4E0-E297462320DD}" dt="2023-11-24T08:49:21.776" v="78268"/>
          <ac:spMkLst>
            <pc:docMk/>
            <pc:sldMk cId="1966364550" sldId="2147473979"/>
            <ac:spMk id="512" creationId="{1F720373-CEAE-EF28-CA10-55A6EF5F2F58}"/>
          </ac:spMkLst>
        </pc:spChg>
        <pc:spChg chg="add del mod">
          <ac:chgData name="Steiner Andreas 6206 ED" userId="e6377c33-a923-4f14-8587-531c474c7b48" providerId="ADAL" clId="{6ECD27E6-B224-41CD-B4E0-E297462320DD}" dt="2023-11-24T08:49:23.706" v="78423"/>
          <ac:spMkLst>
            <pc:docMk/>
            <pc:sldMk cId="1966364550" sldId="2147473979"/>
            <ac:spMk id="513" creationId="{0834B5D7-E35F-A43C-71A3-799BC26DE577}"/>
          </ac:spMkLst>
        </pc:spChg>
        <pc:spChg chg="add del mod">
          <ac:chgData name="Steiner Andreas 6206 ED" userId="e6377c33-a923-4f14-8587-531c474c7b48" providerId="ADAL" clId="{6ECD27E6-B224-41CD-B4E0-E297462320DD}" dt="2023-11-24T08:49:25.586" v="78578"/>
          <ac:spMkLst>
            <pc:docMk/>
            <pc:sldMk cId="1966364550" sldId="2147473979"/>
            <ac:spMk id="514" creationId="{0D384BDB-1703-AF4A-B692-1AD4D2794835}"/>
          </ac:spMkLst>
        </pc:spChg>
        <pc:spChg chg="add del mod">
          <ac:chgData name="Steiner Andreas 6206 ED" userId="e6377c33-a923-4f14-8587-531c474c7b48" providerId="ADAL" clId="{6ECD27E6-B224-41CD-B4E0-E297462320DD}" dt="2023-11-24T08:49:27.662" v="78733"/>
          <ac:spMkLst>
            <pc:docMk/>
            <pc:sldMk cId="1966364550" sldId="2147473979"/>
            <ac:spMk id="515" creationId="{B9183477-E345-42B6-FFC3-9A2DFCFF7FEB}"/>
          </ac:spMkLst>
        </pc:spChg>
        <pc:spChg chg="add del mod">
          <ac:chgData name="Steiner Andreas 6206 ED" userId="e6377c33-a923-4f14-8587-531c474c7b48" providerId="ADAL" clId="{6ECD27E6-B224-41CD-B4E0-E297462320DD}" dt="2023-11-24T08:49:29.710" v="78888"/>
          <ac:spMkLst>
            <pc:docMk/>
            <pc:sldMk cId="1966364550" sldId="2147473979"/>
            <ac:spMk id="516" creationId="{3AC229E0-3A8F-AB4D-4835-066CA538C33A}"/>
          </ac:spMkLst>
        </pc:spChg>
        <pc:spChg chg="add del mod">
          <ac:chgData name="Steiner Andreas 6206 ED" userId="e6377c33-a923-4f14-8587-531c474c7b48" providerId="ADAL" clId="{6ECD27E6-B224-41CD-B4E0-E297462320DD}" dt="2023-11-24T08:49:31.596" v="79043"/>
          <ac:spMkLst>
            <pc:docMk/>
            <pc:sldMk cId="1966364550" sldId="2147473979"/>
            <ac:spMk id="517" creationId="{772DA218-114C-F986-7114-31BA44211503}"/>
          </ac:spMkLst>
        </pc:spChg>
        <pc:spChg chg="add del mod">
          <ac:chgData name="Steiner Andreas 6206 ED" userId="e6377c33-a923-4f14-8587-531c474c7b48" providerId="ADAL" clId="{6ECD27E6-B224-41CD-B4E0-E297462320DD}" dt="2023-11-24T08:49:33.512" v="79198"/>
          <ac:spMkLst>
            <pc:docMk/>
            <pc:sldMk cId="1966364550" sldId="2147473979"/>
            <ac:spMk id="518" creationId="{40F43033-202F-B80F-A0DE-A91084C5BDF5}"/>
          </ac:spMkLst>
        </pc:spChg>
        <pc:spChg chg="add del mod">
          <ac:chgData name="Steiner Andreas 6206 ED" userId="e6377c33-a923-4f14-8587-531c474c7b48" providerId="ADAL" clId="{6ECD27E6-B224-41CD-B4E0-E297462320DD}" dt="2023-11-24T08:49:35.404" v="79353"/>
          <ac:spMkLst>
            <pc:docMk/>
            <pc:sldMk cId="1966364550" sldId="2147473979"/>
            <ac:spMk id="519" creationId="{4F0666E1-17C0-5861-6B72-55AD914C4CE2}"/>
          </ac:spMkLst>
        </pc:spChg>
        <pc:spChg chg="add del mod">
          <ac:chgData name="Steiner Andreas 6206 ED" userId="e6377c33-a923-4f14-8587-531c474c7b48" providerId="ADAL" clId="{6ECD27E6-B224-41CD-B4E0-E297462320DD}" dt="2023-11-24T08:49:37.247" v="79508"/>
          <ac:spMkLst>
            <pc:docMk/>
            <pc:sldMk cId="1966364550" sldId="2147473979"/>
            <ac:spMk id="520" creationId="{1F2EE52A-FCE9-C7C4-CCC4-238477D99473}"/>
          </ac:spMkLst>
        </pc:spChg>
        <pc:spChg chg="add del mod">
          <ac:chgData name="Steiner Andreas 6206 ED" userId="e6377c33-a923-4f14-8587-531c474c7b48" providerId="ADAL" clId="{6ECD27E6-B224-41CD-B4E0-E297462320DD}" dt="2023-11-24T08:49:39.199" v="79663"/>
          <ac:spMkLst>
            <pc:docMk/>
            <pc:sldMk cId="1966364550" sldId="2147473979"/>
            <ac:spMk id="521" creationId="{F085C482-1BE7-C8A2-7E7F-701D3CFDE4F1}"/>
          </ac:spMkLst>
        </pc:spChg>
        <pc:spChg chg="add del mod">
          <ac:chgData name="Steiner Andreas 6206 ED" userId="e6377c33-a923-4f14-8587-531c474c7b48" providerId="ADAL" clId="{6ECD27E6-B224-41CD-B4E0-E297462320DD}" dt="2023-11-24T08:49:41.315" v="79818"/>
          <ac:spMkLst>
            <pc:docMk/>
            <pc:sldMk cId="1966364550" sldId="2147473979"/>
            <ac:spMk id="522" creationId="{BCC57727-D33A-7A88-4E8F-F751B2353169}"/>
          </ac:spMkLst>
        </pc:spChg>
        <pc:spChg chg="add del mod">
          <ac:chgData name="Steiner Andreas 6206 ED" userId="e6377c33-a923-4f14-8587-531c474c7b48" providerId="ADAL" clId="{6ECD27E6-B224-41CD-B4E0-E297462320DD}" dt="2023-11-24T08:49:43.208" v="79973"/>
          <ac:spMkLst>
            <pc:docMk/>
            <pc:sldMk cId="1966364550" sldId="2147473979"/>
            <ac:spMk id="523" creationId="{625FB590-778B-0403-3E06-7084BA3A8E73}"/>
          </ac:spMkLst>
        </pc:spChg>
        <pc:spChg chg="add del mod">
          <ac:chgData name="Steiner Andreas 6206 ED" userId="e6377c33-a923-4f14-8587-531c474c7b48" providerId="ADAL" clId="{6ECD27E6-B224-41CD-B4E0-E297462320DD}" dt="2023-11-24T08:49:45.148" v="80128"/>
          <ac:spMkLst>
            <pc:docMk/>
            <pc:sldMk cId="1966364550" sldId="2147473979"/>
            <ac:spMk id="524" creationId="{2F1ACA14-0A94-D7CE-56D8-8C64A730CDE8}"/>
          </ac:spMkLst>
        </pc:spChg>
        <pc:spChg chg="add del mod">
          <ac:chgData name="Steiner Andreas 6206 ED" userId="e6377c33-a923-4f14-8587-531c474c7b48" providerId="ADAL" clId="{6ECD27E6-B224-41CD-B4E0-E297462320DD}" dt="2023-11-24T08:49:47.114" v="80283"/>
          <ac:spMkLst>
            <pc:docMk/>
            <pc:sldMk cId="1966364550" sldId="2147473979"/>
            <ac:spMk id="525" creationId="{1301DB5F-E302-2D31-4647-9AB35DDCD7B5}"/>
          </ac:spMkLst>
        </pc:spChg>
        <pc:spChg chg="add del mod">
          <ac:chgData name="Steiner Andreas 6206 ED" userId="e6377c33-a923-4f14-8587-531c474c7b48" providerId="ADAL" clId="{6ECD27E6-B224-41CD-B4E0-E297462320DD}" dt="2023-11-24T08:49:49.012" v="80438"/>
          <ac:spMkLst>
            <pc:docMk/>
            <pc:sldMk cId="1966364550" sldId="2147473979"/>
            <ac:spMk id="526" creationId="{18738EFB-F61B-FA3B-EC97-645E58312407}"/>
          </ac:spMkLst>
        </pc:spChg>
        <pc:spChg chg="add del mod">
          <ac:chgData name="Steiner Andreas 6206 ED" userId="e6377c33-a923-4f14-8587-531c474c7b48" providerId="ADAL" clId="{6ECD27E6-B224-41CD-B4E0-E297462320DD}" dt="2023-11-24T08:49:50.882" v="80593"/>
          <ac:spMkLst>
            <pc:docMk/>
            <pc:sldMk cId="1966364550" sldId="2147473979"/>
            <ac:spMk id="527" creationId="{8D8D0DF2-E978-E3C5-08B4-43FE7DCECA6D}"/>
          </ac:spMkLst>
        </pc:spChg>
        <pc:spChg chg="add del mod">
          <ac:chgData name="Steiner Andreas 6206 ED" userId="e6377c33-a923-4f14-8587-531c474c7b48" providerId="ADAL" clId="{6ECD27E6-B224-41CD-B4E0-E297462320DD}" dt="2023-11-24T08:49:52.801" v="80748"/>
          <ac:spMkLst>
            <pc:docMk/>
            <pc:sldMk cId="1966364550" sldId="2147473979"/>
            <ac:spMk id="528" creationId="{365F8D1F-B1F8-001F-9158-8C05A441ADCB}"/>
          </ac:spMkLst>
        </pc:spChg>
        <pc:spChg chg="add del mod">
          <ac:chgData name="Steiner Andreas 6206 ED" userId="e6377c33-a923-4f14-8587-531c474c7b48" providerId="ADAL" clId="{6ECD27E6-B224-41CD-B4E0-E297462320DD}" dt="2023-11-24T08:49:54.735" v="80903"/>
          <ac:spMkLst>
            <pc:docMk/>
            <pc:sldMk cId="1966364550" sldId="2147473979"/>
            <ac:spMk id="529" creationId="{A181E611-B939-6D82-3F25-4E228E138A00}"/>
          </ac:spMkLst>
        </pc:spChg>
        <pc:spChg chg="add del mod">
          <ac:chgData name="Steiner Andreas 6206 ED" userId="e6377c33-a923-4f14-8587-531c474c7b48" providerId="ADAL" clId="{6ECD27E6-B224-41CD-B4E0-E297462320DD}" dt="2023-11-24T08:49:56.602" v="81058"/>
          <ac:spMkLst>
            <pc:docMk/>
            <pc:sldMk cId="1966364550" sldId="2147473979"/>
            <ac:spMk id="530" creationId="{6E9DA733-A577-0CDD-ADEB-5036E6F72AF8}"/>
          </ac:spMkLst>
        </pc:spChg>
        <pc:spChg chg="add del mod">
          <ac:chgData name="Steiner Andreas 6206 ED" userId="e6377c33-a923-4f14-8587-531c474c7b48" providerId="ADAL" clId="{6ECD27E6-B224-41CD-B4E0-E297462320DD}" dt="2023-11-24T08:49:58.508" v="81213"/>
          <ac:spMkLst>
            <pc:docMk/>
            <pc:sldMk cId="1966364550" sldId="2147473979"/>
            <ac:spMk id="531" creationId="{6501B97A-EA7C-4D14-5041-67653B0C9195}"/>
          </ac:spMkLst>
        </pc:spChg>
        <pc:spChg chg="add del mod">
          <ac:chgData name="Steiner Andreas 6206 ED" userId="e6377c33-a923-4f14-8587-531c474c7b48" providerId="ADAL" clId="{6ECD27E6-B224-41CD-B4E0-E297462320DD}" dt="2023-11-24T08:50:00.430" v="81368"/>
          <ac:spMkLst>
            <pc:docMk/>
            <pc:sldMk cId="1966364550" sldId="2147473979"/>
            <ac:spMk id="532" creationId="{F632686C-F325-47D2-E97C-5FEB7B806255}"/>
          </ac:spMkLst>
        </pc:spChg>
        <pc:spChg chg="add del mod">
          <ac:chgData name="Steiner Andreas 6206 ED" userId="e6377c33-a923-4f14-8587-531c474c7b48" providerId="ADAL" clId="{6ECD27E6-B224-41CD-B4E0-E297462320DD}" dt="2023-11-24T08:50:02.521" v="81523"/>
          <ac:spMkLst>
            <pc:docMk/>
            <pc:sldMk cId="1966364550" sldId="2147473979"/>
            <ac:spMk id="533" creationId="{41C0B3E1-B975-11ED-16FB-2D5D996A0F60}"/>
          </ac:spMkLst>
        </pc:spChg>
        <pc:spChg chg="add del mod">
          <ac:chgData name="Steiner Andreas 6206 ED" userId="e6377c33-a923-4f14-8587-531c474c7b48" providerId="ADAL" clId="{6ECD27E6-B224-41CD-B4E0-E297462320DD}" dt="2023-11-24T08:50:04.582" v="81678"/>
          <ac:spMkLst>
            <pc:docMk/>
            <pc:sldMk cId="1966364550" sldId="2147473979"/>
            <ac:spMk id="534" creationId="{BB23D92F-D071-C754-46AF-A87A0557B602}"/>
          </ac:spMkLst>
        </pc:spChg>
        <pc:spChg chg="add del mod">
          <ac:chgData name="Steiner Andreas 6206 ED" userId="e6377c33-a923-4f14-8587-531c474c7b48" providerId="ADAL" clId="{6ECD27E6-B224-41CD-B4E0-E297462320DD}" dt="2023-11-24T08:50:06.520" v="81833"/>
          <ac:spMkLst>
            <pc:docMk/>
            <pc:sldMk cId="1966364550" sldId="2147473979"/>
            <ac:spMk id="535" creationId="{F63A1512-8A80-68AD-36AE-E97AD9D5E543}"/>
          </ac:spMkLst>
        </pc:spChg>
        <pc:spChg chg="add del mod">
          <ac:chgData name="Steiner Andreas 6206 ED" userId="e6377c33-a923-4f14-8587-531c474c7b48" providerId="ADAL" clId="{6ECD27E6-B224-41CD-B4E0-E297462320DD}" dt="2023-11-24T08:50:08.384" v="81988"/>
          <ac:spMkLst>
            <pc:docMk/>
            <pc:sldMk cId="1966364550" sldId="2147473979"/>
            <ac:spMk id="536" creationId="{70915A1F-FCD1-A88B-EFC6-F6DA88F226B1}"/>
          </ac:spMkLst>
        </pc:spChg>
        <pc:spChg chg="add del mod">
          <ac:chgData name="Steiner Andreas 6206 ED" userId="e6377c33-a923-4f14-8587-531c474c7b48" providerId="ADAL" clId="{6ECD27E6-B224-41CD-B4E0-E297462320DD}" dt="2023-11-24T08:50:10.297" v="82143"/>
          <ac:spMkLst>
            <pc:docMk/>
            <pc:sldMk cId="1966364550" sldId="2147473979"/>
            <ac:spMk id="537" creationId="{3F2C9873-74F8-368A-D6AF-DCC422C5372F}"/>
          </ac:spMkLst>
        </pc:spChg>
        <pc:spChg chg="add del mod">
          <ac:chgData name="Steiner Andreas 6206 ED" userId="e6377c33-a923-4f14-8587-531c474c7b48" providerId="ADAL" clId="{6ECD27E6-B224-41CD-B4E0-E297462320DD}" dt="2023-11-24T08:50:12.214" v="82298"/>
          <ac:spMkLst>
            <pc:docMk/>
            <pc:sldMk cId="1966364550" sldId="2147473979"/>
            <ac:spMk id="538" creationId="{15781560-77A0-72B5-213C-EAFE7F794025}"/>
          </ac:spMkLst>
        </pc:spChg>
        <pc:spChg chg="add del mod">
          <ac:chgData name="Steiner Andreas 6206 ED" userId="e6377c33-a923-4f14-8587-531c474c7b48" providerId="ADAL" clId="{6ECD27E6-B224-41CD-B4E0-E297462320DD}" dt="2023-11-24T08:50:14.276" v="82453"/>
          <ac:spMkLst>
            <pc:docMk/>
            <pc:sldMk cId="1966364550" sldId="2147473979"/>
            <ac:spMk id="539" creationId="{E42087B6-D6CA-8D21-6789-9277CD265E07}"/>
          </ac:spMkLst>
        </pc:spChg>
        <pc:spChg chg="add del mod">
          <ac:chgData name="Steiner Andreas 6206 ED" userId="e6377c33-a923-4f14-8587-531c474c7b48" providerId="ADAL" clId="{6ECD27E6-B224-41CD-B4E0-E297462320DD}" dt="2023-11-24T08:50:16.214" v="82608"/>
          <ac:spMkLst>
            <pc:docMk/>
            <pc:sldMk cId="1966364550" sldId="2147473979"/>
            <ac:spMk id="540" creationId="{2E2FF731-2586-41D2-DC70-99E4A8BDF9E1}"/>
          </ac:spMkLst>
        </pc:spChg>
        <pc:spChg chg="add del mod">
          <ac:chgData name="Steiner Andreas 6206 ED" userId="e6377c33-a923-4f14-8587-531c474c7b48" providerId="ADAL" clId="{6ECD27E6-B224-41CD-B4E0-E297462320DD}" dt="2023-11-24T08:50:18.215" v="82763"/>
          <ac:spMkLst>
            <pc:docMk/>
            <pc:sldMk cId="1966364550" sldId="2147473979"/>
            <ac:spMk id="541" creationId="{91653CBE-605F-AC7A-2652-2B1AD466E49D}"/>
          </ac:spMkLst>
        </pc:spChg>
        <pc:spChg chg="add del mod">
          <ac:chgData name="Steiner Andreas 6206 ED" userId="e6377c33-a923-4f14-8587-531c474c7b48" providerId="ADAL" clId="{6ECD27E6-B224-41CD-B4E0-E297462320DD}" dt="2023-11-24T08:50:20.437" v="82918"/>
          <ac:spMkLst>
            <pc:docMk/>
            <pc:sldMk cId="1966364550" sldId="2147473979"/>
            <ac:spMk id="542" creationId="{802D6AC0-DA79-4279-700D-9B1116C67705}"/>
          </ac:spMkLst>
        </pc:spChg>
        <pc:spChg chg="add del mod">
          <ac:chgData name="Steiner Andreas 6206 ED" userId="e6377c33-a923-4f14-8587-531c474c7b48" providerId="ADAL" clId="{6ECD27E6-B224-41CD-B4E0-E297462320DD}" dt="2023-11-24T08:50:22.350" v="83073"/>
          <ac:spMkLst>
            <pc:docMk/>
            <pc:sldMk cId="1966364550" sldId="2147473979"/>
            <ac:spMk id="543" creationId="{2A4481C8-7204-F3D8-916A-201F6B46408F}"/>
          </ac:spMkLst>
        </pc:spChg>
        <pc:spChg chg="add del mod">
          <ac:chgData name="Steiner Andreas 6206 ED" userId="e6377c33-a923-4f14-8587-531c474c7b48" providerId="ADAL" clId="{6ECD27E6-B224-41CD-B4E0-E297462320DD}" dt="2023-11-24T08:50:24.480" v="83228"/>
          <ac:spMkLst>
            <pc:docMk/>
            <pc:sldMk cId="1966364550" sldId="2147473979"/>
            <ac:spMk id="544" creationId="{71171F21-37A0-0728-763B-5912EE1D393E}"/>
          </ac:spMkLst>
        </pc:spChg>
        <pc:spChg chg="add del mod">
          <ac:chgData name="Steiner Andreas 6206 ED" userId="e6377c33-a923-4f14-8587-531c474c7b48" providerId="ADAL" clId="{6ECD27E6-B224-41CD-B4E0-E297462320DD}" dt="2023-11-24T08:50:26.459" v="83383"/>
          <ac:spMkLst>
            <pc:docMk/>
            <pc:sldMk cId="1966364550" sldId="2147473979"/>
            <ac:spMk id="545" creationId="{2C962FAC-703F-05CD-EEE8-CC7023A2D109}"/>
          </ac:spMkLst>
        </pc:spChg>
        <pc:spChg chg="add del mod">
          <ac:chgData name="Steiner Andreas 6206 ED" userId="e6377c33-a923-4f14-8587-531c474c7b48" providerId="ADAL" clId="{6ECD27E6-B224-41CD-B4E0-E297462320DD}" dt="2023-11-24T08:50:28.376" v="83538"/>
          <ac:spMkLst>
            <pc:docMk/>
            <pc:sldMk cId="1966364550" sldId="2147473979"/>
            <ac:spMk id="546" creationId="{6490E902-04E8-F95E-2882-99682249652F}"/>
          </ac:spMkLst>
        </pc:spChg>
        <pc:spChg chg="add del mod">
          <ac:chgData name="Steiner Andreas 6206 ED" userId="e6377c33-a923-4f14-8587-531c474c7b48" providerId="ADAL" clId="{6ECD27E6-B224-41CD-B4E0-E297462320DD}" dt="2023-11-24T08:50:30.292" v="83693"/>
          <ac:spMkLst>
            <pc:docMk/>
            <pc:sldMk cId="1966364550" sldId="2147473979"/>
            <ac:spMk id="547" creationId="{94651474-290F-E02B-CD54-C3A7380D95D1}"/>
          </ac:spMkLst>
        </pc:spChg>
        <pc:spChg chg="add del mod">
          <ac:chgData name="Steiner Andreas 6206 ED" userId="e6377c33-a923-4f14-8587-531c474c7b48" providerId="ADAL" clId="{6ECD27E6-B224-41CD-B4E0-E297462320DD}" dt="2023-11-24T08:50:32.375" v="83848"/>
          <ac:spMkLst>
            <pc:docMk/>
            <pc:sldMk cId="1966364550" sldId="2147473979"/>
            <ac:spMk id="548" creationId="{99813614-430C-3EF9-4052-258D0AF2DA6D}"/>
          </ac:spMkLst>
        </pc:spChg>
        <pc:spChg chg="add del mod">
          <ac:chgData name="Steiner Andreas 6206 ED" userId="e6377c33-a923-4f14-8587-531c474c7b48" providerId="ADAL" clId="{6ECD27E6-B224-41CD-B4E0-E297462320DD}" dt="2023-11-24T08:50:34.396" v="84003"/>
          <ac:spMkLst>
            <pc:docMk/>
            <pc:sldMk cId="1966364550" sldId="2147473979"/>
            <ac:spMk id="549" creationId="{B97D2266-A06E-68F1-07BC-ECD60D40B829}"/>
          </ac:spMkLst>
        </pc:spChg>
        <pc:spChg chg="add del mod">
          <ac:chgData name="Steiner Andreas 6206 ED" userId="e6377c33-a923-4f14-8587-531c474c7b48" providerId="ADAL" clId="{6ECD27E6-B224-41CD-B4E0-E297462320DD}" dt="2023-11-24T08:50:36.610" v="84158"/>
          <ac:spMkLst>
            <pc:docMk/>
            <pc:sldMk cId="1966364550" sldId="2147473979"/>
            <ac:spMk id="550" creationId="{E368FE45-865B-8CB2-B4A9-F8200FDD90C1}"/>
          </ac:spMkLst>
        </pc:spChg>
        <pc:spChg chg="add del mod">
          <ac:chgData name="Steiner Andreas 6206 ED" userId="e6377c33-a923-4f14-8587-531c474c7b48" providerId="ADAL" clId="{6ECD27E6-B224-41CD-B4E0-E297462320DD}" dt="2023-11-24T08:50:38.568" v="84313"/>
          <ac:spMkLst>
            <pc:docMk/>
            <pc:sldMk cId="1966364550" sldId="2147473979"/>
            <ac:spMk id="551" creationId="{10A7C22B-92F7-52AD-E8F0-8E716B8CBDB3}"/>
          </ac:spMkLst>
        </pc:spChg>
        <pc:spChg chg="add del mod">
          <ac:chgData name="Steiner Andreas 6206 ED" userId="e6377c33-a923-4f14-8587-531c474c7b48" providerId="ADAL" clId="{6ECD27E6-B224-41CD-B4E0-E297462320DD}" dt="2023-11-24T08:50:40.557" v="84468"/>
          <ac:spMkLst>
            <pc:docMk/>
            <pc:sldMk cId="1966364550" sldId="2147473979"/>
            <ac:spMk id="552" creationId="{EB0641AD-B87F-2348-4013-F1CA1342BC91}"/>
          </ac:spMkLst>
        </pc:spChg>
        <pc:spChg chg="add del mod">
          <ac:chgData name="Steiner Andreas 6206 ED" userId="e6377c33-a923-4f14-8587-531c474c7b48" providerId="ADAL" clId="{6ECD27E6-B224-41CD-B4E0-E297462320DD}" dt="2023-11-24T08:50:42.550" v="84623"/>
          <ac:spMkLst>
            <pc:docMk/>
            <pc:sldMk cId="1966364550" sldId="2147473979"/>
            <ac:spMk id="553" creationId="{6ADE7A75-1864-0350-A0F3-BDC30F11D77A}"/>
          </ac:spMkLst>
        </pc:spChg>
        <pc:spChg chg="add del mod">
          <ac:chgData name="Steiner Andreas 6206 ED" userId="e6377c33-a923-4f14-8587-531c474c7b48" providerId="ADAL" clId="{6ECD27E6-B224-41CD-B4E0-E297462320DD}" dt="2023-11-24T08:50:44.744" v="84778"/>
          <ac:spMkLst>
            <pc:docMk/>
            <pc:sldMk cId="1966364550" sldId="2147473979"/>
            <ac:spMk id="554" creationId="{11E16371-B3CB-5888-E461-D6B6D93226BE}"/>
          </ac:spMkLst>
        </pc:spChg>
        <pc:spChg chg="add del mod">
          <ac:chgData name="Steiner Andreas 6206 ED" userId="e6377c33-a923-4f14-8587-531c474c7b48" providerId="ADAL" clId="{6ECD27E6-B224-41CD-B4E0-E297462320DD}" dt="2023-11-24T08:50:46.846" v="84933"/>
          <ac:spMkLst>
            <pc:docMk/>
            <pc:sldMk cId="1966364550" sldId="2147473979"/>
            <ac:spMk id="555" creationId="{BBAE62C6-0BAE-AE73-3577-CF1E4E5A692F}"/>
          </ac:spMkLst>
        </pc:spChg>
        <pc:spChg chg="add del mod">
          <ac:chgData name="Steiner Andreas 6206 ED" userId="e6377c33-a923-4f14-8587-531c474c7b48" providerId="ADAL" clId="{6ECD27E6-B224-41CD-B4E0-E297462320DD}" dt="2023-11-24T08:50:48.949" v="85088"/>
          <ac:spMkLst>
            <pc:docMk/>
            <pc:sldMk cId="1966364550" sldId="2147473979"/>
            <ac:spMk id="556" creationId="{9C73C257-BA7D-7F63-E354-C913BCAA880F}"/>
          </ac:spMkLst>
        </pc:spChg>
        <pc:spChg chg="add del mod">
          <ac:chgData name="Steiner Andreas 6206 ED" userId="e6377c33-a923-4f14-8587-531c474c7b48" providerId="ADAL" clId="{6ECD27E6-B224-41CD-B4E0-E297462320DD}" dt="2023-11-24T08:50:51.052" v="85243"/>
          <ac:spMkLst>
            <pc:docMk/>
            <pc:sldMk cId="1966364550" sldId="2147473979"/>
            <ac:spMk id="557" creationId="{6D83225C-1453-7EE2-99E4-FE6A7517397D}"/>
          </ac:spMkLst>
        </pc:spChg>
        <pc:spChg chg="add del mod">
          <ac:chgData name="Steiner Andreas 6206 ED" userId="e6377c33-a923-4f14-8587-531c474c7b48" providerId="ADAL" clId="{6ECD27E6-B224-41CD-B4E0-E297462320DD}" dt="2023-11-24T08:50:53.160" v="85398"/>
          <ac:spMkLst>
            <pc:docMk/>
            <pc:sldMk cId="1966364550" sldId="2147473979"/>
            <ac:spMk id="558" creationId="{A62FCE5C-2D2D-9FB3-FAF8-E0E05C723453}"/>
          </ac:spMkLst>
        </pc:spChg>
        <pc:spChg chg="add del mod">
          <ac:chgData name="Steiner Andreas 6206 ED" userId="e6377c33-a923-4f14-8587-531c474c7b48" providerId="ADAL" clId="{6ECD27E6-B224-41CD-B4E0-E297462320DD}" dt="2023-11-24T08:50:55.066" v="85553"/>
          <ac:spMkLst>
            <pc:docMk/>
            <pc:sldMk cId="1966364550" sldId="2147473979"/>
            <ac:spMk id="559" creationId="{67A9E69C-7A7B-D011-EF3C-78786896FD0E}"/>
          </ac:spMkLst>
        </pc:spChg>
        <pc:spChg chg="add del mod">
          <ac:chgData name="Steiner Andreas 6206 ED" userId="e6377c33-a923-4f14-8587-531c474c7b48" providerId="ADAL" clId="{6ECD27E6-B224-41CD-B4E0-E297462320DD}" dt="2023-11-24T08:50:56.979" v="85708"/>
          <ac:spMkLst>
            <pc:docMk/>
            <pc:sldMk cId="1966364550" sldId="2147473979"/>
            <ac:spMk id="560" creationId="{73DDA8B0-7C19-3289-A05A-201E4E2996B4}"/>
          </ac:spMkLst>
        </pc:spChg>
        <pc:spChg chg="add del mod">
          <ac:chgData name="Steiner Andreas 6206 ED" userId="e6377c33-a923-4f14-8587-531c474c7b48" providerId="ADAL" clId="{6ECD27E6-B224-41CD-B4E0-E297462320DD}" dt="2023-11-24T08:50:59.179" v="85863"/>
          <ac:spMkLst>
            <pc:docMk/>
            <pc:sldMk cId="1966364550" sldId="2147473979"/>
            <ac:spMk id="561" creationId="{EA60D7BF-0D27-8D66-FA51-E22DAA6E60DB}"/>
          </ac:spMkLst>
        </pc:spChg>
        <pc:spChg chg="add del mod">
          <ac:chgData name="Steiner Andreas 6206 ED" userId="e6377c33-a923-4f14-8587-531c474c7b48" providerId="ADAL" clId="{6ECD27E6-B224-41CD-B4E0-E297462320DD}" dt="2023-11-24T08:51:01.120" v="86018"/>
          <ac:spMkLst>
            <pc:docMk/>
            <pc:sldMk cId="1966364550" sldId="2147473979"/>
            <ac:spMk id="562" creationId="{D6CEB00A-2978-AFB6-7EED-A1AEC949FCE5}"/>
          </ac:spMkLst>
        </pc:spChg>
        <pc:spChg chg="add del mod">
          <ac:chgData name="Steiner Andreas 6206 ED" userId="e6377c33-a923-4f14-8587-531c474c7b48" providerId="ADAL" clId="{6ECD27E6-B224-41CD-B4E0-E297462320DD}" dt="2023-11-24T08:51:03.102" v="86173"/>
          <ac:spMkLst>
            <pc:docMk/>
            <pc:sldMk cId="1966364550" sldId="2147473979"/>
            <ac:spMk id="563" creationId="{EAD09DF9-2268-FEA5-5943-87334C83410B}"/>
          </ac:spMkLst>
        </pc:spChg>
        <pc:spChg chg="add del mod">
          <ac:chgData name="Steiner Andreas 6206 ED" userId="e6377c33-a923-4f14-8587-531c474c7b48" providerId="ADAL" clId="{6ECD27E6-B224-41CD-B4E0-E297462320DD}" dt="2023-11-24T08:51:04.963" v="86328"/>
          <ac:spMkLst>
            <pc:docMk/>
            <pc:sldMk cId="1966364550" sldId="2147473979"/>
            <ac:spMk id="564" creationId="{70C1B3D4-2A2F-A0B8-35BF-958DAADA5E7A}"/>
          </ac:spMkLst>
        </pc:spChg>
        <pc:spChg chg="add del mod">
          <ac:chgData name="Steiner Andreas 6206 ED" userId="e6377c33-a923-4f14-8587-531c474c7b48" providerId="ADAL" clId="{6ECD27E6-B224-41CD-B4E0-E297462320DD}" dt="2023-11-24T08:51:06.861" v="86483"/>
          <ac:spMkLst>
            <pc:docMk/>
            <pc:sldMk cId="1966364550" sldId="2147473979"/>
            <ac:spMk id="565" creationId="{EFCE71F2-8C27-7336-8DC5-1019A073CE2B}"/>
          </ac:spMkLst>
        </pc:spChg>
        <pc:spChg chg="add del mod">
          <ac:chgData name="Steiner Andreas 6206 ED" userId="e6377c33-a923-4f14-8587-531c474c7b48" providerId="ADAL" clId="{6ECD27E6-B224-41CD-B4E0-E297462320DD}" dt="2023-11-24T08:51:08.861" v="86638"/>
          <ac:spMkLst>
            <pc:docMk/>
            <pc:sldMk cId="1966364550" sldId="2147473979"/>
            <ac:spMk id="566" creationId="{B9340243-5B5E-69F1-CF15-C9EB0ED34D90}"/>
          </ac:spMkLst>
        </pc:spChg>
        <pc:spChg chg="add del mod">
          <ac:chgData name="Steiner Andreas 6206 ED" userId="e6377c33-a923-4f14-8587-531c474c7b48" providerId="ADAL" clId="{6ECD27E6-B224-41CD-B4E0-E297462320DD}" dt="2023-11-24T08:51:10.880" v="86793"/>
          <ac:spMkLst>
            <pc:docMk/>
            <pc:sldMk cId="1966364550" sldId="2147473979"/>
            <ac:spMk id="567" creationId="{5989E29F-FCC7-EA2C-7E1F-60432C7D82EF}"/>
          </ac:spMkLst>
        </pc:spChg>
        <pc:spChg chg="add del mod">
          <ac:chgData name="Steiner Andreas 6206 ED" userId="e6377c33-a923-4f14-8587-531c474c7b48" providerId="ADAL" clId="{6ECD27E6-B224-41CD-B4E0-E297462320DD}" dt="2023-11-24T08:51:12.795" v="86948"/>
          <ac:spMkLst>
            <pc:docMk/>
            <pc:sldMk cId="1966364550" sldId="2147473979"/>
            <ac:spMk id="568" creationId="{6320DF7E-1204-48B0-C911-C479CFD4DA0C}"/>
          </ac:spMkLst>
        </pc:spChg>
        <pc:spChg chg="add del mod">
          <ac:chgData name="Steiner Andreas 6206 ED" userId="e6377c33-a923-4f14-8587-531c474c7b48" providerId="ADAL" clId="{6ECD27E6-B224-41CD-B4E0-E297462320DD}" dt="2023-11-24T08:51:14.989" v="87103"/>
          <ac:spMkLst>
            <pc:docMk/>
            <pc:sldMk cId="1966364550" sldId="2147473979"/>
            <ac:spMk id="569" creationId="{B5106AF5-6C3B-4054-F7A3-53C350C303BA}"/>
          </ac:spMkLst>
        </pc:spChg>
        <pc:spChg chg="add del mod">
          <ac:chgData name="Steiner Andreas 6206 ED" userId="e6377c33-a923-4f14-8587-531c474c7b48" providerId="ADAL" clId="{6ECD27E6-B224-41CD-B4E0-E297462320DD}" dt="2023-11-24T08:51:17.054" v="87258"/>
          <ac:spMkLst>
            <pc:docMk/>
            <pc:sldMk cId="1966364550" sldId="2147473979"/>
            <ac:spMk id="570" creationId="{12CB53FD-BD91-5A75-0334-68CF12C334CB}"/>
          </ac:spMkLst>
        </pc:spChg>
        <pc:spChg chg="add del mod">
          <ac:chgData name="Steiner Andreas 6206 ED" userId="e6377c33-a923-4f14-8587-531c474c7b48" providerId="ADAL" clId="{6ECD27E6-B224-41CD-B4E0-E297462320DD}" dt="2023-11-24T08:51:18.979" v="87413"/>
          <ac:spMkLst>
            <pc:docMk/>
            <pc:sldMk cId="1966364550" sldId="2147473979"/>
            <ac:spMk id="571" creationId="{30BF8535-BC1C-47DA-D36B-7BF5B231DDB0}"/>
          </ac:spMkLst>
        </pc:spChg>
        <pc:spChg chg="add del mod">
          <ac:chgData name="Steiner Andreas 6206 ED" userId="e6377c33-a923-4f14-8587-531c474c7b48" providerId="ADAL" clId="{6ECD27E6-B224-41CD-B4E0-E297462320DD}" dt="2023-11-24T08:51:21.055" v="87568"/>
          <ac:spMkLst>
            <pc:docMk/>
            <pc:sldMk cId="1966364550" sldId="2147473979"/>
            <ac:spMk id="572" creationId="{DE8D44A7-C281-39C1-F118-A3292981A8FB}"/>
          </ac:spMkLst>
        </pc:spChg>
        <pc:spChg chg="add del mod">
          <ac:chgData name="Steiner Andreas 6206 ED" userId="e6377c33-a923-4f14-8587-531c474c7b48" providerId="ADAL" clId="{6ECD27E6-B224-41CD-B4E0-E297462320DD}" dt="2023-11-24T08:51:22.996" v="87723"/>
          <ac:spMkLst>
            <pc:docMk/>
            <pc:sldMk cId="1966364550" sldId="2147473979"/>
            <ac:spMk id="573" creationId="{B15A6EB0-A097-0A78-CE9E-60935D525168}"/>
          </ac:spMkLst>
        </pc:spChg>
        <pc:spChg chg="add del mod">
          <ac:chgData name="Steiner Andreas 6206 ED" userId="e6377c33-a923-4f14-8587-531c474c7b48" providerId="ADAL" clId="{6ECD27E6-B224-41CD-B4E0-E297462320DD}" dt="2023-11-24T08:51:24.887" v="87878"/>
          <ac:spMkLst>
            <pc:docMk/>
            <pc:sldMk cId="1966364550" sldId="2147473979"/>
            <ac:spMk id="574" creationId="{2FA20699-8F43-4004-AF3A-CEA280CEBC88}"/>
          </ac:spMkLst>
        </pc:spChg>
        <pc:spChg chg="add del mod">
          <ac:chgData name="Steiner Andreas 6206 ED" userId="e6377c33-a923-4f14-8587-531c474c7b48" providerId="ADAL" clId="{6ECD27E6-B224-41CD-B4E0-E297462320DD}" dt="2023-11-24T08:51:26.770" v="88033"/>
          <ac:spMkLst>
            <pc:docMk/>
            <pc:sldMk cId="1966364550" sldId="2147473979"/>
            <ac:spMk id="575" creationId="{222E0889-1F29-C52B-CE89-5CBD9893E197}"/>
          </ac:spMkLst>
        </pc:spChg>
        <pc:spChg chg="add del mod">
          <ac:chgData name="Steiner Andreas 6206 ED" userId="e6377c33-a923-4f14-8587-531c474c7b48" providerId="ADAL" clId="{6ECD27E6-B224-41CD-B4E0-E297462320DD}" dt="2023-11-24T08:51:28.678" v="88188"/>
          <ac:spMkLst>
            <pc:docMk/>
            <pc:sldMk cId="1966364550" sldId="2147473979"/>
            <ac:spMk id="576" creationId="{406EB856-4B79-3440-6F55-BCE98894E80A}"/>
          </ac:spMkLst>
        </pc:spChg>
        <pc:spChg chg="add del mod">
          <ac:chgData name="Steiner Andreas 6206 ED" userId="e6377c33-a923-4f14-8587-531c474c7b48" providerId="ADAL" clId="{6ECD27E6-B224-41CD-B4E0-E297462320DD}" dt="2023-11-24T08:51:30.679" v="88343"/>
          <ac:spMkLst>
            <pc:docMk/>
            <pc:sldMk cId="1966364550" sldId="2147473979"/>
            <ac:spMk id="577" creationId="{04D8ADD5-53F3-31D6-B61E-1682E2C2854D}"/>
          </ac:spMkLst>
        </pc:spChg>
        <pc:spChg chg="add del mod">
          <ac:chgData name="Steiner Andreas 6206 ED" userId="e6377c33-a923-4f14-8587-531c474c7b48" providerId="ADAL" clId="{6ECD27E6-B224-41CD-B4E0-E297462320DD}" dt="2023-11-24T08:51:32.825" v="88498"/>
          <ac:spMkLst>
            <pc:docMk/>
            <pc:sldMk cId="1966364550" sldId="2147473979"/>
            <ac:spMk id="578" creationId="{3728B450-B89B-B578-76E6-E4A3C012B2E2}"/>
          </ac:spMkLst>
        </pc:spChg>
        <pc:spChg chg="add del mod">
          <ac:chgData name="Steiner Andreas 6206 ED" userId="e6377c33-a923-4f14-8587-531c474c7b48" providerId="ADAL" clId="{6ECD27E6-B224-41CD-B4E0-E297462320DD}" dt="2023-11-24T08:51:34.773" v="88653"/>
          <ac:spMkLst>
            <pc:docMk/>
            <pc:sldMk cId="1966364550" sldId="2147473979"/>
            <ac:spMk id="579" creationId="{5C8D9B44-AE0B-8E50-D3DA-E23809B677A9}"/>
          </ac:spMkLst>
        </pc:spChg>
        <pc:spChg chg="add del mod">
          <ac:chgData name="Steiner Andreas 6206 ED" userId="e6377c33-a923-4f14-8587-531c474c7b48" providerId="ADAL" clId="{6ECD27E6-B224-41CD-B4E0-E297462320DD}" dt="2023-11-24T08:51:36.651" v="88808"/>
          <ac:spMkLst>
            <pc:docMk/>
            <pc:sldMk cId="1966364550" sldId="2147473979"/>
            <ac:spMk id="580" creationId="{F54BC144-30BE-0827-470D-677CF125ACA7}"/>
          </ac:spMkLst>
        </pc:spChg>
        <pc:spChg chg="add del mod">
          <ac:chgData name="Steiner Andreas 6206 ED" userId="e6377c33-a923-4f14-8587-531c474c7b48" providerId="ADAL" clId="{6ECD27E6-B224-41CD-B4E0-E297462320DD}" dt="2023-11-24T08:51:38.604" v="88963"/>
          <ac:spMkLst>
            <pc:docMk/>
            <pc:sldMk cId="1966364550" sldId="2147473979"/>
            <ac:spMk id="581" creationId="{E54D8DC7-E3BE-4485-BE7A-A65DE287840A}"/>
          </ac:spMkLst>
        </pc:spChg>
        <pc:spChg chg="add del mod">
          <ac:chgData name="Steiner Andreas 6206 ED" userId="e6377c33-a923-4f14-8587-531c474c7b48" providerId="ADAL" clId="{6ECD27E6-B224-41CD-B4E0-E297462320DD}" dt="2023-11-24T08:51:40.539" v="89118"/>
          <ac:spMkLst>
            <pc:docMk/>
            <pc:sldMk cId="1966364550" sldId="2147473979"/>
            <ac:spMk id="582" creationId="{6E96E046-F5B8-67A0-86B3-9A4EBCD009E5}"/>
          </ac:spMkLst>
        </pc:spChg>
        <pc:spChg chg="add del mod">
          <ac:chgData name="Steiner Andreas 6206 ED" userId="e6377c33-a923-4f14-8587-531c474c7b48" providerId="ADAL" clId="{6ECD27E6-B224-41CD-B4E0-E297462320DD}" dt="2023-11-24T08:51:42.549" v="89273"/>
          <ac:spMkLst>
            <pc:docMk/>
            <pc:sldMk cId="1966364550" sldId="2147473979"/>
            <ac:spMk id="583" creationId="{AA713495-7729-6DDE-4A66-068B15671A09}"/>
          </ac:spMkLst>
        </pc:spChg>
        <pc:spChg chg="add del mod">
          <ac:chgData name="Steiner Andreas 6206 ED" userId="e6377c33-a923-4f14-8587-531c474c7b48" providerId="ADAL" clId="{6ECD27E6-B224-41CD-B4E0-E297462320DD}" dt="2023-11-24T08:51:44.655" v="89428"/>
          <ac:spMkLst>
            <pc:docMk/>
            <pc:sldMk cId="1966364550" sldId="2147473979"/>
            <ac:spMk id="584" creationId="{06A1C6F7-2FBC-8C1B-FED4-2BB182551441}"/>
          </ac:spMkLst>
        </pc:spChg>
        <pc:spChg chg="add del mod">
          <ac:chgData name="Steiner Andreas 6206 ED" userId="e6377c33-a923-4f14-8587-531c474c7b48" providerId="ADAL" clId="{6ECD27E6-B224-41CD-B4E0-E297462320DD}" dt="2023-11-24T08:51:46.602" v="89583"/>
          <ac:spMkLst>
            <pc:docMk/>
            <pc:sldMk cId="1966364550" sldId="2147473979"/>
            <ac:spMk id="585" creationId="{9B738D6B-7595-4A50-4325-BC2423A24EBA}"/>
          </ac:spMkLst>
        </pc:spChg>
        <pc:spChg chg="add del mod">
          <ac:chgData name="Steiner Andreas 6206 ED" userId="e6377c33-a923-4f14-8587-531c474c7b48" providerId="ADAL" clId="{6ECD27E6-B224-41CD-B4E0-E297462320DD}" dt="2023-11-24T08:51:48.485" v="89738"/>
          <ac:spMkLst>
            <pc:docMk/>
            <pc:sldMk cId="1966364550" sldId="2147473979"/>
            <ac:spMk id="586" creationId="{3AE05954-D31C-C57B-5503-2DD39C224974}"/>
          </ac:spMkLst>
        </pc:spChg>
        <pc:spChg chg="add del mod">
          <ac:chgData name="Steiner Andreas 6206 ED" userId="e6377c33-a923-4f14-8587-531c474c7b48" providerId="ADAL" clId="{6ECD27E6-B224-41CD-B4E0-E297462320DD}" dt="2023-11-24T08:51:50.428" v="89893"/>
          <ac:spMkLst>
            <pc:docMk/>
            <pc:sldMk cId="1966364550" sldId="2147473979"/>
            <ac:spMk id="587" creationId="{63FAE0DA-1997-C840-CBE8-20517C650DCE}"/>
          </ac:spMkLst>
        </pc:spChg>
        <pc:spChg chg="add del mod">
          <ac:chgData name="Steiner Andreas 6206 ED" userId="e6377c33-a923-4f14-8587-531c474c7b48" providerId="ADAL" clId="{6ECD27E6-B224-41CD-B4E0-E297462320DD}" dt="2023-11-24T08:51:52.323" v="90048"/>
          <ac:spMkLst>
            <pc:docMk/>
            <pc:sldMk cId="1966364550" sldId="2147473979"/>
            <ac:spMk id="588" creationId="{A8A7D16E-0792-8A8E-01CD-76F45D3E620D}"/>
          </ac:spMkLst>
        </pc:spChg>
        <pc:spChg chg="add del mod">
          <ac:chgData name="Steiner Andreas 6206 ED" userId="e6377c33-a923-4f14-8587-531c474c7b48" providerId="ADAL" clId="{6ECD27E6-B224-41CD-B4E0-E297462320DD}" dt="2023-11-24T08:51:54.329" v="90203"/>
          <ac:spMkLst>
            <pc:docMk/>
            <pc:sldMk cId="1966364550" sldId="2147473979"/>
            <ac:spMk id="589" creationId="{74F4B376-4189-6ED8-A304-8CCCB019D3D7}"/>
          </ac:spMkLst>
        </pc:spChg>
        <pc:spChg chg="add del mod">
          <ac:chgData name="Steiner Andreas 6206 ED" userId="e6377c33-a923-4f14-8587-531c474c7b48" providerId="ADAL" clId="{6ECD27E6-B224-41CD-B4E0-E297462320DD}" dt="2023-11-24T08:51:56.298" v="90358"/>
          <ac:spMkLst>
            <pc:docMk/>
            <pc:sldMk cId="1966364550" sldId="2147473979"/>
            <ac:spMk id="590" creationId="{839AA6DE-4DEF-38B6-CB1C-26D18AF1E238}"/>
          </ac:spMkLst>
        </pc:spChg>
        <pc:spChg chg="add del mod">
          <ac:chgData name="Steiner Andreas 6206 ED" userId="e6377c33-a923-4f14-8587-531c474c7b48" providerId="ADAL" clId="{6ECD27E6-B224-41CD-B4E0-E297462320DD}" dt="2023-11-24T08:51:58.230" v="90513"/>
          <ac:spMkLst>
            <pc:docMk/>
            <pc:sldMk cId="1966364550" sldId="2147473979"/>
            <ac:spMk id="591" creationId="{A910B3C1-B944-428C-A75B-D5CC9E38D229}"/>
          </ac:spMkLst>
        </pc:spChg>
        <pc:spChg chg="add del mod">
          <ac:chgData name="Steiner Andreas 6206 ED" userId="e6377c33-a923-4f14-8587-531c474c7b48" providerId="ADAL" clId="{6ECD27E6-B224-41CD-B4E0-E297462320DD}" dt="2023-11-24T08:52:00.369" v="90668"/>
          <ac:spMkLst>
            <pc:docMk/>
            <pc:sldMk cId="1966364550" sldId="2147473979"/>
            <ac:spMk id="592" creationId="{49BA959F-B22A-CF19-8922-680F0A26D5C1}"/>
          </ac:spMkLst>
        </pc:spChg>
        <pc:spChg chg="add del mod">
          <ac:chgData name="Steiner Andreas 6206 ED" userId="e6377c33-a923-4f14-8587-531c474c7b48" providerId="ADAL" clId="{6ECD27E6-B224-41CD-B4E0-E297462320DD}" dt="2023-11-24T08:52:02.322" v="90823"/>
          <ac:spMkLst>
            <pc:docMk/>
            <pc:sldMk cId="1966364550" sldId="2147473979"/>
            <ac:spMk id="593" creationId="{E5BEDEDD-8DBE-EA03-21F3-D35A1F36379E}"/>
          </ac:spMkLst>
        </pc:spChg>
        <pc:spChg chg="add del mod">
          <ac:chgData name="Steiner Andreas 6206 ED" userId="e6377c33-a923-4f14-8587-531c474c7b48" providerId="ADAL" clId="{6ECD27E6-B224-41CD-B4E0-E297462320DD}" dt="2023-11-24T08:52:04.228" v="90978"/>
          <ac:spMkLst>
            <pc:docMk/>
            <pc:sldMk cId="1966364550" sldId="2147473979"/>
            <ac:spMk id="594" creationId="{F13AA5CD-7BE7-A006-8AD2-E18C1FD67B15}"/>
          </ac:spMkLst>
        </pc:spChg>
        <pc:spChg chg="add del mod">
          <ac:chgData name="Steiner Andreas 6206 ED" userId="e6377c33-a923-4f14-8587-531c474c7b48" providerId="ADAL" clId="{6ECD27E6-B224-41CD-B4E0-E297462320DD}" dt="2023-11-24T08:52:06.460" v="91133"/>
          <ac:spMkLst>
            <pc:docMk/>
            <pc:sldMk cId="1966364550" sldId="2147473979"/>
            <ac:spMk id="595" creationId="{8AC6C9AD-3B13-D811-8F8A-901B6BFCC589}"/>
          </ac:spMkLst>
        </pc:spChg>
        <pc:spChg chg="add del mod">
          <ac:chgData name="Steiner Andreas 6206 ED" userId="e6377c33-a923-4f14-8587-531c474c7b48" providerId="ADAL" clId="{6ECD27E6-B224-41CD-B4E0-E297462320DD}" dt="2023-11-24T08:52:08.399" v="91288"/>
          <ac:spMkLst>
            <pc:docMk/>
            <pc:sldMk cId="1966364550" sldId="2147473979"/>
            <ac:spMk id="596" creationId="{61621076-C9F6-71A9-6AB4-94D7B95EC75F}"/>
          </ac:spMkLst>
        </pc:spChg>
        <pc:spChg chg="add del mod">
          <ac:chgData name="Steiner Andreas 6206 ED" userId="e6377c33-a923-4f14-8587-531c474c7b48" providerId="ADAL" clId="{6ECD27E6-B224-41CD-B4E0-E297462320DD}" dt="2023-11-24T08:52:10.280" v="91443"/>
          <ac:spMkLst>
            <pc:docMk/>
            <pc:sldMk cId="1966364550" sldId="2147473979"/>
            <ac:spMk id="597" creationId="{11D19ED0-D38E-2E7C-8B0C-2FBA709924A1}"/>
          </ac:spMkLst>
        </pc:spChg>
        <pc:spChg chg="add del mod">
          <ac:chgData name="Steiner Andreas 6206 ED" userId="e6377c33-a923-4f14-8587-531c474c7b48" providerId="ADAL" clId="{6ECD27E6-B224-41CD-B4E0-E297462320DD}" dt="2023-11-24T08:52:12.124" v="91598"/>
          <ac:spMkLst>
            <pc:docMk/>
            <pc:sldMk cId="1966364550" sldId="2147473979"/>
            <ac:spMk id="598" creationId="{45B425D8-F25F-3ADA-0111-4CDAC25CB51D}"/>
          </ac:spMkLst>
        </pc:spChg>
        <pc:spChg chg="add del mod">
          <ac:chgData name="Steiner Andreas 6206 ED" userId="e6377c33-a923-4f14-8587-531c474c7b48" providerId="ADAL" clId="{6ECD27E6-B224-41CD-B4E0-E297462320DD}" dt="2023-11-24T08:52:14.073" v="91753"/>
          <ac:spMkLst>
            <pc:docMk/>
            <pc:sldMk cId="1966364550" sldId="2147473979"/>
            <ac:spMk id="599" creationId="{23452745-C98A-C7B9-7F07-85F8CFB2F0C8}"/>
          </ac:spMkLst>
        </pc:spChg>
        <pc:spChg chg="add del mod">
          <ac:chgData name="Steiner Andreas 6206 ED" userId="e6377c33-a923-4f14-8587-531c474c7b48" providerId="ADAL" clId="{6ECD27E6-B224-41CD-B4E0-E297462320DD}" dt="2023-11-24T08:52:15.991" v="91908"/>
          <ac:spMkLst>
            <pc:docMk/>
            <pc:sldMk cId="1966364550" sldId="2147473979"/>
            <ac:spMk id="600" creationId="{9A2C0BC6-4F91-00B6-5BD6-97C393972967}"/>
          </ac:spMkLst>
        </pc:spChg>
        <pc:spChg chg="add del mod">
          <ac:chgData name="Steiner Andreas 6206 ED" userId="e6377c33-a923-4f14-8587-531c474c7b48" providerId="ADAL" clId="{6ECD27E6-B224-41CD-B4E0-E297462320DD}" dt="2023-11-24T08:52:18.144" v="92063"/>
          <ac:spMkLst>
            <pc:docMk/>
            <pc:sldMk cId="1966364550" sldId="2147473979"/>
            <ac:spMk id="601" creationId="{5CE69B47-A312-3AD5-B4C4-417CA8A8AA55}"/>
          </ac:spMkLst>
        </pc:spChg>
        <pc:spChg chg="add del mod">
          <ac:chgData name="Steiner Andreas 6206 ED" userId="e6377c33-a923-4f14-8587-531c474c7b48" providerId="ADAL" clId="{6ECD27E6-B224-41CD-B4E0-E297462320DD}" dt="2023-11-24T08:52:20.105" v="92218"/>
          <ac:spMkLst>
            <pc:docMk/>
            <pc:sldMk cId="1966364550" sldId="2147473979"/>
            <ac:spMk id="602" creationId="{78E16A4C-564A-872D-0C2A-9E7A060BCC33}"/>
          </ac:spMkLst>
        </pc:spChg>
        <pc:spChg chg="add del mod">
          <ac:chgData name="Steiner Andreas 6206 ED" userId="e6377c33-a923-4f14-8587-531c474c7b48" providerId="ADAL" clId="{6ECD27E6-B224-41CD-B4E0-E297462320DD}" dt="2023-11-24T08:52:21.956" v="92373"/>
          <ac:spMkLst>
            <pc:docMk/>
            <pc:sldMk cId="1966364550" sldId="2147473979"/>
            <ac:spMk id="603" creationId="{6EE74546-A173-DFC4-EBB2-0D2A8B175E00}"/>
          </ac:spMkLst>
        </pc:spChg>
        <pc:spChg chg="add del mod">
          <ac:chgData name="Steiner Andreas 6206 ED" userId="e6377c33-a923-4f14-8587-531c474c7b48" providerId="ADAL" clId="{6ECD27E6-B224-41CD-B4E0-E297462320DD}" dt="2023-11-24T08:52:24.006" v="92528"/>
          <ac:spMkLst>
            <pc:docMk/>
            <pc:sldMk cId="1966364550" sldId="2147473979"/>
            <ac:spMk id="604" creationId="{81C069D2-E72C-FF0F-8D9A-827B8AEB8B5C}"/>
          </ac:spMkLst>
        </pc:spChg>
        <pc:spChg chg="add del mod">
          <ac:chgData name="Steiner Andreas 6206 ED" userId="e6377c33-a923-4f14-8587-531c474c7b48" providerId="ADAL" clId="{6ECD27E6-B224-41CD-B4E0-E297462320DD}" dt="2023-11-24T08:52:25.865" v="92683"/>
          <ac:spMkLst>
            <pc:docMk/>
            <pc:sldMk cId="1966364550" sldId="2147473979"/>
            <ac:spMk id="605" creationId="{0006A8BB-DBFD-1509-2281-95074311ED3D}"/>
          </ac:spMkLst>
        </pc:spChg>
        <pc:spChg chg="add del mod">
          <ac:chgData name="Steiner Andreas 6206 ED" userId="e6377c33-a923-4f14-8587-531c474c7b48" providerId="ADAL" clId="{6ECD27E6-B224-41CD-B4E0-E297462320DD}" dt="2023-11-24T08:52:27.755" v="92838"/>
          <ac:spMkLst>
            <pc:docMk/>
            <pc:sldMk cId="1966364550" sldId="2147473979"/>
            <ac:spMk id="606" creationId="{0022FA59-8363-6981-F62E-06A54B3FB364}"/>
          </ac:spMkLst>
        </pc:spChg>
        <pc:spChg chg="add del mod">
          <ac:chgData name="Steiner Andreas 6206 ED" userId="e6377c33-a923-4f14-8587-531c474c7b48" providerId="ADAL" clId="{6ECD27E6-B224-41CD-B4E0-E297462320DD}" dt="2023-11-24T08:52:29.860" v="92993"/>
          <ac:spMkLst>
            <pc:docMk/>
            <pc:sldMk cId="1966364550" sldId="2147473979"/>
            <ac:spMk id="607" creationId="{92D0D9A3-6AED-3926-A521-2C87AD58FC21}"/>
          </ac:spMkLst>
        </pc:spChg>
        <pc:spChg chg="add del mod">
          <ac:chgData name="Steiner Andreas 6206 ED" userId="e6377c33-a923-4f14-8587-531c474c7b48" providerId="ADAL" clId="{6ECD27E6-B224-41CD-B4E0-E297462320DD}" dt="2023-11-24T08:52:31.774" v="93148"/>
          <ac:spMkLst>
            <pc:docMk/>
            <pc:sldMk cId="1966364550" sldId="2147473979"/>
            <ac:spMk id="608" creationId="{13F0CA1D-7AE6-9C48-D41C-5FE46054F7A0}"/>
          </ac:spMkLst>
        </pc:spChg>
        <pc:spChg chg="add del mod">
          <ac:chgData name="Steiner Andreas 6206 ED" userId="e6377c33-a923-4f14-8587-531c474c7b48" providerId="ADAL" clId="{6ECD27E6-B224-41CD-B4E0-E297462320DD}" dt="2023-11-24T08:52:33.684" v="93303"/>
          <ac:spMkLst>
            <pc:docMk/>
            <pc:sldMk cId="1966364550" sldId="2147473979"/>
            <ac:spMk id="609" creationId="{6188B773-D4AB-53F4-EC58-0ABAC3BCD590}"/>
          </ac:spMkLst>
        </pc:spChg>
        <pc:spChg chg="add del mod">
          <ac:chgData name="Steiner Andreas 6206 ED" userId="e6377c33-a923-4f14-8587-531c474c7b48" providerId="ADAL" clId="{6ECD27E6-B224-41CD-B4E0-E297462320DD}" dt="2023-11-24T08:52:35.603" v="93458"/>
          <ac:spMkLst>
            <pc:docMk/>
            <pc:sldMk cId="1966364550" sldId="2147473979"/>
            <ac:spMk id="610" creationId="{8E832828-EA60-5F98-F8DA-21DD04234900}"/>
          </ac:spMkLst>
        </pc:spChg>
        <pc:spChg chg="add del mod">
          <ac:chgData name="Steiner Andreas 6206 ED" userId="e6377c33-a923-4f14-8587-531c474c7b48" providerId="ADAL" clId="{6ECD27E6-B224-41CD-B4E0-E297462320DD}" dt="2023-11-24T08:52:37.517" v="93613"/>
          <ac:spMkLst>
            <pc:docMk/>
            <pc:sldMk cId="1966364550" sldId="2147473979"/>
            <ac:spMk id="611" creationId="{5837ED20-F838-7AE3-E8E8-C197E07656E5}"/>
          </ac:spMkLst>
        </pc:spChg>
        <pc:spChg chg="add del mod">
          <ac:chgData name="Steiner Andreas 6206 ED" userId="e6377c33-a923-4f14-8587-531c474c7b48" providerId="ADAL" clId="{6ECD27E6-B224-41CD-B4E0-E297462320DD}" dt="2023-11-24T08:52:39.454" v="93768"/>
          <ac:spMkLst>
            <pc:docMk/>
            <pc:sldMk cId="1966364550" sldId="2147473979"/>
            <ac:spMk id="612" creationId="{EA004E82-FB5A-11AE-1237-11D8148D378E}"/>
          </ac:spMkLst>
        </pc:spChg>
        <pc:spChg chg="add del mod">
          <ac:chgData name="Steiner Andreas 6206 ED" userId="e6377c33-a923-4f14-8587-531c474c7b48" providerId="ADAL" clId="{6ECD27E6-B224-41CD-B4E0-E297462320DD}" dt="2023-11-24T08:52:41.501" v="93923"/>
          <ac:spMkLst>
            <pc:docMk/>
            <pc:sldMk cId="1966364550" sldId="2147473979"/>
            <ac:spMk id="613" creationId="{CF95634F-CCF7-05ED-11EF-9BF8F1667026}"/>
          </ac:spMkLst>
        </pc:spChg>
        <pc:spChg chg="add del mod">
          <ac:chgData name="Steiner Andreas 6206 ED" userId="e6377c33-a923-4f14-8587-531c474c7b48" providerId="ADAL" clId="{6ECD27E6-B224-41CD-B4E0-E297462320DD}" dt="2023-11-24T08:52:43.427" v="94078"/>
          <ac:spMkLst>
            <pc:docMk/>
            <pc:sldMk cId="1966364550" sldId="2147473979"/>
            <ac:spMk id="614" creationId="{C541A003-6D22-E6CC-B984-9D83BACFF62A}"/>
          </ac:spMkLst>
        </pc:spChg>
        <pc:spChg chg="add del mod">
          <ac:chgData name="Steiner Andreas 6206 ED" userId="e6377c33-a923-4f14-8587-531c474c7b48" providerId="ADAL" clId="{6ECD27E6-B224-41CD-B4E0-E297462320DD}" dt="2023-11-24T08:52:45.369" v="94233"/>
          <ac:spMkLst>
            <pc:docMk/>
            <pc:sldMk cId="1966364550" sldId="2147473979"/>
            <ac:spMk id="615" creationId="{1EC84331-BBF4-F7EF-18F3-3474055F5386}"/>
          </ac:spMkLst>
        </pc:spChg>
        <pc:spChg chg="add del mod">
          <ac:chgData name="Steiner Andreas 6206 ED" userId="e6377c33-a923-4f14-8587-531c474c7b48" providerId="ADAL" clId="{6ECD27E6-B224-41CD-B4E0-E297462320DD}" dt="2023-11-24T08:52:47.337" v="94388"/>
          <ac:spMkLst>
            <pc:docMk/>
            <pc:sldMk cId="1966364550" sldId="2147473979"/>
            <ac:spMk id="616" creationId="{2CF5E0C4-D18B-FD01-2769-0927F7F694FE}"/>
          </ac:spMkLst>
        </pc:spChg>
        <pc:spChg chg="add del mod">
          <ac:chgData name="Steiner Andreas 6206 ED" userId="e6377c33-a923-4f14-8587-531c474c7b48" providerId="ADAL" clId="{6ECD27E6-B224-41CD-B4E0-E297462320DD}" dt="2023-11-24T08:52:49.424" v="94543"/>
          <ac:spMkLst>
            <pc:docMk/>
            <pc:sldMk cId="1966364550" sldId="2147473979"/>
            <ac:spMk id="617" creationId="{F90E2F64-93A5-67FC-D699-262786A05559}"/>
          </ac:spMkLst>
        </pc:spChg>
        <pc:spChg chg="add del mod">
          <ac:chgData name="Steiner Andreas 6206 ED" userId="e6377c33-a923-4f14-8587-531c474c7b48" providerId="ADAL" clId="{6ECD27E6-B224-41CD-B4E0-E297462320DD}" dt="2023-11-24T08:52:51.609" v="94698"/>
          <ac:spMkLst>
            <pc:docMk/>
            <pc:sldMk cId="1966364550" sldId="2147473979"/>
            <ac:spMk id="618" creationId="{57A85973-A870-FBA0-02BB-BFF233E292A8}"/>
          </ac:spMkLst>
        </pc:spChg>
        <pc:spChg chg="add del mod">
          <ac:chgData name="Steiner Andreas 6206 ED" userId="e6377c33-a923-4f14-8587-531c474c7b48" providerId="ADAL" clId="{6ECD27E6-B224-41CD-B4E0-E297462320DD}" dt="2023-11-24T08:52:53.552" v="94853"/>
          <ac:spMkLst>
            <pc:docMk/>
            <pc:sldMk cId="1966364550" sldId="2147473979"/>
            <ac:spMk id="619" creationId="{B55598CD-0A32-F5FC-9FFC-93007222A031}"/>
          </ac:spMkLst>
        </pc:spChg>
        <pc:spChg chg="add del mod">
          <ac:chgData name="Steiner Andreas 6206 ED" userId="e6377c33-a923-4f14-8587-531c474c7b48" providerId="ADAL" clId="{6ECD27E6-B224-41CD-B4E0-E297462320DD}" dt="2023-11-24T08:52:55.492" v="95008"/>
          <ac:spMkLst>
            <pc:docMk/>
            <pc:sldMk cId="1966364550" sldId="2147473979"/>
            <ac:spMk id="620" creationId="{0E1DF6B9-F9F4-EE3B-EA71-7A37C5FF432B}"/>
          </ac:spMkLst>
        </pc:spChg>
        <pc:spChg chg="add del mod">
          <ac:chgData name="Steiner Andreas 6206 ED" userId="e6377c33-a923-4f14-8587-531c474c7b48" providerId="ADAL" clId="{6ECD27E6-B224-41CD-B4E0-E297462320DD}" dt="2023-11-24T08:52:57.515" v="95163"/>
          <ac:spMkLst>
            <pc:docMk/>
            <pc:sldMk cId="1966364550" sldId="2147473979"/>
            <ac:spMk id="621" creationId="{BA7CC4C1-5103-E9A4-03D2-C88AE8C2A8DF}"/>
          </ac:spMkLst>
        </pc:spChg>
        <pc:spChg chg="add del mod">
          <ac:chgData name="Steiner Andreas 6206 ED" userId="e6377c33-a923-4f14-8587-531c474c7b48" providerId="ADAL" clId="{6ECD27E6-B224-41CD-B4E0-E297462320DD}" dt="2023-11-24T08:52:59.485" v="95318"/>
          <ac:spMkLst>
            <pc:docMk/>
            <pc:sldMk cId="1966364550" sldId="2147473979"/>
            <ac:spMk id="622" creationId="{AC956203-CB53-77D6-7940-043E6E926644}"/>
          </ac:spMkLst>
        </pc:spChg>
        <pc:spChg chg="add del mod">
          <ac:chgData name="Steiner Andreas 6206 ED" userId="e6377c33-a923-4f14-8587-531c474c7b48" providerId="ADAL" clId="{6ECD27E6-B224-41CD-B4E0-E297462320DD}" dt="2023-11-24T08:53:01.494" v="95473"/>
          <ac:spMkLst>
            <pc:docMk/>
            <pc:sldMk cId="1966364550" sldId="2147473979"/>
            <ac:spMk id="623" creationId="{A885D8F7-E482-7FBA-FED3-4A6B4DBA0D7F}"/>
          </ac:spMkLst>
        </pc:spChg>
        <pc:spChg chg="add del mod">
          <ac:chgData name="Steiner Andreas 6206 ED" userId="e6377c33-a923-4f14-8587-531c474c7b48" providerId="ADAL" clId="{6ECD27E6-B224-41CD-B4E0-E297462320DD}" dt="2023-11-24T08:53:03.607" v="95628"/>
          <ac:spMkLst>
            <pc:docMk/>
            <pc:sldMk cId="1966364550" sldId="2147473979"/>
            <ac:spMk id="624" creationId="{D669AA19-81ED-2078-47EF-19A86FBEECDA}"/>
          </ac:spMkLst>
        </pc:spChg>
        <pc:spChg chg="add del mod">
          <ac:chgData name="Steiner Andreas 6206 ED" userId="e6377c33-a923-4f14-8587-531c474c7b48" providerId="ADAL" clId="{6ECD27E6-B224-41CD-B4E0-E297462320DD}" dt="2023-11-24T08:53:05.547" v="95783"/>
          <ac:spMkLst>
            <pc:docMk/>
            <pc:sldMk cId="1966364550" sldId="2147473979"/>
            <ac:spMk id="625" creationId="{00D7D8B7-8056-85F8-7B89-1318AC129B7C}"/>
          </ac:spMkLst>
        </pc:spChg>
        <pc:spChg chg="add del mod">
          <ac:chgData name="Steiner Andreas 6206 ED" userId="e6377c33-a923-4f14-8587-531c474c7b48" providerId="ADAL" clId="{6ECD27E6-B224-41CD-B4E0-E297462320DD}" dt="2023-11-24T08:53:07.432" v="95938"/>
          <ac:spMkLst>
            <pc:docMk/>
            <pc:sldMk cId="1966364550" sldId="2147473979"/>
            <ac:spMk id="626" creationId="{9EDA6B32-DDE2-E804-85F8-AB0F7DC237EC}"/>
          </ac:spMkLst>
        </pc:spChg>
        <pc:spChg chg="add del mod">
          <ac:chgData name="Steiner Andreas 6206 ED" userId="e6377c33-a923-4f14-8587-531c474c7b48" providerId="ADAL" clId="{6ECD27E6-B224-41CD-B4E0-E297462320DD}" dt="2023-11-24T08:53:09.371" v="96093"/>
          <ac:spMkLst>
            <pc:docMk/>
            <pc:sldMk cId="1966364550" sldId="2147473979"/>
            <ac:spMk id="627" creationId="{DB7B5D49-B5A0-A36A-DCFD-88221D0D573D}"/>
          </ac:spMkLst>
        </pc:spChg>
        <pc:spChg chg="add del mod">
          <ac:chgData name="Steiner Andreas 6206 ED" userId="e6377c33-a923-4f14-8587-531c474c7b48" providerId="ADAL" clId="{6ECD27E6-B224-41CD-B4E0-E297462320DD}" dt="2023-11-24T08:53:11.322" v="96248"/>
          <ac:spMkLst>
            <pc:docMk/>
            <pc:sldMk cId="1966364550" sldId="2147473979"/>
            <ac:spMk id="628" creationId="{599A253A-71CF-2167-AB14-A14915C9AB2C}"/>
          </ac:spMkLst>
        </pc:spChg>
        <pc:spChg chg="add del mod">
          <ac:chgData name="Steiner Andreas 6206 ED" userId="e6377c33-a923-4f14-8587-531c474c7b48" providerId="ADAL" clId="{6ECD27E6-B224-41CD-B4E0-E297462320DD}" dt="2023-11-24T08:53:13.360" v="96403"/>
          <ac:spMkLst>
            <pc:docMk/>
            <pc:sldMk cId="1966364550" sldId="2147473979"/>
            <ac:spMk id="629" creationId="{AE29F2E5-02B9-5439-5C7F-B261CC4507BB}"/>
          </ac:spMkLst>
        </pc:spChg>
        <pc:spChg chg="add del mod">
          <ac:chgData name="Steiner Andreas 6206 ED" userId="e6377c33-a923-4f14-8587-531c474c7b48" providerId="ADAL" clId="{6ECD27E6-B224-41CD-B4E0-E297462320DD}" dt="2023-11-24T08:53:15.409" v="96558"/>
          <ac:spMkLst>
            <pc:docMk/>
            <pc:sldMk cId="1966364550" sldId="2147473979"/>
            <ac:spMk id="630" creationId="{768E0B11-6094-B699-07F8-21E16B89231D}"/>
          </ac:spMkLst>
        </pc:spChg>
        <pc:spChg chg="add del mod">
          <ac:chgData name="Steiner Andreas 6206 ED" userId="e6377c33-a923-4f14-8587-531c474c7b48" providerId="ADAL" clId="{6ECD27E6-B224-41CD-B4E0-E297462320DD}" dt="2023-11-24T08:53:17.362" v="96713"/>
          <ac:spMkLst>
            <pc:docMk/>
            <pc:sldMk cId="1966364550" sldId="2147473979"/>
            <ac:spMk id="631" creationId="{C655D049-3BC0-FEF6-B06C-DCD4654113B3}"/>
          </ac:spMkLst>
        </pc:spChg>
        <pc:spChg chg="add del mod">
          <ac:chgData name="Steiner Andreas 6206 ED" userId="e6377c33-a923-4f14-8587-531c474c7b48" providerId="ADAL" clId="{6ECD27E6-B224-41CD-B4E0-E297462320DD}" dt="2023-11-24T08:53:19.354" v="96868"/>
          <ac:spMkLst>
            <pc:docMk/>
            <pc:sldMk cId="1966364550" sldId="2147473979"/>
            <ac:spMk id="632" creationId="{9230AE8B-4837-9EFD-7F14-B015B3CEB656}"/>
          </ac:spMkLst>
        </pc:spChg>
        <pc:spChg chg="add del mod">
          <ac:chgData name="Steiner Andreas 6206 ED" userId="e6377c33-a923-4f14-8587-531c474c7b48" providerId="ADAL" clId="{6ECD27E6-B224-41CD-B4E0-E297462320DD}" dt="2023-11-24T08:53:21.295" v="97023"/>
          <ac:spMkLst>
            <pc:docMk/>
            <pc:sldMk cId="1966364550" sldId="2147473979"/>
            <ac:spMk id="633" creationId="{36DBD99E-3826-57A8-883B-1579C18CD99C}"/>
          </ac:spMkLst>
        </pc:spChg>
        <pc:spChg chg="add del mod">
          <ac:chgData name="Steiner Andreas 6206 ED" userId="e6377c33-a923-4f14-8587-531c474c7b48" providerId="ADAL" clId="{6ECD27E6-B224-41CD-B4E0-E297462320DD}" dt="2023-11-24T08:53:23.252" v="97178"/>
          <ac:spMkLst>
            <pc:docMk/>
            <pc:sldMk cId="1966364550" sldId="2147473979"/>
            <ac:spMk id="634" creationId="{6DC87489-B307-E04E-6745-6FFDDE33323B}"/>
          </ac:spMkLst>
        </pc:spChg>
        <pc:spChg chg="add del mod">
          <ac:chgData name="Steiner Andreas 6206 ED" userId="e6377c33-a923-4f14-8587-531c474c7b48" providerId="ADAL" clId="{6ECD27E6-B224-41CD-B4E0-E297462320DD}" dt="2023-11-24T08:53:25.381" v="97333"/>
          <ac:spMkLst>
            <pc:docMk/>
            <pc:sldMk cId="1966364550" sldId="2147473979"/>
            <ac:spMk id="635" creationId="{FA588C05-2CA4-125C-AA17-E2575AF14D80}"/>
          </ac:spMkLst>
        </pc:spChg>
        <pc:spChg chg="add del mod">
          <ac:chgData name="Steiner Andreas 6206 ED" userId="e6377c33-a923-4f14-8587-531c474c7b48" providerId="ADAL" clId="{6ECD27E6-B224-41CD-B4E0-E297462320DD}" dt="2023-11-24T08:53:27.355" v="97488"/>
          <ac:spMkLst>
            <pc:docMk/>
            <pc:sldMk cId="1966364550" sldId="2147473979"/>
            <ac:spMk id="636" creationId="{1CE1AA04-7B99-53CC-3494-5A6B570A94DF}"/>
          </ac:spMkLst>
        </pc:spChg>
        <pc:spChg chg="add del mod">
          <ac:chgData name="Steiner Andreas 6206 ED" userId="e6377c33-a923-4f14-8587-531c474c7b48" providerId="ADAL" clId="{6ECD27E6-B224-41CD-B4E0-E297462320DD}" dt="2023-11-24T08:53:29.249" v="97643"/>
          <ac:spMkLst>
            <pc:docMk/>
            <pc:sldMk cId="1966364550" sldId="2147473979"/>
            <ac:spMk id="637" creationId="{2E261B10-C679-A81D-8DCE-46FE060AD194}"/>
          </ac:spMkLst>
        </pc:spChg>
        <pc:spChg chg="add del mod">
          <ac:chgData name="Steiner Andreas 6206 ED" userId="e6377c33-a923-4f14-8587-531c474c7b48" providerId="ADAL" clId="{6ECD27E6-B224-41CD-B4E0-E297462320DD}" dt="2023-11-24T08:53:31.149" v="97798"/>
          <ac:spMkLst>
            <pc:docMk/>
            <pc:sldMk cId="1966364550" sldId="2147473979"/>
            <ac:spMk id="638" creationId="{B18E006D-C389-8461-7554-BFE2D8F889F9}"/>
          </ac:spMkLst>
        </pc:spChg>
        <pc:spChg chg="add del mod">
          <ac:chgData name="Steiner Andreas 6206 ED" userId="e6377c33-a923-4f14-8587-531c474c7b48" providerId="ADAL" clId="{6ECD27E6-B224-41CD-B4E0-E297462320DD}" dt="2023-11-24T08:53:33.089" v="97953"/>
          <ac:spMkLst>
            <pc:docMk/>
            <pc:sldMk cId="1966364550" sldId="2147473979"/>
            <ac:spMk id="639" creationId="{355D9AA1-E52E-E334-1C5B-6606FC5F89FB}"/>
          </ac:spMkLst>
        </pc:spChg>
        <pc:spChg chg="add del mod">
          <ac:chgData name="Steiner Andreas 6206 ED" userId="e6377c33-a923-4f14-8587-531c474c7b48" providerId="ADAL" clId="{6ECD27E6-B224-41CD-B4E0-E297462320DD}" dt="2023-11-24T08:53:35.008" v="98108"/>
          <ac:spMkLst>
            <pc:docMk/>
            <pc:sldMk cId="1966364550" sldId="2147473979"/>
            <ac:spMk id="640" creationId="{BF2BDD4C-8E8C-B30A-C488-7045142CAAA2}"/>
          </ac:spMkLst>
        </pc:spChg>
        <pc:spChg chg="add del mod">
          <ac:chgData name="Steiner Andreas 6206 ED" userId="e6377c33-a923-4f14-8587-531c474c7b48" providerId="ADAL" clId="{6ECD27E6-B224-41CD-B4E0-E297462320DD}" dt="2023-11-24T08:53:37.132" v="98263"/>
          <ac:spMkLst>
            <pc:docMk/>
            <pc:sldMk cId="1966364550" sldId="2147473979"/>
            <ac:spMk id="641" creationId="{E01933B8-B937-8B93-2561-4F3B0A656C70}"/>
          </ac:spMkLst>
        </pc:spChg>
        <pc:spChg chg="add del mod">
          <ac:chgData name="Steiner Andreas 6206 ED" userId="e6377c33-a923-4f14-8587-531c474c7b48" providerId="ADAL" clId="{6ECD27E6-B224-41CD-B4E0-E297462320DD}" dt="2023-11-24T08:53:39.019" v="98418"/>
          <ac:spMkLst>
            <pc:docMk/>
            <pc:sldMk cId="1966364550" sldId="2147473979"/>
            <ac:spMk id="642" creationId="{43313369-05F0-69AE-4764-1F894929E411}"/>
          </ac:spMkLst>
        </pc:spChg>
        <pc:spChg chg="add del mod">
          <ac:chgData name="Steiner Andreas 6206 ED" userId="e6377c33-a923-4f14-8587-531c474c7b48" providerId="ADAL" clId="{6ECD27E6-B224-41CD-B4E0-E297462320DD}" dt="2023-11-24T08:53:40.969" v="98573"/>
          <ac:spMkLst>
            <pc:docMk/>
            <pc:sldMk cId="1966364550" sldId="2147473979"/>
            <ac:spMk id="643" creationId="{CBCAD1FB-50B5-B324-0ED9-F8F6E7ECA504}"/>
          </ac:spMkLst>
        </pc:spChg>
        <pc:spChg chg="add del mod">
          <ac:chgData name="Steiner Andreas 6206 ED" userId="e6377c33-a923-4f14-8587-531c474c7b48" providerId="ADAL" clId="{6ECD27E6-B224-41CD-B4E0-E297462320DD}" dt="2023-11-24T08:53:42.931" v="98728"/>
          <ac:spMkLst>
            <pc:docMk/>
            <pc:sldMk cId="1966364550" sldId="2147473979"/>
            <ac:spMk id="644" creationId="{D7C1A74A-9ABB-27C8-B501-0B050CD7C094}"/>
          </ac:spMkLst>
        </pc:spChg>
        <pc:spChg chg="add del mod">
          <ac:chgData name="Steiner Andreas 6206 ED" userId="e6377c33-a923-4f14-8587-531c474c7b48" providerId="ADAL" clId="{6ECD27E6-B224-41CD-B4E0-E297462320DD}" dt="2023-11-24T08:53:44.865" v="98883"/>
          <ac:spMkLst>
            <pc:docMk/>
            <pc:sldMk cId="1966364550" sldId="2147473979"/>
            <ac:spMk id="645" creationId="{8AFB8010-6403-B73D-E1FC-632F595881D3}"/>
          </ac:spMkLst>
        </pc:spChg>
        <pc:spChg chg="add del mod">
          <ac:chgData name="Steiner Andreas 6206 ED" userId="e6377c33-a923-4f14-8587-531c474c7b48" providerId="ADAL" clId="{6ECD27E6-B224-41CD-B4E0-E297462320DD}" dt="2023-11-24T08:53:46.831" v="99038"/>
          <ac:spMkLst>
            <pc:docMk/>
            <pc:sldMk cId="1966364550" sldId="2147473979"/>
            <ac:spMk id="646" creationId="{2C8D7E95-82E0-04E1-DAB4-E8933F0BF5B0}"/>
          </ac:spMkLst>
        </pc:spChg>
        <pc:spChg chg="add del mod">
          <ac:chgData name="Steiner Andreas 6206 ED" userId="e6377c33-a923-4f14-8587-531c474c7b48" providerId="ADAL" clId="{6ECD27E6-B224-41CD-B4E0-E297462320DD}" dt="2023-11-24T08:53:48.872" v="99193"/>
          <ac:spMkLst>
            <pc:docMk/>
            <pc:sldMk cId="1966364550" sldId="2147473979"/>
            <ac:spMk id="647" creationId="{39979E72-D6B4-4658-DBE9-B886F87DECC6}"/>
          </ac:spMkLst>
        </pc:spChg>
        <pc:spChg chg="add del mod">
          <ac:chgData name="Steiner Andreas 6206 ED" userId="e6377c33-a923-4f14-8587-531c474c7b48" providerId="ADAL" clId="{6ECD27E6-B224-41CD-B4E0-E297462320DD}" dt="2023-11-24T08:53:50.811" v="99348"/>
          <ac:spMkLst>
            <pc:docMk/>
            <pc:sldMk cId="1966364550" sldId="2147473979"/>
            <ac:spMk id="648" creationId="{E0E6E04C-F14E-7CDA-E77F-F8E06A8E1E5D}"/>
          </ac:spMkLst>
        </pc:spChg>
        <pc:spChg chg="add del mod">
          <ac:chgData name="Steiner Andreas 6206 ED" userId="e6377c33-a923-4f14-8587-531c474c7b48" providerId="ADAL" clId="{6ECD27E6-B224-41CD-B4E0-E297462320DD}" dt="2023-11-24T08:53:52.816" v="99503"/>
          <ac:spMkLst>
            <pc:docMk/>
            <pc:sldMk cId="1966364550" sldId="2147473979"/>
            <ac:spMk id="649" creationId="{A88B3A72-A8C3-617C-E143-43C28178A600}"/>
          </ac:spMkLst>
        </pc:spChg>
        <pc:spChg chg="add del mod">
          <ac:chgData name="Steiner Andreas 6206 ED" userId="e6377c33-a923-4f14-8587-531c474c7b48" providerId="ADAL" clId="{6ECD27E6-B224-41CD-B4E0-E297462320DD}" dt="2023-11-24T08:53:54.775" v="99658"/>
          <ac:spMkLst>
            <pc:docMk/>
            <pc:sldMk cId="1966364550" sldId="2147473979"/>
            <ac:spMk id="650" creationId="{975CD70F-537A-D106-7A57-7488D6138EFE}"/>
          </ac:spMkLst>
        </pc:spChg>
        <pc:spChg chg="add del mod">
          <ac:chgData name="Steiner Andreas 6206 ED" userId="e6377c33-a923-4f14-8587-531c474c7b48" providerId="ADAL" clId="{6ECD27E6-B224-41CD-B4E0-E297462320DD}" dt="2023-11-24T08:53:56.709" v="99813"/>
          <ac:spMkLst>
            <pc:docMk/>
            <pc:sldMk cId="1966364550" sldId="2147473979"/>
            <ac:spMk id="651" creationId="{87D8EF53-06CA-1112-656F-1A2C7DCB9037}"/>
          </ac:spMkLst>
        </pc:spChg>
        <pc:spChg chg="add del mod">
          <ac:chgData name="Steiner Andreas 6206 ED" userId="e6377c33-a923-4f14-8587-531c474c7b48" providerId="ADAL" clId="{6ECD27E6-B224-41CD-B4E0-E297462320DD}" dt="2023-11-24T08:53:58.804" v="99968"/>
          <ac:spMkLst>
            <pc:docMk/>
            <pc:sldMk cId="1966364550" sldId="2147473979"/>
            <ac:spMk id="652" creationId="{2B27E6AE-05D8-02F6-F437-9619FEA6759F}"/>
          </ac:spMkLst>
        </pc:spChg>
        <pc:spChg chg="add del mod">
          <ac:chgData name="Steiner Andreas 6206 ED" userId="e6377c33-a923-4f14-8587-531c474c7b48" providerId="ADAL" clId="{6ECD27E6-B224-41CD-B4E0-E297462320DD}" dt="2023-11-24T08:54:00.873" v="100123"/>
          <ac:spMkLst>
            <pc:docMk/>
            <pc:sldMk cId="1966364550" sldId="2147473979"/>
            <ac:spMk id="653" creationId="{E108B2D9-A73B-120B-580A-85366A8B4232}"/>
          </ac:spMkLst>
        </pc:spChg>
        <pc:spChg chg="add del mod">
          <ac:chgData name="Steiner Andreas 6206 ED" userId="e6377c33-a923-4f14-8587-531c474c7b48" providerId="ADAL" clId="{6ECD27E6-B224-41CD-B4E0-E297462320DD}" dt="2023-11-24T08:54:02.875" v="100278"/>
          <ac:spMkLst>
            <pc:docMk/>
            <pc:sldMk cId="1966364550" sldId="2147473979"/>
            <ac:spMk id="654" creationId="{9BCCCB0A-57FC-3157-F242-BD9DBC745E56}"/>
          </ac:spMkLst>
        </pc:spChg>
        <pc:spChg chg="add del mod">
          <ac:chgData name="Steiner Andreas 6206 ED" userId="e6377c33-a923-4f14-8587-531c474c7b48" providerId="ADAL" clId="{6ECD27E6-B224-41CD-B4E0-E297462320DD}" dt="2023-11-24T08:54:04.821" v="100433"/>
          <ac:spMkLst>
            <pc:docMk/>
            <pc:sldMk cId="1966364550" sldId="2147473979"/>
            <ac:spMk id="655" creationId="{7F73D50E-A375-D587-7168-F13D9E7FF72F}"/>
          </ac:spMkLst>
        </pc:spChg>
        <pc:spChg chg="add del mod">
          <ac:chgData name="Steiner Andreas 6206 ED" userId="e6377c33-a923-4f14-8587-531c474c7b48" providerId="ADAL" clId="{6ECD27E6-B224-41CD-B4E0-E297462320DD}" dt="2023-11-24T08:54:06.786" v="100588"/>
          <ac:spMkLst>
            <pc:docMk/>
            <pc:sldMk cId="1966364550" sldId="2147473979"/>
            <ac:spMk id="656" creationId="{63F79025-B1D1-8FD6-2FBC-69D523409EF7}"/>
          </ac:spMkLst>
        </pc:spChg>
        <pc:spChg chg="add del mod">
          <ac:chgData name="Steiner Andreas 6206 ED" userId="e6377c33-a923-4f14-8587-531c474c7b48" providerId="ADAL" clId="{6ECD27E6-B224-41CD-B4E0-E297462320DD}" dt="2023-11-24T08:54:08.806" v="100743"/>
          <ac:spMkLst>
            <pc:docMk/>
            <pc:sldMk cId="1966364550" sldId="2147473979"/>
            <ac:spMk id="657" creationId="{F46AFD77-9616-7C15-CF72-DF6112521B18}"/>
          </ac:spMkLst>
        </pc:spChg>
        <pc:spChg chg="add del mod">
          <ac:chgData name="Steiner Andreas 6206 ED" userId="e6377c33-a923-4f14-8587-531c474c7b48" providerId="ADAL" clId="{6ECD27E6-B224-41CD-B4E0-E297462320DD}" dt="2023-11-24T08:54:10.913" v="100898"/>
          <ac:spMkLst>
            <pc:docMk/>
            <pc:sldMk cId="1966364550" sldId="2147473979"/>
            <ac:spMk id="658" creationId="{980F0333-6A48-FEE7-3CE9-D76F607AF468}"/>
          </ac:spMkLst>
        </pc:spChg>
        <pc:spChg chg="add del mod">
          <ac:chgData name="Steiner Andreas 6206 ED" userId="e6377c33-a923-4f14-8587-531c474c7b48" providerId="ADAL" clId="{6ECD27E6-B224-41CD-B4E0-E297462320DD}" dt="2023-11-24T08:54:12.859" v="101053"/>
          <ac:spMkLst>
            <pc:docMk/>
            <pc:sldMk cId="1966364550" sldId="2147473979"/>
            <ac:spMk id="659" creationId="{4B877484-66A7-204C-98AC-31B157488244}"/>
          </ac:spMkLst>
        </pc:spChg>
        <pc:spChg chg="add del mod">
          <ac:chgData name="Steiner Andreas 6206 ED" userId="e6377c33-a923-4f14-8587-531c474c7b48" providerId="ADAL" clId="{6ECD27E6-B224-41CD-B4E0-E297462320DD}" dt="2023-11-24T08:54:14.796" v="101208"/>
          <ac:spMkLst>
            <pc:docMk/>
            <pc:sldMk cId="1966364550" sldId="2147473979"/>
            <ac:spMk id="660" creationId="{FD823BEC-AB60-65C3-47F3-6EB4A770A67A}"/>
          </ac:spMkLst>
        </pc:spChg>
        <pc:spChg chg="add del mod">
          <ac:chgData name="Steiner Andreas 6206 ED" userId="e6377c33-a923-4f14-8587-531c474c7b48" providerId="ADAL" clId="{6ECD27E6-B224-41CD-B4E0-E297462320DD}" dt="2023-11-24T08:54:16.695" v="101363"/>
          <ac:spMkLst>
            <pc:docMk/>
            <pc:sldMk cId="1966364550" sldId="2147473979"/>
            <ac:spMk id="661" creationId="{E7851B30-FEA5-BE21-9B0B-92E630592E97}"/>
          </ac:spMkLst>
        </pc:spChg>
        <pc:spChg chg="add del mod">
          <ac:chgData name="Steiner Andreas 6206 ED" userId="e6377c33-a923-4f14-8587-531c474c7b48" providerId="ADAL" clId="{6ECD27E6-B224-41CD-B4E0-E297462320DD}" dt="2023-11-24T08:54:18.631" v="101518"/>
          <ac:spMkLst>
            <pc:docMk/>
            <pc:sldMk cId="1966364550" sldId="2147473979"/>
            <ac:spMk id="662" creationId="{C315052E-443A-0B95-6784-BB8F2D9CDD6E}"/>
          </ac:spMkLst>
        </pc:spChg>
        <pc:spChg chg="add del mod">
          <ac:chgData name="Steiner Andreas 6206 ED" userId="e6377c33-a923-4f14-8587-531c474c7b48" providerId="ADAL" clId="{6ECD27E6-B224-41CD-B4E0-E297462320DD}" dt="2023-11-24T08:54:20.600" v="101673"/>
          <ac:spMkLst>
            <pc:docMk/>
            <pc:sldMk cId="1966364550" sldId="2147473979"/>
            <ac:spMk id="663" creationId="{A0BC2A9F-73D2-1FAE-B5AF-8EAED1A22E54}"/>
          </ac:spMkLst>
        </pc:spChg>
        <pc:spChg chg="add del mod">
          <ac:chgData name="Steiner Andreas 6206 ED" userId="e6377c33-a923-4f14-8587-531c474c7b48" providerId="ADAL" clId="{6ECD27E6-B224-41CD-B4E0-E297462320DD}" dt="2023-11-24T08:54:22.672" v="101828"/>
          <ac:spMkLst>
            <pc:docMk/>
            <pc:sldMk cId="1966364550" sldId="2147473979"/>
            <ac:spMk id="664" creationId="{1C6D376F-F24C-510B-E562-7DF3EAEB8F55}"/>
          </ac:spMkLst>
        </pc:spChg>
        <pc:spChg chg="add del mod">
          <ac:chgData name="Steiner Andreas 6206 ED" userId="e6377c33-a923-4f14-8587-531c474c7b48" providerId="ADAL" clId="{6ECD27E6-B224-41CD-B4E0-E297462320DD}" dt="2023-11-24T08:54:24.651" v="101983"/>
          <ac:spMkLst>
            <pc:docMk/>
            <pc:sldMk cId="1966364550" sldId="2147473979"/>
            <ac:spMk id="665" creationId="{602F4CB3-B2D4-7CD7-CDAF-36B3A00971C0}"/>
          </ac:spMkLst>
        </pc:spChg>
        <pc:spChg chg="add del mod">
          <ac:chgData name="Steiner Andreas 6206 ED" userId="e6377c33-a923-4f14-8587-531c474c7b48" providerId="ADAL" clId="{6ECD27E6-B224-41CD-B4E0-E297462320DD}" dt="2023-11-24T08:54:26.591" v="102138"/>
          <ac:spMkLst>
            <pc:docMk/>
            <pc:sldMk cId="1966364550" sldId="2147473979"/>
            <ac:spMk id="666" creationId="{253A0DA7-9276-D82D-C36D-32C776A8F65D}"/>
          </ac:spMkLst>
        </pc:spChg>
        <pc:spChg chg="add del mod">
          <ac:chgData name="Steiner Andreas 6206 ED" userId="e6377c33-a923-4f14-8587-531c474c7b48" providerId="ADAL" clId="{6ECD27E6-B224-41CD-B4E0-E297462320DD}" dt="2023-11-24T08:54:28.551" v="102293"/>
          <ac:spMkLst>
            <pc:docMk/>
            <pc:sldMk cId="1966364550" sldId="2147473979"/>
            <ac:spMk id="667" creationId="{05F6567C-EA43-230E-A3FE-662199474FAB}"/>
          </ac:spMkLst>
        </pc:spChg>
        <pc:spChg chg="add del mod">
          <ac:chgData name="Steiner Andreas 6206 ED" userId="e6377c33-a923-4f14-8587-531c474c7b48" providerId="ADAL" clId="{6ECD27E6-B224-41CD-B4E0-E297462320DD}" dt="2023-11-24T08:54:30.476" v="102448"/>
          <ac:spMkLst>
            <pc:docMk/>
            <pc:sldMk cId="1966364550" sldId="2147473979"/>
            <ac:spMk id="668" creationId="{147C16EC-3279-09E9-B543-D5849ACD651D}"/>
          </ac:spMkLst>
        </pc:spChg>
        <pc:spChg chg="add del mod">
          <ac:chgData name="Steiner Andreas 6206 ED" userId="e6377c33-a923-4f14-8587-531c474c7b48" providerId="ADAL" clId="{6ECD27E6-B224-41CD-B4E0-E297462320DD}" dt="2023-11-24T08:54:32.656" v="102603"/>
          <ac:spMkLst>
            <pc:docMk/>
            <pc:sldMk cId="1966364550" sldId="2147473979"/>
            <ac:spMk id="669" creationId="{BE1CFEDF-8CEA-317E-BC18-734DE818D1E4}"/>
          </ac:spMkLst>
        </pc:spChg>
        <pc:spChg chg="add del mod">
          <ac:chgData name="Steiner Andreas 6206 ED" userId="e6377c33-a923-4f14-8587-531c474c7b48" providerId="ADAL" clId="{6ECD27E6-B224-41CD-B4E0-E297462320DD}" dt="2023-11-24T08:54:34.632" v="102758"/>
          <ac:spMkLst>
            <pc:docMk/>
            <pc:sldMk cId="1966364550" sldId="2147473979"/>
            <ac:spMk id="670" creationId="{9C52B6CA-F073-ED08-4E89-C2F911DF7569}"/>
          </ac:spMkLst>
        </pc:spChg>
        <pc:spChg chg="add del mod">
          <ac:chgData name="Steiner Andreas 6206 ED" userId="e6377c33-a923-4f14-8587-531c474c7b48" providerId="ADAL" clId="{6ECD27E6-B224-41CD-B4E0-E297462320DD}" dt="2023-11-24T08:54:36.532" v="102913"/>
          <ac:spMkLst>
            <pc:docMk/>
            <pc:sldMk cId="1966364550" sldId="2147473979"/>
            <ac:spMk id="671" creationId="{AA781D6A-BDCD-556A-4D37-1E382E85F8FE}"/>
          </ac:spMkLst>
        </pc:spChg>
        <pc:spChg chg="add del mod">
          <ac:chgData name="Steiner Andreas 6206 ED" userId="e6377c33-a923-4f14-8587-531c474c7b48" providerId="ADAL" clId="{6ECD27E6-B224-41CD-B4E0-E297462320DD}" dt="2023-11-24T08:54:38.800" v="103068"/>
          <ac:spMkLst>
            <pc:docMk/>
            <pc:sldMk cId="1966364550" sldId="2147473979"/>
            <ac:spMk id="672" creationId="{7D2E2794-8591-942F-E500-66BDA13B8143}"/>
          </ac:spMkLst>
        </pc:spChg>
        <pc:spChg chg="add del mod">
          <ac:chgData name="Steiner Andreas 6206 ED" userId="e6377c33-a923-4f14-8587-531c474c7b48" providerId="ADAL" clId="{6ECD27E6-B224-41CD-B4E0-E297462320DD}" dt="2023-11-24T08:54:40.911" v="103223"/>
          <ac:spMkLst>
            <pc:docMk/>
            <pc:sldMk cId="1966364550" sldId="2147473979"/>
            <ac:spMk id="673" creationId="{8467FEB6-9F00-6984-68EF-66889D320947}"/>
          </ac:spMkLst>
        </pc:spChg>
        <pc:spChg chg="add del mod">
          <ac:chgData name="Steiner Andreas 6206 ED" userId="e6377c33-a923-4f14-8587-531c474c7b48" providerId="ADAL" clId="{6ECD27E6-B224-41CD-B4E0-E297462320DD}" dt="2023-11-24T08:54:42.853" v="103378"/>
          <ac:spMkLst>
            <pc:docMk/>
            <pc:sldMk cId="1966364550" sldId="2147473979"/>
            <ac:spMk id="674" creationId="{4C688D88-7E2B-E4C0-70ED-20760CD809B6}"/>
          </ac:spMkLst>
        </pc:spChg>
        <pc:spChg chg="add del mod">
          <ac:chgData name="Steiner Andreas 6206 ED" userId="e6377c33-a923-4f14-8587-531c474c7b48" providerId="ADAL" clId="{6ECD27E6-B224-41CD-B4E0-E297462320DD}" dt="2023-11-24T08:54:45.114" v="103533"/>
          <ac:spMkLst>
            <pc:docMk/>
            <pc:sldMk cId="1966364550" sldId="2147473979"/>
            <ac:spMk id="675" creationId="{E8358193-614F-917B-31CA-13DF7B4D65BF}"/>
          </ac:spMkLst>
        </pc:spChg>
        <pc:spChg chg="add del mod">
          <ac:chgData name="Steiner Andreas 6206 ED" userId="e6377c33-a923-4f14-8587-531c474c7b48" providerId="ADAL" clId="{6ECD27E6-B224-41CD-B4E0-E297462320DD}" dt="2023-11-24T08:54:47.358" v="103688"/>
          <ac:spMkLst>
            <pc:docMk/>
            <pc:sldMk cId="1966364550" sldId="2147473979"/>
            <ac:spMk id="676" creationId="{159F31EE-B2E3-86C8-5C95-9C579E59416D}"/>
          </ac:spMkLst>
        </pc:spChg>
        <pc:spChg chg="add del mod">
          <ac:chgData name="Steiner Andreas 6206 ED" userId="e6377c33-a923-4f14-8587-531c474c7b48" providerId="ADAL" clId="{6ECD27E6-B224-41CD-B4E0-E297462320DD}" dt="2023-11-24T08:54:49.454" v="103843"/>
          <ac:spMkLst>
            <pc:docMk/>
            <pc:sldMk cId="1966364550" sldId="2147473979"/>
            <ac:spMk id="677" creationId="{28D0CE3B-0E9F-FE32-47FF-D0B56CB6BC35}"/>
          </ac:spMkLst>
        </pc:spChg>
        <pc:spChg chg="add del mod">
          <ac:chgData name="Steiner Andreas 6206 ED" userId="e6377c33-a923-4f14-8587-531c474c7b48" providerId="ADAL" clId="{6ECD27E6-B224-41CD-B4E0-E297462320DD}" dt="2023-11-24T08:54:51.837" v="103998"/>
          <ac:spMkLst>
            <pc:docMk/>
            <pc:sldMk cId="1966364550" sldId="2147473979"/>
            <ac:spMk id="678" creationId="{5D9D35DD-4F92-1929-AF27-B07DB9B94FB6}"/>
          </ac:spMkLst>
        </pc:spChg>
        <pc:spChg chg="add del mod">
          <ac:chgData name="Steiner Andreas 6206 ED" userId="e6377c33-a923-4f14-8587-531c474c7b48" providerId="ADAL" clId="{6ECD27E6-B224-41CD-B4E0-E297462320DD}" dt="2023-11-24T08:54:53.875" v="104153"/>
          <ac:spMkLst>
            <pc:docMk/>
            <pc:sldMk cId="1966364550" sldId="2147473979"/>
            <ac:spMk id="679" creationId="{1C71C5FF-7A5F-53D5-3056-AA4655753BFA}"/>
          </ac:spMkLst>
        </pc:spChg>
        <pc:spChg chg="add del mod">
          <ac:chgData name="Steiner Andreas 6206 ED" userId="e6377c33-a923-4f14-8587-531c474c7b48" providerId="ADAL" clId="{6ECD27E6-B224-41CD-B4E0-E297462320DD}" dt="2023-11-24T08:54:56.002" v="104308"/>
          <ac:spMkLst>
            <pc:docMk/>
            <pc:sldMk cId="1966364550" sldId="2147473979"/>
            <ac:spMk id="680" creationId="{AEDAC1C6-E832-1CB2-16A9-2A5AFCC589FD}"/>
          </ac:spMkLst>
        </pc:spChg>
        <pc:spChg chg="add del mod">
          <ac:chgData name="Steiner Andreas 6206 ED" userId="e6377c33-a923-4f14-8587-531c474c7b48" providerId="ADAL" clId="{6ECD27E6-B224-41CD-B4E0-E297462320DD}" dt="2023-11-24T08:54:58.079" v="104463"/>
          <ac:spMkLst>
            <pc:docMk/>
            <pc:sldMk cId="1966364550" sldId="2147473979"/>
            <ac:spMk id="681" creationId="{A7F38BBA-9F2B-163D-1C76-FAC1F9F207A8}"/>
          </ac:spMkLst>
        </pc:spChg>
        <pc:spChg chg="add del mod">
          <ac:chgData name="Steiner Andreas 6206 ED" userId="e6377c33-a923-4f14-8587-531c474c7b48" providerId="ADAL" clId="{6ECD27E6-B224-41CD-B4E0-E297462320DD}" dt="2023-11-24T08:55:00.080" v="104618"/>
          <ac:spMkLst>
            <pc:docMk/>
            <pc:sldMk cId="1966364550" sldId="2147473979"/>
            <ac:spMk id="682" creationId="{C05B708D-173D-F2C7-8E40-A8EEBF953E86}"/>
          </ac:spMkLst>
        </pc:spChg>
        <pc:spChg chg="add del mod">
          <ac:chgData name="Steiner Andreas 6206 ED" userId="e6377c33-a923-4f14-8587-531c474c7b48" providerId="ADAL" clId="{6ECD27E6-B224-41CD-B4E0-E297462320DD}" dt="2023-11-24T08:55:02.033" v="104773"/>
          <ac:spMkLst>
            <pc:docMk/>
            <pc:sldMk cId="1966364550" sldId="2147473979"/>
            <ac:spMk id="683" creationId="{E9BA6DBC-78E2-2856-FC3A-3379EBFC5919}"/>
          </ac:spMkLst>
        </pc:spChg>
        <pc:spChg chg="add del mod">
          <ac:chgData name="Steiner Andreas 6206 ED" userId="e6377c33-a923-4f14-8587-531c474c7b48" providerId="ADAL" clId="{6ECD27E6-B224-41CD-B4E0-E297462320DD}" dt="2023-11-24T08:55:04.014" v="104928"/>
          <ac:spMkLst>
            <pc:docMk/>
            <pc:sldMk cId="1966364550" sldId="2147473979"/>
            <ac:spMk id="684" creationId="{13B8DA3C-F9BD-1600-ABDD-97642ABC7616}"/>
          </ac:spMkLst>
        </pc:spChg>
        <pc:spChg chg="add del mod">
          <ac:chgData name="Steiner Andreas 6206 ED" userId="e6377c33-a923-4f14-8587-531c474c7b48" providerId="ADAL" clId="{6ECD27E6-B224-41CD-B4E0-E297462320DD}" dt="2023-11-24T08:55:06.147" v="105083"/>
          <ac:spMkLst>
            <pc:docMk/>
            <pc:sldMk cId="1966364550" sldId="2147473979"/>
            <ac:spMk id="685" creationId="{98C3E952-69FE-E2B5-05C0-8A64D188574B}"/>
          </ac:spMkLst>
        </pc:spChg>
        <pc:spChg chg="add del mod">
          <ac:chgData name="Steiner Andreas 6206 ED" userId="e6377c33-a923-4f14-8587-531c474c7b48" providerId="ADAL" clId="{6ECD27E6-B224-41CD-B4E0-E297462320DD}" dt="2023-11-24T08:55:08.213" v="105238"/>
          <ac:spMkLst>
            <pc:docMk/>
            <pc:sldMk cId="1966364550" sldId="2147473979"/>
            <ac:spMk id="686" creationId="{A1ED70AC-3377-B4D1-648C-54EE6B0B6B04}"/>
          </ac:spMkLst>
        </pc:spChg>
        <pc:spChg chg="add del mod">
          <ac:chgData name="Steiner Andreas 6206 ED" userId="e6377c33-a923-4f14-8587-531c474c7b48" providerId="ADAL" clId="{6ECD27E6-B224-41CD-B4E0-E297462320DD}" dt="2023-11-24T08:55:10.212" v="105393"/>
          <ac:spMkLst>
            <pc:docMk/>
            <pc:sldMk cId="1966364550" sldId="2147473979"/>
            <ac:spMk id="687" creationId="{2F977B36-677B-BE9D-F68A-6493EF6BF1B1}"/>
          </ac:spMkLst>
        </pc:spChg>
        <pc:spChg chg="add del mod">
          <ac:chgData name="Steiner Andreas 6206 ED" userId="e6377c33-a923-4f14-8587-531c474c7b48" providerId="ADAL" clId="{6ECD27E6-B224-41CD-B4E0-E297462320DD}" dt="2023-11-24T08:55:12.188" v="105548"/>
          <ac:spMkLst>
            <pc:docMk/>
            <pc:sldMk cId="1966364550" sldId="2147473979"/>
            <ac:spMk id="688" creationId="{7758E93E-A96E-4FF9-021A-BF74A9407788}"/>
          </ac:spMkLst>
        </pc:spChg>
        <pc:spChg chg="add del mod">
          <ac:chgData name="Steiner Andreas 6206 ED" userId="e6377c33-a923-4f14-8587-531c474c7b48" providerId="ADAL" clId="{6ECD27E6-B224-41CD-B4E0-E297462320DD}" dt="2023-11-24T08:55:14.250" v="105703"/>
          <ac:spMkLst>
            <pc:docMk/>
            <pc:sldMk cId="1966364550" sldId="2147473979"/>
            <ac:spMk id="689" creationId="{E44E9B3A-67F3-F412-B77C-11CAB49EA7C1}"/>
          </ac:spMkLst>
        </pc:spChg>
        <pc:spChg chg="add del mod">
          <ac:chgData name="Steiner Andreas 6206 ED" userId="e6377c33-a923-4f14-8587-531c474c7b48" providerId="ADAL" clId="{6ECD27E6-B224-41CD-B4E0-E297462320DD}" dt="2023-11-24T08:55:16.315" v="105858"/>
          <ac:spMkLst>
            <pc:docMk/>
            <pc:sldMk cId="1966364550" sldId="2147473979"/>
            <ac:spMk id="690" creationId="{1EFFB5EE-4273-EAF1-136B-1BB2CCDEA40E}"/>
          </ac:spMkLst>
        </pc:spChg>
        <pc:spChg chg="add del mod">
          <ac:chgData name="Steiner Andreas 6206 ED" userId="e6377c33-a923-4f14-8587-531c474c7b48" providerId="ADAL" clId="{6ECD27E6-B224-41CD-B4E0-E297462320DD}" dt="2023-11-24T08:55:18.358" v="106013"/>
          <ac:spMkLst>
            <pc:docMk/>
            <pc:sldMk cId="1966364550" sldId="2147473979"/>
            <ac:spMk id="691" creationId="{FFC069EE-EB27-2F79-9288-DA74607777AF}"/>
          </ac:spMkLst>
        </pc:spChg>
        <pc:spChg chg="add del mod">
          <ac:chgData name="Steiner Andreas 6206 ED" userId="e6377c33-a923-4f14-8587-531c474c7b48" providerId="ADAL" clId="{6ECD27E6-B224-41CD-B4E0-E297462320DD}" dt="2023-11-24T08:55:20.363" v="106168"/>
          <ac:spMkLst>
            <pc:docMk/>
            <pc:sldMk cId="1966364550" sldId="2147473979"/>
            <ac:spMk id="692" creationId="{8E94A52A-1386-22FE-20A2-2BABC179547B}"/>
          </ac:spMkLst>
        </pc:spChg>
        <pc:spChg chg="add del mod">
          <ac:chgData name="Steiner Andreas 6206 ED" userId="e6377c33-a923-4f14-8587-531c474c7b48" providerId="ADAL" clId="{6ECD27E6-B224-41CD-B4E0-E297462320DD}" dt="2023-11-24T08:55:22.317" v="106323"/>
          <ac:spMkLst>
            <pc:docMk/>
            <pc:sldMk cId="1966364550" sldId="2147473979"/>
            <ac:spMk id="693" creationId="{2EFE3C84-171E-2F9B-0E42-F9D2A7FAA74B}"/>
          </ac:spMkLst>
        </pc:spChg>
        <pc:spChg chg="add del mod">
          <ac:chgData name="Steiner Andreas 6206 ED" userId="e6377c33-a923-4f14-8587-531c474c7b48" providerId="ADAL" clId="{6ECD27E6-B224-41CD-B4E0-E297462320DD}" dt="2023-11-24T08:55:24.321" v="106478"/>
          <ac:spMkLst>
            <pc:docMk/>
            <pc:sldMk cId="1966364550" sldId="2147473979"/>
            <ac:spMk id="694" creationId="{0745D4A6-437D-4DF5-3C8A-77C37535BA9C}"/>
          </ac:spMkLst>
        </pc:spChg>
        <pc:spChg chg="add del mod">
          <ac:chgData name="Steiner Andreas 6206 ED" userId="e6377c33-a923-4f14-8587-531c474c7b48" providerId="ADAL" clId="{6ECD27E6-B224-41CD-B4E0-E297462320DD}" dt="2023-11-24T08:55:26.297" v="106633"/>
          <ac:spMkLst>
            <pc:docMk/>
            <pc:sldMk cId="1966364550" sldId="2147473979"/>
            <ac:spMk id="695" creationId="{73F59AE7-063A-DDAC-1373-DDAD396D8C29}"/>
          </ac:spMkLst>
        </pc:spChg>
        <pc:spChg chg="add del mod">
          <ac:chgData name="Steiner Andreas 6206 ED" userId="e6377c33-a923-4f14-8587-531c474c7b48" providerId="ADAL" clId="{6ECD27E6-B224-41CD-B4E0-E297462320DD}" dt="2023-11-24T08:55:28.442" v="106788"/>
          <ac:spMkLst>
            <pc:docMk/>
            <pc:sldMk cId="1966364550" sldId="2147473979"/>
            <ac:spMk id="696" creationId="{08C48FA4-F2D3-75DF-5450-D8D1B4CA3334}"/>
          </ac:spMkLst>
        </pc:spChg>
        <pc:spChg chg="add del mod">
          <ac:chgData name="Steiner Andreas 6206 ED" userId="e6377c33-a923-4f14-8587-531c474c7b48" providerId="ADAL" clId="{6ECD27E6-B224-41CD-B4E0-E297462320DD}" dt="2023-11-24T08:55:30.452" v="106943"/>
          <ac:spMkLst>
            <pc:docMk/>
            <pc:sldMk cId="1966364550" sldId="2147473979"/>
            <ac:spMk id="697" creationId="{99D52FC7-F808-1641-B9E7-4BD7A9041840}"/>
          </ac:spMkLst>
        </pc:spChg>
        <pc:spChg chg="add del mod">
          <ac:chgData name="Steiner Andreas 6206 ED" userId="e6377c33-a923-4f14-8587-531c474c7b48" providerId="ADAL" clId="{6ECD27E6-B224-41CD-B4E0-E297462320DD}" dt="2023-11-24T08:55:32.614" v="107098"/>
          <ac:spMkLst>
            <pc:docMk/>
            <pc:sldMk cId="1966364550" sldId="2147473979"/>
            <ac:spMk id="698" creationId="{80944686-BA8B-40AC-C0EE-E03C9AD102E3}"/>
          </ac:spMkLst>
        </pc:spChg>
        <pc:spChg chg="add del mod">
          <ac:chgData name="Steiner Andreas 6206 ED" userId="e6377c33-a923-4f14-8587-531c474c7b48" providerId="ADAL" clId="{6ECD27E6-B224-41CD-B4E0-E297462320DD}" dt="2023-11-24T08:55:34.523" v="107253"/>
          <ac:spMkLst>
            <pc:docMk/>
            <pc:sldMk cId="1966364550" sldId="2147473979"/>
            <ac:spMk id="699" creationId="{4AA0D829-7071-E3D7-B4F2-8D64D21B5CB7}"/>
          </ac:spMkLst>
        </pc:spChg>
        <pc:spChg chg="add del mod">
          <ac:chgData name="Steiner Andreas 6206 ED" userId="e6377c33-a923-4f14-8587-531c474c7b48" providerId="ADAL" clId="{6ECD27E6-B224-41CD-B4E0-E297462320DD}" dt="2023-11-24T08:55:36.449" v="107408"/>
          <ac:spMkLst>
            <pc:docMk/>
            <pc:sldMk cId="1966364550" sldId="2147473979"/>
            <ac:spMk id="700" creationId="{EE8AD0F0-8989-4312-65F0-3FC185B6DCB7}"/>
          </ac:spMkLst>
        </pc:spChg>
        <pc:spChg chg="add del mod">
          <ac:chgData name="Steiner Andreas 6206 ED" userId="e6377c33-a923-4f14-8587-531c474c7b48" providerId="ADAL" clId="{6ECD27E6-B224-41CD-B4E0-E297462320DD}" dt="2023-11-24T08:55:38.487" v="107563"/>
          <ac:spMkLst>
            <pc:docMk/>
            <pc:sldMk cId="1966364550" sldId="2147473979"/>
            <ac:spMk id="701" creationId="{E06D74C6-6DED-5D8A-B398-1CF1B8EA7549}"/>
          </ac:spMkLst>
        </pc:spChg>
        <pc:spChg chg="add del mod">
          <ac:chgData name="Steiner Andreas 6206 ED" userId="e6377c33-a923-4f14-8587-531c474c7b48" providerId="ADAL" clId="{6ECD27E6-B224-41CD-B4E0-E297462320DD}" dt="2023-11-24T08:55:40.530" v="107718"/>
          <ac:spMkLst>
            <pc:docMk/>
            <pc:sldMk cId="1966364550" sldId="2147473979"/>
            <ac:spMk id="702" creationId="{1DEB3539-5D16-2A03-BFB7-5E9F7C87BFD5}"/>
          </ac:spMkLst>
        </pc:spChg>
        <pc:spChg chg="add del mod">
          <ac:chgData name="Steiner Andreas 6206 ED" userId="e6377c33-a923-4f14-8587-531c474c7b48" providerId="ADAL" clId="{6ECD27E6-B224-41CD-B4E0-E297462320DD}" dt="2023-11-24T08:55:42.399" v="107873"/>
          <ac:spMkLst>
            <pc:docMk/>
            <pc:sldMk cId="1966364550" sldId="2147473979"/>
            <ac:spMk id="703" creationId="{3E504290-755C-0B24-AC35-D5945E2A81B8}"/>
          </ac:spMkLst>
        </pc:spChg>
        <pc:spChg chg="add del mod">
          <ac:chgData name="Steiner Andreas 6206 ED" userId="e6377c33-a923-4f14-8587-531c474c7b48" providerId="ADAL" clId="{6ECD27E6-B224-41CD-B4E0-E297462320DD}" dt="2023-11-24T08:55:44.367" v="108028"/>
          <ac:spMkLst>
            <pc:docMk/>
            <pc:sldMk cId="1966364550" sldId="2147473979"/>
            <ac:spMk id="704" creationId="{52094314-F499-38BC-8925-477418A89591}"/>
          </ac:spMkLst>
        </pc:spChg>
        <pc:spChg chg="add del mod">
          <ac:chgData name="Steiner Andreas 6206 ED" userId="e6377c33-a923-4f14-8587-531c474c7b48" providerId="ADAL" clId="{6ECD27E6-B224-41CD-B4E0-E297462320DD}" dt="2023-11-24T08:55:46.761" v="108183"/>
          <ac:spMkLst>
            <pc:docMk/>
            <pc:sldMk cId="1966364550" sldId="2147473979"/>
            <ac:spMk id="705" creationId="{89B3A175-8758-6697-E0C9-4364DDF4DDAC}"/>
          </ac:spMkLst>
        </pc:spChg>
        <pc:spChg chg="add del mod">
          <ac:chgData name="Steiner Andreas 6206 ED" userId="e6377c33-a923-4f14-8587-531c474c7b48" providerId="ADAL" clId="{6ECD27E6-B224-41CD-B4E0-E297462320DD}" dt="2023-11-24T08:55:48.924" v="108338"/>
          <ac:spMkLst>
            <pc:docMk/>
            <pc:sldMk cId="1966364550" sldId="2147473979"/>
            <ac:spMk id="706" creationId="{33906300-CB9E-CD18-FF11-27DA7C01FDED}"/>
          </ac:spMkLst>
        </pc:spChg>
        <pc:spChg chg="add del mod">
          <ac:chgData name="Steiner Andreas 6206 ED" userId="e6377c33-a923-4f14-8587-531c474c7b48" providerId="ADAL" clId="{6ECD27E6-B224-41CD-B4E0-E297462320DD}" dt="2023-11-24T08:55:51.345" v="108493"/>
          <ac:spMkLst>
            <pc:docMk/>
            <pc:sldMk cId="1966364550" sldId="2147473979"/>
            <ac:spMk id="707" creationId="{9C8EF444-710F-1C71-413D-AAA90DB2FA38}"/>
          </ac:spMkLst>
        </pc:spChg>
        <pc:spChg chg="add del mod">
          <ac:chgData name="Steiner Andreas 6206 ED" userId="e6377c33-a923-4f14-8587-531c474c7b48" providerId="ADAL" clId="{6ECD27E6-B224-41CD-B4E0-E297462320DD}" dt="2023-11-24T08:55:53.429" v="108648"/>
          <ac:spMkLst>
            <pc:docMk/>
            <pc:sldMk cId="1966364550" sldId="2147473979"/>
            <ac:spMk id="708" creationId="{582DA9A6-426B-1F42-8CE5-E53244DBD5D4}"/>
          </ac:spMkLst>
        </pc:spChg>
        <pc:spChg chg="add del mod">
          <ac:chgData name="Steiner Andreas 6206 ED" userId="e6377c33-a923-4f14-8587-531c474c7b48" providerId="ADAL" clId="{6ECD27E6-B224-41CD-B4E0-E297462320DD}" dt="2023-11-24T08:55:55.502" v="108803"/>
          <ac:spMkLst>
            <pc:docMk/>
            <pc:sldMk cId="1966364550" sldId="2147473979"/>
            <ac:spMk id="709" creationId="{AECDF80E-E7CC-54E7-DB0B-8AF348EA02D6}"/>
          </ac:spMkLst>
        </pc:spChg>
        <pc:spChg chg="add del mod">
          <ac:chgData name="Steiner Andreas 6206 ED" userId="e6377c33-a923-4f14-8587-531c474c7b48" providerId="ADAL" clId="{6ECD27E6-B224-41CD-B4E0-E297462320DD}" dt="2023-11-24T08:55:57.526" v="108958"/>
          <ac:spMkLst>
            <pc:docMk/>
            <pc:sldMk cId="1966364550" sldId="2147473979"/>
            <ac:spMk id="710" creationId="{A1EE55F6-4860-33FA-B78F-6C53C47FB5FD}"/>
          </ac:spMkLst>
        </pc:spChg>
        <pc:spChg chg="add del mod">
          <ac:chgData name="Steiner Andreas 6206 ED" userId="e6377c33-a923-4f14-8587-531c474c7b48" providerId="ADAL" clId="{6ECD27E6-B224-41CD-B4E0-E297462320DD}" dt="2023-11-24T08:55:59.615" v="109113"/>
          <ac:spMkLst>
            <pc:docMk/>
            <pc:sldMk cId="1966364550" sldId="2147473979"/>
            <ac:spMk id="711" creationId="{687A3D49-BE24-0BF5-7A0B-AB17C6965254}"/>
          </ac:spMkLst>
        </pc:spChg>
        <pc:spChg chg="add del mod">
          <ac:chgData name="Steiner Andreas 6206 ED" userId="e6377c33-a923-4f14-8587-531c474c7b48" providerId="ADAL" clId="{6ECD27E6-B224-41CD-B4E0-E297462320DD}" dt="2023-11-24T08:56:02.023" v="109268"/>
          <ac:spMkLst>
            <pc:docMk/>
            <pc:sldMk cId="1966364550" sldId="2147473979"/>
            <ac:spMk id="712" creationId="{351D5578-A287-D4C1-C474-62D497BF365F}"/>
          </ac:spMkLst>
        </pc:spChg>
        <pc:spChg chg="add del mod">
          <ac:chgData name="Steiner Andreas 6206 ED" userId="e6377c33-a923-4f14-8587-531c474c7b48" providerId="ADAL" clId="{6ECD27E6-B224-41CD-B4E0-E297462320DD}" dt="2023-11-24T08:56:04.257" v="109423"/>
          <ac:spMkLst>
            <pc:docMk/>
            <pc:sldMk cId="1966364550" sldId="2147473979"/>
            <ac:spMk id="713" creationId="{59F77E6C-48E1-5BFA-E600-25EAC1CF8DF2}"/>
          </ac:spMkLst>
        </pc:spChg>
        <pc:spChg chg="add del mod">
          <ac:chgData name="Steiner Andreas 6206 ED" userId="e6377c33-a923-4f14-8587-531c474c7b48" providerId="ADAL" clId="{6ECD27E6-B224-41CD-B4E0-E297462320DD}" dt="2023-11-24T08:56:06.552" v="109578"/>
          <ac:spMkLst>
            <pc:docMk/>
            <pc:sldMk cId="1966364550" sldId="2147473979"/>
            <ac:spMk id="714" creationId="{281783B2-6576-8AD4-E724-794BA8762CDC}"/>
          </ac:spMkLst>
        </pc:spChg>
        <pc:spChg chg="add del mod">
          <ac:chgData name="Steiner Andreas 6206 ED" userId="e6377c33-a923-4f14-8587-531c474c7b48" providerId="ADAL" clId="{6ECD27E6-B224-41CD-B4E0-E297462320DD}" dt="2023-11-24T08:56:08.823" v="109733"/>
          <ac:spMkLst>
            <pc:docMk/>
            <pc:sldMk cId="1966364550" sldId="2147473979"/>
            <ac:spMk id="715" creationId="{EE83410E-27E8-29A7-9A49-8F6D21987EA8}"/>
          </ac:spMkLst>
        </pc:spChg>
        <pc:spChg chg="add del mod">
          <ac:chgData name="Steiner Andreas 6206 ED" userId="e6377c33-a923-4f14-8587-531c474c7b48" providerId="ADAL" clId="{6ECD27E6-B224-41CD-B4E0-E297462320DD}" dt="2023-11-24T08:56:10.872" v="109888"/>
          <ac:spMkLst>
            <pc:docMk/>
            <pc:sldMk cId="1966364550" sldId="2147473979"/>
            <ac:spMk id="716" creationId="{F58F597C-2DA3-5C6D-D474-EC0D4273008F}"/>
          </ac:spMkLst>
        </pc:spChg>
        <pc:spChg chg="add del mod">
          <ac:chgData name="Steiner Andreas 6206 ED" userId="e6377c33-a923-4f14-8587-531c474c7b48" providerId="ADAL" clId="{6ECD27E6-B224-41CD-B4E0-E297462320DD}" dt="2023-11-24T08:56:12.993" v="110043"/>
          <ac:spMkLst>
            <pc:docMk/>
            <pc:sldMk cId="1966364550" sldId="2147473979"/>
            <ac:spMk id="717" creationId="{0E019D0F-3178-D8EC-DD9F-ADA43DD0CBE9}"/>
          </ac:spMkLst>
        </pc:spChg>
        <pc:spChg chg="add del mod">
          <ac:chgData name="Steiner Andreas 6206 ED" userId="e6377c33-a923-4f14-8587-531c474c7b48" providerId="ADAL" clId="{6ECD27E6-B224-41CD-B4E0-E297462320DD}" dt="2023-11-24T08:56:15.124" v="110198"/>
          <ac:spMkLst>
            <pc:docMk/>
            <pc:sldMk cId="1966364550" sldId="2147473979"/>
            <ac:spMk id="718" creationId="{176A8106-19BB-AE5E-5934-FCC9D764483A}"/>
          </ac:spMkLst>
        </pc:spChg>
        <pc:spChg chg="add del mod">
          <ac:chgData name="Steiner Andreas 6206 ED" userId="e6377c33-a923-4f14-8587-531c474c7b48" providerId="ADAL" clId="{6ECD27E6-B224-41CD-B4E0-E297462320DD}" dt="2023-11-24T08:56:17.082" v="110353"/>
          <ac:spMkLst>
            <pc:docMk/>
            <pc:sldMk cId="1966364550" sldId="2147473979"/>
            <ac:spMk id="719" creationId="{E5111900-E1B2-1B35-EDFA-405E9127ACCC}"/>
          </ac:spMkLst>
        </pc:spChg>
        <pc:spChg chg="add del mod">
          <ac:chgData name="Steiner Andreas 6206 ED" userId="e6377c33-a923-4f14-8587-531c474c7b48" providerId="ADAL" clId="{6ECD27E6-B224-41CD-B4E0-E297462320DD}" dt="2023-11-24T08:56:19.066" v="110508"/>
          <ac:spMkLst>
            <pc:docMk/>
            <pc:sldMk cId="1966364550" sldId="2147473979"/>
            <ac:spMk id="720" creationId="{55BF1E4F-9295-56B8-4089-33907F20EA18}"/>
          </ac:spMkLst>
        </pc:spChg>
        <pc:spChg chg="add del mod">
          <ac:chgData name="Steiner Andreas 6206 ED" userId="e6377c33-a923-4f14-8587-531c474c7b48" providerId="ADAL" clId="{6ECD27E6-B224-41CD-B4E0-E297462320DD}" dt="2023-11-24T08:56:21.005" v="110663"/>
          <ac:spMkLst>
            <pc:docMk/>
            <pc:sldMk cId="1966364550" sldId="2147473979"/>
            <ac:spMk id="721" creationId="{96F9FFEE-FEBA-5BA3-4B11-AC48429ACCCD}"/>
          </ac:spMkLst>
        </pc:spChg>
        <pc:spChg chg="add del mod">
          <ac:chgData name="Steiner Andreas 6206 ED" userId="e6377c33-a923-4f14-8587-531c474c7b48" providerId="ADAL" clId="{6ECD27E6-B224-41CD-B4E0-E297462320DD}" dt="2023-11-24T08:56:23.156" v="110818"/>
          <ac:spMkLst>
            <pc:docMk/>
            <pc:sldMk cId="1966364550" sldId="2147473979"/>
            <ac:spMk id="722" creationId="{E4710DEE-26A5-0092-9AC5-BA6E74845FBA}"/>
          </ac:spMkLst>
        </pc:spChg>
        <pc:spChg chg="add del mod">
          <ac:chgData name="Steiner Andreas 6206 ED" userId="e6377c33-a923-4f14-8587-531c474c7b48" providerId="ADAL" clId="{6ECD27E6-B224-41CD-B4E0-E297462320DD}" dt="2023-11-24T08:56:25.351" v="110973"/>
          <ac:spMkLst>
            <pc:docMk/>
            <pc:sldMk cId="1966364550" sldId="2147473979"/>
            <ac:spMk id="723" creationId="{D1FFE8B3-5713-D483-7FF0-E80B33B39252}"/>
          </ac:spMkLst>
        </pc:spChg>
        <pc:spChg chg="add del mod">
          <ac:chgData name="Steiner Andreas 6206 ED" userId="e6377c33-a923-4f14-8587-531c474c7b48" providerId="ADAL" clId="{6ECD27E6-B224-41CD-B4E0-E297462320DD}" dt="2023-11-24T08:56:27.390" v="111128"/>
          <ac:spMkLst>
            <pc:docMk/>
            <pc:sldMk cId="1966364550" sldId="2147473979"/>
            <ac:spMk id="724" creationId="{2EE16FA2-DBA2-E2A4-3512-7B8DAFF93563}"/>
          </ac:spMkLst>
        </pc:spChg>
        <pc:spChg chg="add del mod">
          <ac:chgData name="Steiner Andreas 6206 ED" userId="e6377c33-a923-4f14-8587-531c474c7b48" providerId="ADAL" clId="{6ECD27E6-B224-41CD-B4E0-E297462320DD}" dt="2023-11-24T08:56:29.446" v="111283"/>
          <ac:spMkLst>
            <pc:docMk/>
            <pc:sldMk cId="1966364550" sldId="2147473979"/>
            <ac:spMk id="725" creationId="{61D851AC-B877-2862-B881-1AAFDF8E62C2}"/>
          </ac:spMkLst>
        </pc:spChg>
        <pc:spChg chg="add del mod">
          <ac:chgData name="Steiner Andreas 6206 ED" userId="e6377c33-a923-4f14-8587-531c474c7b48" providerId="ADAL" clId="{6ECD27E6-B224-41CD-B4E0-E297462320DD}" dt="2023-11-24T08:56:31.522" v="111438"/>
          <ac:spMkLst>
            <pc:docMk/>
            <pc:sldMk cId="1966364550" sldId="2147473979"/>
            <ac:spMk id="726" creationId="{60D888AA-70AF-6B65-D4A1-9000999F495D}"/>
          </ac:spMkLst>
        </pc:spChg>
        <pc:spChg chg="add del mod">
          <ac:chgData name="Steiner Andreas 6206 ED" userId="e6377c33-a923-4f14-8587-531c474c7b48" providerId="ADAL" clId="{6ECD27E6-B224-41CD-B4E0-E297462320DD}" dt="2023-11-24T08:56:33.761" v="111593"/>
          <ac:spMkLst>
            <pc:docMk/>
            <pc:sldMk cId="1966364550" sldId="2147473979"/>
            <ac:spMk id="727" creationId="{A036E7AD-4109-0D26-456A-1BD023F53595}"/>
          </ac:spMkLst>
        </pc:spChg>
        <pc:spChg chg="add del mod">
          <ac:chgData name="Steiner Andreas 6206 ED" userId="e6377c33-a923-4f14-8587-531c474c7b48" providerId="ADAL" clId="{6ECD27E6-B224-41CD-B4E0-E297462320DD}" dt="2023-11-24T08:56:35.949" v="111748"/>
          <ac:spMkLst>
            <pc:docMk/>
            <pc:sldMk cId="1966364550" sldId="2147473979"/>
            <ac:spMk id="728" creationId="{8A68F329-0A93-FB87-3274-EF95D97C76ED}"/>
          </ac:spMkLst>
        </pc:spChg>
        <pc:spChg chg="add del mod">
          <ac:chgData name="Steiner Andreas 6206 ED" userId="e6377c33-a923-4f14-8587-531c474c7b48" providerId="ADAL" clId="{6ECD27E6-B224-41CD-B4E0-E297462320DD}" dt="2023-11-24T08:56:38.003" v="111903"/>
          <ac:spMkLst>
            <pc:docMk/>
            <pc:sldMk cId="1966364550" sldId="2147473979"/>
            <ac:spMk id="729" creationId="{42747917-FC8D-F3F3-D381-B768DE79BE35}"/>
          </ac:spMkLst>
        </pc:spChg>
        <pc:spChg chg="add del mod">
          <ac:chgData name="Steiner Andreas 6206 ED" userId="e6377c33-a923-4f14-8587-531c474c7b48" providerId="ADAL" clId="{6ECD27E6-B224-41CD-B4E0-E297462320DD}" dt="2023-11-24T08:56:40.139" v="112058"/>
          <ac:spMkLst>
            <pc:docMk/>
            <pc:sldMk cId="1966364550" sldId="2147473979"/>
            <ac:spMk id="730" creationId="{66D92E79-0892-6611-AF70-B7329C7EC1C0}"/>
          </ac:spMkLst>
        </pc:spChg>
        <pc:spChg chg="add del mod">
          <ac:chgData name="Steiner Andreas 6206 ED" userId="e6377c33-a923-4f14-8587-531c474c7b48" providerId="ADAL" clId="{6ECD27E6-B224-41CD-B4E0-E297462320DD}" dt="2023-11-24T08:56:42.091" v="112213"/>
          <ac:spMkLst>
            <pc:docMk/>
            <pc:sldMk cId="1966364550" sldId="2147473979"/>
            <ac:spMk id="731" creationId="{D5D6EC85-19C3-77CA-E07D-A6CB7A2CFEA1}"/>
          </ac:spMkLst>
        </pc:spChg>
        <pc:spChg chg="add del mod">
          <ac:chgData name="Steiner Andreas 6206 ED" userId="e6377c33-a923-4f14-8587-531c474c7b48" providerId="ADAL" clId="{6ECD27E6-B224-41CD-B4E0-E297462320DD}" dt="2023-11-24T08:56:44.095" v="112368"/>
          <ac:spMkLst>
            <pc:docMk/>
            <pc:sldMk cId="1966364550" sldId="2147473979"/>
            <ac:spMk id="732" creationId="{2DABBE92-8291-9207-8FBB-E19C77A09199}"/>
          </ac:spMkLst>
        </pc:spChg>
        <pc:spChg chg="add del mod">
          <ac:chgData name="Steiner Andreas 6206 ED" userId="e6377c33-a923-4f14-8587-531c474c7b48" providerId="ADAL" clId="{6ECD27E6-B224-41CD-B4E0-E297462320DD}" dt="2023-11-24T08:56:46.119" v="112523"/>
          <ac:spMkLst>
            <pc:docMk/>
            <pc:sldMk cId="1966364550" sldId="2147473979"/>
            <ac:spMk id="733" creationId="{EF306E0E-A7ED-B841-A3F1-EF5EDD300CF6}"/>
          </ac:spMkLst>
        </pc:spChg>
        <pc:spChg chg="add del mod">
          <ac:chgData name="Steiner Andreas 6206 ED" userId="e6377c33-a923-4f14-8587-531c474c7b48" providerId="ADAL" clId="{6ECD27E6-B224-41CD-B4E0-E297462320DD}" dt="2023-11-24T08:56:48.341" v="112678"/>
          <ac:spMkLst>
            <pc:docMk/>
            <pc:sldMk cId="1966364550" sldId="2147473979"/>
            <ac:spMk id="734" creationId="{5922C866-12E3-0DDF-4207-14F1DD87D343}"/>
          </ac:spMkLst>
        </pc:spChg>
        <pc:spChg chg="add del mod">
          <ac:chgData name="Steiner Andreas 6206 ED" userId="e6377c33-a923-4f14-8587-531c474c7b48" providerId="ADAL" clId="{6ECD27E6-B224-41CD-B4E0-E297462320DD}" dt="2023-11-24T08:56:50.393" v="112833"/>
          <ac:spMkLst>
            <pc:docMk/>
            <pc:sldMk cId="1966364550" sldId="2147473979"/>
            <ac:spMk id="735" creationId="{F5FAB2CD-BF23-7E85-F730-5DD2F113C750}"/>
          </ac:spMkLst>
        </pc:spChg>
        <pc:spChg chg="add del mod">
          <ac:chgData name="Steiner Andreas 6206 ED" userId="e6377c33-a923-4f14-8587-531c474c7b48" providerId="ADAL" clId="{6ECD27E6-B224-41CD-B4E0-E297462320DD}" dt="2023-11-24T08:56:52.320" v="112988"/>
          <ac:spMkLst>
            <pc:docMk/>
            <pc:sldMk cId="1966364550" sldId="2147473979"/>
            <ac:spMk id="736" creationId="{980D2457-C46F-0B34-BEC4-BBCDADF48798}"/>
          </ac:spMkLst>
        </pc:spChg>
        <pc:spChg chg="add del mod">
          <ac:chgData name="Steiner Andreas 6206 ED" userId="e6377c33-a923-4f14-8587-531c474c7b48" providerId="ADAL" clId="{6ECD27E6-B224-41CD-B4E0-E297462320DD}" dt="2023-11-24T08:56:54.451" v="113143"/>
          <ac:spMkLst>
            <pc:docMk/>
            <pc:sldMk cId="1966364550" sldId="2147473979"/>
            <ac:spMk id="737" creationId="{9F6EC578-3C25-6733-EAF0-9D17B41F6315}"/>
          </ac:spMkLst>
        </pc:spChg>
        <pc:spChg chg="add del mod">
          <ac:chgData name="Steiner Andreas 6206 ED" userId="e6377c33-a923-4f14-8587-531c474c7b48" providerId="ADAL" clId="{6ECD27E6-B224-41CD-B4E0-E297462320DD}" dt="2023-11-24T08:56:56.398" v="113298"/>
          <ac:spMkLst>
            <pc:docMk/>
            <pc:sldMk cId="1966364550" sldId="2147473979"/>
            <ac:spMk id="738" creationId="{27C21AD8-1FD0-EB5C-147E-2D73A4261D54}"/>
          </ac:spMkLst>
        </pc:spChg>
        <pc:spChg chg="add del mod">
          <ac:chgData name="Steiner Andreas 6206 ED" userId="e6377c33-a923-4f14-8587-531c474c7b48" providerId="ADAL" clId="{6ECD27E6-B224-41CD-B4E0-E297462320DD}" dt="2023-11-24T08:56:58.552" v="113453"/>
          <ac:spMkLst>
            <pc:docMk/>
            <pc:sldMk cId="1966364550" sldId="2147473979"/>
            <ac:spMk id="739" creationId="{19A77354-C0CE-580F-21C0-23845092A9E1}"/>
          </ac:spMkLst>
        </pc:spChg>
        <pc:spChg chg="add del mod">
          <ac:chgData name="Steiner Andreas 6206 ED" userId="e6377c33-a923-4f14-8587-531c474c7b48" providerId="ADAL" clId="{6ECD27E6-B224-41CD-B4E0-E297462320DD}" dt="2023-11-24T08:57:00.839" v="113608"/>
          <ac:spMkLst>
            <pc:docMk/>
            <pc:sldMk cId="1966364550" sldId="2147473979"/>
            <ac:spMk id="740" creationId="{BDBF8B84-B1E4-A771-16BE-BA646D07DC4E}"/>
          </ac:spMkLst>
        </pc:spChg>
        <pc:spChg chg="add del mod">
          <ac:chgData name="Steiner Andreas 6206 ED" userId="e6377c33-a923-4f14-8587-531c474c7b48" providerId="ADAL" clId="{6ECD27E6-B224-41CD-B4E0-E297462320DD}" dt="2023-11-24T08:57:03.250" v="113763"/>
          <ac:spMkLst>
            <pc:docMk/>
            <pc:sldMk cId="1966364550" sldId="2147473979"/>
            <ac:spMk id="741" creationId="{CBBEF18B-C78B-6C9E-73AF-35CE7B233C48}"/>
          </ac:spMkLst>
        </pc:spChg>
        <pc:spChg chg="add del mod">
          <ac:chgData name="Steiner Andreas 6206 ED" userId="e6377c33-a923-4f14-8587-531c474c7b48" providerId="ADAL" clId="{6ECD27E6-B224-41CD-B4E0-E297462320DD}" dt="2023-11-24T09:02:21.861" v="113918"/>
          <ac:spMkLst>
            <pc:docMk/>
            <pc:sldMk cId="1966364550" sldId="2147473979"/>
            <ac:spMk id="742" creationId="{A7840716-B1CD-1F07-0596-045FBBDF2373}"/>
          </ac:spMkLst>
        </pc:spChg>
        <pc:spChg chg="add del mod">
          <ac:chgData name="Steiner Andreas 6206 ED" userId="e6377c33-a923-4f14-8587-531c474c7b48" providerId="ADAL" clId="{6ECD27E6-B224-41CD-B4E0-E297462320DD}" dt="2023-11-24T09:02:27.639" v="114073"/>
          <ac:spMkLst>
            <pc:docMk/>
            <pc:sldMk cId="1966364550" sldId="2147473979"/>
            <ac:spMk id="743" creationId="{78A21CBE-5F4E-69BD-4849-16DE3AFF2087}"/>
          </ac:spMkLst>
        </pc:spChg>
        <pc:spChg chg="add del mod">
          <ac:chgData name="Steiner Andreas 6206 ED" userId="e6377c33-a923-4f14-8587-531c474c7b48" providerId="ADAL" clId="{6ECD27E6-B224-41CD-B4E0-E297462320DD}" dt="2023-11-24T09:02:30.263" v="114228"/>
          <ac:spMkLst>
            <pc:docMk/>
            <pc:sldMk cId="1966364550" sldId="2147473979"/>
            <ac:spMk id="744" creationId="{81A26F57-4D44-4D6D-DD08-C2F5B5D816D6}"/>
          </ac:spMkLst>
        </pc:spChg>
        <pc:spChg chg="add del mod">
          <ac:chgData name="Steiner Andreas 6206 ED" userId="e6377c33-a923-4f14-8587-531c474c7b48" providerId="ADAL" clId="{6ECD27E6-B224-41CD-B4E0-E297462320DD}" dt="2023-11-24T09:02:33.633" v="114383"/>
          <ac:spMkLst>
            <pc:docMk/>
            <pc:sldMk cId="1966364550" sldId="2147473979"/>
            <ac:spMk id="745" creationId="{2B207E4C-AA47-15DF-487C-D0085F7AC7BE}"/>
          </ac:spMkLst>
        </pc:spChg>
        <pc:spChg chg="add del mod">
          <ac:chgData name="Steiner Andreas 6206 ED" userId="e6377c33-a923-4f14-8587-531c474c7b48" providerId="ADAL" clId="{6ECD27E6-B224-41CD-B4E0-E297462320DD}" dt="2023-11-24T09:02:36.988" v="114538"/>
          <ac:spMkLst>
            <pc:docMk/>
            <pc:sldMk cId="1966364550" sldId="2147473979"/>
            <ac:spMk id="746" creationId="{0E52F798-3941-7F33-A7D9-5B19BD0304D4}"/>
          </ac:spMkLst>
        </pc:spChg>
        <pc:spChg chg="add del mod">
          <ac:chgData name="Steiner Andreas 6206 ED" userId="e6377c33-a923-4f14-8587-531c474c7b48" providerId="ADAL" clId="{6ECD27E6-B224-41CD-B4E0-E297462320DD}" dt="2023-11-24T11:31:22.791" v="114693"/>
          <ac:spMkLst>
            <pc:docMk/>
            <pc:sldMk cId="1966364550" sldId="2147473979"/>
            <ac:spMk id="747" creationId="{78950933-7BE7-5C17-9D03-7FAB69B5C342}"/>
          </ac:spMkLst>
        </pc:spChg>
        <pc:spChg chg="add del mod">
          <ac:chgData name="Steiner Andreas 6206 ED" userId="e6377c33-a923-4f14-8587-531c474c7b48" providerId="ADAL" clId="{6ECD27E6-B224-41CD-B4E0-E297462320DD}" dt="2023-11-24T11:33:30.082" v="114848"/>
          <ac:spMkLst>
            <pc:docMk/>
            <pc:sldMk cId="1966364550" sldId="2147473979"/>
            <ac:spMk id="748" creationId="{5A6DFAF0-9F8E-4B70-E532-7B962171E37B}"/>
          </ac:spMkLst>
        </pc:spChg>
        <pc:spChg chg="add del mod">
          <ac:chgData name="Steiner Andreas 6206 ED" userId="e6377c33-a923-4f14-8587-531c474c7b48" providerId="ADAL" clId="{6ECD27E6-B224-41CD-B4E0-E297462320DD}" dt="2023-11-24T11:33:36.552" v="115003"/>
          <ac:spMkLst>
            <pc:docMk/>
            <pc:sldMk cId="1966364550" sldId="2147473979"/>
            <ac:spMk id="749" creationId="{DC9BF052-1BCA-9F1B-C3E2-D69B765606C6}"/>
          </ac:spMkLst>
        </pc:spChg>
        <pc:spChg chg="add del mod">
          <ac:chgData name="Steiner Andreas 6206 ED" userId="e6377c33-a923-4f14-8587-531c474c7b48" providerId="ADAL" clId="{6ECD27E6-B224-41CD-B4E0-E297462320DD}" dt="2023-11-24T11:33:39.694" v="115158"/>
          <ac:spMkLst>
            <pc:docMk/>
            <pc:sldMk cId="1966364550" sldId="2147473979"/>
            <ac:spMk id="750" creationId="{9FEB1489-1E3B-92D4-43CB-D2515DEF2BE4}"/>
          </ac:spMkLst>
        </pc:spChg>
        <pc:spChg chg="add del mod">
          <ac:chgData name="Steiner Andreas 6206 ED" userId="e6377c33-a923-4f14-8587-531c474c7b48" providerId="ADAL" clId="{6ECD27E6-B224-41CD-B4E0-E297462320DD}" dt="2023-11-24T11:33:43.315" v="115313"/>
          <ac:spMkLst>
            <pc:docMk/>
            <pc:sldMk cId="1966364550" sldId="2147473979"/>
            <ac:spMk id="751" creationId="{B063260F-E1CC-A5C6-1558-6D7F74D70666}"/>
          </ac:spMkLst>
        </pc:spChg>
        <pc:spChg chg="add del mod">
          <ac:chgData name="Steiner Andreas 6206 ED" userId="e6377c33-a923-4f14-8587-531c474c7b48" providerId="ADAL" clId="{6ECD27E6-B224-41CD-B4E0-E297462320DD}" dt="2023-11-24T11:33:46.460" v="115468"/>
          <ac:spMkLst>
            <pc:docMk/>
            <pc:sldMk cId="1966364550" sldId="2147473979"/>
            <ac:spMk id="752" creationId="{681713B1-E3F7-A7F6-0A51-4FA7EEA2A408}"/>
          </ac:spMkLst>
        </pc:spChg>
        <pc:spChg chg="add del mod">
          <ac:chgData name="Steiner Andreas 6206 ED" userId="e6377c33-a923-4f14-8587-531c474c7b48" providerId="ADAL" clId="{6ECD27E6-B224-41CD-B4E0-E297462320DD}" dt="2023-11-24T11:33:49.528" v="115623"/>
          <ac:spMkLst>
            <pc:docMk/>
            <pc:sldMk cId="1966364550" sldId="2147473979"/>
            <ac:spMk id="753" creationId="{9DEB14A5-96BE-3F8C-5DC0-09A5D9CFEF0A}"/>
          </ac:spMkLst>
        </pc:spChg>
        <pc:spChg chg="add del mod">
          <ac:chgData name="Steiner Andreas 6206 ED" userId="e6377c33-a923-4f14-8587-531c474c7b48" providerId="ADAL" clId="{6ECD27E6-B224-41CD-B4E0-E297462320DD}" dt="2023-11-24T11:33:52.188" v="115778"/>
          <ac:spMkLst>
            <pc:docMk/>
            <pc:sldMk cId="1966364550" sldId="2147473979"/>
            <ac:spMk id="754" creationId="{3EDADA5A-D1F1-D48D-065C-A2BD3324B7E4}"/>
          </ac:spMkLst>
        </pc:spChg>
        <pc:spChg chg="add del mod">
          <ac:chgData name="Steiner Andreas 6206 ED" userId="e6377c33-a923-4f14-8587-531c474c7b48" providerId="ADAL" clId="{6ECD27E6-B224-41CD-B4E0-E297462320DD}" dt="2023-11-24T11:33:55.064" v="115933"/>
          <ac:spMkLst>
            <pc:docMk/>
            <pc:sldMk cId="1966364550" sldId="2147473979"/>
            <ac:spMk id="755" creationId="{309A2DAF-8B82-EE70-8D1C-D7A10E59ACA2}"/>
          </ac:spMkLst>
        </pc:spChg>
        <pc:spChg chg="add del mod">
          <ac:chgData name="Steiner Andreas 6206 ED" userId="e6377c33-a923-4f14-8587-531c474c7b48" providerId="ADAL" clId="{6ECD27E6-B224-41CD-B4E0-E297462320DD}" dt="2023-11-24T11:33:57.495" v="116088"/>
          <ac:spMkLst>
            <pc:docMk/>
            <pc:sldMk cId="1966364550" sldId="2147473979"/>
            <ac:spMk id="756" creationId="{51FCA361-6528-8D78-FB2F-21BDA6D47ADD}"/>
          </ac:spMkLst>
        </pc:spChg>
        <pc:spChg chg="add del mod">
          <ac:chgData name="Steiner Andreas 6206 ED" userId="e6377c33-a923-4f14-8587-531c474c7b48" providerId="ADAL" clId="{6ECD27E6-B224-41CD-B4E0-E297462320DD}" dt="2023-11-24T11:33:59.819" v="116243"/>
          <ac:spMkLst>
            <pc:docMk/>
            <pc:sldMk cId="1966364550" sldId="2147473979"/>
            <ac:spMk id="757" creationId="{FB1973E9-D07C-D1E8-B693-568D90EE27B8}"/>
          </ac:spMkLst>
        </pc:spChg>
        <pc:spChg chg="add del mod">
          <ac:chgData name="Steiner Andreas 6206 ED" userId="e6377c33-a923-4f14-8587-531c474c7b48" providerId="ADAL" clId="{6ECD27E6-B224-41CD-B4E0-E297462320DD}" dt="2023-11-24T11:34:02.197" v="116398"/>
          <ac:spMkLst>
            <pc:docMk/>
            <pc:sldMk cId="1966364550" sldId="2147473979"/>
            <ac:spMk id="758" creationId="{9100887A-6B9B-A059-EF0F-0C8D2545F11F}"/>
          </ac:spMkLst>
        </pc:spChg>
        <pc:spChg chg="add del mod">
          <ac:chgData name="Steiner Andreas 6206 ED" userId="e6377c33-a923-4f14-8587-531c474c7b48" providerId="ADAL" clId="{6ECD27E6-B224-41CD-B4E0-E297462320DD}" dt="2023-11-24T11:34:04.472" v="116553"/>
          <ac:spMkLst>
            <pc:docMk/>
            <pc:sldMk cId="1966364550" sldId="2147473979"/>
            <ac:spMk id="759" creationId="{2E371F6C-EB1E-638F-4048-4F15E17C0303}"/>
          </ac:spMkLst>
        </pc:spChg>
        <pc:spChg chg="add del mod">
          <ac:chgData name="Steiner Andreas 6206 ED" userId="e6377c33-a923-4f14-8587-531c474c7b48" providerId="ADAL" clId="{6ECD27E6-B224-41CD-B4E0-E297462320DD}" dt="2023-11-24T11:34:07.036" v="116708"/>
          <ac:spMkLst>
            <pc:docMk/>
            <pc:sldMk cId="1966364550" sldId="2147473979"/>
            <ac:spMk id="760" creationId="{075B19F8-327E-E081-1752-94152B1AD0E5}"/>
          </ac:spMkLst>
        </pc:spChg>
        <pc:spChg chg="add del mod">
          <ac:chgData name="Steiner Andreas 6206 ED" userId="e6377c33-a923-4f14-8587-531c474c7b48" providerId="ADAL" clId="{6ECD27E6-B224-41CD-B4E0-E297462320DD}" dt="2023-11-24T11:34:09.665" v="116863"/>
          <ac:spMkLst>
            <pc:docMk/>
            <pc:sldMk cId="1966364550" sldId="2147473979"/>
            <ac:spMk id="761" creationId="{85B5FDBE-508A-8DA2-4CDA-CDD902FDB57D}"/>
          </ac:spMkLst>
        </pc:spChg>
        <pc:spChg chg="add del mod">
          <ac:chgData name="Steiner Andreas 6206 ED" userId="e6377c33-a923-4f14-8587-531c474c7b48" providerId="ADAL" clId="{6ECD27E6-B224-41CD-B4E0-E297462320DD}" dt="2023-11-24T11:34:11.508" v="117018"/>
          <ac:spMkLst>
            <pc:docMk/>
            <pc:sldMk cId="1966364550" sldId="2147473979"/>
            <ac:spMk id="762" creationId="{6311F782-A8E6-0FA8-3825-2941A9853337}"/>
          </ac:spMkLst>
        </pc:spChg>
        <pc:spChg chg="add del mod">
          <ac:chgData name="Steiner Andreas 6206 ED" userId="e6377c33-a923-4f14-8587-531c474c7b48" providerId="ADAL" clId="{6ECD27E6-B224-41CD-B4E0-E297462320DD}" dt="2023-11-24T11:34:13.275" v="117173"/>
          <ac:spMkLst>
            <pc:docMk/>
            <pc:sldMk cId="1966364550" sldId="2147473979"/>
            <ac:spMk id="763" creationId="{CFE3CDB0-BC0E-1BF6-4A5D-66753ADAB302}"/>
          </ac:spMkLst>
        </pc:spChg>
        <pc:spChg chg="add del mod">
          <ac:chgData name="Steiner Andreas 6206 ED" userId="e6377c33-a923-4f14-8587-531c474c7b48" providerId="ADAL" clId="{6ECD27E6-B224-41CD-B4E0-E297462320DD}" dt="2023-11-24T11:34:15.072" v="117328"/>
          <ac:spMkLst>
            <pc:docMk/>
            <pc:sldMk cId="1966364550" sldId="2147473979"/>
            <ac:spMk id="764" creationId="{2C2D7A8F-1F75-C8C5-2051-C5FC907BD485}"/>
          </ac:spMkLst>
        </pc:spChg>
        <pc:spChg chg="add del mod">
          <ac:chgData name="Steiner Andreas 6206 ED" userId="e6377c33-a923-4f14-8587-531c474c7b48" providerId="ADAL" clId="{6ECD27E6-B224-41CD-B4E0-E297462320DD}" dt="2023-11-24T11:34:16.850" v="117483"/>
          <ac:spMkLst>
            <pc:docMk/>
            <pc:sldMk cId="1966364550" sldId="2147473979"/>
            <ac:spMk id="765" creationId="{3D6545E2-1161-6F23-5706-6D870E667993}"/>
          </ac:spMkLst>
        </pc:spChg>
        <pc:spChg chg="add del mod">
          <ac:chgData name="Steiner Andreas 6206 ED" userId="e6377c33-a923-4f14-8587-531c474c7b48" providerId="ADAL" clId="{6ECD27E6-B224-41CD-B4E0-E297462320DD}" dt="2023-11-24T11:34:18.657" v="117638"/>
          <ac:spMkLst>
            <pc:docMk/>
            <pc:sldMk cId="1966364550" sldId="2147473979"/>
            <ac:spMk id="766" creationId="{07B5B578-DF92-85D9-800D-0DDC7E547312}"/>
          </ac:spMkLst>
        </pc:spChg>
        <pc:spChg chg="add del mod">
          <ac:chgData name="Steiner Andreas 6206 ED" userId="e6377c33-a923-4f14-8587-531c474c7b48" providerId="ADAL" clId="{6ECD27E6-B224-41CD-B4E0-E297462320DD}" dt="2023-11-24T11:34:20.822" v="117793"/>
          <ac:spMkLst>
            <pc:docMk/>
            <pc:sldMk cId="1966364550" sldId="2147473979"/>
            <ac:spMk id="767" creationId="{32BADA86-F221-01EF-FBC2-5600EBBEF720}"/>
          </ac:spMkLst>
        </pc:spChg>
        <pc:spChg chg="add del mod">
          <ac:chgData name="Steiner Andreas 6206 ED" userId="e6377c33-a923-4f14-8587-531c474c7b48" providerId="ADAL" clId="{6ECD27E6-B224-41CD-B4E0-E297462320DD}" dt="2023-11-24T11:34:22.726" v="117948"/>
          <ac:spMkLst>
            <pc:docMk/>
            <pc:sldMk cId="1966364550" sldId="2147473979"/>
            <ac:spMk id="768" creationId="{1908CCE3-0DE6-1FC3-88C7-FB0DBB6AFDF4}"/>
          </ac:spMkLst>
        </pc:spChg>
        <pc:spChg chg="add del mod">
          <ac:chgData name="Steiner Andreas 6206 ED" userId="e6377c33-a923-4f14-8587-531c474c7b48" providerId="ADAL" clId="{6ECD27E6-B224-41CD-B4E0-E297462320DD}" dt="2023-11-24T11:34:24.809" v="118103"/>
          <ac:spMkLst>
            <pc:docMk/>
            <pc:sldMk cId="1966364550" sldId="2147473979"/>
            <ac:spMk id="769" creationId="{5FCF9897-9F9C-0312-4329-DBF1329C69BE}"/>
          </ac:spMkLst>
        </pc:spChg>
        <pc:spChg chg="add del mod">
          <ac:chgData name="Steiner Andreas 6206 ED" userId="e6377c33-a923-4f14-8587-531c474c7b48" providerId="ADAL" clId="{6ECD27E6-B224-41CD-B4E0-E297462320DD}" dt="2023-11-24T11:34:27.434" v="118258"/>
          <ac:spMkLst>
            <pc:docMk/>
            <pc:sldMk cId="1966364550" sldId="2147473979"/>
            <ac:spMk id="770" creationId="{F1B4DDDC-9187-D04F-ED82-40EF7B63BD68}"/>
          </ac:spMkLst>
        </pc:spChg>
        <pc:spChg chg="add del mod">
          <ac:chgData name="Steiner Andreas 6206 ED" userId="e6377c33-a923-4f14-8587-531c474c7b48" providerId="ADAL" clId="{6ECD27E6-B224-41CD-B4E0-E297462320DD}" dt="2023-11-24T11:34:29.439" v="118413"/>
          <ac:spMkLst>
            <pc:docMk/>
            <pc:sldMk cId="1966364550" sldId="2147473979"/>
            <ac:spMk id="771" creationId="{198B15A5-AF00-088D-BA66-101AC48FE26B}"/>
          </ac:spMkLst>
        </pc:spChg>
        <pc:spChg chg="add del mod">
          <ac:chgData name="Steiner Andreas 6206 ED" userId="e6377c33-a923-4f14-8587-531c474c7b48" providerId="ADAL" clId="{6ECD27E6-B224-41CD-B4E0-E297462320DD}" dt="2023-11-24T11:34:31.729" v="118568"/>
          <ac:spMkLst>
            <pc:docMk/>
            <pc:sldMk cId="1966364550" sldId="2147473979"/>
            <ac:spMk id="772" creationId="{707198EC-B50F-16A6-51B7-A76E1619C84D}"/>
          </ac:spMkLst>
        </pc:spChg>
        <pc:spChg chg="add del mod">
          <ac:chgData name="Steiner Andreas 6206 ED" userId="e6377c33-a923-4f14-8587-531c474c7b48" providerId="ADAL" clId="{6ECD27E6-B224-41CD-B4E0-E297462320DD}" dt="2023-11-24T11:34:33.675" v="118723"/>
          <ac:spMkLst>
            <pc:docMk/>
            <pc:sldMk cId="1966364550" sldId="2147473979"/>
            <ac:spMk id="773" creationId="{8F754413-5141-9674-35E3-FB7CBD61F61F}"/>
          </ac:spMkLst>
        </pc:spChg>
        <pc:spChg chg="add del mod">
          <ac:chgData name="Steiner Andreas 6206 ED" userId="e6377c33-a923-4f14-8587-531c474c7b48" providerId="ADAL" clId="{6ECD27E6-B224-41CD-B4E0-E297462320DD}" dt="2023-11-24T11:34:35.659" v="118878"/>
          <ac:spMkLst>
            <pc:docMk/>
            <pc:sldMk cId="1966364550" sldId="2147473979"/>
            <ac:spMk id="774" creationId="{D692BD15-69D5-4BF4-A71F-84F4C2AAF757}"/>
          </ac:spMkLst>
        </pc:spChg>
        <pc:spChg chg="add del mod">
          <ac:chgData name="Steiner Andreas 6206 ED" userId="e6377c33-a923-4f14-8587-531c474c7b48" providerId="ADAL" clId="{6ECD27E6-B224-41CD-B4E0-E297462320DD}" dt="2023-11-24T11:34:37.760" v="119033"/>
          <ac:spMkLst>
            <pc:docMk/>
            <pc:sldMk cId="1966364550" sldId="2147473979"/>
            <ac:spMk id="775" creationId="{0E7AFF57-7D4D-028B-846E-34C213E1B1FE}"/>
          </ac:spMkLst>
        </pc:spChg>
        <pc:spChg chg="add del mod">
          <ac:chgData name="Steiner Andreas 6206 ED" userId="e6377c33-a923-4f14-8587-531c474c7b48" providerId="ADAL" clId="{6ECD27E6-B224-41CD-B4E0-E297462320DD}" dt="2023-11-24T11:34:39.726" v="119188"/>
          <ac:spMkLst>
            <pc:docMk/>
            <pc:sldMk cId="1966364550" sldId="2147473979"/>
            <ac:spMk id="776" creationId="{29F83170-4361-46B9-C081-51BABB97FDB1}"/>
          </ac:spMkLst>
        </pc:spChg>
        <pc:spChg chg="add del mod">
          <ac:chgData name="Steiner Andreas 6206 ED" userId="e6377c33-a923-4f14-8587-531c474c7b48" providerId="ADAL" clId="{6ECD27E6-B224-41CD-B4E0-E297462320DD}" dt="2023-11-24T11:34:41.924" v="119343"/>
          <ac:spMkLst>
            <pc:docMk/>
            <pc:sldMk cId="1966364550" sldId="2147473979"/>
            <ac:spMk id="777" creationId="{D4BF3C09-483F-9ABB-5C29-5F2287C5BEC8}"/>
          </ac:spMkLst>
        </pc:spChg>
        <pc:spChg chg="add del mod">
          <ac:chgData name="Steiner Andreas 6206 ED" userId="e6377c33-a923-4f14-8587-531c474c7b48" providerId="ADAL" clId="{6ECD27E6-B224-41CD-B4E0-E297462320DD}" dt="2023-11-24T11:34:44.047" v="119498"/>
          <ac:spMkLst>
            <pc:docMk/>
            <pc:sldMk cId="1966364550" sldId="2147473979"/>
            <ac:spMk id="778" creationId="{D93A40CC-B8ED-D8F1-B85D-9310C96BC4C2}"/>
          </ac:spMkLst>
        </pc:spChg>
        <pc:spChg chg="add del mod">
          <ac:chgData name="Steiner Andreas 6206 ED" userId="e6377c33-a923-4f14-8587-531c474c7b48" providerId="ADAL" clId="{6ECD27E6-B224-41CD-B4E0-E297462320DD}" dt="2023-11-24T11:34:46.035" v="119653"/>
          <ac:spMkLst>
            <pc:docMk/>
            <pc:sldMk cId="1966364550" sldId="2147473979"/>
            <ac:spMk id="779" creationId="{CD8ACFA3-33D4-9CE6-4B08-731101BB0FCC}"/>
          </ac:spMkLst>
        </pc:spChg>
        <pc:spChg chg="add del mod">
          <ac:chgData name="Steiner Andreas 6206 ED" userId="e6377c33-a923-4f14-8587-531c474c7b48" providerId="ADAL" clId="{6ECD27E6-B224-41CD-B4E0-E297462320DD}" dt="2023-11-24T11:34:47.938" v="119808"/>
          <ac:spMkLst>
            <pc:docMk/>
            <pc:sldMk cId="1966364550" sldId="2147473979"/>
            <ac:spMk id="780" creationId="{298FE36C-1D8C-2E8B-E808-388F8C5699F3}"/>
          </ac:spMkLst>
        </pc:spChg>
        <pc:spChg chg="add del mod">
          <ac:chgData name="Steiner Andreas 6206 ED" userId="e6377c33-a923-4f14-8587-531c474c7b48" providerId="ADAL" clId="{6ECD27E6-B224-41CD-B4E0-E297462320DD}" dt="2023-11-24T11:34:50.153" v="119963"/>
          <ac:spMkLst>
            <pc:docMk/>
            <pc:sldMk cId="1966364550" sldId="2147473979"/>
            <ac:spMk id="781" creationId="{EB6E6E76-B867-0FA1-1E72-97F81B2243D5}"/>
          </ac:spMkLst>
        </pc:spChg>
        <pc:spChg chg="add del mod">
          <ac:chgData name="Steiner Andreas 6206 ED" userId="e6377c33-a923-4f14-8587-531c474c7b48" providerId="ADAL" clId="{6ECD27E6-B224-41CD-B4E0-E297462320DD}" dt="2023-11-24T11:34:52.260" v="120118"/>
          <ac:spMkLst>
            <pc:docMk/>
            <pc:sldMk cId="1966364550" sldId="2147473979"/>
            <ac:spMk id="782" creationId="{56122BA6-5F32-5971-DC6E-AF00EBFFFD0E}"/>
          </ac:spMkLst>
        </pc:spChg>
        <pc:spChg chg="add del mod">
          <ac:chgData name="Steiner Andreas 6206 ED" userId="e6377c33-a923-4f14-8587-531c474c7b48" providerId="ADAL" clId="{6ECD27E6-B224-41CD-B4E0-E297462320DD}" dt="2023-11-24T11:34:54.207" v="120273"/>
          <ac:spMkLst>
            <pc:docMk/>
            <pc:sldMk cId="1966364550" sldId="2147473979"/>
            <ac:spMk id="783" creationId="{52C4D7E3-C4D0-D92E-1530-5D0BC8509D4C}"/>
          </ac:spMkLst>
        </pc:spChg>
        <pc:spChg chg="add del mod">
          <ac:chgData name="Steiner Andreas 6206 ED" userId="e6377c33-a923-4f14-8587-531c474c7b48" providerId="ADAL" clId="{6ECD27E6-B224-41CD-B4E0-E297462320DD}" dt="2023-11-24T11:34:56.071" v="120428"/>
          <ac:spMkLst>
            <pc:docMk/>
            <pc:sldMk cId="1966364550" sldId="2147473979"/>
            <ac:spMk id="784" creationId="{C1CB2775-78A4-AED0-1849-82235FD30EA4}"/>
          </ac:spMkLst>
        </pc:spChg>
        <pc:spChg chg="add del mod">
          <ac:chgData name="Steiner Andreas 6206 ED" userId="e6377c33-a923-4f14-8587-531c474c7b48" providerId="ADAL" clId="{6ECD27E6-B224-41CD-B4E0-E297462320DD}" dt="2023-11-24T11:34:57.893" v="120583"/>
          <ac:spMkLst>
            <pc:docMk/>
            <pc:sldMk cId="1966364550" sldId="2147473979"/>
            <ac:spMk id="785" creationId="{D9B39043-2FB5-190A-82FC-D9257F6A6FE9}"/>
          </ac:spMkLst>
        </pc:spChg>
        <pc:spChg chg="add del mod">
          <ac:chgData name="Steiner Andreas 6206 ED" userId="e6377c33-a923-4f14-8587-531c474c7b48" providerId="ADAL" clId="{6ECD27E6-B224-41CD-B4E0-E297462320DD}" dt="2023-11-24T11:34:59.758" v="120738"/>
          <ac:spMkLst>
            <pc:docMk/>
            <pc:sldMk cId="1966364550" sldId="2147473979"/>
            <ac:spMk id="786" creationId="{BA407203-F2B3-AB52-85DA-383D3BD6D7E6}"/>
          </ac:spMkLst>
        </pc:spChg>
        <pc:spChg chg="add del mod">
          <ac:chgData name="Steiner Andreas 6206 ED" userId="e6377c33-a923-4f14-8587-531c474c7b48" providerId="ADAL" clId="{6ECD27E6-B224-41CD-B4E0-E297462320DD}" dt="2023-11-24T11:35:01.599" v="120893"/>
          <ac:spMkLst>
            <pc:docMk/>
            <pc:sldMk cId="1966364550" sldId="2147473979"/>
            <ac:spMk id="787" creationId="{E860F44D-0121-A7DB-C69E-4D245DDEFE94}"/>
          </ac:spMkLst>
        </pc:spChg>
        <pc:spChg chg="add del mod">
          <ac:chgData name="Steiner Andreas 6206 ED" userId="e6377c33-a923-4f14-8587-531c474c7b48" providerId="ADAL" clId="{6ECD27E6-B224-41CD-B4E0-E297462320DD}" dt="2023-11-24T11:35:03.465" v="121048"/>
          <ac:spMkLst>
            <pc:docMk/>
            <pc:sldMk cId="1966364550" sldId="2147473979"/>
            <ac:spMk id="788" creationId="{593722C1-A2CB-6071-D441-BF9A7BB041B6}"/>
          </ac:spMkLst>
        </pc:spChg>
        <pc:spChg chg="add del mod">
          <ac:chgData name="Steiner Andreas 6206 ED" userId="e6377c33-a923-4f14-8587-531c474c7b48" providerId="ADAL" clId="{6ECD27E6-B224-41CD-B4E0-E297462320DD}" dt="2023-11-24T11:35:05.371" v="121203"/>
          <ac:spMkLst>
            <pc:docMk/>
            <pc:sldMk cId="1966364550" sldId="2147473979"/>
            <ac:spMk id="789" creationId="{6E4F097F-1139-9F2F-8C8E-66A4891B24A7}"/>
          </ac:spMkLst>
        </pc:spChg>
        <pc:spChg chg="add del mod">
          <ac:chgData name="Steiner Andreas 6206 ED" userId="e6377c33-a923-4f14-8587-531c474c7b48" providerId="ADAL" clId="{6ECD27E6-B224-41CD-B4E0-E297462320DD}" dt="2023-11-24T11:35:07.570" v="121358"/>
          <ac:spMkLst>
            <pc:docMk/>
            <pc:sldMk cId="1966364550" sldId="2147473979"/>
            <ac:spMk id="790" creationId="{C15D0A5D-43B2-6E71-CFBE-8229C23DC306}"/>
          </ac:spMkLst>
        </pc:spChg>
        <pc:spChg chg="add del mod">
          <ac:chgData name="Steiner Andreas 6206 ED" userId="e6377c33-a923-4f14-8587-531c474c7b48" providerId="ADAL" clId="{6ECD27E6-B224-41CD-B4E0-E297462320DD}" dt="2023-11-24T11:35:09.513" v="121513"/>
          <ac:spMkLst>
            <pc:docMk/>
            <pc:sldMk cId="1966364550" sldId="2147473979"/>
            <ac:spMk id="791" creationId="{27B703E5-9617-63B3-577B-136A7845A1B6}"/>
          </ac:spMkLst>
        </pc:spChg>
        <pc:spChg chg="add del mod">
          <ac:chgData name="Steiner Andreas 6206 ED" userId="e6377c33-a923-4f14-8587-531c474c7b48" providerId="ADAL" clId="{6ECD27E6-B224-41CD-B4E0-E297462320DD}" dt="2023-11-24T11:35:11.480" v="121668"/>
          <ac:spMkLst>
            <pc:docMk/>
            <pc:sldMk cId="1966364550" sldId="2147473979"/>
            <ac:spMk id="792" creationId="{4717EB33-F5DF-ABBB-8CD1-BA39F8B30B2F}"/>
          </ac:spMkLst>
        </pc:spChg>
        <pc:spChg chg="add del mod">
          <ac:chgData name="Steiner Andreas 6206 ED" userId="e6377c33-a923-4f14-8587-531c474c7b48" providerId="ADAL" clId="{6ECD27E6-B224-41CD-B4E0-E297462320DD}" dt="2023-11-24T11:35:13.195" v="121823"/>
          <ac:spMkLst>
            <pc:docMk/>
            <pc:sldMk cId="1966364550" sldId="2147473979"/>
            <ac:spMk id="793" creationId="{9BE6EDEB-56E0-A6EA-EE8D-50DD04D3E5EA}"/>
          </ac:spMkLst>
        </pc:spChg>
        <pc:spChg chg="add del mod">
          <ac:chgData name="Steiner Andreas 6206 ED" userId="e6377c33-a923-4f14-8587-531c474c7b48" providerId="ADAL" clId="{6ECD27E6-B224-41CD-B4E0-E297462320DD}" dt="2023-11-24T11:35:15.159" v="121978"/>
          <ac:spMkLst>
            <pc:docMk/>
            <pc:sldMk cId="1966364550" sldId="2147473979"/>
            <ac:spMk id="794" creationId="{182F4599-A451-70F9-8519-84377506F106}"/>
          </ac:spMkLst>
        </pc:spChg>
        <pc:spChg chg="add del mod">
          <ac:chgData name="Steiner Andreas 6206 ED" userId="e6377c33-a923-4f14-8587-531c474c7b48" providerId="ADAL" clId="{6ECD27E6-B224-41CD-B4E0-E297462320DD}" dt="2023-11-24T11:35:16.826" v="122133"/>
          <ac:spMkLst>
            <pc:docMk/>
            <pc:sldMk cId="1966364550" sldId="2147473979"/>
            <ac:spMk id="795" creationId="{99F5EAA3-D7E9-75FD-F7AD-853628B67A9C}"/>
          </ac:spMkLst>
        </pc:spChg>
        <pc:spChg chg="add del mod">
          <ac:chgData name="Steiner Andreas 6206 ED" userId="e6377c33-a923-4f14-8587-531c474c7b48" providerId="ADAL" clId="{6ECD27E6-B224-41CD-B4E0-E297462320DD}" dt="2023-11-24T11:35:18.526" v="122288"/>
          <ac:spMkLst>
            <pc:docMk/>
            <pc:sldMk cId="1966364550" sldId="2147473979"/>
            <ac:spMk id="796" creationId="{03A08019-5523-AF7F-2A79-37A9BD3C042C}"/>
          </ac:spMkLst>
        </pc:spChg>
        <pc:spChg chg="add del mod">
          <ac:chgData name="Steiner Andreas 6206 ED" userId="e6377c33-a923-4f14-8587-531c474c7b48" providerId="ADAL" clId="{6ECD27E6-B224-41CD-B4E0-E297462320DD}" dt="2023-11-24T11:35:20.149" v="122443"/>
          <ac:spMkLst>
            <pc:docMk/>
            <pc:sldMk cId="1966364550" sldId="2147473979"/>
            <ac:spMk id="797" creationId="{DE4E69F4-0939-5C24-A63E-B390F993DC33}"/>
          </ac:spMkLst>
        </pc:spChg>
        <pc:spChg chg="add del mod">
          <ac:chgData name="Steiner Andreas 6206 ED" userId="e6377c33-a923-4f14-8587-531c474c7b48" providerId="ADAL" clId="{6ECD27E6-B224-41CD-B4E0-E297462320DD}" dt="2023-11-24T11:35:21.782" v="122598"/>
          <ac:spMkLst>
            <pc:docMk/>
            <pc:sldMk cId="1966364550" sldId="2147473979"/>
            <ac:spMk id="798" creationId="{89BC8180-F821-7FFE-7BB7-28C45ABDEB60}"/>
          </ac:spMkLst>
        </pc:spChg>
        <pc:spChg chg="add del mod">
          <ac:chgData name="Steiner Andreas 6206 ED" userId="e6377c33-a923-4f14-8587-531c474c7b48" providerId="ADAL" clId="{6ECD27E6-B224-41CD-B4E0-E297462320DD}" dt="2023-11-24T11:35:23.515" v="122753"/>
          <ac:spMkLst>
            <pc:docMk/>
            <pc:sldMk cId="1966364550" sldId="2147473979"/>
            <ac:spMk id="799" creationId="{0C6503A9-BE0E-C073-9149-07B98A4229D8}"/>
          </ac:spMkLst>
        </pc:spChg>
        <pc:spChg chg="add del mod">
          <ac:chgData name="Steiner Andreas 6206 ED" userId="e6377c33-a923-4f14-8587-531c474c7b48" providerId="ADAL" clId="{6ECD27E6-B224-41CD-B4E0-E297462320DD}" dt="2023-11-24T11:35:25.609" v="122908"/>
          <ac:spMkLst>
            <pc:docMk/>
            <pc:sldMk cId="1966364550" sldId="2147473979"/>
            <ac:spMk id="800" creationId="{522C3A26-A83A-C496-124F-25E9F9389661}"/>
          </ac:spMkLst>
        </pc:spChg>
        <pc:spChg chg="add del mod">
          <ac:chgData name="Steiner Andreas 6206 ED" userId="e6377c33-a923-4f14-8587-531c474c7b48" providerId="ADAL" clId="{6ECD27E6-B224-41CD-B4E0-E297462320DD}" dt="2023-11-24T11:35:27.604" v="123063"/>
          <ac:spMkLst>
            <pc:docMk/>
            <pc:sldMk cId="1966364550" sldId="2147473979"/>
            <ac:spMk id="801" creationId="{53FEA6F2-DE5B-180D-2575-29770F7344DB}"/>
          </ac:spMkLst>
        </pc:spChg>
        <pc:spChg chg="add del mod">
          <ac:chgData name="Steiner Andreas 6206 ED" userId="e6377c33-a923-4f14-8587-531c474c7b48" providerId="ADAL" clId="{6ECD27E6-B224-41CD-B4E0-E297462320DD}" dt="2023-11-24T11:35:29.463" v="123218"/>
          <ac:spMkLst>
            <pc:docMk/>
            <pc:sldMk cId="1966364550" sldId="2147473979"/>
            <ac:spMk id="802" creationId="{B8F2ED26-11C1-0BA3-0428-7ADED71671A4}"/>
          </ac:spMkLst>
        </pc:spChg>
        <pc:spChg chg="add del mod">
          <ac:chgData name="Steiner Andreas 6206 ED" userId="e6377c33-a923-4f14-8587-531c474c7b48" providerId="ADAL" clId="{6ECD27E6-B224-41CD-B4E0-E297462320DD}" dt="2023-11-24T11:35:31.165" v="123373"/>
          <ac:spMkLst>
            <pc:docMk/>
            <pc:sldMk cId="1966364550" sldId="2147473979"/>
            <ac:spMk id="803" creationId="{30D0F792-ED5A-5B1A-0E2E-865B64F65EE9}"/>
          </ac:spMkLst>
        </pc:spChg>
        <pc:spChg chg="add del mod">
          <ac:chgData name="Steiner Andreas 6206 ED" userId="e6377c33-a923-4f14-8587-531c474c7b48" providerId="ADAL" clId="{6ECD27E6-B224-41CD-B4E0-E297462320DD}" dt="2023-11-24T11:35:34.161" v="123528"/>
          <ac:spMkLst>
            <pc:docMk/>
            <pc:sldMk cId="1966364550" sldId="2147473979"/>
            <ac:spMk id="804" creationId="{626E701C-DE6C-A087-4EAF-CAC60E5B2122}"/>
          </ac:spMkLst>
        </pc:spChg>
        <pc:spChg chg="add del mod">
          <ac:chgData name="Steiner Andreas 6206 ED" userId="e6377c33-a923-4f14-8587-531c474c7b48" providerId="ADAL" clId="{6ECD27E6-B224-41CD-B4E0-E297462320DD}" dt="2023-11-24T11:35:35.931" v="123683"/>
          <ac:spMkLst>
            <pc:docMk/>
            <pc:sldMk cId="1966364550" sldId="2147473979"/>
            <ac:spMk id="805" creationId="{68A48AA7-F47D-1553-908C-CD4FCDCF2FCF}"/>
          </ac:spMkLst>
        </pc:spChg>
        <pc:spChg chg="add del mod">
          <ac:chgData name="Steiner Andreas 6206 ED" userId="e6377c33-a923-4f14-8587-531c474c7b48" providerId="ADAL" clId="{6ECD27E6-B224-41CD-B4E0-E297462320DD}" dt="2023-11-24T11:35:37.578" v="123838"/>
          <ac:spMkLst>
            <pc:docMk/>
            <pc:sldMk cId="1966364550" sldId="2147473979"/>
            <ac:spMk id="806" creationId="{4AE1B641-5FE8-FDE9-1926-47E2F4A5B207}"/>
          </ac:spMkLst>
        </pc:spChg>
        <pc:spChg chg="add del mod">
          <ac:chgData name="Steiner Andreas 6206 ED" userId="e6377c33-a923-4f14-8587-531c474c7b48" providerId="ADAL" clId="{6ECD27E6-B224-41CD-B4E0-E297462320DD}" dt="2023-11-24T11:35:39.227" v="123993"/>
          <ac:spMkLst>
            <pc:docMk/>
            <pc:sldMk cId="1966364550" sldId="2147473979"/>
            <ac:spMk id="807" creationId="{B694EEC4-8D93-A390-3D4F-CA4209A4A2C4}"/>
          </ac:spMkLst>
        </pc:spChg>
        <pc:spChg chg="add del mod">
          <ac:chgData name="Steiner Andreas 6206 ED" userId="e6377c33-a923-4f14-8587-531c474c7b48" providerId="ADAL" clId="{6ECD27E6-B224-41CD-B4E0-E297462320DD}" dt="2023-11-24T11:35:40.931" v="124148"/>
          <ac:spMkLst>
            <pc:docMk/>
            <pc:sldMk cId="1966364550" sldId="2147473979"/>
            <ac:spMk id="808" creationId="{FA533E9D-8B89-7B0F-9B60-91B4E82EFC77}"/>
          </ac:spMkLst>
        </pc:spChg>
        <pc:spChg chg="add del mod">
          <ac:chgData name="Steiner Andreas 6206 ED" userId="e6377c33-a923-4f14-8587-531c474c7b48" providerId="ADAL" clId="{6ECD27E6-B224-41CD-B4E0-E297462320DD}" dt="2023-11-24T11:35:42.523" v="124303"/>
          <ac:spMkLst>
            <pc:docMk/>
            <pc:sldMk cId="1966364550" sldId="2147473979"/>
            <ac:spMk id="809" creationId="{D69606C5-24CD-AA62-3C5D-D4DE0C573B2E}"/>
          </ac:spMkLst>
        </pc:spChg>
        <pc:spChg chg="add del mod">
          <ac:chgData name="Steiner Andreas 6206 ED" userId="e6377c33-a923-4f14-8587-531c474c7b48" providerId="ADAL" clId="{6ECD27E6-B224-41CD-B4E0-E297462320DD}" dt="2023-11-24T11:35:44.228" v="124458"/>
          <ac:spMkLst>
            <pc:docMk/>
            <pc:sldMk cId="1966364550" sldId="2147473979"/>
            <ac:spMk id="810" creationId="{3A479402-BE39-2FBE-B974-6AAFEE15F4F5}"/>
          </ac:spMkLst>
        </pc:spChg>
        <pc:spChg chg="add del mod">
          <ac:chgData name="Steiner Andreas 6206 ED" userId="e6377c33-a923-4f14-8587-531c474c7b48" providerId="ADAL" clId="{6ECD27E6-B224-41CD-B4E0-E297462320DD}" dt="2023-11-24T11:35:45.863" v="124613"/>
          <ac:spMkLst>
            <pc:docMk/>
            <pc:sldMk cId="1966364550" sldId="2147473979"/>
            <ac:spMk id="811" creationId="{C6CC22CE-7C88-C5F6-E5D5-4C0A11A7D750}"/>
          </ac:spMkLst>
        </pc:spChg>
        <pc:spChg chg="add del mod">
          <ac:chgData name="Steiner Andreas 6206 ED" userId="e6377c33-a923-4f14-8587-531c474c7b48" providerId="ADAL" clId="{6ECD27E6-B224-41CD-B4E0-E297462320DD}" dt="2023-11-24T11:35:47.563" v="124768"/>
          <ac:spMkLst>
            <pc:docMk/>
            <pc:sldMk cId="1966364550" sldId="2147473979"/>
            <ac:spMk id="812" creationId="{8BCB8407-8D1E-501C-0B1D-9F10FDDEE654}"/>
          </ac:spMkLst>
        </pc:spChg>
        <pc:spChg chg="add del mod">
          <ac:chgData name="Steiner Andreas 6206 ED" userId="e6377c33-a923-4f14-8587-531c474c7b48" providerId="ADAL" clId="{6ECD27E6-B224-41CD-B4E0-E297462320DD}" dt="2023-11-24T11:35:49.373" v="124923"/>
          <ac:spMkLst>
            <pc:docMk/>
            <pc:sldMk cId="1966364550" sldId="2147473979"/>
            <ac:spMk id="813" creationId="{D540C380-5AEF-CD18-F807-F223C9AFFA1B}"/>
          </ac:spMkLst>
        </pc:spChg>
        <pc:spChg chg="add del mod">
          <ac:chgData name="Steiner Andreas 6206 ED" userId="e6377c33-a923-4f14-8587-531c474c7b48" providerId="ADAL" clId="{6ECD27E6-B224-41CD-B4E0-E297462320DD}" dt="2023-11-24T11:35:51.282" v="125078"/>
          <ac:spMkLst>
            <pc:docMk/>
            <pc:sldMk cId="1966364550" sldId="2147473979"/>
            <ac:spMk id="814" creationId="{08EEAF8E-EF14-50FE-2FB9-FB5D34261D6E}"/>
          </ac:spMkLst>
        </pc:spChg>
        <pc:spChg chg="add del mod">
          <ac:chgData name="Steiner Andreas 6206 ED" userId="e6377c33-a923-4f14-8587-531c474c7b48" providerId="ADAL" clId="{6ECD27E6-B224-41CD-B4E0-E297462320DD}" dt="2023-11-24T11:35:52.990" v="125233"/>
          <ac:spMkLst>
            <pc:docMk/>
            <pc:sldMk cId="1966364550" sldId="2147473979"/>
            <ac:spMk id="815" creationId="{2D13F4DD-C366-5F73-E1FF-F233BDDE9EB3}"/>
          </ac:spMkLst>
        </pc:spChg>
        <pc:spChg chg="add del mod">
          <ac:chgData name="Steiner Andreas 6206 ED" userId="e6377c33-a923-4f14-8587-531c474c7b48" providerId="ADAL" clId="{6ECD27E6-B224-41CD-B4E0-E297462320DD}" dt="2023-11-24T11:35:55.023" v="125388"/>
          <ac:spMkLst>
            <pc:docMk/>
            <pc:sldMk cId="1966364550" sldId="2147473979"/>
            <ac:spMk id="816" creationId="{54902633-05F4-2F01-318A-820DB8749464}"/>
          </ac:spMkLst>
        </pc:spChg>
        <pc:spChg chg="add del mod">
          <ac:chgData name="Steiner Andreas 6206 ED" userId="e6377c33-a923-4f14-8587-531c474c7b48" providerId="ADAL" clId="{6ECD27E6-B224-41CD-B4E0-E297462320DD}" dt="2023-11-24T11:35:57.226" v="125543"/>
          <ac:spMkLst>
            <pc:docMk/>
            <pc:sldMk cId="1966364550" sldId="2147473979"/>
            <ac:spMk id="817" creationId="{EB62384F-494E-C6D6-C12A-CD24BB260645}"/>
          </ac:spMkLst>
        </pc:spChg>
        <pc:spChg chg="add del mod">
          <ac:chgData name="Steiner Andreas 6206 ED" userId="e6377c33-a923-4f14-8587-531c474c7b48" providerId="ADAL" clId="{6ECD27E6-B224-41CD-B4E0-E297462320DD}" dt="2023-11-24T11:35:58.967" v="125698"/>
          <ac:spMkLst>
            <pc:docMk/>
            <pc:sldMk cId="1966364550" sldId="2147473979"/>
            <ac:spMk id="818" creationId="{647CED8C-522D-A2B9-2E69-AA36FC40B007}"/>
          </ac:spMkLst>
        </pc:spChg>
        <pc:spChg chg="add del mod">
          <ac:chgData name="Steiner Andreas 6206 ED" userId="e6377c33-a923-4f14-8587-531c474c7b48" providerId="ADAL" clId="{6ECD27E6-B224-41CD-B4E0-E297462320DD}" dt="2023-11-24T11:36:00.713" v="125853"/>
          <ac:spMkLst>
            <pc:docMk/>
            <pc:sldMk cId="1966364550" sldId="2147473979"/>
            <ac:spMk id="819" creationId="{A1CC7C2E-622F-B663-837B-1B108F4F74F6}"/>
          </ac:spMkLst>
        </pc:spChg>
        <pc:spChg chg="add del mod">
          <ac:chgData name="Steiner Andreas 6206 ED" userId="e6377c33-a923-4f14-8587-531c474c7b48" providerId="ADAL" clId="{6ECD27E6-B224-41CD-B4E0-E297462320DD}" dt="2023-11-24T11:36:02.438" v="126008"/>
          <ac:spMkLst>
            <pc:docMk/>
            <pc:sldMk cId="1966364550" sldId="2147473979"/>
            <ac:spMk id="820" creationId="{D9970530-6884-A3F0-FF90-B0E134ACADB8}"/>
          </ac:spMkLst>
        </pc:spChg>
        <pc:spChg chg="add del mod">
          <ac:chgData name="Steiner Andreas 6206 ED" userId="e6377c33-a923-4f14-8587-531c474c7b48" providerId="ADAL" clId="{6ECD27E6-B224-41CD-B4E0-E297462320DD}" dt="2023-11-24T11:36:04.203" v="126163"/>
          <ac:spMkLst>
            <pc:docMk/>
            <pc:sldMk cId="1966364550" sldId="2147473979"/>
            <ac:spMk id="821" creationId="{11A6036B-950C-C8B2-4AB1-72BF22BD21AB}"/>
          </ac:spMkLst>
        </pc:spChg>
        <pc:spChg chg="add del mod">
          <ac:chgData name="Steiner Andreas 6206 ED" userId="e6377c33-a923-4f14-8587-531c474c7b48" providerId="ADAL" clId="{6ECD27E6-B224-41CD-B4E0-E297462320DD}" dt="2023-11-24T11:36:05.961" v="126318"/>
          <ac:spMkLst>
            <pc:docMk/>
            <pc:sldMk cId="1966364550" sldId="2147473979"/>
            <ac:spMk id="822" creationId="{A6779B6D-00D4-CC47-467F-8317FF5B253C}"/>
          </ac:spMkLst>
        </pc:spChg>
        <pc:spChg chg="add del mod">
          <ac:chgData name="Steiner Andreas 6206 ED" userId="e6377c33-a923-4f14-8587-531c474c7b48" providerId="ADAL" clId="{6ECD27E6-B224-41CD-B4E0-E297462320DD}" dt="2023-11-24T11:36:07.678" v="126473"/>
          <ac:spMkLst>
            <pc:docMk/>
            <pc:sldMk cId="1966364550" sldId="2147473979"/>
            <ac:spMk id="823" creationId="{29997BE2-9C17-D13B-D220-6B3675BC559E}"/>
          </ac:spMkLst>
        </pc:spChg>
        <pc:spChg chg="add del mod">
          <ac:chgData name="Steiner Andreas 6206 ED" userId="e6377c33-a923-4f14-8587-531c474c7b48" providerId="ADAL" clId="{6ECD27E6-B224-41CD-B4E0-E297462320DD}" dt="2023-11-24T11:36:09.499" v="126628"/>
          <ac:spMkLst>
            <pc:docMk/>
            <pc:sldMk cId="1966364550" sldId="2147473979"/>
            <ac:spMk id="824" creationId="{8D45F804-073B-F2EB-49B9-E042B58205C4}"/>
          </ac:spMkLst>
        </pc:spChg>
        <pc:spChg chg="add del mod">
          <ac:chgData name="Steiner Andreas 6206 ED" userId="e6377c33-a923-4f14-8587-531c474c7b48" providerId="ADAL" clId="{6ECD27E6-B224-41CD-B4E0-E297462320DD}" dt="2023-11-24T11:36:11.376" v="126783"/>
          <ac:spMkLst>
            <pc:docMk/>
            <pc:sldMk cId="1966364550" sldId="2147473979"/>
            <ac:spMk id="825" creationId="{1AC2490D-279C-BEFA-3D07-147C01D0B294}"/>
          </ac:spMkLst>
        </pc:spChg>
        <pc:spChg chg="add del mod">
          <ac:chgData name="Steiner Andreas 6206 ED" userId="e6377c33-a923-4f14-8587-531c474c7b48" providerId="ADAL" clId="{6ECD27E6-B224-41CD-B4E0-E297462320DD}" dt="2023-11-24T11:36:13.224" v="126938"/>
          <ac:spMkLst>
            <pc:docMk/>
            <pc:sldMk cId="1966364550" sldId="2147473979"/>
            <ac:spMk id="826" creationId="{513AB030-7C53-AA85-4684-B88CCF0C268A}"/>
          </ac:spMkLst>
        </pc:spChg>
        <pc:spChg chg="add del mod">
          <ac:chgData name="Steiner Andreas 6206 ED" userId="e6377c33-a923-4f14-8587-531c474c7b48" providerId="ADAL" clId="{6ECD27E6-B224-41CD-B4E0-E297462320DD}" dt="2023-11-24T11:36:15.099" v="127093"/>
          <ac:spMkLst>
            <pc:docMk/>
            <pc:sldMk cId="1966364550" sldId="2147473979"/>
            <ac:spMk id="827" creationId="{89040435-B1D3-7E51-4224-FDEE3DDEE480}"/>
          </ac:spMkLst>
        </pc:spChg>
        <pc:spChg chg="add del mod">
          <ac:chgData name="Steiner Andreas 6206 ED" userId="e6377c33-a923-4f14-8587-531c474c7b48" providerId="ADAL" clId="{6ECD27E6-B224-41CD-B4E0-E297462320DD}" dt="2023-11-24T11:36:17.785" v="127248"/>
          <ac:spMkLst>
            <pc:docMk/>
            <pc:sldMk cId="1966364550" sldId="2147473979"/>
            <ac:spMk id="828" creationId="{B011AF45-DC9A-C110-936D-3DDBCF9B423B}"/>
          </ac:spMkLst>
        </pc:spChg>
        <pc:spChg chg="add del mod">
          <ac:chgData name="Steiner Andreas 6206 ED" userId="e6377c33-a923-4f14-8587-531c474c7b48" providerId="ADAL" clId="{6ECD27E6-B224-41CD-B4E0-E297462320DD}" dt="2023-11-24T11:36:20.318" v="127403"/>
          <ac:spMkLst>
            <pc:docMk/>
            <pc:sldMk cId="1966364550" sldId="2147473979"/>
            <ac:spMk id="829" creationId="{EF46B57F-8D14-1DBA-663A-5A8CF8420F8E}"/>
          </ac:spMkLst>
        </pc:spChg>
        <pc:spChg chg="add del mod">
          <ac:chgData name="Steiner Andreas 6206 ED" userId="e6377c33-a923-4f14-8587-531c474c7b48" providerId="ADAL" clId="{6ECD27E6-B224-41CD-B4E0-E297462320DD}" dt="2023-11-24T11:36:22.646" v="127558"/>
          <ac:spMkLst>
            <pc:docMk/>
            <pc:sldMk cId="1966364550" sldId="2147473979"/>
            <ac:spMk id="830" creationId="{7B82A0CD-259E-4619-BE27-49C13C6EB1E0}"/>
          </ac:spMkLst>
        </pc:spChg>
        <pc:spChg chg="add del mod">
          <ac:chgData name="Steiner Andreas 6206 ED" userId="e6377c33-a923-4f14-8587-531c474c7b48" providerId="ADAL" clId="{6ECD27E6-B224-41CD-B4E0-E297462320DD}" dt="2023-11-24T11:36:25.892" v="127713"/>
          <ac:spMkLst>
            <pc:docMk/>
            <pc:sldMk cId="1966364550" sldId="2147473979"/>
            <ac:spMk id="831" creationId="{95BC46B7-BAB3-F478-79E4-F9C1F4730851}"/>
          </ac:spMkLst>
        </pc:spChg>
        <pc:spChg chg="add del mod">
          <ac:chgData name="Steiner Andreas 6206 ED" userId="e6377c33-a923-4f14-8587-531c474c7b48" providerId="ADAL" clId="{6ECD27E6-B224-41CD-B4E0-E297462320DD}" dt="2023-11-24T11:36:28.592" v="127868"/>
          <ac:spMkLst>
            <pc:docMk/>
            <pc:sldMk cId="1966364550" sldId="2147473979"/>
            <ac:spMk id="832" creationId="{379EB6D6-EFB1-BEE7-700D-AD123B83670C}"/>
          </ac:spMkLst>
        </pc:spChg>
        <pc:spChg chg="add del mod">
          <ac:chgData name="Steiner Andreas 6206 ED" userId="e6377c33-a923-4f14-8587-531c474c7b48" providerId="ADAL" clId="{6ECD27E6-B224-41CD-B4E0-E297462320DD}" dt="2023-11-24T11:36:31.271" v="128023"/>
          <ac:spMkLst>
            <pc:docMk/>
            <pc:sldMk cId="1966364550" sldId="2147473979"/>
            <ac:spMk id="833" creationId="{903D9C5C-9C22-41A4-F2E7-ECF34A8AF914}"/>
          </ac:spMkLst>
        </pc:spChg>
        <pc:spChg chg="add del mod">
          <ac:chgData name="Steiner Andreas 6206 ED" userId="e6377c33-a923-4f14-8587-531c474c7b48" providerId="ADAL" clId="{6ECD27E6-B224-41CD-B4E0-E297462320DD}" dt="2023-11-24T11:36:33.513" v="128178"/>
          <ac:spMkLst>
            <pc:docMk/>
            <pc:sldMk cId="1966364550" sldId="2147473979"/>
            <ac:spMk id="834" creationId="{CD87F3E6-1640-7E66-908A-6B764A5732DB}"/>
          </ac:spMkLst>
        </pc:spChg>
        <pc:spChg chg="add del mod">
          <ac:chgData name="Steiner Andreas 6206 ED" userId="e6377c33-a923-4f14-8587-531c474c7b48" providerId="ADAL" clId="{6ECD27E6-B224-41CD-B4E0-E297462320DD}" dt="2023-11-24T11:36:35.562" v="128333"/>
          <ac:spMkLst>
            <pc:docMk/>
            <pc:sldMk cId="1966364550" sldId="2147473979"/>
            <ac:spMk id="835" creationId="{53520626-C575-5590-8210-366D082289FD}"/>
          </ac:spMkLst>
        </pc:spChg>
        <pc:spChg chg="add del mod">
          <ac:chgData name="Steiner Andreas 6206 ED" userId="e6377c33-a923-4f14-8587-531c474c7b48" providerId="ADAL" clId="{6ECD27E6-B224-41CD-B4E0-E297462320DD}" dt="2023-11-24T11:36:37.730" v="128488"/>
          <ac:spMkLst>
            <pc:docMk/>
            <pc:sldMk cId="1966364550" sldId="2147473979"/>
            <ac:spMk id="836" creationId="{3E5BFE15-F17A-84EC-6743-525ED5E71154}"/>
          </ac:spMkLst>
        </pc:spChg>
        <pc:spChg chg="add del mod">
          <ac:chgData name="Steiner Andreas 6206 ED" userId="e6377c33-a923-4f14-8587-531c474c7b48" providerId="ADAL" clId="{6ECD27E6-B224-41CD-B4E0-E297462320DD}" dt="2023-11-24T11:36:39.919" v="128643"/>
          <ac:spMkLst>
            <pc:docMk/>
            <pc:sldMk cId="1966364550" sldId="2147473979"/>
            <ac:spMk id="837" creationId="{95622ED5-3BFD-9442-A48F-FD74B59DDCDE}"/>
          </ac:spMkLst>
        </pc:spChg>
        <pc:spChg chg="add del mod">
          <ac:chgData name="Steiner Andreas 6206 ED" userId="e6377c33-a923-4f14-8587-531c474c7b48" providerId="ADAL" clId="{6ECD27E6-B224-41CD-B4E0-E297462320DD}" dt="2023-11-24T11:36:42.475" v="128798"/>
          <ac:spMkLst>
            <pc:docMk/>
            <pc:sldMk cId="1966364550" sldId="2147473979"/>
            <ac:spMk id="838" creationId="{11B5E533-FD4B-6319-53DD-6AB112715FC7}"/>
          </ac:spMkLst>
        </pc:spChg>
        <pc:spChg chg="add del mod">
          <ac:chgData name="Steiner Andreas 6206 ED" userId="e6377c33-a923-4f14-8587-531c474c7b48" providerId="ADAL" clId="{6ECD27E6-B224-41CD-B4E0-E297462320DD}" dt="2023-11-24T11:36:44.771" v="128953"/>
          <ac:spMkLst>
            <pc:docMk/>
            <pc:sldMk cId="1966364550" sldId="2147473979"/>
            <ac:spMk id="839" creationId="{E129D010-BF37-9807-F913-34937B08DA9D}"/>
          </ac:spMkLst>
        </pc:spChg>
        <pc:spChg chg="add del mod">
          <ac:chgData name="Steiner Andreas 6206 ED" userId="e6377c33-a923-4f14-8587-531c474c7b48" providerId="ADAL" clId="{6ECD27E6-B224-41CD-B4E0-E297462320DD}" dt="2023-11-24T11:36:46.704" v="129108"/>
          <ac:spMkLst>
            <pc:docMk/>
            <pc:sldMk cId="1966364550" sldId="2147473979"/>
            <ac:spMk id="840" creationId="{782E391B-D5F4-E92B-5E8D-C63F95865D60}"/>
          </ac:spMkLst>
        </pc:spChg>
        <pc:spChg chg="add del mod">
          <ac:chgData name="Steiner Andreas 6206 ED" userId="e6377c33-a923-4f14-8587-531c474c7b48" providerId="ADAL" clId="{6ECD27E6-B224-41CD-B4E0-E297462320DD}" dt="2023-11-24T11:36:48.689" v="129263"/>
          <ac:spMkLst>
            <pc:docMk/>
            <pc:sldMk cId="1966364550" sldId="2147473979"/>
            <ac:spMk id="841" creationId="{EFC9C048-BC34-3B65-3323-6CB1628D40DB}"/>
          </ac:spMkLst>
        </pc:spChg>
        <pc:spChg chg="add del mod">
          <ac:chgData name="Steiner Andreas 6206 ED" userId="e6377c33-a923-4f14-8587-531c474c7b48" providerId="ADAL" clId="{6ECD27E6-B224-41CD-B4E0-E297462320DD}" dt="2023-11-24T11:36:50.659" v="129418"/>
          <ac:spMkLst>
            <pc:docMk/>
            <pc:sldMk cId="1966364550" sldId="2147473979"/>
            <ac:spMk id="842" creationId="{32E41078-707B-6A60-6A0F-09685DDAE2C6}"/>
          </ac:spMkLst>
        </pc:spChg>
        <pc:spChg chg="add del mod">
          <ac:chgData name="Steiner Andreas 6206 ED" userId="e6377c33-a923-4f14-8587-531c474c7b48" providerId="ADAL" clId="{6ECD27E6-B224-41CD-B4E0-E297462320DD}" dt="2023-11-24T11:36:52.808" v="129573"/>
          <ac:spMkLst>
            <pc:docMk/>
            <pc:sldMk cId="1966364550" sldId="2147473979"/>
            <ac:spMk id="843" creationId="{A5A5C07F-5DFE-4D58-AF93-5E9E0F3A3011}"/>
          </ac:spMkLst>
        </pc:spChg>
        <pc:spChg chg="add del mod">
          <ac:chgData name="Steiner Andreas 6206 ED" userId="e6377c33-a923-4f14-8587-531c474c7b48" providerId="ADAL" clId="{6ECD27E6-B224-41CD-B4E0-E297462320DD}" dt="2023-11-24T11:36:55.719" v="129728"/>
          <ac:spMkLst>
            <pc:docMk/>
            <pc:sldMk cId="1966364550" sldId="2147473979"/>
            <ac:spMk id="844" creationId="{C9B3D4B9-1338-E266-51D3-717FD216BADB}"/>
          </ac:spMkLst>
        </pc:spChg>
        <pc:spChg chg="add del mod">
          <ac:chgData name="Steiner Andreas 6206 ED" userId="e6377c33-a923-4f14-8587-531c474c7b48" providerId="ADAL" clId="{6ECD27E6-B224-41CD-B4E0-E297462320DD}" dt="2023-11-24T11:36:57.953" v="129883"/>
          <ac:spMkLst>
            <pc:docMk/>
            <pc:sldMk cId="1966364550" sldId="2147473979"/>
            <ac:spMk id="845" creationId="{3ECE652D-8347-1F74-A759-A5EA1EFA7F6B}"/>
          </ac:spMkLst>
        </pc:spChg>
        <pc:spChg chg="add del mod">
          <ac:chgData name="Steiner Andreas 6206 ED" userId="e6377c33-a923-4f14-8587-531c474c7b48" providerId="ADAL" clId="{6ECD27E6-B224-41CD-B4E0-E297462320DD}" dt="2023-11-24T11:37:00.264" v="130038"/>
          <ac:spMkLst>
            <pc:docMk/>
            <pc:sldMk cId="1966364550" sldId="2147473979"/>
            <ac:spMk id="846" creationId="{280EFA30-7799-C3F9-B3F8-D46BAE589944}"/>
          </ac:spMkLst>
        </pc:spChg>
        <pc:spChg chg="add del mod">
          <ac:chgData name="Steiner Andreas 6206 ED" userId="e6377c33-a923-4f14-8587-531c474c7b48" providerId="ADAL" clId="{6ECD27E6-B224-41CD-B4E0-E297462320DD}" dt="2023-11-24T11:37:02.063" v="130193"/>
          <ac:spMkLst>
            <pc:docMk/>
            <pc:sldMk cId="1966364550" sldId="2147473979"/>
            <ac:spMk id="847" creationId="{2BBAF863-4B9B-48AD-F3C8-52A73470615B}"/>
          </ac:spMkLst>
        </pc:spChg>
        <pc:spChg chg="add del mod">
          <ac:chgData name="Steiner Andreas 6206 ED" userId="e6377c33-a923-4f14-8587-531c474c7b48" providerId="ADAL" clId="{6ECD27E6-B224-41CD-B4E0-E297462320DD}" dt="2023-11-24T11:37:03.806" v="130348"/>
          <ac:spMkLst>
            <pc:docMk/>
            <pc:sldMk cId="1966364550" sldId="2147473979"/>
            <ac:spMk id="848" creationId="{D5051C6F-54A9-7384-3308-3D60CC02D4B4}"/>
          </ac:spMkLst>
        </pc:spChg>
        <pc:spChg chg="add del mod">
          <ac:chgData name="Steiner Andreas 6206 ED" userId="e6377c33-a923-4f14-8587-531c474c7b48" providerId="ADAL" clId="{6ECD27E6-B224-41CD-B4E0-E297462320DD}" dt="2023-11-24T11:37:05.681" v="130503"/>
          <ac:spMkLst>
            <pc:docMk/>
            <pc:sldMk cId="1966364550" sldId="2147473979"/>
            <ac:spMk id="849" creationId="{A53964BF-B8C1-DA96-6577-BF29EC77DB23}"/>
          </ac:spMkLst>
        </pc:spChg>
        <pc:spChg chg="add del mod">
          <ac:chgData name="Steiner Andreas 6206 ED" userId="e6377c33-a923-4f14-8587-531c474c7b48" providerId="ADAL" clId="{6ECD27E6-B224-41CD-B4E0-E297462320DD}" dt="2023-11-24T11:37:07.449" v="130658"/>
          <ac:spMkLst>
            <pc:docMk/>
            <pc:sldMk cId="1966364550" sldId="2147473979"/>
            <ac:spMk id="850" creationId="{1230D830-248C-619A-045A-259A98D576BB}"/>
          </ac:spMkLst>
        </pc:spChg>
        <pc:spChg chg="add del mod">
          <ac:chgData name="Steiner Andreas 6206 ED" userId="e6377c33-a923-4f14-8587-531c474c7b48" providerId="ADAL" clId="{6ECD27E6-B224-41CD-B4E0-E297462320DD}" dt="2023-11-24T11:37:09.156" v="130813"/>
          <ac:spMkLst>
            <pc:docMk/>
            <pc:sldMk cId="1966364550" sldId="2147473979"/>
            <ac:spMk id="851" creationId="{249CD276-183C-AB4E-BF04-5238F63C764E}"/>
          </ac:spMkLst>
        </pc:spChg>
        <pc:spChg chg="add del mod">
          <ac:chgData name="Steiner Andreas 6206 ED" userId="e6377c33-a923-4f14-8587-531c474c7b48" providerId="ADAL" clId="{6ECD27E6-B224-41CD-B4E0-E297462320DD}" dt="2023-11-24T11:37:10.843" v="130968"/>
          <ac:spMkLst>
            <pc:docMk/>
            <pc:sldMk cId="1966364550" sldId="2147473979"/>
            <ac:spMk id="852" creationId="{658841BE-21AC-2D37-3E6C-01A06F24BF1C}"/>
          </ac:spMkLst>
        </pc:spChg>
        <pc:spChg chg="add del mod">
          <ac:chgData name="Steiner Andreas 6206 ED" userId="e6377c33-a923-4f14-8587-531c474c7b48" providerId="ADAL" clId="{6ECD27E6-B224-41CD-B4E0-E297462320DD}" dt="2023-11-24T11:37:12.511" v="131123"/>
          <ac:spMkLst>
            <pc:docMk/>
            <pc:sldMk cId="1966364550" sldId="2147473979"/>
            <ac:spMk id="853" creationId="{2498A6B1-7BDA-A701-B08B-7F406C7A51A4}"/>
          </ac:spMkLst>
        </pc:spChg>
        <pc:spChg chg="add del mod">
          <ac:chgData name="Steiner Andreas 6206 ED" userId="e6377c33-a923-4f14-8587-531c474c7b48" providerId="ADAL" clId="{6ECD27E6-B224-41CD-B4E0-E297462320DD}" dt="2023-11-24T11:37:14.181" v="131278"/>
          <ac:spMkLst>
            <pc:docMk/>
            <pc:sldMk cId="1966364550" sldId="2147473979"/>
            <ac:spMk id="854" creationId="{61DE3C35-3DF6-9F74-58E1-64FD0E24421F}"/>
          </ac:spMkLst>
        </pc:spChg>
        <pc:spChg chg="add del mod">
          <ac:chgData name="Steiner Andreas 6206 ED" userId="e6377c33-a923-4f14-8587-531c474c7b48" providerId="ADAL" clId="{6ECD27E6-B224-41CD-B4E0-E297462320DD}" dt="2023-11-24T11:37:16.288" v="131433"/>
          <ac:spMkLst>
            <pc:docMk/>
            <pc:sldMk cId="1966364550" sldId="2147473979"/>
            <ac:spMk id="855" creationId="{38B7544A-8B54-BCFB-0317-96B11F6AED25}"/>
          </ac:spMkLst>
        </pc:spChg>
        <pc:spChg chg="add del mod">
          <ac:chgData name="Steiner Andreas 6206 ED" userId="e6377c33-a923-4f14-8587-531c474c7b48" providerId="ADAL" clId="{6ECD27E6-B224-41CD-B4E0-E297462320DD}" dt="2023-11-24T11:37:18.252" v="131588"/>
          <ac:spMkLst>
            <pc:docMk/>
            <pc:sldMk cId="1966364550" sldId="2147473979"/>
            <ac:spMk id="856" creationId="{A15DEB18-4155-9D89-E0A3-5B5BD1D58778}"/>
          </ac:spMkLst>
        </pc:spChg>
        <pc:spChg chg="add del mod">
          <ac:chgData name="Steiner Andreas 6206 ED" userId="e6377c33-a923-4f14-8587-531c474c7b48" providerId="ADAL" clId="{6ECD27E6-B224-41CD-B4E0-E297462320DD}" dt="2023-11-24T11:37:20.130" v="131743"/>
          <ac:spMkLst>
            <pc:docMk/>
            <pc:sldMk cId="1966364550" sldId="2147473979"/>
            <ac:spMk id="857" creationId="{D3EFDF3B-5F49-7856-1232-56838DC213C0}"/>
          </ac:spMkLst>
        </pc:spChg>
        <pc:spChg chg="add del mod">
          <ac:chgData name="Steiner Andreas 6206 ED" userId="e6377c33-a923-4f14-8587-531c474c7b48" providerId="ADAL" clId="{6ECD27E6-B224-41CD-B4E0-E297462320DD}" dt="2023-11-24T11:37:22.039" v="131898"/>
          <ac:spMkLst>
            <pc:docMk/>
            <pc:sldMk cId="1966364550" sldId="2147473979"/>
            <ac:spMk id="858" creationId="{4494E26F-7C46-4A34-C130-6449D5F8C0E7}"/>
          </ac:spMkLst>
        </pc:spChg>
        <pc:spChg chg="add del mod">
          <ac:chgData name="Steiner Andreas 6206 ED" userId="e6377c33-a923-4f14-8587-531c474c7b48" providerId="ADAL" clId="{6ECD27E6-B224-41CD-B4E0-E297462320DD}" dt="2023-11-24T11:37:23.796" v="132053"/>
          <ac:spMkLst>
            <pc:docMk/>
            <pc:sldMk cId="1966364550" sldId="2147473979"/>
            <ac:spMk id="859" creationId="{B3561087-E21D-3239-5D63-AA8E158EE570}"/>
          </ac:spMkLst>
        </pc:spChg>
        <pc:spChg chg="add del mod">
          <ac:chgData name="Steiner Andreas 6206 ED" userId="e6377c33-a923-4f14-8587-531c474c7b48" providerId="ADAL" clId="{6ECD27E6-B224-41CD-B4E0-E297462320DD}" dt="2023-11-24T11:37:25.503" v="132208"/>
          <ac:spMkLst>
            <pc:docMk/>
            <pc:sldMk cId="1966364550" sldId="2147473979"/>
            <ac:spMk id="860" creationId="{C566E16C-EC45-3847-BF82-2D81DD94CF58}"/>
          </ac:spMkLst>
        </pc:spChg>
        <pc:spChg chg="add del mod">
          <ac:chgData name="Steiner Andreas 6206 ED" userId="e6377c33-a923-4f14-8587-531c474c7b48" providerId="ADAL" clId="{6ECD27E6-B224-41CD-B4E0-E297462320DD}" dt="2023-11-24T11:37:27.514" v="132363"/>
          <ac:spMkLst>
            <pc:docMk/>
            <pc:sldMk cId="1966364550" sldId="2147473979"/>
            <ac:spMk id="861" creationId="{6D17763F-EDF3-8D28-4565-3C7F56518309}"/>
          </ac:spMkLst>
        </pc:spChg>
        <pc:spChg chg="add del mod">
          <ac:chgData name="Steiner Andreas 6206 ED" userId="e6377c33-a923-4f14-8587-531c474c7b48" providerId="ADAL" clId="{6ECD27E6-B224-41CD-B4E0-E297462320DD}" dt="2023-11-24T11:37:30.240" v="132518"/>
          <ac:spMkLst>
            <pc:docMk/>
            <pc:sldMk cId="1966364550" sldId="2147473979"/>
            <ac:spMk id="862" creationId="{1F853215-DBD9-C5F3-0CC9-B08F1C4231A9}"/>
          </ac:spMkLst>
        </pc:spChg>
        <pc:spChg chg="add del mod">
          <ac:chgData name="Steiner Andreas 6206 ED" userId="e6377c33-a923-4f14-8587-531c474c7b48" providerId="ADAL" clId="{6ECD27E6-B224-41CD-B4E0-E297462320DD}" dt="2023-11-24T11:37:32.872" v="132673"/>
          <ac:spMkLst>
            <pc:docMk/>
            <pc:sldMk cId="1966364550" sldId="2147473979"/>
            <ac:spMk id="863" creationId="{07F162F7-3A13-67BB-7EE9-2860D41B0885}"/>
          </ac:spMkLst>
        </pc:spChg>
        <pc:spChg chg="add del mod">
          <ac:chgData name="Steiner Andreas 6206 ED" userId="e6377c33-a923-4f14-8587-531c474c7b48" providerId="ADAL" clId="{6ECD27E6-B224-41CD-B4E0-E297462320DD}" dt="2023-11-24T11:37:35.730" v="132828"/>
          <ac:spMkLst>
            <pc:docMk/>
            <pc:sldMk cId="1966364550" sldId="2147473979"/>
            <ac:spMk id="864" creationId="{2C009C35-6C9B-4708-A75C-747D3509936B}"/>
          </ac:spMkLst>
        </pc:spChg>
        <pc:spChg chg="add del mod">
          <ac:chgData name="Steiner Andreas 6206 ED" userId="e6377c33-a923-4f14-8587-531c474c7b48" providerId="ADAL" clId="{6ECD27E6-B224-41CD-B4E0-E297462320DD}" dt="2023-11-24T11:37:38.491" v="132983"/>
          <ac:spMkLst>
            <pc:docMk/>
            <pc:sldMk cId="1966364550" sldId="2147473979"/>
            <ac:spMk id="865" creationId="{D242228B-F47D-9989-36BA-D47F4585EF5C}"/>
          </ac:spMkLst>
        </pc:spChg>
        <pc:spChg chg="add del mod">
          <ac:chgData name="Steiner Andreas 6206 ED" userId="e6377c33-a923-4f14-8587-531c474c7b48" providerId="ADAL" clId="{6ECD27E6-B224-41CD-B4E0-E297462320DD}" dt="2023-11-24T11:37:40.997" v="133138"/>
          <ac:spMkLst>
            <pc:docMk/>
            <pc:sldMk cId="1966364550" sldId="2147473979"/>
            <ac:spMk id="866" creationId="{DE702903-1ABB-C237-81C5-18D7D195B2F8}"/>
          </ac:spMkLst>
        </pc:spChg>
        <pc:spChg chg="add del mod">
          <ac:chgData name="Steiner Andreas 6206 ED" userId="e6377c33-a923-4f14-8587-531c474c7b48" providerId="ADAL" clId="{6ECD27E6-B224-41CD-B4E0-E297462320DD}" dt="2023-11-24T11:37:44.164" v="133293"/>
          <ac:spMkLst>
            <pc:docMk/>
            <pc:sldMk cId="1966364550" sldId="2147473979"/>
            <ac:spMk id="867" creationId="{FDD04A8C-9763-7864-0DE1-2BF8562123D0}"/>
          </ac:spMkLst>
        </pc:spChg>
        <pc:spChg chg="add del mod">
          <ac:chgData name="Steiner Andreas 6206 ED" userId="e6377c33-a923-4f14-8587-531c474c7b48" providerId="ADAL" clId="{6ECD27E6-B224-41CD-B4E0-E297462320DD}" dt="2023-11-24T11:37:48.219" v="133448"/>
          <ac:spMkLst>
            <pc:docMk/>
            <pc:sldMk cId="1966364550" sldId="2147473979"/>
            <ac:spMk id="868" creationId="{7159C5A0-F33A-A76E-4434-8F1F607C6531}"/>
          </ac:spMkLst>
        </pc:spChg>
        <pc:spChg chg="add del mod">
          <ac:chgData name="Steiner Andreas 6206 ED" userId="e6377c33-a923-4f14-8587-531c474c7b48" providerId="ADAL" clId="{6ECD27E6-B224-41CD-B4E0-E297462320DD}" dt="2023-11-24T11:37:51.434" v="133603"/>
          <ac:spMkLst>
            <pc:docMk/>
            <pc:sldMk cId="1966364550" sldId="2147473979"/>
            <ac:spMk id="869" creationId="{7040A1B9-9D30-9316-F3F7-3EB101801428}"/>
          </ac:spMkLst>
        </pc:spChg>
        <pc:spChg chg="add del mod">
          <ac:chgData name="Steiner Andreas 6206 ED" userId="e6377c33-a923-4f14-8587-531c474c7b48" providerId="ADAL" clId="{6ECD27E6-B224-41CD-B4E0-E297462320DD}" dt="2023-11-24T11:37:54.190" v="133758"/>
          <ac:spMkLst>
            <pc:docMk/>
            <pc:sldMk cId="1966364550" sldId="2147473979"/>
            <ac:spMk id="870" creationId="{1C80B30F-D118-3DE5-88A7-120D4A93F252}"/>
          </ac:spMkLst>
        </pc:spChg>
        <pc:spChg chg="add del mod">
          <ac:chgData name="Steiner Andreas 6206 ED" userId="e6377c33-a923-4f14-8587-531c474c7b48" providerId="ADAL" clId="{6ECD27E6-B224-41CD-B4E0-E297462320DD}" dt="2023-11-24T11:37:56.582" v="133913"/>
          <ac:spMkLst>
            <pc:docMk/>
            <pc:sldMk cId="1966364550" sldId="2147473979"/>
            <ac:spMk id="871" creationId="{A820BAEB-51BC-A1E3-EA86-4ED617E303A7}"/>
          </ac:spMkLst>
        </pc:spChg>
        <pc:spChg chg="add del mod">
          <ac:chgData name="Steiner Andreas 6206 ED" userId="e6377c33-a923-4f14-8587-531c474c7b48" providerId="ADAL" clId="{6ECD27E6-B224-41CD-B4E0-E297462320DD}" dt="2023-11-24T11:37:59.169" v="134068"/>
          <ac:spMkLst>
            <pc:docMk/>
            <pc:sldMk cId="1966364550" sldId="2147473979"/>
            <ac:spMk id="872" creationId="{F53C5682-BD93-92D5-6B36-BC612E2DFC9C}"/>
          </ac:spMkLst>
        </pc:spChg>
        <pc:spChg chg="add del mod">
          <ac:chgData name="Steiner Andreas 6206 ED" userId="e6377c33-a923-4f14-8587-531c474c7b48" providerId="ADAL" clId="{6ECD27E6-B224-41CD-B4E0-E297462320DD}" dt="2023-11-24T11:38:01.412" v="134223"/>
          <ac:spMkLst>
            <pc:docMk/>
            <pc:sldMk cId="1966364550" sldId="2147473979"/>
            <ac:spMk id="873" creationId="{60742835-D9C5-65A3-4A02-2DBF3C065571}"/>
          </ac:spMkLst>
        </pc:spChg>
        <pc:spChg chg="add del mod">
          <ac:chgData name="Steiner Andreas 6206 ED" userId="e6377c33-a923-4f14-8587-531c474c7b48" providerId="ADAL" clId="{6ECD27E6-B224-41CD-B4E0-E297462320DD}" dt="2023-11-24T11:38:03.965" v="134378"/>
          <ac:spMkLst>
            <pc:docMk/>
            <pc:sldMk cId="1966364550" sldId="2147473979"/>
            <ac:spMk id="874" creationId="{406DEE6C-87A6-06A3-E38A-0F180CD42A3D}"/>
          </ac:spMkLst>
        </pc:spChg>
        <pc:spChg chg="add del mod">
          <ac:chgData name="Steiner Andreas 6206 ED" userId="e6377c33-a923-4f14-8587-531c474c7b48" providerId="ADAL" clId="{6ECD27E6-B224-41CD-B4E0-E297462320DD}" dt="2023-11-24T11:38:06.398" v="134533"/>
          <ac:spMkLst>
            <pc:docMk/>
            <pc:sldMk cId="1966364550" sldId="2147473979"/>
            <ac:spMk id="875" creationId="{E4F61034-F048-6787-F55A-9F55D8DCA861}"/>
          </ac:spMkLst>
        </pc:spChg>
        <pc:spChg chg="add del mod">
          <ac:chgData name="Steiner Andreas 6206 ED" userId="e6377c33-a923-4f14-8587-531c474c7b48" providerId="ADAL" clId="{6ECD27E6-B224-41CD-B4E0-E297462320DD}" dt="2023-11-24T11:38:09.341" v="134688"/>
          <ac:spMkLst>
            <pc:docMk/>
            <pc:sldMk cId="1966364550" sldId="2147473979"/>
            <ac:spMk id="876" creationId="{E2C0D73E-45AE-1B39-E67E-15FA5F61D7EA}"/>
          </ac:spMkLst>
        </pc:spChg>
        <pc:spChg chg="add del mod">
          <ac:chgData name="Steiner Andreas 6206 ED" userId="e6377c33-a923-4f14-8587-531c474c7b48" providerId="ADAL" clId="{6ECD27E6-B224-41CD-B4E0-E297462320DD}" dt="2023-11-24T11:38:12.050" v="134843"/>
          <ac:spMkLst>
            <pc:docMk/>
            <pc:sldMk cId="1966364550" sldId="2147473979"/>
            <ac:spMk id="877" creationId="{0B578252-EB48-8514-EEE9-77B61323E76F}"/>
          </ac:spMkLst>
        </pc:spChg>
        <pc:spChg chg="add del mod">
          <ac:chgData name="Steiner Andreas 6206 ED" userId="e6377c33-a923-4f14-8587-531c474c7b48" providerId="ADAL" clId="{6ECD27E6-B224-41CD-B4E0-E297462320DD}" dt="2023-11-24T11:38:14.340" v="134998"/>
          <ac:spMkLst>
            <pc:docMk/>
            <pc:sldMk cId="1966364550" sldId="2147473979"/>
            <ac:spMk id="878" creationId="{B96DE3B7-8600-28C4-0358-DB989E26B7A9}"/>
          </ac:spMkLst>
        </pc:spChg>
        <pc:spChg chg="add del mod">
          <ac:chgData name="Steiner Andreas 6206 ED" userId="e6377c33-a923-4f14-8587-531c474c7b48" providerId="ADAL" clId="{6ECD27E6-B224-41CD-B4E0-E297462320DD}" dt="2023-11-24T11:38:16.762" v="135153"/>
          <ac:spMkLst>
            <pc:docMk/>
            <pc:sldMk cId="1966364550" sldId="2147473979"/>
            <ac:spMk id="879" creationId="{8D914366-C2C6-696E-3676-79A6BE32376D}"/>
          </ac:spMkLst>
        </pc:spChg>
        <pc:spChg chg="add del mod">
          <ac:chgData name="Steiner Andreas 6206 ED" userId="e6377c33-a923-4f14-8587-531c474c7b48" providerId="ADAL" clId="{6ECD27E6-B224-41CD-B4E0-E297462320DD}" dt="2023-11-24T11:38:19.711" v="135308"/>
          <ac:spMkLst>
            <pc:docMk/>
            <pc:sldMk cId="1966364550" sldId="2147473979"/>
            <ac:spMk id="880" creationId="{8A07B24A-550A-84EF-8369-4C51027C9EDA}"/>
          </ac:spMkLst>
        </pc:spChg>
        <pc:spChg chg="add del mod">
          <ac:chgData name="Steiner Andreas 6206 ED" userId="e6377c33-a923-4f14-8587-531c474c7b48" providerId="ADAL" clId="{6ECD27E6-B224-41CD-B4E0-E297462320DD}" dt="2023-11-24T11:38:22.324" v="135463"/>
          <ac:spMkLst>
            <pc:docMk/>
            <pc:sldMk cId="1966364550" sldId="2147473979"/>
            <ac:spMk id="881" creationId="{BBFE447D-7B06-C076-C313-C8E5E8F07952}"/>
          </ac:spMkLst>
        </pc:spChg>
        <pc:spChg chg="add del mod">
          <ac:chgData name="Steiner Andreas 6206 ED" userId="e6377c33-a923-4f14-8587-531c474c7b48" providerId="ADAL" clId="{6ECD27E6-B224-41CD-B4E0-E297462320DD}" dt="2023-11-24T11:38:25.006" v="135618"/>
          <ac:spMkLst>
            <pc:docMk/>
            <pc:sldMk cId="1966364550" sldId="2147473979"/>
            <ac:spMk id="882" creationId="{A51407A4-2DE7-BDC1-32EE-AD3E1E120A82}"/>
          </ac:spMkLst>
        </pc:spChg>
        <pc:spChg chg="add del mod">
          <ac:chgData name="Steiner Andreas 6206 ED" userId="e6377c33-a923-4f14-8587-531c474c7b48" providerId="ADAL" clId="{6ECD27E6-B224-41CD-B4E0-E297462320DD}" dt="2023-11-24T11:38:27.755" v="135773"/>
          <ac:spMkLst>
            <pc:docMk/>
            <pc:sldMk cId="1966364550" sldId="2147473979"/>
            <ac:spMk id="883" creationId="{2B6E1E68-A3C3-6695-FE8D-A2BAF9021B72}"/>
          </ac:spMkLst>
        </pc:spChg>
        <pc:spChg chg="add del mod">
          <ac:chgData name="Steiner Andreas 6206 ED" userId="e6377c33-a923-4f14-8587-531c474c7b48" providerId="ADAL" clId="{6ECD27E6-B224-41CD-B4E0-E297462320DD}" dt="2023-11-24T11:38:30.450" v="135928"/>
          <ac:spMkLst>
            <pc:docMk/>
            <pc:sldMk cId="1966364550" sldId="2147473979"/>
            <ac:spMk id="884" creationId="{E69F206B-FE1C-FCF7-2211-F0E6ED88D38E}"/>
          </ac:spMkLst>
        </pc:spChg>
        <pc:spChg chg="add del mod">
          <ac:chgData name="Steiner Andreas 6206 ED" userId="e6377c33-a923-4f14-8587-531c474c7b48" providerId="ADAL" clId="{6ECD27E6-B224-41CD-B4E0-E297462320DD}" dt="2023-11-24T11:38:32.766" v="136083"/>
          <ac:spMkLst>
            <pc:docMk/>
            <pc:sldMk cId="1966364550" sldId="2147473979"/>
            <ac:spMk id="885" creationId="{89528E72-E49D-E48B-56F2-BCBAB723C64D}"/>
          </ac:spMkLst>
        </pc:spChg>
        <pc:spChg chg="add del mod">
          <ac:chgData name="Steiner Andreas 6206 ED" userId="e6377c33-a923-4f14-8587-531c474c7b48" providerId="ADAL" clId="{6ECD27E6-B224-41CD-B4E0-E297462320DD}" dt="2023-11-24T11:38:35.244" v="136238"/>
          <ac:spMkLst>
            <pc:docMk/>
            <pc:sldMk cId="1966364550" sldId="2147473979"/>
            <ac:spMk id="886" creationId="{5CC370FC-AC9C-5363-5FB1-27FD2A5A30C7}"/>
          </ac:spMkLst>
        </pc:spChg>
        <pc:spChg chg="add del mod">
          <ac:chgData name="Steiner Andreas 6206 ED" userId="e6377c33-a923-4f14-8587-531c474c7b48" providerId="ADAL" clId="{6ECD27E6-B224-41CD-B4E0-E297462320DD}" dt="2023-11-24T11:38:38.099" v="136393"/>
          <ac:spMkLst>
            <pc:docMk/>
            <pc:sldMk cId="1966364550" sldId="2147473979"/>
            <ac:spMk id="887" creationId="{F2EB5D63-A2D9-594E-D955-95841031A466}"/>
          </ac:spMkLst>
        </pc:spChg>
        <pc:spChg chg="add del mod">
          <ac:chgData name="Steiner Andreas 6206 ED" userId="e6377c33-a923-4f14-8587-531c474c7b48" providerId="ADAL" clId="{6ECD27E6-B224-41CD-B4E0-E297462320DD}" dt="2023-11-24T11:38:40.682" v="136548"/>
          <ac:spMkLst>
            <pc:docMk/>
            <pc:sldMk cId="1966364550" sldId="2147473979"/>
            <ac:spMk id="888" creationId="{7C885636-C91D-88CB-9ED3-3B4CBFA13333}"/>
          </ac:spMkLst>
        </pc:spChg>
        <pc:spChg chg="add del mod">
          <ac:chgData name="Steiner Andreas 6206 ED" userId="e6377c33-a923-4f14-8587-531c474c7b48" providerId="ADAL" clId="{6ECD27E6-B224-41CD-B4E0-E297462320DD}" dt="2023-11-24T11:38:43.063" v="136703"/>
          <ac:spMkLst>
            <pc:docMk/>
            <pc:sldMk cId="1966364550" sldId="2147473979"/>
            <ac:spMk id="889" creationId="{1CA37A6E-D358-87D9-4318-78675F3C60B5}"/>
          </ac:spMkLst>
        </pc:spChg>
        <pc:spChg chg="add del mod">
          <ac:chgData name="Steiner Andreas 6206 ED" userId="e6377c33-a923-4f14-8587-531c474c7b48" providerId="ADAL" clId="{6ECD27E6-B224-41CD-B4E0-E297462320DD}" dt="2023-11-24T11:38:45.487" v="136858"/>
          <ac:spMkLst>
            <pc:docMk/>
            <pc:sldMk cId="1966364550" sldId="2147473979"/>
            <ac:spMk id="890" creationId="{56B6A18B-374B-C477-E1AF-CB6E93299B15}"/>
          </ac:spMkLst>
        </pc:spChg>
        <pc:spChg chg="add del mod">
          <ac:chgData name="Steiner Andreas 6206 ED" userId="e6377c33-a923-4f14-8587-531c474c7b48" providerId="ADAL" clId="{6ECD27E6-B224-41CD-B4E0-E297462320DD}" dt="2023-11-24T11:38:47.815" v="137013"/>
          <ac:spMkLst>
            <pc:docMk/>
            <pc:sldMk cId="1966364550" sldId="2147473979"/>
            <ac:spMk id="891" creationId="{E65AD11A-FD19-A1E1-3240-31CC87EB9731}"/>
          </ac:spMkLst>
        </pc:spChg>
        <pc:spChg chg="add del mod">
          <ac:chgData name="Steiner Andreas 6206 ED" userId="e6377c33-a923-4f14-8587-531c474c7b48" providerId="ADAL" clId="{6ECD27E6-B224-41CD-B4E0-E297462320DD}" dt="2023-11-24T11:38:50.897" v="137168"/>
          <ac:spMkLst>
            <pc:docMk/>
            <pc:sldMk cId="1966364550" sldId="2147473979"/>
            <ac:spMk id="892" creationId="{054441BC-4E8E-E161-5ECE-2A807CF7B74B}"/>
          </ac:spMkLst>
        </pc:spChg>
        <pc:spChg chg="add del mod">
          <ac:chgData name="Steiner Andreas 6206 ED" userId="e6377c33-a923-4f14-8587-531c474c7b48" providerId="ADAL" clId="{6ECD27E6-B224-41CD-B4E0-E297462320DD}" dt="2023-11-24T11:38:53.274" v="137323"/>
          <ac:spMkLst>
            <pc:docMk/>
            <pc:sldMk cId="1966364550" sldId="2147473979"/>
            <ac:spMk id="893" creationId="{7CD98A94-2FA7-B50B-61D2-5E56D47D2205}"/>
          </ac:spMkLst>
        </pc:spChg>
        <pc:spChg chg="add del mod">
          <ac:chgData name="Steiner Andreas 6206 ED" userId="e6377c33-a923-4f14-8587-531c474c7b48" providerId="ADAL" clId="{6ECD27E6-B224-41CD-B4E0-E297462320DD}" dt="2023-11-24T11:38:55.752" v="137478"/>
          <ac:spMkLst>
            <pc:docMk/>
            <pc:sldMk cId="1966364550" sldId="2147473979"/>
            <ac:spMk id="894" creationId="{39C4F5FD-0A25-4E9B-C56C-E9A632D35CE7}"/>
          </ac:spMkLst>
        </pc:spChg>
        <pc:spChg chg="add del mod">
          <ac:chgData name="Steiner Andreas 6206 ED" userId="e6377c33-a923-4f14-8587-531c474c7b48" providerId="ADAL" clId="{6ECD27E6-B224-41CD-B4E0-E297462320DD}" dt="2023-11-24T11:38:58.323" v="137633"/>
          <ac:spMkLst>
            <pc:docMk/>
            <pc:sldMk cId="1966364550" sldId="2147473979"/>
            <ac:spMk id="895" creationId="{3A49376A-40BD-10D6-6EF0-87C1BECD3F36}"/>
          </ac:spMkLst>
        </pc:spChg>
        <pc:spChg chg="add del mod">
          <ac:chgData name="Steiner Andreas 6206 ED" userId="e6377c33-a923-4f14-8587-531c474c7b48" providerId="ADAL" clId="{6ECD27E6-B224-41CD-B4E0-E297462320DD}" dt="2023-11-24T11:39:00.613" v="137788"/>
          <ac:spMkLst>
            <pc:docMk/>
            <pc:sldMk cId="1966364550" sldId="2147473979"/>
            <ac:spMk id="896" creationId="{F7815E23-5628-A875-844E-F340CC5E07FA}"/>
          </ac:spMkLst>
        </pc:spChg>
        <pc:spChg chg="add del mod">
          <ac:chgData name="Steiner Andreas 6206 ED" userId="e6377c33-a923-4f14-8587-531c474c7b48" providerId="ADAL" clId="{6ECD27E6-B224-41CD-B4E0-E297462320DD}" dt="2023-11-24T11:39:03.656" v="137943"/>
          <ac:spMkLst>
            <pc:docMk/>
            <pc:sldMk cId="1966364550" sldId="2147473979"/>
            <ac:spMk id="897" creationId="{C39694DD-23C3-E46B-1789-A260D9213820}"/>
          </ac:spMkLst>
        </pc:spChg>
        <pc:spChg chg="add del mod">
          <ac:chgData name="Steiner Andreas 6206 ED" userId="e6377c33-a923-4f14-8587-531c474c7b48" providerId="ADAL" clId="{6ECD27E6-B224-41CD-B4E0-E297462320DD}" dt="2023-11-24T11:39:06.292" v="138098"/>
          <ac:spMkLst>
            <pc:docMk/>
            <pc:sldMk cId="1966364550" sldId="2147473979"/>
            <ac:spMk id="898" creationId="{38F2EC6B-F1BF-BA16-2461-9154FBD066CC}"/>
          </ac:spMkLst>
        </pc:spChg>
        <pc:spChg chg="add del mod">
          <ac:chgData name="Steiner Andreas 6206 ED" userId="e6377c33-a923-4f14-8587-531c474c7b48" providerId="ADAL" clId="{6ECD27E6-B224-41CD-B4E0-E297462320DD}" dt="2023-11-24T11:39:08.790" v="138253"/>
          <ac:spMkLst>
            <pc:docMk/>
            <pc:sldMk cId="1966364550" sldId="2147473979"/>
            <ac:spMk id="899" creationId="{6855F90B-5107-1B2C-EB1C-0614428DEF0B}"/>
          </ac:spMkLst>
        </pc:spChg>
        <pc:spChg chg="add del mod">
          <ac:chgData name="Steiner Andreas 6206 ED" userId="e6377c33-a923-4f14-8587-531c474c7b48" providerId="ADAL" clId="{6ECD27E6-B224-41CD-B4E0-E297462320DD}" dt="2023-11-24T11:39:11.150" v="138408"/>
          <ac:spMkLst>
            <pc:docMk/>
            <pc:sldMk cId="1966364550" sldId="2147473979"/>
            <ac:spMk id="900" creationId="{D6DDA7EB-4FAD-744D-43AC-10071DECDD7F}"/>
          </ac:spMkLst>
        </pc:spChg>
        <pc:spChg chg="add del mod">
          <ac:chgData name="Steiner Andreas 6206 ED" userId="e6377c33-a923-4f14-8587-531c474c7b48" providerId="ADAL" clId="{6ECD27E6-B224-41CD-B4E0-E297462320DD}" dt="2023-11-24T11:39:13.647" v="138563"/>
          <ac:spMkLst>
            <pc:docMk/>
            <pc:sldMk cId="1966364550" sldId="2147473979"/>
            <ac:spMk id="901" creationId="{9E58950C-6E2B-1D8E-DF5A-8FC747E1B199}"/>
          </ac:spMkLst>
        </pc:spChg>
        <pc:spChg chg="add del mod">
          <ac:chgData name="Steiner Andreas 6206 ED" userId="e6377c33-a923-4f14-8587-531c474c7b48" providerId="ADAL" clId="{6ECD27E6-B224-41CD-B4E0-E297462320DD}" dt="2023-11-24T11:39:16.340" v="138718"/>
          <ac:spMkLst>
            <pc:docMk/>
            <pc:sldMk cId="1966364550" sldId="2147473979"/>
            <ac:spMk id="902" creationId="{861F8B27-C9EF-0398-E089-FCA0B33003C5}"/>
          </ac:spMkLst>
        </pc:spChg>
        <pc:spChg chg="add del mod">
          <ac:chgData name="Steiner Andreas 6206 ED" userId="e6377c33-a923-4f14-8587-531c474c7b48" providerId="ADAL" clId="{6ECD27E6-B224-41CD-B4E0-E297462320DD}" dt="2023-11-24T11:39:19.147" v="138873"/>
          <ac:spMkLst>
            <pc:docMk/>
            <pc:sldMk cId="1966364550" sldId="2147473979"/>
            <ac:spMk id="903" creationId="{D4F751C2-4494-4C00-EEF9-64B26C46667A}"/>
          </ac:spMkLst>
        </pc:spChg>
        <pc:spChg chg="add del mod">
          <ac:chgData name="Steiner Andreas 6206 ED" userId="e6377c33-a923-4f14-8587-531c474c7b48" providerId="ADAL" clId="{6ECD27E6-B224-41CD-B4E0-E297462320DD}" dt="2023-11-24T11:39:21.828" v="139028"/>
          <ac:spMkLst>
            <pc:docMk/>
            <pc:sldMk cId="1966364550" sldId="2147473979"/>
            <ac:spMk id="904" creationId="{112B4A77-3608-F2A4-FE59-5025A0E558E5}"/>
          </ac:spMkLst>
        </pc:spChg>
        <pc:spChg chg="add del mod">
          <ac:chgData name="Steiner Andreas 6206 ED" userId="e6377c33-a923-4f14-8587-531c474c7b48" providerId="ADAL" clId="{6ECD27E6-B224-41CD-B4E0-E297462320DD}" dt="2023-11-24T11:39:24.432" v="139183"/>
          <ac:spMkLst>
            <pc:docMk/>
            <pc:sldMk cId="1966364550" sldId="2147473979"/>
            <ac:spMk id="905" creationId="{FC5B01C4-3381-BE82-C26E-B4AE49998D12}"/>
          </ac:spMkLst>
        </pc:spChg>
        <pc:spChg chg="add del mod">
          <ac:chgData name="Steiner Andreas 6206 ED" userId="e6377c33-a923-4f14-8587-531c474c7b48" providerId="ADAL" clId="{6ECD27E6-B224-41CD-B4E0-E297462320DD}" dt="2023-11-24T11:39:27.150" v="139338"/>
          <ac:spMkLst>
            <pc:docMk/>
            <pc:sldMk cId="1966364550" sldId="2147473979"/>
            <ac:spMk id="906" creationId="{EEEAEA1F-B102-C138-9CB3-D35CC04E7EAE}"/>
          </ac:spMkLst>
        </pc:spChg>
        <pc:spChg chg="add del mod">
          <ac:chgData name="Steiner Andreas 6206 ED" userId="e6377c33-a923-4f14-8587-531c474c7b48" providerId="ADAL" clId="{6ECD27E6-B224-41CD-B4E0-E297462320DD}" dt="2023-11-24T11:39:29.792" v="139493"/>
          <ac:spMkLst>
            <pc:docMk/>
            <pc:sldMk cId="1966364550" sldId="2147473979"/>
            <ac:spMk id="907" creationId="{BBFF6226-2C64-5D29-1460-3065A7407FE8}"/>
          </ac:spMkLst>
        </pc:spChg>
        <pc:spChg chg="add del mod">
          <ac:chgData name="Steiner Andreas 6206 ED" userId="e6377c33-a923-4f14-8587-531c474c7b48" providerId="ADAL" clId="{6ECD27E6-B224-41CD-B4E0-E297462320DD}" dt="2023-11-24T11:39:32.893" v="139648"/>
          <ac:spMkLst>
            <pc:docMk/>
            <pc:sldMk cId="1966364550" sldId="2147473979"/>
            <ac:spMk id="908" creationId="{A8C84706-FE11-9B7C-041E-AB59D4CF78E4}"/>
          </ac:spMkLst>
        </pc:spChg>
        <pc:spChg chg="add del mod">
          <ac:chgData name="Steiner Andreas 6206 ED" userId="e6377c33-a923-4f14-8587-531c474c7b48" providerId="ADAL" clId="{6ECD27E6-B224-41CD-B4E0-E297462320DD}" dt="2023-11-24T11:39:35.525" v="139803"/>
          <ac:spMkLst>
            <pc:docMk/>
            <pc:sldMk cId="1966364550" sldId="2147473979"/>
            <ac:spMk id="909" creationId="{07B83754-9DFD-A886-2807-8873D8E1B69F}"/>
          </ac:spMkLst>
        </pc:spChg>
        <pc:spChg chg="add del mod">
          <ac:chgData name="Steiner Andreas 6206 ED" userId="e6377c33-a923-4f14-8587-531c474c7b48" providerId="ADAL" clId="{6ECD27E6-B224-41CD-B4E0-E297462320DD}" dt="2023-11-24T11:39:38.494" v="139958"/>
          <ac:spMkLst>
            <pc:docMk/>
            <pc:sldMk cId="1966364550" sldId="2147473979"/>
            <ac:spMk id="910" creationId="{EB015254-B51C-B3CE-A1AC-E4EF78B4EC4F}"/>
          </ac:spMkLst>
        </pc:spChg>
        <pc:spChg chg="add del mod">
          <ac:chgData name="Steiner Andreas 6206 ED" userId="e6377c33-a923-4f14-8587-531c474c7b48" providerId="ADAL" clId="{6ECD27E6-B224-41CD-B4E0-E297462320DD}" dt="2023-11-24T11:39:41.130" v="140113"/>
          <ac:spMkLst>
            <pc:docMk/>
            <pc:sldMk cId="1966364550" sldId="2147473979"/>
            <ac:spMk id="911" creationId="{99C891CD-8D7E-F86A-8CE1-051D94789610}"/>
          </ac:spMkLst>
        </pc:spChg>
        <pc:spChg chg="add del mod">
          <ac:chgData name="Steiner Andreas 6206 ED" userId="e6377c33-a923-4f14-8587-531c474c7b48" providerId="ADAL" clId="{6ECD27E6-B224-41CD-B4E0-E297462320DD}" dt="2023-11-24T11:39:43.798" v="140268"/>
          <ac:spMkLst>
            <pc:docMk/>
            <pc:sldMk cId="1966364550" sldId="2147473979"/>
            <ac:spMk id="912" creationId="{4C83B74D-C102-6705-9DEE-71A259B9F441}"/>
          </ac:spMkLst>
        </pc:spChg>
        <pc:spChg chg="add del mod">
          <ac:chgData name="Steiner Andreas 6206 ED" userId="e6377c33-a923-4f14-8587-531c474c7b48" providerId="ADAL" clId="{6ECD27E6-B224-41CD-B4E0-E297462320DD}" dt="2023-11-24T11:39:46.312" v="140423"/>
          <ac:spMkLst>
            <pc:docMk/>
            <pc:sldMk cId="1966364550" sldId="2147473979"/>
            <ac:spMk id="913" creationId="{49CF273E-EDFE-B316-9C14-0856959C4C37}"/>
          </ac:spMkLst>
        </pc:spChg>
        <pc:spChg chg="add del mod">
          <ac:chgData name="Steiner Andreas 6206 ED" userId="e6377c33-a923-4f14-8587-531c474c7b48" providerId="ADAL" clId="{6ECD27E6-B224-41CD-B4E0-E297462320DD}" dt="2023-11-24T11:39:48.757" v="140578"/>
          <ac:spMkLst>
            <pc:docMk/>
            <pc:sldMk cId="1966364550" sldId="2147473979"/>
            <ac:spMk id="914" creationId="{484B6B84-FEB4-80F0-9697-2A0F592D95A4}"/>
          </ac:spMkLst>
        </pc:spChg>
        <pc:spChg chg="add del mod">
          <ac:chgData name="Steiner Andreas 6206 ED" userId="e6377c33-a923-4f14-8587-531c474c7b48" providerId="ADAL" clId="{6ECD27E6-B224-41CD-B4E0-E297462320DD}" dt="2023-11-24T11:39:51.732" v="140733"/>
          <ac:spMkLst>
            <pc:docMk/>
            <pc:sldMk cId="1966364550" sldId="2147473979"/>
            <ac:spMk id="915" creationId="{ACFC3FE3-8BE4-0B8C-F5BD-937A4C776442}"/>
          </ac:spMkLst>
        </pc:spChg>
        <pc:spChg chg="add del mod">
          <ac:chgData name="Steiner Andreas 6206 ED" userId="e6377c33-a923-4f14-8587-531c474c7b48" providerId="ADAL" clId="{6ECD27E6-B224-41CD-B4E0-E297462320DD}" dt="2023-11-24T11:39:54.655" v="140888"/>
          <ac:spMkLst>
            <pc:docMk/>
            <pc:sldMk cId="1966364550" sldId="2147473979"/>
            <ac:spMk id="916" creationId="{94F9D875-C27D-3AB4-12AA-DE5F95867C3C}"/>
          </ac:spMkLst>
        </pc:spChg>
        <pc:spChg chg="add del mod">
          <ac:chgData name="Steiner Andreas 6206 ED" userId="e6377c33-a923-4f14-8587-531c474c7b48" providerId="ADAL" clId="{6ECD27E6-B224-41CD-B4E0-E297462320DD}" dt="2023-11-24T11:39:57.133" v="141043"/>
          <ac:spMkLst>
            <pc:docMk/>
            <pc:sldMk cId="1966364550" sldId="2147473979"/>
            <ac:spMk id="917" creationId="{1830004D-BCFB-FCF0-5F84-D4F287C331B9}"/>
          </ac:spMkLst>
        </pc:spChg>
        <pc:spChg chg="add del mod">
          <ac:chgData name="Steiner Andreas 6206 ED" userId="e6377c33-a923-4f14-8587-531c474c7b48" providerId="ADAL" clId="{6ECD27E6-B224-41CD-B4E0-E297462320DD}" dt="2023-11-24T11:39:59.499" v="141198"/>
          <ac:spMkLst>
            <pc:docMk/>
            <pc:sldMk cId="1966364550" sldId="2147473979"/>
            <ac:spMk id="918" creationId="{1E960810-F9D4-E218-9688-1937397EC5AF}"/>
          </ac:spMkLst>
        </pc:spChg>
        <pc:spChg chg="add del mod">
          <ac:chgData name="Steiner Andreas 6206 ED" userId="e6377c33-a923-4f14-8587-531c474c7b48" providerId="ADAL" clId="{6ECD27E6-B224-41CD-B4E0-E297462320DD}" dt="2023-11-24T11:40:02.311" v="141353"/>
          <ac:spMkLst>
            <pc:docMk/>
            <pc:sldMk cId="1966364550" sldId="2147473979"/>
            <ac:spMk id="919" creationId="{637B248C-040E-6572-0C89-9BF2FE1B931F}"/>
          </ac:spMkLst>
        </pc:spChg>
        <pc:spChg chg="add del mod">
          <ac:chgData name="Steiner Andreas 6206 ED" userId="e6377c33-a923-4f14-8587-531c474c7b48" providerId="ADAL" clId="{6ECD27E6-B224-41CD-B4E0-E297462320DD}" dt="2023-11-24T11:40:05.107" v="141508"/>
          <ac:spMkLst>
            <pc:docMk/>
            <pc:sldMk cId="1966364550" sldId="2147473979"/>
            <ac:spMk id="920" creationId="{5D17166F-884C-7985-4F0C-AF103B883466}"/>
          </ac:spMkLst>
        </pc:spChg>
        <pc:spChg chg="add del mod">
          <ac:chgData name="Steiner Andreas 6206 ED" userId="e6377c33-a923-4f14-8587-531c474c7b48" providerId="ADAL" clId="{6ECD27E6-B224-41CD-B4E0-E297462320DD}" dt="2023-11-24T11:40:07.843" v="141663"/>
          <ac:spMkLst>
            <pc:docMk/>
            <pc:sldMk cId="1966364550" sldId="2147473979"/>
            <ac:spMk id="921" creationId="{F23372EE-783C-BB4A-32C0-F810FEFBA6C3}"/>
          </ac:spMkLst>
        </pc:spChg>
        <pc:spChg chg="add del mod">
          <ac:chgData name="Steiner Andreas 6206 ED" userId="e6377c33-a923-4f14-8587-531c474c7b48" providerId="ADAL" clId="{6ECD27E6-B224-41CD-B4E0-E297462320DD}" dt="2023-11-24T11:40:10.296" v="141818"/>
          <ac:spMkLst>
            <pc:docMk/>
            <pc:sldMk cId="1966364550" sldId="2147473979"/>
            <ac:spMk id="922" creationId="{F0D08472-877A-1B17-C33A-4726A779BE21}"/>
          </ac:spMkLst>
        </pc:spChg>
        <pc:spChg chg="add del mod">
          <ac:chgData name="Steiner Andreas 6206 ED" userId="e6377c33-a923-4f14-8587-531c474c7b48" providerId="ADAL" clId="{6ECD27E6-B224-41CD-B4E0-E297462320DD}" dt="2023-11-24T11:40:12.768" v="141973"/>
          <ac:spMkLst>
            <pc:docMk/>
            <pc:sldMk cId="1966364550" sldId="2147473979"/>
            <ac:spMk id="923" creationId="{0A2B09CE-2501-AE46-E0CF-327D3199EF80}"/>
          </ac:spMkLst>
        </pc:spChg>
        <pc:spChg chg="add del mod">
          <ac:chgData name="Steiner Andreas 6206 ED" userId="e6377c33-a923-4f14-8587-531c474c7b48" providerId="ADAL" clId="{6ECD27E6-B224-41CD-B4E0-E297462320DD}" dt="2023-11-24T11:40:16.719" v="142128"/>
          <ac:spMkLst>
            <pc:docMk/>
            <pc:sldMk cId="1966364550" sldId="2147473979"/>
            <ac:spMk id="924" creationId="{1B6F504C-CC45-5C6D-1F6E-6069A14ED0AC}"/>
          </ac:spMkLst>
        </pc:spChg>
        <pc:spChg chg="add del mod">
          <ac:chgData name="Steiner Andreas 6206 ED" userId="e6377c33-a923-4f14-8587-531c474c7b48" providerId="ADAL" clId="{6ECD27E6-B224-41CD-B4E0-E297462320DD}" dt="2023-11-24T11:40:19.972" v="142283"/>
          <ac:spMkLst>
            <pc:docMk/>
            <pc:sldMk cId="1966364550" sldId="2147473979"/>
            <ac:spMk id="925" creationId="{B63BB8B5-DA4A-287B-F18C-39CE5237D590}"/>
          </ac:spMkLst>
        </pc:spChg>
        <pc:spChg chg="add del mod">
          <ac:chgData name="Steiner Andreas 6206 ED" userId="e6377c33-a923-4f14-8587-531c474c7b48" providerId="ADAL" clId="{6ECD27E6-B224-41CD-B4E0-E297462320DD}" dt="2023-11-24T11:40:22.730" v="142438"/>
          <ac:spMkLst>
            <pc:docMk/>
            <pc:sldMk cId="1966364550" sldId="2147473979"/>
            <ac:spMk id="926" creationId="{D799C43A-45DF-DCF5-8F15-FEECBD15D17D}"/>
          </ac:spMkLst>
        </pc:spChg>
        <pc:spChg chg="add del mod">
          <ac:chgData name="Steiner Andreas 6206 ED" userId="e6377c33-a923-4f14-8587-531c474c7b48" providerId="ADAL" clId="{6ECD27E6-B224-41CD-B4E0-E297462320DD}" dt="2023-11-24T11:40:25.434" v="142593"/>
          <ac:spMkLst>
            <pc:docMk/>
            <pc:sldMk cId="1966364550" sldId="2147473979"/>
            <ac:spMk id="927" creationId="{61C56EB4-1BF1-5AB4-609E-1008E4437966}"/>
          </ac:spMkLst>
        </pc:spChg>
        <pc:spChg chg="add del mod">
          <ac:chgData name="Steiner Andreas 6206 ED" userId="e6377c33-a923-4f14-8587-531c474c7b48" providerId="ADAL" clId="{6ECD27E6-B224-41CD-B4E0-E297462320DD}" dt="2023-11-24T11:40:28.531" v="142748"/>
          <ac:spMkLst>
            <pc:docMk/>
            <pc:sldMk cId="1966364550" sldId="2147473979"/>
            <ac:spMk id="928" creationId="{A7D0221A-F667-27DA-BB9F-4E9AE301CB6B}"/>
          </ac:spMkLst>
        </pc:spChg>
        <pc:spChg chg="add del mod">
          <ac:chgData name="Steiner Andreas 6206 ED" userId="e6377c33-a923-4f14-8587-531c474c7b48" providerId="ADAL" clId="{6ECD27E6-B224-41CD-B4E0-E297462320DD}" dt="2023-11-24T11:40:31.172" v="142903"/>
          <ac:spMkLst>
            <pc:docMk/>
            <pc:sldMk cId="1966364550" sldId="2147473979"/>
            <ac:spMk id="929" creationId="{C4695ADE-2725-8B65-BEF1-550FD1425A62}"/>
          </ac:spMkLst>
        </pc:spChg>
        <pc:spChg chg="add del mod">
          <ac:chgData name="Steiner Andreas 6206 ED" userId="e6377c33-a923-4f14-8587-531c474c7b48" providerId="ADAL" clId="{6ECD27E6-B224-41CD-B4E0-E297462320DD}" dt="2023-11-24T11:40:33.718" v="143058"/>
          <ac:spMkLst>
            <pc:docMk/>
            <pc:sldMk cId="1966364550" sldId="2147473979"/>
            <ac:spMk id="930" creationId="{A97DCCCE-7009-DA99-BA97-4687C0009B8F}"/>
          </ac:spMkLst>
        </pc:spChg>
        <pc:spChg chg="add del mod">
          <ac:chgData name="Steiner Andreas 6206 ED" userId="e6377c33-a923-4f14-8587-531c474c7b48" providerId="ADAL" clId="{6ECD27E6-B224-41CD-B4E0-E297462320DD}" dt="2023-11-24T11:40:36.547" v="143213"/>
          <ac:spMkLst>
            <pc:docMk/>
            <pc:sldMk cId="1966364550" sldId="2147473979"/>
            <ac:spMk id="931" creationId="{ABE14239-FE43-EF1B-D1AE-41419E9E641E}"/>
          </ac:spMkLst>
        </pc:spChg>
        <pc:spChg chg="add del mod">
          <ac:chgData name="Steiner Andreas 6206 ED" userId="e6377c33-a923-4f14-8587-531c474c7b48" providerId="ADAL" clId="{6ECD27E6-B224-41CD-B4E0-E297462320DD}" dt="2023-11-24T11:40:39.576" v="143368"/>
          <ac:spMkLst>
            <pc:docMk/>
            <pc:sldMk cId="1966364550" sldId="2147473979"/>
            <ac:spMk id="932" creationId="{F887B297-92C8-017E-DBF1-C24C107C151E}"/>
          </ac:spMkLst>
        </pc:spChg>
        <pc:spChg chg="add del mod">
          <ac:chgData name="Steiner Andreas 6206 ED" userId="e6377c33-a923-4f14-8587-531c474c7b48" providerId="ADAL" clId="{6ECD27E6-B224-41CD-B4E0-E297462320DD}" dt="2023-11-24T11:40:42.442" v="143523"/>
          <ac:spMkLst>
            <pc:docMk/>
            <pc:sldMk cId="1966364550" sldId="2147473979"/>
            <ac:spMk id="933" creationId="{CC253CC1-1493-C48E-4387-CBD62DFED582}"/>
          </ac:spMkLst>
        </pc:spChg>
        <pc:spChg chg="add del mod">
          <ac:chgData name="Steiner Andreas 6206 ED" userId="e6377c33-a923-4f14-8587-531c474c7b48" providerId="ADAL" clId="{6ECD27E6-B224-41CD-B4E0-E297462320DD}" dt="2023-11-24T11:40:45.103" v="143678"/>
          <ac:spMkLst>
            <pc:docMk/>
            <pc:sldMk cId="1966364550" sldId="2147473979"/>
            <ac:spMk id="934" creationId="{82C7BB19-938C-6622-1672-09D1FC7477A4}"/>
          </ac:spMkLst>
        </pc:spChg>
        <pc:spChg chg="add del mod">
          <ac:chgData name="Steiner Andreas 6206 ED" userId="e6377c33-a923-4f14-8587-531c474c7b48" providerId="ADAL" clId="{6ECD27E6-B224-41CD-B4E0-E297462320DD}" dt="2023-11-24T11:40:47.889" v="143833"/>
          <ac:spMkLst>
            <pc:docMk/>
            <pc:sldMk cId="1966364550" sldId="2147473979"/>
            <ac:spMk id="935" creationId="{F3EB0249-0564-6AB7-8321-28301B209DC9}"/>
          </ac:spMkLst>
        </pc:spChg>
        <pc:spChg chg="add del mod">
          <ac:chgData name="Steiner Andreas 6206 ED" userId="e6377c33-a923-4f14-8587-531c474c7b48" providerId="ADAL" clId="{6ECD27E6-B224-41CD-B4E0-E297462320DD}" dt="2023-11-24T11:40:50.677" v="143988"/>
          <ac:spMkLst>
            <pc:docMk/>
            <pc:sldMk cId="1966364550" sldId="2147473979"/>
            <ac:spMk id="936" creationId="{9F737EFD-05AE-123C-296D-2134985F2864}"/>
          </ac:spMkLst>
        </pc:spChg>
        <pc:spChg chg="add del mod">
          <ac:chgData name="Steiner Andreas 6206 ED" userId="e6377c33-a923-4f14-8587-531c474c7b48" providerId="ADAL" clId="{6ECD27E6-B224-41CD-B4E0-E297462320DD}" dt="2023-11-24T11:40:53.553" v="144143"/>
          <ac:spMkLst>
            <pc:docMk/>
            <pc:sldMk cId="1966364550" sldId="2147473979"/>
            <ac:spMk id="937" creationId="{E221F133-09D0-77D4-F70E-0B7B2D90F5D3}"/>
          </ac:spMkLst>
        </pc:spChg>
        <pc:spChg chg="add del mod">
          <ac:chgData name="Steiner Andreas 6206 ED" userId="e6377c33-a923-4f14-8587-531c474c7b48" providerId="ADAL" clId="{6ECD27E6-B224-41CD-B4E0-E297462320DD}" dt="2023-11-24T11:40:56.273" v="144298"/>
          <ac:spMkLst>
            <pc:docMk/>
            <pc:sldMk cId="1966364550" sldId="2147473979"/>
            <ac:spMk id="938" creationId="{E8DA640B-6170-8EF8-B558-5988968DE734}"/>
          </ac:spMkLst>
        </pc:spChg>
        <pc:spChg chg="add del mod">
          <ac:chgData name="Steiner Andreas 6206 ED" userId="e6377c33-a923-4f14-8587-531c474c7b48" providerId="ADAL" clId="{6ECD27E6-B224-41CD-B4E0-E297462320DD}" dt="2023-11-24T11:40:58.798" v="144453"/>
          <ac:spMkLst>
            <pc:docMk/>
            <pc:sldMk cId="1966364550" sldId="2147473979"/>
            <ac:spMk id="939" creationId="{B56F8417-3813-472B-49A3-A5FF59C1F359}"/>
          </ac:spMkLst>
        </pc:spChg>
        <pc:spChg chg="add del mod">
          <ac:chgData name="Steiner Andreas 6206 ED" userId="e6377c33-a923-4f14-8587-531c474c7b48" providerId="ADAL" clId="{6ECD27E6-B224-41CD-B4E0-E297462320DD}" dt="2023-11-24T11:41:01.386" v="144608"/>
          <ac:spMkLst>
            <pc:docMk/>
            <pc:sldMk cId="1966364550" sldId="2147473979"/>
            <ac:spMk id="940" creationId="{91DE7143-4EC2-015D-7838-C84BC6539042}"/>
          </ac:spMkLst>
        </pc:spChg>
        <pc:spChg chg="add del mod">
          <ac:chgData name="Steiner Andreas 6206 ED" userId="e6377c33-a923-4f14-8587-531c474c7b48" providerId="ADAL" clId="{6ECD27E6-B224-41CD-B4E0-E297462320DD}" dt="2023-11-24T11:41:04.103" v="144763"/>
          <ac:spMkLst>
            <pc:docMk/>
            <pc:sldMk cId="1966364550" sldId="2147473979"/>
            <ac:spMk id="941" creationId="{9AF10E1C-F554-2698-699D-1B3A6B516AEF}"/>
          </ac:spMkLst>
        </pc:spChg>
        <pc:spChg chg="add del mod">
          <ac:chgData name="Steiner Andreas 6206 ED" userId="e6377c33-a923-4f14-8587-531c474c7b48" providerId="ADAL" clId="{6ECD27E6-B224-41CD-B4E0-E297462320DD}" dt="2023-11-24T11:41:07.173" v="144918"/>
          <ac:spMkLst>
            <pc:docMk/>
            <pc:sldMk cId="1966364550" sldId="2147473979"/>
            <ac:spMk id="942" creationId="{3077EB90-CA6B-D0FD-FEFD-5A026FDF8343}"/>
          </ac:spMkLst>
        </pc:spChg>
        <pc:spChg chg="add del mod">
          <ac:chgData name="Steiner Andreas 6206 ED" userId="e6377c33-a923-4f14-8587-531c474c7b48" providerId="ADAL" clId="{6ECD27E6-B224-41CD-B4E0-E297462320DD}" dt="2023-11-24T11:41:10.264" v="145073"/>
          <ac:spMkLst>
            <pc:docMk/>
            <pc:sldMk cId="1966364550" sldId="2147473979"/>
            <ac:spMk id="943" creationId="{460C9394-CC48-8F2F-2F6E-7BC5CF7311AE}"/>
          </ac:spMkLst>
        </pc:spChg>
        <pc:spChg chg="add del mod">
          <ac:chgData name="Steiner Andreas 6206 ED" userId="e6377c33-a923-4f14-8587-531c474c7b48" providerId="ADAL" clId="{6ECD27E6-B224-41CD-B4E0-E297462320DD}" dt="2023-11-24T11:41:13.184" v="145228"/>
          <ac:spMkLst>
            <pc:docMk/>
            <pc:sldMk cId="1966364550" sldId="2147473979"/>
            <ac:spMk id="944" creationId="{EE18628F-3616-3ADE-79F2-8AB62F01237B}"/>
          </ac:spMkLst>
        </pc:spChg>
        <pc:spChg chg="add del mod">
          <ac:chgData name="Steiner Andreas 6206 ED" userId="e6377c33-a923-4f14-8587-531c474c7b48" providerId="ADAL" clId="{6ECD27E6-B224-41CD-B4E0-E297462320DD}" dt="2023-11-24T11:41:16.207" v="145383"/>
          <ac:spMkLst>
            <pc:docMk/>
            <pc:sldMk cId="1966364550" sldId="2147473979"/>
            <ac:spMk id="945" creationId="{BBBA8007-504E-CCFD-CE92-0ED9DD9047DD}"/>
          </ac:spMkLst>
        </pc:spChg>
        <pc:spChg chg="add del mod">
          <ac:chgData name="Steiner Andreas 6206 ED" userId="e6377c33-a923-4f14-8587-531c474c7b48" providerId="ADAL" clId="{6ECD27E6-B224-41CD-B4E0-E297462320DD}" dt="2023-11-24T11:41:19.446" v="145538"/>
          <ac:spMkLst>
            <pc:docMk/>
            <pc:sldMk cId="1966364550" sldId="2147473979"/>
            <ac:spMk id="946" creationId="{CE0CA2E3-F3A3-20B3-599A-B68318414C9A}"/>
          </ac:spMkLst>
        </pc:spChg>
        <pc:spChg chg="add del mod">
          <ac:chgData name="Steiner Andreas 6206 ED" userId="e6377c33-a923-4f14-8587-531c474c7b48" providerId="ADAL" clId="{6ECD27E6-B224-41CD-B4E0-E297462320DD}" dt="2023-11-24T11:41:21.974" v="145693"/>
          <ac:spMkLst>
            <pc:docMk/>
            <pc:sldMk cId="1966364550" sldId="2147473979"/>
            <ac:spMk id="947" creationId="{3A7CA731-C637-5C1D-FA15-0A2E740DD88C}"/>
          </ac:spMkLst>
        </pc:spChg>
        <pc:spChg chg="add del mod">
          <ac:chgData name="Steiner Andreas 6206 ED" userId="e6377c33-a923-4f14-8587-531c474c7b48" providerId="ADAL" clId="{6ECD27E6-B224-41CD-B4E0-E297462320DD}" dt="2023-11-24T11:41:25.833" v="145848"/>
          <ac:spMkLst>
            <pc:docMk/>
            <pc:sldMk cId="1966364550" sldId="2147473979"/>
            <ac:spMk id="948" creationId="{2D420404-D43B-A4AD-CCB5-7E13EF42638A}"/>
          </ac:spMkLst>
        </pc:spChg>
        <pc:spChg chg="add del mod">
          <ac:chgData name="Steiner Andreas 6206 ED" userId="e6377c33-a923-4f14-8587-531c474c7b48" providerId="ADAL" clId="{6ECD27E6-B224-41CD-B4E0-E297462320DD}" dt="2023-11-24T11:41:28.913" v="146003"/>
          <ac:spMkLst>
            <pc:docMk/>
            <pc:sldMk cId="1966364550" sldId="2147473979"/>
            <ac:spMk id="949" creationId="{F4880CFE-4F74-D3A0-DA2E-3E43C26AB190}"/>
          </ac:spMkLst>
        </pc:spChg>
        <pc:spChg chg="add del mod">
          <ac:chgData name="Steiner Andreas 6206 ED" userId="e6377c33-a923-4f14-8587-531c474c7b48" providerId="ADAL" clId="{6ECD27E6-B224-41CD-B4E0-E297462320DD}" dt="2023-11-24T11:41:31.493" v="146158"/>
          <ac:spMkLst>
            <pc:docMk/>
            <pc:sldMk cId="1966364550" sldId="2147473979"/>
            <ac:spMk id="950" creationId="{72EE9F93-989D-8879-28E4-A86F60C78B4F}"/>
          </ac:spMkLst>
        </pc:spChg>
        <pc:spChg chg="add del mod">
          <ac:chgData name="Steiner Andreas 6206 ED" userId="e6377c33-a923-4f14-8587-531c474c7b48" providerId="ADAL" clId="{6ECD27E6-B224-41CD-B4E0-E297462320DD}" dt="2023-11-24T11:41:33.638" v="146313"/>
          <ac:spMkLst>
            <pc:docMk/>
            <pc:sldMk cId="1966364550" sldId="2147473979"/>
            <ac:spMk id="951" creationId="{43E1F5DA-C1B7-AE36-874F-6BCD7EB423B3}"/>
          </ac:spMkLst>
        </pc:spChg>
        <pc:spChg chg="add del mod">
          <ac:chgData name="Steiner Andreas 6206 ED" userId="e6377c33-a923-4f14-8587-531c474c7b48" providerId="ADAL" clId="{6ECD27E6-B224-41CD-B4E0-E297462320DD}" dt="2023-11-24T11:41:35.769" v="146468"/>
          <ac:spMkLst>
            <pc:docMk/>
            <pc:sldMk cId="1966364550" sldId="2147473979"/>
            <ac:spMk id="952" creationId="{7BADEF0F-491D-6857-FBF6-EE6457D8BDE6}"/>
          </ac:spMkLst>
        </pc:spChg>
        <pc:spChg chg="add del mod">
          <ac:chgData name="Steiner Andreas 6206 ED" userId="e6377c33-a923-4f14-8587-531c474c7b48" providerId="ADAL" clId="{6ECD27E6-B224-41CD-B4E0-E297462320DD}" dt="2023-11-24T11:41:37.983" v="146623"/>
          <ac:spMkLst>
            <pc:docMk/>
            <pc:sldMk cId="1966364550" sldId="2147473979"/>
            <ac:spMk id="953" creationId="{3283D022-A34D-CB1A-FB9C-E02E28833F30}"/>
          </ac:spMkLst>
        </pc:spChg>
        <pc:spChg chg="add del mod">
          <ac:chgData name="Steiner Andreas 6206 ED" userId="e6377c33-a923-4f14-8587-531c474c7b48" providerId="ADAL" clId="{6ECD27E6-B224-41CD-B4E0-E297462320DD}" dt="2023-11-24T11:41:40.785" v="146778"/>
          <ac:spMkLst>
            <pc:docMk/>
            <pc:sldMk cId="1966364550" sldId="2147473979"/>
            <ac:spMk id="954" creationId="{BC69F233-BA17-529D-A749-1FE6F3D1687F}"/>
          </ac:spMkLst>
        </pc:spChg>
        <pc:spChg chg="add del mod">
          <ac:chgData name="Steiner Andreas 6206 ED" userId="e6377c33-a923-4f14-8587-531c474c7b48" providerId="ADAL" clId="{6ECD27E6-B224-41CD-B4E0-E297462320DD}" dt="2023-11-24T11:41:42.889" v="146933"/>
          <ac:spMkLst>
            <pc:docMk/>
            <pc:sldMk cId="1966364550" sldId="2147473979"/>
            <ac:spMk id="955" creationId="{122752E8-D8D7-49D0-C1E4-0730EB1CEADA}"/>
          </ac:spMkLst>
        </pc:spChg>
        <pc:spChg chg="add del mod">
          <ac:chgData name="Steiner Andreas 6206 ED" userId="e6377c33-a923-4f14-8587-531c474c7b48" providerId="ADAL" clId="{6ECD27E6-B224-41CD-B4E0-E297462320DD}" dt="2023-11-24T11:41:44.961" v="147088"/>
          <ac:spMkLst>
            <pc:docMk/>
            <pc:sldMk cId="1966364550" sldId="2147473979"/>
            <ac:spMk id="956" creationId="{BC3FC546-D9A3-D41D-4571-3B238C00B1D1}"/>
          </ac:spMkLst>
        </pc:spChg>
        <pc:spChg chg="add del mod">
          <ac:chgData name="Steiner Andreas 6206 ED" userId="e6377c33-a923-4f14-8587-531c474c7b48" providerId="ADAL" clId="{6ECD27E6-B224-41CD-B4E0-E297462320DD}" dt="2023-11-24T11:41:47.498" v="147243"/>
          <ac:spMkLst>
            <pc:docMk/>
            <pc:sldMk cId="1966364550" sldId="2147473979"/>
            <ac:spMk id="957" creationId="{23678441-52F3-1E13-09D1-75F6C790089A}"/>
          </ac:spMkLst>
        </pc:spChg>
        <pc:spChg chg="add del mod">
          <ac:chgData name="Steiner Andreas 6206 ED" userId="e6377c33-a923-4f14-8587-531c474c7b48" providerId="ADAL" clId="{6ECD27E6-B224-41CD-B4E0-E297462320DD}" dt="2023-11-24T11:41:49.615" v="147398"/>
          <ac:spMkLst>
            <pc:docMk/>
            <pc:sldMk cId="1966364550" sldId="2147473979"/>
            <ac:spMk id="958" creationId="{E9A2DE20-06CC-3E85-4FDA-ACF54B21B573}"/>
          </ac:spMkLst>
        </pc:spChg>
        <pc:spChg chg="add del mod">
          <ac:chgData name="Steiner Andreas 6206 ED" userId="e6377c33-a923-4f14-8587-531c474c7b48" providerId="ADAL" clId="{6ECD27E6-B224-41CD-B4E0-E297462320DD}" dt="2023-11-24T11:41:51.965" v="147553"/>
          <ac:spMkLst>
            <pc:docMk/>
            <pc:sldMk cId="1966364550" sldId="2147473979"/>
            <ac:spMk id="959" creationId="{12702B14-91A4-DC0C-3823-874EC11E7A2D}"/>
          </ac:spMkLst>
        </pc:spChg>
        <pc:spChg chg="add del mod">
          <ac:chgData name="Steiner Andreas 6206 ED" userId="e6377c33-a923-4f14-8587-531c474c7b48" providerId="ADAL" clId="{6ECD27E6-B224-41CD-B4E0-E297462320DD}" dt="2023-11-24T11:41:54.333" v="147708"/>
          <ac:spMkLst>
            <pc:docMk/>
            <pc:sldMk cId="1966364550" sldId="2147473979"/>
            <ac:spMk id="960" creationId="{E18DA2DA-12A6-151B-8667-7FFDB4DA7193}"/>
          </ac:spMkLst>
        </pc:spChg>
        <pc:spChg chg="add del mod">
          <ac:chgData name="Steiner Andreas 6206 ED" userId="e6377c33-a923-4f14-8587-531c474c7b48" providerId="ADAL" clId="{6ECD27E6-B224-41CD-B4E0-E297462320DD}" dt="2023-11-24T11:41:57.579" v="147863"/>
          <ac:spMkLst>
            <pc:docMk/>
            <pc:sldMk cId="1966364550" sldId="2147473979"/>
            <ac:spMk id="961" creationId="{9CA67F06-AF16-AFDC-D1C2-B2C5D7CE93CB}"/>
          </ac:spMkLst>
        </pc:spChg>
        <pc:spChg chg="add del mod">
          <ac:chgData name="Steiner Andreas 6206 ED" userId="e6377c33-a923-4f14-8587-531c474c7b48" providerId="ADAL" clId="{6ECD27E6-B224-41CD-B4E0-E297462320DD}" dt="2023-11-24T11:42:00.981" v="148018"/>
          <ac:spMkLst>
            <pc:docMk/>
            <pc:sldMk cId="1966364550" sldId="2147473979"/>
            <ac:spMk id="962" creationId="{0389976A-6382-C0F1-5A48-1EFF6C3904F2}"/>
          </ac:spMkLst>
        </pc:spChg>
        <pc:spChg chg="add del mod">
          <ac:chgData name="Steiner Andreas 6206 ED" userId="e6377c33-a923-4f14-8587-531c474c7b48" providerId="ADAL" clId="{6ECD27E6-B224-41CD-B4E0-E297462320DD}" dt="2023-11-24T11:42:04.171" v="148173"/>
          <ac:spMkLst>
            <pc:docMk/>
            <pc:sldMk cId="1966364550" sldId="2147473979"/>
            <ac:spMk id="963" creationId="{99CDE408-041E-AC1D-65D6-E2BBBD7E390D}"/>
          </ac:spMkLst>
        </pc:spChg>
        <pc:spChg chg="add del mod">
          <ac:chgData name="Steiner Andreas 6206 ED" userId="e6377c33-a923-4f14-8587-531c474c7b48" providerId="ADAL" clId="{6ECD27E6-B224-41CD-B4E0-E297462320DD}" dt="2023-11-24T11:42:06.670" v="148328"/>
          <ac:spMkLst>
            <pc:docMk/>
            <pc:sldMk cId="1966364550" sldId="2147473979"/>
            <ac:spMk id="964" creationId="{BB179495-9803-7729-C26F-87433780EAF3}"/>
          </ac:spMkLst>
        </pc:spChg>
        <pc:spChg chg="add del mod">
          <ac:chgData name="Steiner Andreas 6206 ED" userId="e6377c33-a923-4f14-8587-531c474c7b48" providerId="ADAL" clId="{6ECD27E6-B224-41CD-B4E0-E297462320DD}" dt="2023-11-24T11:42:08.931" v="148483"/>
          <ac:spMkLst>
            <pc:docMk/>
            <pc:sldMk cId="1966364550" sldId="2147473979"/>
            <ac:spMk id="965" creationId="{617B1304-CC71-758D-51B9-08F237798867}"/>
          </ac:spMkLst>
        </pc:spChg>
        <pc:spChg chg="add del mod">
          <ac:chgData name="Steiner Andreas 6206 ED" userId="e6377c33-a923-4f14-8587-531c474c7b48" providerId="ADAL" clId="{6ECD27E6-B224-41CD-B4E0-E297462320DD}" dt="2023-11-24T11:42:11.524" v="148638"/>
          <ac:spMkLst>
            <pc:docMk/>
            <pc:sldMk cId="1966364550" sldId="2147473979"/>
            <ac:spMk id="966" creationId="{83E9B191-F80C-E128-27C9-015ECD6A8BAE}"/>
          </ac:spMkLst>
        </pc:spChg>
        <pc:spChg chg="add del mod">
          <ac:chgData name="Steiner Andreas 6206 ED" userId="e6377c33-a923-4f14-8587-531c474c7b48" providerId="ADAL" clId="{6ECD27E6-B224-41CD-B4E0-E297462320DD}" dt="2023-11-24T11:42:14.144" v="148793"/>
          <ac:spMkLst>
            <pc:docMk/>
            <pc:sldMk cId="1966364550" sldId="2147473979"/>
            <ac:spMk id="967" creationId="{DE385742-1F8A-3DDE-3204-FB823371F033}"/>
          </ac:spMkLst>
        </pc:spChg>
        <pc:spChg chg="add del mod">
          <ac:chgData name="Steiner Andreas 6206 ED" userId="e6377c33-a923-4f14-8587-531c474c7b48" providerId="ADAL" clId="{6ECD27E6-B224-41CD-B4E0-E297462320DD}" dt="2023-11-24T11:42:16.384" v="148948"/>
          <ac:spMkLst>
            <pc:docMk/>
            <pc:sldMk cId="1966364550" sldId="2147473979"/>
            <ac:spMk id="968" creationId="{A1FEDE31-C60C-CA82-90D2-D66E9DE1C1C9}"/>
          </ac:spMkLst>
        </pc:spChg>
        <pc:spChg chg="add del mod">
          <ac:chgData name="Steiner Andreas 6206 ED" userId="e6377c33-a923-4f14-8587-531c474c7b48" providerId="ADAL" clId="{6ECD27E6-B224-41CD-B4E0-E297462320DD}" dt="2023-11-24T11:42:18.498" v="149103"/>
          <ac:spMkLst>
            <pc:docMk/>
            <pc:sldMk cId="1966364550" sldId="2147473979"/>
            <ac:spMk id="969" creationId="{03DBF902-73FB-5647-559D-FF8E9BABECDB}"/>
          </ac:spMkLst>
        </pc:spChg>
        <pc:spChg chg="add del mod">
          <ac:chgData name="Steiner Andreas 6206 ED" userId="e6377c33-a923-4f14-8587-531c474c7b48" providerId="ADAL" clId="{6ECD27E6-B224-41CD-B4E0-E297462320DD}" dt="2023-11-24T11:42:20.549" v="149258"/>
          <ac:spMkLst>
            <pc:docMk/>
            <pc:sldMk cId="1966364550" sldId="2147473979"/>
            <ac:spMk id="970" creationId="{57589F19-CDD2-ACD8-EEFD-6A08B2C1A74D}"/>
          </ac:spMkLst>
        </pc:spChg>
        <pc:spChg chg="add del mod">
          <ac:chgData name="Steiner Andreas 6206 ED" userId="e6377c33-a923-4f14-8587-531c474c7b48" providerId="ADAL" clId="{6ECD27E6-B224-41CD-B4E0-E297462320DD}" dt="2023-11-24T11:42:22.625" v="149413"/>
          <ac:spMkLst>
            <pc:docMk/>
            <pc:sldMk cId="1966364550" sldId="2147473979"/>
            <ac:spMk id="971" creationId="{3A192493-F589-5AAB-6641-FD25EA963D27}"/>
          </ac:spMkLst>
        </pc:spChg>
        <pc:spChg chg="add del mod">
          <ac:chgData name="Steiner Andreas 6206 ED" userId="e6377c33-a923-4f14-8587-531c474c7b48" providerId="ADAL" clId="{6ECD27E6-B224-41CD-B4E0-E297462320DD}" dt="2023-11-24T11:42:24.560" v="149568"/>
          <ac:spMkLst>
            <pc:docMk/>
            <pc:sldMk cId="1966364550" sldId="2147473979"/>
            <ac:spMk id="972" creationId="{2FDF3459-A422-E557-ED85-FC7ED22211F1}"/>
          </ac:spMkLst>
        </pc:spChg>
        <pc:spChg chg="add del mod">
          <ac:chgData name="Steiner Andreas 6206 ED" userId="e6377c33-a923-4f14-8587-531c474c7b48" providerId="ADAL" clId="{6ECD27E6-B224-41CD-B4E0-E297462320DD}" dt="2023-11-24T11:42:26.472" v="149723"/>
          <ac:spMkLst>
            <pc:docMk/>
            <pc:sldMk cId="1966364550" sldId="2147473979"/>
            <ac:spMk id="973" creationId="{1857FD27-BB55-159B-4C61-BE8A3C2BF4E9}"/>
          </ac:spMkLst>
        </pc:spChg>
        <pc:spChg chg="add del mod">
          <ac:chgData name="Steiner Andreas 6206 ED" userId="e6377c33-a923-4f14-8587-531c474c7b48" providerId="ADAL" clId="{6ECD27E6-B224-41CD-B4E0-E297462320DD}" dt="2023-11-24T11:42:29.677" v="149878"/>
          <ac:spMkLst>
            <pc:docMk/>
            <pc:sldMk cId="1966364550" sldId="2147473979"/>
            <ac:spMk id="974" creationId="{D0AC0EC0-608D-504D-4F37-946401241903}"/>
          </ac:spMkLst>
        </pc:spChg>
        <pc:spChg chg="add del mod">
          <ac:chgData name="Steiner Andreas 6206 ED" userId="e6377c33-a923-4f14-8587-531c474c7b48" providerId="ADAL" clId="{6ECD27E6-B224-41CD-B4E0-E297462320DD}" dt="2023-11-24T11:42:32.678" v="150033"/>
          <ac:spMkLst>
            <pc:docMk/>
            <pc:sldMk cId="1966364550" sldId="2147473979"/>
            <ac:spMk id="975" creationId="{BD1FDB21-9752-F7B9-642B-8ACDBD3FB970}"/>
          </ac:spMkLst>
        </pc:spChg>
        <pc:spChg chg="add del mod">
          <ac:chgData name="Steiner Andreas 6206 ED" userId="e6377c33-a923-4f14-8587-531c474c7b48" providerId="ADAL" clId="{6ECD27E6-B224-41CD-B4E0-E297462320DD}" dt="2023-11-24T11:42:35.880" v="150188"/>
          <ac:spMkLst>
            <pc:docMk/>
            <pc:sldMk cId="1966364550" sldId="2147473979"/>
            <ac:spMk id="976" creationId="{7E2DB582-9A0B-16DE-92F4-A7D5755E5987}"/>
          </ac:spMkLst>
        </pc:spChg>
        <pc:spChg chg="add del mod">
          <ac:chgData name="Steiner Andreas 6206 ED" userId="e6377c33-a923-4f14-8587-531c474c7b48" providerId="ADAL" clId="{6ECD27E6-B224-41CD-B4E0-E297462320DD}" dt="2023-11-24T11:42:38.208" v="150343"/>
          <ac:spMkLst>
            <pc:docMk/>
            <pc:sldMk cId="1966364550" sldId="2147473979"/>
            <ac:spMk id="977" creationId="{9871657D-8FD1-4DA5-1E63-6B0B220A16E1}"/>
          </ac:spMkLst>
        </pc:spChg>
        <pc:spChg chg="add del mod">
          <ac:chgData name="Steiner Andreas 6206 ED" userId="e6377c33-a923-4f14-8587-531c474c7b48" providerId="ADAL" clId="{6ECD27E6-B224-41CD-B4E0-E297462320DD}" dt="2023-11-24T11:42:40.277" v="150498"/>
          <ac:spMkLst>
            <pc:docMk/>
            <pc:sldMk cId="1966364550" sldId="2147473979"/>
            <ac:spMk id="978" creationId="{2B314043-C113-6111-9D1B-7C2BB83CAB55}"/>
          </ac:spMkLst>
        </pc:spChg>
        <pc:spChg chg="add del mod">
          <ac:chgData name="Steiner Andreas 6206 ED" userId="e6377c33-a923-4f14-8587-531c474c7b48" providerId="ADAL" clId="{6ECD27E6-B224-41CD-B4E0-E297462320DD}" dt="2023-11-24T11:42:42.306" v="150653"/>
          <ac:spMkLst>
            <pc:docMk/>
            <pc:sldMk cId="1966364550" sldId="2147473979"/>
            <ac:spMk id="979" creationId="{2B33678D-C9A0-B9BD-6C13-121DC0D59A64}"/>
          </ac:spMkLst>
        </pc:spChg>
        <pc:spChg chg="add del mod">
          <ac:chgData name="Steiner Andreas 6206 ED" userId="e6377c33-a923-4f14-8587-531c474c7b48" providerId="ADAL" clId="{6ECD27E6-B224-41CD-B4E0-E297462320DD}" dt="2023-11-24T11:42:44.406" v="150808"/>
          <ac:spMkLst>
            <pc:docMk/>
            <pc:sldMk cId="1966364550" sldId="2147473979"/>
            <ac:spMk id="980" creationId="{04DA7BFB-2DAF-45A7-7EDF-6444A9D28ECB}"/>
          </ac:spMkLst>
        </pc:spChg>
        <pc:spChg chg="add del mod">
          <ac:chgData name="Steiner Andreas 6206 ED" userId="e6377c33-a923-4f14-8587-531c474c7b48" providerId="ADAL" clId="{6ECD27E6-B224-41CD-B4E0-E297462320DD}" dt="2023-11-24T11:42:46.704" v="150963"/>
          <ac:spMkLst>
            <pc:docMk/>
            <pc:sldMk cId="1966364550" sldId="2147473979"/>
            <ac:spMk id="981" creationId="{3F405EDF-4AC1-2EB3-935F-D1A26176AE34}"/>
          </ac:spMkLst>
        </pc:spChg>
        <pc:spChg chg="add del mod">
          <ac:chgData name="Steiner Andreas 6206 ED" userId="e6377c33-a923-4f14-8587-531c474c7b48" providerId="ADAL" clId="{6ECD27E6-B224-41CD-B4E0-E297462320DD}" dt="2023-11-24T11:42:48.888" v="151118"/>
          <ac:spMkLst>
            <pc:docMk/>
            <pc:sldMk cId="1966364550" sldId="2147473979"/>
            <ac:spMk id="982" creationId="{4413DD46-4EF4-A923-A435-8383DF9603EB}"/>
          </ac:spMkLst>
        </pc:spChg>
        <pc:spChg chg="add del mod">
          <ac:chgData name="Steiner Andreas 6206 ED" userId="e6377c33-a923-4f14-8587-531c474c7b48" providerId="ADAL" clId="{6ECD27E6-B224-41CD-B4E0-E297462320DD}" dt="2023-11-24T11:42:51.197" v="151273"/>
          <ac:spMkLst>
            <pc:docMk/>
            <pc:sldMk cId="1966364550" sldId="2147473979"/>
            <ac:spMk id="983" creationId="{15DEADAD-73BA-6E94-A205-28410F401DD7}"/>
          </ac:spMkLst>
        </pc:spChg>
        <pc:spChg chg="add del mod">
          <ac:chgData name="Steiner Andreas 6206 ED" userId="e6377c33-a923-4f14-8587-531c474c7b48" providerId="ADAL" clId="{6ECD27E6-B224-41CD-B4E0-E297462320DD}" dt="2023-11-24T11:42:53.500" v="151428"/>
          <ac:spMkLst>
            <pc:docMk/>
            <pc:sldMk cId="1966364550" sldId="2147473979"/>
            <ac:spMk id="984" creationId="{1452EDCC-1A6A-7B54-CF60-FD2CC195CA88}"/>
          </ac:spMkLst>
        </pc:spChg>
        <pc:spChg chg="add del mod">
          <ac:chgData name="Steiner Andreas 6206 ED" userId="e6377c33-a923-4f14-8587-531c474c7b48" providerId="ADAL" clId="{6ECD27E6-B224-41CD-B4E0-E297462320DD}" dt="2023-11-24T11:42:55.737" v="151583"/>
          <ac:spMkLst>
            <pc:docMk/>
            <pc:sldMk cId="1966364550" sldId="2147473979"/>
            <ac:spMk id="985" creationId="{4D892C47-FAA4-ADF3-B385-CD614159C7F1}"/>
          </ac:spMkLst>
        </pc:spChg>
        <pc:spChg chg="add del mod">
          <ac:chgData name="Steiner Andreas 6206 ED" userId="e6377c33-a923-4f14-8587-531c474c7b48" providerId="ADAL" clId="{6ECD27E6-B224-41CD-B4E0-E297462320DD}" dt="2023-11-24T11:42:58.206" v="151738"/>
          <ac:spMkLst>
            <pc:docMk/>
            <pc:sldMk cId="1966364550" sldId="2147473979"/>
            <ac:spMk id="986" creationId="{F3CB567E-CB3B-2C25-4986-30709C2A3954}"/>
          </ac:spMkLst>
        </pc:spChg>
        <pc:spChg chg="add del mod">
          <ac:chgData name="Steiner Andreas 6206 ED" userId="e6377c33-a923-4f14-8587-531c474c7b48" providerId="ADAL" clId="{6ECD27E6-B224-41CD-B4E0-E297462320DD}" dt="2023-11-24T11:43:01.920" v="151893"/>
          <ac:spMkLst>
            <pc:docMk/>
            <pc:sldMk cId="1966364550" sldId="2147473979"/>
            <ac:spMk id="987" creationId="{25A827A1-C2DD-960D-38D9-C31CCF15729F}"/>
          </ac:spMkLst>
        </pc:spChg>
        <pc:spChg chg="add del mod">
          <ac:chgData name="Steiner Andreas 6206 ED" userId="e6377c33-a923-4f14-8587-531c474c7b48" providerId="ADAL" clId="{6ECD27E6-B224-41CD-B4E0-E297462320DD}" dt="2023-11-24T11:43:04.295" v="152048"/>
          <ac:spMkLst>
            <pc:docMk/>
            <pc:sldMk cId="1966364550" sldId="2147473979"/>
            <ac:spMk id="988" creationId="{AD9722CA-1C95-6CDB-66EF-5D5CD551B2B4}"/>
          </ac:spMkLst>
        </pc:spChg>
        <pc:spChg chg="add del mod">
          <ac:chgData name="Steiner Andreas 6206 ED" userId="e6377c33-a923-4f14-8587-531c474c7b48" providerId="ADAL" clId="{6ECD27E6-B224-41CD-B4E0-E297462320DD}" dt="2023-11-24T11:43:06.418" v="152203"/>
          <ac:spMkLst>
            <pc:docMk/>
            <pc:sldMk cId="1966364550" sldId="2147473979"/>
            <ac:spMk id="989" creationId="{9DFADE4F-208C-A3DC-3922-763B26CBD817}"/>
          </ac:spMkLst>
        </pc:spChg>
        <pc:spChg chg="add del mod">
          <ac:chgData name="Steiner Andreas 6206 ED" userId="e6377c33-a923-4f14-8587-531c474c7b48" providerId="ADAL" clId="{6ECD27E6-B224-41CD-B4E0-E297462320DD}" dt="2023-11-24T11:43:08.556" v="152358"/>
          <ac:spMkLst>
            <pc:docMk/>
            <pc:sldMk cId="1966364550" sldId="2147473979"/>
            <ac:spMk id="990" creationId="{A998981F-3052-DCDD-5BF5-0E0796CDAD35}"/>
          </ac:spMkLst>
        </pc:spChg>
        <pc:spChg chg="add del mod">
          <ac:chgData name="Steiner Andreas 6206 ED" userId="e6377c33-a923-4f14-8587-531c474c7b48" providerId="ADAL" clId="{6ECD27E6-B224-41CD-B4E0-E297462320DD}" dt="2023-11-24T11:43:10.708" v="152513"/>
          <ac:spMkLst>
            <pc:docMk/>
            <pc:sldMk cId="1966364550" sldId="2147473979"/>
            <ac:spMk id="991" creationId="{5F34D27A-E661-BD34-9C0B-92E28D4C03D5}"/>
          </ac:spMkLst>
        </pc:spChg>
        <pc:spChg chg="add del mod">
          <ac:chgData name="Steiner Andreas 6206 ED" userId="e6377c33-a923-4f14-8587-531c474c7b48" providerId="ADAL" clId="{6ECD27E6-B224-41CD-B4E0-E297462320DD}" dt="2023-11-24T11:43:12.948" v="152668"/>
          <ac:spMkLst>
            <pc:docMk/>
            <pc:sldMk cId="1966364550" sldId="2147473979"/>
            <ac:spMk id="992" creationId="{71E497E1-9B3F-F749-B2B4-ADF7416A8209}"/>
          </ac:spMkLst>
        </pc:spChg>
        <pc:spChg chg="add del mod">
          <ac:chgData name="Steiner Andreas 6206 ED" userId="e6377c33-a923-4f14-8587-531c474c7b48" providerId="ADAL" clId="{6ECD27E6-B224-41CD-B4E0-E297462320DD}" dt="2023-11-24T11:43:15.288" v="152823"/>
          <ac:spMkLst>
            <pc:docMk/>
            <pc:sldMk cId="1966364550" sldId="2147473979"/>
            <ac:spMk id="993" creationId="{ABDB8574-7721-FE9B-36E7-0A92AE9F8F03}"/>
          </ac:spMkLst>
        </pc:spChg>
        <pc:spChg chg="add del mod">
          <ac:chgData name="Steiner Andreas 6206 ED" userId="e6377c33-a923-4f14-8587-531c474c7b48" providerId="ADAL" clId="{6ECD27E6-B224-41CD-B4E0-E297462320DD}" dt="2023-11-24T11:43:18.430" v="152978"/>
          <ac:spMkLst>
            <pc:docMk/>
            <pc:sldMk cId="1966364550" sldId="2147473979"/>
            <ac:spMk id="994" creationId="{04928256-5A6B-180B-33A8-4044AD75E421}"/>
          </ac:spMkLst>
        </pc:spChg>
        <pc:spChg chg="add del mod">
          <ac:chgData name="Steiner Andreas 6206 ED" userId="e6377c33-a923-4f14-8587-531c474c7b48" providerId="ADAL" clId="{6ECD27E6-B224-41CD-B4E0-E297462320DD}" dt="2023-11-24T11:43:22.527" v="153133"/>
          <ac:spMkLst>
            <pc:docMk/>
            <pc:sldMk cId="1966364550" sldId="2147473979"/>
            <ac:spMk id="995" creationId="{9599420D-4193-0665-87C4-D54AE2F0323B}"/>
          </ac:spMkLst>
        </pc:spChg>
        <pc:spChg chg="add del mod">
          <ac:chgData name="Steiner Andreas 6206 ED" userId="e6377c33-a923-4f14-8587-531c474c7b48" providerId="ADAL" clId="{6ECD27E6-B224-41CD-B4E0-E297462320DD}" dt="2023-11-24T11:43:24.956" v="153288"/>
          <ac:spMkLst>
            <pc:docMk/>
            <pc:sldMk cId="1966364550" sldId="2147473979"/>
            <ac:spMk id="996" creationId="{B75BE74D-E559-FBBA-F308-9C53AE94416E}"/>
          </ac:spMkLst>
        </pc:spChg>
        <pc:spChg chg="add del mod">
          <ac:chgData name="Steiner Andreas 6206 ED" userId="e6377c33-a923-4f14-8587-531c474c7b48" providerId="ADAL" clId="{6ECD27E6-B224-41CD-B4E0-E297462320DD}" dt="2023-11-24T11:43:27.202" v="153443"/>
          <ac:spMkLst>
            <pc:docMk/>
            <pc:sldMk cId="1966364550" sldId="2147473979"/>
            <ac:spMk id="997" creationId="{B23829DE-2D27-BD28-40D6-E6766729BCF4}"/>
          </ac:spMkLst>
        </pc:spChg>
        <pc:spChg chg="add del mod">
          <ac:chgData name="Steiner Andreas 6206 ED" userId="e6377c33-a923-4f14-8587-531c474c7b48" providerId="ADAL" clId="{6ECD27E6-B224-41CD-B4E0-E297462320DD}" dt="2023-11-24T11:43:29.483" v="153598"/>
          <ac:spMkLst>
            <pc:docMk/>
            <pc:sldMk cId="1966364550" sldId="2147473979"/>
            <ac:spMk id="998" creationId="{986669A5-3B8D-E0B3-8F13-78EDBB1A40D8}"/>
          </ac:spMkLst>
        </pc:spChg>
        <pc:spChg chg="add del mod">
          <ac:chgData name="Steiner Andreas 6206 ED" userId="e6377c33-a923-4f14-8587-531c474c7b48" providerId="ADAL" clId="{6ECD27E6-B224-41CD-B4E0-E297462320DD}" dt="2023-11-24T11:43:31.729" v="153753"/>
          <ac:spMkLst>
            <pc:docMk/>
            <pc:sldMk cId="1966364550" sldId="2147473979"/>
            <ac:spMk id="999" creationId="{D924639B-BAC1-6827-1460-D334F40695F3}"/>
          </ac:spMkLst>
        </pc:spChg>
        <pc:spChg chg="add del mod">
          <ac:chgData name="Steiner Andreas 6206 ED" userId="e6377c33-a923-4f14-8587-531c474c7b48" providerId="ADAL" clId="{6ECD27E6-B224-41CD-B4E0-E297462320DD}" dt="2023-11-24T11:43:34.485" v="153908"/>
          <ac:spMkLst>
            <pc:docMk/>
            <pc:sldMk cId="1966364550" sldId="2147473979"/>
            <ac:spMk id="1000" creationId="{2336E658-2DDD-F3D4-A912-C0104BEBDCC1}"/>
          </ac:spMkLst>
        </pc:spChg>
        <pc:spChg chg="add del mod">
          <ac:chgData name="Steiner Andreas 6206 ED" userId="e6377c33-a923-4f14-8587-531c474c7b48" providerId="ADAL" clId="{6ECD27E6-B224-41CD-B4E0-E297462320DD}" dt="2023-11-24T11:43:36.617" v="154063"/>
          <ac:spMkLst>
            <pc:docMk/>
            <pc:sldMk cId="1966364550" sldId="2147473979"/>
            <ac:spMk id="1001" creationId="{68B2CB5C-6F26-9E60-1113-E4F3C3C81CD5}"/>
          </ac:spMkLst>
        </pc:spChg>
        <pc:spChg chg="add del mod">
          <ac:chgData name="Steiner Andreas 6206 ED" userId="e6377c33-a923-4f14-8587-531c474c7b48" providerId="ADAL" clId="{6ECD27E6-B224-41CD-B4E0-E297462320DD}" dt="2023-11-24T11:43:38.793" v="154218"/>
          <ac:spMkLst>
            <pc:docMk/>
            <pc:sldMk cId="1966364550" sldId="2147473979"/>
            <ac:spMk id="1002" creationId="{A0D970AE-C4FD-BD28-9FF4-8715554C8ADD}"/>
          </ac:spMkLst>
        </pc:spChg>
        <pc:spChg chg="add del mod">
          <ac:chgData name="Steiner Andreas 6206 ED" userId="e6377c33-a923-4f14-8587-531c474c7b48" providerId="ADAL" clId="{6ECD27E6-B224-41CD-B4E0-E297462320DD}" dt="2023-11-24T11:43:41.202" v="154373"/>
          <ac:spMkLst>
            <pc:docMk/>
            <pc:sldMk cId="1966364550" sldId="2147473979"/>
            <ac:spMk id="1003" creationId="{3131F969-7E0F-9E19-D43F-FE12B95CD4AF}"/>
          </ac:spMkLst>
        </pc:spChg>
        <pc:spChg chg="add del mod">
          <ac:chgData name="Steiner Andreas 6206 ED" userId="e6377c33-a923-4f14-8587-531c474c7b48" providerId="ADAL" clId="{6ECD27E6-B224-41CD-B4E0-E297462320DD}" dt="2023-11-24T11:43:44.103" v="154528"/>
          <ac:spMkLst>
            <pc:docMk/>
            <pc:sldMk cId="1966364550" sldId="2147473979"/>
            <ac:spMk id="1004" creationId="{1928DBA5-C6CC-ECB1-C62E-9F0FF7735954}"/>
          </ac:spMkLst>
        </pc:spChg>
        <pc:spChg chg="add del mod">
          <ac:chgData name="Steiner Andreas 6206 ED" userId="e6377c33-a923-4f14-8587-531c474c7b48" providerId="ADAL" clId="{6ECD27E6-B224-41CD-B4E0-E297462320DD}" dt="2023-11-24T11:43:46.425" v="154683"/>
          <ac:spMkLst>
            <pc:docMk/>
            <pc:sldMk cId="1966364550" sldId="2147473979"/>
            <ac:spMk id="1005" creationId="{62C36B88-3DC7-1301-EA5B-C78038EC07C5}"/>
          </ac:spMkLst>
        </pc:spChg>
        <pc:spChg chg="add del mod">
          <ac:chgData name="Steiner Andreas 6206 ED" userId="e6377c33-a923-4f14-8587-531c474c7b48" providerId="ADAL" clId="{6ECD27E6-B224-41CD-B4E0-E297462320DD}" dt="2023-11-24T11:43:48.723" v="154838"/>
          <ac:spMkLst>
            <pc:docMk/>
            <pc:sldMk cId="1966364550" sldId="2147473979"/>
            <ac:spMk id="1006" creationId="{516AE359-AF38-0833-163C-5286010D6327}"/>
          </ac:spMkLst>
        </pc:spChg>
        <pc:spChg chg="add del mod">
          <ac:chgData name="Steiner Andreas 6206 ED" userId="e6377c33-a923-4f14-8587-531c474c7b48" providerId="ADAL" clId="{6ECD27E6-B224-41CD-B4E0-E297462320DD}" dt="2023-11-24T11:43:50.766" v="154993"/>
          <ac:spMkLst>
            <pc:docMk/>
            <pc:sldMk cId="1966364550" sldId="2147473979"/>
            <ac:spMk id="1007" creationId="{B12DAB2B-2B6E-A348-E7B9-EE493FEFBC89}"/>
          </ac:spMkLst>
        </pc:spChg>
        <pc:spChg chg="add del mod">
          <ac:chgData name="Steiner Andreas 6206 ED" userId="e6377c33-a923-4f14-8587-531c474c7b48" providerId="ADAL" clId="{6ECD27E6-B224-41CD-B4E0-E297462320DD}" dt="2023-11-24T11:43:52.966" v="155148"/>
          <ac:spMkLst>
            <pc:docMk/>
            <pc:sldMk cId="1966364550" sldId="2147473979"/>
            <ac:spMk id="1008" creationId="{326A50F9-24AA-1C64-7243-45D6E7EF5279}"/>
          </ac:spMkLst>
        </pc:spChg>
        <pc:spChg chg="add del mod">
          <ac:chgData name="Steiner Andreas 6206 ED" userId="e6377c33-a923-4f14-8587-531c474c7b48" providerId="ADAL" clId="{6ECD27E6-B224-41CD-B4E0-E297462320DD}" dt="2023-11-24T11:43:56.024" v="155303"/>
          <ac:spMkLst>
            <pc:docMk/>
            <pc:sldMk cId="1966364550" sldId="2147473979"/>
            <ac:spMk id="1009" creationId="{85F0DDCC-1D46-3849-E0AF-3CE21F9089F7}"/>
          </ac:spMkLst>
        </pc:spChg>
        <pc:spChg chg="add del mod">
          <ac:chgData name="Steiner Andreas 6206 ED" userId="e6377c33-a923-4f14-8587-531c474c7b48" providerId="ADAL" clId="{6ECD27E6-B224-41CD-B4E0-E297462320DD}" dt="2023-11-24T11:43:58.341" v="155458"/>
          <ac:spMkLst>
            <pc:docMk/>
            <pc:sldMk cId="1966364550" sldId="2147473979"/>
            <ac:spMk id="1010" creationId="{752BE066-4DD7-48C9-D42D-90D7921903BA}"/>
          </ac:spMkLst>
        </pc:spChg>
        <pc:spChg chg="add del mod">
          <ac:chgData name="Steiner Andreas 6206 ED" userId="e6377c33-a923-4f14-8587-531c474c7b48" providerId="ADAL" clId="{6ECD27E6-B224-41CD-B4E0-E297462320DD}" dt="2023-11-24T11:44:00.410" v="155613"/>
          <ac:spMkLst>
            <pc:docMk/>
            <pc:sldMk cId="1966364550" sldId="2147473979"/>
            <ac:spMk id="1011" creationId="{5FBBBACB-E27E-73DA-5FFC-302FAEB7CDDE}"/>
          </ac:spMkLst>
        </pc:spChg>
        <pc:spChg chg="add del mod">
          <ac:chgData name="Steiner Andreas 6206 ED" userId="e6377c33-a923-4f14-8587-531c474c7b48" providerId="ADAL" clId="{6ECD27E6-B224-41CD-B4E0-E297462320DD}" dt="2023-11-24T11:44:02.397" v="155768"/>
          <ac:spMkLst>
            <pc:docMk/>
            <pc:sldMk cId="1966364550" sldId="2147473979"/>
            <ac:spMk id="1012" creationId="{BBE814A7-792C-CEED-89CE-CDBB114D311C}"/>
          </ac:spMkLst>
        </pc:spChg>
        <pc:spChg chg="add del mod">
          <ac:chgData name="Steiner Andreas 6206 ED" userId="e6377c33-a923-4f14-8587-531c474c7b48" providerId="ADAL" clId="{6ECD27E6-B224-41CD-B4E0-E297462320DD}" dt="2023-11-24T11:44:04.459" v="155923"/>
          <ac:spMkLst>
            <pc:docMk/>
            <pc:sldMk cId="1966364550" sldId="2147473979"/>
            <ac:spMk id="1013" creationId="{B625B3BB-A675-6AC6-5A71-98BF7EAFCD2E}"/>
          </ac:spMkLst>
        </pc:spChg>
        <pc:spChg chg="add del mod">
          <ac:chgData name="Steiner Andreas 6206 ED" userId="e6377c33-a923-4f14-8587-531c474c7b48" providerId="ADAL" clId="{6ECD27E6-B224-41CD-B4E0-E297462320DD}" dt="2023-11-24T11:44:06.470" v="156078"/>
          <ac:spMkLst>
            <pc:docMk/>
            <pc:sldMk cId="1966364550" sldId="2147473979"/>
            <ac:spMk id="1014" creationId="{497ED38F-F9B0-B6EA-3A63-326CB2474650}"/>
          </ac:spMkLst>
        </pc:spChg>
        <pc:spChg chg="add del mod">
          <ac:chgData name="Steiner Andreas 6206 ED" userId="e6377c33-a923-4f14-8587-531c474c7b48" providerId="ADAL" clId="{6ECD27E6-B224-41CD-B4E0-E297462320DD}" dt="2023-11-24T11:44:08.661" v="156233"/>
          <ac:spMkLst>
            <pc:docMk/>
            <pc:sldMk cId="1966364550" sldId="2147473979"/>
            <ac:spMk id="1015" creationId="{7CEFC23B-219F-1154-3AF0-EAA4D27D7553}"/>
          </ac:spMkLst>
        </pc:spChg>
        <pc:spChg chg="add del mod">
          <ac:chgData name="Steiner Andreas 6206 ED" userId="e6377c33-a923-4f14-8587-531c474c7b48" providerId="ADAL" clId="{6ECD27E6-B224-41CD-B4E0-E297462320DD}" dt="2023-11-24T11:44:10.708" v="156388"/>
          <ac:spMkLst>
            <pc:docMk/>
            <pc:sldMk cId="1966364550" sldId="2147473979"/>
            <ac:spMk id="1016" creationId="{02F46390-8EB4-B0A3-93AD-CBBFDE17304A}"/>
          </ac:spMkLst>
        </pc:spChg>
        <pc:spChg chg="add del mod">
          <ac:chgData name="Steiner Andreas 6206 ED" userId="e6377c33-a923-4f14-8587-531c474c7b48" providerId="ADAL" clId="{6ECD27E6-B224-41CD-B4E0-E297462320DD}" dt="2023-11-24T11:44:12.725" v="156543"/>
          <ac:spMkLst>
            <pc:docMk/>
            <pc:sldMk cId="1966364550" sldId="2147473979"/>
            <ac:spMk id="1017" creationId="{6B84A626-1355-A254-FF61-64B12D237A18}"/>
          </ac:spMkLst>
        </pc:spChg>
        <pc:spChg chg="add del mod">
          <ac:chgData name="Steiner Andreas 6206 ED" userId="e6377c33-a923-4f14-8587-531c474c7b48" providerId="ADAL" clId="{6ECD27E6-B224-41CD-B4E0-E297462320DD}" dt="2023-11-24T11:44:14.722" v="156698"/>
          <ac:spMkLst>
            <pc:docMk/>
            <pc:sldMk cId="1966364550" sldId="2147473979"/>
            <ac:spMk id="1018" creationId="{99C774AF-25A6-4187-3B76-36CD1C0EBE3A}"/>
          </ac:spMkLst>
        </pc:spChg>
        <pc:spChg chg="add del mod">
          <ac:chgData name="Steiner Andreas 6206 ED" userId="e6377c33-a923-4f14-8587-531c474c7b48" providerId="ADAL" clId="{6ECD27E6-B224-41CD-B4E0-E297462320DD}" dt="2023-11-24T11:44:16.707" v="156853"/>
          <ac:spMkLst>
            <pc:docMk/>
            <pc:sldMk cId="1966364550" sldId="2147473979"/>
            <ac:spMk id="1019" creationId="{07198581-938B-C517-0A3C-3B37DE42980D}"/>
          </ac:spMkLst>
        </pc:spChg>
        <pc:spChg chg="add del mod">
          <ac:chgData name="Steiner Andreas 6206 ED" userId="e6377c33-a923-4f14-8587-531c474c7b48" providerId="ADAL" clId="{6ECD27E6-B224-41CD-B4E0-E297462320DD}" dt="2023-11-24T11:44:18.817" v="157008"/>
          <ac:spMkLst>
            <pc:docMk/>
            <pc:sldMk cId="1966364550" sldId="2147473979"/>
            <ac:spMk id="1020" creationId="{978767BD-E915-490B-6037-13F504E9F52A}"/>
          </ac:spMkLst>
        </pc:spChg>
        <pc:spChg chg="add del mod">
          <ac:chgData name="Steiner Andreas 6206 ED" userId="e6377c33-a923-4f14-8587-531c474c7b48" providerId="ADAL" clId="{6ECD27E6-B224-41CD-B4E0-E297462320DD}" dt="2023-11-24T11:44:20.917" v="157163"/>
          <ac:spMkLst>
            <pc:docMk/>
            <pc:sldMk cId="1966364550" sldId="2147473979"/>
            <ac:spMk id="1021" creationId="{5F984843-53D7-865F-19B0-E716E7F8FBB9}"/>
          </ac:spMkLst>
        </pc:spChg>
        <pc:spChg chg="add del mod">
          <ac:chgData name="Steiner Andreas 6206 ED" userId="e6377c33-a923-4f14-8587-531c474c7b48" providerId="ADAL" clId="{6ECD27E6-B224-41CD-B4E0-E297462320DD}" dt="2023-11-24T11:44:23.246" v="157318"/>
          <ac:spMkLst>
            <pc:docMk/>
            <pc:sldMk cId="1966364550" sldId="2147473979"/>
            <ac:spMk id="1022" creationId="{B946CEA4-5313-379D-276E-B706493F0122}"/>
          </ac:spMkLst>
        </pc:spChg>
        <pc:spChg chg="add del mod">
          <ac:chgData name="Steiner Andreas 6206 ED" userId="e6377c33-a923-4f14-8587-531c474c7b48" providerId="ADAL" clId="{6ECD27E6-B224-41CD-B4E0-E297462320DD}" dt="2023-11-24T11:44:25.397" v="157473"/>
          <ac:spMkLst>
            <pc:docMk/>
            <pc:sldMk cId="1966364550" sldId="2147473979"/>
            <ac:spMk id="1023" creationId="{83C658DD-5717-4359-FAE4-429D0AFF0FF7}"/>
          </ac:spMkLst>
        </pc:spChg>
        <pc:spChg chg="add del mod">
          <ac:chgData name="Steiner Andreas 6206 ED" userId="e6377c33-a923-4f14-8587-531c474c7b48" providerId="ADAL" clId="{6ECD27E6-B224-41CD-B4E0-E297462320DD}" dt="2023-11-24T11:44:30.829" v="157628"/>
          <ac:spMkLst>
            <pc:docMk/>
            <pc:sldMk cId="1966364550" sldId="2147473979"/>
            <ac:spMk id="1024" creationId="{0D80DE7F-4D6F-F4AC-0C2E-2D39F6B3C44A}"/>
          </ac:spMkLst>
        </pc:spChg>
        <pc:spChg chg="add mod">
          <ac:chgData name="Steiner Andreas 6206 ED" userId="e6377c33-a923-4f14-8587-531c474c7b48" providerId="ADAL" clId="{6ECD27E6-B224-41CD-B4E0-E297462320DD}" dt="2023-11-24T11:44:30.831" v="157629"/>
          <ac:spMkLst>
            <pc:docMk/>
            <pc:sldMk cId="1966364550" sldId="2147473979"/>
            <ac:spMk id="1025" creationId="{8180D8E1-5FBB-E071-166B-CDD1E4D0B3F2}"/>
          </ac:spMkLst>
        </pc:spChg>
      </pc:sldChg>
      <pc:sldChg chg="addSp delSp modSp mod">
        <pc:chgData name="Steiner Andreas 6206 ED" userId="e6377c33-a923-4f14-8587-531c474c7b48" providerId="ADAL" clId="{6ECD27E6-B224-41CD-B4E0-E297462320DD}" dt="2023-11-24T11:44:30.836" v="157634"/>
        <pc:sldMkLst>
          <pc:docMk/>
          <pc:sldMk cId="4183350934" sldId="2147478561"/>
        </pc:sldMkLst>
        <pc:spChg chg="mod">
          <ac:chgData name="Steiner Andreas 6206 ED" userId="e6377c33-a923-4f14-8587-531c474c7b48" providerId="ADAL" clId="{6ECD27E6-B224-41CD-B4E0-E297462320DD}" dt="2023-11-24T11:44:30.833" v="157630" actId="20577"/>
          <ac:spMkLst>
            <pc:docMk/>
            <pc:sldMk cId="4183350934" sldId="2147478561"/>
            <ac:spMk id="3" creationId="{4E8CC9C0-365F-2AE2-45F2-482F3CE5F5BC}"/>
          </ac:spMkLst>
        </pc:spChg>
        <pc:spChg chg="add del mod">
          <ac:chgData name="Steiner Andreas 6206 ED" userId="e6377c33-a923-4f14-8587-531c474c7b48" providerId="ADAL" clId="{6ECD27E6-B224-41CD-B4E0-E297462320DD}" dt="2023-11-23T19:49:53.644" v="170"/>
          <ac:spMkLst>
            <pc:docMk/>
            <pc:sldMk cId="4183350934" sldId="2147478561"/>
            <ac:spMk id="4" creationId="{0F566B2E-4963-88F4-CFF0-B04B831FA002}"/>
          </ac:spMkLst>
        </pc:spChg>
        <pc:spChg chg="del">
          <ac:chgData name="Steiner Andreas 6206 ED" userId="e6377c33-a923-4f14-8587-531c474c7b48" providerId="ADAL" clId="{6ECD27E6-B224-41CD-B4E0-E297462320DD}" dt="2023-11-23T19:49:53.642" v="167"/>
          <ac:spMkLst>
            <pc:docMk/>
            <pc:sldMk cId="4183350934" sldId="2147478561"/>
            <ac:spMk id="5" creationId="{64E93222-32B7-20A4-715C-D9A68AE48A8A}"/>
          </ac:spMkLst>
        </pc:spChg>
        <pc:spChg chg="add del mod">
          <ac:chgData name="Steiner Andreas 6206 ED" userId="e6377c33-a923-4f14-8587-531c474c7b48" providerId="ADAL" clId="{6ECD27E6-B224-41CD-B4E0-E297462320DD}" dt="2023-11-23T19:49:54.535" v="308"/>
          <ac:spMkLst>
            <pc:docMk/>
            <pc:sldMk cId="4183350934" sldId="2147478561"/>
            <ac:spMk id="6" creationId="{4D889812-CFC5-C086-8D44-612A87C27F55}"/>
          </ac:spMkLst>
        </pc:spChg>
        <pc:spChg chg="add del mod">
          <ac:chgData name="Steiner Andreas 6206 ED" userId="e6377c33-a923-4f14-8587-531c474c7b48" providerId="ADAL" clId="{6ECD27E6-B224-41CD-B4E0-E297462320DD}" dt="2023-11-23T19:50:25.398" v="463"/>
          <ac:spMkLst>
            <pc:docMk/>
            <pc:sldMk cId="4183350934" sldId="2147478561"/>
            <ac:spMk id="9" creationId="{5F7C1786-CFD0-AAF2-CD17-1F9C00985BDF}"/>
          </ac:spMkLst>
        </pc:spChg>
        <pc:spChg chg="add del mod">
          <ac:chgData name="Steiner Andreas 6206 ED" userId="e6377c33-a923-4f14-8587-531c474c7b48" providerId="ADAL" clId="{6ECD27E6-B224-41CD-B4E0-E297462320DD}" dt="2023-11-23T19:50:35.188" v="618"/>
          <ac:spMkLst>
            <pc:docMk/>
            <pc:sldMk cId="4183350934" sldId="2147478561"/>
            <ac:spMk id="12" creationId="{CB121695-1371-5BF8-D9FB-8E3E6F7AEA8C}"/>
          </ac:spMkLst>
        </pc:spChg>
        <pc:spChg chg="add del mod">
          <ac:chgData name="Steiner Andreas 6206 ED" userId="e6377c33-a923-4f14-8587-531c474c7b48" providerId="ADAL" clId="{6ECD27E6-B224-41CD-B4E0-E297462320DD}" dt="2023-11-23T19:50:46.853" v="773"/>
          <ac:spMkLst>
            <pc:docMk/>
            <pc:sldMk cId="4183350934" sldId="2147478561"/>
            <ac:spMk id="13" creationId="{16FFD56D-2A06-6D8E-A81C-74EE7749CA73}"/>
          </ac:spMkLst>
        </pc:spChg>
        <pc:spChg chg="add del mod">
          <ac:chgData name="Steiner Andreas 6206 ED" userId="e6377c33-a923-4f14-8587-531c474c7b48" providerId="ADAL" clId="{6ECD27E6-B224-41CD-B4E0-E297462320DD}" dt="2023-11-23T19:50:58.562" v="928"/>
          <ac:spMkLst>
            <pc:docMk/>
            <pc:sldMk cId="4183350934" sldId="2147478561"/>
            <ac:spMk id="14" creationId="{1D1551D0-5947-8947-957D-7792997F21E8}"/>
          </ac:spMkLst>
        </pc:spChg>
        <pc:spChg chg="add del mod">
          <ac:chgData name="Steiner Andreas 6206 ED" userId="e6377c33-a923-4f14-8587-531c474c7b48" providerId="ADAL" clId="{6ECD27E6-B224-41CD-B4E0-E297462320DD}" dt="2023-11-23T19:51:09.242" v="1083"/>
          <ac:spMkLst>
            <pc:docMk/>
            <pc:sldMk cId="4183350934" sldId="2147478561"/>
            <ac:spMk id="15" creationId="{6468756B-C296-2176-6072-E82C002F0657}"/>
          </ac:spMkLst>
        </pc:spChg>
        <pc:spChg chg="add del mod">
          <ac:chgData name="Steiner Andreas 6206 ED" userId="e6377c33-a923-4f14-8587-531c474c7b48" providerId="ADAL" clId="{6ECD27E6-B224-41CD-B4E0-E297462320DD}" dt="2023-11-23T19:51:20.262" v="1238"/>
          <ac:spMkLst>
            <pc:docMk/>
            <pc:sldMk cId="4183350934" sldId="2147478561"/>
            <ac:spMk id="16" creationId="{EB55AE86-3D0A-67EC-4952-A20D363AEAF4}"/>
          </ac:spMkLst>
        </pc:spChg>
        <pc:spChg chg="add del mod">
          <ac:chgData name="Steiner Andreas 6206 ED" userId="e6377c33-a923-4f14-8587-531c474c7b48" providerId="ADAL" clId="{6ECD27E6-B224-41CD-B4E0-E297462320DD}" dt="2023-11-23T19:51:31.692" v="1393"/>
          <ac:spMkLst>
            <pc:docMk/>
            <pc:sldMk cId="4183350934" sldId="2147478561"/>
            <ac:spMk id="17" creationId="{9FB2AB2A-C206-F058-EE6B-422F6A974373}"/>
          </ac:spMkLst>
        </pc:spChg>
        <pc:spChg chg="add del mod">
          <ac:chgData name="Steiner Andreas 6206 ED" userId="e6377c33-a923-4f14-8587-531c474c7b48" providerId="ADAL" clId="{6ECD27E6-B224-41CD-B4E0-E297462320DD}" dt="2023-11-23T19:51:42.368" v="1548"/>
          <ac:spMkLst>
            <pc:docMk/>
            <pc:sldMk cId="4183350934" sldId="2147478561"/>
            <ac:spMk id="18" creationId="{8984F058-AD04-B295-196E-C410F10B6FE3}"/>
          </ac:spMkLst>
        </pc:spChg>
        <pc:spChg chg="add del mod">
          <ac:chgData name="Steiner Andreas 6206 ED" userId="e6377c33-a923-4f14-8587-531c474c7b48" providerId="ADAL" clId="{6ECD27E6-B224-41CD-B4E0-E297462320DD}" dt="2023-11-23T19:51:53.662" v="1703"/>
          <ac:spMkLst>
            <pc:docMk/>
            <pc:sldMk cId="4183350934" sldId="2147478561"/>
            <ac:spMk id="19" creationId="{08C6E865-FEFD-4761-AAE0-8EBD9783F9AE}"/>
          </ac:spMkLst>
        </pc:spChg>
        <pc:spChg chg="add del mod">
          <ac:chgData name="Steiner Andreas 6206 ED" userId="e6377c33-a923-4f14-8587-531c474c7b48" providerId="ADAL" clId="{6ECD27E6-B224-41CD-B4E0-E297462320DD}" dt="2023-11-23T19:52:05.354" v="1858"/>
          <ac:spMkLst>
            <pc:docMk/>
            <pc:sldMk cId="4183350934" sldId="2147478561"/>
            <ac:spMk id="20" creationId="{2A6DC21C-8462-8919-171D-70B867711BAE}"/>
          </ac:spMkLst>
        </pc:spChg>
        <pc:spChg chg="add del mod">
          <ac:chgData name="Steiner Andreas 6206 ED" userId="e6377c33-a923-4f14-8587-531c474c7b48" providerId="ADAL" clId="{6ECD27E6-B224-41CD-B4E0-E297462320DD}" dt="2023-11-23T19:52:17.071" v="2013"/>
          <ac:spMkLst>
            <pc:docMk/>
            <pc:sldMk cId="4183350934" sldId="2147478561"/>
            <ac:spMk id="21" creationId="{C89FCB58-2863-122C-31C7-0F1BCFCC74A4}"/>
          </ac:spMkLst>
        </pc:spChg>
        <pc:spChg chg="add del mod">
          <ac:chgData name="Steiner Andreas 6206 ED" userId="e6377c33-a923-4f14-8587-531c474c7b48" providerId="ADAL" clId="{6ECD27E6-B224-41CD-B4E0-E297462320DD}" dt="2023-11-23T19:52:28.754" v="2168"/>
          <ac:spMkLst>
            <pc:docMk/>
            <pc:sldMk cId="4183350934" sldId="2147478561"/>
            <ac:spMk id="22" creationId="{79BF3578-ED7B-495F-7699-93317F364111}"/>
          </ac:spMkLst>
        </pc:spChg>
        <pc:spChg chg="add del mod">
          <ac:chgData name="Steiner Andreas 6206 ED" userId="e6377c33-a923-4f14-8587-531c474c7b48" providerId="ADAL" clId="{6ECD27E6-B224-41CD-B4E0-E297462320DD}" dt="2023-11-23T19:52:40.442" v="2323"/>
          <ac:spMkLst>
            <pc:docMk/>
            <pc:sldMk cId="4183350934" sldId="2147478561"/>
            <ac:spMk id="23" creationId="{50E4C4E6-B054-F86E-9DC4-E4605C923BAE}"/>
          </ac:spMkLst>
        </pc:spChg>
        <pc:spChg chg="add del mod">
          <ac:chgData name="Steiner Andreas 6206 ED" userId="e6377c33-a923-4f14-8587-531c474c7b48" providerId="ADAL" clId="{6ECD27E6-B224-41CD-B4E0-E297462320DD}" dt="2023-11-23T19:52:51.795" v="2478"/>
          <ac:spMkLst>
            <pc:docMk/>
            <pc:sldMk cId="4183350934" sldId="2147478561"/>
            <ac:spMk id="24" creationId="{FDCCC8A6-0F80-CC12-29C8-D08DD175A1B2}"/>
          </ac:spMkLst>
        </pc:spChg>
        <pc:spChg chg="add del mod">
          <ac:chgData name="Steiner Andreas 6206 ED" userId="e6377c33-a923-4f14-8587-531c474c7b48" providerId="ADAL" clId="{6ECD27E6-B224-41CD-B4E0-E297462320DD}" dt="2023-11-23T19:53:03.505" v="2633"/>
          <ac:spMkLst>
            <pc:docMk/>
            <pc:sldMk cId="4183350934" sldId="2147478561"/>
            <ac:spMk id="25" creationId="{02816EC1-5D2D-25F2-16FB-40B686FA2F98}"/>
          </ac:spMkLst>
        </pc:spChg>
        <pc:spChg chg="add del mod">
          <ac:chgData name="Steiner Andreas 6206 ED" userId="e6377c33-a923-4f14-8587-531c474c7b48" providerId="ADAL" clId="{6ECD27E6-B224-41CD-B4E0-E297462320DD}" dt="2023-11-23T19:53:15.236" v="2788"/>
          <ac:spMkLst>
            <pc:docMk/>
            <pc:sldMk cId="4183350934" sldId="2147478561"/>
            <ac:spMk id="26" creationId="{342DD273-E711-0C2C-4F47-33A857D4A4BB}"/>
          </ac:spMkLst>
        </pc:spChg>
        <pc:spChg chg="add del mod">
          <ac:chgData name="Steiner Andreas 6206 ED" userId="e6377c33-a923-4f14-8587-531c474c7b48" providerId="ADAL" clId="{6ECD27E6-B224-41CD-B4E0-E297462320DD}" dt="2023-11-23T19:53:26.915" v="2943"/>
          <ac:spMkLst>
            <pc:docMk/>
            <pc:sldMk cId="4183350934" sldId="2147478561"/>
            <ac:spMk id="27" creationId="{54F062BB-AF64-6185-51E1-8806A715BE92}"/>
          </ac:spMkLst>
        </pc:spChg>
        <pc:spChg chg="add del mod">
          <ac:chgData name="Steiner Andreas 6206 ED" userId="e6377c33-a923-4f14-8587-531c474c7b48" providerId="ADAL" clId="{6ECD27E6-B224-41CD-B4E0-E297462320DD}" dt="2023-11-23T19:53:38.573" v="3098"/>
          <ac:spMkLst>
            <pc:docMk/>
            <pc:sldMk cId="4183350934" sldId="2147478561"/>
            <ac:spMk id="28" creationId="{B4A8B426-6B43-EE6B-4711-166BF50DAB3A}"/>
          </ac:spMkLst>
        </pc:spChg>
        <pc:spChg chg="add del mod">
          <ac:chgData name="Steiner Andreas 6206 ED" userId="e6377c33-a923-4f14-8587-531c474c7b48" providerId="ADAL" clId="{6ECD27E6-B224-41CD-B4E0-E297462320DD}" dt="2023-11-23T19:53:50.237" v="3253"/>
          <ac:spMkLst>
            <pc:docMk/>
            <pc:sldMk cId="4183350934" sldId="2147478561"/>
            <ac:spMk id="29" creationId="{B237C7E6-F857-AF90-F6EE-623B2A29CDC1}"/>
          </ac:spMkLst>
        </pc:spChg>
        <pc:spChg chg="add del mod">
          <ac:chgData name="Steiner Andreas 6206 ED" userId="e6377c33-a923-4f14-8587-531c474c7b48" providerId="ADAL" clId="{6ECD27E6-B224-41CD-B4E0-E297462320DD}" dt="2023-11-23T19:54:01.909" v="3408"/>
          <ac:spMkLst>
            <pc:docMk/>
            <pc:sldMk cId="4183350934" sldId="2147478561"/>
            <ac:spMk id="30" creationId="{0CF05599-9204-724B-3312-71E78CA79EE8}"/>
          </ac:spMkLst>
        </pc:spChg>
        <pc:spChg chg="add del mod">
          <ac:chgData name="Steiner Andreas 6206 ED" userId="e6377c33-a923-4f14-8587-531c474c7b48" providerId="ADAL" clId="{6ECD27E6-B224-41CD-B4E0-E297462320DD}" dt="2023-11-23T19:54:13.602" v="3563"/>
          <ac:spMkLst>
            <pc:docMk/>
            <pc:sldMk cId="4183350934" sldId="2147478561"/>
            <ac:spMk id="31" creationId="{0C8EA607-ABE3-E0CE-D71D-91FE7FBB1611}"/>
          </ac:spMkLst>
        </pc:spChg>
        <pc:spChg chg="add del mod">
          <ac:chgData name="Steiner Andreas 6206 ED" userId="e6377c33-a923-4f14-8587-531c474c7b48" providerId="ADAL" clId="{6ECD27E6-B224-41CD-B4E0-E297462320DD}" dt="2023-11-23T19:54:25.262" v="3718"/>
          <ac:spMkLst>
            <pc:docMk/>
            <pc:sldMk cId="4183350934" sldId="2147478561"/>
            <ac:spMk id="32" creationId="{4E8502F2-9A74-0059-3CFD-95D340E106D8}"/>
          </ac:spMkLst>
        </pc:spChg>
        <pc:spChg chg="add del mod">
          <ac:chgData name="Steiner Andreas 6206 ED" userId="e6377c33-a923-4f14-8587-531c474c7b48" providerId="ADAL" clId="{6ECD27E6-B224-41CD-B4E0-E297462320DD}" dt="2023-11-23T19:54:36.984" v="3873"/>
          <ac:spMkLst>
            <pc:docMk/>
            <pc:sldMk cId="4183350934" sldId="2147478561"/>
            <ac:spMk id="33" creationId="{637C316D-6F96-B752-728D-B4790512C8A9}"/>
          </ac:spMkLst>
        </pc:spChg>
        <pc:spChg chg="add del mod">
          <ac:chgData name="Steiner Andreas 6206 ED" userId="e6377c33-a923-4f14-8587-531c474c7b48" providerId="ADAL" clId="{6ECD27E6-B224-41CD-B4E0-E297462320DD}" dt="2023-11-23T19:54:48.279" v="4028"/>
          <ac:spMkLst>
            <pc:docMk/>
            <pc:sldMk cId="4183350934" sldId="2147478561"/>
            <ac:spMk id="34" creationId="{F31C608F-82E6-4A2A-788B-50FF7A02A42B}"/>
          </ac:spMkLst>
        </pc:spChg>
        <pc:spChg chg="add del mod">
          <ac:chgData name="Steiner Andreas 6206 ED" userId="e6377c33-a923-4f14-8587-531c474c7b48" providerId="ADAL" clId="{6ECD27E6-B224-41CD-B4E0-E297462320DD}" dt="2023-11-23T19:54:59.965" v="4183"/>
          <ac:spMkLst>
            <pc:docMk/>
            <pc:sldMk cId="4183350934" sldId="2147478561"/>
            <ac:spMk id="35" creationId="{DBFBB90B-EA1F-A4B6-6CDF-28F5088E91CE}"/>
          </ac:spMkLst>
        </pc:spChg>
        <pc:spChg chg="add del mod">
          <ac:chgData name="Steiner Andreas 6206 ED" userId="e6377c33-a923-4f14-8587-531c474c7b48" providerId="ADAL" clId="{6ECD27E6-B224-41CD-B4E0-E297462320DD}" dt="2023-11-23T19:55:11.694" v="4338"/>
          <ac:spMkLst>
            <pc:docMk/>
            <pc:sldMk cId="4183350934" sldId="2147478561"/>
            <ac:spMk id="36" creationId="{92271332-539F-18E7-EDDA-BD10334B5639}"/>
          </ac:spMkLst>
        </pc:spChg>
        <pc:spChg chg="add del mod">
          <ac:chgData name="Steiner Andreas 6206 ED" userId="e6377c33-a923-4f14-8587-531c474c7b48" providerId="ADAL" clId="{6ECD27E6-B224-41CD-B4E0-E297462320DD}" dt="2023-11-23T19:55:23.368" v="4493"/>
          <ac:spMkLst>
            <pc:docMk/>
            <pc:sldMk cId="4183350934" sldId="2147478561"/>
            <ac:spMk id="37" creationId="{F1B4C87C-A5EC-63E2-D6C4-A9F161C8D199}"/>
          </ac:spMkLst>
        </pc:spChg>
        <pc:spChg chg="add del mod">
          <ac:chgData name="Steiner Andreas 6206 ED" userId="e6377c33-a923-4f14-8587-531c474c7b48" providerId="ADAL" clId="{6ECD27E6-B224-41CD-B4E0-E297462320DD}" dt="2023-11-23T19:55:35.034" v="4648"/>
          <ac:spMkLst>
            <pc:docMk/>
            <pc:sldMk cId="4183350934" sldId="2147478561"/>
            <ac:spMk id="38" creationId="{2E62454C-0C19-9F59-84B7-5C947CFAD0F1}"/>
          </ac:spMkLst>
        </pc:spChg>
        <pc:spChg chg="add del mod">
          <ac:chgData name="Steiner Andreas 6206 ED" userId="e6377c33-a923-4f14-8587-531c474c7b48" providerId="ADAL" clId="{6ECD27E6-B224-41CD-B4E0-E297462320DD}" dt="2023-11-23T19:55:46.309" v="4803"/>
          <ac:spMkLst>
            <pc:docMk/>
            <pc:sldMk cId="4183350934" sldId="2147478561"/>
            <ac:spMk id="39" creationId="{5043FC26-1464-FA5F-C7C1-11246C3C80C6}"/>
          </ac:spMkLst>
        </pc:spChg>
        <pc:spChg chg="add del mod">
          <ac:chgData name="Steiner Andreas 6206 ED" userId="e6377c33-a923-4f14-8587-531c474c7b48" providerId="ADAL" clId="{6ECD27E6-B224-41CD-B4E0-E297462320DD}" dt="2023-11-23T19:55:58.009" v="4958"/>
          <ac:spMkLst>
            <pc:docMk/>
            <pc:sldMk cId="4183350934" sldId="2147478561"/>
            <ac:spMk id="40" creationId="{65296BF9-D57C-5632-B044-F298E88257E5}"/>
          </ac:spMkLst>
        </pc:spChg>
        <pc:spChg chg="add del mod">
          <ac:chgData name="Steiner Andreas 6206 ED" userId="e6377c33-a923-4f14-8587-531c474c7b48" providerId="ADAL" clId="{6ECD27E6-B224-41CD-B4E0-E297462320DD}" dt="2023-11-23T19:56:09.689" v="5113"/>
          <ac:spMkLst>
            <pc:docMk/>
            <pc:sldMk cId="4183350934" sldId="2147478561"/>
            <ac:spMk id="41" creationId="{E668052F-9279-E943-042B-C681820FC16F}"/>
          </ac:spMkLst>
        </pc:spChg>
        <pc:spChg chg="add del mod">
          <ac:chgData name="Steiner Andreas 6206 ED" userId="e6377c33-a923-4f14-8587-531c474c7b48" providerId="ADAL" clId="{6ECD27E6-B224-41CD-B4E0-E297462320DD}" dt="2023-11-23T19:56:21.377" v="5268"/>
          <ac:spMkLst>
            <pc:docMk/>
            <pc:sldMk cId="4183350934" sldId="2147478561"/>
            <ac:spMk id="42" creationId="{2D99A496-D3A4-5967-B806-48D78B0AA88A}"/>
          </ac:spMkLst>
        </pc:spChg>
        <pc:spChg chg="add del mod">
          <ac:chgData name="Steiner Andreas 6206 ED" userId="e6377c33-a923-4f14-8587-531c474c7b48" providerId="ADAL" clId="{6ECD27E6-B224-41CD-B4E0-E297462320DD}" dt="2023-11-23T19:56:33.060" v="5423"/>
          <ac:spMkLst>
            <pc:docMk/>
            <pc:sldMk cId="4183350934" sldId="2147478561"/>
            <ac:spMk id="43" creationId="{066E0498-BF30-D664-9548-016184962F49}"/>
          </ac:spMkLst>
        </pc:spChg>
        <pc:spChg chg="add del mod">
          <ac:chgData name="Steiner Andreas 6206 ED" userId="e6377c33-a923-4f14-8587-531c474c7b48" providerId="ADAL" clId="{6ECD27E6-B224-41CD-B4E0-E297462320DD}" dt="2023-11-23T19:56:44.390" v="5578"/>
          <ac:spMkLst>
            <pc:docMk/>
            <pc:sldMk cId="4183350934" sldId="2147478561"/>
            <ac:spMk id="44" creationId="{445C0BEB-A867-100E-3C7F-832D2A2585D4}"/>
          </ac:spMkLst>
        </pc:spChg>
        <pc:spChg chg="add del mod">
          <ac:chgData name="Steiner Andreas 6206 ED" userId="e6377c33-a923-4f14-8587-531c474c7b48" providerId="ADAL" clId="{6ECD27E6-B224-41CD-B4E0-E297462320DD}" dt="2023-11-23T19:56:54.797" v="5733"/>
          <ac:spMkLst>
            <pc:docMk/>
            <pc:sldMk cId="4183350934" sldId="2147478561"/>
            <ac:spMk id="45" creationId="{8817BF86-6444-5184-72F0-0CDDDFFE3AFF}"/>
          </ac:spMkLst>
        </pc:spChg>
        <pc:spChg chg="add del mod">
          <ac:chgData name="Steiner Andreas 6206 ED" userId="e6377c33-a923-4f14-8587-531c474c7b48" providerId="ADAL" clId="{6ECD27E6-B224-41CD-B4E0-E297462320DD}" dt="2023-11-23T19:57:06.261" v="5888"/>
          <ac:spMkLst>
            <pc:docMk/>
            <pc:sldMk cId="4183350934" sldId="2147478561"/>
            <ac:spMk id="46" creationId="{0A38C04D-CAF3-3343-0150-ED8B388927CC}"/>
          </ac:spMkLst>
        </pc:spChg>
        <pc:spChg chg="add del mod">
          <ac:chgData name="Steiner Andreas 6206 ED" userId="e6377c33-a923-4f14-8587-531c474c7b48" providerId="ADAL" clId="{6ECD27E6-B224-41CD-B4E0-E297462320DD}" dt="2023-11-23T19:57:17.963" v="6043"/>
          <ac:spMkLst>
            <pc:docMk/>
            <pc:sldMk cId="4183350934" sldId="2147478561"/>
            <ac:spMk id="47" creationId="{A8FCF637-D667-ACDC-9E2C-382DDDB5F1B1}"/>
          </ac:spMkLst>
        </pc:spChg>
        <pc:spChg chg="add del mod">
          <ac:chgData name="Steiner Andreas 6206 ED" userId="e6377c33-a923-4f14-8587-531c474c7b48" providerId="ADAL" clId="{6ECD27E6-B224-41CD-B4E0-E297462320DD}" dt="2023-11-23T19:57:29.372" v="6198"/>
          <ac:spMkLst>
            <pc:docMk/>
            <pc:sldMk cId="4183350934" sldId="2147478561"/>
            <ac:spMk id="48" creationId="{02CB75B1-6242-3C49-41DC-1151E54FEDDA}"/>
          </ac:spMkLst>
        </pc:spChg>
        <pc:spChg chg="add del mod">
          <ac:chgData name="Steiner Andreas 6206 ED" userId="e6377c33-a923-4f14-8587-531c474c7b48" providerId="ADAL" clId="{6ECD27E6-B224-41CD-B4E0-E297462320DD}" dt="2023-11-23T19:57:41.031" v="6353"/>
          <ac:spMkLst>
            <pc:docMk/>
            <pc:sldMk cId="4183350934" sldId="2147478561"/>
            <ac:spMk id="49" creationId="{D1D7EB9F-3E30-9B13-E9E4-4EE3DB091B0A}"/>
          </ac:spMkLst>
        </pc:spChg>
        <pc:spChg chg="add del mod">
          <ac:chgData name="Steiner Andreas 6206 ED" userId="e6377c33-a923-4f14-8587-531c474c7b48" providerId="ADAL" clId="{6ECD27E6-B224-41CD-B4E0-E297462320DD}" dt="2023-11-23T19:57:52.696" v="6508"/>
          <ac:spMkLst>
            <pc:docMk/>
            <pc:sldMk cId="4183350934" sldId="2147478561"/>
            <ac:spMk id="50" creationId="{0E525C2B-0BC9-A42D-F497-6287465B55A6}"/>
          </ac:spMkLst>
        </pc:spChg>
        <pc:spChg chg="add del mod">
          <ac:chgData name="Steiner Andreas 6206 ED" userId="e6377c33-a923-4f14-8587-531c474c7b48" providerId="ADAL" clId="{6ECD27E6-B224-41CD-B4E0-E297462320DD}" dt="2023-11-23T19:58:04.409" v="6663"/>
          <ac:spMkLst>
            <pc:docMk/>
            <pc:sldMk cId="4183350934" sldId="2147478561"/>
            <ac:spMk id="51" creationId="{ABA2668F-4515-2762-5DCC-656A1F733E06}"/>
          </ac:spMkLst>
        </pc:spChg>
        <pc:spChg chg="add del mod">
          <ac:chgData name="Steiner Andreas 6206 ED" userId="e6377c33-a923-4f14-8587-531c474c7b48" providerId="ADAL" clId="{6ECD27E6-B224-41CD-B4E0-E297462320DD}" dt="2023-11-23T19:58:15.769" v="6818"/>
          <ac:spMkLst>
            <pc:docMk/>
            <pc:sldMk cId="4183350934" sldId="2147478561"/>
            <ac:spMk id="52" creationId="{0F41528D-21A3-BAD8-2E57-698E7C7A5E7D}"/>
          </ac:spMkLst>
        </pc:spChg>
        <pc:spChg chg="add del mod">
          <ac:chgData name="Steiner Andreas 6206 ED" userId="e6377c33-a923-4f14-8587-531c474c7b48" providerId="ADAL" clId="{6ECD27E6-B224-41CD-B4E0-E297462320DD}" dt="2023-11-23T19:58:27.927" v="6973"/>
          <ac:spMkLst>
            <pc:docMk/>
            <pc:sldMk cId="4183350934" sldId="2147478561"/>
            <ac:spMk id="53" creationId="{65D7353E-40B6-848C-5AF8-23732B3F4EB5}"/>
          </ac:spMkLst>
        </pc:spChg>
        <pc:spChg chg="add del mod">
          <ac:chgData name="Steiner Andreas 6206 ED" userId="e6377c33-a923-4f14-8587-531c474c7b48" providerId="ADAL" clId="{6ECD27E6-B224-41CD-B4E0-E297462320DD}" dt="2023-11-23T19:58:39.659" v="7128"/>
          <ac:spMkLst>
            <pc:docMk/>
            <pc:sldMk cId="4183350934" sldId="2147478561"/>
            <ac:spMk id="54" creationId="{28559EDC-D4D8-43FC-416F-F30F12FF9E27}"/>
          </ac:spMkLst>
        </pc:spChg>
        <pc:spChg chg="add del mod">
          <ac:chgData name="Steiner Andreas 6206 ED" userId="e6377c33-a923-4f14-8587-531c474c7b48" providerId="ADAL" clId="{6ECD27E6-B224-41CD-B4E0-E297462320DD}" dt="2023-11-23T19:58:51.349" v="7283"/>
          <ac:spMkLst>
            <pc:docMk/>
            <pc:sldMk cId="4183350934" sldId="2147478561"/>
            <ac:spMk id="55" creationId="{9DB21897-7A17-7B39-E81F-5F92DACDD5F9}"/>
          </ac:spMkLst>
        </pc:spChg>
        <pc:spChg chg="add del mod">
          <ac:chgData name="Steiner Andreas 6206 ED" userId="e6377c33-a923-4f14-8587-531c474c7b48" providerId="ADAL" clId="{6ECD27E6-B224-41CD-B4E0-E297462320DD}" dt="2023-11-23T19:59:02.686" v="7438"/>
          <ac:spMkLst>
            <pc:docMk/>
            <pc:sldMk cId="4183350934" sldId="2147478561"/>
            <ac:spMk id="56" creationId="{26A52D52-C9E4-D69B-AE32-7F226EF8234C}"/>
          </ac:spMkLst>
        </pc:spChg>
        <pc:spChg chg="add del mod">
          <ac:chgData name="Steiner Andreas 6206 ED" userId="e6377c33-a923-4f14-8587-531c474c7b48" providerId="ADAL" clId="{6ECD27E6-B224-41CD-B4E0-E297462320DD}" dt="2023-11-24T08:31:41.584" v="7593"/>
          <ac:spMkLst>
            <pc:docMk/>
            <pc:sldMk cId="4183350934" sldId="2147478561"/>
            <ac:spMk id="57" creationId="{D6C20701-C9FE-DFFD-CE2F-6557EC41A2ED}"/>
          </ac:spMkLst>
        </pc:spChg>
        <pc:spChg chg="add del mod">
          <ac:chgData name="Steiner Andreas 6206 ED" userId="e6377c33-a923-4f14-8587-531c474c7b48" providerId="ADAL" clId="{6ECD27E6-B224-41CD-B4E0-E297462320DD}" dt="2023-11-24T08:31:45.267" v="7748"/>
          <ac:spMkLst>
            <pc:docMk/>
            <pc:sldMk cId="4183350934" sldId="2147478561"/>
            <ac:spMk id="58" creationId="{A0B1956F-4EAF-ADDC-8F74-F70A7E2DA373}"/>
          </ac:spMkLst>
        </pc:spChg>
        <pc:spChg chg="add del mod">
          <ac:chgData name="Steiner Andreas 6206 ED" userId="e6377c33-a923-4f14-8587-531c474c7b48" providerId="ADAL" clId="{6ECD27E6-B224-41CD-B4E0-E297462320DD}" dt="2023-11-24T08:31:47.106" v="7903"/>
          <ac:spMkLst>
            <pc:docMk/>
            <pc:sldMk cId="4183350934" sldId="2147478561"/>
            <ac:spMk id="59" creationId="{0D3040EC-A462-0830-9C93-2173DCA29B62}"/>
          </ac:spMkLst>
        </pc:spChg>
        <pc:spChg chg="add del mod">
          <ac:chgData name="Steiner Andreas 6206 ED" userId="e6377c33-a923-4f14-8587-531c474c7b48" providerId="ADAL" clId="{6ECD27E6-B224-41CD-B4E0-E297462320DD}" dt="2023-11-24T08:31:48.994" v="8058"/>
          <ac:spMkLst>
            <pc:docMk/>
            <pc:sldMk cId="4183350934" sldId="2147478561"/>
            <ac:spMk id="60" creationId="{38A49A60-726F-2C56-25F7-C4C69CDEA23D}"/>
          </ac:spMkLst>
        </pc:spChg>
        <pc:spChg chg="add del mod">
          <ac:chgData name="Steiner Andreas 6206 ED" userId="e6377c33-a923-4f14-8587-531c474c7b48" providerId="ADAL" clId="{6ECD27E6-B224-41CD-B4E0-E297462320DD}" dt="2023-11-24T08:31:50.833" v="8213"/>
          <ac:spMkLst>
            <pc:docMk/>
            <pc:sldMk cId="4183350934" sldId="2147478561"/>
            <ac:spMk id="61" creationId="{EB87EDDC-A6A3-7C2D-D6C4-2732EF2AFA51}"/>
          </ac:spMkLst>
        </pc:spChg>
        <pc:spChg chg="add del mod">
          <ac:chgData name="Steiner Andreas 6206 ED" userId="e6377c33-a923-4f14-8587-531c474c7b48" providerId="ADAL" clId="{6ECD27E6-B224-41CD-B4E0-E297462320DD}" dt="2023-11-24T08:31:52.647" v="8368"/>
          <ac:spMkLst>
            <pc:docMk/>
            <pc:sldMk cId="4183350934" sldId="2147478561"/>
            <ac:spMk id="62" creationId="{146EBF96-67F8-0653-8E1A-320B1B61CB9C}"/>
          </ac:spMkLst>
        </pc:spChg>
        <pc:spChg chg="add del mod">
          <ac:chgData name="Steiner Andreas 6206 ED" userId="e6377c33-a923-4f14-8587-531c474c7b48" providerId="ADAL" clId="{6ECD27E6-B224-41CD-B4E0-E297462320DD}" dt="2023-11-24T08:31:54.437" v="8523"/>
          <ac:spMkLst>
            <pc:docMk/>
            <pc:sldMk cId="4183350934" sldId="2147478561"/>
            <ac:spMk id="63" creationId="{82979773-416D-29C7-5A56-44190C9D57BD}"/>
          </ac:spMkLst>
        </pc:spChg>
        <pc:spChg chg="add del mod">
          <ac:chgData name="Steiner Andreas 6206 ED" userId="e6377c33-a923-4f14-8587-531c474c7b48" providerId="ADAL" clId="{6ECD27E6-B224-41CD-B4E0-E297462320DD}" dt="2023-11-24T08:31:56.283" v="8678"/>
          <ac:spMkLst>
            <pc:docMk/>
            <pc:sldMk cId="4183350934" sldId="2147478561"/>
            <ac:spMk id="64" creationId="{2ACF5A7A-98DA-93DE-7800-0C743018B4B2}"/>
          </ac:spMkLst>
        </pc:spChg>
        <pc:spChg chg="add del mod">
          <ac:chgData name="Steiner Andreas 6206 ED" userId="e6377c33-a923-4f14-8587-531c474c7b48" providerId="ADAL" clId="{6ECD27E6-B224-41CD-B4E0-E297462320DD}" dt="2023-11-24T08:31:58.173" v="8833"/>
          <ac:spMkLst>
            <pc:docMk/>
            <pc:sldMk cId="4183350934" sldId="2147478561"/>
            <ac:spMk id="65" creationId="{431A9518-5C47-105E-256A-A68B11CE8A7C}"/>
          </ac:spMkLst>
        </pc:spChg>
        <pc:spChg chg="add del mod">
          <ac:chgData name="Steiner Andreas 6206 ED" userId="e6377c33-a923-4f14-8587-531c474c7b48" providerId="ADAL" clId="{6ECD27E6-B224-41CD-B4E0-E297462320DD}" dt="2023-11-24T08:32:00.965" v="8988"/>
          <ac:spMkLst>
            <pc:docMk/>
            <pc:sldMk cId="4183350934" sldId="2147478561"/>
            <ac:spMk id="66" creationId="{D7733179-39DE-B5F0-0C15-5A828F284759}"/>
          </ac:spMkLst>
        </pc:spChg>
        <pc:spChg chg="add del mod">
          <ac:chgData name="Steiner Andreas 6206 ED" userId="e6377c33-a923-4f14-8587-531c474c7b48" providerId="ADAL" clId="{6ECD27E6-B224-41CD-B4E0-E297462320DD}" dt="2023-11-24T08:32:03.254" v="9143"/>
          <ac:spMkLst>
            <pc:docMk/>
            <pc:sldMk cId="4183350934" sldId="2147478561"/>
            <ac:spMk id="67" creationId="{85F0BDC5-6905-C6D8-8593-7657D3C7D923}"/>
          </ac:spMkLst>
        </pc:spChg>
        <pc:spChg chg="add del mod">
          <ac:chgData name="Steiner Andreas 6206 ED" userId="e6377c33-a923-4f14-8587-531c474c7b48" providerId="ADAL" clId="{6ECD27E6-B224-41CD-B4E0-E297462320DD}" dt="2023-11-24T08:32:05.276" v="9298"/>
          <ac:spMkLst>
            <pc:docMk/>
            <pc:sldMk cId="4183350934" sldId="2147478561"/>
            <ac:spMk id="68" creationId="{A36D8AB0-13E0-BD28-BC3A-D2573AF9BC37}"/>
          </ac:spMkLst>
        </pc:spChg>
        <pc:spChg chg="add del mod">
          <ac:chgData name="Steiner Andreas 6206 ED" userId="e6377c33-a923-4f14-8587-531c474c7b48" providerId="ADAL" clId="{6ECD27E6-B224-41CD-B4E0-E297462320DD}" dt="2023-11-24T08:32:07.227" v="9453"/>
          <ac:spMkLst>
            <pc:docMk/>
            <pc:sldMk cId="4183350934" sldId="2147478561"/>
            <ac:spMk id="69" creationId="{F441AA23-060B-989A-8C49-54FAEB12AC6F}"/>
          </ac:spMkLst>
        </pc:spChg>
        <pc:spChg chg="add del mod">
          <ac:chgData name="Steiner Andreas 6206 ED" userId="e6377c33-a923-4f14-8587-531c474c7b48" providerId="ADAL" clId="{6ECD27E6-B224-41CD-B4E0-E297462320DD}" dt="2023-11-24T08:32:09.563" v="9608"/>
          <ac:spMkLst>
            <pc:docMk/>
            <pc:sldMk cId="4183350934" sldId="2147478561"/>
            <ac:spMk id="70" creationId="{E0592B7A-0700-F054-9F74-D17A605D43C0}"/>
          </ac:spMkLst>
        </pc:spChg>
        <pc:spChg chg="add del mod">
          <ac:chgData name="Steiner Andreas 6206 ED" userId="e6377c33-a923-4f14-8587-531c474c7b48" providerId="ADAL" clId="{6ECD27E6-B224-41CD-B4E0-E297462320DD}" dt="2023-11-24T08:32:11.872" v="9763"/>
          <ac:spMkLst>
            <pc:docMk/>
            <pc:sldMk cId="4183350934" sldId="2147478561"/>
            <ac:spMk id="71" creationId="{A46CBED0-9522-E9C1-6B99-F580E51F70CE}"/>
          </ac:spMkLst>
        </pc:spChg>
        <pc:spChg chg="add del mod">
          <ac:chgData name="Steiner Andreas 6206 ED" userId="e6377c33-a923-4f14-8587-531c474c7b48" providerId="ADAL" clId="{6ECD27E6-B224-41CD-B4E0-E297462320DD}" dt="2023-11-24T08:32:14.021" v="9918"/>
          <ac:spMkLst>
            <pc:docMk/>
            <pc:sldMk cId="4183350934" sldId="2147478561"/>
            <ac:spMk id="72" creationId="{70E5D01D-5AA6-E533-3045-C0F6D4C62CBC}"/>
          </ac:spMkLst>
        </pc:spChg>
        <pc:spChg chg="add del mod">
          <ac:chgData name="Steiner Andreas 6206 ED" userId="e6377c33-a923-4f14-8587-531c474c7b48" providerId="ADAL" clId="{6ECD27E6-B224-41CD-B4E0-E297462320DD}" dt="2023-11-24T08:32:15.964" v="10073"/>
          <ac:spMkLst>
            <pc:docMk/>
            <pc:sldMk cId="4183350934" sldId="2147478561"/>
            <ac:spMk id="73" creationId="{732615F6-937E-C3D6-DF01-9655391A5EFA}"/>
          </ac:spMkLst>
        </pc:spChg>
        <pc:spChg chg="add del mod">
          <ac:chgData name="Steiner Andreas 6206 ED" userId="e6377c33-a923-4f14-8587-531c474c7b48" providerId="ADAL" clId="{6ECD27E6-B224-41CD-B4E0-E297462320DD}" dt="2023-11-24T08:32:17.952" v="10228"/>
          <ac:spMkLst>
            <pc:docMk/>
            <pc:sldMk cId="4183350934" sldId="2147478561"/>
            <ac:spMk id="74" creationId="{A2E3EC62-5815-8E8A-EF6F-7B317A832BE4}"/>
          </ac:spMkLst>
        </pc:spChg>
        <pc:spChg chg="add del mod">
          <ac:chgData name="Steiner Andreas 6206 ED" userId="e6377c33-a923-4f14-8587-531c474c7b48" providerId="ADAL" clId="{6ECD27E6-B224-41CD-B4E0-E297462320DD}" dt="2023-11-24T08:32:19.930" v="10383"/>
          <ac:spMkLst>
            <pc:docMk/>
            <pc:sldMk cId="4183350934" sldId="2147478561"/>
            <ac:spMk id="75" creationId="{341560EF-180A-70BD-812B-F0C757930BB4}"/>
          </ac:spMkLst>
        </pc:spChg>
        <pc:spChg chg="add del mod">
          <ac:chgData name="Steiner Andreas 6206 ED" userId="e6377c33-a923-4f14-8587-531c474c7b48" providerId="ADAL" clId="{6ECD27E6-B224-41CD-B4E0-E297462320DD}" dt="2023-11-24T08:32:21.874" v="10538"/>
          <ac:spMkLst>
            <pc:docMk/>
            <pc:sldMk cId="4183350934" sldId="2147478561"/>
            <ac:spMk id="76" creationId="{37ECF2A1-021A-BCE3-8400-F7759B8CED5E}"/>
          </ac:spMkLst>
        </pc:spChg>
        <pc:spChg chg="add del mod">
          <ac:chgData name="Steiner Andreas 6206 ED" userId="e6377c33-a923-4f14-8587-531c474c7b48" providerId="ADAL" clId="{6ECD27E6-B224-41CD-B4E0-E297462320DD}" dt="2023-11-24T08:32:24.060" v="10693"/>
          <ac:spMkLst>
            <pc:docMk/>
            <pc:sldMk cId="4183350934" sldId="2147478561"/>
            <ac:spMk id="77" creationId="{55B2A462-0C89-1963-8DAE-7FC53527E8FB}"/>
          </ac:spMkLst>
        </pc:spChg>
        <pc:spChg chg="add del mod">
          <ac:chgData name="Steiner Andreas 6206 ED" userId="e6377c33-a923-4f14-8587-531c474c7b48" providerId="ADAL" clId="{6ECD27E6-B224-41CD-B4E0-E297462320DD}" dt="2023-11-24T08:32:26.001" v="10848"/>
          <ac:spMkLst>
            <pc:docMk/>
            <pc:sldMk cId="4183350934" sldId="2147478561"/>
            <ac:spMk id="78" creationId="{EA58926E-EE3C-8F93-BF15-DC1511CF5D23}"/>
          </ac:spMkLst>
        </pc:spChg>
        <pc:spChg chg="add del mod">
          <ac:chgData name="Steiner Andreas 6206 ED" userId="e6377c33-a923-4f14-8587-531c474c7b48" providerId="ADAL" clId="{6ECD27E6-B224-41CD-B4E0-E297462320DD}" dt="2023-11-24T08:32:27.999" v="11003"/>
          <ac:spMkLst>
            <pc:docMk/>
            <pc:sldMk cId="4183350934" sldId="2147478561"/>
            <ac:spMk id="79" creationId="{1CC33E24-0AF4-94B9-D972-662C777E5EC6}"/>
          </ac:spMkLst>
        </pc:spChg>
        <pc:spChg chg="add del mod">
          <ac:chgData name="Steiner Andreas 6206 ED" userId="e6377c33-a923-4f14-8587-531c474c7b48" providerId="ADAL" clId="{6ECD27E6-B224-41CD-B4E0-E297462320DD}" dt="2023-11-24T08:32:29.895" v="11158"/>
          <ac:spMkLst>
            <pc:docMk/>
            <pc:sldMk cId="4183350934" sldId="2147478561"/>
            <ac:spMk id="80" creationId="{08EB7604-D6BD-0461-7264-73DC8A022166}"/>
          </ac:spMkLst>
        </pc:spChg>
        <pc:spChg chg="add del mod">
          <ac:chgData name="Steiner Andreas 6206 ED" userId="e6377c33-a923-4f14-8587-531c474c7b48" providerId="ADAL" clId="{6ECD27E6-B224-41CD-B4E0-E297462320DD}" dt="2023-11-24T08:32:32.032" v="11313"/>
          <ac:spMkLst>
            <pc:docMk/>
            <pc:sldMk cId="4183350934" sldId="2147478561"/>
            <ac:spMk id="81" creationId="{D3B9DC7F-120E-862E-97CE-6EA63D5CDF43}"/>
          </ac:spMkLst>
        </pc:spChg>
        <pc:spChg chg="add del mod">
          <ac:chgData name="Steiner Andreas 6206 ED" userId="e6377c33-a923-4f14-8587-531c474c7b48" providerId="ADAL" clId="{6ECD27E6-B224-41CD-B4E0-E297462320DD}" dt="2023-11-24T08:32:34.420" v="11468"/>
          <ac:spMkLst>
            <pc:docMk/>
            <pc:sldMk cId="4183350934" sldId="2147478561"/>
            <ac:spMk id="82" creationId="{E8AA569B-5217-315A-A145-F1BBCEE75D4E}"/>
          </ac:spMkLst>
        </pc:spChg>
        <pc:spChg chg="add del mod">
          <ac:chgData name="Steiner Andreas 6206 ED" userId="e6377c33-a923-4f14-8587-531c474c7b48" providerId="ADAL" clId="{6ECD27E6-B224-41CD-B4E0-E297462320DD}" dt="2023-11-24T08:32:36.747" v="11623"/>
          <ac:spMkLst>
            <pc:docMk/>
            <pc:sldMk cId="4183350934" sldId="2147478561"/>
            <ac:spMk id="83" creationId="{A42DA2D0-EA06-038C-B6EF-12CD035A49E7}"/>
          </ac:spMkLst>
        </pc:spChg>
        <pc:spChg chg="add del mod">
          <ac:chgData name="Steiner Andreas 6206 ED" userId="e6377c33-a923-4f14-8587-531c474c7b48" providerId="ADAL" clId="{6ECD27E6-B224-41CD-B4E0-E297462320DD}" dt="2023-11-24T08:32:38.671" v="11778"/>
          <ac:spMkLst>
            <pc:docMk/>
            <pc:sldMk cId="4183350934" sldId="2147478561"/>
            <ac:spMk id="84" creationId="{CE275A2B-EA63-8A29-F854-1E24D5B7BC84}"/>
          </ac:spMkLst>
        </pc:spChg>
        <pc:spChg chg="add del mod">
          <ac:chgData name="Steiner Andreas 6206 ED" userId="e6377c33-a923-4f14-8587-531c474c7b48" providerId="ADAL" clId="{6ECD27E6-B224-41CD-B4E0-E297462320DD}" dt="2023-11-24T08:32:40.790" v="11933"/>
          <ac:spMkLst>
            <pc:docMk/>
            <pc:sldMk cId="4183350934" sldId="2147478561"/>
            <ac:spMk id="85" creationId="{DBD131F9-0229-62E1-EDDC-86B4ED4FE316}"/>
          </ac:spMkLst>
        </pc:spChg>
        <pc:spChg chg="add del mod">
          <ac:chgData name="Steiner Andreas 6206 ED" userId="e6377c33-a923-4f14-8587-531c474c7b48" providerId="ADAL" clId="{6ECD27E6-B224-41CD-B4E0-E297462320DD}" dt="2023-11-24T08:32:42.942" v="12088"/>
          <ac:spMkLst>
            <pc:docMk/>
            <pc:sldMk cId="4183350934" sldId="2147478561"/>
            <ac:spMk id="86" creationId="{1859ADB5-6396-7B9C-DC96-67F7ADED95C4}"/>
          </ac:spMkLst>
        </pc:spChg>
        <pc:spChg chg="add del mod">
          <ac:chgData name="Steiner Andreas 6206 ED" userId="e6377c33-a923-4f14-8587-531c474c7b48" providerId="ADAL" clId="{6ECD27E6-B224-41CD-B4E0-E297462320DD}" dt="2023-11-24T08:32:45.079" v="12243"/>
          <ac:spMkLst>
            <pc:docMk/>
            <pc:sldMk cId="4183350934" sldId="2147478561"/>
            <ac:spMk id="87" creationId="{5D7FB228-6EDE-066D-13DE-B5E94000BFD6}"/>
          </ac:spMkLst>
        </pc:spChg>
        <pc:spChg chg="add del mod">
          <ac:chgData name="Steiner Andreas 6206 ED" userId="e6377c33-a923-4f14-8587-531c474c7b48" providerId="ADAL" clId="{6ECD27E6-B224-41CD-B4E0-E297462320DD}" dt="2023-11-24T08:32:47.270" v="12398"/>
          <ac:spMkLst>
            <pc:docMk/>
            <pc:sldMk cId="4183350934" sldId="2147478561"/>
            <ac:spMk id="88" creationId="{8F7BB3F5-E385-A1B6-54C7-187F2C320F47}"/>
          </ac:spMkLst>
        </pc:spChg>
        <pc:spChg chg="add del mod">
          <ac:chgData name="Steiner Andreas 6206 ED" userId="e6377c33-a923-4f14-8587-531c474c7b48" providerId="ADAL" clId="{6ECD27E6-B224-41CD-B4E0-E297462320DD}" dt="2023-11-24T08:32:49.326" v="12553"/>
          <ac:spMkLst>
            <pc:docMk/>
            <pc:sldMk cId="4183350934" sldId="2147478561"/>
            <ac:spMk id="89" creationId="{04B9EC35-A7F1-0448-1881-D40CE5F61094}"/>
          </ac:spMkLst>
        </pc:spChg>
        <pc:spChg chg="add del mod">
          <ac:chgData name="Steiner Andreas 6206 ED" userId="e6377c33-a923-4f14-8587-531c474c7b48" providerId="ADAL" clId="{6ECD27E6-B224-41CD-B4E0-E297462320DD}" dt="2023-11-24T08:32:51.260" v="12708"/>
          <ac:spMkLst>
            <pc:docMk/>
            <pc:sldMk cId="4183350934" sldId="2147478561"/>
            <ac:spMk id="90" creationId="{3412C019-2B42-8068-38A7-A5FD241B3E24}"/>
          </ac:spMkLst>
        </pc:spChg>
        <pc:spChg chg="add del mod">
          <ac:chgData name="Steiner Andreas 6206 ED" userId="e6377c33-a923-4f14-8587-531c474c7b48" providerId="ADAL" clId="{6ECD27E6-B224-41CD-B4E0-E297462320DD}" dt="2023-11-24T08:32:53.270" v="12863"/>
          <ac:spMkLst>
            <pc:docMk/>
            <pc:sldMk cId="4183350934" sldId="2147478561"/>
            <ac:spMk id="91" creationId="{638C5B4E-E680-0DCC-F2EF-69130B256856}"/>
          </ac:spMkLst>
        </pc:spChg>
        <pc:spChg chg="add del mod">
          <ac:chgData name="Steiner Andreas 6206 ED" userId="e6377c33-a923-4f14-8587-531c474c7b48" providerId="ADAL" clId="{6ECD27E6-B224-41CD-B4E0-E297462320DD}" dt="2023-11-24T08:32:55.264" v="13018"/>
          <ac:spMkLst>
            <pc:docMk/>
            <pc:sldMk cId="4183350934" sldId="2147478561"/>
            <ac:spMk id="92" creationId="{866F6249-8EC0-479B-F4F3-36686E86B54C}"/>
          </ac:spMkLst>
        </pc:spChg>
        <pc:spChg chg="add del mod">
          <ac:chgData name="Steiner Andreas 6206 ED" userId="e6377c33-a923-4f14-8587-531c474c7b48" providerId="ADAL" clId="{6ECD27E6-B224-41CD-B4E0-E297462320DD}" dt="2023-11-24T08:32:57.189" v="13173"/>
          <ac:spMkLst>
            <pc:docMk/>
            <pc:sldMk cId="4183350934" sldId="2147478561"/>
            <ac:spMk id="93" creationId="{A2AB816E-7430-440A-C53B-3FDB3FACA8E0}"/>
          </ac:spMkLst>
        </pc:spChg>
        <pc:spChg chg="add del mod">
          <ac:chgData name="Steiner Andreas 6206 ED" userId="e6377c33-a923-4f14-8587-531c474c7b48" providerId="ADAL" clId="{6ECD27E6-B224-41CD-B4E0-E297462320DD}" dt="2023-11-24T08:32:59.295" v="13328"/>
          <ac:spMkLst>
            <pc:docMk/>
            <pc:sldMk cId="4183350934" sldId="2147478561"/>
            <ac:spMk id="94" creationId="{B8B62F7B-97B8-FE34-6F72-4191E8700F5D}"/>
          </ac:spMkLst>
        </pc:spChg>
        <pc:spChg chg="add del mod">
          <ac:chgData name="Steiner Andreas 6206 ED" userId="e6377c33-a923-4f14-8587-531c474c7b48" providerId="ADAL" clId="{6ECD27E6-B224-41CD-B4E0-E297462320DD}" dt="2023-11-24T08:33:01.441" v="13483"/>
          <ac:spMkLst>
            <pc:docMk/>
            <pc:sldMk cId="4183350934" sldId="2147478561"/>
            <ac:spMk id="95" creationId="{251B8822-9756-257C-D10C-3C36E1FC0859}"/>
          </ac:spMkLst>
        </pc:spChg>
        <pc:spChg chg="add del mod">
          <ac:chgData name="Steiner Andreas 6206 ED" userId="e6377c33-a923-4f14-8587-531c474c7b48" providerId="ADAL" clId="{6ECD27E6-B224-41CD-B4E0-E297462320DD}" dt="2023-11-24T08:33:03.783" v="13638"/>
          <ac:spMkLst>
            <pc:docMk/>
            <pc:sldMk cId="4183350934" sldId="2147478561"/>
            <ac:spMk id="96" creationId="{19DD53B8-B6F3-CF0F-A20D-632B128FB6B4}"/>
          </ac:spMkLst>
        </pc:spChg>
        <pc:spChg chg="add del mod">
          <ac:chgData name="Steiner Andreas 6206 ED" userId="e6377c33-a923-4f14-8587-531c474c7b48" providerId="ADAL" clId="{6ECD27E6-B224-41CD-B4E0-E297462320DD}" dt="2023-11-24T08:33:06.150" v="13793"/>
          <ac:spMkLst>
            <pc:docMk/>
            <pc:sldMk cId="4183350934" sldId="2147478561"/>
            <ac:spMk id="97" creationId="{4C79C719-BC1D-3C05-2A3E-93E4C5284767}"/>
          </ac:spMkLst>
        </pc:spChg>
        <pc:spChg chg="add del mod">
          <ac:chgData name="Steiner Andreas 6206 ED" userId="e6377c33-a923-4f14-8587-531c474c7b48" providerId="ADAL" clId="{6ECD27E6-B224-41CD-B4E0-E297462320DD}" dt="2023-11-24T08:33:08.382" v="13948"/>
          <ac:spMkLst>
            <pc:docMk/>
            <pc:sldMk cId="4183350934" sldId="2147478561"/>
            <ac:spMk id="98" creationId="{012DDB29-668A-E74D-1156-783BE56BE0BE}"/>
          </ac:spMkLst>
        </pc:spChg>
        <pc:spChg chg="add del mod">
          <ac:chgData name="Steiner Andreas 6206 ED" userId="e6377c33-a923-4f14-8587-531c474c7b48" providerId="ADAL" clId="{6ECD27E6-B224-41CD-B4E0-E297462320DD}" dt="2023-11-24T08:33:10.808" v="14103"/>
          <ac:spMkLst>
            <pc:docMk/>
            <pc:sldMk cId="4183350934" sldId="2147478561"/>
            <ac:spMk id="99" creationId="{DB382590-0BEB-84CF-305E-09CB8D0C5548}"/>
          </ac:spMkLst>
        </pc:spChg>
        <pc:spChg chg="add del mod">
          <ac:chgData name="Steiner Andreas 6206 ED" userId="e6377c33-a923-4f14-8587-531c474c7b48" providerId="ADAL" clId="{6ECD27E6-B224-41CD-B4E0-E297462320DD}" dt="2023-11-24T08:33:12.755" v="14258"/>
          <ac:spMkLst>
            <pc:docMk/>
            <pc:sldMk cId="4183350934" sldId="2147478561"/>
            <ac:spMk id="100" creationId="{D45262B7-FCF9-EF3F-0800-4B582DA4F1B9}"/>
          </ac:spMkLst>
        </pc:spChg>
        <pc:spChg chg="add del mod">
          <ac:chgData name="Steiner Andreas 6206 ED" userId="e6377c33-a923-4f14-8587-531c474c7b48" providerId="ADAL" clId="{6ECD27E6-B224-41CD-B4E0-E297462320DD}" dt="2023-11-24T08:33:14.643" v="14413"/>
          <ac:spMkLst>
            <pc:docMk/>
            <pc:sldMk cId="4183350934" sldId="2147478561"/>
            <ac:spMk id="101" creationId="{06B4DB36-D453-F3AE-CD91-51355DCEC7FB}"/>
          </ac:spMkLst>
        </pc:spChg>
        <pc:spChg chg="add del mod">
          <ac:chgData name="Steiner Andreas 6206 ED" userId="e6377c33-a923-4f14-8587-531c474c7b48" providerId="ADAL" clId="{6ECD27E6-B224-41CD-B4E0-E297462320DD}" dt="2023-11-24T08:33:16.675" v="14568"/>
          <ac:spMkLst>
            <pc:docMk/>
            <pc:sldMk cId="4183350934" sldId="2147478561"/>
            <ac:spMk id="102" creationId="{1B9E668D-EE1E-BE66-B283-B2196315738C}"/>
          </ac:spMkLst>
        </pc:spChg>
        <pc:spChg chg="add del mod">
          <ac:chgData name="Steiner Andreas 6206 ED" userId="e6377c33-a923-4f14-8587-531c474c7b48" providerId="ADAL" clId="{6ECD27E6-B224-41CD-B4E0-E297462320DD}" dt="2023-11-24T08:33:18.988" v="14723"/>
          <ac:spMkLst>
            <pc:docMk/>
            <pc:sldMk cId="4183350934" sldId="2147478561"/>
            <ac:spMk id="103" creationId="{490EDBE4-4B19-9F11-FF9D-473AD05F2B46}"/>
          </ac:spMkLst>
        </pc:spChg>
        <pc:spChg chg="add del mod">
          <ac:chgData name="Steiner Andreas 6206 ED" userId="e6377c33-a923-4f14-8587-531c474c7b48" providerId="ADAL" clId="{6ECD27E6-B224-41CD-B4E0-E297462320DD}" dt="2023-11-24T08:33:21.429" v="14878"/>
          <ac:spMkLst>
            <pc:docMk/>
            <pc:sldMk cId="4183350934" sldId="2147478561"/>
            <ac:spMk id="104" creationId="{8BFE6584-A916-14FC-10C6-720338046A4F}"/>
          </ac:spMkLst>
        </pc:spChg>
        <pc:spChg chg="add del mod">
          <ac:chgData name="Steiner Andreas 6206 ED" userId="e6377c33-a923-4f14-8587-531c474c7b48" providerId="ADAL" clId="{6ECD27E6-B224-41CD-B4E0-E297462320DD}" dt="2023-11-24T08:33:23.779" v="15033"/>
          <ac:spMkLst>
            <pc:docMk/>
            <pc:sldMk cId="4183350934" sldId="2147478561"/>
            <ac:spMk id="105" creationId="{FC6372DB-1765-A464-4B1B-1924232C21A5}"/>
          </ac:spMkLst>
        </pc:spChg>
        <pc:spChg chg="add del mod">
          <ac:chgData name="Steiner Andreas 6206 ED" userId="e6377c33-a923-4f14-8587-531c474c7b48" providerId="ADAL" clId="{6ECD27E6-B224-41CD-B4E0-E297462320DD}" dt="2023-11-24T08:33:26.130" v="15188"/>
          <ac:spMkLst>
            <pc:docMk/>
            <pc:sldMk cId="4183350934" sldId="2147478561"/>
            <ac:spMk id="106" creationId="{15F24908-2325-2ECB-33B2-ABDFFA3D047D}"/>
          </ac:spMkLst>
        </pc:spChg>
        <pc:spChg chg="add del mod">
          <ac:chgData name="Steiner Andreas 6206 ED" userId="e6377c33-a923-4f14-8587-531c474c7b48" providerId="ADAL" clId="{6ECD27E6-B224-41CD-B4E0-E297462320DD}" dt="2023-11-24T08:33:28.466" v="15343"/>
          <ac:spMkLst>
            <pc:docMk/>
            <pc:sldMk cId="4183350934" sldId="2147478561"/>
            <ac:spMk id="107" creationId="{68244326-0459-9D5A-460D-3D0D1C783445}"/>
          </ac:spMkLst>
        </pc:spChg>
        <pc:spChg chg="add del mod">
          <ac:chgData name="Steiner Andreas 6206 ED" userId="e6377c33-a923-4f14-8587-531c474c7b48" providerId="ADAL" clId="{6ECD27E6-B224-41CD-B4E0-E297462320DD}" dt="2023-11-24T08:33:30.928" v="15498"/>
          <ac:spMkLst>
            <pc:docMk/>
            <pc:sldMk cId="4183350934" sldId="2147478561"/>
            <ac:spMk id="108" creationId="{2DCC2F81-236C-E744-AC2F-9F302E9A4EE0}"/>
          </ac:spMkLst>
        </pc:spChg>
        <pc:spChg chg="add del mod">
          <ac:chgData name="Steiner Andreas 6206 ED" userId="e6377c33-a923-4f14-8587-531c474c7b48" providerId="ADAL" clId="{6ECD27E6-B224-41CD-B4E0-E297462320DD}" dt="2023-11-24T08:33:33.673" v="15653"/>
          <ac:spMkLst>
            <pc:docMk/>
            <pc:sldMk cId="4183350934" sldId="2147478561"/>
            <ac:spMk id="109" creationId="{F7CE0C83-8948-CF53-C92D-E6387DE84AC7}"/>
          </ac:spMkLst>
        </pc:spChg>
        <pc:spChg chg="add del mod">
          <ac:chgData name="Steiner Andreas 6206 ED" userId="e6377c33-a923-4f14-8587-531c474c7b48" providerId="ADAL" clId="{6ECD27E6-B224-41CD-B4E0-E297462320DD}" dt="2023-11-24T08:33:35.961" v="15808"/>
          <ac:spMkLst>
            <pc:docMk/>
            <pc:sldMk cId="4183350934" sldId="2147478561"/>
            <ac:spMk id="110" creationId="{6ADCC8E4-2C0B-EB51-4029-5E632B7FCC2C}"/>
          </ac:spMkLst>
        </pc:spChg>
        <pc:spChg chg="add del mod">
          <ac:chgData name="Steiner Andreas 6206 ED" userId="e6377c33-a923-4f14-8587-531c474c7b48" providerId="ADAL" clId="{6ECD27E6-B224-41CD-B4E0-E297462320DD}" dt="2023-11-24T08:33:38.072" v="15963"/>
          <ac:spMkLst>
            <pc:docMk/>
            <pc:sldMk cId="4183350934" sldId="2147478561"/>
            <ac:spMk id="111" creationId="{60F4ADAD-16A4-3591-7206-F035911FAAA9}"/>
          </ac:spMkLst>
        </pc:spChg>
        <pc:spChg chg="add del mod">
          <ac:chgData name="Steiner Andreas 6206 ED" userId="e6377c33-a923-4f14-8587-531c474c7b48" providerId="ADAL" clId="{6ECD27E6-B224-41CD-B4E0-E297462320DD}" dt="2023-11-24T08:33:40.503" v="16118"/>
          <ac:spMkLst>
            <pc:docMk/>
            <pc:sldMk cId="4183350934" sldId="2147478561"/>
            <ac:spMk id="112" creationId="{98FD1F96-B58F-A56C-BEBE-3132FC33F6BA}"/>
          </ac:spMkLst>
        </pc:spChg>
        <pc:spChg chg="add del mod">
          <ac:chgData name="Steiner Andreas 6206 ED" userId="e6377c33-a923-4f14-8587-531c474c7b48" providerId="ADAL" clId="{6ECD27E6-B224-41CD-B4E0-E297462320DD}" dt="2023-11-24T08:33:43.184" v="16273"/>
          <ac:spMkLst>
            <pc:docMk/>
            <pc:sldMk cId="4183350934" sldId="2147478561"/>
            <ac:spMk id="113" creationId="{DB1A1566-976F-C3DF-70F9-8C5A155CBCDC}"/>
          </ac:spMkLst>
        </pc:spChg>
        <pc:spChg chg="add del mod">
          <ac:chgData name="Steiner Andreas 6206 ED" userId="e6377c33-a923-4f14-8587-531c474c7b48" providerId="ADAL" clId="{6ECD27E6-B224-41CD-B4E0-E297462320DD}" dt="2023-11-24T08:33:45.601" v="16428"/>
          <ac:spMkLst>
            <pc:docMk/>
            <pc:sldMk cId="4183350934" sldId="2147478561"/>
            <ac:spMk id="114" creationId="{297B383D-F8B1-22B3-C17B-08036FE5D44A}"/>
          </ac:spMkLst>
        </pc:spChg>
        <pc:spChg chg="add del mod">
          <ac:chgData name="Steiner Andreas 6206 ED" userId="e6377c33-a923-4f14-8587-531c474c7b48" providerId="ADAL" clId="{6ECD27E6-B224-41CD-B4E0-E297462320DD}" dt="2023-11-24T08:33:47.795" v="16583"/>
          <ac:spMkLst>
            <pc:docMk/>
            <pc:sldMk cId="4183350934" sldId="2147478561"/>
            <ac:spMk id="115" creationId="{9CEC2317-A204-935B-388C-80982F8B4306}"/>
          </ac:spMkLst>
        </pc:spChg>
        <pc:spChg chg="add del mod">
          <ac:chgData name="Steiner Andreas 6206 ED" userId="e6377c33-a923-4f14-8587-531c474c7b48" providerId="ADAL" clId="{6ECD27E6-B224-41CD-B4E0-E297462320DD}" dt="2023-11-24T08:33:50.575" v="16738"/>
          <ac:spMkLst>
            <pc:docMk/>
            <pc:sldMk cId="4183350934" sldId="2147478561"/>
            <ac:spMk id="116" creationId="{42D76E9C-FD0A-658F-5864-CFEF042FA623}"/>
          </ac:spMkLst>
        </pc:spChg>
        <pc:spChg chg="add del mod">
          <ac:chgData name="Steiner Andreas 6206 ED" userId="e6377c33-a923-4f14-8587-531c474c7b48" providerId="ADAL" clId="{6ECD27E6-B224-41CD-B4E0-E297462320DD}" dt="2023-11-24T08:33:52.932" v="16893"/>
          <ac:spMkLst>
            <pc:docMk/>
            <pc:sldMk cId="4183350934" sldId="2147478561"/>
            <ac:spMk id="117" creationId="{B30CC522-23BD-D0C6-90EE-078B0132A39A}"/>
          </ac:spMkLst>
        </pc:spChg>
        <pc:spChg chg="add del mod">
          <ac:chgData name="Steiner Andreas 6206 ED" userId="e6377c33-a923-4f14-8587-531c474c7b48" providerId="ADAL" clId="{6ECD27E6-B224-41CD-B4E0-E297462320DD}" dt="2023-11-24T08:33:55.095" v="17048"/>
          <ac:spMkLst>
            <pc:docMk/>
            <pc:sldMk cId="4183350934" sldId="2147478561"/>
            <ac:spMk id="118" creationId="{2049FDCE-10AF-D200-0BF6-D5F601F975BC}"/>
          </ac:spMkLst>
        </pc:spChg>
        <pc:spChg chg="add del mod">
          <ac:chgData name="Steiner Andreas 6206 ED" userId="e6377c33-a923-4f14-8587-531c474c7b48" providerId="ADAL" clId="{6ECD27E6-B224-41CD-B4E0-E297462320DD}" dt="2023-11-24T08:33:57.479" v="17203"/>
          <ac:spMkLst>
            <pc:docMk/>
            <pc:sldMk cId="4183350934" sldId="2147478561"/>
            <ac:spMk id="119" creationId="{FED3A476-4E0C-EA42-2424-54734B065EC0}"/>
          </ac:spMkLst>
        </pc:spChg>
        <pc:spChg chg="add del mod">
          <ac:chgData name="Steiner Andreas 6206 ED" userId="e6377c33-a923-4f14-8587-531c474c7b48" providerId="ADAL" clId="{6ECD27E6-B224-41CD-B4E0-E297462320DD}" dt="2023-11-24T08:33:59.911" v="17358"/>
          <ac:spMkLst>
            <pc:docMk/>
            <pc:sldMk cId="4183350934" sldId="2147478561"/>
            <ac:spMk id="120" creationId="{DA5F4D0D-5B51-E076-4E2A-60EED032CD99}"/>
          </ac:spMkLst>
        </pc:spChg>
        <pc:spChg chg="add del mod">
          <ac:chgData name="Steiner Andreas 6206 ED" userId="e6377c33-a923-4f14-8587-531c474c7b48" providerId="ADAL" clId="{6ECD27E6-B224-41CD-B4E0-E297462320DD}" dt="2023-11-24T08:34:01.971" v="17513"/>
          <ac:spMkLst>
            <pc:docMk/>
            <pc:sldMk cId="4183350934" sldId="2147478561"/>
            <ac:spMk id="121" creationId="{5951FA1A-6353-AFB3-FB09-09678979EFE2}"/>
          </ac:spMkLst>
        </pc:spChg>
        <pc:spChg chg="add del mod">
          <ac:chgData name="Steiner Andreas 6206 ED" userId="e6377c33-a923-4f14-8587-531c474c7b48" providerId="ADAL" clId="{6ECD27E6-B224-41CD-B4E0-E297462320DD}" dt="2023-11-24T08:34:04.260" v="17668"/>
          <ac:spMkLst>
            <pc:docMk/>
            <pc:sldMk cId="4183350934" sldId="2147478561"/>
            <ac:spMk id="122" creationId="{E46DAAC7-600D-B7FB-E7E4-FC4DF89FC801}"/>
          </ac:spMkLst>
        </pc:spChg>
        <pc:spChg chg="add del mod">
          <ac:chgData name="Steiner Andreas 6206 ED" userId="e6377c33-a923-4f14-8587-531c474c7b48" providerId="ADAL" clId="{6ECD27E6-B224-41CD-B4E0-E297462320DD}" dt="2023-11-24T08:34:06.145" v="17823"/>
          <ac:spMkLst>
            <pc:docMk/>
            <pc:sldMk cId="4183350934" sldId="2147478561"/>
            <ac:spMk id="123" creationId="{FF33C3FD-26EE-45D8-A580-FCAD178673D0}"/>
          </ac:spMkLst>
        </pc:spChg>
        <pc:spChg chg="add del mod">
          <ac:chgData name="Steiner Andreas 6206 ED" userId="e6377c33-a923-4f14-8587-531c474c7b48" providerId="ADAL" clId="{6ECD27E6-B224-41CD-B4E0-E297462320DD}" dt="2023-11-24T08:34:08.232" v="17978"/>
          <ac:spMkLst>
            <pc:docMk/>
            <pc:sldMk cId="4183350934" sldId="2147478561"/>
            <ac:spMk id="124" creationId="{240F67D2-2A87-4358-833B-3A3ECC5CEEA5}"/>
          </ac:spMkLst>
        </pc:spChg>
        <pc:spChg chg="add del mod">
          <ac:chgData name="Steiner Andreas 6206 ED" userId="e6377c33-a923-4f14-8587-531c474c7b48" providerId="ADAL" clId="{6ECD27E6-B224-41CD-B4E0-E297462320DD}" dt="2023-11-24T08:34:10.177" v="18133"/>
          <ac:spMkLst>
            <pc:docMk/>
            <pc:sldMk cId="4183350934" sldId="2147478561"/>
            <ac:spMk id="125" creationId="{D710B536-666D-376A-066D-08CFF5C2AB6F}"/>
          </ac:spMkLst>
        </pc:spChg>
        <pc:spChg chg="add del mod">
          <ac:chgData name="Steiner Andreas 6206 ED" userId="e6377c33-a923-4f14-8587-531c474c7b48" providerId="ADAL" clId="{6ECD27E6-B224-41CD-B4E0-E297462320DD}" dt="2023-11-24T08:34:12.308" v="18288"/>
          <ac:spMkLst>
            <pc:docMk/>
            <pc:sldMk cId="4183350934" sldId="2147478561"/>
            <ac:spMk id="126" creationId="{F535F179-4A4B-F592-BA78-EC117B0A1093}"/>
          </ac:spMkLst>
        </pc:spChg>
        <pc:spChg chg="add del mod">
          <ac:chgData name="Steiner Andreas 6206 ED" userId="e6377c33-a923-4f14-8587-531c474c7b48" providerId="ADAL" clId="{6ECD27E6-B224-41CD-B4E0-E297462320DD}" dt="2023-11-24T08:34:14.627" v="18443"/>
          <ac:spMkLst>
            <pc:docMk/>
            <pc:sldMk cId="4183350934" sldId="2147478561"/>
            <ac:spMk id="127" creationId="{815F0A36-37DE-1E23-2868-F055D2EBF7A2}"/>
          </ac:spMkLst>
        </pc:spChg>
        <pc:spChg chg="add del mod">
          <ac:chgData name="Steiner Andreas 6206 ED" userId="e6377c33-a923-4f14-8587-531c474c7b48" providerId="ADAL" clId="{6ECD27E6-B224-41CD-B4E0-E297462320DD}" dt="2023-11-24T08:34:16.631" v="18598"/>
          <ac:spMkLst>
            <pc:docMk/>
            <pc:sldMk cId="4183350934" sldId="2147478561"/>
            <ac:spMk id="128" creationId="{1A0B72BE-1988-90A0-785C-D075C448717A}"/>
          </ac:spMkLst>
        </pc:spChg>
        <pc:spChg chg="add del mod">
          <ac:chgData name="Steiner Andreas 6206 ED" userId="e6377c33-a923-4f14-8587-531c474c7b48" providerId="ADAL" clId="{6ECD27E6-B224-41CD-B4E0-E297462320DD}" dt="2023-11-24T08:34:18.897" v="18753"/>
          <ac:spMkLst>
            <pc:docMk/>
            <pc:sldMk cId="4183350934" sldId="2147478561"/>
            <ac:spMk id="129" creationId="{D880622C-067E-32FC-060F-7F7B762EA724}"/>
          </ac:spMkLst>
        </pc:spChg>
        <pc:spChg chg="add del mod">
          <ac:chgData name="Steiner Andreas 6206 ED" userId="e6377c33-a923-4f14-8587-531c474c7b48" providerId="ADAL" clId="{6ECD27E6-B224-41CD-B4E0-E297462320DD}" dt="2023-11-24T08:34:20.939" v="18908"/>
          <ac:spMkLst>
            <pc:docMk/>
            <pc:sldMk cId="4183350934" sldId="2147478561"/>
            <ac:spMk id="130" creationId="{F543FDFC-3CB3-CD7A-F01B-14E1EFCA2894}"/>
          </ac:spMkLst>
        </pc:spChg>
        <pc:spChg chg="add del mod">
          <ac:chgData name="Steiner Andreas 6206 ED" userId="e6377c33-a923-4f14-8587-531c474c7b48" providerId="ADAL" clId="{6ECD27E6-B224-41CD-B4E0-E297462320DD}" dt="2023-11-24T08:34:23.071" v="19063"/>
          <ac:spMkLst>
            <pc:docMk/>
            <pc:sldMk cId="4183350934" sldId="2147478561"/>
            <ac:spMk id="131" creationId="{B24E6E1A-333A-BC2A-FDE2-D7EB92F4F8F2}"/>
          </ac:spMkLst>
        </pc:spChg>
        <pc:spChg chg="add del mod">
          <ac:chgData name="Steiner Andreas 6206 ED" userId="e6377c33-a923-4f14-8587-531c474c7b48" providerId="ADAL" clId="{6ECD27E6-B224-41CD-B4E0-E297462320DD}" dt="2023-11-24T08:34:26.381" v="19218"/>
          <ac:spMkLst>
            <pc:docMk/>
            <pc:sldMk cId="4183350934" sldId="2147478561"/>
            <ac:spMk id="132" creationId="{EAC8C80F-1D99-4C1C-07B3-BD77028FD6BB}"/>
          </ac:spMkLst>
        </pc:spChg>
        <pc:spChg chg="add del mod">
          <ac:chgData name="Steiner Andreas 6206 ED" userId="e6377c33-a923-4f14-8587-531c474c7b48" providerId="ADAL" clId="{6ECD27E6-B224-41CD-B4E0-E297462320DD}" dt="2023-11-24T08:34:29.037" v="19373"/>
          <ac:spMkLst>
            <pc:docMk/>
            <pc:sldMk cId="4183350934" sldId="2147478561"/>
            <ac:spMk id="133" creationId="{F4089472-9009-FBD8-2EDF-9EF2BD9F651A}"/>
          </ac:spMkLst>
        </pc:spChg>
        <pc:spChg chg="add del mod">
          <ac:chgData name="Steiner Andreas 6206 ED" userId="e6377c33-a923-4f14-8587-531c474c7b48" providerId="ADAL" clId="{6ECD27E6-B224-41CD-B4E0-E297462320DD}" dt="2023-11-24T08:34:31.639" v="19528"/>
          <ac:spMkLst>
            <pc:docMk/>
            <pc:sldMk cId="4183350934" sldId="2147478561"/>
            <ac:spMk id="134" creationId="{F8EF1864-69DC-957E-2988-6118607C3050}"/>
          </ac:spMkLst>
        </pc:spChg>
        <pc:spChg chg="add del mod">
          <ac:chgData name="Steiner Andreas 6206 ED" userId="e6377c33-a923-4f14-8587-531c474c7b48" providerId="ADAL" clId="{6ECD27E6-B224-41CD-B4E0-E297462320DD}" dt="2023-11-24T08:34:33.849" v="19683"/>
          <ac:spMkLst>
            <pc:docMk/>
            <pc:sldMk cId="4183350934" sldId="2147478561"/>
            <ac:spMk id="135" creationId="{74FC9291-7B44-63A9-CB2C-EB0CEAB9005B}"/>
          </ac:spMkLst>
        </pc:spChg>
        <pc:spChg chg="add del mod">
          <ac:chgData name="Steiner Andreas 6206 ED" userId="e6377c33-a923-4f14-8587-531c474c7b48" providerId="ADAL" clId="{6ECD27E6-B224-41CD-B4E0-E297462320DD}" dt="2023-11-24T08:34:36.108" v="19838"/>
          <ac:spMkLst>
            <pc:docMk/>
            <pc:sldMk cId="4183350934" sldId="2147478561"/>
            <ac:spMk id="136" creationId="{3CCFEF75-614D-0FA4-1388-A072F3035D51}"/>
          </ac:spMkLst>
        </pc:spChg>
        <pc:spChg chg="add del mod">
          <ac:chgData name="Steiner Andreas 6206 ED" userId="e6377c33-a923-4f14-8587-531c474c7b48" providerId="ADAL" clId="{6ECD27E6-B224-41CD-B4E0-E297462320DD}" dt="2023-11-24T08:34:38.337" v="19993"/>
          <ac:spMkLst>
            <pc:docMk/>
            <pc:sldMk cId="4183350934" sldId="2147478561"/>
            <ac:spMk id="137" creationId="{2260194E-CEB6-8F1E-EFE7-38CA92D4800A}"/>
          </ac:spMkLst>
        </pc:spChg>
        <pc:spChg chg="add del mod">
          <ac:chgData name="Steiner Andreas 6206 ED" userId="e6377c33-a923-4f14-8587-531c474c7b48" providerId="ADAL" clId="{6ECD27E6-B224-41CD-B4E0-E297462320DD}" dt="2023-11-24T08:34:40.694" v="20148"/>
          <ac:spMkLst>
            <pc:docMk/>
            <pc:sldMk cId="4183350934" sldId="2147478561"/>
            <ac:spMk id="138" creationId="{34DE3A66-CDBF-5AEC-5B33-99AACDC986CA}"/>
          </ac:spMkLst>
        </pc:spChg>
        <pc:spChg chg="add del mod">
          <ac:chgData name="Steiner Andreas 6206 ED" userId="e6377c33-a923-4f14-8587-531c474c7b48" providerId="ADAL" clId="{6ECD27E6-B224-41CD-B4E0-E297462320DD}" dt="2023-11-24T08:34:43.389" v="20303"/>
          <ac:spMkLst>
            <pc:docMk/>
            <pc:sldMk cId="4183350934" sldId="2147478561"/>
            <ac:spMk id="139" creationId="{D82C8492-EA0E-03B8-1975-A3B93A0F8478}"/>
          </ac:spMkLst>
        </pc:spChg>
        <pc:spChg chg="add del mod">
          <ac:chgData name="Steiner Andreas 6206 ED" userId="e6377c33-a923-4f14-8587-531c474c7b48" providerId="ADAL" clId="{6ECD27E6-B224-41CD-B4E0-E297462320DD}" dt="2023-11-24T08:34:45.750" v="20458"/>
          <ac:spMkLst>
            <pc:docMk/>
            <pc:sldMk cId="4183350934" sldId="2147478561"/>
            <ac:spMk id="140" creationId="{CD7BE3C7-D319-B557-F842-1E61211BD2B1}"/>
          </ac:spMkLst>
        </pc:spChg>
        <pc:spChg chg="add del mod">
          <ac:chgData name="Steiner Andreas 6206 ED" userId="e6377c33-a923-4f14-8587-531c474c7b48" providerId="ADAL" clId="{6ECD27E6-B224-41CD-B4E0-E297462320DD}" dt="2023-11-24T08:34:47.961" v="20613"/>
          <ac:spMkLst>
            <pc:docMk/>
            <pc:sldMk cId="4183350934" sldId="2147478561"/>
            <ac:spMk id="141" creationId="{C012BB11-1D49-0A10-EE12-7A36BE63C6C0}"/>
          </ac:spMkLst>
        </pc:spChg>
        <pc:spChg chg="add del mod">
          <ac:chgData name="Steiner Andreas 6206 ED" userId="e6377c33-a923-4f14-8587-531c474c7b48" providerId="ADAL" clId="{6ECD27E6-B224-41CD-B4E0-E297462320DD}" dt="2023-11-24T08:34:50.426" v="20768"/>
          <ac:spMkLst>
            <pc:docMk/>
            <pc:sldMk cId="4183350934" sldId="2147478561"/>
            <ac:spMk id="142" creationId="{B71DF3B3-EAE7-3B15-A3C3-9EF734AC40E0}"/>
          </ac:spMkLst>
        </pc:spChg>
        <pc:spChg chg="add del mod">
          <ac:chgData name="Steiner Andreas 6206 ED" userId="e6377c33-a923-4f14-8587-531c474c7b48" providerId="ADAL" clId="{6ECD27E6-B224-41CD-B4E0-E297462320DD}" dt="2023-11-24T08:34:53.019" v="20923"/>
          <ac:spMkLst>
            <pc:docMk/>
            <pc:sldMk cId="4183350934" sldId="2147478561"/>
            <ac:spMk id="143" creationId="{96C177C4-9E2D-2CBD-6356-EBC8133BE4FC}"/>
          </ac:spMkLst>
        </pc:spChg>
        <pc:spChg chg="add del mod">
          <ac:chgData name="Steiner Andreas 6206 ED" userId="e6377c33-a923-4f14-8587-531c474c7b48" providerId="ADAL" clId="{6ECD27E6-B224-41CD-B4E0-E297462320DD}" dt="2023-11-24T08:34:55.428" v="21078"/>
          <ac:spMkLst>
            <pc:docMk/>
            <pc:sldMk cId="4183350934" sldId="2147478561"/>
            <ac:spMk id="144" creationId="{F829EF12-AB7D-D5D8-6BEC-46A1A901D4DD}"/>
          </ac:spMkLst>
        </pc:spChg>
        <pc:spChg chg="add del mod">
          <ac:chgData name="Steiner Andreas 6206 ED" userId="e6377c33-a923-4f14-8587-531c474c7b48" providerId="ADAL" clId="{6ECD27E6-B224-41CD-B4E0-E297462320DD}" dt="2023-11-24T08:34:57.829" v="21233"/>
          <ac:spMkLst>
            <pc:docMk/>
            <pc:sldMk cId="4183350934" sldId="2147478561"/>
            <ac:spMk id="145" creationId="{D55A47F4-090E-40F7-A689-937D95025E97}"/>
          </ac:spMkLst>
        </pc:spChg>
        <pc:spChg chg="add del mod">
          <ac:chgData name="Steiner Andreas 6206 ED" userId="e6377c33-a923-4f14-8587-531c474c7b48" providerId="ADAL" clId="{6ECD27E6-B224-41CD-B4E0-E297462320DD}" dt="2023-11-24T08:35:00.392" v="21388"/>
          <ac:spMkLst>
            <pc:docMk/>
            <pc:sldMk cId="4183350934" sldId="2147478561"/>
            <ac:spMk id="146" creationId="{3909B0D4-23CD-5EF9-7DFB-DDC87D8EF063}"/>
          </ac:spMkLst>
        </pc:spChg>
        <pc:spChg chg="add del mod">
          <ac:chgData name="Steiner Andreas 6206 ED" userId="e6377c33-a923-4f14-8587-531c474c7b48" providerId="ADAL" clId="{6ECD27E6-B224-41CD-B4E0-E297462320DD}" dt="2023-11-24T08:35:02.903" v="21543"/>
          <ac:spMkLst>
            <pc:docMk/>
            <pc:sldMk cId="4183350934" sldId="2147478561"/>
            <ac:spMk id="147" creationId="{E4CB5DBA-55D1-256D-8209-E36B999CE6AC}"/>
          </ac:spMkLst>
        </pc:spChg>
        <pc:spChg chg="add del mod">
          <ac:chgData name="Steiner Andreas 6206 ED" userId="e6377c33-a923-4f14-8587-531c474c7b48" providerId="ADAL" clId="{6ECD27E6-B224-41CD-B4E0-E297462320DD}" dt="2023-11-24T08:35:05.385" v="21698"/>
          <ac:spMkLst>
            <pc:docMk/>
            <pc:sldMk cId="4183350934" sldId="2147478561"/>
            <ac:spMk id="148" creationId="{4E6928B6-FB7C-0608-E658-CF108DB220C0}"/>
          </ac:spMkLst>
        </pc:spChg>
        <pc:spChg chg="add del mod">
          <ac:chgData name="Steiner Andreas 6206 ED" userId="e6377c33-a923-4f14-8587-531c474c7b48" providerId="ADAL" clId="{6ECD27E6-B224-41CD-B4E0-E297462320DD}" dt="2023-11-24T08:35:07.921" v="21853"/>
          <ac:spMkLst>
            <pc:docMk/>
            <pc:sldMk cId="4183350934" sldId="2147478561"/>
            <ac:spMk id="149" creationId="{84AB09B8-D373-F6F0-062B-A2DFC523F208}"/>
          </ac:spMkLst>
        </pc:spChg>
        <pc:spChg chg="add del mod">
          <ac:chgData name="Steiner Andreas 6206 ED" userId="e6377c33-a923-4f14-8587-531c474c7b48" providerId="ADAL" clId="{6ECD27E6-B224-41CD-B4E0-E297462320DD}" dt="2023-11-24T08:35:10.401" v="22008"/>
          <ac:spMkLst>
            <pc:docMk/>
            <pc:sldMk cId="4183350934" sldId="2147478561"/>
            <ac:spMk id="150" creationId="{0E66DEE7-3008-DBD3-AA3D-5E32B1BED05D}"/>
          </ac:spMkLst>
        </pc:spChg>
        <pc:spChg chg="add del mod">
          <ac:chgData name="Steiner Andreas 6206 ED" userId="e6377c33-a923-4f14-8587-531c474c7b48" providerId="ADAL" clId="{6ECD27E6-B224-41CD-B4E0-E297462320DD}" dt="2023-11-24T08:35:12.859" v="22163"/>
          <ac:spMkLst>
            <pc:docMk/>
            <pc:sldMk cId="4183350934" sldId="2147478561"/>
            <ac:spMk id="151" creationId="{2F1EB394-C019-1992-6EC0-7A339DBDA365}"/>
          </ac:spMkLst>
        </pc:spChg>
        <pc:spChg chg="add del mod">
          <ac:chgData name="Steiner Andreas 6206 ED" userId="e6377c33-a923-4f14-8587-531c474c7b48" providerId="ADAL" clId="{6ECD27E6-B224-41CD-B4E0-E297462320DD}" dt="2023-11-24T08:35:14.970" v="22318"/>
          <ac:spMkLst>
            <pc:docMk/>
            <pc:sldMk cId="4183350934" sldId="2147478561"/>
            <ac:spMk id="152" creationId="{01A70D1E-218B-0216-2DD7-3B3F4A6D1D7C}"/>
          </ac:spMkLst>
        </pc:spChg>
        <pc:spChg chg="add del mod">
          <ac:chgData name="Steiner Andreas 6206 ED" userId="e6377c33-a923-4f14-8587-531c474c7b48" providerId="ADAL" clId="{6ECD27E6-B224-41CD-B4E0-E297462320DD}" dt="2023-11-24T08:35:17.409" v="22473"/>
          <ac:spMkLst>
            <pc:docMk/>
            <pc:sldMk cId="4183350934" sldId="2147478561"/>
            <ac:spMk id="153" creationId="{E13BD56C-710A-6A84-569F-D10F383BBB07}"/>
          </ac:spMkLst>
        </pc:spChg>
        <pc:spChg chg="add del mod">
          <ac:chgData name="Steiner Andreas 6206 ED" userId="e6377c33-a923-4f14-8587-531c474c7b48" providerId="ADAL" clId="{6ECD27E6-B224-41CD-B4E0-E297462320DD}" dt="2023-11-24T08:35:19.806" v="22628"/>
          <ac:spMkLst>
            <pc:docMk/>
            <pc:sldMk cId="4183350934" sldId="2147478561"/>
            <ac:spMk id="154" creationId="{9B7F8E39-C815-3E53-7507-BAB0DD41C448}"/>
          </ac:spMkLst>
        </pc:spChg>
        <pc:spChg chg="add del mod">
          <ac:chgData name="Steiner Andreas 6206 ED" userId="e6377c33-a923-4f14-8587-531c474c7b48" providerId="ADAL" clId="{6ECD27E6-B224-41CD-B4E0-E297462320DD}" dt="2023-11-24T08:35:22.206" v="22783"/>
          <ac:spMkLst>
            <pc:docMk/>
            <pc:sldMk cId="4183350934" sldId="2147478561"/>
            <ac:spMk id="155" creationId="{83597857-9301-C50A-AF17-087F87ED3047}"/>
          </ac:spMkLst>
        </pc:spChg>
        <pc:spChg chg="add del mod">
          <ac:chgData name="Steiner Andreas 6206 ED" userId="e6377c33-a923-4f14-8587-531c474c7b48" providerId="ADAL" clId="{6ECD27E6-B224-41CD-B4E0-E297462320DD}" dt="2023-11-24T08:35:24.609" v="22938"/>
          <ac:spMkLst>
            <pc:docMk/>
            <pc:sldMk cId="4183350934" sldId="2147478561"/>
            <ac:spMk id="156" creationId="{9337BF0E-026F-E2E9-7646-AD01D4C7CB1E}"/>
          </ac:spMkLst>
        </pc:spChg>
        <pc:spChg chg="add del mod">
          <ac:chgData name="Steiner Andreas 6206 ED" userId="e6377c33-a923-4f14-8587-531c474c7b48" providerId="ADAL" clId="{6ECD27E6-B224-41CD-B4E0-E297462320DD}" dt="2023-11-24T08:35:27.203" v="23093"/>
          <ac:spMkLst>
            <pc:docMk/>
            <pc:sldMk cId="4183350934" sldId="2147478561"/>
            <ac:spMk id="157" creationId="{E97C22EB-23FF-828B-262E-568CBAAE4C7A}"/>
          </ac:spMkLst>
        </pc:spChg>
        <pc:spChg chg="add del mod">
          <ac:chgData name="Steiner Andreas 6206 ED" userId="e6377c33-a923-4f14-8587-531c474c7b48" providerId="ADAL" clId="{6ECD27E6-B224-41CD-B4E0-E297462320DD}" dt="2023-11-24T08:35:29.911" v="23248"/>
          <ac:spMkLst>
            <pc:docMk/>
            <pc:sldMk cId="4183350934" sldId="2147478561"/>
            <ac:spMk id="158" creationId="{891BEC1E-A256-0781-316B-D3DFACECB6A9}"/>
          </ac:spMkLst>
        </pc:spChg>
        <pc:spChg chg="add del mod">
          <ac:chgData name="Steiner Andreas 6206 ED" userId="e6377c33-a923-4f14-8587-531c474c7b48" providerId="ADAL" clId="{6ECD27E6-B224-41CD-B4E0-E297462320DD}" dt="2023-11-24T08:35:32.265" v="23403"/>
          <ac:spMkLst>
            <pc:docMk/>
            <pc:sldMk cId="4183350934" sldId="2147478561"/>
            <ac:spMk id="159" creationId="{325C4DD7-8F5A-07A3-558A-23D111310AFB}"/>
          </ac:spMkLst>
        </pc:spChg>
        <pc:spChg chg="add del mod">
          <ac:chgData name="Steiner Andreas 6206 ED" userId="e6377c33-a923-4f14-8587-531c474c7b48" providerId="ADAL" clId="{6ECD27E6-B224-41CD-B4E0-E297462320DD}" dt="2023-11-24T08:35:34.661" v="23558"/>
          <ac:spMkLst>
            <pc:docMk/>
            <pc:sldMk cId="4183350934" sldId="2147478561"/>
            <ac:spMk id="160" creationId="{4DF415A7-B1B4-8F46-D77B-3AE45FD67A3A}"/>
          </ac:spMkLst>
        </pc:spChg>
        <pc:spChg chg="add del mod">
          <ac:chgData name="Steiner Andreas 6206 ED" userId="e6377c33-a923-4f14-8587-531c474c7b48" providerId="ADAL" clId="{6ECD27E6-B224-41CD-B4E0-E297462320DD}" dt="2023-11-24T08:35:36.983" v="23713"/>
          <ac:spMkLst>
            <pc:docMk/>
            <pc:sldMk cId="4183350934" sldId="2147478561"/>
            <ac:spMk id="161" creationId="{BD40EDDC-AA0E-C62A-A401-0190CD701C87}"/>
          </ac:spMkLst>
        </pc:spChg>
        <pc:spChg chg="add del mod">
          <ac:chgData name="Steiner Andreas 6206 ED" userId="e6377c33-a923-4f14-8587-531c474c7b48" providerId="ADAL" clId="{6ECD27E6-B224-41CD-B4E0-E297462320DD}" dt="2023-11-24T08:35:39.392" v="23868"/>
          <ac:spMkLst>
            <pc:docMk/>
            <pc:sldMk cId="4183350934" sldId="2147478561"/>
            <ac:spMk id="162" creationId="{95DB52D2-91D7-A303-B502-EDCBD66D238C}"/>
          </ac:spMkLst>
        </pc:spChg>
        <pc:spChg chg="add del mod">
          <ac:chgData name="Steiner Andreas 6206 ED" userId="e6377c33-a923-4f14-8587-531c474c7b48" providerId="ADAL" clId="{6ECD27E6-B224-41CD-B4E0-E297462320DD}" dt="2023-11-24T08:35:42.060" v="24023"/>
          <ac:spMkLst>
            <pc:docMk/>
            <pc:sldMk cId="4183350934" sldId="2147478561"/>
            <ac:spMk id="163" creationId="{510B0C41-8AFA-83B6-E817-44A0FA8DF21C}"/>
          </ac:spMkLst>
        </pc:spChg>
        <pc:spChg chg="add del mod">
          <ac:chgData name="Steiner Andreas 6206 ED" userId="e6377c33-a923-4f14-8587-531c474c7b48" providerId="ADAL" clId="{6ECD27E6-B224-41CD-B4E0-E297462320DD}" dt="2023-11-24T08:35:44.531" v="24178"/>
          <ac:spMkLst>
            <pc:docMk/>
            <pc:sldMk cId="4183350934" sldId="2147478561"/>
            <ac:spMk id="164" creationId="{31E88373-1E21-3CE8-C19E-2E7B8F152359}"/>
          </ac:spMkLst>
        </pc:spChg>
        <pc:spChg chg="add del mod">
          <ac:chgData name="Steiner Andreas 6206 ED" userId="e6377c33-a923-4f14-8587-531c474c7b48" providerId="ADAL" clId="{6ECD27E6-B224-41CD-B4E0-E297462320DD}" dt="2023-11-24T08:35:46.803" v="24333"/>
          <ac:spMkLst>
            <pc:docMk/>
            <pc:sldMk cId="4183350934" sldId="2147478561"/>
            <ac:spMk id="165" creationId="{C7007A7C-66F1-1885-717B-6E96E59BEE23}"/>
          </ac:spMkLst>
        </pc:spChg>
        <pc:spChg chg="add del mod">
          <ac:chgData name="Steiner Andreas 6206 ED" userId="e6377c33-a923-4f14-8587-531c474c7b48" providerId="ADAL" clId="{6ECD27E6-B224-41CD-B4E0-E297462320DD}" dt="2023-11-24T08:35:49.058" v="24488"/>
          <ac:spMkLst>
            <pc:docMk/>
            <pc:sldMk cId="4183350934" sldId="2147478561"/>
            <ac:spMk id="166" creationId="{B5B314DD-4404-3D9C-148D-C91695256161}"/>
          </ac:spMkLst>
        </pc:spChg>
        <pc:spChg chg="add del mod">
          <ac:chgData name="Steiner Andreas 6206 ED" userId="e6377c33-a923-4f14-8587-531c474c7b48" providerId="ADAL" clId="{6ECD27E6-B224-41CD-B4E0-E297462320DD}" dt="2023-11-24T08:35:51.345" v="24643"/>
          <ac:spMkLst>
            <pc:docMk/>
            <pc:sldMk cId="4183350934" sldId="2147478561"/>
            <ac:spMk id="167" creationId="{AFBE280E-FC51-D15B-959B-315E3C25240F}"/>
          </ac:spMkLst>
        </pc:spChg>
        <pc:spChg chg="add del mod">
          <ac:chgData name="Steiner Andreas 6206 ED" userId="e6377c33-a923-4f14-8587-531c474c7b48" providerId="ADAL" clId="{6ECD27E6-B224-41CD-B4E0-E297462320DD}" dt="2023-11-24T08:35:54.281" v="24798"/>
          <ac:spMkLst>
            <pc:docMk/>
            <pc:sldMk cId="4183350934" sldId="2147478561"/>
            <ac:spMk id="168" creationId="{8DA80997-9C9B-CC2D-1D6D-CB0AC427CE69}"/>
          </ac:spMkLst>
        </pc:spChg>
        <pc:spChg chg="add del mod">
          <ac:chgData name="Steiner Andreas 6206 ED" userId="e6377c33-a923-4f14-8587-531c474c7b48" providerId="ADAL" clId="{6ECD27E6-B224-41CD-B4E0-E297462320DD}" dt="2023-11-24T08:35:56.738" v="24953"/>
          <ac:spMkLst>
            <pc:docMk/>
            <pc:sldMk cId="4183350934" sldId="2147478561"/>
            <ac:spMk id="169" creationId="{AE4FF77B-CE42-6C93-18FF-D98A8C04614E}"/>
          </ac:spMkLst>
        </pc:spChg>
        <pc:spChg chg="add del mod">
          <ac:chgData name="Steiner Andreas 6206 ED" userId="e6377c33-a923-4f14-8587-531c474c7b48" providerId="ADAL" clId="{6ECD27E6-B224-41CD-B4E0-E297462320DD}" dt="2023-11-24T08:35:59.285" v="25108"/>
          <ac:spMkLst>
            <pc:docMk/>
            <pc:sldMk cId="4183350934" sldId="2147478561"/>
            <ac:spMk id="170" creationId="{04EB8734-A2CF-41FD-0A93-EDF4515D3ADC}"/>
          </ac:spMkLst>
        </pc:spChg>
        <pc:spChg chg="add del mod">
          <ac:chgData name="Steiner Andreas 6206 ED" userId="e6377c33-a923-4f14-8587-531c474c7b48" providerId="ADAL" clId="{6ECD27E6-B224-41CD-B4E0-E297462320DD}" dt="2023-11-24T08:36:01.797" v="25263"/>
          <ac:spMkLst>
            <pc:docMk/>
            <pc:sldMk cId="4183350934" sldId="2147478561"/>
            <ac:spMk id="171" creationId="{699B12ED-08E1-0A91-D80D-16C761225FDA}"/>
          </ac:spMkLst>
        </pc:spChg>
        <pc:spChg chg="add del mod">
          <ac:chgData name="Steiner Andreas 6206 ED" userId="e6377c33-a923-4f14-8587-531c474c7b48" providerId="ADAL" clId="{6ECD27E6-B224-41CD-B4E0-E297462320DD}" dt="2023-11-24T08:36:04.394" v="25418"/>
          <ac:spMkLst>
            <pc:docMk/>
            <pc:sldMk cId="4183350934" sldId="2147478561"/>
            <ac:spMk id="172" creationId="{23A09510-3510-FC92-9BE5-BA42C5B526AF}"/>
          </ac:spMkLst>
        </pc:spChg>
        <pc:spChg chg="add del mod">
          <ac:chgData name="Steiner Andreas 6206 ED" userId="e6377c33-a923-4f14-8587-531c474c7b48" providerId="ADAL" clId="{6ECD27E6-B224-41CD-B4E0-E297462320DD}" dt="2023-11-24T08:36:06.896" v="25573"/>
          <ac:spMkLst>
            <pc:docMk/>
            <pc:sldMk cId="4183350934" sldId="2147478561"/>
            <ac:spMk id="173" creationId="{77253BC7-79E9-F207-3AA7-F479CE8FF878}"/>
          </ac:spMkLst>
        </pc:spChg>
        <pc:spChg chg="add del mod">
          <ac:chgData name="Steiner Andreas 6206 ED" userId="e6377c33-a923-4f14-8587-531c474c7b48" providerId="ADAL" clId="{6ECD27E6-B224-41CD-B4E0-E297462320DD}" dt="2023-11-24T08:36:09.393" v="25728"/>
          <ac:spMkLst>
            <pc:docMk/>
            <pc:sldMk cId="4183350934" sldId="2147478561"/>
            <ac:spMk id="174" creationId="{E98FF4E2-2172-CE5A-152C-C59A6A8E2A05}"/>
          </ac:spMkLst>
        </pc:spChg>
        <pc:spChg chg="add del mod">
          <ac:chgData name="Steiner Andreas 6206 ED" userId="e6377c33-a923-4f14-8587-531c474c7b48" providerId="ADAL" clId="{6ECD27E6-B224-41CD-B4E0-E297462320DD}" dt="2023-11-24T08:36:11.909" v="25883"/>
          <ac:spMkLst>
            <pc:docMk/>
            <pc:sldMk cId="4183350934" sldId="2147478561"/>
            <ac:spMk id="175" creationId="{F3A50F8E-8A63-A185-59F9-31ACE49B4554}"/>
          </ac:spMkLst>
        </pc:spChg>
        <pc:spChg chg="add del mod">
          <ac:chgData name="Steiner Andreas 6206 ED" userId="e6377c33-a923-4f14-8587-531c474c7b48" providerId="ADAL" clId="{6ECD27E6-B224-41CD-B4E0-E297462320DD}" dt="2023-11-24T08:36:14.297" v="26038"/>
          <ac:spMkLst>
            <pc:docMk/>
            <pc:sldMk cId="4183350934" sldId="2147478561"/>
            <ac:spMk id="176" creationId="{24C38E6F-3706-45D1-52B0-88BD6908DBC6}"/>
          </ac:spMkLst>
        </pc:spChg>
        <pc:spChg chg="add del mod">
          <ac:chgData name="Steiner Andreas 6206 ED" userId="e6377c33-a923-4f14-8587-531c474c7b48" providerId="ADAL" clId="{6ECD27E6-B224-41CD-B4E0-E297462320DD}" dt="2023-11-24T08:36:17.146" v="26193"/>
          <ac:spMkLst>
            <pc:docMk/>
            <pc:sldMk cId="4183350934" sldId="2147478561"/>
            <ac:spMk id="177" creationId="{014B2821-0853-4548-8731-0148DBDFB6D1}"/>
          </ac:spMkLst>
        </pc:spChg>
        <pc:spChg chg="add del mod">
          <ac:chgData name="Steiner Andreas 6206 ED" userId="e6377c33-a923-4f14-8587-531c474c7b48" providerId="ADAL" clId="{6ECD27E6-B224-41CD-B4E0-E297462320DD}" dt="2023-11-24T08:36:19.526" v="26348"/>
          <ac:spMkLst>
            <pc:docMk/>
            <pc:sldMk cId="4183350934" sldId="2147478561"/>
            <ac:spMk id="178" creationId="{C04330BD-D8F4-5348-A109-6C510177F540}"/>
          </ac:spMkLst>
        </pc:spChg>
        <pc:spChg chg="add del mod">
          <ac:chgData name="Steiner Andreas 6206 ED" userId="e6377c33-a923-4f14-8587-531c474c7b48" providerId="ADAL" clId="{6ECD27E6-B224-41CD-B4E0-E297462320DD}" dt="2023-11-24T08:36:21.812" v="26503"/>
          <ac:spMkLst>
            <pc:docMk/>
            <pc:sldMk cId="4183350934" sldId="2147478561"/>
            <ac:spMk id="179" creationId="{2D926162-A0D4-5298-C265-5275764AC2D9}"/>
          </ac:spMkLst>
        </pc:spChg>
        <pc:spChg chg="add del mod">
          <ac:chgData name="Steiner Andreas 6206 ED" userId="e6377c33-a923-4f14-8587-531c474c7b48" providerId="ADAL" clId="{6ECD27E6-B224-41CD-B4E0-E297462320DD}" dt="2023-11-24T08:36:24.306" v="26658"/>
          <ac:spMkLst>
            <pc:docMk/>
            <pc:sldMk cId="4183350934" sldId="2147478561"/>
            <ac:spMk id="180" creationId="{DF63377A-93D9-26CB-F60E-60CA17463B17}"/>
          </ac:spMkLst>
        </pc:spChg>
        <pc:spChg chg="add del mod">
          <ac:chgData name="Steiner Andreas 6206 ED" userId="e6377c33-a923-4f14-8587-531c474c7b48" providerId="ADAL" clId="{6ECD27E6-B224-41CD-B4E0-E297462320DD}" dt="2023-11-24T08:36:26.859" v="26813"/>
          <ac:spMkLst>
            <pc:docMk/>
            <pc:sldMk cId="4183350934" sldId="2147478561"/>
            <ac:spMk id="181" creationId="{48CA2C7F-A23E-1298-63B3-B8B6AA99776F}"/>
          </ac:spMkLst>
        </pc:spChg>
        <pc:spChg chg="add del mod">
          <ac:chgData name="Steiner Andreas 6206 ED" userId="e6377c33-a923-4f14-8587-531c474c7b48" providerId="ADAL" clId="{6ECD27E6-B224-41CD-B4E0-E297462320DD}" dt="2023-11-24T08:36:29.720" v="26968"/>
          <ac:spMkLst>
            <pc:docMk/>
            <pc:sldMk cId="4183350934" sldId="2147478561"/>
            <ac:spMk id="182" creationId="{885D0EA3-3273-55E4-DEFD-751168740607}"/>
          </ac:spMkLst>
        </pc:spChg>
        <pc:spChg chg="add del mod">
          <ac:chgData name="Steiner Andreas 6206 ED" userId="e6377c33-a923-4f14-8587-531c474c7b48" providerId="ADAL" clId="{6ECD27E6-B224-41CD-B4E0-E297462320DD}" dt="2023-11-24T08:36:32.467" v="27123"/>
          <ac:spMkLst>
            <pc:docMk/>
            <pc:sldMk cId="4183350934" sldId="2147478561"/>
            <ac:spMk id="183" creationId="{BF72F8F6-A675-E0E6-B85D-3A215DBAA4B3}"/>
          </ac:spMkLst>
        </pc:spChg>
        <pc:spChg chg="add del mod">
          <ac:chgData name="Steiner Andreas 6206 ED" userId="e6377c33-a923-4f14-8587-531c474c7b48" providerId="ADAL" clId="{6ECD27E6-B224-41CD-B4E0-E297462320DD}" dt="2023-11-24T08:36:34.980" v="27278"/>
          <ac:spMkLst>
            <pc:docMk/>
            <pc:sldMk cId="4183350934" sldId="2147478561"/>
            <ac:spMk id="184" creationId="{AF91D69D-6FC6-226F-712E-E3039F1597A3}"/>
          </ac:spMkLst>
        </pc:spChg>
        <pc:spChg chg="add del mod">
          <ac:chgData name="Steiner Andreas 6206 ED" userId="e6377c33-a923-4f14-8587-531c474c7b48" providerId="ADAL" clId="{6ECD27E6-B224-41CD-B4E0-E297462320DD}" dt="2023-11-24T08:36:37.539" v="27433"/>
          <ac:spMkLst>
            <pc:docMk/>
            <pc:sldMk cId="4183350934" sldId="2147478561"/>
            <ac:spMk id="185" creationId="{384DDFF4-C558-F5B2-1999-A15C44417330}"/>
          </ac:spMkLst>
        </pc:spChg>
        <pc:spChg chg="add del mod">
          <ac:chgData name="Steiner Andreas 6206 ED" userId="e6377c33-a923-4f14-8587-531c474c7b48" providerId="ADAL" clId="{6ECD27E6-B224-41CD-B4E0-E297462320DD}" dt="2023-11-24T08:36:40.186" v="27588"/>
          <ac:spMkLst>
            <pc:docMk/>
            <pc:sldMk cId="4183350934" sldId="2147478561"/>
            <ac:spMk id="186" creationId="{E203283C-882B-E9A0-2059-0A576840E490}"/>
          </ac:spMkLst>
        </pc:spChg>
        <pc:spChg chg="add del mod">
          <ac:chgData name="Steiner Andreas 6206 ED" userId="e6377c33-a923-4f14-8587-531c474c7b48" providerId="ADAL" clId="{6ECD27E6-B224-41CD-B4E0-E297462320DD}" dt="2023-11-24T08:36:42.874" v="27743"/>
          <ac:spMkLst>
            <pc:docMk/>
            <pc:sldMk cId="4183350934" sldId="2147478561"/>
            <ac:spMk id="187" creationId="{EF2EF86C-C482-464C-374F-CA4CC2AFF740}"/>
          </ac:spMkLst>
        </pc:spChg>
        <pc:spChg chg="add del mod">
          <ac:chgData name="Steiner Andreas 6206 ED" userId="e6377c33-a923-4f14-8587-531c474c7b48" providerId="ADAL" clId="{6ECD27E6-B224-41CD-B4E0-E297462320DD}" dt="2023-11-24T08:36:45.369" v="27898"/>
          <ac:spMkLst>
            <pc:docMk/>
            <pc:sldMk cId="4183350934" sldId="2147478561"/>
            <ac:spMk id="188" creationId="{0C9F6BA9-576E-8213-06D4-53EEDC3EFAD2}"/>
          </ac:spMkLst>
        </pc:spChg>
        <pc:spChg chg="add del mod">
          <ac:chgData name="Steiner Andreas 6206 ED" userId="e6377c33-a923-4f14-8587-531c474c7b48" providerId="ADAL" clId="{6ECD27E6-B224-41CD-B4E0-E297462320DD}" dt="2023-11-24T08:36:47.792" v="28053"/>
          <ac:spMkLst>
            <pc:docMk/>
            <pc:sldMk cId="4183350934" sldId="2147478561"/>
            <ac:spMk id="189" creationId="{24A0D92B-F368-3093-CB2C-471D245FBDCF}"/>
          </ac:spMkLst>
        </pc:spChg>
        <pc:spChg chg="add del mod">
          <ac:chgData name="Steiner Andreas 6206 ED" userId="e6377c33-a923-4f14-8587-531c474c7b48" providerId="ADAL" clId="{6ECD27E6-B224-41CD-B4E0-E297462320DD}" dt="2023-11-24T08:36:50.303" v="28208"/>
          <ac:spMkLst>
            <pc:docMk/>
            <pc:sldMk cId="4183350934" sldId="2147478561"/>
            <ac:spMk id="190" creationId="{8F94F69C-E34F-4523-9FA1-BB821CF49903}"/>
          </ac:spMkLst>
        </pc:spChg>
        <pc:spChg chg="add del mod">
          <ac:chgData name="Steiner Andreas 6206 ED" userId="e6377c33-a923-4f14-8587-531c474c7b48" providerId="ADAL" clId="{6ECD27E6-B224-41CD-B4E0-E297462320DD}" dt="2023-11-24T08:36:53.346" v="28363"/>
          <ac:spMkLst>
            <pc:docMk/>
            <pc:sldMk cId="4183350934" sldId="2147478561"/>
            <ac:spMk id="191" creationId="{7873BF92-FA52-81C2-03DD-601DA8A9F7DE}"/>
          </ac:spMkLst>
        </pc:spChg>
        <pc:spChg chg="add del mod">
          <ac:chgData name="Steiner Andreas 6206 ED" userId="e6377c33-a923-4f14-8587-531c474c7b48" providerId="ADAL" clId="{6ECD27E6-B224-41CD-B4E0-E297462320DD}" dt="2023-11-24T08:36:56.426" v="28518"/>
          <ac:spMkLst>
            <pc:docMk/>
            <pc:sldMk cId="4183350934" sldId="2147478561"/>
            <ac:spMk id="192" creationId="{2A9D4FF9-A0D5-CA2B-1143-EB0A826C7624}"/>
          </ac:spMkLst>
        </pc:spChg>
        <pc:spChg chg="add del mod">
          <ac:chgData name="Steiner Andreas 6206 ED" userId="e6377c33-a923-4f14-8587-531c474c7b48" providerId="ADAL" clId="{6ECD27E6-B224-41CD-B4E0-E297462320DD}" dt="2023-11-24T08:36:59.336" v="28673"/>
          <ac:spMkLst>
            <pc:docMk/>
            <pc:sldMk cId="4183350934" sldId="2147478561"/>
            <ac:spMk id="193" creationId="{F8D35765-9BD3-F1AF-1D79-BF363F01B390}"/>
          </ac:spMkLst>
        </pc:spChg>
        <pc:spChg chg="add del mod">
          <ac:chgData name="Steiner Andreas 6206 ED" userId="e6377c33-a923-4f14-8587-531c474c7b48" providerId="ADAL" clId="{6ECD27E6-B224-41CD-B4E0-E297462320DD}" dt="2023-11-24T08:37:01.971" v="28828"/>
          <ac:spMkLst>
            <pc:docMk/>
            <pc:sldMk cId="4183350934" sldId="2147478561"/>
            <ac:spMk id="194" creationId="{F4AF080E-9E0F-9619-E98A-2B7840EA5626}"/>
          </ac:spMkLst>
        </pc:spChg>
        <pc:spChg chg="add del mod">
          <ac:chgData name="Steiner Andreas 6206 ED" userId="e6377c33-a923-4f14-8587-531c474c7b48" providerId="ADAL" clId="{6ECD27E6-B224-41CD-B4E0-E297462320DD}" dt="2023-11-24T08:37:04.723" v="28983"/>
          <ac:spMkLst>
            <pc:docMk/>
            <pc:sldMk cId="4183350934" sldId="2147478561"/>
            <ac:spMk id="195" creationId="{46219D34-66CF-2ED0-D85A-4F1DFBE5A1F6}"/>
          </ac:spMkLst>
        </pc:spChg>
        <pc:spChg chg="add del mod">
          <ac:chgData name="Steiner Andreas 6206 ED" userId="e6377c33-a923-4f14-8587-531c474c7b48" providerId="ADAL" clId="{6ECD27E6-B224-41CD-B4E0-E297462320DD}" dt="2023-11-24T08:37:07.532" v="29138"/>
          <ac:spMkLst>
            <pc:docMk/>
            <pc:sldMk cId="4183350934" sldId="2147478561"/>
            <ac:spMk id="196" creationId="{5FE2DD3B-20C7-F2C3-FE04-A04489F3DB03}"/>
          </ac:spMkLst>
        </pc:spChg>
        <pc:spChg chg="add del mod">
          <ac:chgData name="Steiner Andreas 6206 ED" userId="e6377c33-a923-4f14-8587-531c474c7b48" providerId="ADAL" clId="{6ECD27E6-B224-41CD-B4E0-E297462320DD}" dt="2023-11-24T08:37:10.178" v="29293"/>
          <ac:spMkLst>
            <pc:docMk/>
            <pc:sldMk cId="4183350934" sldId="2147478561"/>
            <ac:spMk id="197" creationId="{1BF940DA-51C4-1A13-D131-61DCD91026DA}"/>
          </ac:spMkLst>
        </pc:spChg>
        <pc:spChg chg="add del mod">
          <ac:chgData name="Steiner Andreas 6206 ED" userId="e6377c33-a923-4f14-8587-531c474c7b48" providerId="ADAL" clId="{6ECD27E6-B224-41CD-B4E0-E297462320DD}" dt="2023-11-24T08:37:12.839" v="29448"/>
          <ac:spMkLst>
            <pc:docMk/>
            <pc:sldMk cId="4183350934" sldId="2147478561"/>
            <ac:spMk id="198" creationId="{2DC502A1-D9C0-E9F9-EAE4-B024A7F84BE8}"/>
          </ac:spMkLst>
        </pc:spChg>
        <pc:spChg chg="add del mod">
          <ac:chgData name="Steiner Andreas 6206 ED" userId="e6377c33-a923-4f14-8587-531c474c7b48" providerId="ADAL" clId="{6ECD27E6-B224-41CD-B4E0-E297462320DD}" dt="2023-11-24T08:37:16.195" v="29603"/>
          <ac:spMkLst>
            <pc:docMk/>
            <pc:sldMk cId="4183350934" sldId="2147478561"/>
            <ac:spMk id="199" creationId="{74F76704-A49D-7C59-CB78-209EA0856FDB}"/>
          </ac:spMkLst>
        </pc:spChg>
        <pc:spChg chg="add del mod">
          <ac:chgData name="Steiner Andreas 6206 ED" userId="e6377c33-a923-4f14-8587-531c474c7b48" providerId="ADAL" clId="{6ECD27E6-B224-41CD-B4E0-E297462320DD}" dt="2023-11-24T08:37:18.943" v="29758"/>
          <ac:spMkLst>
            <pc:docMk/>
            <pc:sldMk cId="4183350934" sldId="2147478561"/>
            <ac:spMk id="200" creationId="{DB480CA8-6179-7CA6-0752-E77FCBC66085}"/>
          </ac:spMkLst>
        </pc:spChg>
        <pc:spChg chg="add del mod">
          <ac:chgData name="Steiner Andreas 6206 ED" userId="e6377c33-a923-4f14-8587-531c474c7b48" providerId="ADAL" clId="{6ECD27E6-B224-41CD-B4E0-E297462320DD}" dt="2023-11-24T08:37:21.398" v="29913"/>
          <ac:spMkLst>
            <pc:docMk/>
            <pc:sldMk cId="4183350934" sldId="2147478561"/>
            <ac:spMk id="201" creationId="{11FCF949-D976-9664-E512-501F3FD0B3B0}"/>
          </ac:spMkLst>
        </pc:spChg>
        <pc:spChg chg="add del mod">
          <ac:chgData name="Steiner Andreas 6206 ED" userId="e6377c33-a923-4f14-8587-531c474c7b48" providerId="ADAL" clId="{6ECD27E6-B224-41CD-B4E0-E297462320DD}" dt="2023-11-24T08:37:24.251" v="30068"/>
          <ac:spMkLst>
            <pc:docMk/>
            <pc:sldMk cId="4183350934" sldId="2147478561"/>
            <ac:spMk id="202" creationId="{6E23E307-1984-C2BB-235C-09466181C3FD}"/>
          </ac:spMkLst>
        </pc:spChg>
        <pc:spChg chg="add del mod">
          <ac:chgData name="Steiner Andreas 6206 ED" userId="e6377c33-a923-4f14-8587-531c474c7b48" providerId="ADAL" clId="{6ECD27E6-B224-41CD-B4E0-E297462320DD}" dt="2023-11-24T08:37:26.813" v="30223"/>
          <ac:spMkLst>
            <pc:docMk/>
            <pc:sldMk cId="4183350934" sldId="2147478561"/>
            <ac:spMk id="203" creationId="{CA50F11D-1E29-FF96-2BB6-2763A3BD5135}"/>
          </ac:spMkLst>
        </pc:spChg>
        <pc:spChg chg="add del mod">
          <ac:chgData name="Steiner Andreas 6206 ED" userId="e6377c33-a923-4f14-8587-531c474c7b48" providerId="ADAL" clId="{6ECD27E6-B224-41CD-B4E0-E297462320DD}" dt="2023-11-24T08:37:30.141" v="30378"/>
          <ac:spMkLst>
            <pc:docMk/>
            <pc:sldMk cId="4183350934" sldId="2147478561"/>
            <ac:spMk id="204" creationId="{5349BB7C-B7A1-15B8-8A8C-E52CCDAEB38D}"/>
          </ac:spMkLst>
        </pc:spChg>
        <pc:spChg chg="add del mod">
          <ac:chgData name="Steiner Andreas 6206 ED" userId="e6377c33-a923-4f14-8587-531c474c7b48" providerId="ADAL" clId="{6ECD27E6-B224-41CD-B4E0-E297462320DD}" dt="2023-11-24T08:37:32.963" v="30533"/>
          <ac:spMkLst>
            <pc:docMk/>
            <pc:sldMk cId="4183350934" sldId="2147478561"/>
            <ac:spMk id="205" creationId="{A7FCCB69-CA3C-0E3C-3235-6C7CD0C83451}"/>
          </ac:spMkLst>
        </pc:spChg>
        <pc:spChg chg="add del mod">
          <ac:chgData name="Steiner Andreas 6206 ED" userId="e6377c33-a923-4f14-8587-531c474c7b48" providerId="ADAL" clId="{6ECD27E6-B224-41CD-B4E0-E297462320DD}" dt="2023-11-24T08:37:35.625" v="30688"/>
          <ac:spMkLst>
            <pc:docMk/>
            <pc:sldMk cId="4183350934" sldId="2147478561"/>
            <ac:spMk id="206" creationId="{14B24732-B992-8AA4-DABC-CEC7AEF44A32}"/>
          </ac:spMkLst>
        </pc:spChg>
        <pc:spChg chg="add del mod">
          <ac:chgData name="Steiner Andreas 6206 ED" userId="e6377c33-a923-4f14-8587-531c474c7b48" providerId="ADAL" clId="{6ECD27E6-B224-41CD-B4E0-E297462320DD}" dt="2023-11-24T08:37:38.198" v="30843"/>
          <ac:spMkLst>
            <pc:docMk/>
            <pc:sldMk cId="4183350934" sldId="2147478561"/>
            <ac:spMk id="207" creationId="{864823BA-3227-19D5-25EF-AFA150A5DDA7}"/>
          </ac:spMkLst>
        </pc:spChg>
        <pc:spChg chg="add del mod">
          <ac:chgData name="Steiner Andreas 6206 ED" userId="e6377c33-a923-4f14-8587-531c474c7b48" providerId="ADAL" clId="{6ECD27E6-B224-41CD-B4E0-E297462320DD}" dt="2023-11-24T08:37:42.315" v="30998"/>
          <ac:spMkLst>
            <pc:docMk/>
            <pc:sldMk cId="4183350934" sldId="2147478561"/>
            <ac:spMk id="208" creationId="{2CA2400C-36B0-A7BF-07A6-5C54FC1507B7}"/>
          </ac:spMkLst>
        </pc:spChg>
        <pc:spChg chg="add del mod">
          <ac:chgData name="Steiner Andreas 6206 ED" userId="e6377c33-a923-4f14-8587-531c474c7b48" providerId="ADAL" clId="{6ECD27E6-B224-41CD-B4E0-E297462320DD}" dt="2023-11-24T08:37:45.177" v="31153"/>
          <ac:spMkLst>
            <pc:docMk/>
            <pc:sldMk cId="4183350934" sldId="2147478561"/>
            <ac:spMk id="209" creationId="{CDF3B508-FD28-A34E-BFB0-2C7F2D297200}"/>
          </ac:spMkLst>
        </pc:spChg>
        <pc:spChg chg="add del mod">
          <ac:chgData name="Steiner Andreas 6206 ED" userId="e6377c33-a923-4f14-8587-531c474c7b48" providerId="ADAL" clId="{6ECD27E6-B224-41CD-B4E0-E297462320DD}" dt="2023-11-24T08:37:48.023" v="31308"/>
          <ac:spMkLst>
            <pc:docMk/>
            <pc:sldMk cId="4183350934" sldId="2147478561"/>
            <ac:spMk id="210" creationId="{E1EA998F-9B30-C16A-A281-6132ED80AD96}"/>
          </ac:spMkLst>
        </pc:spChg>
        <pc:spChg chg="add del mod">
          <ac:chgData name="Steiner Andreas 6206 ED" userId="e6377c33-a923-4f14-8587-531c474c7b48" providerId="ADAL" clId="{6ECD27E6-B224-41CD-B4E0-E297462320DD}" dt="2023-11-24T08:37:50.704" v="31463"/>
          <ac:spMkLst>
            <pc:docMk/>
            <pc:sldMk cId="4183350934" sldId="2147478561"/>
            <ac:spMk id="211" creationId="{37F7A40F-F7AA-353A-0FED-6B28F775F50C}"/>
          </ac:spMkLst>
        </pc:spChg>
        <pc:spChg chg="add del mod">
          <ac:chgData name="Steiner Andreas 6206 ED" userId="e6377c33-a923-4f14-8587-531c474c7b48" providerId="ADAL" clId="{6ECD27E6-B224-41CD-B4E0-E297462320DD}" dt="2023-11-24T08:37:53.348" v="31618"/>
          <ac:spMkLst>
            <pc:docMk/>
            <pc:sldMk cId="4183350934" sldId="2147478561"/>
            <ac:spMk id="212" creationId="{ADB3DDBD-C994-561D-C1D5-9D4A314CF3C6}"/>
          </ac:spMkLst>
        </pc:spChg>
        <pc:spChg chg="add del mod">
          <ac:chgData name="Steiner Andreas 6206 ED" userId="e6377c33-a923-4f14-8587-531c474c7b48" providerId="ADAL" clId="{6ECD27E6-B224-41CD-B4E0-E297462320DD}" dt="2023-11-24T08:37:57.453" v="31773"/>
          <ac:spMkLst>
            <pc:docMk/>
            <pc:sldMk cId="4183350934" sldId="2147478561"/>
            <ac:spMk id="213" creationId="{E28B9E5B-0920-BFC8-01F9-9BAB86D15BAA}"/>
          </ac:spMkLst>
        </pc:spChg>
        <pc:spChg chg="add del mod">
          <ac:chgData name="Steiner Andreas 6206 ED" userId="e6377c33-a923-4f14-8587-531c474c7b48" providerId="ADAL" clId="{6ECD27E6-B224-41CD-B4E0-E297462320DD}" dt="2023-11-24T08:38:00.222" v="31928"/>
          <ac:spMkLst>
            <pc:docMk/>
            <pc:sldMk cId="4183350934" sldId="2147478561"/>
            <ac:spMk id="214" creationId="{F33C54A5-9317-085E-F20E-4B19F300CA6F}"/>
          </ac:spMkLst>
        </pc:spChg>
        <pc:spChg chg="add del mod">
          <ac:chgData name="Steiner Andreas 6206 ED" userId="e6377c33-a923-4f14-8587-531c474c7b48" providerId="ADAL" clId="{6ECD27E6-B224-41CD-B4E0-E297462320DD}" dt="2023-11-24T08:38:03.161" v="32083"/>
          <ac:spMkLst>
            <pc:docMk/>
            <pc:sldMk cId="4183350934" sldId="2147478561"/>
            <ac:spMk id="215" creationId="{875B81BD-2F1D-CF47-90C4-F4628A780F9A}"/>
          </ac:spMkLst>
        </pc:spChg>
        <pc:spChg chg="add del mod">
          <ac:chgData name="Steiner Andreas 6206 ED" userId="e6377c33-a923-4f14-8587-531c474c7b48" providerId="ADAL" clId="{6ECD27E6-B224-41CD-B4E0-E297462320DD}" dt="2023-11-24T08:38:06.066" v="32238"/>
          <ac:spMkLst>
            <pc:docMk/>
            <pc:sldMk cId="4183350934" sldId="2147478561"/>
            <ac:spMk id="216" creationId="{72CCC529-3454-4475-CD26-372232679713}"/>
          </ac:spMkLst>
        </pc:spChg>
        <pc:spChg chg="add del mod">
          <ac:chgData name="Steiner Andreas 6206 ED" userId="e6377c33-a923-4f14-8587-531c474c7b48" providerId="ADAL" clId="{6ECD27E6-B224-41CD-B4E0-E297462320DD}" dt="2023-11-24T08:38:09.285" v="32393"/>
          <ac:spMkLst>
            <pc:docMk/>
            <pc:sldMk cId="4183350934" sldId="2147478561"/>
            <ac:spMk id="217" creationId="{D747EABD-E318-2DAB-DA3C-4E9E5C66EF02}"/>
          </ac:spMkLst>
        </pc:spChg>
        <pc:spChg chg="add del mod">
          <ac:chgData name="Steiner Andreas 6206 ED" userId="e6377c33-a923-4f14-8587-531c474c7b48" providerId="ADAL" clId="{6ECD27E6-B224-41CD-B4E0-E297462320DD}" dt="2023-11-24T08:38:11.976" v="32548"/>
          <ac:spMkLst>
            <pc:docMk/>
            <pc:sldMk cId="4183350934" sldId="2147478561"/>
            <ac:spMk id="218" creationId="{7F054F14-AD74-3978-35DA-52200DD48128}"/>
          </ac:spMkLst>
        </pc:spChg>
        <pc:spChg chg="add del mod">
          <ac:chgData name="Steiner Andreas 6206 ED" userId="e6377c33-a923-4f14-8587-531c474c7b48" providerId="ADAL" clId="{6ECD27E6-B224-41CD-B4E0-E297462320DD}" dt="2023-11-24T08:38:14.587" v="32703"/>
          <ac:spMkLst>
            <pc:docMk/>
            <pc:sldMk cId="4183350934" sldId="2147478561"/>
            <ac:spMk id="219" creationId="{E35D937E-1142-BFBF-8384-80034C30D008}"/>
          </ac:spMkLst>
        </pc:spChg>
        <pc:spChg chg="add del mod">
          <ac:chgData name="Steiner Andreas 6206 ED" userId="e6377c33-a923-4f14-8587-531c474c7b48" providerId="ADAL" clId="{6ECD27E6-B224-41CD-B4E0-E297462320DD}" dt="2023-11-24T08:38:17.304" v="32858"/>
          <ac:spMkLst>
            <pc:docMk/>
            <pc:sldMk cId="4183350934" sldId="2147478561"/>
            <ac:spMk id="220" creationId="{971E180E-1AC1-09F7-6098-867573E6CB54}"/>
          </ac:spMkLst>
        </pc:spChg>
        <pc:spChg chg="add del mod">
          <ac:chgData name="Steiner Andreas 6206 ED" userId="e6377c33-a923-4f14-8587-531c474c7b48" providerId="ADAL" clId="{6ECD27E6-B224-41CD-B4E0-E297462320DD}" dt="2023-11-24T08:38:20.299" v="33013"/>
          <ac:spMkLst>
            <pc:docMk/>
            <pc:sldMk cId="4183350934" sldId="2147478561"/>
            <ac:spMk id="221" creationId="{05FA0AF6-7C51-9ECA-B12C-A3CBEEC9D5CC}"/>
          </ac:spMkLst>
        </pc:spChg>
        <pc:spChg chg="add del mod">
          <ac:chgData name="Steiner Andreas 6206 ED" userId="e6377c33-a923-4f14-8587-531c474c7b48" providerId="ADAL" clId="{6ECD27E6-B224-41CD-B4E0-E297462320DD}" dt="2023-11-24T08:38:23.149" v="33168"/>
          <ac:spMkLst>
            <pc:docMk/>
            <pc:sldMk cId="4183350934" sldId="2147478561"/>
            <ac:spMk id="222" creationId="{7EE25772-B893-6853-CFA7-DB5CD5DED45E}"/>
          </ac:spMkLst>
        </pc:spChg>
        <pc:spChg chg="add del mod">
          <ac:chgData name="Steiner Andreas 6206 ED" userId="e6377c33-a923-4f14-8587-531c474c7b48" providerId="ADAL" clId="{6ECD27E6-B224-41CD-B4E0-E297462320DD}" dt="2023-11-24T08:38:26.021" v="33323"/>
          <ac:spMkLst>
            <pc:docMk/>
            <pc:sldMk cId="4183350934" sldId="2147478561"/>
            <ac:spMk id="223" creationId="{8536692A-4CE6-76AA-739C-5AA57A34892C}"/>
          </ac:spMkLst>
        </pc:spChg>
        <pc:spChg chg="add del mod">
          <ac:chgData name="Steiner Andreas 6206 ED" userId="e6377c33-a923-4f14-8587-531c474c7b48" providerId="ADAL" clId="{6ECD27E6-B224-41CD-B4E0-E297462320DD}" dt="2023-11-24T08:38:29.634" v="33478"/>
          <ac:spMkLst>
            <pc:docMk/>
            <pc:sldMk cId="4183350934" sldId="2147478561"/>
            <ac:spMk id="224" creationId="{D3DCF10A-4C2B-84FE-99E0-39F366DA6307}"/>
          </ac:spMkLst>
        </pc:spChg>
        <pc:spChg chg="add del mod">
          <ac:chgData name="Steiner Andreas 6206 ED" userId="e6377c33-a923-4f14-8587-531c474c7b48" providerId="ADAL" clId="{6ECD27E6-B224-41CD-B4E0-E297462320DD}" dt="2023-11-24T08:38:32.715" v="33633"/>
          <ac:spMkLst>
            <pc:docMk/>
            <pc:sldMk cId="4183350934" sldId="2147478561"/>
            <ac:spMk id="225" creationId="{9A85BA22-1AA0-47A1-66B7-538A8F200EE2}"/>
          </ac:spMkLst>
        </pc:spChg>
        <pc:spChg chg="add del mod">
          <ac:chgData name="Steiner Andreas 6206 ED" userId="e6377c33-a923-4f14-8587-531c474c7b48" providerId="ADAL" clId="{6ECD27E6-B224-41CD-B4E0-E297462320DD}" dt="2023-11-24T08:38:35.347" v="33788"/>
          <ac:spMkLst>
            <pc:docMk/>
            <pc:sldMk cId="4183350934" sldId="2147478561"/>
            <ac:spMk id="226" creationId="{3CE45A5C-5B22-2653-BD8A-0ADEE07C9F2C}"/>
          </ac:spMkLst>
        </pc:spChg>
        <pc:spChg chg="add del mod">
          <ac:chgData name="Steiner Andreas 6206 ED" userId="e6377c33-a923-4f14-8587-531c474c7b48" providerId="ADAL" clId="{6ECD27E6-B224-41CD-B4E0-E297462320DD}" dt="2023-11-24T08:38:37.988" v="33943"/>
          <ac:spMkLst>
            <pc:docMk/>
            <pc:sldMk cId="4183350934" sldId="2147478561"/>
            <ac:spMk id="227" creationId="{A06FAAEA-EB28-8E84-CA04-B61158CD6882}"/>
          </ac:spMkLst>
        </pc:spChg>
        <pc:spChg chg="add del mod">
          <ac:chgData name="Steiner Andreas 6206 ED" userId="e6377c33-a923-4f14-8587-531c474c7b48" providerId="ADAL" clId="{6ECD27E6-B224-41CD-B4E0-E297462320DD}" dt="2023-11-24T08:38:40.537" v="34098"/>
          <ac:spMkLst>
            <pc:docMk/>
            <pc:sldMk cId="4183350934" sldId="2147478561"/>
            <ac:spMk id="228" creationId="{B3644D62-353C-3A3A-8F76-DFE2273F2ACB}"/>
          </ac:spMkLst>
        </pc:spChg>
        <pc:spChg chg="add del mod">
          <ac:chgData name="Steiner Andreas 6206 ED" userId="e6377c33-a923-4f14-8587-531c474c7b48" providerId="ADAL" clId="{6ECD27E6-B224-41CD-B4E0-E297462320DD}" dt="2023-11-24T08:38:43.150" v="34253"/>
          <ac:spMkLst>
            <pc:docMk/>
            <pc:sldMk cId="4183350934" sldId="2147478561"/>
            <ac:spMk id="229" creationId="{0DD0E4A8-8511-4CBB-6A50-8A23F38ED14A}"/>
          </ac:spMkLst>
        </pc:spChg>
        <pc:spChg chg="add del mod">
          <ac:chgData name="Steiner Andreas 6206 ED" userId="e6377c33-a923-4f14-8587-531c474c7b48" providerId="ADAL" clId="{6ECD27E6-B224-41CD-B4E0-E297462320DD}" dt="2023-11-24T08:38:47.079" v="34408"/>
          <ac:spMkLst>
            <pc:docMk/>
            <pc:sldMk cId="4183350934" sldId="2147478561"/>
            <ac:spMk id="230" creationId="{0B0A47AC-F00C-A45A-D7F6-4F7C181DA774}"/>
          </ac:spMkLst>
        </pc:spChg>
        <pc:spChg chg="add del mod">
          <ac:chgData name="Steiner Andreas 6206 ED" userId="e6377c33-a923-4f14-8587-531c474c7b48" providerId="ADAL" clId="{6ECD27E6-B224-41CD-B4E0-E297462320DD}" dt="2023-11-24T08:38:49.775" v="34563"/>
          <ac:spMkLst>
            <pc:docMk/>
            <pc:sldMk cId="4183350934" sldId="2147478561"/>
            <ac:spMk id="231" creationId="{E34E0F15-3F59-FB21-47E4-895DE3E0E457}"/>
          </ac:spMkLst>
        </pc:spChg>
        <pc:spChg chg="add del mod">
          <ac:chgData name="Steiner Andreas 6206 ED" userId="e6377c33-a923-4f14-8587-531c474c7b48" providerId="ADAL" clId="{6ECD27E6-B224-41CD-B4E0-E297462320DD}" dt="2023-11-24T08:38:52.603" v="34718"/>
          <ac:spMkLst>
            <pc:docMk/>
            <pc:sldMk cId="4183350934" sldId="2147478561"/>
            <ac:spMk id="232" creationId="{DBC580C6-80EB-99D2-B39F-54EB6C39AC7A}"/>
          </ac:spMkLst>
        </pc:spChg>
        <pc:spChg chg="add del mod">
          <ac:chgData name="Steiner Andreas 6206 ED" userId="e6377c33-a923-4f14-8587-531c474c7b48" providerId="ADAL" clId="{6ECD27E6-B224-41CD-B4E0-E297462320DD}" dt="2023-11-24T08:38:55.552" v="34873"/>
          <ac:spMkLst>
            <pc:docMk/>
            <pc:sldMk cId="4183350934" sldId="2147478561"/>
            <ac:spMk id="233" creationId="{E537AFE8-6BAD-FB2E-7736-65F4E2A85DA7}"/>
          </ac:spMkLst>
        </pc:spChg>
        <pc:spChg chg="add del mod">
          <ac:chgData name="Steiner Andreas 6206 ED" userId="e6377c33-a923-4f14-8587-531c474c7b48" providerId="ADAL" clId="{6ECD27E6-B224-41CD-B4E0-E297462320DD}" dt="2023-11-24T08:38:58.794" v="35028"/>
          <ac:spMkLst>
            <pc:docMk/>
            <pc:sldMk cId="4183350934" sldId="2147478561"/>
            <ac:spMk id="234" creationId="{144974C3-9F93-9B3F-400D-9B6891E9C2AC}"/>
          </ac:spMkLst>
        </pc:spChg>
        <pc:spChg chg="add del mod">
          <ac:chgData name="Steiner Andreas 6206 ED" userId="e6377c33-a923-4f14-8587-531c474c7b48" providerId="ADAL" clId="{6ECD27E6-B224-41CD-B4E0-E297462320DD}" dt="2023-11-24T08:39:02.428" v="35183"/>
          <ac:spMkLst>
            <pc:docMk/>
            <pc:sldMk cId="4183350934" sldId="2147478561"/>
            <ac:spMk id="235" creationId="{673D8045-CA19-B6CD-7CDB-FA0D7D81DD5C}"/>
          </ac:spMkLst>
        </pc:spChg>
        <pc:spChg chg="add del mod">
          <ac:chgData name="Steiner Andreas 6206 ED" userId="e6377c33-a923-4f14-8587-531c474c7b48" providerId="ADAL" clId="{6ECD27E6-B224-41CD-B4E0-E297462320DD}" dt="2023-11-24T08:39:05.438" v="35338"/>
          <ac:spMkLst>
            <pc:docMk/>
            <pc:sldMk cId="4183350934" sldId="2147478561"/>
            <ac:spMk id="236" creationId="{74E340E7-D7EA-F286-E969-D1A3F050307F}"/>
          </ac:spMkLst>
        </pc:spChg>
        <pc:spChg chg="add del mod">
          <ac:chgData name="Steiner Andreas 6206 ED" userId="e6377c33-a923-4f14-8587-531c474c7b48" providerId="ADAL" clId="{6ECD27E6-B224-41CD-B4E0-E297462320DD}" dt="2023-11-24T08:39:08.374" v="35493"/>
          <ac:spMkLst>
            <pc:docMk/>
            <pc:sldMk cId="4183350934" sldId="2147478561"/>
            <ac:spMk id="237" creationId="{D563EB5B-027C-4D24-1D79-3F6DCD48DAE0}"/>
          </ac:spMkLst>
        </pc:spChg>
        <pc:spChg chg="add del mod">
          <ac:chgData name="Steiner Andreas 6206 ED" userId="e6377c33-a923-4f14-8587-531c474c7b48" providerId="ADAL" clId="{6ECD27E6-B224-41CD-B4E0-E297462320DD}" dt="2023-11-24T08:39:12.918" v="35648"/>
          <ac:spMkLst>
            <pc:docMk/>
            <pc:sldMk cId="4183350934" sldId="2147478561"/>
            <ac:spMk id="238" creationId="{C0EE5CFD-4ABB-60CD-E6F5-9BBD6883CBB7}"/>
          </ac:spMkLst>
        </pc:spChg>
        <pc:spChg chg="add del mod">
          <ac:chgData name="Steiner Andreas 6206 ED" userId="e6377c33-a923-4f14-8587-531c474c7b48" providerId="ADAL" clId="{6ECD27E6-B224-41CD-B4E0-E297462320DD}" dt="2023-11-24T08:39:15.579" v="35803"/>
          <ac:spMkLst>
            <pc:docMk/>
            <pc:sldMk cId="4183350934" sldId="2147478561"/>
            <ac:spMk id="239" creationId="{B0A42EC8-EFFE-2B94-C16D-0F83FC5440AD}"/>
          </ac:spMkLst>
        </pc:spChg>
        <pc:spChg chg="add del mod">
          <ac:chgData name="Steiner Andreas 6206 ED" userId="e6377c33-a923-4f14-8587-531c474c7b48" providerId="ADAL" clId="{6ECD27E6-B224-41CD-B4E0-E297462320DD}" dt="2023-11-24T08:39:18.259" v="35958"/>
          <ac:spMkLst>
            <pc:docMk/>
            <pc:sldMk cId="4183350934" sldId="2147478561"/>
            <ac:spMk id="240" creationId="{EC84797E-673E-9A91-2554-1FF7A5F4C88D}"/>
          </ac:spMkLst>
        </pc:spChg>
        <pc:spChg chg="add del mod">
          <ac:chgData name="Steiner Andreas 6206 ED" userId="e6377c33-a923-4f14-8587-531c474c7b48" providerId="ADAL" clId="{6ECD27E6-B224-41CD-B4E0-E297462320DD}" dt="2023-11-24T08:39:20.901" v="36113"/>
          <ac:spMkLst>
            <pc:docMk/>
            <pc:sldMk cId="4183350934" sldId="2147478561"/>
            <ac:spMk id="241" creationId="{1EE54FC6-1A24-2DB5-C24C-9F0381AF32A5}"/>
          </ac:spMkLst>
        </pc:spChg>
        <pc:spChg chg="add del mod">
          <ac:chgData name="Steiner Andreas 6206 ED" userId="e6377c33-a923-4f14-8587-531c474c7b48" providerId="ADAL" clId="{6ECD27E6-B224-41CD-B4E0-E297462320DD}" dt="2023-11-24T08:39:24.048" v="36268"/>
          <ac:spMkLst>
            <pc:docMk/>
            <pc:sldMk cId="4183350934" sldId="2147478561"/>
            <ac:spMk id="242" creationId="{AC6855AC-B701-D690-8171-10A531654492}"/>
          </ac:spMkLst>
        </pc:spChg>
        <pc:spChg chg="add del mod">
          <ac:chgData name="Steiner Andreas 6206 ED" userId="e6377c33-a923-4f14-8587-531c474c7b48" providerId="ADAL" clId="{6ECD27E6-B224-41CD-B4E0-E297462320DD}" dt="2023-11-24T08:39:26.777" v="36423"/>
          <ac:spMkLst>
            <pc:docMk/>
            <pc:sldMk cId="4183350934" sldId="2147478561"/>
            <ac:spMk id="243" creationId="{688D872F-A2BA-A3F3-599C-A9AEA541073E}"/>
          </ac:spMkLst>
        </pc:spChg>
        <pc:spChg chg="add del mod">
          <ac:chgData name="Steiner Andreas 6206 ED" userId="e6377c33-a923-4f14-8587-531c474c7b48" providerId="ADAL" clId="{6ECD27E6-B224-41CD-B4E0-E297462320DD}" dt="2023-11-24T08:39:29.527" v="36578"/>
          <ac:spMkLst>
            <pc:docMk/>
            <pc:sldMk cId="4183350934" sldId="2147478561"/>
            <ac:spMk id="244" creationId="{D2C9A7F4-225B-A4D6-45D3-5CCB5F4045BD}"/>
          </ac:spMkLst>
        </pc:spChg>
        <pc:spChg chg="add del mod">
          <ac:chgData name="Steiner Andreas 6206 ED" userId="e6377c33-a923-4f14-8587-531c474c7b48" providerId="ADAL" clId="{6ECD27E6-B224-41CD-B4E0-E297462320DD}" dt="2023-11-24T08:39:32.098" v="36733"/>
          <ac:spMkLst>
            <pc:docMk/>
            <pc:sldMk cId="4183350934" sldId="2147478561"/>
            <ac:spMk id="245" creationId="{D684C0EC-B041-45E0-74DB-0B6A4C2C12AE}"/>
          </ac:spMkLst>
        </pc:spChg>
        <pc:spChg chg="add del mod">
          <ac:chgData name="Steiner Andreas 6206 ED" userId="e6377c33-a923-4f14-8587-531c474c7b48" providerId="ADAL" clId="{6ECD27E6-B224-41CD-B4E0-E297462320DD}" dt="2023-11-24T08:39:34.606" v="36888"/>
          <ac:spMkLst>
            <pc:docMk/>
            <pc:sldMk cId="4183350934" sldId="2147478561"/>
            <ac:spMk id="246" creationId="{8B623E35-C4B7-5A1D-F638-08428CE00B2A}"/>
          </ac:spMkLst>
        </pc:spChg>
        <pc:spChg chg="add del mod">
          <ac:chgData name="Steiner Andreas 6206 ED" userId="e6377c33-a923-4f14-8587-531c474c7b48" providerId="ADAL" clId="{6ECD27E6-B224-41CD-B4E0-E297462320DD}" dt="2023-11-24T08:39:37.527" v="37043"/>
          <ac:spMkLst>
            <pc:docMk/>
            <pc:sldMk cId="4183350934" sldId="2147478561"/>
            <ac:spMk id="247" creationId="{4CFF4C5D-C978-3D70-0F5B-75317923638F}"/>
          </ac:spMkLst>
        </pc:spChg>
        <pc:spChg chg="add del mod">
          <ac:chgData name="Steiner Andreas 6206 ED" userId="e6377c33-a923-4f14-8587-531c474c7b48" providerId="ADAL" clId="{6ECD27E6-B224-41CD-B4E0-E297462320DD}" dt="2023-11-24T08:39:40.154" v="37198"/>
          <ac:spMkLst>
            <pc:docMk/>
            <pc:sldMk cId="4183350934" sldId="2147478561"/>
            <ac:spMk id="248" creationId="{25F92F92-CA3E-5948-F9CE-5123D6B2E131}"/>
          </ac:spMkLst>
        </pc:spChg>
        <pc:spChg chg="add del mod">
          <ac:chgData name="Steiner Andreas 6206 ED" userId="e6377c33-a923-4f14-8587-531c474c7b48" providerId="ADAL" clId="{6ECD27E6-B224-41CD-B4E0-E297462320DD}" dt="2023-11-24T08:39:42.597" v="37353"/>
          <ac:spMkLst>
            <pc:docMk/>
            <pc:sldMk cId="4183350934" sldId="2147478561"/>
            <ac:spMk id="249" creationId="{8C81807F-0655-2E60-9D74-9C6D5BE157FE}"/>
          </ac:spMkLst>
        </pc:spChg>
        <pc:spChg chg="add del mod">
          <ac:chgData name="Steiner Andreas 6206 ED" userId="e6377c33-a923-4f14-8587-531c474c7b48" providerId="ADAL" clId="{6ECD27E6-B224-41CD-B4E0-E297462320DD}" dt="2023-11-24T08:39:45.157" v="37508"/>
          <ac:spMkLst>
            <pc:docMk/>
            <pc:sldMk cId="4183350934" sldId="2147478561"/>
            <ac:spMk id="250" creationId="{F363A8E0-30ED-FE06-4833-A3719CB88D64}"/>
          </ac:spMkLst>
        </pc:spChg>
        <pc:spChg chg="add del mod">
          <ac:chgData name="Steiner Andreas 6206 ED" userId="e6377c33-a923-4f14-8587-531c474c7b48" providerId="ADAL" clId="{6ECD27E6-B224-41CD-B4E0-E297462320DD}" dt="2023-11-24T08:39:48.187" v="37663"/>
          <ac:spMkLst>
            <pc:docMk/>
            <pc:sldMk cId="4183350934" sldId="2147478561"/>
            <ac:spMk id="251" creationId="{48C95F1B-C78E-C219-43FF-9737A1D55C86}"/>
          </ac:spMkLst>
        </pc:spChg>
        <pc:spChg chg="add del mod">
          <ac:chgData name="Steiner Andreas 6206 ED" userId="e6377c33-a923-4f14-8587-531c474c7b48" providerId="ADAL" clId="{6ECD27E6-B224-41CD-B4E0-E297462320DD}" dt="2023-11-24T08:39:50.892" v="37818"/>
          <ac:spMkLst>
            <pc:docMk/>
            <pc:sldMk cId="4183350934" sldId="2147478561"/>
            <ac:spMk id="252" creationId="{46E80122-538C-0693-3978-F103ED234608}"/>
          </ac:spMkLst>
        </pc:spChg>
        <pc:spChg chg="add del mod">
          <ac:chgData name="Steiner Andreas 6206 ED" userId="e6377c33-a923-4f14-8587-531c474c7b48" providerId="ADAL" clId="{6ECD27E6-B224-41CD-B4E0-E297462320DD}" dt="2023-11-24T08:39:53.542" v="37973"/>
          <ac:spMkLst>
            <pc:docMk/>
            <pc:sldMk cId="4183350934" sldId="2147478561"/>
            <ac:spMk id="253" creationId="{F7079727-FA8B-0E8E-A484-90CDFAD91676}"/>
          </ac:spMkLst>
        </pc:spChg>
        <pc:spChg chg="add del mod">
          <ac:chgData name="Steiner Andreas 6206 ED" userId="e6377c33-a923-4f14-8587-531c474c7b48" providerId="ADAL" clId="{6ECD27E6-B224-41CD-B4E0-E297462320DD}" dt="2023-11-24T08:39:56.484" v="38128"/>
          <ac:spMkLst>
            <pc:docMk/>
            <pc:sldMk cId="4183350934" sldId="2147478561"/>
            <ac:spMk id="254" creationId="{D247A4C4-5FE7-3113-F3A4-728A9389B725}"/>
          </ac:spMkLst>
        </pc:spChg>
        <pc:spChg chg="add del mod">
          <ac:chgData name="Steiner Andreas 6206 ED" userId="e6377c33-a923-4f14-8587-531c474c7b48" providerId="ADAL" clId="{6ECD27E6-B224-41CD-B4E0-E297462320DD}" dt="2023-11-24T08:39:59.796" v="38283"/>
          <ac:spMkLst>
            <pc:docMk/>
            <pc:sldMk cId="4183350934" sldId="2147478561"/>
            <ac:spMk id="255" creationId="{D5191A68-8DFD-0FF0-94A6-61D24F5E0816}"/>
          </ac:spMkLst>
        </pc:spChg>
        <pc:spChg chg="add del mod">
          <ac:chgData name="Steiner Andreas 6206 ED" userId="e6377c33-a923-4f14-8587-531c474c7b48" providerId="ADAL" clId="{6ECD27E6-B224-41CD-B4E0-E297462320DD}" dt="2023-11-24T08:40:02.924" v="38438"/>
          <ac:spMkLst>
            <pc:docMk/>
            <pc:sldMk cId="4183350934" sldId="2147478561"/>
            <ac:spMk id="256" creationId="{C4FB9CEF-97F5-7F68-FC65-B62823C4359E}"/>
          </ac:spMkLst>
        </pc:spChg>
        <pc:spChg chg="add del mod">
          <ac:chgData name="Steiner Andreas 6206 ED" userId="e6377c33-a923-4f14-8587-531c474c7b48" providerId="ADAL" clId="{6ECD27E6-B224-41CD-B4E0-E297462320DD}" dt="2023-11-24T08:40:05.664" v="38593"/>
          <ac:spMkLst>
            <pc:docMk/>
            <pc:sldMk cId="4183350934" sldId="2147478561"/>
            <ac:spMk id="257" creationId="{6179A8BB-E9AE-0D29-821D-20DE1E7CA05A}"/>
          </ac:spMkLst>
        </pc:spChg>
        <pc:spChg chg="add del mod">
          <ac:chgData name="Steiner Andreas 6206 ED" userId="e6377c33-a923-4f14-8587-531c474c7b48" providerId="ADAL" clId="{6ECD27E6-B224-41CD-B4E0-E297462320DD}" dt="2023-11-24T08:40:08.229" v="38748"/>
          <ac:spMkLst>
            <pc:docMk/>
            <pc:sldMk cId="4183350934" sldId="2147478561"/>
            <ac:spMk id="258" creationId="{959BB196-2331-460C-2973-1C537C6E6F22}"/>
          </ac:spMkLst>
        </pc:spChg>
        <pc:spChg chg="add del mod">
          <ac:chgData name="Steiner Andreas 6206 ED" userId="e6377c33-a923-4f14-8587-531c474c7b48" providerId="ADAL" clId="{6ECD27E6-B224-41CD-B4E0-E297462320DD}" dt="2023-11-24T08:40:10.976" v="38903"/>
          <ac:spMkLst>
            <pc:docMk/>
            <pc:sldMk cId="4183350934" sldId="2147478561"/>
            <ac:spMk id="259" creationId="{D1A8828D-0A40-73FB-DEFB-D3CCDF87B257}"/>
          </ac:spMkLst>
        </pc:spChg>
        <pc:spChg chg="add del mod">
          <ac:chgData name="Steiner Andreas 6206 ED" userId="e6377c33-a923-4f14-8587-531c474c7b48" providerId="ADAL" clId="{6ECD27E6-B224-41CD-B4E0-E297462320DD}" dt="2023-11-24T08:40:14.152" v="39058"/>
          <ac:spMkLst>
            <pc:docMk/>
            <pc:sldMk cId="4183350934" sldId="2147478561"/>
            <ac:spMk id="260" creationId="{59C4ED12-2945-9D85-5BD0-4C68137A7638}"/>
          </ac:spMkLst>
        </pc:spChg>
        <pc:spChg chg="add del mod">
          <ac:chgData name="Steiner Andreas 6206 ED" userId="e6377c33-a923-4f14-8587-531c474c7b48" providerId="ADAL" clId="{6ECD27E6-B224-41CD-B4E0-E297462320DD}" dt="2023-11-24T08:40:16.811" v="39213"/>
          <ac:spMkLst>
            <pc:docMk/>
            <pc:sldMk cId="4183350934" sldId="2147478561"/>
            <ac:spMk id="261" creationId="{FE8CD260-BE4A-AFB6-E465-07F2BE7AD7F5}"/>
          </ac:spMkLst>
        </pc:spChg>
        <pc:spChg chg="add del mod">
          <ac:chgData name="Steiner Andreas 6206 ED" userId="e6377c33-a923-4f14-8587-531c474c7b48" providerId="ADAL" clId="{6ECD27E6-B224-41CD-B4E0-E297462320DD}" dt="2023-11-24T08:40:19.302" v="39368"/>
          <ac:spMkLst>
            <pc:docMk/>
            <pc:sldMk cId="4183350934" sldId="2147478561"/>
            <ac:spMk id="262" creationId="{C0C0B10A-B899-3540-37A5-59F53A098177}"/>
          </ac:spMkLst>
        </pc:spChg>
        <pc:spChg chg="add del mod">
          <ac:chgData name="Steiner Andreas 6206 ED" userId="e6377c33-a923-4f14-8587-531c474c7b48" providerId="ADAL" clId="{6ECD27E6-B224-41CD-B4E0-E297462320DD}" dt="2023-11-24T08:40:21.733" v="39523"/>
          <ac:spMkLst>
            <pc:docMk/>
            <pc:sldMk cId="4183350934" sldId="2147478561"/>
            <ac:spMk id="263" creationId="{39AC5ECB-AB74-8F05-2F17-17E21F18D1FC}"/>
          </ac:spMkLst>
        </pc:spChg>
        <pc:spChg chg="add del mod">
          <ac:chgData name="Steiner Andreas 6206 ED" userId="e6377c33-a923-4f14-8587-531c474c7b48" providerId="ADAL" clId="{6ECD27E6-B224-41CD-B4E0-E297462320DD}" dt="2023-11-24T08:40:24.528" v="39678"/>
          <ac:spMkLst>
            <pc:docMk/>
            <pc:sldMk cId="4183350934" sldId="2147478561"/>
            <ac:spMk id="264" creationId="{9F0462A9-C89C-39ED-9B6B-6629C570ED2E}"/>
          </ac:spMkLst>
        </pc:spChg>
        <pc:spChg chg="add del mod">
          <ac:chgData name="Steiner Andreas 6206 ED" userId="e6377c33-a923-4f14-8587-531c474c7b48" providerId="ADAL" clId="{6ECD27E6-B224-41CD-B4E0-E297462320DD}" dt="2023-11-24T08:40:27.462" v="39833"/>
          <ac:spMkLst>
            <pc:docMk/>
            <pc:sldMk cId="4183350934" sldId="2147478561"/>
            <ac:spMk id="265" creationId="{D1D83ABB-D072-665B-D2D4-BD556858ED60}"/>
          </ac:spMkLst>
        </pc:spChg>
        <pc:spChg chg="add del mod">
          <ac:chgData name="Steiner Andreas 6206 ED" userId="e6377c33-a923-4f14-8587-531c474c7b48" providerId="ADAL" clId="{6ECD27E6-B224-41CD-B4E0-E297462320DD}" dt="2023-11-24T08:40:29.988" v="39988"/>
          <ac:spMkLst>
            <pc:docMk/>
            <pc:sldMk cId="4183350934" sldId="2147478561"/>
            <ac:spMk id="266" creationId="{CBFBD65B-A28A-AAEA-2223-1BC26876E5E5}"/>
          </ac:spMkLst>
        </pc:spChg>
        <pc:spChg chg="add del mod">
          <ac:chgData name="Steiner Andreas 6206 ED" userId="e6377c33-a923-4f14-8587-531c474c7b48" providerId="ADAL" clId="{6ECD27E6-B224-41CD-B4E0-E297462320DD}" dt="2023-11-24T08:40:32.652" v="40143"/>
          <ac:spMkLst>
            <pc:docMk/>
            <pc:sldMk cId="4183350934" sldId="2147478561"/>
            <ac:spMk id="267" creationId="{B131FA65-A756-2819-E53E-E7494A1014A9}"/>
          </ac:spMkLst>
        </pc:spChg>
        <pc:spChg chg="add del mod">
          <ac:chgData name="Steiner Andreas 6206 ED" userId="e6377c33-a923-4f14-8587-531c474c7b48" providerId="ADAL" clId="{6ECD27E6-B224-41CD-B4E0-E297462320DD}" dt="2023-11-24T08:40:35.129" v="40298"/>
          <ac:spMkLst>
            <pc:docMk/>
            <pc:sldMk cId="4183350934" sldId="2147478561"/>
            <ac:spMk id="268" creationId="{EB89CC78-A9DB-3A9C-253D-608BF1CD1E4D}"/>
          </ac:spMkLst>
        </pc:spChg>
        <pc:spChg chg="add del mod">
          <ac:chgData name="Steiner Andreas 6206 ED" userId="e6377c33-a923-4f14-8587-531c474c7b48" providerId="ADAL" clId="{6ECD27E6-B224-41CD-B4E0-E297462320DD}" dt="2023-11-24T08:40:38.551" v="40453"/>
          <ac:spMkLst>
            <pc:docMk/>
            <pc:sldMk cId="4183350934" sldId="2147478561"/>
            <ac:spMk id="269" creationId="{37656C30-102C-B27F-F1DB-EC172C5E82E5}"/>
          </ac:spMkLst>
        </pc:spChg>
        <pc:spChg chg="add del mod">
          <ac:chgData name="Steiner Andreas 6206 ED" userId="e6377c33-a923-4f14-8587-531c474c7b48" providerId="ADAL" clId="{6ECD27E6-B224-41CD-B4E0-E297462320DD}" dt="2023-11-24T08:40:41.306" v="40608"/>
          <ac:spMkLst>
            <pc:docMk/>
            <pc:sldMk cId="4183350934" sldId="2147478561"/>
            <ac:spMk id="270" creationId="{2F72B271-56F3-90FD-A3E6-68349069EE8C}"/>
          </ac:spMkLst>
        </pc:spChg>
        <pc:spChg chg="add del mod">
          <ac:chgData name="Steiner Andreas 6206 ED" userId="e6377c33-a923-4f14-8587-531c474c7b48" providerId="ADAL" clId="{6ECD27E6-B224-41CD-B4E0-E297462320DD}" dt="2023-11-24T08:40:44.031" v="40763"/>
          <ac:spMkLst>
            <pc:docMk/>
            <pc:sldMk cId="4183350934" sldId="2147478561"/>
            <ac:spMk id="271" creationId="{782AC2B3-83D8-1A6A-CE22-42D0D50AC08B}"/>
          </ac:spMkLst>
        </pc:spChg>
        <pc:spChg chg="add del mod">
          <ac:chgData name="Steiner Andreas 6206 ED" userId="e6377c33-a923-4f14-8587-531c474c7b48" providerId="ADAL" clId="{6ECD27E6-B224-41CD-B4E0-E297462320DD}" dt="2023-11-24T08:40:46.493" v="40918"/>
          <ac:spMkLst>
            <pc:docMk/>
            <pc:sldMk cId="4183350934" sldId="2147478561"/>
            <ac:spMk id="272" creationId="{12A4BF3D-4374-A99C-0FAF-A7EC8BF49825}"/>
          </ac:spMkLst>
        </pc:spChg>
        <pc:spChg chg="add del mod">
          <ac:chgData name="Steiner Andreas 6206 ED" userId="e6377c33-a923-4f14-8587-531c474c7b48" providerId="ADAL" clId="{6ECD27E6-B224-41CD-B4E0-E297462320DD}" dt="2023-11-24T08:40:49.410" v="41073"/>
          <ac:spMkLst>
            <pc:docMk/>
            <pc:sldMk cId="4183350934" sldId="2147478561"/>
            <ac:spMk id="273" creationId="{5878BB74-9426-BFE6-6D0B-37EB6A5B8F7A}"/>
          </ac:spMkLst>
        </pc:spChg>
        <pc:spChg chg="add del mod">
          <ac:chgData name="Steiner Andreas 6206 ED" userId="e6377c33-a923-4f14-8587-531c474c7b48" providerId="ADAL" clId="{6ECD27E6-B224-41CD-B4E0-E297462320DD}" dt="2023-11-24T08:40:52.141" v="41228"/>
          <ac:spMkLst>
            <pc:docMk/>
            <pc:sldMk cId="4183350934" sldId="2147478561"/>
            <ac:spMk id="274" creationId="{73D778BA-FFAD-79E6-8247-6E03EBF1DA04}"/>
          </ac:spMkLst>
        </pc:spChg>
        <pc:spChg chg="add del mod">
          <ac:chgData name="Steiner Andreas 6206 ED" userId="e6377c33-a923-4f14-8587-531c474c7b48" providerId="ADAL" clId="{6ECD27E6-B224-41CD-B4E0-E297462320DD}" dt="2023-11-24T08:40:54.650" v="41383"/>
          <ac:spMkLst>
            <pc:docMk/>
            <pc:sldMk cId="4183350934" sldId="2147478561"/>
            <ac:spMk id="275" creationId="{82A699BA-B73B-C983-EB48-CAC6C014C35A}"/>
          </ac:spMkLst>
        </pc:spChg>
        <pc:spChg chg="add del mod">
          <ac:chgData name="Steiner Andreas 6206 ED" userId="e6377c33-a923-4f14-8587-531c474c7b48" providerId="ADAL" clId="{6ECD27E6-B224-41CD-B4E0-E297462320DD}" dt="2023-11-24T08:40:57.121" v="41538"/>
          <ac:spMkLst>
            <pc:docMk/>
            <pc:sldMk cId="4183350934" sldId="2147478561"/>
            <ac:spMk id="276" creationId="{AAE78C27-4638-152E-D14E-9BCD44A9A0C8}"/>
          </ac:spMkLst>
        </pc:spChg>
        <pc:spChg chg="add del mod">
          <ac:chgData name="Steiner Andreas 6206 ED" userId="e6377c33-a923-4f14-8587-531c474c7b48" providerId="ADAL" clId="{6ECD27E6-B224-41CD-B4E0-E297462320DD}" dt="2023-11-24T08:40:59.837" v="41693"/>
          <ac:spMkLst>
            <pc:docMk/>
            <pc:sldMk cId="4183350934" sldId="2147478561"/>
            <ac:spMk id="277" creationId="{B0D135E2-B45F-882E-B31B-8A41B17E55C9}"/>
          </ac:spMkLst>
        </pc:spChg>
        <pc:spChg chg="add del mod">
          <ac:chgData name="Steiner Andreas 6206 ED" userId="e6377c33-a923-4f14-8587-531c474c7b48" providerId="ADAL" clId="{6ECD27E6-B224-41CD-B4E0-E297462320DD}" dt="2023-11-24T08:41:02.848" v="41848"/>
          <ac:spMkLst>
            <pc:docMk/>
            <pc:sldMk cId="4183350934" sldId="2147478561"/>
            <ac:spMk id="278" creationId="{5C0B3177-E657-B198-13EA-A0650BC9D48B}"/>
          </ac:spMkLst>
        </pc:spChg>
        <pc:spChg chg="add del mod">
          <ac:chgData name="Steiner Andreas 6206 ED" userId="e6377c33-a923-4f14-8587-531c474c7b48" providerId="ADAL" clId="{6ECD27E6-B224-41CD-B4E0-E297462320DD}" dt="2023-11-24T08:41:05.604" v="42003"/>
          <ac:spMkLst>
            <pc:docMk/>
            <pc:sldMk cId="4183350934" sldId="2147478561"/>
            <ac:spMk id="279" creationId="{7BB244F0-0369-6DC7-AE81-6CD993D5D944}"/>
          </ac:spMkLst>
        </pc:spChg>
        <pc:spChg chg="add del mod">
          <ac:chgData name="Steiner Andreas 6206 ED" userId="e6377c33-a923-4f14-8587-531c474c7b48" providerId="ADAL" clId="{6ECD27E6-B224-41CD-B4E0-E297462320DD}" dt="2023-11-24T08:41:09.157" v="42158"/>
          <ac:spMkLst>
            <pc:docMk/>
            <pc:sldMk cId="4183350934" sldId="2147478561"/>
            <ac:spMk id="280" creationId="{7458241C-FBB8-D959-2BA0-DAA1319AB264}"/>
          </ac:spMkLst>
        </pc:spChg>
        <pc:spChg chg="add del mod">
          <ac:chgData name="Steiner Andreas 6206 ED" userId="e6377c33-a923-4f14-8587-531c474c7b48" providerId="ADAL" clId="{6ECD27E6-B224-41CD-B4E0-E297462320DD}" dt="2023-11-24T08:41:12.765" v="42313"/>
          <ac:spMkLst>
            <pc:docMk/>
            <pc:sldMk cId="4183350934" sldId="2147478561"/>
            <ac:spMk id="281" creationId="{658E07DD-A578-7AAA-D23A-A3F40ACA9546}"/>
          </ac:spMkLst>
        </pc:spChg>
        <pc:spChg chg="add del mod">
          <ac:chgData name="Steiner Andreas 6206 ED" userId="e6377c33-a923-4f14-8587-531c474c7b48" providerId="ADAL" clId="{6ECD27E6-B224-41CD-B4E0-E297462320DD}" dt="2023-11-24T08:41:15.506" v="42468"/>
          <ac:spMkLst>
            <pc:docMk/>
            <pc:sldMk cId="4183350934" sldId="2147478561"/>
            <ac:spMk id="282" creationId="{4DB60F25-D566-6830-F2F5-A1402977E143}"/>
          </ac:spMkLst>
        </pc:spChg>
        <pc:spChg chg="add del mod">
          <ac:chgData name="Steiner Andreas 6206 ED" userId="e6377c33-a923-4f14-8587-531c474c7b48" providerId="ADAL" clId="{6ECD27E6-B224-41CD-B4E0-E297462320DD}" dt="2023-11-24T08:41:17.689" v="42623"/>
          <ac:spMkLst>
            <pc:docMk/>
            <pc:sldMk cId="4183350934" sldId="2147478561"/>
            <ac:spMk id="283" creationId="{F93FB1A6-4F06-13A9-8B95-89E1D33F8920}"/>
          </ac:spMkLst>
        </pc:spChg>
        <pc:spChg chg="add del mod">
          <ac:chgData name="Steiner Andreas 6206 ED" userId="e6377c33-a923-4f14-8587-531c474c7b48" providerId="ADAL" clId="{6ECD27E6-B224-41CD-B4E0-E297462320DD}" dt="2023-11-24T08:41:20.020" v="42778"/>
          <ac:spMkLst>
            <pc:docMk/>
            <pc:sldMk cId="4183350934" sldId="2147478561"/>
            <ac:spMk id="284" creationId="{78603AD3-2C9F-3FE5-5016-30CA5AA0FBD5}"/>
          </ac:spMkLst>
        </pc:spChg>
        <pc:spChg chg="add del mod">
          <ac:chgData name="Steiner Andreas 6206 ED" userId="e6377c33-a923-4f14-8587-531c474c7b48" providerId="ADAL" clId="{6ECD27E6-B224-41CD-B4E0-E297462320DD}" dt="2023-11-24T08:41:22.361" v="42933"/>
          <ac:spMkLst>
            <pc:docMk/>
            <pc:sldMk cId="4183350934" sldId="2147478561"/>
            <ac:spMk id="285" creationId="{44EAC68D-8B18-D985-E7DB-55B52AB0058D}"/>
          </ac:spMkLst>
        </pc:spChg>
        <pc:spChg chg="add del mod">
          <ac:chgData name="Steiner Andreas 6206 ED" userId="e6377c33-a923-4f14-8587-531c474c7b48" providerId="ADAL" clId="{6ECD27E6-B224-41CD-B4E0-E297462320DD}" dt="2023-11-24T08:41:24.477" v="43088"/>
          <ac:spMkLst>
            <pc:docMk/>
            <pc:sldMk cId="4183350934" sldId="2147478561"/>
            <ac:spMk id="286" creationId="{19B8FB7F-393A-0F74-0B0E-C7A476B2A34B}"/>
          </ac:spMkLst>
        </pc:spChg>
        <pc:spChg chg="add del mod">
          <ac:chgData name="Steiner Andreas 6206 ED" userId="e6377c33-a923-4f14-8587-531c474c7b48" providerId="ADAL" clId="{6ECD27E6-B224-41CD-B4E0-E297462320DD}" dt="2023-11-24T08:41:27.042" v="43243"/>
          <ac:spMkLst>
            <pc:docMk/>
            <pc:sldMk cId="4183350934" sldId="2147478561"/>
            <ac:spMk id="287" creationId="{27920170-8D37-BE1F-24B1-FA96FA35B8D3}"/>
          </ac:spMkLst>
        </pc:spChg>
        <pc:spChg chg="add del mod">
          <ac:chgData name="Steiner Andreas 6206 ED" userId="e6377c33-a923-4f14-8587-531c474c7b48" providerId="ADAL" clId="{6ECD27E6-B224-41CD-B4E0-E297462320DD}" dt="2023-11-24T08:41:29.111" v="43398"/>
          <ac:spMkLst>
            <pc:docMk/>
            <pc:sldMk cId="4183350934" sldId="2147478561"/>
            <ac:spMk id="288" creationId="{803229F2-A0E4-0421-3D2B-C44B2F162F40}"/>
          </ac:spMkLst>
        </pc:spChg>
        <pc:spChg chg="add del mod">
          <ac:chgData name="Steiner Andreas 6206 ED" userId="e6377c33-a923-4f14-8587-531c474c7b48" providerId="ADAL" clId="{6ECD27E6-B224-41CD-B4E0-E297462320DD}" dt="2023-11-24T08:41:31.479" v="43553"/>
          <ac:spMkLst>
            <pc:docMk/>
            <pc:sldMk cId="4183350934" sldId="2147478561"/>
            <ac:spMk id="289" creationId="{AE1B1992-EE55-E129-2FC9-5ED30053B87F}"/>
          </ac:spMkLst>
        </pc:spChg>
        <pc:spChg chg="add del mod">
          <ac:chgData name="Steiner Andreas 6206 ED" userId="e6377c33-a923-4f14-8587-531c474c7b48" providerId="ADAL" clId="{6ECD27E6-B224-41CD-B4E0-E297462320DD}" dt="2023-11-24T08:41:35.785" v="43708"/>
          <ac:spMkLst>
            <pc:docMk/>
            <pc:sldMk cId="4183350934" sldId="2147478561"/>
            <ac:spMk id="290" creationId="{277BD04B-9FC0-5355-E41E-CCF639D5A823}"/>
          </ac:spMkLst>
        </pc:spChg>
        <pc:spChg chg="add del mod">
          <ac:chgData name="Steiner Andreas 6206 ED" userId="e6377c33-a923-4f14-8587-531c474c7b48" providerId="ADAL" clId="{6ECD27E6-B224-41CD-B4E0-E297462320DD}" dt="2023-11-24T08:41:38.811" v="43863"/>
          <ac:spMkLst>
            <pc:docMk/>
            <pc:sldMk cId="4183350934" sldId="2147478561"/>
            <ac:spMk id="291" creationId="{D5BCA69B-061C-C7E8-64E7-1BDBEBD18B60}"/>
          </ac:spMkLst>
        </pc:spChg>
        <pc:spChg chg="add del mod">
          <ac:chgData name="Steiner Andreas 6206 ED" userId="e6377c33-a923-4f14-8587-531c474c7b48" providerId="ADAL" clId="{6ECD27E6-B224-41CD-B4E0-E297462320DD}" dt="2023-11-24T08:41:40.977" v="44018"/>
          <ac:spMkLst>
            <pc:docMk/>
            <pc:sldMk cId="4183350934" sldId="2147478561"/>
            <ac:spMk id="292" creationId="{952CC93A-811C-7EC5-CBEA-9C5F0412AD90}"/>
          </ac:spMkLst>
        </pc:spChg>
        <pc:spChg chg="add del mod">
          <ac:chgData name="Steiner Andreas 6206 ED" userId="e6377c33-a923-4f14-8587-531c474c7b48" providerId="ADAL" clId="{6ECD27E6-B224-41CD-B4E0-E297462320DD}" dt="2023-11-24T08:41:43.366" v="44173"/>
          <ac:spMkLst>
            <pc:docMk/>
            <pc:sldMk cId="4183350934" sldId="2147478561"/>
            <ac:spMk id="293" creationId="{8F9965F1-B9F7-1F27-CB12-68460E801D4B}"/>
          </ac:spMkLst>
        </pc:spChg>
        <pc:spChg chg="add del mod">
          <ac:chgData name="Steiner Andreas 6206 ED" userId="e6377c33-a923-4f14-8587-531c474c7b48" providerId="ADAL" clId="{6ECD27E6-B224-41CD-B4E0-E297462320DD}" dt="2023-11-24T08:41:45.267" v="44328"/>
          <ac:spMkLst>
            <pc:docMk/>
            <pc:sldMk cId="4183350934" sldId="2147478561"/>
            <ac:spMk id="294" creationId="{402C0C35-84A0-A4E8-82D9-1A84D7C29E52}"/>
          </ac:spMkLst>
        </pc:spChg>
        <pc:spChg chg="add del mod">
          <ac:chgData name="Steiner Andreas 6206 ED" userId="e6377c33-a923-4f14-8587-531c474c7b48" providerId="ADAL" clId="{6ECD27E6-B224-41CD-B4E0-E297462320DD}" dt="2023-11-24T08:41:47.203" v="44483"/>
          <ac:spMkLst>
            <pc:docMk/>
            <pc:sldMk cId="4183350934" sldId="2147478561"/>
            <ac:spMk id="295" creationId="{883903DA-0110-51D5-579D-2ECD9160A7EC}"/>
          </ac:spMkLst>
        </pc:spChg>
        <pc:spChg chg="add del mod">
          <ac:chgData name="Steiner Andreas 6206 ED" userId="e6377c33-a923-4f14-8587-531c474c7b48" providerId="ADAL" clId="{6ECD27E6-B224-41CD-B4E0-E297462320DD}" dt="2023-11-24T08:41:49.219" v="44638"/>
          <ac:spMkLst>
            <pc:docMk/>
            <pc:sldMk cId="4183350934" sldId="2147478561"/>
            <ac:spMk id="296" creationId="{60B37F31-7467-0B28-28E5-98EDE3B924F7}"/>
          </ac:spMkLst>
        </pc:spChg>
        <pc:spChg chg="add del mod">
          <ac:chgData name="Steiner Andreas 6206 ED" userId="e6377c33-a923-4f14-8587-531c474c7b48" providerId="ADAL" clId="{6ECD27E6-B224-41CD-B4E0-E297462320DD}" dt="2023-11-24T08:41:51.078" v="44793"/>
          <ac:spMkLst>
            <pc:docMk/>
            <pc:sldMk cId="4183350934" sldId="2147478561"/>
            <ac:spMk id="297" creationId="{29695C60-1DF3-7E1B-9ECA-B4165B44E9E1}"/>
          </ac:spMkLst>
        </pc:spChg>
        <pc:spChg chg="add del mod">
          <ac:chgData name="Steiner Andreas 6206 ED" userId="e6377c33-a923-4f14-8587-531c474c7b48" providerId="ADAL" clId="{6ECD27E6-B224-41CD-B4E0-E297462320DD}" dt="2023-11-24T08:41:53.428" v="44948"/>
          <ac:spMkLst>
            <pc:docMk/>
            <pc:sldMk cId="4183350934" sldId="2147478561"/>
            <ac:spMk id="298" creationId="{EB9B43B9-6E7A-C716-BAEB-B95795DFCE43}"/>
          </ac:spMkLst>
        </pc:spChg>
        <pc:spChg chg="add del mod">
          <ac:chgData name="Steiner Andreas 6206 ED" userId="e6377c33-a923-4f14-8587-531c474c7b48" providerId="ADAL" clId="{6ECD27E6-B224-41CD-B4E0-E297462320DD}" dt="2023-11-24T08:41:55.393" v="45103"/>
          <ac:spMkLst>
            <pc:docMk/>
            <pc:sldMk cId="4183350934" sldId="2147478561"/>
            <ac:spMk id="299" creationId="{A5EC76C8-AE59-74F8-28F8-60CA7A176C47}"/>
          </ac:spMkLst>
        </pc:spChg>
        <pc:spChg chg="add del mod">
          <ac:chgData name="Steiner Andreas 6206 ED" userId="e6377c33-a923-4f14-8587-531c474c7b48" providerId="ADAL" clId="{6ECD27E6-B224-41CD-B4E0-E297462320DD}" dt="2023-11-24T08:41:57.647" v="45258"/>
          <ac:spMkLst>
            <pc:docMk/>
            <pc:sldMk cId="4183350934" sldId="2147478561"/>
            <ac:spMk id="300" creationId="{5B96EA0C-2407-6051-6F2E-54849F175B09}"/>
          </ac:spMkLst>
        </pc:spChg>
        <pc:spChg chg="add del mod">
          <ac:chgData name="Steiner Andreas 6206 ED" userId="e6377c33-a923-4f14-8587-531c474c7b48" providerId="ADAL" clId="{6ECD27E6-B224-41CD-B4E0-E297462320DD}" dt="2023-11-24T08:41:59.873" v="45413"/>
          <ac:spMkLst>
            <pc:docMk/>
            <pc:sldMk cId="4183350934" sldId="2147478561"/>
            <ac:spMk id="301" creationId="{807EC874-A57C-92D0-4303-D8D88AD24D97}"/>
          </ac:spMkLst>
        </pc:spChg>
        <pc:spChg chg="add del mod">
          <ac:chgData name="Steiner Andreas 6206 ED" userId="e6377c33-a923-4f14-8587-531c474c7b48" providerId="ADAL" clId="{6ECD27E6-B224-41CD-B4E0-E297462320DD}" dt="2023-11-24T08:42:02.015" v="45568"/>
          <ac:spMkLst>
            <pc:docMk/>
            <pc:sldMk cId="4183350934" sldId="2147478561"/>
            <ac:spMk id="302" creationId="{21354F3B-1276-BF44-78FB-128036921FBE}"/>
          </ac:spMkLst>
        </pc:spChg>
        <pc:spChg chg="add del mod">
          <ac:chgData name="Steiner Andreas 6206 ED" userId="e6377c33-a923-4f14-8587-531c474c7b48" providerId="ADAL" clId="{6ECD27E6-B224-41CD-B4E0-E297462320DD}" dt="2023-11-24T08:42:04.040" v="45723"/>
          <ac:spMkLst>
            <pc:docMk/>
            <pc:sldMk cId="4183350934" sldId="2147478561"/>
            <ac:spMk id="303" creationId="{F9FFAC65-E804-1D81-3FDD-4292F981423E}"/>
          </ac:spMkLst>
        </pc:spChg>
        <pc:spChg chg="add del mod">
          <ac:chgData name="Steiner Andreas 6206 ED" userId="e6377c33-a923-4f14-8587-531c474c7b48" providerId="ADAL" clId="{6ECD27E6-B224-41CD-B4E0-E297462320DD}" dt="2023-11-24T08:42:05.983" v="45878"/>
          <ac:spMkLst>
            <pc:docMk/>
            <pc:sldMk cId="4183350934" sldId="2147478561"/>
            <ac:spMk id="304" creationId="{B64CF941-3A54-C0C2-E572-E5680AB45781}"/>
          </ac:spMkLst>
        </pc:spChg>
        <pc:spChg chg="add del mod">
          <ac:chgData name="Steiner Andreas 6206 ED" userId="e6377c33-a923-4f14-8587-531c474c7b48" providerId="ADAL" clId="{6ECD27E6-B224-41CD-B4E0-E297462320DD}" dt="2023-11-24T08:42:07.860" v="46033"/>
          <ac:spMkLst>
            <pc:docMk/>
            <pc:sldMk cId="4183350934" sldId="2147478561"/>
            <ac:spMk id="305" creationId="{772450D5-7E83-2B7D-E122-EF292014803E}"/>
          </ac:spMkLst>
        </pc:spChg>
        <pc:spChg chg="add del mod">
          <ac:chgData name="Steiner Andreas 6206 ED" userId="e6377c33-a923-4f14-8587-531c474c7b48" providerId="ADAL" clId="{6ECD27E6-B224-41CD-B4E0-E297462320DD}" dt="2023-11-24T08:42:09.772" v="46188"/>
          <ac:spMkLst>
            <pc:docMk/>
            <pc:sldMk cId="4183350934" sldId="2147478561"/>
            <ac:spMk id="306" creationId="{FA7F118A-B6C6-C403-7CF8-5D62C1786383}"/>
          </ac:spMkLst>
        </pc:spChg>
        <pc:spChg chg="add del mod">
          <ac:chgData name="Steiner Andreas 6206 ED" userId="e6377c33-a923-4f14-8587-531c474c7b48" providerId="ADAL" clId="{6ECD27E6-B224-41CD-B4E0-E297462320DD}" dt="2023-11-24T08:42:12.147" v="46343"/>
          <ac:spMkLst>
            <pc:docMk/>
            <pc:sldMk cId="4183350934" sldId="2147478561"/>
            <ac:spMk id="307" creationId="{59A97611-E7A3-32BC-91E5-18F2A7261FEB}"/>
          </ac:spMkLst>
        </pc:spChg>
        <pc:spChg chg="add del mod">
          <ac:chgData name="Steiner Andreas 6206 ED" userId="e6377c33-a923-4f14-8587-531c474c7b48" providerId="ADAL" clId="{6ECD27E6-B224-41CD-B4E0-E297462320DD}" dt="2023-11-24T08:42:14.721" v="46498"/>
          <ac:spMkLst>
            <pc:docMk/>
            <pc:sldMk cId="4183350934" sldId="2147478561"/>
            <ac:spMk id="308" creationId="{4AB4D25B-D309-C772-C8DE-11F49E035377}"/>
          </ac:spMkLst>
        </pc:spChg>
        <pc:spChg chg="add del mod">
          <ac:chgData name="Steiner Andreas 6206 ED" userId="e6377c33-a923-4f14-8587-531c474c7b48" providerId="ADAL" clId="{6ECD27E6-B224-41CD-B4E0-E297462320DD}" dt="2023-11-24T08:42:17.036" v="46653"/>
          <ac:spMkLst>
            <pc:docMk/>
            <pc:sldMk cId="4183350934" sldId="2147478561"/>
            <ac:spMk id="309" creationId="{85673D33-27F9-C89B-055D-A39CF346A119}"/>
          </ac:spMkLst>
        </pc:spChg>
        <pc:spChg chg="add del mod">
          <ac:chgData name="Steiner Andreas 6206 ED" userId="e6377c33-a923-4f14-8587-531c474c7b48" providerId="ADAL" clId="{6ECD27E6-B224-41CD-B4E0-E297462320DD}" dt="2023-11-24T08:42:19.200" v="46808"/>
          <ac:spMkLst>
            <pc:docMk/>
            <pc:sldMk cId="4183350934" sldId="2147478561"/>
            <ac:spMk id="310" creationId="{B3379800-5E90-D82F-4AFC-2E069486A76D}"/>
          </ac:spMkLst>
        </pc:spChg>
        <pc:spChg chg="add del mod">
          <ac:chgData name="Steiner Andreas 6206 ED" userId="e6377c33-a923-4f14-8587-531c474c7b48" providerId="ADAL" clId="{6ECD27E6-B224-41CD-B4E0-E297462320DD}" dt="2023-11-24T08:42:21.548" v="46963"/>
          <ac:spMkLst>
            <pc:docMk/>
            <pc:sldMk cId="4183350934" sldId="2147478561"/>
            <ac:spMk id="311" creationId="{82517F3D-22C0-3B8C-E91D-3C727646F1A2}"/>
          </ac:spMkLst>
        </pc:spChg>
        <pc:spChg chg="add del mod">
          <ac:chgData name="Steiner Andreas 6206 ED" userId="e6377c33-a923-4f14-8587-531c474c7b48" providerId="ADAL" clId="{6ECD27E6-B224-41CD-B4E0-E297462320DD}" dt="2023-11-24T08:42:24.131" v="47118"/>
          <ac:spMkLst>
            <pc:docMk/>
            <pc:sldMk cId="4183350934" sldId="2147478561"/>
            <ac:spMk id="312" creationId="{C155D571-9389-E531-8AA1-8958549CF3E4}"/>
          </ac:spMkLst>
        </pc:spChg>
        <pc:spChg chg="add del mod">
          <ac:chgData name="Steiner Andreas 6206 ED" userId="e6377c33-a923-4f14-8587-531c474c7b48" providerId="ADAL" clId="{6ECD27E6-B224-41CD-B4E0-E297462320DD}" dt="2023-11-24T08:42:26.089" v="47273"/>
          <ac:spMkLst>
            <pc:docMk/>
            <pc:sldMk cId="4183350934" sldId="2147478561"/>
            <ac:spMk id="313" creationId="{CE534F1D-AABE-2D31-1BFD-F00E6E3EBF5A}"/>
          </ac:spMkLst>
        </pc:spChg>
        <pc:spChg chg="add del mod">
          <ac:chgData name="Steiner Andreas 6206 ED" userId="e6377c33-a923-4f14-8587-531c474c7b48" providerId="ADAL" clId="{6ECD27E6-B224-41CD-B4E0-E297462320DD}" dt="2023-11-24T08:42:27.987" v="47428"/>
          <ac:spMkLst>
            <pc:docMk/>
            <pc:sldMk cId="4183350934" sldId="2147478561"/>
            <ac:spMk id="314" creationId="{BCC162F9-711C-58A5-A92F-EFD6B4125D34}"/>
          </ac:spMkLst>
        </pc:spChg>
        <pc:spChg chg="add del mod">
          <ac:chgData name="Steiner Andreas 6206 ED" userId="e6377c33-a923-4f14-8587-531c474c7b48" providerId="ADAL" clId="{6ECD27E6-B224-41CD-B4E0-E297462320DD}" dt="2023-11-24T08:42:29.762" v="47583"/>
          <ac:spMkLst>
            <pc:docMk/>
            <pc:sldMk cId="4183350934" sldId="2147478561"/>
            <ac:spMk id="315" creationId="{BB54BF74-437D-0E53-4176-4E12626E8CAF}"/>
          </ac:spMkLst>
        </pc:spChg>
        <pc:spChg chg="add del mod">
          <ac:chgData name="Steiner Andreas 6206 ED" userId="e6377c33-a923-4f14-8587-531c474c7b48" providerId="ADAL" clId="{6ECD27E6-B224-41CD-B4E0-E297462320DD}" dt="2023-11-24T08:42:31.680" v="47738"/>
          <ac:spMkLst>
            <pc:docMk/>
            <pc:sldMk cId="4183350934" sldId="2147478561"/>
            <ac:spMk id="316" creationId="{1F90984A-8E49-3C16-C16F-8C77240BA0C7}"/>
          </ac:spMkLst>
        </pc:spChg>
        <pc:spChg chg="add del mod">
          <ac:chgData name="Steiner Andreas 6206 ED" userId="e6377c33-a923-4f14-8587-531c474c7b48" providerId="ADAL" clId="{6ECD27E6-B224-41CD-B4E0-E297462320DD}" dt="2023-11-24T08:42:33.688" v="47893"/>
          <ac:spMkLst>
            <pc:docMk/>
            <pc:sldMk cId="4183350934" sldId="2147478561"/>
            <ac:spMk id="317" creationId="{68F53897-E535-5197-E0F7-7A129ADC4507}"/>
          </ac:spMkLst>
        </pc:spChg>
        <pc:spChg chg="add del mod">
          <ac:chgData name="Steiner Andreas 6206 ED" userId="e6377c33-a923-4f14-8587-531c474c7b48" providerId="ADAL" clId="{6ECD27E6-B224-41CD-B4E0-E297462320DD}" dt="2023-11-24T08:42:35.715" v="48048"/>
          <ac:spMkLst>
            <pc:docMk/>
            <pc:sldMk cId="4183350934" sldId="2147478561"/>
            <ac:spMk id="318" creationId="{F2E4D96C-BFB5-60B7-AA77-1BCBEDB6AF8D}"/>
          </ac:spMkLst>
        </pc:spChg>
        <pc:spChg chg="add del mod">
          <ac:chgData name="Steiner Andreas 6206 ED" userId="e6377c33-a923-4f14-8587-531c474c7b48" providerId="ADAL" clId="{6ECD27E6-B224-41CD-B4E0-E297462320DD}" dt="2023-11-24T08:42:37.594" v="48203"/>
          <ac:spMkLst>
            <pc:docMk/>
            <pc:sldMk cId="4183350934" sldId="2147478561"/>
            <ac:spMk id="319" creationId="{9E6BAEBD-15EB-192F-7110-4B27ECAB397D}"/>
          </ac:spMkLst>
        </pc:spChg>
        <pc:spChg chg="add del mod">
          <ac:chgData name="Steiner Andreas 6206 ED" userId="e6377c33-a923-4f14-8587-531c474c7b48" providerId="ADAL" clId="{6ECD27E6-B224-41CD-B4E0-E297462320DD}" dt="2023-11-24T08:42:39.455" v="48358"/>
          <ac:spMkLst>
            <pc:docMk/>
            <pc:sldMk cId="4183350934" sldId="2147478561"/>
            <ac:spMk id="320" creationId="{47847778-75E5-927C-B92B-AD5BEE5F29C3}"/>
          </ac:spMkLst>
        </pc:spChg>
        <pc:spChg chg="add del mod">
          <ac:chgData name="Steiner Andreas 6206 ED" userId="e6377c33-a923-4f14-8587-531c474c7b48" providerId="ADAL" clId="{6ECD27E6-B224-41CD-B4E0-E297462320DD}" dt="2023-11-24T08:42:41.595" v="48513"/>
          <ac:spMkLst>
            <pc:docMk/>
            <pc:sldMk cId="4183350934" sldId="2147478561"/>
            <ac:spMk id="321" creationId="{78C90C4C-25C1-B64F-FD74-43BEC89BCB70}"/>
          </ac:spMkLst>
        </pc:spChg>
        <pc:spChg chg="add del mod">
          <ac:chgData name="Steiner Andreas 6206 ED" userId="e6377c33-a923-4f14-8587-531c474c7b48" providerId="ADAL" clId="{6ECD27E6-B224-41CD-B4E0-E297462320DD}" dt="2023-11-24T08:42:43.699" v="48668"/>
          <ac:spMkLst>
            <pc:docMk/>
            <pc:sldMk cId="4183350934" sldId="2147478561"/>
            <ac:spMk id="322" creationId="{B4A94446-8F7B-F86A-D3D3-E1BBD836027E}"/>
          </ac:spMkLst>
        </pc:spChg>
        <pc:spChg chg="add del mod">
          <ac:chgData name="Steiner Andreas 6206 ED" userId="e6377c33-a923-4f14-8587-531c474c7b48" providerId="ADAL" clId="{6ECD27E6-B224-41CD-B4E0-E297462320DD}" dt="2023-11-24T08:42:45.739" v="48823"/>
          <ac:spMkLst>
            <pc:docMk/>
            <pc:sldMk cId="4183350934" sldId="2147478561"/>
            <ac:spMk id="323" creationId="{96A73A56-14DB-E80A-ED40-1CAB1C969D02}"/>
          </ac:spMkLst>
        </pc:spChg>
        <pc:spChg chg="add del mod">
          <ac:chgData name="Steiner Andreas 6206 ED" userId="e6377c33-a923-4f14-8587-531c474c7b48" providerId="ADAL" clId="{6ECD27E6-B224-41CD-B4E0-E297462320DD}" dt="2023-11-24T08:42:47.592" v="48978"/>
          <ac:spMkLst>
            <pc:docMk/>
            <pc:sldMk cId="4183350934" sldId="2147478561"/>
            <ac:spMk id="324" creationId="{E343D0AE-98BB-3CC3-5F76-C64893CEBE31}"/>
          </ac:spMkLst>
        </pc:spChg>
        <pc:spChg chg="add del mod">
          <ac:chgData name="Steiner Andreas 6206 ED" userId="e6377c33-a923-4f14-8587-531c474c7b48" providerId="ADAL" clId="{6ECD27E6-B224-41CD-B4E0-E297462320DD}" dt="2023-11-24T08:42:49.404" v="49133"/>
          <ac:spMkLst>
            <pc:docMk/>
            <pc:sldMk cId="4183350934" sldId="2147478561"/>
            <ac:spMk id="325" creationId="{CA9660AB-A0BC-1DA0-54C6-932DF5E501DF}"/>
          </ac:spMkLst>
        </pc:spChg>
        <pc:spChg chg="add del mod">
          <ac:chgData name="Steiner Andreas 6206 ED" userId="e6377c33-a923-4f14-8587-531c474c7b48" providerId="ADAL" clId="{6ECD27E6-B224-41CD-B4E0-E297462320DD}" dt="2023-11-24T08:42:51.268" v="49288"/>
          <ac:spMkLst>
            <pc:docMk/>
            <pc:sldMk cId="4183350934" sldId="2147478561"/>
            <ac:spMk id="326" creationId="{435DBE6D-19C0-7A1E-373E-C3D8D0A158CF}"/>
          </ac:spMkLst>
        </pc:spChg>
        <pc:spChg chg="add del mod">
          <ac:chgData name="Steiner Andreas 6206 ED" userId="e6377c33-a923-4f14-8587-531c474c7b48" providerId="ADAL" clId="{6ECD27E6-B224-41CD-B4E0-E297462320DD}" dt="2023-11-24T08:42:53.394" v="49443"/>
          <ac:spMkLst>
            <pc:docMk/>
            <pc:sldMk cId="4183350934" sldId="2147478561"/>
            <ac:spMk id="327" creationId="{09D8A871-D925-7DBC-6DF8-C178212F7E84}"/>
          </ac:spMkLst>
        </pc:spChg>
        <pc:spChg chg="add del mod">
          <ac:chgData name="Steiner Andreas 6206 ED" userId="e6377c33-a923-4f14-8587-531c474c7b48" providerId="ADAL" clId="{6ECD27E6-B224-41CD-B4E0-E297462320DD}" dt="2023-11-24T08:42:56.034" v="49598"/>
          <ac:spMkLst>
            <pc:docMk/>
            <pc:sldMk cId="4183350934" sldId="2147478561"/>
            <ac:spMk id="328" creationId="{1C4B8A93-F978-DED5-EEDD-6DD8496197BA}"/>
          </ac:spMkLst>
        </pc:spChg>
        <pc:spChg chg="add del mod">
          <ac:chgData name="Steiner Andreas 6206 ED" userId="e6377c33-a923-4f14-8587-531c474c7b48" providerId="ADAL" clId="{6ECD27E6-B224-41CD-B4E0-E297462320DD}" dt="2023-11-24T08:42:58.089" v="49753"/>
          <ac:spMkLst>
            <pc:docMk/>
            <pc:sldMk cId="4183350934" sldId="2147478561"/>
            <ac:spMk id="329" creationId="{38CEF714-8E36-10D0-5008-7E3400536CE0}"/>
          </ac:spMkLst>
        </pc:spChg>
        <pc:spChg chg="add del mod">
          <ac:chgData name="Steiner Andreas 6206 ED" userId="e6377c33-a923-4f14-8587-531c474c7b48" providerId="ADAL" clId="{6ECD27E6-B224-41CD-B4E0-E297462320DD}" dt="2023-11-24T08:43:00" v="49908"/>
          <ac:spMkLst>
            <pc:docMk/>
            <pc:sldMk cId="4183350934" sldId="2147478561"/>
            <ac:spMk id="330" creationId="{D3B969F5-31FB-EBD9-6FB4-D032AEE80D68}"/>
          </ac:spMkLst>
        </pc:spChg>
        <pc:spChg chg="add del mod">
          <ac:chgData name="Steiner Andreas 6206 ED" userId="e6377c33-a923-4f14-8587-531c474c7b48" providerId="ADAL" clId="{6ECD27E6-B224-41CD-B4E0-E297462320DD}" dt="2023-11-24T08:43:02.003" v="50063"/>
          <ac:spMkLst>
            <pc:docMk/>
            <pc:sldMk cId="4183350934" sldId="2147478561"/>
            <ac:spMk id="331" creationId="{4201ECD7-13D0-D7FA-E5A1-FF2465D875C9}"/>
          </ac:spMkLst>
        </pc:spChg>
        <pc:spChg chg="add del mod">
          <ac:chgData name="Steiner Andreas 6206 ED" userId="e6377c33-a923-4f14-8587-531c474c7b48" providerId="ADAL" clId="{6ECD27E6-B224-41CD-B4E0-E297462320DD}" dt="2023-11-24T08:43:03.977" v="50218"/>
          <ac:spMkLst>
            <pc:docMk/>
            <pc:sldMk cId="4183350934" sldId="2147478561"/>
            <ac:spMk id="332" creationId="{E41A4A99-134D-347E-DCF7-1AE9BEA66280}"/>
          </ac:spMkLst>
        </pc:spChg>
        <pc:spChg chg="add del mod">
          <ac:chgData name="Steiner Andreas 6206 ED" userId="e6377c33-a923-4f14-8587-531c474c7b48" providerId="ADAL" clId="{6ECD27E6-B224-41CD-B4E0-E297462320DD}" dt="2023-11-24T08:43:05.884" v="50373"/>
          <ac:spMkLst>
            <pc:docMk/>
            <pc:sldMk cId="4183350934" sldId="2147478561"/>
            <ac:spMk id="333" creationId="{FC1C8543-89C5-CC6B-F83B-278549FDFED6}"/>
          </ac:spMkLst>
        </pc:spChg>
        <pc:spChg chg="add del mod">
          <ac:chgData name="Steiner Andreas 6206 ED" userId="e6377c33-a923-4f14-8587-531c474c7b48" providerId="ADAL" clId="{6ECD27E6-B224-41CD-B4E0-E297462320DD}" dt="2023-11-24T08:43:08.160" v="50528"/>
          <ac:spMkLst>
            <pc:docMk/>
            <pc:sldMk cId="4183350934" sldId="2147478561"/>
            <ac:spMk id="334" creationId="{0463A484-65B3-409C-3CFB-C64A50545EB9}"/>
          </ac:spMkLst>
        </pc:spChg>
        <pc:spChg chg="add del mod">
          <ac:chgData name="Steiner Andreas 6206 ED" userId="e6377c33-a923-4f14-8587-531c474c7b48" providerId="ADAL" clId="{6ECD27E6-B224-41CD-B4E0-E297462320DD}" dt="2023-11-24T08:43:10.123" v="50683"/>
          <ac:spMkLst>
            <pc:docMk/>
            <pc:sldMk cId="4183350934" sldId="2147478561"/>
            <ac:spMk id="335" creationId="{D2DB523B-7ACC-5AB6-000D-3992059419AB}"/>
          </ac:spMkLst>
        </pc:spChg>
        <pc:spChg chg="add del mod">
          <ac:chgData name="Steiner Andreas 6206 ED" userId="e6377c33-a923-4f14-8587-531c474c7b48" providerId="ADAL" clId="{6ECD27E6-B224-41CD-B4E0-E297462320DD}" dt="2023-11-24T08:43:11.978" v="50838"/>
          <ac:spMkLst>
            <pc:docMk/>
            <pc:sldMk cId="4183350934" sldId="2147478561"/>
            <ac:spMk id="336" creationId="{E37F695A-0CD5-4F7A-8169-AA64E870DA37}"/>
          </ac:spMkLst>
        </pc:spChg>
        <pc:spChg chg="add del mod">
          <ac:chgData name="Steiner Andreas 6206 ED" userId="e6377c33-a923-4f14-8587-531c474c7b48" providerId="ADAL" clId="{6ECD27E6-B224-41CD-B4E0-E297462320DD}" dt="2023-11-24T08:43:14.038" v="50993"/>
          <ac:spMkLst>
            <pc:docMk/>
            <pc:sldMk cId="4183350934" sldId="2147478561"/>
            <ac:spMk id="337" creationId="{C5F7ACCC-CAB1-6358-4C5C-0707CCA7CEDE}"/>
          </ac:spMkLst>
        </pc:spChg>
        <pc:spChg chg="add del mod">
          <ac:chgData name="Steiner Andreas 6206 ED" userId="e6377c33-a923-4f14-8587-531c474c7b48" providerId="ADAL" clId="{6ECD27E6-B224-41CD-B4E0-E297462320DD}" dt="2023-11-24T08:43:16.031" v="51148"/>
          <ac:spMkLst>
            <pc:docMk/>
            <pc:sldMk cId="4183350934" sldId="2147478561"/>
            <ac:spMk id="338" creationId="{C2C97D92-696F-3134-731B-2E25C095CD46}"/>
          </ac:spMkLst>
        </pc:spChg>
        <pc:spChg chg="add del mod">
          <ac:chgData name="Steiner Andreas 6206 ED" userId="e6377c33-a923-4f14-8587-531c474c7b48" providerId="ADAL" clId="{6ECD27E6-B224-41CD-B4E0-E297462320DD}" dt="2023-11-24T08:43:18.076" v="51303"/>
          <ac:spMkLst>
            <pc:docMk/>
            <pc:sldMk cId="4183350934" sldId="2147478561"/>
            <ac:spMk id="339" creationId="{7E975725-D747-AA19-BDA3-4EC0E2E66559}"/>
          </ac:spMkLst>
        </pc:spChg>
        <pc:spChg chg="add del mod">
          <ac:chgData name="Steiner Andreas 6206 ED" userId="e6377c33-a923-4f14-8587-531c474c7b48" providerId="ADAL" clId="{6ECD27E6-B224-41CD-B4E0-E297462320DD}" dt="2023-11-24T08:43:20.071" v="51458"/>
          <ac:spMkLst>
            <pc:docMk/>
            <pc:sldMk cId="4183350934" sldId="2147478561"/>
            <ac:spMk id="340" creationId="{C0BF47CC-6EFF-22C5-AA11-2813AD77D4F2}"/>
          </ac:spMkLst>
        </pc:spChg>
        <pc:spChg chg="add del mod">
          <ac:chgData name="Steiner Andreas 6206 ED" userId="e6377c33-a923-4f14-8587-531c474c7b48" providerId="ADAL" clId="{6ECD27E6-B224-41CD-B4E0-E297462320DD}" dt="2023-11-24T08:43:21.972" v="51613"/>
          <ac:spMkLst>
            <pc:docMk/>
            <pc:sldMk cId="4183350934" sldId="2147478561"/>
            <ac:spMk id="341" creationId="{4F901D6E-B878-A940-AB5C-4FBDFF0EC0B3}"/>
          </ac:spMkLst>
        </pc:spChg>
        <pc:spChg chg="add del mod">
          <ac:chgData name="Steiner Andreas 6206 ED" userId="e6377c33-a923-4f14-8587-531c474c7b48" providerId="ADAL" clId="{6ECD27E6-B224-41CD-B4E0-E297462320DD}" dt="2023-11-24T08:43:23.925" v="51768"/>
          <ac:spMkLst>
            <pc:docMk/>
            <pc:sldMk cId="4183350934" sldId="2147478561"/>
            <ac:spMk id="342" creationId="{FC7FA511-7CE7-A2ED-149F-56C2D579CAF2}"/>
          </ac:spMkLst>
        </pc:spChg>
        <pc:spChg chg="add del mod">
          <ac:chgData name="Steiner Andreas 6206 ED" userId="e6377c33-a923-4f14-8587-531c474c7b48" providerId="ADAL" clId="{6ECD27E6-B224-41CD-B4E0-E297462320DD}" dt="2023-11-24T08:43:25.804" v="51923"/>
          <ac:spMkLst>
            <pc:docMk/>
            <pc:sldMk cId="4183350934" sldId="2147478561"/>
            <ac:spMk id="343" creationId="{BDCC28B4-16D7-D617-AA34-AF5E2B79D245}"/>
          </ac:spMkLst>
        </pc:spChg>
        <pc:spChg chg="add del mod">
          <ac:chgData name="Steiner Andreas 6206 ED" userId="e6377c33-a923-4f14-8587-531c474c7b48" providerId="ADAL" clId="{6ECD27E6-B224-41CD-B4E0-E297462320DD}" dt="2023-11-24T08:43:27.625" v="52078"/>
          <ac:spMkLst>
            <pc:docMk/>
            <pc:sldMk cId="4183350934" sldId="2147478561"/>
            <ac:spMk id="344" creationId="{43D7FA1D-C70E-84E8-8A04-475A2FC40F04}"/>
          </ac:spMkLst>
        </pc:spChg>
        <pc:spChg chg="add del mod">
          <ac:chgData name="Steiner Andreas 6206 ED" userId="e6377c33-a923-4f14-8587-531c474c7b48" providerId="ADAL" clId="{6ECD27E6-B224-41CD-B4E0-E297462320DD}" dt="2023-11-24T08:43:29.417" v="52233"/>
          <ac:spMkLst>
            <pc:docMk/>
            <pc:sldMk cId="4183350934" sldId="2147478561"/>
            <ac:spMk id="345" creationId="{873787FC-1CB4-F56E-6F30-F1586B42EA45}"/>
          </ac:spMkLst>
        </pc:spChg>
        <pc:spChg chg="add del mod">
          <ac:chgData name="Steiner Andreas 6206 ED" userId="e6377c33-a923-4f14-8587-531c474c7b48" providerId="ADAL" clId="{6ECD27E6-B224-41CD-B4E0-E297462320DD}" dt="2023-11-24T08:43:32.183" v="52388"/>
          <ac:spMkLst>
            <pc:docMk/>
            <pc:sldMk cId="4183350934" sldId="2147478561"/>
            <ac:spMk id="346" creationId="{E068055A-716A-03D1-D8E0-3C15C1257A8C}"/>
          </ac:spMkLst>
        </pc:spChg>
        <pc:spChg chg="add del mod">
          <ac:chgData name="Steiner Andreas 6206 ED" userId="e6377c33-a923-4f14-8587-531c474c7b48" providerId="ADAL" clId="{6ECD27E6-B224-41CD-B4E0-E297462320DD}" dt="2023-11-24T08:43:34.662" v="52543"/>
          <ac:spMkLst>
            <pc:docMk/>
            <pc:sldMk cId="4183350934" sldId="2147478561"/>
            <ac:spMk id="347" creationId="{53CFA225-14DF-98F3-F166-78507F751420}"/>
          </ac:spMkLst>
        </pc:spChg>
        <pc:spChg chg="add del mod">
          <ac:chgData name="Steiner Andreas 6206 ED" userId="e6377c33-a923-4f14-8587-531c474c7b48" providerId="ADAL" clId="{6ECD27E6-B224-41CD-B4E0-E297462320DD}" dt="2023-11-24T08:43:36.743" v="52698"/>
          <ac:spMkLst>
            <pc:docMk/>
            <pc:sldMk cId="4183350934" sldId="2147478561"/>
            <ac:spMk id="348" creationId="{D0C906B2-11F6-4E15-F43F-A5218EEF1459}"/>
          </ac:spMkLst>
        </pc:spChg>
        <pc:spChg chg="add del mod">
          <ac:chgData name="Steiner Andreas 6206 ED" userId="e6377c33-a923-4f14-8587-531c474c7b48" providerId="ADAL" clId="{6ECD27E6-B224-41CD-B4E0-E297462320DD}" dt="2023-11-24T08:43:38.868" v="52853"/>
          <ac:spMkLst>
            <pc:docMk/>
            <pc:sldMk cId="4183350934" sldId="2147478561"/>
            <ac:spMk id="349" creationId="{00A89C73-1288-BD93-4C5C-CC26C2F17F24}"/>
          </ac:spMkLst>
        </pc:spChg>
        <pc:spChg chg="add del mod">
          <ac:chgData name="Steiner Andreas 6206 ED" userId="e6377c33-a923-4f14-8587-531c474c7b48" providerId="ADAL" clId="{6ECD27E6-B224-41CD-B4E0-E297462320DD}" dt="2023-11-24T08:43:40.975" v="53008"/>
          <ac:spMkLst>
            <pc:docMk/>
            <pc:sldMk cId="4183350934" sldId="2147478561"/>
            <ac:spMk id="350" creationId="{CA1D1F75-CE39-3428-2D8F-996287BEBB50}"/>
          </ac:spMkLst>
        </pc:spChg>
        <pc:spChg chg="add del mod">
          <ac:chgData name="Steiner Andreas 6206 ED" userId="e6377c33-a923-4f14-8587-531c474c7b48" providerId="ADAL" clId="{6ECD27E6-B224-41CD-B4E0-E297462320DD}" dt="2023-11-24T08:43:42.925" v="53163"/>
          <ac:spMkLst>
            <pc:docMk/>
            <pc:sldMk cId="4183350934" sldId="2147478561"/>
            <ac:spMk id="351" creationId="{D4CA1ADB-F274-9177-590F-B6B89AEA4942}"/>
          </ac:spMkLst>
        </pc:spChg>
        <pc:spChg chg="add del mod">
          <ac:chgData name="Steiner Andreas 6206 ED" userId="e6377c33-a923-4f14-8587-531c474c7b48" providerId="ADAL" clId="{6ECD27E6-B224-41CD-B4E0-E297462320DD}" dt="2023-11-24T08:43:44.740" v="53318"/>
          <ac:spMkLst>
            <pc:docMk/>
            <pc:sldMk cId="4183350934" sldId="2147478561"/>
            <ac:spMk id="352" creationId="{E7D6FB04-F47C-74BC-49B5-E73B9124E9AB}"/>
          </ac:spMkLst>
        </pc:spChg>
        <pc:spChg chg="add del mod">
          <ac:chgData name="Steiner Andreas 6206 ED" userId="e6377c33-a923-4f14-8587-531c474c7b48" providerId="ADAL" clId="{6ECD27E6-B224-41CD-B4E0-E297462320DD}" dt="2023-11-24T08:43:46.529" v="53473"/>
          <ac:spMkLst>
            <pc:docMk/>
            <pc:sldMk cId="4183350934" sldId="2147478561"/>
            <ac:spMk id="353" creationId="{88C9187F-1DBD-0598-3DB7-62275EFDDCF9}"/>
          </ac:spMkLst>
        </pc:spChg>
        <pc:spChg chg="add del mod">
          <ac:chgData name="Steiner Andreas 6206 ED" userId="e6377c33-a923-4f14-8587-531c474c7b48" providerId="ADAL" clId="{6ECD27E6-B224-41CD-B4E0-E297462320DD}" dt="2023-11-24T08:43:48.502" v="53628"/>
          <ac:spMkLst>
            <pc:docMk/>
            <pc:sldMk cId="4183350934" sldId="2147478561"/>
            <ac:spMk id="354" creationId="{BB6350E0-607B-3B23-0779-FF726F6DEEF5}"/>
          </ac:spMkLst>
        </pc:spChg>
        <pc:spChg chg="add del mod">
          <ac:chgData name="Steiner Andreas 6206 ED" userId="e6377c33-a923-4f14-8587-531c474c7b48" providerId="ADAL" clId="{6ECD27E6-B224-41CD-B4E0-E297462320DD}" dt="2023-11-24T08:43:50.432" v="53783"/>
          <ac:spMkLst>
            <pc:docMk/>
            <pc:sldMk cId="4183350934" sldId="2147478561"/>
            <ac:spMk id="355" creationId="{6A03E8C3-B828-ADC6-8636-2D00AEA519FC}"/>
          </ac:spMkLst>
        </pc:spChg>
        <pc:spChg chg="add del mod">
          <ac:chgData name="Steiner Andreas 6206 ED" userId="e6377c33-a923-4f14-8587-531c474c7b48" providerId="ADAL" clId="{6ECD27E6-B224-41CD-B4E0-E297462320DD}" dt="2023-11-24T08:43:52.696" v="53938"/>
          <ac:spMkLst>
            <pc:docMk/>
            <pc:sldMk cId="4183350934" sldId="2147478561"/>
            <ac:spMk id="356" creationId="{7A2F7C36-6254-7464-84BE-830FB61FB8E1}"/>
          </ac:spMkLst>
        </pc:spChg>
        <pc:spChg chg="add del mod">
          <ac:chgData name="Steiner Andreas 6206 ED" userId="e6377c33-a923-4f14-8587-531c474c7b48" providerId="ADAL" clId="{6ECD27E6-B224-41CD-B4E0-E297462320DD}" dt="2023-11-24T08:43:55.273" v="54093"/>
          <ac:spMkLst>
            <pc:docMk/>
            <pc:sldMk cId="4183350934" sldId="2147478561"/>
            <ac:spMk id="357" creationId="{80C1DAA7-006E-79E6-58C2-E884EB0320B1}"/>
          </ac:spMkLst>
        </pc:spChg>
        <pc:spChg chg="add del mod">
          <ac:chgData name="Steiner Andreas 6206 ED" userId="e6377c33-a923-4f14-8587-531c474c7b48" providerId="ADAL" clId="{6ECD27E6-B224-41CD-B4E0-E297462320DD}" dt="2023-11-24T08:43:57.299" v="54248"/>
          <ac:spMkLst>
            <pc:docMk/>
            <pc:sldMk cId="4183350934" sldId="2147478561"/>
            <ac:spMk id="358" creationId="{4BEB76C2-EA45-6A1A-E6AA-1EC5197A3128}"/>
          </ac:spMkLst>
        </pc:spChg>
        <pc:spChg chg="add del mod">
          <ac:chgData name="Steiner Andreas 6206 ED" userId="e6377c33-a923-4f14-8587-531c474c7b48" providerId="ADAL" clId="{6ECD27E6-B224-41CD-B4E0-E297462320DD}" dt="2023-11-24T08:43:59.589" v="54403"/>
          <ac:spMkLst>
            <pc:docMk/>
            <pc:sldMk cId="4183350934" sldId="2147478561"/>
            <ac:spMk id="359" creationId="{FF972740-7B2B-40C4-F751-BA7CACD717C2}"/>
          </ac:spMkLst>
        </pc:spChg>
        <pc:spChg chg="add del mod">
          <ac:chgData name="Steiner Andreas 6206 ED" userId="e6377c33-a923-4f14-8587-531c474c7b48" providerId="ADAL" clId="{6ECD27E6-B224-41CD-B4E0-E297462320DD}" dt="2023-11-24T08:44:01.768" v="54558"/>
          <ac:spMkLst>
            <pc:docMk/>
            <pc:sldMk cId="4183350934" sldId="2147478561"/>
            <ac:spMk id="360" creationId="{B810DC15-4D16-3FB5-9933-F846B8A5A12E}"/>
          </ac:spMkLst>
        </pc:spChg>
        <pc:spChg chg="add del mod">
          <ac:chgData name="Steiner Andreas 6206 ED" userId="e6377c33-a923-4f14-8587-531c474c7b48" providerId="ADAL" clId="{6ECD27E6-B224-41CD-B4E0-E297462320DD}" dt="2023-11-24T08:44:03.974" v="54713"/>
          <ac:spMkLst>
            <pc:docMk/>
            <pc:sldMk cId="4183350934" sldId="2147478561"/>
            <ac:spMk id="361" creationId="{555FBB32-A690-D67A-1598-974B7E1CEB11}"/>
          </ac:spMkLst>
        </pc:spChg>
        <pc:spChg chg="add del mod">
          <ac:chgData name="Steiner Andreas 6206 ED" userId="e6377c33-a923-4f14-8587-531c474c7b48" providerId="ADAL" clId="{6ECD27E6-B224-41CD-B4E0-E297462320DD}" dt="2023-11-24T08:44:06.001" v="54868"/>
          <ac:spMkLst>
            <pc:docMk/>
            <pc:sldMk cId="4183350934" sldId="2147478561"/>
            <ac:spMk id="362" creationId="{5983B5C8-15D4-90BE-2EC8-3AA0FFCE1F91}"/>
          </ac:spMkLst>
        </pc:spChg>
        <pc:spChg chg="add del mod">
          <ac:chgData name="Steiner Andreas 6206 ED" userId="e6377c33-a923-4f14-8587-531c474c7b48" providerId="ADAL" clId="{6ECD27E6-B224-41CD-B4E0-E297462320DD}" dt="2023-11-24T08:44:07.966" v="55023"/>
          <ac:spMkLst>
            <pc:docMk/>
            <pc:sldMk cId="4183350934" sldId="2147478561"/>
            <ac:spMk id="363" creationId="{26D709CF-DFCA-326E-1536-A93DD40F9696}"/>
          </ac:spMkLst>
        </pc:spChg>
        <pc:spChg chg="add del mod">
          <ac:chgData name="Steiner Andreas 6206 ED" userId="e6377c33-a923-4f14-8587-531c474c7b48" providerId="ADAL" clId="{6ECD27E6-B224-41CD-B4E0-E297462320DD}" dt="2023-11-24T08:44:09.942" v="55178"/>
          <ac:spMkLst>
            <pc:docMk/>
            <pc:sldMk cId="4183350934" sldId="2147478561"/>
            <ac:spMk id="364" creationId="{B866303B-1A04-B6F0-BE45-67E1D25F82B8}"/>
          </ac:spMkLst>
        </pc:spChg>
        <pc:spChg chg="add del mod">
          <ac:chgData name="Steiner Andreas 6206 ED" userId="e6377c33-a923-4f14-8587-531c474c7b48" providerId="ADAL" clId="{6ECD27E6-B224-41CD-B4E0-E297462320DD}" dt="2023-11-24T08:44:11.967" v="55333"/>
          <ac:spMkLst>
            <pc:docMk/>
            <pc:sldMk cId="4183350934" sldId="2147478561"/>
            <ac:spMk id="365" creationId="{42DC6883-EBC5-750F-38D8-420190089264}"/>
          </ac:spMkLst>
        </pc:spChg>
        <pc:spChg chg="add del mod">
          <ac:chgData name="Steiner Andreas 6206 ED" userId="e6377c33-a923-4f14-8587-531c474c7b48" providerId="ADAL" clId="{6ECD27E6-B224-41CD-B4E0-E297462320DD}" dt="2023-11-24T08:44:14.098" v="55488"/>
          <ac:spMkLst>
            <pc:docMk/>
            <pc:sldMk cId="4183350934" sldId="2147478561"/>
            <ac:spMk id="366" creationId="{483CE0E2-CC44-6CEF-815E-A8202FEA0180}"/>
          </ac:spMkLst>
        </pc:spChg>
        <pc:spChg chg="add del mod">
          <ac:chgData name="Steiner Andreas 6206 ED" userId="e6377c33-a923-4f14-8587-531c474c7b48" providerId="ADAL" clId="{6ECD27E6-B224-41CD-B4E0-E297462320DD}" dt="2023-11-24T08:44:16.201" v="55643"/>
          <ac:spMkLst>
            <pc:docMk/>
            <pc:sldMk cId="4183350934" sldId="2147478561"/>
            <ac:spMk id="367" creationId="{51BABDA3-8201-A230-48E9-E4A5AA0EDE6B}"/>
          </ac:spMkLst>
        </pc:spChg>
        <pc:spChg chg="add del mod">
          <ac:chgData name="Steiner Andreas 6206 ED" userId="e6377c33-a923-4f14-8587-531c474c7b48" providerId="ADAL" clId="{6ECD27E6-B224-41CD-B4E0-E297462320DD}" dt="2023-11-24T08:44:18.690" v="55798"/>
          <ac:spMkLst>
            <pc:docMk/>
            <pc:sldMk cId="4183350934" sldId="2147478561"/>
            <ac:spMk id="368" creationId="{5D8F51DF-75AB-45EA-BF94-B411DBB4A236}"/>
          </ac:spMkLst>
        </pc:spChg>
        <pc:spChg chg="add del mod">
          <ac:chgData name="Steiner Andreas 6206 ED" userId="e6377c33-a923-4f14-8587-531c474c7b48" providerId="ADAL" clId="{6ECD27E6-B224-41CD-B4E0-E297462320DD}" dt="2023-11-24T08:44:21.551" v="55953"/>
          <ac:spMkLst>
            <pc:docMk/>
            <pc:sldMk cId="4183350934" sldId="2147478561"/>
            <ac:spMk id="369" creationId="{6A970139-6DBB-FE61-1B11-488AAA2F0A40}"/>
          </ac:spMkLst>
        </pc:spChg>
        <pc:spChg chg="add del mod">
          <ac:chgData name="Steiner Andreas 6206 ED" userId="e6377c33-a923-4f14-8587-531c474c7b48" providerId="ADAL" clId="{6ECD27E6-B224-41CD-B4E0-E297462320DD}" dt="2023-11-24T08:44:23.910" v="56108"/>
          <ac:spMkLst>
            <pc:docMk/>
            <pc:sldMk cId="4183350934" sldId="2147478561"/>
            <ac:spMk id="370" creationId="{029E61F0-5183-0807-0536-84B0165D0924}"/>
          </ac:spMkLst>
        </pc:spChg>
        <pc:spChg chg="add del mod">
          <ac:chgData name="Steiner Andreas 6206 ED" userId="e6377c33-a923-4f14-8587-531c474c7b48" providerId="ADAL" clId="{6ECD27E6-B224-41CD-B4E0-E297462320DD}" dt="2023-11-24T08:44:25.841" v="56263"/>
          <ac:spMkLst>
            <pc:docMk/>
            <pc:sldMk cId="4183350934" sldId="2147478561"/>
            <ac:spMk id="371" creationId="{86FEE0B3-FF15-A083-733F-27B7F41309B0}"/>
          </ac:spMkLst>
        </pc:spChg>
        <pc:spChg chg="add del mod">
          <ac:chgData name="Steiner Andreas 6206 ED" userId="e6377c33-a923-4f14-8587-531c474c7b48" providerId="ADAL" clId="{6ECD27E6-B224-41CD-B4E0-E297462320DD}" dt="2023-11-24T08:44:28.021" v="56418"/>
          <ac:spMkLst>
            <pc:docMk/>
            <pc:sldMk cId="4183350934" sldId="2147478561"/>
            <ac:spMk id="372" creationId="{B60FFA70-893D-71EE-42C0-93EB85B30255}"/>
          </ac:spMkLst>
        </pc:spChg>
        <pc:spChg chg="add del mod">
          <ac:chgData name="Steiner Andreas 6206 ED" userId="e6377c33-a923-4f14-8587-531c474c7b48" providerId="ADAL" clId="{6ECD27E6-B224-41CD-B4E0-E297462320DD}" dt="2023-11-24T08:44:30.045" v="56573"/>
          <ac:spMkLst>
            <pc:docMk/>
            <pc:sldMk cId="4183350934" sldId="2147478561"/>
            <ac:spMk id="373" creationId="{B708D299-46AD-9AEC-20A5-CC55C9710E87}"/>
          </ac:spMkLst>
        </pc:spChg>
        <pc:spChg chg="add del mod">
          <ac:chgData name="Steiner Andreas 6206 ED" userId="e6377c33-a923-4f14-8587-531c474c7b48" providerId="ADAL" clId="{6ECD27E6-B224-41CD-B4E0-E297462320DD}" dt="2023-11-24T08:44:31.992" v="56728"/>
          <ac:spMkLst>
            <pc:docMk/>
            <pc:sldMk cId="4183350934" sldId="2147478561"/>
            <ac:spMk id="374" creationId="{C661A467-14CC-7B11-3A16-7D2BDEB3CD5E}"/>
          </ac:spMkLst>
        </pc:spChg>
        <pc:spChg chg="add del mod">
          <ac:chgData name="Steiner Andreas 6206 ED" userId="e6377c33-a923-4f14-8587-531c474c7b48" providerId="ADAL" clId="{6ECD27E6-B224-41CD-B4E0-E297462320DD}" dt="2023-11-24T08:44:33.956" v="56883"/>
          <ac:spMkLst>
            <pc:docMk/>
            <pc:sldMk cId="4183350934" sldId="2147478561"/>
            <ac:spMk id="375" creationId="{F6C5A3B1-3A6A-98FC-CD64-2FE2707CDAC1}"/>
          </ac:spMkLst>
        </pc:spChg>
        <pc:spChg chg="add del mod">
          <ac:chgData name="Steiner Andreas 6206 ED" userId="e6377c33-a923-4f14-8587-531c474c7b48" providerId="ADAL" clId="{6ECD27E6-B224-41CD-B4E0-E297462320DD}" dt="2023-11-24T08:44:36.467" v="57038"/>
          <ac:spMkLst>
            <pc:docMk/>
            <pc:sldMk cId="4183350934" sldId="2147478561"/>
            <ac:spMk id="376" creationId="{52984B0C-C70B-3FA9-2FDD-74006D14B9B4}"/>
          </ac:spMkLst>
        </pc:spChg>
        <pc:spChg chg="add del mod">
          <ac:chgData name="Steiner Andreas 6206 ED" userId="e6377c33-a923-4f14-8587-531c474c7b48" providerId="ADAL" clId="{6ECD27E6-B224-41CD-B4E0-E297462320DD}" dt="2023-11-24T08:44:39.095" v="57193"/>
          <ac:spMkLst>
            <pc:docMk/>
            <pc:sldMk cId="4183350934" sldId="2147478561"/>
            <ac:spMk id="377" creationId="{ECC17524-A835-D523-A6DA-905740B48316}"/>
          </ac:spMkLst>
        </pc:spChg>
        <pc:spChg chg="add del mod">
          <ac:chgData name="Steiner Andreas 6206 ED" userId="e6377c33-a923-4f14-8587-531c474c7b48" providerId="ADAL" clId="{6ECD27E6-B224-41CD-B4E0-E297462320DD}" dt="2023-11-24T08:44:41.351" v="57348"/>
          <ac:spMkLst>
            <pc:docMk/>
            <pc:sldMk cId="4183350934" sldId="2147478561"/>
            <ac:spMk id="378" creationId="{1E633EBD-2488-8FAB-7BEE-2FE82586FACD}"/>
          </ac:spMkLst>
        </pc:spChg>
        <pc:spChg chg="add del mod">
          <ac:chgData name="Steiner Andreas 6206 ED" userId="e6377c33-a923-4f14-8587-531c474c7b48" providerId="ADAL" clId="{6ECD27E6-B224-41CD-B4E0-E297462320DD}" dt="2023-11-24T08:44:43.501" v="57503"/>
          <ac:spMkLst>
            <pc:docMk/>
            <pc:sldMk cId="4183350934" sldId="2147478561"/>
            <ac:spMk id="379" creationId="{5661A7B3-D596-5879-AD6A-0F9928016A5F}"/>
          </ac:spMkLst>
        </pc:spChg>
        <pc:spChg chg="add del mod">
          <ac:chgData name="Steiner Andreas 6206 ED" userId="e6377c33-a923-4f14-8587-531c474c7b48" providerId="ADAL" clId="{6ECD27E6-B224-41CD-B4E0-E297462320DD}" dt="2023-11-24T08:44:45.679" v="57658"/>
          <ac:spMkLst>
            <pc:docMk/>
            <pc:sldMk cId="4183350934" sldId="2147478561"/>
            <ac:spMk id="380" creationId="{AE369133-3FF1-208D-E65D-1380F02BB83E}"/>
          </ac:spMkLst>
        </pc:spChg>
        <pc:spChg chg="add del mod">
          <ac:chgData name="Steiner Andreas 6206 ED" userId="e6377c33-a923-4f14-8587-531c474c7b48" providerId="ADAL" clId="{6ECD27E6-B224-41CD-B4E0-E297462320DD}" dt="2023-11-24T08:44:48.432" v="57813"/>
          <ac:spMkLst>
            <pc:docMk/>
            <pc:sldMk cId="4183350934" sldId="2147478561"/>
            <ac:spMk id="381" creationId="{F150AE05-F756-BD02-2591-EDDFD16693CD}"/>
          </ac:spMkLst>
        </pc:spChg>
        <pc:spChg chg="add del mod">
          <ac:chgData name="Steiner Andreas 6206 ED" userId="e6377c33-a923-4f14-8587-531c474c7b48" providerId="ADAL" clId="{6ECD27E6-B224-41CD-B4E0-E297462320DD}" dt="2023-11-24T08:44:50.649" v="57968"/>
          <ac:spMkLst>
            <pc:docMk/>
            <pc:sldMk cId="4183350934" sldId="2147478561"/>
            <ac:spMk id="382" creationId="{E78157CE-9FAD-440D-941D-2FCE51E796FD}"/>
          </ac:spMkLst>
        </pc:spChg>
        <pc:spChg chg="add del mod">
          <ac:chgData name="Steiner Andreas 6206 ED" userId="e6377c33-a923-4f14-8587-531c474c7b48" providerId="ADAL" clId="{6ECD27E6-B224-41CD-B4E0-E297462320DD}" dt="2023-11-24T08:44:52.800" v="58123"/>
          <ac:spMkLst>
            <pc:docMk/>
            <pc:sldMk cId="4183350934" sldId="2147478561"/>
            <ac:spMk id="383" creationId="{F648E399-9C57-29FA-74F1-4E07129BEA89}"/>
          </ac:spMkLst>
        </pc:spChg>
        <pc:spChg chg="add del mod">
          <ac:chgData name="Steiner Andreas 6206 ED" userId="e6377c33-a923-4f14-8587-531c474c7b48" providerId="ADAL" clId="{6ECD27E6-B224-41CD-B4E0-E297462320DD}" dt="2023-11-24T08:44:55.008" v="58278"/>
          <ac:spMkLst>
            <pc:docMk/>
            <pc:sldMk cId="4183350934" sldId="2147478561"/>
            <ac:spMk id="384" creationId="{7557E83C-7E40-BAD2-1424-CC62435F086E}"/>
          </ac:spMkLst>
        </pc:spChg>
        <pc:spChg chg="add del mod">
          <ac:chgData name="Steiner Andreas 6206 ED" userId="e6377c33-a923-4f14-8587-531c474c7b48" providerId="ADAL" clId="{6ECD27E6-B224-41CD-B4E0-E297462320DD}" dt="2023-11-24T08:44:56.997" v="58433"/>
          <ac:spMkLst>
            <pc:docMk/>
            <pc:sldMk cId="4183350934" sldId="2147478561"/>
            <ac:spMk id="385" creationId="{368839D0-6439-85BF-317D-2AE9B8909F68}"/>
          </ac:spMkLst>
        </pc:spChg>
        <pc:spChg chg="add del mod">
          <ac:chgData name="Steiner Andreas 6206 ED" userId="e6377c33-a923-4f14-8587-531c474c7b48" providerId="ADAL" clId="{6ECD27E6-B224-41CD-B4E0-E297462320DD}" dt="2023-11-24T08:44:58.936" v="58588"/>
          <ac:spMkLst>
            <pc:docMk/>
            <pc:sldMk cId="4183350934" sldId="2147478561"/>
            <ac:spMk id="386" creationId="{C3471700-8661-C7AB-E755-4941B0B93025}"/>
          </ac:spMkLst>
        </pc:spChg>
        <pc:spChg chg="add del mod">
          <ac:chgData name="Steiner Andreas 6206 ED" userId="e6377c33-a923-4f14-8587-531c474c7b48" providerId="ADAL" clId="{6ECD27E6-B224-41CD-B4E0-E297462320DD}" dt="2023-11-24T08:45:01.100" v="58743"/>
          <ac:spMkLst>
            <pc:docMk/>
            <pc:sldMk cId="4183350934" sldId="2147478561"/>
            <ac:spMk id="387" creationId="{7BC39EF5-E72C-A05D-9DE8-CCCB32C212FD}"/>
          </ac:spMkLst>
        </pc:spChg>
        <pc:spChg chg="add del mod">
          <ac:chgData name="Steiner Andreas 6206 ED" userId="e6377c33-a923-4f14-8587-531c474c7b48" providerId="ADAL" clId="{6ECD27E6-B224-41CD-B4E0-E297462320DD}" dt="2023-11-24T08:45:03.016" v="58898"/>
          <ac:spMkLst>
            <pc:docMk/>
            <pc:sldMk cId="4183350934" sldId="2147478561"/>
            <ac:spMk id="388" creationId="{27EDB0CE-A1DB-4418-BED0-DE30EB614AF7}"/>
          </ac:spMkLst>
        </pc:spChg>
        <pc:spChg chg="add del mod">
          <ac:chgData name="Steiner Andreas 6206 ED" userId="e6377c33-a923-4f14-8587-531c474c7b48" providerId="ADAL" clId="{6ECD27E6-B224-41CD-B4E0-E297462320DD}" dt="2023-11-24T08:45:04.860" v="59053"/>
          <ac:spMkLst>
            <pc:docMk/>
            <pc:sldMk cId="4183350934" sldId="2147478561"/>
            <ac:spMk id="389" creationId="{C2EAEB71-036F-76E0-F87F-64E1BB6AC460}"/>
          </ac:spMkLst>
        </pc:spChg>
        <pc:spChg chg="add del mod">
          <ac:chgData name="Steiner Andreas 6206 ED" userId="e6377c33-a923-4f14-8587-531c474c7b48" providerId="ADAL" clId="{6ECD27E6-B224-41CD-B4E0-E297462320DD}" dt="2023-11-24T08:45:06.708" v="59208"/>
          <ac:spMkLst>
            <pc:docMk/>
            <pc:sldMk cId="4183350934" sldId="2147478561"/>
            <ac:spMk id="390" creationId="{BC3A7583-86DD-CDB3-D645-4A6A61ABD408}"/>
          </ac:spMkLst>
        </pc:spChg>
        <pc:spChg chg="add del mod">
          <ac:chgData name="Steiner Andreas 6206 ED" userId="e6377c33-a923-4f14-8587-531c474c7b48" providerId="ADAL" clId="{6ECD27E6-B224-41CD-B4E0-E297462320DD}" dt="2023-11-24T08:45:08.533" v="59363"/>
          <ac:spMkLst>
            <pc:docMk/>
            <pc:sldMk cId="4183350934" sldId="2147478561"/>
            <ac:spMk id="391" creationId="{75509C75-19BE-600D-E9AB-B4E1D75F84FA}"/>
          </ac:spMkLst>
        </pc:spChg>
        <pc:spChg chg="add del mod">
          <ac:chgData name="Steiner Andreas 6206 ED" userId="e6377c33-a923-4f14-8587-531c474c7b48" providerId="ADAL" clId="{6ECD27E6-B224-41CD-B4E0-E297462320DD}" dt="2023-11-24T08:45:10.384" v="59518"/>
          <ac:spMkLst>
            <pc:docMk/>
            <pc:sldMk cId="4183350934" sldId="2147478561"/>
            <ac:spMk id="392" creationId="{C60DCEC6-719C-9B79-4D69-7D64895E237B}"/>
          </ac:spMkLst>
        </pc:spChg>
        <pc:spChg chg="add del mod">
          <ac:chgData name="Steiner Andreas 6206 ED" userId="e6377c33-a923-4f14-8587-531c474c7b48" providerId="ADAL" clId="{6ECD27E6-B224-41CD-B4E0-E297462320DD}" dt="2023-11-24T08:45:12.442" v="59673"/>
          <ac:spMkLst>
            <pc:docMk/>
            <pc:sldMk cId="4183350934" sldId="2147478561"/>
            <ac:spMk id="393" creationId="{3C7BD21B-F6C2-84A9-2E3C-CB2E1202DD48}"/>
          </ac:spMkLst>
        </pc:spChg>
        <pc:spChg chg="add del mod">
          <ac:chgData name="Steiner Andreas 6206 ED" userId="e6377c33-a923-4f14-8587-531c474c7b48" providerId="ADAL" clId="{6ECD27E6-B224-41CD-B4E0-E297462320DD}" dt="2023-11-24T08:45:14.381" v="59828"/>
          <ac:spMkLst>
            <pc:docMk/>
            <pc:sldMk cId="4183350934" sldId="2147478561"/>
            <ac:spMk id="394" creationId="{CF9E8143-1B93-F536-DEF4-1720B1E4BE17}"/>
          </ac:spMkLst>
        </pc:spChg>
        <pc:spChg chg="add del mod">
          <ac:chgData name="Steiner Andreas 6206 ED" userId="e6377c33-a923-4f14-8587-531c474c7b48" providerId="ADAL" clId="{6ECD27E6-B224-41CD-B4E0-E297462320DD}" dt="2023-11-24T08:45:16.447" v="59983"/>
          <ac:spMkLst>
            <pc:docMk/>
            <pc:sldMk cId="4183350934" sldId="2147478561"/>
            <ac:spMk id="395" creationId="{D5301FFB-0F2B-A27C-71C7-DAA87CB106C1}"/>
          </ac:spMkLst>
        </pc:spChg>
        <pc:spChg chg="add del mod">
          <ac:chgData name="Steiner Andreas 6206 ED" userId="e6377c33-a923-4f14-8587-531c474c7b48" providerId="ADAL" clId="{6ECD27E6-B224-41CD-B4E0-E297462320DD}" dt="2023-11-24T08:45:18.395" v="60138"/>
          <ac:spMkLst>
            <pc:docMk/>
            <pc:sldMk cId="4183350934" sldId="2147478561"/>
            <ac:spMk id="396" creationId="{50276715-E2D7-6F5D-3BCA-C5F2D167B984}"/>
          </ac:spMkLst>
        </pc:spChg>
        <pc:spChg chg="add del mod">
          <ac:chgData name="Steiner Andreas 6206 ED" userId="e6377c33-a923-4f14-8587-531c474c7b48" providerId="ADAL" clId="{6ECD27E6-B224-41CD-B4E0-E297462320DD}" dt="2023-11-24T08:45:20.284" v="60293"/>
          <ac:spMkLst>
            <pc:docMk/>
            <pc:sldMk cId="4183350934" sldId="2147478561"/>
            <ac:spMk id="397" creationId="{E98D9132-1295-6BB4-26DB-A6FBC522C561}"/>
          </ac:spMkLst>
        </pc:spChg>
        <pc:spChg chg="add del mod">
          <ac:chgData name="Steiner Andreas 6206 ED" userId="e6377c33-a923-4f14-8587-531c474c7b48" providerId="ADAL" clId="{6ECD27E6-B224-41CD-B4E0-E297462320DD}" dt="2023-11-24T08:45:22.499" v="60448"/>
          <ac:spMkLst>
            <pc:docMk/>
            <pc:sldMk cId="4183350934" sldId="2147478561"/>
            <ac:spMk id="398" creationId="{87FC8F1C-CA39-60E9-519D-8822019F37A4}"/>
          </ac:spMkLst>
        </pc:spChg>
        <pc:spChg chg="add del mod">
          <ac:chgData name="Steiner Andreas 6206 ED" userId="e6377c33-a923-4f14-8587-531c474c7b48" providerId="ADAL" clId="{6ECD27E6-B224-41CD-B4E0-E297462320DD}" dt="2023-11-24T08:45:24.669" v="60603"/>
          <ac:spMkLst>
            <pc:docMk/>
            <pc:sldMk cId="4183350934" sldId="2147478561"/>
            <ac:spMk id="399" creationId="{C6BFE7A6-DCAE-7A68-2269-FE84710FB60F}"/>
          </ac:spMkLst>
        </pc:spChg>
        <pc:spChg chg="add del mod">
          <ac:chgData name="Steiner Andreas 6206 ED" userId="e6377c33-a923-4f14-8587-531c474c7b48" providerId="ADAL" clId="{6ECD27E6-B224-41CD-B4E0-E297462320DD}" dt="2023-11-24T08:45:26.608" v="60758"/>
          <ac:spMkLst>
            <pc:docMk/>
            <pc:sldMk cId="4183350934" sldId="2147478561"/>
            <ac:spMk id="400" creationId="{250EEC11-8D1F-FB9D-6F80-03E5A412BD30}"/>
          </ac:spMkLst>
        </pc:spChg>
        <pc:spChg chg="add del mod">
          <ac:chgData name="Steiner Andreas 6206 ED" userId="e6377c33-a923-4f14-8587-531c474c7b48" providerId="ADAL" clId="{6ECD27E6-B224-41CD-B4E0-E297462320DD}" dt="2023-11-24T08:45:28.486" v="60913"/>
          <ac:spMkLst>
            <pc:docMk/>
            <pc:sldMk cId="4183350934" sldId="2147478561"/>
            <ac:spMk id="401" creationId="{E7F2201B-DC4B-6C3C-9FF1-B1F7875DBDED}"/>
          </ac:spMkLst>
        </pc:spChg>
        <pc:spChg chg="add del mod">
          <ac:chgData name="Steiner Andreas 6206 ED" userId="e6377c33-a923-4f14-8587-531c474c7b48" providerId="ADAL" clId="{6ECD27E6-B224-41CD-B4E0-E297462320DD}" dt="2023-11-24T08:45:30.332" v="61068"/>
          <ac:spMkLst>
            <pc:docMk/>
            <pc:sldMk cId="4183350934" sldId="2147478561"/>
            <ac:spMk id="402" creationId="{14B84E82-40CA-8B3A-BFCB-B5F1C6DBAE2B}"/>
          </ac:spMkLst>
        </pc:spChg>
        <pc:spChg chg="add del mod">
          <ac:chgData name="Steiner Andreas 6206 ED" userId="e6377c33-a923-4f14-8587-531c474c7b48" providerId="ADAL" clId="{6ECD27E6-B224-41CD-B4E0-E297462320DD}" dt="2023-11-24T08:45:32.168" v="61223"/>
          <ac:spMkLst>
            <pc:docMk/>
            <pc:sldMk cId="4183350934" sldId="2147478561"/>
            <ac:spMk id="403" creationId="{2A7AFB3B-BF3D-CECA-D2B0-F2841FEC8173}"/>
          </ac:spMkLst>
        </pc:spChg>
        <pc:spChg chg="add del mod">
          <ac:chgData name="Steiner Andreas 6206 ED" userId="e6377c33-a923-4f14-8587-531c474c7b48" providerId="ADAL" clId="{6ECD27E6-B224-41CD-B4E0-E297462320DD}" dt="2023-11-24T08:45:34.340" v="61378"/>
          <ac:spMkLst>
            <pc:docMk/>
            <pc:sldMk cId="4183350934" sldId="2147478561"/>
            <ac:spMk id="404" creationId="{DC96BEBA-7091-A31A-ED94-DABA76A67777}"/>
          </ac:spMkLst>
        </pc:spChg>
        <pc:spChg chg="add del mod">
          <ac:chgData name="Steiner Andreas 6206 ED" userId="e6377c33-a923-4f14-8587-531c474c7b48" providerId="ADAL" clId="{6ECD27E6-B224-41CD-B4E0-E297462320DD}" dt="2023-11-24T08:45:36.386" v="61533"/>
          <ac:spMkLst>
            <pc:docMk/>
            <pc:sldMk cId="4183350934" sldId="2147478561"/>
            <ac:spMk id="405" creationId="{A48863BF-9D11-C2F8-0FB9-C9089A2BE386}"/>
          </ac:spMkLst>
        </pc:spChg>
        <pc:spChg chg="add del mod">
          <ac:chgData name="Steiner Andreas 6206 ED" userId="e6377c33-a923-4f14-8587-531c474c7b48" providerId="ADAL" clId="{6ECD27E6-B224-41CD-B4E0-E297462320DD}" dt="2023-11-24T08:45:38.238" v="61688"/>
          <ac:spMkLst>
            <pc:docMk/>
            <pc:sldMk cId="4183350934" sldId="2147478561"/>
            <ac:spMk id="406" creationId="{22D875E9-7FAA-740A-A20A-26DA736CB619}"/>
          </ac:spMkLst>
        </pc:spChg>
        <pc:spChg chg="add del mod">
          <ac:chgData name="Steiner Andreas 6206 ED" userId="e6377c33-a923-4f14-8587-531c474c7b48" providerId="ADAL" clId="{6ECD27E6-B224-41CD-B4E0-E297462320DD}" dt="2023-11-24T08:45:40.133" v="61843"/>
          <ac:spMkLst>
            <pc:docMk/>
            <pc:sldMk cId="4183350934" sldId="2147478561"/>
            <ac:spMk id="407" creationId="{80FA0459-53EA-CF5D-2AF5-329356D6D708}"/>
          </ac:spMkLst>
        </pc:spChg>
        <pc:spChg chg="add del mod">
          <ac:chgData name="Steiner Andreas 6206 ED" userId="e6377c33-a923-4f14-8587-531c474c7b48" providerId="ADAL" clId="{6ECD27E6-B224-41CD-B4E0-E297462320DD}" dt="2023-11-24T08:45:42.162" v="61998"/>
          <ac:spMkLst>
            <pc:docMk/>
            <pc:sldMk cId="4183350934" sldId="2147478561"/>
            <ac:spMk id="408" creationId="{AD559576-0C55-BE97-621E-6F314A73F53C}"/>
          </ac:spMkLst>
        </pc:spChg>
        <pc:spChg chg="add del mod">
          <ac:chgData name="Steiner Andreas 6206 ED" userId="e6377c33-a923-4f14-8587-531c474c7b48" providerId="ADAL" clId="{6ECD27E6-B224-41CD-B4E0-E297462320DD}" dt="2023-11-24T08:45:44.130" v="62153"/>
          <ac:spMkLst>
            <pc:docMk/>
            <pc:sldMk cId="4183350934" sldId="2147478561"/>
            <ac:spMk id="409" creationId="{6DE75C26-2D78-2398-6888-9ADB8D3C46F1}"/>
          </ac:spMkLst>
        </pc:spChg>
        <pc:spChg chg="add del mod">
          <ac:chgData name="Steiner Andreas 6206 ED" userId="e6377c33-a923-4f14-8587-531c474c7b48" providerId="ADAL" clId="{6ECD27E6-B224-41CD-B4E0-E297462320DD}" dt="2023-11-24T08:45:46.253" v="62308"/>
          <ac:spMkLst>
            <pc:docMk/>
            <pc:sldMk cId="4183350934" sldId="2147478561"/>
            <ac:spMk id="410" creationId="{028DBE24-B6C6-5DE8-8C0F-406EFDAC7A3C}"/>
          </ac:spMkLst>
        </pc:spChg>
        <pc:spChg chg="add del mod">
          <ac:chgData name="Steiner Andreas 6206 ED" userId="e6377c33-a923-4f14-8587-531c474c7b48" providerId="ADAL" clId="{6ECD27E6-B224-41CD-B4E0-E297462320DD}" dt="2023-11-24T08:45:48.150" v="62463"/>
          <ac:spMkLst>
            <pc:docMk/>
            <pc:sldMk cId="4183350934" sldId="2147478561"/>
            <ac:spMk id="411" creationId="{04BC465C-F5DD-9F99-59DB-3F6AC2CC5208}"/>
          </ac:spMkLst>
        </pc:spChg>
        <pc:spChg chg="add del mod">
          <ac:chgData name="Steiner Andreas 6206 ED" userId="e6377c33-a923-4f14-8587-531c474c7b48" providerId="ADAL" clId="{6ECD27E6-B224-41CD-B4E0-E297462320DD}" dt="2023-11-24T08:45:50.501" v="62618"/>
          <ac:spMkLst>
            <pc:docMk/>
            <pc:sldMk cId="4183350934" sldId="2147478561"/>
            <ac:spMk id="412" creationId="{CC4E5012-6A95-CC8F-67D9-AD81ACF9288C}"/>
          </ac:spMkLst>
        </pc:spChg>
        <pc:spChg chg="add del mod">
          <ac:chgData name="Steiner Andreas 6206 ED" userId="e6377c33-a923-4f14-8587-531c474c7b48" providerId="ADAL" clId="{6ECD27E6-B224-41CD-B4E0-E297462320DD}" dt="2023-11-24T08:45:52.505" v="62773"/>
          <ac:spMkLst>
            <pc:docMk/>
            <pc:sldMk cId="4183350934" sldId="2147478561"/>
            <ac:spMk id="413" creationId="{B3196AA7-5389-EC3F-5EC2-67F037EFF3A2}"/>
          </ac:spMkLst>
        </pc:spChg>
        <pc:spChg chg="add del mod">
          <ac:chgData name="Steiner Andreas 6206 ED" userId="e6377c33-a923-4f14-8587-531c474c7b48" providerId="ADAL" clId="{6ECD27E6-B224-41CD-B4E0-E297462320DD}" dt="2023-11-24T08:45:54.518" v="62928"/>
          <ac:spMkLst>
            <pc:docMk/>
            <pc:sldMk cId="4183350934" sldId="2147478561"/>
            <ac:spMk id="414" creationId="{7E4484B3-A3BA-1ABB-EF8B-A95BBC742E72}"/>
          </ac:spMkLst>
        </pc:spChg>
        <pc:spChg chg="add del mod">
          <ac:chgData name="Steiner Andreas 6206 ED" userId="e6377c33-a923-4f14-8587-531c474c7b48" providerId="ADAL" clId="{6ECD27E6-B224-41CD-B4E0-E297462320DD}" dt="2023-11-24T08:45:56.728" v="63083"/>
          <ac:spMkLst>
            <pc:docMk/>
            <pc:sldMk cId="4183350934" sldId="2147478561"/>
            <ac:spMk id="415" creationId="{9C889107-E8BE-B65F-3D5F-FA539A6EAAD1}"/>
          </ac:spMkLst>
        </pc:spChg>
        <pc:spChg chg="add del mod">
          <ac:chgData name="Steiner Andreas 6206 ED" userId="e6377c33-a923-4f14-8587-531c474c7b48" providerId="ADAL" clId="{6ECD27E6-B224-41CD-B4E0-E297462320DD}" dt="2023-11-24T08:45:58.740" v="63238"/>
          <ac:spMkLst>
            <pc:docMk/>
            <pc:sldMk cId="4183350934" sldId="2147478561"/>
            <ac:spMk id="416" creationId="{ADC07881-358E-55A8-3B01-AA26866EF905}"/>
          </ac:spMkLst>
        </pc:spChg>
        <pc:spChg chg="add del mod">
          <ac:chgData name="Steiner Andreas 6206 ED" userId="e6377c33-a923-4f14-8587-531c474c7b48" providerId="ADAL" clId="{6ECD27E6-B224-41CD-B4E0-E297462320DD}" dt="2023-11-24T08:46:00.837" v="63393"/>
          <ac:spMkLst>
            <pc:docMk/>
            <pc:sldMk cId="4183350934" sldId="2147478561"/>
            <ac:spMk id="417" creationId="{41FE6F58-BFD1-E70E-77EB-83D1F91EC4D8}"/>
          </ac:spMkLst>
        </pc:spChg>
        <pc:spChg chg="add del mod">
          <ac:chgData name="Steiner Andreas 6206 ED" userId="e6377c33-a923-4f14-8587-531c474c7b48" providerId="ADAL" clId="{6ECD27E6-B224-41CD-B4E0-E297462320DD}" dt="2023-11-24T08:46:02.903" v="63548"/>
          <ac:spMkLst>
            <pc:docMk/>
            <pc:sldMk cId="4183350934" sldId="2147478561"/>
            <ac:spMk id="418" creationId="{FE97E810-66FA-DAE4-0191-4A8FAB042674}"/>
          </ac:spMkLst>
        </pc:spChg>
        <pc:spChg chg="add del mod">
          <ac:chgData name="Steiner Andreas 6206 ED" userId="e6377c33-a923-4f14-8587-531c474c7b48" providerId="ADAL" clId="{6ECD27E6-B224-41CD-B4E0-E297462320DD}" dt="2023-11-24T08:46:05.365" v="63703"/>
          <ac:spMkLst>
            <pc:docMk/>
            <pc:sldMk cId="4183350934" sldId="2147478561"/>
            <ac:spMk id="419" creationId="{45D7BDF1-E084-08AE-1156-FD9A6CAA1173}"/>
          </ac:spMkLst>
        </pc:spChg>
        <pc:spChg chg="add del mod">
          <ac:chgData name="Steiner Andreas 6206 ED" userId="e6377c33-a923-4f14-8587-531c474c7b48" providerId="ADAL" clId="{6ECD27E6-B224-41CD-B4E0-E297462320DD}" dt="2023-11-24T08:46:07.886" v="63858"/>
          <ac:spMkLst>
            <pc:docMk/>
            <pc:sldMk cId="4183350934" sldId="2147478561"/>
            <ac:spMk id="420" creationId="{9D42B94D-5625-4788-89D2-49D02FC88E1E}"/>
          </ac:spMkLst>
        </pc:spChg>
        <pc:spChg chg="add del mod">
          <ac:chgData name="Steiner Andreas 6206 ED" userId="e6377c33-a923-4f14-8587-531c474c7b48" providerId="ADAL" clId="{6ECD27E6-B224-41CD-B4E0-E297462320DD}" dt="2023-11-24T08:46:10.006" v="64013"/>
          <ac:spMkLst>
            <pc:docMk/>
            <pc:sldMk cId="4183350934" sldId="2147478561"/>
            <ac:spMk id="421" creationId="{C5EB49A9-3711-81BA-274E-A7A0CD5CC612}"/>
          </ac:spMkLst>
        </pc:spChg>
        <pc:spChg chg="add del mod">
          <ac:chgData name="Steiner Andreas 6206 ED" userId="e6377c33-a923-4f14-8587-531c474c7b48" providerId="ADAL" clId="{6ECD27E6-B224-41CD-B4E0-E297462320DD}" dt="2023-11-24T08:46:12.220" v="64168"/>
          <ac:spMkLst>
            <pc:docMk/>
            <pc:sldMk cId="4183350934" sldId="2147478561"/>
            <ac:spMk id="422" creationId="{10C53EE9-EA98-BC04-7A55-9D5CE593C6F1}"/>
          </ac:spMkLst>
        </pc:spChg>
        <pc:spChg chg="add del mod">
          <ac:chgData name="Steiner Andreas 6206 ED" userId="e6377c33-a923-4f14-8587-531c474c7b48" providerId="ADAL" clId="{6ECD27E6-B224-41CD-B4E0-E297462320DD}" dt="2023-11-24T08:46:14.389" v="64323"/>
          <ac:spMkLst>
            <pc:docMk/>
            <pc:sldMk cId="4183350934" sldId="2147478561"/>
            <ac:spMk id="423" creationId="{A6100D29-57FE-F664-9091-C46D37CA079F}"/>
          </ac:spMkLst>
        </pc:spChg>
        <pc:spChg chg="add del mod">
          <ac:chgData name="Steiner Andreas 6206 ED" userId="e6377c33-a923-4f14-8587-531c474c7b48" providerId="ADAL" clId="{6ECD27E6-B224-41CD-B4E0-E297462320DD}" dt="2023-11-24T08:46:16.572" v="64478"/>
          <ac:spMkLst>
            <pc:docMk/>
            <pc:sldMk cId="4183350934" sldId="2147478561"/>
            <ac:spMk id="424" creationId="{01BD0809-A443-6313-8120-E1CCF8283C2A}"/>
          </ac:spMkLst>
        </pc:spChg>
        <pc:spChg chg="add del mod">
          <ac:chgData name="Steiner Andreas 6206 ED" userId="e6377c33-a923-4f14-8587-531c474c7b48" providerId="ADAL" clId="{6ECD27E6-B224-41CD-B4E0-E297462320DD}" dt="2023-11-24T08:46:18.463" v="64633"/>
          <ac:spMkLst>
            <pc:docMk/>
            <pc:sldMk cId="4183350934" sldId="2147478561"/>
            <ac:spMk id="425" creationId="{1CAEF8D9-95CF-8AAD-ED5F-3390F7120D37}"/>
          </ac:spMkLst>
        </pc:spChg>
        <pc:spChg chg="add del mod">
          <ac:chgData name="Steiner Andreas 6206 ED" userId="e6377c33-a923-4f14-8587-531c474c7b48" providerId="ADAL" clId="{6ECD27E6-B224-41CD-B4E0-E297462320DD}" dt="2023-11-24T08:46:21.008" v="64788"/>
          <ac:spMkLst>
            <pc:docMk/>
            <pc:sldMk cId="4183350934" sldId="2147478561"/>
            <ac:spMk id="426" creationId="{3B57D908-1CA1-3B07-DC2F-74344477853C}"/>
          </ac:spMkLst>
        </pc:spChg>
        <pc:spChg chg="add del mod">
          <ac:chgData name="Steiner Andreas 6206 ED" userId="e6377c33-a923-4f14-8587-531c474c7b48" providerId="ADAL" clId="{6ECD27E6-B224-41CD-B4E0-E297462320DD}" dt="2023-11-24T08:46:23.329" v="64943"/>
          <ac:spMkLst>
            <pc:docMk/>
            <pc:sldMk cId="4183350934" sldId="2147478561"/>
            <ac:spMk id="427" creationId="{9219BE7C-0935-49F8-1712-05DF737B574C}"/>
          </ac:spMkLst>
        </pc:spChg>
        <pc:spChg chg="add del mod">
          <ac:chgData name="Steiner Andreas 6206 ED" userId="e6377c33-a923-4f14-8587-531c474c7b48" providerId="ADAL" clId="{6ECD27E6-B224-41CD-B4E0-E297462320DD}" dt="2023-11-24T08:46:25.483" v="65098"/>
          <ac:spMkLst>
            <pc:docMk/>
            <pc:sldMk cId="4183350934" sldId="2147478561"/>
            <ac:spMk id="428" creationId="{33058D1B-D2B9-53FD-7C96-A38FE4435857}"/>
          </ac:spMkLst>
        </pc:spChg>
        <pc:spChg chg="add del mod">
          <ac:chgData name="Steiner Andreas 6206 ED" userId="e6377c33-a923-4f14-8587-531c474c7b48" providerId="ADAL" clId="{6ECD27E6-B224-41CD-B4E0-E297462320DD}" dt="2023-11-24T08:46:27.803" v="65253"/>
          <ac:spMkLst>
            <pc:docMk/>
            <pc:sldMk cId="4183350934" sldId="2147478561"/>
            <ac:spMk id="429" creationId="{036C5CEE-841F-697E-405F-1573F1A76383}"/>
          </ac:spMkLst>
        </pc:spChg>
        <pc:spChg chg="add del mod">
          <ac:chgData name="Steiner Andreas 6206 ED" userId="e6377c33-a923-4f14-8587-531c474c7b48" providerId="ADAL" clId="{6ECD27E6-B224-41CD-B4E0-E297462320DD}" dt="2023-11-24T08:46:29.888" v="65408"/>
          <ac:spMkLst>
            <pc:docMk/>
            <pc:sldMk cId="4183350934" sldId="2147478561"/>
            <ac:spMk id="430" creationId="{26917AFC-B315-7FCC-5CC4-256ACA229F6D}"/>
          </ac:spMkLst>
        </pc:spChg>
        <pc:spChg chg="add del mod">
          <ac:chgData name="Steiner Andreas 6206 ED" userId="e6377c33-a923-4f14-8587-531c474c7b48" providerId="ADAL" clId="{6ECD27E6-B224-41CD-B4E0-E297462320DD}" dt="2023-11-24T08:46:32.356" v="65563"/>
          <ac:spMkLst>
            <pc:docMk/>
            <pc:sldMk cId="4183350934" sldId="2147478561"/>
            <ac:spMk id="431" creationId="{547C91C4-8CD9-4ABF-F85C-23809DAA17A6}"/>
          </ac:spMkLst>
        </pc:spChg>
        <pc:spChg chg="add del mod">
          <ac:chgData name="Steiner Andreas 6206 ED" userId="e6377c33-a923-4f14-8587-531c474c7b48" providerId="ADAL" clId="{6ECD27E6-B224-41CD-B4E0-E297462320DD}" dt="2023-11-24T08:46:34.367" v="65718"/>
          <ac:spMkLst>
            <pc:docMk/>
            <pc:sldMk cId="4183350934" sldId="2147478561"/>
            <ac:spMk id="432" creationId="{814C0A81-3FA4-0F56-B9D5-3DA23DA840ED}"/>
          </ac:spMkLst>
        </pc:spChg>
        <pc:spChg chg="add del mod">
          <ac:chgData name="Steiner Andreas 6206 ED" userId="e6377c33-a923-4f14-8587-531c474c7b48" providerId="ADAL" clId="{6ECD27E6-B224-41CD-B4E0-E297462320DD}" dt="2023-11-24T08:46:36.291" v="65873"/>
          <ac:spMkLst>
            <pc:docMk/>
            <pc:sldMk cId="4183350934" sldId="2147478561"/>
            <ac:spMk id="433" creationId="{3D4FC3BC-C114-19B4-8030-6F6E4E879A90}"/>
          </ac:spMkLst>
        </pc:spChg>
        <pc:spChg chg="add del mod">
          <ac:chgData name="Steiner Andreas 6206 ED" userId="e6377c33-a923-4f14-8587-531c474c7b48" providerId="ADAL" clId="{6ECD27E6-B224-41CD-B4E0-E297462320DD}" dt="2023-11-24T08:46:38.385" v="66028"/>
          <ac:spMkLst>
            <pc:docMk/>
            <pc:sldMk cId="4183350934" sldId="2147478561"/>
            <ac:spMk id="434" creationId="{CB384DAC-05B4-93FE-CDD4-7A306CEFB040}"/>
          </ac:spMkLst>
        </pc:spChg>
        <pc:spChg chg="add del mod">
          <ac:chgData name="Steiner Andreas 6206 ED" userId="e6377c33-a923-4f14-8587-531c474c7b48" providerId="ADAL" clId="{6ECD27E6-B224-41CD-B4E0-E297462320DD}" dt="2023-11-24T08:46:40.491" v="66183"/>
          <ac:spMkLst>
            <pc:docMk/>
            <pc:sldMk cId="4183350934" sldId="2147478561"/>
            <ac:spMk id="435" creationId="{9F3CC168-8644-E0CE-A0E9-4D40ECAC8960}"/>
          </ac:spMkLst>
        </pc:spChg>
        <pc:spChg chg="add del mod">
          <ac:chgData name="Steiner Andreas 6206 ED" userId="e6377c33-a923-4f14-8587-531c474c7b48" providerId="ADAL" clId="{6ECD27E6-B224-41CD-B4E0-E297462320DD}" dt="2023-11-24T08:46:42.758" v="66338"/>
          <ac:spMkLst>
            <pc:docMk/>
            <pc:sldMk cId="4183350934" sldId="2147478561"/>
            <ac:spMk id="436" creationId="{57E2914B-4B56-1064-70CB-71D9CDAB6509}"/>
          </ac:spMkLst>
        </pc:spChg>
        <pc:spChg chg="add del mod">
          <ac:chgData name="Steiner Andreas 6206 ED" userId="e6377c33-a923-4f14-8587-531c474c7b48" providerId="ADAL" clId="{6ECD27E6-B224-41CD-B4E0-E297462320DD}" dt="2023-11-24T08:46:44.862" v="66493"/>
          <ac:spMkLst>
            <pc:docMk/>
            <pc:sldMk cId="4183350934" sldId="2147478561"/>
            <ac:spMk id="437" creationId="{9F4DC527-BAE2-DCF9-C144-05D0EEB16BF5}"/>
          </ac:spMkLst>
        </pc:spChg>
        <pc:spChg chg="add del mod">
          <ac:chgData name="Steiner Andreas 6206 ED" userId="e6377c33-a923-4f14-8587-531c474c7b48" providerId="ADAL" clId="{6ECD27E6-B224-41CD-B4E0-E297462320DD}" dt="2023-11-24T08:46:46.941" v="66648"/>
          <ac:spMkLst>
            <pc:docMk/>
            <pc:sldMk cId="4183350934" sldId="2147478561"/>
            <ac:spMk id="438" creationId="{33542005-16CB-DB7B-8B26-D5F52DB9A7DC}"/>
          </ac:spMkLst>
        </pc:spChg>
        <pc:spChg chg="add del mod">
          <ac:chgData name="Steiner Andreas 6206 ED" userId="e6377c33-a923-4f14-8587-531c474c7b48" providerId="ADAL" clId="{6ECD27E6-B224-41CD-B4E0-E297462320DD}" dt="2023-11-24T08:46:49.070" v="66803"/>
          <ac:spMkLst>
            <pc:docMk/>
            <pc:sldMk cId="4183350934" sldId="2147478561"/>
            <ac:spMk id="439" creationId="{3E790D37-A50E-3EC2-30A8-40A8C7A12582}"/>
          </ac:spMkLst>
        </pc:spChg>
        <pc:spChg chg="add del mod">
          <ac:chgData name="Steiner Andreas 6206 ED" userId="e6377c33-a923-4f14-8587-531c474c7b48" providerId="ADAL" clId="{6ECD27E6-B224-41CD-B4E0-E297462320DD}" dt="2023-11-24T08:46:51.132" v="66958"/>
          <ac:spMkLst>
            <pc:docMk/>
            <pc:sldMk cId="4183350934" sldId="2147478561"/>
            <ac:spMk id="440" creationId="{4F5CA40E-A68B-DAFB-B281-CBA89EE4F521}"/>
          </ac:spMkLst>
        </pc:spChg>
        <pc:spChg chg="add del mod">
          <ac:chgData name="Steiner Andreas 6206 ED" userId="e6377c33-a923-4f14-8587-531c474c7b48" providerId="ADAL" clId="{6ECD27E6-B224-41CD-B4E0-E297462320DD}" dt="2023-11-24T08:46:53.153" v="67113"/>
          <ac:spMkLst>
            <pc:docMk/>
            <pc:sldMk cId="4183350934" sldId="2147478561"/>
            <ac:spMk id="441" creationId="{576C568C-A0FD-FFD8-1A5D-707EEBD688B4}"/>
          </ac:spMkLst>
        </pc:spChg>
        <pc:spChg chg="add del mod">
          <ac:chgData name="Steiner Andreas 6206 ED" userId="e6377c33-a923-4f14-8587-531c474c7b48" providerId="ADAL" clId="{6ECD27E6-B224-41CD-B4E0-E297462320DD}" dt="2023-11-24T08:46:55.156" v="67268"/>
          <ac:spMkLst>
            <pc:docMk/>
            <pc:sldMk cId="4183350934" sldId="2147478561"/>
            <ac:spMk id="442" creationId="{9CB108FE-7B00-1A88-D91B-1C32B3FBCEA0}"/>
          </ac:spMkLst>
        </pc:spChg>
        <pc:spChg chg="add del mod">
          <ac:chgData name="Steiner Andreas 6206 ED" userId="e6377c33-a923-4f14-8587-531c474c7b48" providerId="ADAL" clId="{6ECD27E6-B224-41CD-B4E0-E297462320DD}" dt="2023-11-24T08:46:57.092" v="67423"/>
          <ac:spMkLst>
            <pc:docMk/>
            <pc:sldMk cId="4183350934" sldId="2147478561"/>
            <ac:spMk id="443" creationId="{CD9FE593-49E5-B580-CFC5-89BA9D2D45D1}"/>
          </ac:spMkLst>
        </pc:spChg>
        <pc:spChg chg="add del mod">
          <ac:chgData name="Steiner Andreas 6206 ED" userId="e6377c33-a923-4f14-8587-531c474c7b48" providerId="ADAL" clId="{6ECD27E6-B224-41CD-B4E0-E297462320DD}" dt="2023-11-24T08:46:58.968" v="67578"/>
          <ac:spMkLst>
            <pc:docMk/>
            <pc:sldMk cId="4183350934" sldId="2147478561"/>
            <ac:spMk id="444" creationId="{EC7FF844-69CE-012D-6685-ABD6A43DAC74}"/>
          </ac:spMkLst>
        </pc:spChg>
        <pc:spChg chg="add del mod">
          <ac:chgData name="Steiner Andreas 6206 ED" userId="e6377c33-a923-4f14-8587-531c474c7b48" providerId="ADAL" clId="{6ECD27E6-B224-41CD-B4E0-E297462320DD}" dt="2023-11-24T08:47:01.076" v="67733"/>
          <ac:spMkLst>
            <pc:docMk/>
            <pc:sldMk cId="4183350934" sldId="2147478561"/>
            <ac:spMk id="445" creationId="{F880AAB8-6CA5-B24C-53BC-381FD7217A1C}"/>
          </ac:spMkLst>
        </pc:spChg>
        <pc:spChg chg="add del mod">
          <ac:chgData name="Steiner Andreas 6206 ED" userId="e6377c33-a923-4f14-8587-531c474c7b48" providerId="ADAL" clId="{6ECD27E6-B224-41CD-B4E0-E297462320DD}" dt="2023-11-24T08:47:03.279" v="67888"/>
          <ac:spMkLst>
            <pc:docMk/>
            <pc:sldMk cId="4183350934" sldId="2147478561"/>
            <ac:spMk id="446" creationId="{B911D1A8-08A2-8E04-2DE5-2E654C7338A2}"/>
          </ac:spMkLst>
        </pc:spChg>
        <pc:spChg chg="add del mod">
          <ac:chgData name="Steiner Andreas 6206 ED" userId="e6377c33-a923-4f14-8587-531c474c7b48" providerId="ADAL" clId="{6ECD27E6-B224-41CD-B4E0-E297462320DD}" dt="2023-11-24T08:47:05.218" v="68043"/>
          <ac:spMkLst>
            <pc:docMk/>
            <pc:sldMk cId="4183350934" sldId="2147478561"/>
            <ac:spMk id="447" creationId="{AFDFEB4E-FBA8-CB58-3939-3797C59E3DB2}"/>
          </ac:spMkLst>
        </pc:spChg>
        <pc:spChg chg="add del mod">
          <ac:chgData name="Steiner Andreas 6206 ED" userId="e6377c33-a923-4f14-8587-531c474c7b48" providerId="ADAL" clId="{6ECD27E6-B224-41CD-B4E0-E297462320DD}" dt="2023-11-24T08:47:06.994" v="68198"/>
          <ac:spMkLst>
            <pc:docMk/>
            <pc:sldMk cId="4183350934" sldId="2147478561"/>
            <ac:spMk id="448" creationId="{FD04C389-F162-5978-D2DA-E495EC1D965B}"/>
          </ac:spMkLst>
        </pc:spChg>
        <pc:spChg chg="add del mod">
          <ac:chgData name="Steiner Andreas 6206 ED" userId="e6377c33-a923-4f14-8587-531c474c7b48" providerId="ADAL" clId="{6ECD27E6-B224-41CD-B4E0-E297462320DD}" dt="2023-11-24T08:47:08.898" v="68353"/>
          <ac:spMkLst>
            <pc:docMk/>
            <pc:sldMk cId="4183350934" sldId="2147478561"/>
            <ac:spMk id="449" creationId="{E2CC879F-FF63-A73A-C040-19E4B287B294}"/>
          </ac:spMkLst>
        </pc:spChg>
        <pc:spChg chg="add del mod">
          <ac:chgData name="Steiner Andreas 6206 ED" userId="e6377c33-a923-4f14-8587-531c474c7b48" providerId="ADAL" clId="{6ECD27E6-B224-41CD-B4E0-E297462320DD}" dt="2023-11-24T08:47:10.774" v="68508"/>
          <ac:spMkLst>
            <pc:docMk/>
            <pc:sldMk cId="4183350934" sldId="2147478561"/>
            <ac:spMk id="450" creationId="{92EF9C23-5E46-35DA-6EE3-8A96F01EB4F5}"/>
          </ac:spMkLst>
        </pc:spChg>
        <pc:spChg chg="add del mod">
          <ac:chgData name="Steiner Andreas 6206 ED" userId="e6377c33-a923-4f14-8587-531c474c7b48" providerId="ADAL" clId="{6ECD27E6-B224-41CD-B4E0-E297462320DD}" dt="2023-11-24T08:47:12.658" v="68663"/>
          <ac:spMkLst>
            <pc:docMk/>
            <pc:sldMk cId="4183350934" sldId="2147478561"/>
            <ac:spMk id="451" creationId="{45F0E553-134D-BBF0-B011-241CA39E4855}"/>
          </ac:spMkLst>
        </pc:spChg>
        <pc:spChg chg="add del mod">
          <ac:chgData name="Steiner Andreas 6206 ED" userId="e6377c33-a923-4f14-8587-531c474c7b48" providerId="ADAL" clId="{6ECD27E6-B224-41CD-B4E0-E297462320DD}" dt="2023-11-24T08:47:14.829" v="68818"/>
          <ac:spMkLst>
            <pc:docMk/>
            <pc:sldMk cId="4183350934" sldId="2147478561"/>
            <ac:spMk id="452" creationId="{CFDFB4F0-A04D-BB5F-30E4-E87E3050843D}"/>
          </ac:spMkLst>
        </pc:spChg>
        <pc:spChg chg="add del mod">
          <ac:chgData name="Steiner Andreas 6206 ED" userId="e6377c33-a923-4f14-8587-531c474c7b48" providerId="ADAL" clId="{6ECD27E6-B224-41CD-B4E0-E297462320DD}" dt="2023-11-24T08:47:16.769" v="68973"/>
          <ac:spMkLst>
            <pc:docMk/>
            <pc:sldMk cId="4183350934" sldId="2147478561"/>
            <ac:spMk id="453" creationId="{ADFAD9D9-8D36-88BD-95E1-50C776E6C9E6}"/>
          </ac:spMkLst>
        </pc:spChg>
        <pc:spChg chg="add del mod">
          <ac:chgData name="Steiner Andreas 6206 ED" userId="e6377c33-a923-4f14-8587-531c474c7b48" providerId="ADAL" clId="{6ECD27E6-B224-41CD-B4E0-E297462320DD}" dt="2023-11-24T08:47:18.727" v="69128"/>
          <ac:spMkLst>
            <pc:docMk/>
            <pc:sldMk cId="4183350934" sldId="2147478561"/>
            <ac:spMk id="454" creationId="{AC637ABB-4492-D774-88B6-5234FE78D620}"/>
          </ac:spMkLst>
        </pc:spChg>
        <pc:spChg chg="add del mod">
          <ac:chgData name="Steiner Andreas 6206 ED" userId="e6377c33-a923-4f14-8587-531c474c7b48" providerId="ADAL" clId="{6ECD27E6-B224-41CD-B4E0-E297462320DD}" dt="2023-11-24T08:47:20.679" v="69283"/>
          <ac:spMkLst>
            <pc:docMk/>
            <pc:sldMk cId="4183350934" sldId="2147478561"/>
            <ac:spMk id="455" creationId="{1EFD7FF6-F3CD-3A1A-7ADE-FD9C5956DF23}"/>
          </ac:spMkLst>
        </pc:spChg>
        <pc:spChg chg="add del mod">
          <ac:chgData name="Steiner Andreas 6206 ED" userId="e6377c33-a923-4f14-8587-531c474c7b48" providerId="ADAL" clId="{6ECD27E6-B224-41CD-B4E0-E297462320DD}" dt="2023-11-24T08:47:23.133" v="69438"/>
          <ac:spMkLst>
            <pc:docMk/>
            <pc:sldMk cId="4183350934" sldId="2147478561"/>
            <ac:spMk id="456" creationId="{9E18A6EC-62E2-7611-7B1F-44CA32A7A0E2}"/>
          </ac:spMkLst>
        </pc:spChg>
        <pc:spChg chg="add del mod">
          <ac:chgData name="Steiner Andreas 6206 ED" userId="e6377c33-a923-4f14-8587-531c474c7b48" providerId="ADAL" clId="{6ECD27E6-B224-41CD-B4E0-E297462320DD}" dt="2023-11-24T08:47:25.805" v="69593"/>
          <ac:spMkLst>
            <pc:docMk/>
            <pc:sldMk cId="4183350934" sldId="2147478561"/>
            <ac:spMk id="457" creationId="{AD28A30A-2EAE-2032-D5FA-731BFFB2C8F6}"/>
          </ac:spMkLst>
        </pc:spChg>
        <pc:spChg chg="add del mod">
          <ac:chgData name="Steiner Andreas 6206 ED" userId="e6377c33-a923-4f14-8587-531c474c7b48" providerId="ADAL" clId="{6ECD27E6-B224-41CD-B4E0-E297462320DD}" dt="2023-11-24T08:47:27.969" v="69748"/>
          <ac:spMkLst>
            <pc:docMk/>
            <pc:sldMk cId="4183350934" sldId="2147478561"/>
            <ac:spMk id="458" creationId="{9B9115B4-FB6A-6E03-97DC-8A52918A712B}"/>
          </ac:spMkLst>
        </pc:spChg>
        <pc:spChg chg="add del mod">
          <ac:chgData name="Steiner Andreas 6206 ED" userId="e6377c33-a923-4f14-8587-531c474c7b48" providerId="ADAL" clId="{6ECD27E6-B224-41CD-B4E0-E297462320DD}" dt="2023-11-24T08:47:30.002" v="69903"/>
          <ac:spMkLst>
            <pc:docMk/>
            <pc:sldMk cId="4183350934" sldId="2147478561"/>
            <ac:spMk id="459" creationId="{DF546776-6891-686B-9D25-3D8F2506ACD4}"/>
          </ac:spMkLst>
        </pc:spChg>
        <pc:spChg chg="add del mod">
          <ac:chgData name="Steiner Andreas 6206 ED" userId="e6377c33-a923-4f14-8587-531c474c7b48" providerId="ADAL" clId="{6ECD27E6-B224-41CD-B4E0-E297462320DD}" dt="2023-11-24T08:47:31.995" v="70058"/>
          <ac:spMkLst>
            <pc:docMk/>
            <pc:sldMk cId="4183350934" sldId="2147478561"/>
            <ac:spMk id="460" creationId="{F1488FD1-E865-E720-A1CF-D50D086A1D04}"/>
          </ac:spMkLst>
        </pc:spChg>
        <pc:spChg chg="add del mod">
          <ac:chgData name="Steiner Andreas 6206 ED" userId="e6377c33-a923-4f14-8587-531c474c7b48" providerId="ADAL" clId="{6ECD27E6-B224-41CD-B4E0-E297462320DD}" dt="2023-11-24T08:47:33.955" v="70213"/>
          <ac:spMkLst>
            <pc:docMk/>
            <pc:sldMk cId="4183350934" sldId="2147478561"/>
            <ac:spMk id="461" creationId="{A790413F-686F-09B0-AE3B-F4DF97C6B6B0}"/>
          </ac:spMkLst>
        </pc:spChg>
        <pc:spChg chg="add del mod">
          <ac:chgData name="Steiner Andreas 6206 ED" userId="e6377c33-a923-4f14-8587-531c474c7b48" providerId="ADAL" clId="{6ECD27E6-B224-41CD-B4E0-E297462320DD}" dt="2023-11-24T08:47:36.117" v="70368"/>
          <ac:spMkLst>
            <pc:docMk/>
            <pc:sldMk cId="4183350934" sldId="2147478561"/>
            <ac:spMk id="462" creationId="{00B0F67B-FBA3-146E-1EAF-26D0105ABA91}"/>
          </ac:spMkLst>
        </pc:spChg>
        <pc:spChg chg="add del mod">
          <ac:chgData name="Steiner Andreas 6206 ED" userId="e6377c33-a923-4f14-8587-531c474c7b48" providerId="ADAL" clId="{6ECD27E6-B224-41CD-B4E0-E297462320DD}" dt="2023-11-24T08:47:38.225" v="70523"/>
          <ac:spMkLst>
            <pc:docMk/>
            <pc:sldMk cId="4183350934" sldId="2147478561"/>
            <ac:spMk id="463" creationId="{5F2D4740-4728-7BB9-E1D4-E12436B20B2B}"/>
          </ac:spMkLst>
        </pc:spChg>
        <pc:spChg chg="add del mod">
          <ac:chgData name="Steiner Andreas 6206 ED" userId="e6377c33-a923-4f14-8587-531c474c7b48" providerId="ADAL" clId="{6ECD27E6-B224-41CD-B4E0-E297462320DD}" dt="2023-11-24T08:47:40.312" v="70678"/>
          <ac:spMkLst>
            <pc:docMk/>
            <pc:sldMk cId="4183350934" sldId="2147478561"/>
            <ac:spMk id="464" creationId="{EA0A3E4E-4C06-2B2E-EF09-EFA6816A1CB5}"/>
          </ac:spMkLst>
        </pc:spChg>
        <pc:spChg chg="add del mod">
          <ac:chgData name="Steiner Andreas 6206 ED" userId="e6377c33-a923-4f14-8587-531c474c7b48" providerId="ADAL" clId="{6ECD27E6-B224-41CD-B4E0-E297462320DD}" dt="2023-11-24T08:47:42.207" v="70833"/>
          <ac:spMkLst>
            <pc:docMk/>
            <pc:sldMk cId="4183350934" sldId="2147478561"/>
            <ac:spMk id="465" creationId="{9328EB3A-D9F7-2107-0092-726FF13A0E2C}"/>
          </ac:spMkLst>
        </pc:spChg>
        <pc:spChg chg="add del mod">
          <ac:chgData name="Steiner Andreas 6206 ED" userId="e6377c33-a923-4f14-8587-531c474c7b48" providerId="ADAL" clId="{6ECD27E6-B224-41CD-B4E0-E297462320DD}" dt="2023-11-24T08:47:44.136" v="70988"/>
          <ac:spMkLst>
            <pc:docMk/>
            <pc:sldMk cId="4183350934" sldId="2147478561"/>
            <ac:spMk id="466" creationId="{C8A1C206-7531-6A21-B3D1-651A5A74A910}"/>
          </ac:spMkLst>
        </pc:spChg>
        <pc:spChg chg="add del mod">
          <ac:chgData name="Steiner Andreas 6206 ED" userId="e6377c33-a923-4f14-8587-531c474c7b48" providerId="ADAL" clId="{6ECD27E6-B224-41CD-B4E0-E297462320DD}" dt="2023-11-24T08:47:46.088" v="71143"/>
          <ac:spMkLst>
            <pc:docMk/>
            <pc:sldMk cId="4183350934" sldId="2147478561"/>
            <ac:spMk id="467" creationId="{7606DFDA-D2EE-053F-FA68-3FD150209EA1}"/>
          </ac:spMkLst>
        </pc:spChg>
        <pc:spChg chg="add del mod">
          <ac:chgData name="Steiner Andreas 6206 ED" userId="e6377c33-a923-4f14-8587-531c474c7b48" providerId="ADAL" clId="{6ECD27E6-B224-41CD-B4E0-E297462320DD}" dt="2023-11-24T08:47:48.194" v="71298"/>
          <ac:spMkLst>
            <pc:docMk/>
            <pc:sldMk cId="4183350934" sldId="2147478561"/>
            <ac:spMk id="468" creationId="{9DDC637C-3C76-F8D5-BE54-46CD52B6E649}"/>
          </ac:spMkLst>
        </pc:spChg>
        <pc:spChg chg="add del mod">
          <ac:chgData name="Steiner Andreas 6206 ED" userId="e6377c33-a923-4f14-8587-531c474c7b48" providerId="ADAL" clId="{6ECD27E6-B224-41CD-B4E0-E297462320DD}" dt="2023-11-24T08:47:50.279" v="71453"/>
          <ac:spMkLst>
            <pc:docMk/>
            <pc:sldMk cId="4183350934" sldId="2147478561"/>
            <ac:spMk id="469" creationId="{D16CE702-2231-970E-BFDA-58890210243D}"/>
          </ac:spMkLst>
        </pc:spChg>
        <pc:spChg chg="add del mod">
          <ac:chgData name="Steiner Andreas 6206 ED" userId="e6377c33-a923-4f14-8587-531c474c7b48" providerId="ADAL" clId="{6ECD27E6-B224-41CD-B4E0-E297462320DD}" dt="2023-11-24T08:47:52.174" v="71608"/>
          <ac:spMkLst>
            <pc:docMk/>
            <pc:sldMk cId="4183350934" sldId="2147478561"/>
            <ac:spMk id="470" creationId="{9FCC6108-77F5-A1AC-2C5D-051AC1A83A44}"/>
          </ac:spMkLst>
        </pc:spChg>
        <pc:spChg chg="add del mod">
          <ac:chgData name="Steiner Andreas 6206 ED" userId="e6377c33-a923-4f14-8587-531c474c7b48" providerId="ADAL" clId="{6ECD27E6-B224-41CD-B4E0-E297462320DD}" dt="2023-11-24T08:47:54.105" v="71763"/>
          <ac:spMkLst>
            <pc:docMk/>
            <pc:sldMk cId="4183350934" sldId="2147478561"/>
            <ac:spMk id="471" creationId="{7C1D0F7F-17D1-5130-0233-DD747702C769}"/>
          </ac:spMkLst>
        </pc:spChg>
        <pc:spChg chg="add del mod">
          <ac:chgData name="Steiner Andreas 6206 ED" userId="e6377c33-a923-4f14-8587-531c474c7b48" providerId="ADAL" clId="{6ECD27E6-B224-41CD-B4E0-E297462320DD}" dt="2023-11-24T08:47:55.976" v="71918"/>
          <ac:spMkLst>
            <pc:docMk/>
            <pc:sldMk cId="4183350934" sldId="2147478561"/>
            <ac:spMk id="472" creationId="{CBA4264A-A19E-F2DA-6111-742E24791598}"/>
          </ac:spMkLst>
        </pc:spChg>
        <pc:spChg chg="add del mod">
          <ac:chgData name="Steiner Andreas 6206 ED" userId="e6377c33-a923-4f14-8587-531c474c7b48" providerId="ADAL" clId="{6ECD27E6-B224-41CD-B4E0-E297462320DD}" dt="2023-11-24T08:47:57.962" v="72073"/>
          <ac:spMkLst>
            <pc:docMk/>
            <pc:sldMk cId="4183350934" sldId="2147478561"/>
            <ac:spMk id="473" creationId="{B1EA1FD2-339B-3A9B-A32F-AD1D61BE5D35}"/>
          </ac:spMkLst>
        </pc:spChg>
        <pc:spChg chg="add del mod">
          <ac:chgData name="Steiner Andreas 6206 ED" userId="e6377c33-a923-4f14-8587-531c474c7b48" providerId="ADAL" clId="{6ECD27E6-B224-41CD-B4E0-E297462320DD}" dt="2023-11-24T08:48:00.105" v="72228"/>
          <ac:spMkLst>
            <pc:docMk/>
            <pc:sldMk cId="4183350934" sldId="2147478561"/>
            <ac:spMk id="474" creationId="{97E81BCF-E5F1-48FF-0BE5-BBD3BD94579C}"/>
          </ac:spMkLst>
        </pc:spChg>
        <pc:spChg chg="add del mod">
          <ac:chgData name="Steiner Andreas 6206 ED" userId="e6377c33-a923-4f14-8587-531c474c7b48" providerId="ADAL" clId="{6ECD27E6-B224-41CD-B4E0-E297462320DD}" dt="2023-11-24T08:48:02.238" v="72383"/>
          <ac:spMkLst>
            <pc:docMk/>
            <pc:sldMk cId="4183350934" sldId="2147478561"/>
            <ac:spMk id="475" creationId="{3AFA5680-034D-2737-69C4-AD9A2003DBC9}"/>
          </ac:spMkLst>
        </pc:spChg>
        <pc:spChg chg="add del mod">
          <ac:chgData name="Steiner Andreas 6206 ED" userId="e6377c33-a923-4f14-8587-531c474c7b48" providerId="ADAL" clId="{6ECD27E6-B224-41CD-B4E0-E297462320DD}" dt="2023-11-24T08:48:04.253" v="72538"/>
          <ac:spMkLst>
            <pc:docMk/>
            <pc:sldMk cId="4183350934" sldId="2147478561"/>
            <ac:spMk id="476" creationId="{8E43FC3F-B079-3C66-E910-4E49ADC53C51}"/>
          </ac:spMkLst>
        </pc:spChg>
        <pc:spChg chg="add del mod">
          <ac:chgData name="Steiner Andreas 6206 ED" userId="e6377c33-a923-4f14-8587-531c474c7b48" providerId="ADAL" clId="{6ECD27E6-B224-41CD-B4E0-E297462320DD}" dt="2023-11-24T08:48:06.513" v="72693"/>
          <ac:spMkLst>
            <pc:docMk/>
            <pc:sldMk cId="4183350934" sldId="2147478561"/>
            <ac:spMk id="477" creationId="{FDB7C510-6CD7-074A-A2A0-40528205D61C}"/>
          </ac:spMkLst>
        </pc:spChg>
        <pc:spChg chg="add del mod">
          <ac:chgData name="Steiner Andreas 6206 ED" userId="e6377c33-a923-4f14-8587-531c474c7b48" providerId="ADAL" clId="{6ECD27E6-B224-41CD-B4E0-E297462320DD}" dt="2023-11-24T08:48:08.606" v="72848"/>
          <ac:spMkLst>
            <pc:docMk/>
            <pc:sldMk cId="4183350934" sldId="2147478561"/>
            <ac:spMk id="478" creationId="{3AD3B320-B017-88A8-8EC5-27CA38B0ABDF}"/>
          </ac:spMkLst>
        </pc:spChg>
        <pc:spChg chg="add del mod">
          <ac:chgData name="Steiner Andreas 6206 ED" userId="e6377c33-a923-4f14-8587-531c474c7b48" providerId="ADAL" clId="{6ECD27E6-B224-41CD-B4E0-E297462320DD}" dt="2023-11-24T08:48:10.717" v="73003"/>
          <ac:spMkLst>
            <pc:docMk/>
            <pc:sldMk cId="4183350934" sldId="2147478561"/>
            <ac:spMk id="479" creationId="{2A6C527C-56A7-B0E0-C34F-887CB6CA0DF0}"/>
          </ac:spMkLst>
        </pc:spChg>
        <pc:spChg chg="add del mod">
          <ac:chgData name="Steiner Andreas 6206 ED" userId="e6377c33-a923-4f14-8587-531c474c7b48" providerId="ADAL" clId="{6ECD27E6-B224-41CD-B4E0-E297462320DD}" dt="2023-11-24T08:48:12.638" v="73158"/>
          <ac:spMkLst>
            <pc:docMk/>
            <pc:sldMk cId="4183350934" sldId="2147478561"/>
            <ac:spMk id="480" creationId="{E13487B7-E97D-9AFC-2A23-9836648F2CBB}"/>
          </ac:spMkLst>
        </pc:spChg>
        <pc:spChg chg="add del mod">
          <ac:chgData name="Steiner Andreas 6206 ED" userId="e6377c33-a923-4f14-8587-531c474c7b48" providerId="ADAL" clId="{6ECD27E6-B224-41CD-B4E0-E297462320DD}" dt="2023-11-24T08:48:15.277" v="73313"/>
          <ac:spMkLst>
            <pc:docMk/>
            <pc:sldMk cId="4183350934" sldId="2147478561"/>
            <ac:spMk id="481" creationId="{D8DE6FDA-F151-28E0-01AF-0CF9D95E8D78}"/>
          </ac:spMkLst>
        </pc:spChg>
        <pc:spChg chg="add del mod">
          <ac:chgData name="Steiner Andreas 6206 ED" userId="e6377c33-a923-4f14-8587-531c474c7b48" providerId="ADAL" clId="{6ECD27E6-B224-41CD-B4E0-E297462320DD}" dt="2023-11-24T08:48:18.065" v="73468"/>
          <ac:spMkLst>
            <pc:docMk/>
            <pc:sldMk cId="4183350934" sldId="2147478561"/>
            <ac:spMk id="482" creationId="{4F446ECF-5CBA-58F6-1EF1-13B5308E3031}"/>
          </ac:spMkLst>
        </pc:spChg>
        <pc:spChg chg="add del mod">
          <ac:chgData name="Steiner Andreas 6206 ED" userId="e6377c33-a923-4f14-8587-531c474c7b48" providerId="ADAL" clId="{6ECD27E6-B224-41CD-B4E0-E297462320DD}" dt="2023-11-24T08:48:20.473" v="73623"/>
          <ac:spMkLst>
            <pc:docMk/>
            <pc:sldMk cId="4183350934" sldId="2147478561"/>
            <ac:spMk id="483" creationId="{08BA0E16-CDA7-60D7-2F0D-999F41A625B8}"/>
          </ac:spMkLst>
        </pc:spChg>
        <pc:spChg chg="add del mod">
          <ac:chgData name="Steiner Andreas 6206 ED" userId="e6377c33-a923-4f14-8587-531c474c7b48" providerId="ADAL" clId="{6ECD27E6-B224-41CD-B4E0-E297462320DD}" dt="2023-11-24T08:48:22.621" v="73778"/>
          <ac:spMkLst>
            <pc:docMk/>
            <pc:sldMk cId="4183350934" sldId="2147478561"/>
            <ac:spMk id="484" creationId="{DB74C5AD-148C-61B8-0B38-1AF30DC6C8D8}"/>
          </ac:spMkLst>
        </pc:spChg>
        <pc:spChg chg="add del mod">
          <ac:chgData name="Steiner Andreas 6206 ED" userId="e6377c33-a923-4f14-8587-531c474c7b48" providerId="ADAL" clId="{6ECD27E6-B224-41CD-B4E0-E297462320DD}" dt="2023-11-24T08:48:24.694" v="73933"/>
          <ac:spMkLst>
            <pc:docMk/>
            <pc:sldMk cId="4183350934" sldId="2147478561"/>
            <ac:spMk id="485" creationId="{707FFF58-CE81-AAE2-808A-4133FFA47183}"/>
          </ac:spMkLst>
        </pc:spChg>
        <pc:spChg chg="add del mod">
          <ac:chgData name="Steiner Andreas 6206 ED" userId="e6377c33-a923-4f14-8587-531c474c7b48" providerId="ADAL" clId="{6ECD27E6-B224-41CD-B4E0-E297462320DD}" dt="2023-11-24T08:48:26.790" v="74088"/>
          <ac:spMkLst>
            <pc:docMk/>
            <pc:sldMk cId="4183350934" sldId="2147478561"/>
            <ac:spMk id="486" creationId="{3037A11C-42B1-E600-D8DE-9CE2B10E85A0}"/>
          </ac:spMkLst>
        </pc:spChg>
        <pc:spChg chg="add del mod">
          <ac:chgData name="Steiner Andreas 6206 ED" userId="e6377c33-a923-4f14-8587-531c474c7b48" providerId="ADAL" clId="{6ECD27E6-B224-41CD-B4E0-E297462320DD}" dt="2023-11-24T08:48:28.782" v="74243"/>
          <ac:spMkLst>
            <pc:docMk/>
            <pc:sldMk cId="4183350934" sldId="2147478561"/>
            <ac:spMk id="487" creationId="{B8C1C2B9-A66C-37A9-C6A4-E236E56E1C68}"/>
          </ac:spMkLst>
        </pc:spChg>
        <pc:spChg chg="add del mod">
          <ac:chgData name="Steiner Andreas 6206 ED" userId="e6377c33-a923-4f14-8587-531c474c7b48" providerId="ADAL" clId="{6ECD27E6-B224-41CD-B4E0-E297462320DD}" dt="2023-11-24T08:48:30.655" v="74398"/>
          <ac:spMkLst>
            <pc:docMk/>
            <pc:sldMk cId="4183350934" sldId="2147478561"/>
            <ac:spMk id="488" creationId="{EAD73045-DB31-1EED-2736-18106D0A7235}"/>
          </ac:spMkLst>
        </pc:spChg>
        <pc:spChg chg="add del mod">
          <ac:chgData name="Steiner Andreas 6206 ED" userId="e6377c33-a923-4f14-8587-531c474c7b48" providerId="ADAL" clId="{6ECD27E6-B224-41CD-B4E0-E297462320DD}" dt="2023-11-24T08:48:32.644" v="74553"/>
          <ac:spMkLst>
            <pc:docMk/>
            <pc:sldMk cId="4183350934" sldId="2147478561"/>
            <ac:spMk id="489" creationId="{E935DE47-404B-9D3D-A617-38CCF0A93C0F}"/>
          </ac:spMkLst>
        </pc:spChg>
        <pc:spChg chg="add del mod">
          <ac:chgData name="Steiner Andreas 6206 ED" userId="e6377c33-a923-4f14-8587-531c474c7b48" providerId="ADAL" clId="{6ECD27E6-B224-41CD-B4E0-E297462320DD}" dt="2023-11-24T08:48:34.924" v="74708"/>
          <ac:spMkLst>
            <pc:docMk/>
            <pc:sldMk cId="4183350934" sldId="2147478561"/>
            <ac:spMk id="490" creationId="{CFDE84AA-3E35-BBB7-6410-497185EA4D4F}"/>
          </ac:spMkLst>
        </pc:spChg>
        <pc:spChg chg="add del mod">
          <ac:chgData name="Steiner Andreas 6206 ED" userId="e6377c33-a923-4f14-8587-531c474c7b48" providerId="ADAL" clId="{6ECD27E6-B224-41CD-B4E0-E297462320DD}" dt="2023-11-24T08:48:37.061" v="74863"/>
          <ac:spMkLst>
            <pc:docMk/>
            <pc:sldMk cId="4183350934" sldId="2147478561"/>
            <ac:spMk id="491" creationId="{EE1B6341-48B6-C058-C252-CA36F430CEA9}"/>
          </ac:spMkLst>
        </pc:spChg>
        <pc:spChg chg="add del mod">
          <ac:chgData name="Steiner Andreas 6206 ED" userId="e6377c33-a923-4f14-8587-531c474c7b48" providerId="ADAL" clId="{6ECD27E6-B224-41CD-B4E0-E297462320DD}" dt="2023-11-24T08:48:39.115" v="75018"/>
          <ac:spMkLst>
            <pc:docMk/>
            <pc:sldMk cId="4183350934" sldId="2147478561"/>
            <ac:spMk id="492" creationId="{28C28180-6413-76A0-1CFE-2CE6B4A984CD}"/>
          </ac:spMkLst>
        </pc:spChg>
        <pc:spChg chg="add del mod">
          <ac:chgData name="Steiner Andreas 6206 ED" userId="e6377c33-a923-4f14-8587-531c474c7b48" providerId="ADAL" clId="{6ECD27E6-B224-41CD-B4E0-E297462320DD}" dt="2023-11-24T08:48:41.332" v="75173"/>
          <ac:spMkLst>
            <pc:docMk/>
            <pc:sldMk cId="4183350934" sldId="2147478561"/>
            <ac:spMk id="493" creationId="{B39AA672-1B5D-9D0C-395A-AA9C98E5AA9A}"/>
          </ac:spMkLst>
        </pc:spChg>
        <pc:spChg chg="add del mod">
          <ac:chgData name="Steiner Andreas 6206 ED" userId="e6377c33-a923-4f14-8587-531c474c7b48" providerId="ADAL" clId="{6ECD27E6-B224-41CD-B4E0-E297462320DD}" dt="2023-11-24T08:48:43.730" v="75328"/>
          <ac:spMkLst>
            <pc:docMk/>
            <pc:sldMk cId="4183350934" sldId="2147478561"/>
            <ac:spMk id="494" creationId="{4448851F-CB98-3054-8B54-757A3E1E9B18}"/>
          </ac:spMkLst>
        </pc:spChg>
        <pc:spChg chg="add del mod">
          <ac:chgData name="Steiner Andreas 6206 ED" userId="e6377c33-a923-4f14-8587-531c474c7b48" providerId="ADAL" clId="{6ECD27E6-B224-41CD-B4E0-E297462320DD}" dt="2023-11-24T08:48:46.031" v="75483"/>
          <ac:spMkLst>
            <pc:docMk/>
            <pc:sldMk cId="4183350934" sldId="2147478561"/>
            <ac:spMk id="495" creationId="{49A399CA-D359-5B67-7921-98CE04263099}"/>
          </ac:spMkLst>
        </pc:spChg>
        <pc:spChg chg="add del mod">
          <ac:chgData name="Steiner Andreas 6206 ED" userId="e6377c33-a923-4f14-8587-531c474c7b48" providerId="ADAL" clId="{6ECD27E6-B224-41CD-B4E0-E297462320DD}" dt="2023-11-24T08:48:48.020" v="75638"/>
          <ac:spMkLst>
            <pc:docMk/>
            <pc:sldMk cId="4183350934" sldId="2147478561"/>
            <ac:spMk id="496" creationId="{0BD7D156-9965-933D-B95D-C894ABCBCDB9}"/>
          </ac:spMkLst>
        </pc:spChg>
        <pc:spChg chg="add del mod">
          <ac:chgData name="Steiner Andreas 6206 ED" userId="e6377c33-a923-4f14-8587-531c474c7b48" providerId="ADAL" clId="{6ECD27E6-B224-41CD-B4E0-E297462320DD}" dt="2023-11-24T08:48:50.062" v="75793"/>
          <ac:spMkLst>
            <pc:docMk/>
            <pc:sldMk cId="4183350934" sldId="2147478561"/>
            <ac:spMk id="497" creationId="{96833F10-6FF0-96F6-DA95-33416981E233}"/>
          </ac:spMkLst>
        </pc:spChg>
        <pc:spChg chg="add del mod">
          <ac:chgData name="Steiner Andreas 6206 ED" userId="e6377c33-a923-4f14-8587-531c474c7b48" providerId="ADAL" clId="{6ECD27E6-B224-41CD-B4E0-E297462320DD}" dt="2023-11-24T08:48:52.254" v="75948"/>
          <ac:spMkLst>
            <pc:docMk/>
            <pc:sldMk cId="4183350934" sldId="2147478561"/>
            <ac:spMk id="498" creationId="{BF40D1B9-6A4E-5ACC-8F8B-BA979F7137EE}"/>
          </ac:spMkLst>
        </pc:spChg>
        <pc:spChg chg="add del mod">
          <ac:chgData name="Steiner Andreas 6206 ED" userId="e6377c33-a923-4f14-8587-531c474c7b48" providerId="ADAL" clId="{6ECD27E6-B224-41CD-B4E0-E297462320DD}" dt="2023-11-24T08:48:54.118" v="76103"/>
          <ac:spMkLst>
            <pc:docMk/>
            <pc:sldMk cId="4183350934" sldId="2147478561"/>
            <ac:spMk id="499" creationId="{80C9C639-65F8-A606-F218-13B0F16D53F2}"/>
          </ac:spMkLst>
        </pc:spChg>
        <pc:spChg chg="add del mod">
          <ac:chgData name="Steiner Andreas 6206 ED" userId="e6377c33-a923-4f14-8587-531c474c7b48" providerId="ADAL" clId="{6ECD27E6-B224-41CD-B4E0-E297462320DD}" dt="2023-11-24T08:48:56.146" v="76258"/>
          <ac:spMkLst>
            <pc:docMk/>
            <pc:sldMk cId="4183350934" sldId="2147478561"/>
            <ac:spMk id="500" creationId="{7E69762F-B001-DF47-925E-EA49B1FC92EA}"/>
          </ac:spMkLst>
        </pc:spChg>
        <pc:spChg chg="add del mod">
          <ac:chgData name="Steiner Andreas 6206 ED" userId="e6377c33-a923-4f14-8587-531c474c7b48" providerId="ADAL" clId="{6ECD27E6-B224-41CD-B4E0-E297462320DD}" dt="2023-11-24T08:48:58.067" v="76413"/>
          <ac:spMkLst>
            <pc:docMk/>
            <pc:sldMk cId="4183350934" sldId="2147478561"/>
            <ac:spMk id="501" creationId="{03E33EDD-9F50-EF30-5FA9-FD5C751CF3C5}"/>
          </ac:spMkLst>
        </pc:spChg>
        <pc:spChg chg="add del mod">
          <ac:chgData name="Steiner Andreas 6206 ED" userId="e6377c33-a923-4f14-8587-531c474c7b48" providerId="ADAL" clId="{6ECD27E6-B224-41CD-B4E0-E297462320DD}" dt="2023-11-24T08:49:00.143" v="76568"/>
          <ac:spMkLst>
            <pc:docMk/>
            <pc:sldMk cId="4183350934" sldId="2147478561"/>
            <ac:spMk id="502" creationId="{8E39F7FB-9882-B67F-8B85-AA4C49B54063}"/>
          </ac:spMkLst>
        </pc:spChg>
        <pc:spChg chg="add del mod">
          <ac:chgData name="Steiner Andreas 6206 ED" userId="e6377c33-a923-4f14-8587-531c474c7b48" providerId="ADAL" clId="{6ECD27E6-B224-41CD-B4E0-E297462320DD}" dt="2023-11-24T08:49:02.097" v="76723"/>
          <ac:spMkLst>
            <pc:docMk/>
            <pc:sldMk cId="4183350934" sldId="2147478561"/>
            <ac:spMk id="503" creationId="{C8E73607-2691-627F-DF49-F5C34B3EE51F}"/>
          </ac:spMkLst>
        </pc:spChg>
        <pc:spChg chg="add del mod">
          <ac:chgData name="Steiner Andreas 6206 ED" userId="e6377c33-a923-4f14-8587-531c474c7b48" providerId="ADAL" clId="{6ECD27E6-B224-41CD-B4E0-E297462320DD}" dt="2023-11-24T08:49:04.065" v="76878"/>
          <ac:spMkLst>
            <pc:docMk/>
            <pc:sldMk cId="4183350934" sldId="2147478561"/>
            <ac:spMk id="504" creationId="{C08B7B7C-D7A7-EEDF-60D9-4E663510597A}"/>
          </ac:spMkLst>
        </pc:spChg>
        <pc:spChg chg="add del mod">
          <ac:chgData name="Steiner Andreas 6206 ED" userId="e6377c33-a923-4f14-8587-531c474c7b48" providerId="ADAL" clId="{6ECD27E6-B224-41CD-B4E0-E297462320DD}" dt="2023-11-24T08:49:05.972" v="77033"/>
          <ac:spMkLst>
            <pc:docMk/>
            <pc:sldMk cId="4183350934" sldId="2147478561"/>
            <ac:spMk id="505" creationId="{3ED7A128-32C1-B7DE-B7B6-FD2C3CBCA111}"/>
          </ac:spMkLst>
        </pc:spChg>
        <pc:spChg chg="add del mod">
          <ac:chgData name="Steiner Andreas 6206 ED" userId="e6377c33-a923-4f14-8587-531c474c7b48" providerId="ADAL" clId="{6ECD27E6-B224-41CD-B4E0-E297462320DD}" dt="2023-11-24T08:49:08.073" v="77188"/>
          <ac:spMkLst>
            <pc:docMk/>
            <pc:sldMk cId="4183350934" sldId="2147478561"/>
            <ac:spMk id="506" creationId="{58203468-9DC0-1C98-ED80-450358303818}"/>
          </ac:spMkLst>
        </pc:spChg>
        <pc:spChg chg="add del mod">
          <ac:chgData name="Steiner Andreas 6206 ED" userId="e6377c33-a923-4f14-8587-531c474c7b48" providerId="ADAL" clId="{6ECD27E6-B224-41CD-B4E0-E297462320DD}" dt="2023-11-24T08:49:09.960" v="77343"/>
          <ac:spMkLst>
            <pc:docMk/>
            <pc:sldMk cId="4183350934" sldId="2147478561"/>
            <ac:spMk id="507" creationId="{6E9ABBA3-41A3-438C-DC9A-3CD275F17907}"/>
          </ac:spMkLst>
        </pc:spChg>
        <pc:spChg chg="add del mod">
          <ac:chgData name="Steiner Andreas 6206 ED" userId="e6377c33-a923-4f14-8587-531c474c7b48" providerId="ADAL" clId="{6ECD27E6-B224-41CD-B4E0-E297462320DD}" dt="2023-11-24T08:49:11.732" v="77498"/>
          <ac:spMkLst>
            <pc:docMk/>
            <pc:sldMk cId="4183350934" sldId="2147478561"/>
            <ac:spMk id="508" creationId="{EF21FF8D-EFB8-005D-DB2C-E30C50CFEE32}"/>
          </ac:spMkLst>
        </pc:spChg>
        <pc:spChg chg="add del mod">
          <ac:chgData name="Steiner Andreas 6206 ED" userId="e6377c33-a923-4f14-8587-531c474c7b48" providerId="ADAL" clId="{6ECD27E6-B224-41CD-B4E0-E297462320DD}" dt="2023-11-24T08:49:13.856" v="77653"/>
          <ac:spMkLst>
            <pc:docMk/>
            <pc:sldMk cId="4183350934" sldId="2147478561"/>
            <ac:spMk id="509" creationId="{8788360E-82FA-CE6F-0BAE-57E180AAB206}"/>
          </ac:spMkLst>
        </pc:spChg>
        <pc:spChg chg="add del mod">
          <ac:chgData name="Steiner Andreas 6206 ED" userId="e6377c33-a923-4f14-8587-531c474c7b48" providerId="ADAL" clId="{6ECD27E6-B224-41CD-B4E0-E297462320DD}" dt="2023-11-24T08:49:15.823" v="77808"/>
          <ac:spMkLst>
            <pc:docMk/>
            <pc:sldMk cId="4183350934" sldId="2147478561"/>
            <ac:spMk id="510" creationId="{97E4CDBE-8198-C20A-6541-ED9233712013}"/>
          </ac:spMkLst>
        </pc:spChg>
        <pc:spChg chg="add del mod">
          <ac:chgData name="Steiner Andreas 6206 ED" userId="e6377c33-a923-4f14-8587-531c474c7b48" providerId="ADAL" clId="{6ECD27E6-B224-41CD-B4E0-E297462320DD}" dt="2023-11-24T08:49:17.894" v="77963"/>
          <ac:spMkLst>
            <pc:docMk/>
            <pc:sldMk cId="4183350934" sldId="2147478561"/>
            <ac:spMk id="511" creationId="{6038E73B-DE46-E9D2-714F-FFCD75E4011C}"/>
          </ac:spMkLst>
        </pc:spChg>
        <pc:spChg chg="add del mod">
          <ac:chgData name="Steiner Andreas 6206 ED" userId="e6377c33-a923-4f14-8587-531c474c7b48" providerId="ADAL" clId="{6ECD27E6-B224-41CD-B4E0-E297462320DD}" dt="2023-11-24T08:49:19.906" v="78118"/>
          <ac:spMkLst>
            <pc:docMk/>
            <pc:sldMk cId="4183350934" sldId="2147478561"/>
            <ac:spMk id="512" creationId="{3BD4D228-60C0-A622-02F6-6BD5C4C02FF0}"/>
          </ac:spMkLst>
        </pc:spChg>
        <pc:spChg chg="add del mod">
          <ac:chgData name="Steiner Andreas 6206 ED" userId="e6377c33-a923-4f14-8587-531c474c7b48" providerId="ADAL" clId="{6ECD27E6-B224-41CD-B4E0-E297462320DD}" dt="2023-11-24T08:49:21.782" v="78273"/>
          <ac:spMkLst>
            <pc:docMk/>
            <pc:sldMk cId="4183350934" sldId="2147478561"/>
            <ac:spMk id="513" creationId="{CD1D00FF-0A30-36DA-061E-36FEEC9A014A}"/>
          </ac:spMkLst>
        </pc:spChg>
        <pc:spChg chg="add del mod">
          <ac:chgData name="Steiner Andreas 6206 ED" userId="e6377c33-a923-4f14-8587-531c474c7b48" providerId="ADAL" clId="{6ECD27E6-B224-41CD-B4E0-E297462320DD}" dt="2023-11-24T08:49:23.713" v="78428"/>
          <ac:spMkLst>
            <pc:docMk/>
            <pc:sldMk cId="4183350934" sldId="2147478561"/>
            <ac:spMk id="514" creationId="{3AAD778A-6F67-DBB9-7D67-A022D8295B8B}"/>
          </ac:spMkLst>
        </pc:spChg>
        <pc:spChg chg="add del mod">
          <ac:chgData name="Steiner Andreas 6206 ED" userId="e6377c33-a923-4f14-8587-531c474c7b48" providerId="ADAL" clId="{6ECD27E6-B224-41CD-B4E0-E297462320DD}" dt="2023-11-24T08:49:25.592" v="78583"/>
          <ac:spMkLst>
            <pc:docMk/>
            <pc:sldMk cId="4183350934" sldId="2147478561"/>
            <ac:spMk id="515" creationId="{45CEE05F-619B-4124-07E8-907443F7D44B}"/>
          </ac:spMkLst>
        </pc:spChg>
        <pc:spChg chg="add del mod">
          <ac:chgData name="Steiner Andreas 6206 ED" userId="e6377c33-a923-4f14-8587-531c474c7b48" providerId="ADAL" clId="{6ECD27E6-B224-41CD-B4E0-E297462320DD}" dt="2023-11-24T08:49:27.670" v="78738"/>
          <ac:spMkLst>
            <pc:docMk/>
            <pc:sldMk cId="4183350934" sldId="2147478561"/>
            <ac:spMk id="516" creationId="{F68D400A-1AE5-2FD8-89D3-324B6E3BDD3C}"/>
          </ac:spMkLst>
        </pc:spChg>
        <pc:spChg chg="add del mod">
          <ac:chgData name="Steiner Andreas 6206 ED" userId="e6377c33-a923-4f14-8587-531c474c7b48" providerId="ADAL" clId="{6ECD27E6-B224-41CD-B4E0-E297462320DD}" dt="2023-11-24T08:49:29.719" v="78893"/>
          <ac:spMkLst>
            <pc:docMk/>
            <pc:sldMk cId="4183350934" sldId="2147478561"/>
            <ac:spMk id="517" creationId="{9D450DDC-42B0-7ED2-20D2-F4EB0ADFC853}"/>
          </ac:spMkLst>
        </pc:spChg>
        <pc:spChg chg="add del mod">
          <ac:chgData name="Steiner Andreas 6206 ED" userId="e6377c33-a923-4f14-8587-531c474c7b48" providerId="ADAL" clId="{6ECD27E6-B224-41CD-B4E0-E297462320DD}" dt="2023-11-24T08:49:31.601" v="79048"/>
          <ac:spMkLst>
            <pc:docMk/>
            <pc:sldMk cId="4183350934" sldId="2147478561"/>
            <ac:spMk id="518" creationId="{A42BF2B4-6593-2EC8-97ED-945F32CE4261}"/>
          </ac:spMkLst>
        </pc:spChg>
        <pc:spChg chg="add del mod">
          <ac:chgData name="Steiner Andreas 6206 ED" userId="e6377c33-a923-4f14-8587-531c474c7b48" providerId="ADAL" clId="{6ECD27E6-B224-41CD-B4E0-E297462320DD}" dt="2023-11-24T08:49:33.519" v="79203"/>
          <ac:spMkLst>
            <pc:docMk/>
            <pc:sldMk cId="4183350934" sldId="2147478561"/>
            <ac:spMk id="519" creationId="{1033DD05-6178-CDC2-96C4-5FEA3D5720AB}"/>
          </ac:spMkLst>
        </pc:spChg>
        <pc:spChg chg="add del mod">
          <ac:chgData name="Steiner Andreas 6206 ED" userId="e6377c33-a923-4f14-8587-531c474c7b48" providerId="ADAL" clId="{6ECD27E6-B224-41CD-B4E0-E297462320DD}" dt="2023-11-24T08:49:35.410" v="79358"/>
          <ac:spMkLst>
            <pc:docMk/>
            <pc:sldMk cId="4183350934" sldId="2147478561"/>
            <ac:spMk id="520" creationId="{21977DD3-1AF4-298B-3944-7ECBF1642ACE}"/>
          </ac:spMkLst>
        </pc:spChg>
        <pc:spChg chg="add del mod">
          <ac:chgData name="Steiner Andreas 6206 ED" userId="e6377c33-a923-4f14-8587-531c474c7b48" providerId="ADAL" clId="{6ECD27E6-B224-41CD-B4E0-E297462320DD}" dt="2023-11-24T08:49:37.254" v="79513"/>
          <ac:spMkLst>
            <pc:docMk/>
            <pc:sldMk cId="4183350934" sldId="2147478561"/>
            <ac:spMk id="521" creationId="{CC055ED8-F2EF-D668-BD2F-D7E310E0E2CF}"/>
          </ac:spMkLst>
        </pc:spChg>
        <pc:spChg chg="add del mod">
          <ac:chgData name="Steiner Andreas 6206 ED" userId="e6377c33-a923-4f14-8587-531c474c7b48" providerId="ADAL" clId="{6ECD27E6-B224-41CD-B4E0-E297462320DD}" dt="2023-11-24T08:49:39.205" v="79668"/>
          <ac:spMkLst>
            <pc:docMk/>
            <pc:sldMk cId="4183350934" sldId="2147478561"/>
            <ac:spMk id="522" creationId="{74D5794F-AA8D-5152-D80E-3FFE9F767C95}"/>
          </ac:spMkLst>
        </pc:spChg>
        <pc:spChg chg="add del mod">
          <ac:chgData name="Steiner Andreas 6206 ED" userId="e6377c33-a923-4f14-8587-531c474c7b48" providerId="ADAL" clId="{6ECD27E6-B224-41CD-B4E0-E297462320DD}" dt="2023-11-24T08:49:41.322" v="79823"/>
          <ac:spMkLst>
            <pc:docMk/>
            <pc:sldMk cId="4183350934" sldId="2147478561"/>
            <ac:spMk id="523" creationId="{5DFFFD46-4A16-33CE-1873-C36C24F031EB}"/>
          </ac:spMkLst>
        </pc:spChg>
        <pc:spChg chg="add del mod">
          <ac:chgData name="Steiner Andreas 6206 ED" userId="e6377c33-a923-4f14-8587-531c474c7b48" providerId="ADAL" clId="{6ECD27E6-B224-41CD-B4E0-E297462320DD}" dt="2023-11-24T08:49:43.214" v="79978"/>
          <ac:spMkLst>
            <pc:docMk/>
            <pc:sldMk cId="4183350934" sldId="2147478561"/>
            <ac:spMk id="524" creationId="{69AEA0E2-2CA8-6355-B863-49C3EAB97AC8}"/>
          </ac:spMkLst>
        </pc:spChg>
        <pc:spChg chg="add del mod">
          <ac:chgData name="Steiner Andreas 6206 ED" userId="e6377c33-a923-4f14-8587-531c474c7b48" providerId="ADAL" clId="{6ECD27E6-B224-41CD-B4E0-E297462320DD}" dt="2023-11-24T08:49:45.155" v="80133"/>
          <ac:spMkLst>
            <pc:docMk/>
            <pc:sldMk cId="4183350934" sldId="2147478561"/>
            <ac:spMk id="525" creationId="{96D39B95-3EBA-0180-E9EB-8B627A63BD46}"/>
          </ac:spMkLst>
        </pc:spChg>
        <pc:spChg chg="add del mod">
          <ac:chgData name="Steiner Andreas 6206 ED" userId="e6377c33-a923-4f14-8587-531c474c7b48" providerId="ADAL" clId="{6ECD27E6-B224-41CD-B4E0-E297462320DD}" dt="2023-11-24T08:49:47.121" v="80288"/>
          <ac:spMkLst>
            <pc:docMk/>
            <pc:sldMk cId="4183350934" sldId="2147478561"/>
            <ac:spMk id="526" creationId="{C9D4FCD4-EA56-09BC-2CF2-84796D662B2D}"/>
          </ac:spMkLst>
        </pc:spChg>
        <pc:spChg chg="add del mod">
          <ac:chgData name="Steiner Andreas 6206 ED" userId="e6377c33-a923-4f14-8587-531c474c7b48" providerId="ADAL" clId="{6ECD27E6-B224-41CD-B4E0-E297462320DD}" dt="2023-11-24T08:49:49.018" v="80443"/>
          <ac:spMkLst>
            <pc:docMk/>
            <pc:sldMk cId="4183350934" sldId="2147478561"/>
            <ac:spMk id="527" creationId="{AE7FD0A8-6E0C-E9B9-394F-6F8E05A8AD81}"/>
          </ac:spMkLst>
        </pc:spChg>
        <pc:spChg chg="add del mod">
          <ac:chgData name="Steiner Andreas 6206 ED" userId="e6377c33-a923-4f14-8587-531c474c7b48" providerId="ADAL" clId="{6ECD27E6-B224-41CD-B4E0-E297462320DD}" dt="2023-11-24T08:49:50.888" v="80598"/>
          <ac:spMkLst>
            <pc:docMk/>
            <pc:sldMk cId="4183350934" sldId="2147478561"/>
            <ac:spMk id="528" creationId="{08BA46FB-5C56-D974-E8BD-6D08DC4DA053}"/>
          </ac:spMkLst>
        </pc:spChg>
        <pc:spChg chg="add del mod">
          <ac:chgData name="Steiner Andreas 6206 ED" userId="e6377c33-a923-4f14-8587-531c474c7b48" providerId="ADAL" clId="{6ECD27E6-B224-41CD-B4E0-E297462320DD}" dt="2023-11-24T08:49:52.807" v="80753"/>
          <ac:spMkLst>
            <pc:docMk/>
            <pc:sldMk cId="4183350934" sldId="2147478561"/>
            <ac:spMk id="529" creationId="{35F99077-7768-2A86-A2CD-4D762EB42A1C}"/>
          </ac:spMkLst>
        </pc:spChg>
        <pc:spChg chg="add del mod">
          <ac:chgData name="Steiner Andreas 6206 ED" userId="e6377c33-a923-4f14-8587-531c474c7b48" providerId="ADAL" clId="{6ECD27E6-B224-41CD-B4E0-E297462320DD}" dt="2023-11-24T08:49:54.741" v="80908"/>
          <ac:spMkLst>
            <pc:docMk/>
            <pc:sldMk cId="4183350934" sldId="2147478561"/>
            <ac:spMk id="530" creationId="{18117119-149C-6E23-C9D2-E0A6D68F2BC8}"/>
          </ac:spMkLst>
        </pc:spChg>
        <pc:spChg chg="add del mod">
          <ac:chgData name="Steiner Andreas 6206 ED" userId="e6377c33-a923-4f14-8587-531c474c7b48" providerId="ADAL" clId="{6ECD27E6-B224-41CD-B4E0-E297462320DD}" dt="2023-11-24T08:49:56.608" v="81063"/>
          <ac:spMkLst>
            <pc:docMk/>
            <pc:sldMk cId="4183350934" sldId="2147478561"/>
            <ac:spMk id="531" creationId="{FADE17B7-97EB-FEAD-E0D1-0D03274616E5}"/>
          </ac:spMkLst>
        </pc:spChg>
        <pc:spChg chg="add del mod">
          <ac:chgData name="Steiner Andreas 6206 ED" userId="e6377c33-a923-4f14-8587-531c474c7b48" providerId="ADAL" clId="{6ECD27E6-B224-41CD-B4E0-E297462320DD}" dt="2023-11-24T08:49:58.514" v="81218"/>
          <ac:spMkLst>
            <pc:docMk/>
            <pc:sldMk cId="4183350934" sldId="2147478561"/>
            <ac:spMk id="532" creationId="{434F88B8-968A-97A9-9D0C-BEA49865E736}"/>
          </ac:spMkLst>
        </pc:spChg>
        <pc:spChg chg="add del mod">
          <ac:chgData name="Steiner Andreas 6206 ED" userId="e6377c33-a923-4f14-8587-531c474c7b48" providerId="ADAL" clId="{6ECD27E6-B224-41CD-B4E0-E297462320DD}" dt="2023-11-24T08:50:00.436" v="81373"/>
          <ac:spMkLst>
            <pc:docMk/>
            <pc:sldMk cId="4183350934" sldId="2147478561"/>
            <ac:spMk id="533" creationId="{091FF34D-B8F7-B241-FDB9-A75D581C050F}"/>
          </ac:spMkLst>
        </pc:spChg>
        <pc:spChg chg="add del mod">
          <ac:chgData name="Steiner Andreas 6206 ED" userId="e6377c33-a923-4f14-8587-531c474c7b48" providerId="ADAL" clId="{6ECD27E6-B224-41CD-B4E0-E297462320DD}" dt="2023-11-24T08:50:02.528" v="81528"/>
          <ac:spMkLst>
            <pc:docMk/>
            <pc:sldMk cId="4183350934" sldId="2147478561"/>
            <ac:spMk id="534" creationId="{8F20029E-EEA9-37B4-7C07-6E5D16BF76F0}"/>
          </ac:spMkLst>
        </pc:spChg>
        <pc:spChg chg="add del mod">
          <ac:chgData name="Steiner Andreas 6206 ED" userId="e6377c33-a923-4f14-8587-531c474c7b48" providerId="ADAL" clId="{6ECD27E6-B224-41CD-B4E0-E297462320DD}" dt="2023-11-24T08:50:04.589" v="81683"/>
          <ac:spMkLst>
            <pc:docMk/>
            <pc:sldMk cId="4183350934" sldId="2147478561"/>
            <ac:spMk id="535" creationId="{B97F3CDD-7B0B-11E9-218C-BD6F37A84FBD}"/>
          </ac:spMkLst>
        </pc:spChg>
        <pc:spChg chg="add del mod">
          <ac:chgData name="Steiner Andreas 6206 ED" userId="e6377c33-a923-4f14-8587-531c474c7b48" providerId="ADAL" clId="{6ECD27E6-B224-41CD-B4E0-E297462320DD}" dt="2023-11-24T08:50:06.527" v="81838"/>
          <ac:spMkLst>
            <pc:docMk/>
            <pc:sldMk cId="4183350934" sldId="2147478561"/>
            <ac:spMk id="536" creationId="{F6BFF8CC-2A91-A9DF-6690-B2CC3F3B1560}"/>
          </ac:spMkLst>
        </pc:spChg>
        <pc:spChg chg="add del mod">
          <ac:chgData name="Steiner Andreas 6206 ED" userId="e6377c33-a923-4f14-8587-531c474c7b48" providerId="ADAL" clId="{6ECD27E6-B224-41CD-B4E0-E297462320DD}" dt="2023-11-24T08:50:08.389" v="81993"/>
          <ac:spMkLst>
            <pc:docMk/>
            <pc:sldMk cId="4183350934" sldId="2147478561"/>
            <ac:spMk id="537" creationId="{307D1DC3-6EF7-6580-B079-0D27E805BA4E}"/>
          </ac:spMkLst>
        </pc:spChg>
        <pc:spChg chg="add del mod">
          <ac:chgData name="Steiner Andreas 6206 ED" userId="e6377c33-a923-4f14-8587-531c474c7b48" providerId="ADAL" clId="{6ECD27E6-B224-41CD-B4E0-E297462320DD}" dt="2023-11-24T08:50:10.302" v="82148"/>
          <ac:spMkLst>
            <pc:docMk/>
            <pc:sldMk cId="4183350934" sldId="2147478561"/>
            <ac:spMk id="538" creationId="{31DD3A55-6526-1595-8041-4142892CB0DC}"/>
          </ac:spMkLst>
        </pc:spChg>
        <pc:spChg chg="add del mod">
          <ac:chgData name="Steiner Andreas 6206 ED" userId="e6377c33-a923-4f14-8587-531c474c7b48" providerId="ADAL" clId="{6ECD27E6-B224-41CD-B4E0-E297462320DD}" dt="2023-11-24T08:50:12.221" v="82303"/>
          <ac:spMkLst>
            <pc:docMk/>
            <pc:sldMk cId="4183350934" sldId="2147478561"/>
            <ac:spMk id="539" creationId="{CB0144A6-1537-91AA-4675-FE8FF77649CD}"/>
          </ac:spMkLst>
        </pc:spChg>
        <pc:spChg chg="add del mod">
          <ac:chgData name="Steiner Andreas 6206 ED" userId="e6377c33-a923-4f14-8587-531c474c7b48" providerId="ADAL" clId="{6ECD27E6-B224-41CD-B4E0-E297462320DD}" dt="2023-11-24T08:50:14.282" v="82458"/>
          <ac:spMkLst>
            <pc:docMk/>
            <pc:sldMk cId="4183350934" sldId="2147478561"/>
            <ac:spMk id="540" creationId="{998ACF7F-C724-A953-00B2-E62AD5B91801}"/>
          </ac:spMkLst>
        </pc:spChg>
        <pc:spChg chg="add del mod">
          <ac:chgData name="Steiner Andreas 6206 ED" userId="e6377c33-a923-4f14-8587-531c474c7b48" providerId="ADAL" clId="{6ECD27E6-B224-41CD-B4E0-E297462320DD}" dt="2023-11-24T08:50:16.220" v="82613"/>
          <ac:spMkLst>
            <pc:docMk/>
            <pc:sldMk cId="4183350934" sldId="2147478561"/>
            <ac:spMk id="541" creationId="{BFE77242-4B44-CC75-FD5A-CBD295D47E18}"/>
          </ac:spMkLst>
        </pc:spChg>
        <pc:spChg chg="add del mod">
          <ac:chgData name="Steiner Andreas 6206 ED" userId="e6377c33-a923-4f14-8587-531c474c7b48" providerId="ADAL" clId="{6ECD27E6-B224-41CD-B4E0-E297462320DD}" dt="2023-11-24T08:50:18.221" v="82768"/>
          <ac:spMkLst>
            <pc:docMk/>
            <pc:sldMk cId="4183350934" sldId="2147478561"/>
            <ac:spMk id="542" creationId="{562BB0AA-0CD0-84E0-E555-EFC62DDFB85D}"/>
          </ac:spMkLst>
        </pc:spChg>
        <pc:spChg chg="add del mod">
          <ac:chgData name="Steiner Andreas 6206 ED" userId="e6377c33-a923-4f14-8587-531c474c7b48" providerId="ADAL" clId="{6ECD27E6-B224-41CD-B4E0-E297462320DD}" dt="2023-11-24T08:50:20.445" v="82923"/>
          <ac:spMkLst>
            <pc:docMk/>
            <pc:sldMk cId="4183350934" sldId="2147478561"/>
            <ac:spMk id="543" creationId="{2E3D9B41-C9C7-ED1B-568E-7F1C812D11A8}"/>
          </ac:spMkLst>
        </pc:spChg>
        <pc:spChg chg="add del mod">
          <ac:chgData name="Steiner Andreas 6206 ED" userId="e6377c33-a923-4f14-8587-531c474c7b48" providerId="ADAL" clId="{6ECD27E6-B224-41CD-B4E0-E297462320DD}" dt="2023-11-24T08:50:22.355" v="83078"/>
          <ac:spMkLst>
            <pc:docMk/>
            <pc:sldMk cId="4183350934" sldId="2147478561"/>
            <ac:spMk id="544" creationId="{457B272D-DA35-C7EF-E230-289DEA43B1EA}"/>
          </ac:spMkLst>
        </pc:spChg>
        <pc:spChg chg="add del mod">
          <ac:chgData name="Steiner Andreas 6206 ED" userId="e6377c33-a923-4f14-8587-531c474c7b48" providerId="ADAL" clId="{6ECD27E6-B224-41CD-B4E0-E297462320DD}" dt="2023-11-24T08:50:24.489" v="83233"/>
          <ac:spMkLst>
            <pc:docMk/>
            <pc:sldMk cId="4183350934" sldId="2147478561"/>
            <ac:spMk id="545" creationId="{01783573-4BEB-7ED4-208F-4981C2A4918C}"/>
          </ac:spMkLst>
        </pc:spChg>
        <pc:spChg chg="add del mod">
          <ac:chgData name="Steiner Andreas 6206 ED" userId="e6377c33-a923-4f14-8587-531c474c7b48" providerId="ADAL" clId="{6ECD27E6-B224-41CD-B4E0-E297462320DD}" dt="2023-11-24T08:50:26.466" v="83388"/>
          <ac:spMkLst>
            <pc:docMk/>
            <pc:sldMk cId="4183350934" sldId="2147478561"/>
            <ac:spMk id="546" creationId="{4B369090-DA93-EC54-32CE-2599B4D89E50}"/>
          </ac:spMkLst>
        </pc:spChg>
        <pc:spChg chg="add del mod">
          <ac:chgData name="Steiner Andreas 6206 ED" userId="e6377c33-a923-4f14-8587-531c474c7b48" providerId="ADAL" clId="{6ECD27E6-B224-41CD-B4E0-E297462320DD}" dt="2023-11-24T08:50:28.384" v="83543"/>
          <ac:spMkLst>
            <pc:docMk/>
            <pc:sldMk cId="4183350934" sldId="2147478561"/>
            <ac:spMk id="547" creationId="{27E4CF12-E1A4-BC1B-9C5F-A319BB4F76FF}"/>
          </ac:spMkLst>
        </pc:spChg>
        <pc:spChg chg="add del mod">
          <ac:chgData name="Steiner Andreas 6206 ED" userId="e6377c33-a923-4f14-8587-531c474c7b48" providerId="ADAL" clId="{6ECD27E6-B224-41CD-B4E0-E297462320DD}" dt="2023-11-24T08:50:30.299" v="83698"/>
          <ac:spMkLst>
            <pc:docMk/>
            <pc:sldMk cId="4183350934" sldId="2147478561"/>
            <ac:spMk id="548" creationId="{C052A5A1-1839-E9B2-142F-59A6530A1CF3}"/>
          </ac:spMkLst>
        </pc:spChg>
        <pc:spChg chg="add del mod">
          <ac:chgData name="Steiner Andreas 6206 ED" userId="e6377c33-a923-4f14-8587-531c474c7b48" providerId="ADAL" clId="{6ECD27E6-B224-41CD-B4E0-E297462320DD}" dt="2023-11-24T08:50:32.383" v="83853"/>
          <ac:spMkLst>
            <pc:docMk/>
            <pc:sldMk cId="4183350934" sldId="2147478561"/>
            <ac:spMk id="549" creationId="{6CE3ED8F-52DA-FD9A-C8C9-B496656B3F94}"/>
          </ac:spMkLst>
        </pc:spChg>
        <pc:spChg chg="add del mod">
          <ac:chgData name="Steiner Andreas 6206 ED" userId="e6377c33-a923-4f14-8587-531c474c7b48" providerId="ADAL" clId="{6ECD27E6-B224-41CD-B4E0-E297462320DD}" dt="2023-11-24T08:50:34.404" v="84008"/>
          <ac:spMkLst>
            <pc:docMk/>
            <pc:sldMk cId="4183350934" sldId="2147478561"/>
            <ac:spMk id="550" creationId="{3017CB22-047F-B476-384E-4B9240BA29E0}"/>
          </ac:spMkLst>
        </pc:spChg>
        <pc:spChg chg="add del mod">
          <ac:chgData name="Steiner Andreas 6206 ED" userId="e6377c33-a923-4f14-8587-531c474c7b48" providerId="ADAL" clId="{6ECD27E6-B224-41CD-B4E0-E297462320DD}" dt="2023-11-24T08:50:36.618" v="84163"/>
          <ac:spMkLst>
            <pc:docMk/>
            <pc:sldMk cId="4183350934" sldId="2147478561"/>
            <ac:spMk id="551" creationId="{1BF366F7-13E1-425B-12A0-89223DB4B0C2}"/>
          </ac:spMkLst>
        </pc:spChg>
        <pc:spChg chg="add del mod">
          <ac:chgData name="Steiner Andreas 6206 ED" userId="e6377c33-a923-4f14-8587-531c474c7b48" providerId="ADAL" clId="{6ECD27E6-B224-41CD-B4E0-E297462320DD}" dt="2023-11-24T08:50:38.575" v="84318"/>
          <ac:spMkLst>
            <pc:docMk/>
            <pc:sldMk cId="4183350934" sldId="2147478561"/>
            <ac:spMk id="552" creationId="{5BA7A804-3A80-A10C-F8FB-90CB8021859E}"/>
          </ac:spMkLst>
        </pc:spChg>
        <pc:spChg chg="add del mod">
          <ac:chgData name="Steiner Andreas 6206 ED" userId="e6377c33-a923-4f14-8587-531c474c7b48" providerId="ADAL" clId="{6ECD27E6-B224-41CD-B4E0-E297462320DD}" dt="2023-11-24T08:50:40.563" v="84473"/>
          <ac:spMkLst>
            <pc:docMk/>
            <pc:sldMk cId="4183350934" sldId="2147478561"/>
            <ac:spMk id="553" creationId="{AC95C11C-7E3B-7BC2-9401-1BF955C8B1F3}"/>
          </ac:spMkLst>
        </pc:spChg>
        <pc:spChg chg="add del mod">
          <ac:chgData name="Steiner Andreas 6206 ED" userId="e6377c33-a923-4f14-8587-531c474c7b48" providerId="ADAL" clId="{6ECD27E6-B224-41CD-B4E0-E297462320DD}" dt="2023-11-24T08:50:42.557" v="84628"/>
          <ac:spMkLst>
            <pc:docMk/>
            <pc:sldMk cId="4183350934" sldId="2147478561"/>
            <ac:spMk id="554" creationId="{D0BFE671-24CF-1B83-5527-6EE0C3E2B4C6}"/>
          </ac:spMkLst>
        </pc:spChg>
        <pc:spChg chg="add del mod">
          <ac:chgData name="Steiner Andreas 6206 ED" userId="e6377c33-a923-4f14-8587-531c474c7b48" providerId="ADAL" clId="{6ECD27E6-B224-41CD-B4E0-E297462320DD}" dt="2023-11-24T08:50:44.752" v="84783"/>
          <ac:spMkLst>
            <pc:docMk/>
            <pc:sldMk cId="4183350934" sldId="2147478561"/>
            <ac:spMk id="555" creationId="{DDB0846C-A24B-764E-D1DA-6B3EEB6174FA}"/>
          </ac:spMkLst>
        </pc:spChg>
        <pc:spChg chg="add del mod">
          <ac:chgData name="Steiner Andreas 6206 ED" userId="e6377c33-a923-4f14-8587-531c474c7b48" providerId="ADAL" clId="{6ECD27E6-B224-41CD-B4E0-E297462320DD}" dt="2023-11-24T08:50:46.854" v="84938"/>
          <ac:spMkLst>
            <pc:docMk/>
            <pc:sldMk cId="4183350934" sldId="2147478561"/>
            <ac:spMk id="556" creationId="{55044DB3-2535-71FF-81FC-7F2A5DA03A39}"/>
          </ac:spMkLst>
        </pc:spChg>
        <pc:spChg chg="add del mod">
          <ac:chgData name="Steiner Andreas 6206 ED" userId="e6377c33-a923-4f14-8587-531c474c7b48" providerId="ADAL" clId="{6ECD27E6-B224-41CD-B4E0-E297462320DD}" dt="2023-11-24T08:50:48.956" v="85093"/>
          <ac:spMkLst>
            <pc:docMk/>
            <pc:sldMk cId="4183350934" sldId="2147478561"/>
            <ac:spMk id="557" creationId="{61BEA9A0-D78A-7C60-C400-AC21FA1E91E7}"/>
          </ac:spMkLst>
        </pc:spChg>
        <pc:spChg chg="add del mod">
          <ac:chgData name="Steiner Andreas 6206 ED" userId="e6377c33-a923-4f14-8587-531c474c7b48" providerId="ADAL" clId="{6ECD27E6-B224-41CD-B4E0-E297462320DD}" dt="2023-11-24T08:50:51.059" v="85248"/>
          <ac:spMkLst>
            <pc:docMk/>
            <pc:sldMk cId="4183350934" sldId="2147478561"/>
            <ac:spMk id="558" creationId="{1D643434-0BB5-FFC6-4DB4-51090299CB9E}"/>
          </ac:spMkLst>
        </pc:spChg>
        <pc:spChg chg="add del mod">
          <ac:chgData name="Steiner Andreas 6206 ED" userId="e6377c33-a923-4f14-8587-531c474c7b48" providerId="ADAL" clId="{6ECD27E6-B224-41CD-B4E0-E297462320DD}" dt="2023-11-24T08:50:53.165" v="85403"/>
          <ac:spMkLst>
            <pc:docMk/>
            <pc:sldMk cId="4183350934" sldId="2147478561"/>
            <ac:spMk id="559" creationId="{2EDC43A8-82E2-C223-29ED-1F02E66F30AD}"/>
          </ac:spMkLst>
        </pc:spChg>
        <pc:spChg chg="add del mod">
          <ac:chgData name="Steiner Andreas 6206 ED" userId="e6377c33-a923-4f14-8587-531c474c7b48" providerId="ADAL" clId="{6ECD27E6-B224-41CD-B4E0-E297462320DD}" dt="2023-11-24T08:50:55.071" v="85558"/>
          <ac:spMkLst>
            <pc:docMk/>
            <pc:sldMk cId="4183350934" sldId="2147478561"/>
            <ac:spMk id="560" creationId="{B0075846-2852-5C99-5FED-203E2CCC131A}"/>
          </ac:spMkLst>
        </pc:spChg>
        <pc:spChg chg="add del mod">
          <ac:chgData name="Steiner Andreas 6206 ED" userId="e6377c33-a923-4f14-8587-531c474c7b48" providerId="ADAL" clId="{6ECD27E6-B224-41CD-B4E0-E297462320DD}" dt="2023-11-24T08:50:56.984" v="85713"/>
          <ac:spMkLst>
            <pc:docMk/>
            <pc:sldMk cId="4183350934" sldId="2147478561"/>
            <ac:spMk id="561" creationId="{13972F56-BE9F-4FA2-77E7-C57AE789340D}"/>
          </ac:spMkLst>
        </pc:spChg>
        <pc:spChg chg="add del mod">
          <ac:chgData name="Steiner Andreas 6206 ED" userId="e6377c33-a923-4f14-8587-531c474c7b48" providerId="ADAL" clId="{6ECD27E6-B224-41CD-B4E0-E297462320DD}" dt="2023-11-24T08:50:59.187" v="85868"/>
          <ac:spMkLst>
            <pc:docMk/>
            <pc:sldMk cId="4183350934" sldId="2147478561"/>
            <ac:spMk id="562" creationId="{51D5D47E-9D13-09D7-4618-67268ACA70C0}"/>
          </ac:spMkLst>
        </pc:spChg>
        <pc:spChg chg="add del mod">
          <ac:chgData name="Steiner Andreas 6206 ED" userId="e6377c33-a923-4f14-8587-531c474c7b48" providerId="ADAL" clId="{6ECD27E6-B224-41CD-B4E0-E297462320DD}" dt="2023-11-24T08:51:01.126" v="86023"/>
          <ac:spMkLst>
            <pc:docMk/>
            <pc:sldMk cId="4183350934" sldId="2147478561"/>
            <ac:spMk id="563" creationId="{D3415CDE-7764-6739-9A4A-2FA9C71732FF}"/>
          </ac:spMkLst>
        </pc:spChg>
        <pc:spChg chg="add del mod">
          <ac:chgData name="Steiner Andreas 6206 ED" userId="e6377c33-a923-4f14-8587-531c474c7b48" providerId="ADAL" clId="{6ECD27E6-B224-41CD-B4E0-E297462320DD}" dt="2023-11-24T08:51:03.108" v="86178"/>
          <ac:spMkLst>
            <pc:docMk/>
            <pc:sldMk cId="4183350934" sldId="2147478561"/>
            <ac:spMk id="564" creationId="{7365848A-23B9-A26F-531C-1F945169900F}"/>
          </ac:spMkLst>
        </pc:spChg>
        <pc:spChg chg="add del mod">
          <ac:chgData name="Steiner Andreas 6206 ED" userId="e6377c33-a923-4f14-8587-531c474c7b48" providerId="ADAL" clId="{6ECD27E6-B224-41CD-B4E0-E297462320DD}" dt="2023-11-24T08:51:04.971" v="86333"/>
          <ac:spMkLst>
            <pc:docMk/>
            <pc:sldMk cId="4183350934" sldId="2147478561"/>
            <ac:spMk id="565" creationId="{45652FA8-982A-06A7-E0B3-A9FCECD46B3F}"/>
          </ac:spMkLst>
        </pc:spChg>
        <pc:spChg chg="add del mod">
          <ac:chgData name="Steiner Andreas 6206 ED" userId="e6377c33-a923-4f14-8587-531c474c7b48" providerId="ADAL" clId="{6ECD27E6-B224-41CD-B4E0-E297462320DD}" dt="2023-11-24T08:51:06.866" v="86488"/>
          <ac:spMkLst>
            <pc:docMk/>
            <pc:sldMk cId="4183350934" sldId="2147478561"/>
            <ac:spMk id="566" creationId="{7E07E57F-8199-31AD-E60D-A126C26530B6}"/>
          </ac:spMkLst>
        </pc:spChg>
        <pc:spChg chg="add del mod">
          <ac:chgData name="Steiner Andreas 6206 ED" userId="e6377c33-a923-4f14-8587-531c474c7b48" providerId="ADAL" clId="{6ECD27E6-B224-41CD-B4E0-E297462320DD}" dt="2023-11-24T08:51:08.868" v="86643"/>
          <ac:spMkLst>
            <pc:docMk/>
            <pc:sldMk cId="4183350934" sldId="2147478561"/>
            <ac:spMk id="567" creationId="{D91DDDCA-DC8B-1521-7DD6-A161ADCE4CB9}"/>
          </ac:spMkLst>
        </pc:spChg>
        <pc:spChg chg="add del mod">
          <ac:chgData name="Steiner Andreas 6206 ED" userId="e6377c33-a923-4f14-8587-531c474c7b48" providerId="ADAL" clId="{6ECD27E6-B224-41CD-B4E0-E297462320DD}" dt="2023-11-24T08:51:10.886" v="86798"/>
          <ac:spMkLst>
            <pc:docMk/>
            <pc:sldMk cId="4183350934" sldId="2147478561"/>
            <ac:spMk id="568" creationId="{2F44491B-FD89-EBAF-3ACD-1B2FD7320315}"/>
          </ac:spMkLst>
        </pc:spChg>
        <pc:spChg chg="add del mod">
          <ac:chgData name="Steiner Andreas 6206 ED" userId="e6377c33-a923-4f14-8587-531c474c7b48" providerId="ADAL" clId="{6ECD27E6-B224-41CD-B4E0-E297462320DD}" dt="2023-11-24T08:51:12.801" v="86953"/>
          <ac:spMkLst>
            <pc:docMk/>
            <pc:sldMk cId="4183350934" sldId="2147478561"/>
            <ac:spMk id="569" creationId="{34F97B87-7A70-EB33-AB3D-371563B4B41B}"/>
          </ac:spMkLst>
        </pc:spChg>
        <pc:spChg chg="add del mod">
          <ac:chgData name="Steiner Andreas 6206 ED" userId="e6377c33-a923-4f14-8587-531c474c7b48" providerId="ADAL" clId="{6ECD27E6-B224-41CD-B4E0-E297462320DD}" dt="2023-11-24T08:51:14.997" v="87108"/>
          <ac:spMkLst>
            <pc:docMk/>
            <pc:sldMk cId="4183350934" sldId="2147478561"/>
            <ac:spMk id="570" creationId="{60339557-3113-FB33-DEE1-72698B353638}"/>
          </ac:spMkLst>
        </pc:spChg>
        <pc:spChg chg="add del mod">
          <ac:chgData name="Steiner Andreas 6206 ED" userId="e6377c33-a923-4f14-8587-531c474c7b48" providerId="ADAL" clId="{6ECD27E6-B224-41CD-B4E0-E297462320DD}" dt="2023-11-24T08:51:17.059" v="87263"/>
          <ac:spMkLst>
            <pc:docMk/>
            <pc:sldMk cId="4183350934" sldId="2147478561"/>
            <ac:spMk id="571" creationId="{FB95D3CD-EC3B-ED26-554E-4D3F167379B2}"/>
          </ac:spMkLst>
        </pc:spChg>
        <pc:spChg chg="add del mod">
          <ac:chgData name="Steiner Andreas 6206 ED" userId="e6377c33-a923-4f14-8587-531c474c7b48" providerId="ADAL" clId="{6ECD27E6-B224-41CD-B4E0-E297462320DD}" dt="2023-11-24T08:51:18.986" v="87418"/>
          <ac:spMkLst>
            <pc:docMk/>
            <pc:sldMk cId="4183350934" sldId="2147478561"/>
            <ac:spMk id="572" creationId="{5487AAA0-29D1-3762-9045-0F54BA4B794D}"/>
          </ac:spMkLst>
        </pc:spChg>
        <pc:spChg chg="add del mod">
          <ac:chgData name="Steiner Andreas 6206 ED" userId="e6377c33-a923-4f14-8587-531c474c7b48" providerId="ADAL" clId="{6ECD27E6-B224-41CD-B4E0-E297462320DD}" dt="2023-11-24T08:51:21.063" v="87573"/>
          <ac:spMkLst>
            <pc:docMk/>
            <pc:sldMk cId="4183350934" sldId="2147478561"/>
            <ac:spMk id="573" creationId="{6DD98E3F-D78E-2271-F1DF-F6FC3694011A}"/>
          </ac:spMkLst>
        </pc:spChg>
        <pc:spChg chg="add del mod">
          <ac:chgData name="Steiner Andreas 6206 ED" userId="e6377c33-a923-4f14-8587-531c474c7b48" providerId="ADAL" clId="{6ECD27E6-B224-41CD-B4E0-E297462320DD}" dt="2023-11-24T08:51:23.002" v="87728"/>
          <ac:spMkLst>
            <pc:docMk/>
            <pc:sldMk cId="4183350934" sldId="2147478561"/>
            <ac:spMk id="574" creationId="{FB0A98A3-12E4-C028-7383-3C31753A0511}"/>
          </ac:spMkLst>
        </pc:spChg>
        <pc:spChg chg="add del mod">
          <ac:chgData name="Steiner Andreas 6206 ED" userId="e6377c33-a923-4f14-8587-531c474c7b48" providerId="ADAL" clId="{6ECD27E6-B224-41CD-B4E0-E297462320DD}" dt="2023-11-24T08:51:24.892" v="87883"/>
          <ac:spMkLst>
            <pc:docMk/>
            <pc:sldMk cId="4183350934" sldId="2147478561"/>
            <ac:spMk id="575" creationId="{87F0D698-CA71-E666-8DA3-FB7ED686ED57}"/>
          </ac:spMkLst>
        </pc:spChg>
        <pc:spChg chg="add del mod">
          <ac:chgData name="Steiner Andreas 6206 ED" userId="e6377c33-a923-4f14-8587-531c474c7b48" providerId="ADAL" clId="{6ECD27E6-B224-41CD-B4E0-E297462320DD}" dt="2023-11-24T08:51:26.776" v="88038"/>
          <ac:spMkLst>
            <pc:docMk/>
            <pc:sldMk cId="4183350934" sldId="2147478561"/>
            <ac:spMk id="576" creationId="{A291C50C-65EA-1BE3-AB6B-86DDDDB0A585}"/>
          </ac:spMkLst>
        </pc:spChg>
        <pc:spChg chg="add del mod">
          <ac:chgData name="Steiner Andreas 6206 ED" userId="e6377c33-a923-4f14-8587-531c474c7b48" providerId="ADAL" clId="{6ECD27E6-B224-41CD-B4E0-E297462320DD}" dt="2023-11-24T08:51:28.683" v="88193"/>
          <ac:spMkLst>
            <pc:docMk/>
            <pc:sldMk cId="4183350934" sldId="2147478561"/>
            <ac:spMk id="577" creationId="{CFAE19C5-C7FD-BC2B-A5EA-C36D469DBE10}"/>
          </ac:spMkLst>
        </pc:spChg>
        <pc:spChg chg="add del mod">
          <ac:chgData name="Steiner Andreas 6206 ED" userId="e6377c33-a923-4f14-8587-531c474c7b48" providerId="ADAL" clId="{6ECD27E6-B224-41CD-B4E0-E297462320DD}" dt="2023-11-24T08:51:30.689" v="88348"/>
          <ac:spMkLst>
            <pc:docMk/>
            <pc:sldMk cId="4183350934" sldId="2147478561"/>
            <ac:spMk id="578" creationId="{4097DCF9-340D-EB27-9547-4593896F613E}"/>
          </ac:spMkLst>
        </pc:spChg>
        <pc:spChg chg="add del mod">
          <ac:chgData name="Steiner Andreas 6206 ED" userId="e6377c33-a923-4f14-8587-531c474c7b48" providerId="ADAL" clId="{6ECD27E6-B224-41CD-B4E0-E297462320DD}" dt="2023-11-24T08:51:32.831" v="88503"/>
          <ac:spMkLst>
            <pc:docMk/>
            <pc:sldMk cId="4183350934" sldId="2147478561"/>
            <ac:spMk id="579" creationId="{79C7DBC0-C21D-F1D2-3224-66377EE1C622}"/>
          </ac:spMkLst>
        </pc:spChg>
        <pc:spChg chg="add del mod">
          <ac:chgData name="Steiner Andreas 6206 ED" userId="e6377c33-a923-4f14-8587-531c474c7b48" providerId="ADAL" clId="{6ECD27E6-B224-41CD-B4E0-E297462320DD}" dt="2023-11-24T08:51:34.778" v="88658"/>
          <ac:spMkLst>
            <pc:docMk/>
            <pc:sldMk cId="4183350934" sldId="2147478561"/>
            <ac:spMk id="580" creationId="{F45D52C4-7566-F21D-821D-6E06C0F99976}"/>
          </ac:spMkLst>
        </pc:spChg>
        <pc:spChg chg="add del mod">
          <ac:chgData name="Steiner Andreas 6206 ED" userId="e6377c33-a923-4f14-8587-531c474c7b48" providerId="ADAL" clId="{6ECD27E6-B224-41CD-B4E0-E297462320DD}" dt="2023-11-24T08:51:36.657" v="88813"/>
          <ac:spMkLst>
            <pc:docMk/>
            <pc:sldMk cId="4183350934" sldId="2147478561"/>
            <ac:spMk id="581" creationId="{BEC9D111-D865-7680-2D09-306A51189DA4}"/>
          </ac:spMkLst>
        </pc:spChg>
        <pc:spChg chg="add del mod">
          <ac:chgData name="Steiner Andreas 6206 ED" userId="e6377c33-a923-4f14-8587-531c474c7b48" providerId="ADAL" clId="{6ECD27E6-B224-41CD-B4E0-E297462320DD}" dt="2023-11-24T08:51:38.610" v="88968"/>
          <ac:spMkLst>
            <pc:docMk/>
            <pc:sldMk cId="4183350934" sldId="2147478561"/>
            <ac:spMk id="582" creationId="{7229F7FE-6ABA-6877-B422-44A74436D2FE}"/>
          </ac:spMkLst>
        </pc:spChg>
        <pc:spChg chg="add del mod">
          <ac:chgData name="Steiner Andreas 6206 ED" userId="e6377c33-a923-4f14-8587-531c474c7b48" providerId="ADAL" clId="{6ECD27E6-B224-41CD-B4E0-E297462320DD}" dt="2023-11-24T08:51:40.546" v="89123"/>
          <ac:spMkLst>
            <pc:docMk/>
            <pc:sldMk cId="4183350934" sldId="2147478561"/>
            <ac:spMk id="583" creationId="{D399C5C1-661C-1A07-FF91-0DF97B6C65F2}"/>
          </ac:spMkLst>
        </pc:spChg>
        <pc:spChg chg="add del mod">
          <ac:chgData name="Steiner Andreas 6206 ED" userId="e6377c33-a923-4f14-8587-531c474c7b48" providerId="ADAL" clId="{6ECD27E6-B224-41CD-B4E0-E297462320DD}" dt="2023-11-24T08:51:42.555" v="89278"/>
          <ac:spMkLst>
            <pc:docMk/>
            <pc:sldMk cId="4183350934" sldId="2147478561"/>
            <ac:spMk id="584" creationId="{CFEFCB34-B9B6-2217-50A4-BB2118C1C872}"/>
          </ac:spMkLst>
        </pc:spChg>
        <pc:spChg chg="add del mod">
          <ac:chgData name="Steiner Andreas 6206 ED" userId="e6377c33-a923-4f14-8587-531c474c7b48" providerId="ADAL" clId="{6ECD27E6-B224-41CD-B4E0-E297462320DD}" dt="2023-11-24T08:51:44.662" v="89433"/>
          <ac:spMkLst>
            <pc:docMk/>
            <pc:sldMk cId="4183350934" sldId="2147478561"/>
            <ac:spMk id="585" creationId="{69281BD1-CD43-6B7A-05EE-BC38F798CFB7}"/>
          </ac:spMkLst>
        </pc:spChg>
        <pc:spChg chg="add del mod">
          <ac:chgData name="Steiner Andreas 6206 ED" userId="e6377c33-a923-4f14-8587-531c474c7b48" providerId="ADAL" clId="{6ECD27E6-B224-41CD-B4E0-E297462320DD}" dt="2023-11-24T08:51:46.607" v="89588"/>
          <ac:spMkLst>
            <pc:docMk/>
            <pc:sldMk cId="4183350934" sldId="2147478561"/>
            <ac:spMk id="586" creationId="{BCE46D3C-9F8B-9407-74E8-3B268136923A}"/>
          </ac:spMkLst>
        </pc:spChg>
        <pc:spChg chg="add del mod">
          <ac:chgData name="Steiner Andreas 6206 ED" userId="e6377c33-a923-4f14-8587-531c474c7b48" providerId="ADAL" clId="{6ECD27E6-B224-41CD-B4E0-E297462320DD}" dt="2023-11-24T08:51:48.490" v="89743"/>
          <ac:spMkLst>
            <pc:docMk/>
            <pc:sldMk cId="4183350934" sldId="2147478561"/>
            <ac:spMk id="587" creationId="{E1FB6BD4-B4CF-BD50-080B-3D4BF9B7EA05}"/>
          </ac:spMkLst>
        </pc:spChg>
        <pc:spChg chg="add del mod">
          <ac:chgData name="Steiner Andreas 6206 ED" userId="e6377c33-a923-4f14-8587-531c474c7b48" providerId="ADAL" clId="{6ECD27E6-B224-41CD-B4E0-E297462320DD}" dt="2023-11-24T08:51:50.434" v="89898"/>
          <ac:spMkLst>
            <pc:docMk/>
            <pc:sldMk cId="4183350934" sldId="2147478561"/>
            <ac:spMk id="588" creationId="{C8065D7F-4E8F-4674-D5C4-FDCCFB8C884E}"/>
          </ac:spMkLst>
        </pc:spChg>
        <pc:spChg chg="add del mod">
          <ac:chgData name="Steiner Andreas 6206 ED" userId="e6377c33-a923-4f14-8587-531c474c7b48" providerId="ADAL" clId="{6ECD27E6-B224-41CD-B4E0-E297462320DD}" dt="2023-11-24T08:51:52.329" v="90053"/>
          <ac:spMkLst>
            <pc:docMk/>
            <pc:sldMk cId="4183350934" sldId="2147478561"/>
            <ac:spMk id="589" creationId="{EBD8F124-AB02-376B-9340-0157CC554728}"/>
          </ac:spMkLst>
        </pc:spChg>
        <pc:spChg chg="add del mod">
          <ac:chgData name="Steiner Andreas 6206 ED" userId="e6377c33-a923-4f14-8587-531c474c7b48" providerId="ADAL" clId="{6ECD27E6-B224-41CD-B4E0-E297462320DD}" dt="2023-11-24T08:51:54.335" v="90208"/>
          <ac:spMkLst>
            <pc:docMk/>
            <pc:sldMk cId="4183350934" sldId="2147478561"/>
            <ac:spMk id="590" creationId="{4028D83A-8D5B-5CDA-FEFD-292F33C8307A}"/>
          </ac:spMkLst>
        </pc:spChg>
        <pc:spChg chg="add del mod">
          <ac:chgData name="Steiner Andreas 6206 ED" userId="e6377c33-a923-4f14-8587-531c474c7b48" providerId="ADAL" clId="{6ECD27E6-B224-41CD-B4E0-E297462320DD}" dt="2023-11-24T08:51:56.304" v="90363"/>
          <ac:spMkLst>
            <pc:docMk/>
            <pc:sldMk cId="4183350934" sldId="2147478561"/>
            <ac:spMk id="591" creationId="{7782D605-20B4-5F44-DE84-1B4F9211DC71}"/>
          </ac:spMkLst>
        </pc:spChg>
        <pc:spChg chg="add del mod">
          <ac:chgData name="Steiner Andreas 6206 ED" userId="e6377c33-a923-4f14-8587-531c474c7b48" providerId="ADAL" clId="{6ECD27E6-B224-41CD-B4E0-E297462320DD}" dt="2023-11-24T08:51:58.237" v="90518"/>
          <ac:spMkLst>
            <pc:docMk/>
            <pc:sldMk cId="4183350934" sldId="2147478561"/>
            <ac:spMk id="592" creationId="{901B4B8D-6578-5BCB-5BA8-95F84E1E7B69}"/>
          </ac:spMkLst>
        </pc:spChg>
        <pc:spChg chg="add del mod">
          <ac:chgData name="Steiner Andreas 6206 ED" userId="e6377c33-a923-4f14-8587-531c474c7b48" providerId="ADAL" clId="{6ECD27E6-B224-41CD-B4E0-E297462320DD}" dt="2023-11-24T08:52:00.376" v="90673"/>
          <ac:spMkLst>
            <pc:docMk/>
            <pc:sldMk cId="4183350934" sldId="2147478561"/>
            <ac:spMk id="593" creationId="{AFF263FD-C387-73A6-5FFB-B58051C03C98}"/>
          </ac:spMkLst>
        </pc:spChg>
        <pc:spChg chg="add del mod">
          <ac:chgData name="Steiner Andreas 6206 ED" userId="e6377c33-a923-4f14-8587-531c474c7b48" providerId="ADAL" clId="{6ECD27E6-B224-41CD-B4E0-E297462320DD}" dt="2023-11-24T08:52:02.330" v="90828"/>
          <ac:spMkLst>
            <pc:docMk/>
            <pc:sldMk cId="4183350934" sldId="2147478561"/>
            <ac:spMk id="594" creationId="{FB93A643-EFFD-5992-38A2-F021B2C36BB0}"/>
          </ac:spMkLst>
        </pc:spChg>
        <pc:spChg chg="add del mod">
          <ac:chgData name="Steiner Andreas 6206 ED" userId="e6377c33-a923-4f14-8587-531c474c7b48" providerId="ADAL" clId="{6ECD27E6-B224-41CD-B4E0-E297462320DD}" dt="2023-11-24T08:52:04.236" v="90983"/>
          <ac:spMkLst>
            <pc:docMk/>
            <pc:sldMk cId="4183350934" sldId="2147478561"/>
            <ac:spMk id="595" creationId="{68523F06-A0D8-CC7E-38DD-DFDA8B7EDAAE}"/>
          </ac:spMkLst>
        </pc:spChg>
        <pc:spChg chg="add del mod">
          <ac:chgData name="Steiner Andreas 6206 ED" userId="e6377c33-a923-4f14-8587-531c474c7b48" providerId="ADAL" clId="{6ECD27E6-B224-41CD-B4E0-E297462320DD}" dt="2023-11-24T08:52:06.469" v="91138"/>
          <ac:spMkLst>
            <pc:docMk/>
            <pc:sldMk cId="4183350934" sldId="2147478561"/>
            <ac:spMk id="596" creationId="{0C536120-1A87-FF1F-183A-8AD8F2D09E9F}"/>
          </ac:spMkLst>
        </pc:spChg>
        <pc:spChg chg="add del mod">
          <ac:chgData name="Steiner Andreas 6206 ED" userId="e6377c33-a923-4f14-8587-531c474c7b48" providerId="ADAL" clId="{6ECD27E6-B224-41CD-B4E0-E297462320DD}" dt="2023-11-24T08:52:08.407" v="91293"/>
          <ac:spMkLst>
            <pc:docMk/>
            <pc:sldMk cId="4183350934" sldId="2147478561"/>
            <ac:spMk id="597" creationId="{DFD05968-4B48-B762-A0C1-C3A60CDF692C}"/>
          </ac:spMkLst>
        </pc:spChg>
        <pc:spChg chg="add del mod">
          <ac:chgData name="Steiner Andreas 6206 ED" userId="e6377c33-a923-4f14-8587-531c474c7b48" providerId="ADAL" clId="{6ECD27E6-B224-41CD-B4E0-E297462320DD}" dt="2023-11-24T08:52:10.286" v="91448"/>
          <ac:spMkLst>
            <pc:docMk/>
            <pc:sldMk cId="4183350934" sldId="2147478561"/>
            <ac:spMk id="598" creationId="{C80A2F7B-6645-F1C9-941E-911EDDB34F18}"/>
          </ac:spMkLst>
        </pc:spChg>
        <pc:spChg chg="add del mod">
          <ac:chgData name="Steiner Andreas 6206 ED" userId="e6377c33-a923-4f14-8587-531c474c7b48" providerId="ADAL" clId="{6ECD27E6-B224-41CD-B4E0-E297462320DD}" dt="2023-11-24T08:52:12.130" v="91603"/>
          <ac:spMkLst>
            <pc:docMk/>
            <pc:sldMk cId="4183350934" sldId="2147478561"/>
            <ac:spMk id="599" creationId="{C52B86BD-5F81-D98E-3D1C-B62A352FA266}"/>
          </ac:spMkLst>
        </pc:spChg>
        <pc:spChg chg="add del mod">
          <ac:chgData name="Steiner Andreas 6206 ED" userId="e6377c33-a923-4f14-8587-531c474c7b48" providerId="ADAL" clId="{6ECD27E6-B224-41CD-B4E0-E297462320DD}" dt="2023-11-24T08:52:14.078" v="91758"/>
          <ac:spMkLst>
            <pc:docMk/>
            <pc:sldMk cId="4183350934" sldId="2147478561"/>
            <ac:spMk id="600" creationId="{6459D907-0087-1DF0-674D-26FD98E83527}"/>
          </ac:spMkLst>
        </pc:spChg>
        <pc:spChg chg="add del mod">
          <ac:chgData name="Steiner Andreas 6206 ED" userId="e6377c33-a923-4f14-8587-531c474c7b48" providerId="ADAL" clId="{6ECD27E6-B224-41CD-B4E0-E297462320DD}" dt="2023-11-24T08:52:15.996" v="91913"/>
          <ac:spMkLst>
            <pc:docMk/>
            <pc:sldMk cId="4183350934" sldId="2147478561"/>
            <ac:spMk id="601" creationId="{9D27DF43-0AE0-9B12-E4F3-C91C38ACFD6E}"/>
          </ac:spMkLst>
        </pc:spChg>
        <pc:spChg chg="add del mod">
          <ac:chgData name="Steiner Andreas 6206 ED" userId="e6377c33-a923-4f14-8587-531c474c7b48" providerId="ADAL" clId="{6ECD27E6-B224-41CD-B4E0-E297462320DD}" dt="2023-11-24T08:52:18.150" v="92068"/>
          <ac:spMkLst>
            <pc:docMk/>
            <pc:sldMk cId="4183350934" sldId="2147478561"/>
            <ac:spMk id="602" creationId="{081C7231-B46C-0F7F-D33F-5372383C0C15}"/>
          </ac:spMkLst>
        </pc:spChg>
        <pc:spChg chg="add del mod">
          <ac:chgData name="Steiner Andreas 6206 ED" userId="e6377c33-a923-4f14-8587-531c474c7b48" providerId="ADAL" clId="{6ECD27E6-B224-41CD-B4E0-E297462320DD}" dt="2023-11-24T08:52:20.110" v="92223"/>
          <ac:spMkLst>
            <pc:docMk/>
            <pc:sldMk cId="4183350934" sldId="2147478561"/>
            <ac:spMk id="603" creationId="{BB4CDC10-7C65-C7DC-A725-AB2D7597CEEE}"/>
          </ac:spMkLst>
        </pc:spChg>
        <pc:spChg chg="add del mod">
          <ac:chgData name="Steiner Andreas 6206 ED" userId="e6377c33-a923-4f14-8587-531c474c7b48" providerId="ADAL" clId="{6ECD27E6-B224-41CD-B4E0-E297462320DD}" dt="2023-11-24T08:52:21.963" v="92378"/>
          <ac:spMkLst>
            <pc:docMk/>
            <pc:sldMk cId="4183350934" sldId="2147478561"/>
            <ac:spMk id="604" creationId="{C0517BDF-9996-CD58-94DC-BF652E61414D}"/>
          </ac:spMkLst>
        </pc:spChg>
        <pc:spChg chg="add del mod">
          <ac:chgData name="Steiner Andreas 6206 ED" userId="e6377c33-a923-4f14-8587-531c474c7b48" providerId="ADAL" clId="{6ECD27E6-B224-41CD-B4E0-E297462320DD}" dt="2023-11-24T08:52:24.013" v="92533"/>
          <ac:spMkLst>
            <pc:docMk/>
            <pc:sldMk cId="4183350934" sldId="2147478561"/>
            <ac:spMk id="605" creationId="{D1C4298E-E3FB-AD61-AE62-5D776F623C78}"/>
          </ac:spMkLst>
        </pc:spChg>
        <pc:spChg chg="add del mod">
          <ac:chgData name="Steiner Andreas 6206 ED" userId="e6377c33-a923-4f14-8587-531c474c7b48" providerId="ADAL" clId="{6ECD27E6-B224-41CD-B4E0-E297462320DD}" dt="2023-11-24T08:52:25.870" v="92688"/>
          <ac:spMkLst>
            <pc:docMk/>
            <pc:sldMk cId="4183350934" sldId="2147478561"/>
            <ac:spMk id="606" creationId="{2A0F9A44-1EAB-EA70-2397-CC460A3E1D32}"/>
          </ac:spMkLst>
        </pc:spChg>
        <pc:spChg chg="add del mod">
          <ac:chgData name="Steiner Andreas 6206 ED" userId="e6377c33-a923-4f14-8587-531c474c7b48" providerId="ADAL" clId="{6ECD27E6-B224-41CD-B4E0-E297462320DD}" dt="2023-11-24T08:52:27.764" v="92843"/>
          <ac:spMkLst>
            <pc:docMk/>
            <pc:sldMk cId="4183350934" sldId="2147478561"/>
            <ac:spMk id="607" creationId="{2A9754AA-04F3-9458-6F9C-1DFC67F6D670}"/>
          </ac:spMkLst>
        </pc:spChg>
        <pc:spChg chg="add del mod">
          <ac:chgData name="Steiner Andreas 6206 ED" userId="e6377c33-a923-4f14-8587-531c474c7b48" providerId="ADAL" clId="{6ECD27E6-B224-41CD-B4E0-E297462320DD}" dt="2023-11-24T08:52:29.867" v="92998"/>
          <ac:spMkLst>
            <pc:docMk/>
            <pc:sldMk cId="4183350934" sldId="2147478561"/>
            <ac:spMk id="608" creationId="{78653F3B-8343-2A72-2881-6AE0AFE9DEB7}"/>
          </ac:spMkLst>
        </pc:spChg>
        <pc:spChg chg="add del mod">
          <ac:chgData name="Steiner Andreas 6206 ED" userId="e6377c33-a923-4f14-8587-531c474c7b48" providerId="ADAL" clId="{6ECD27E6-B224-41CD-B4E0-E297462320DD}" dt="2023-11-24T08:52:31.782" v="93153"/>
          <ac:spMkLst>
            <pc:docMk/>
            <pc:sldMk cId="4183350934" sldId="2147478561"/>
            <ac:spMk id="609" creationId="{686A5C8B-D321-172F-C75E-C11EA974CEDF}"/>
          </ac:spMkLst>
        </pc:spChg>
        <pc:spChg chg="add del mod">
          <ac:chgData name="Steiner Andreas 6206 ED" userId="e6377c33-a923-4f14-8587-531c474c7b48" providerId="ADAL" clId="{6ECD27E6-B224-41CD-B4E0-E297462320DD}" dt="2023-11-24T08:52:33.689" v="93308"/>
          <ac:spMkLst>
            <pc:docMk/>
            <pc:sldMk cId="4183350934" sldId="2147478561"/>
            <ac:spMk id="610" creationId="{664E4D91-9385-AD58-1B0A-1B774E4279B4}"/>
          </ac:spMkLst>
        </pc:spChg>
        <pc:spChg chg="add del mod">
          <ac:chgData name="Steiner Andreas 6206 ED" userId="e6377c33-a923-4f14-8587-531c474c7b48" providerId="ADAL" clId="{6ECD27E6-B224-41CD-B4E0-E297462320DD}" dt="2023-11-24T08:52:35.610" v="93463"/>
          <ac:spMkLst>
            <pc:docMk/>
            <pc:sldMk cId="4183350934" sldId="2147478561"/>
            <ac:spMk id="611" creationId="{2791A4C6-66D6-9D80-4678-BAC2B2695395}"/>
          </ac:spMkLst>
        </pc:spChg>
        <pc:spChg chg="add del mod">
          <ac:chgData name="Steiner Andreas 6206 ED" userId="e6377c33-a923-4f14-8587-531c474c7b48" providerId="ADAL" clId="{6ECD27E6-B224-41CD-B4E0-E297462320DD}" dt="2023-11-24T08:52:37.522" v="93618"/>
          <ac:spMkLst>
            <pc:docMk/>
            <pc:sldMk cId="4183350934" sldId="2147478561"/>
            <ac:spMk id="612" creationId="{4B0BADF4-0D92-9CC6-24C7-AF525C0140DD}"/>
          </ac:spMkLst>
        </pc:spChg>
        <pc:spChg chg="add del mod">
          <ac:chgData name="Steiner Andreas 6206 ED" userId="e6377c33-a923-4f14-8587-531c474c7b48" providerId="ADAL" clId="{6ECD27E6-B224-41CD-B4E0-E297462320DD}" dt="2023-11-24T08:52:39.461" v="93773"/>
          <ac:spMkLst>
            <pc:docMk/>
            <pc:sldMk cId="4183350934" sldId="2147478561"/>
            <ac:spMk id="613" creationId="{3866CEA9-E244-8B2D-A4F3-7C86B5B71F8F}"/>
          </ac:spMkLst>
        </pc:spChg>
        <pc:spChg chg="add del mod">
          <ac:chgData name="Steiner Andreas 6206 ED" userId="e6377c33-a923-4f14-8587-531c474c7b48" providerId="ADAL" clId="{6ECD27E6-B224-41CD-B4E0-E297462320DD}" dt="2023-11-24T08:52:41.507" v="93928"/>
          <ac:spMkLst>
            <pc:docMk/>
            <pc:sldMk cId="4183350934" sldId="2147478561"/>
            <ac:spMk id="614" creationId="{ED4CF272-D5D8-F192-B8A7-C9E900725818}"/>
          </ac:spMkLst>
        </pc:spChg>
        <pc:spChg chg="add del mod">
          <ac:chgData name="Steiner Andreas 6206 ED" userId="e6377c33-a923-4f14-8587-531c474c7b48" providerId="ADAL" clId="{6ECD27E6-B224-41CD-B4E0-E297462320DD}" dt="2023-11-24T08:52:43.433" v="94083"/>
          <ac:spMkLst>
            <pc:docMk/>
            <pc:sldMk cId="4183350934" sldId="2147478561"/>
            <ac:spMk id="615" creationId="{404A7A99-3595-2AEB-138A-D29E763EE0D4}"/>
          </ac:spMkLst>
        </pc:spChg>
        <pc:spChg chg="add del mod">
          <ac:chgData name="Steiner Andreas 6206 ED" userId="e6377c33-a923-4f14-8587-531c474c7b48" providerId="ADAL" clId="{6ECD27E6-B224-41CD-B4E0-E297462320DD}" dt="2023-11-24T08:52:45.374" v="94238"/>
          <ac:spMkLst>
            <pc:docMk/>
            <pc:sldMk cId="4183350934" sldId="2147478561"/>
            <ac:spMk id="616" creationId="{FA265007-97A7-2B56-77CB-1CA50CBC2350}"/>
          </ac:spMkLst>
        </pc:spChg>
        <pc:spChg chg="add del mod">
          <ac:chgData name="Steiner Andreas 6206 ED" userId="e6377c33-a923-4f14-8587-531c474c7b48" providerId="ADAL" clId="{6ECD27E6-B224-41CD-B4E0-E297462320DD}" dt="2023-11-24T08:52:47.342" v="94393"/>
          <ac:spMkLst>
            <pc:docMk/>
            <pc:sldMk cId="4183350934" sldId="2147478561"/>
            <ac:spMk id="617" creationId="{A08BDFAB-6E51-F1AA-EE2A-0B98580A2AD1}"/>
          </ac:spMkLst>
        </pc:spChg>
        <pc:spChg chg="add del mod">
          <ac:chgData name="Steiner Andreas 6206 ED" userId="e6377c33-a923-4f14-8587-531c474c7b48" providerId="ADAL" clId="{6ECD27E6-B224-41CD-B4E0-E297462320DD}" dt="2023-11-24T08:52:49.432" v="94548"/>
          <ac:spMkLst>
            <pc:docMk/>
            <pc:sldMk cId="4183350934" sldId="2147478561"/>
            <ac:spMk id="618" creationId="{53CAAFFF-2146-BC4C-89F0-79CE14D8B6C8}"/>
          </ac:spMkLst>
        </pc:spChg>
        <pc:spChg chg="add del mod">
          <ac:chgData name="Steiner Andreas 6206 ED" userId="e6377c33-a923-4f14-8587-531c474c7b48" providerId="ADAL" clId="{6ECD27E6-B224-41CD-B4E0-E297462320DD}" dt="2023-11-24T08:52:51.614" v="94703"/>
          <ac:spMkLst>
            <pc:docMk/>
            <pc:sldMk cId="4183350934" sldId="2147478561"/>
            <ac:spMk id="619" creationId="{650903C6-9E7A-7FEE-09D6-B597BDDFC0B0}"/>
          </ac:spMkLst>
        </pc:spChg>
        <pc:spChg chg="add del mod">
          <ac:chgData name="Steiner Andreas 6206 ED" userId="e6377c33-a923-4f14-8587-531c474c7b48" providerId="ADAL" clId="{6ECD27E6-B224-41CD-B4E0-E297462320DD}" dt="2023-11-24T08:52:53.557" v="94858"/>
          <ac:spMkLst>
            <pc:docMk/>
            <pc:sldMk cId="4183350934" sldId="2147478561"/>
            <ac:spMk id="620" creationId="{67AC9275-CD9A-48BD-D1C6-DF82DCF75758}"/>
          </ac:spMkLst>
        </pc:spChg>
        <pc:spChg chg="add del mod">
          <ac:chgData name="Steiner Andreas 6206 ED" userId="e6377c33-a923-4f14-8587-531c474c7b48" providerId="ADAL" clId="{6ECD27E6-B224-41CD-B4E0-E297462320DD}" dt="2023-11-24T08:52:55.497" v="95013"/>
          <ac:spMkLst>
            <pc:docMk/>
            <pc:sldMk cId="4183350934" sldId="2147478561"/>
            <ac:spMk id="621" creationId="{7DA4C813-2F09-5D29-BED8-0A46E81F3D49}"/>
          </ac:spMkLst>
        </pc:spChg>
        <pc:spChg chg="add del mod">
          <ac:chgData name="Steiner Andreas 6206 ED" userId="e6377c33-a923-4f14-8587-531c474c7b48" providerId="ADAL" clId="{6ECD27E6-B224-41CD-B4E0-E297462320DD}" dt="2023-11-24T08:52:57.521" v="95168"/>
          <ac:spMkLst>
            <pc:docMk/>
            <pc:sldMk cId="4183350934" sldId="2147478561"/>
            <ac:spMk id="622" creationId="{A6A842A6-BDAB-F567-BD93-6E8033493000}"/>
          </ac:spMkLst>
        </pc:spChg>
        <pc:spChg chg="add del mod">
          <ac:chgData name="Steiner Andreas 6206 ED" userId="e6377c33-a923-4f14-8587-531c474c7b48" providerId="ADAL" clId="{6ECD27E6-B224-41CD-B4E0-E297462320DD}" dt="2023-11-24T08:52:59.491" v="95323"/>
          <ac:spMkLst>
            <pc:docMk/>
            <pc:sldMk cId="4183350934" sldId="2147478561"/>
            <ac:spMk id="623" creationId="{96FDEAB2-9095-1BEB-D761-ECAE1B55EFE3}"/>
          </ac:spMkLst>
        </pc:spChg>
        <pc:spChg chg="add del mod">
          <ac:chgData name="Steiner Andreas 6206 ED" userId="e6377c33-a923-4f14-8587-531c474c7b48" providerId="ADAL" clId="{6ECD27E6-B224-41CD-B4E0-E297462320DD}" dt="2023-11-24T08:53:01.501" v="95478"/>
          <ac:spMkLst>
            <pc:docMk/>
            <pc:sldMk cId="4183350934" sldId="2147478561"/>
            <ac:spMk id="624" creationId="{AA7001DF-B9F0-C828-3D54-EF20BBF2ACB1}"/>
          </ac:spMkLst>
        </pc:spChg>
        <pc:spChg chg="add del mod">
          <ac:chgData name="Steiner Andreas 6206 ED" userId="e6377c33-a923-4f14-8587-531c474c7b48" providerId="ADAL" clId="{6ECD27E6-B224-41CD-B4E0-E297462320DD}" dt="2023-11-24T08:53:03.612" v="95633"/>
          <ac:spMkLst>
            <pc:docMk/>
            <pc:sldMk cId="4183350934" sldId="2147478561"/>
            <ac:spMk id="625" creationId="{B85A7D23-D642-86F5-CEC8-71975F03D669}"/>
          </ac:spMkLst>
        </pc:spChg>
        <pc:spChg chg="add del mod">
          <ac:chgData name="Steiner Andreas 6206 ED" userId="e6377c33-a923-4f14-8587-531c474c7b48" providerId="ADAL" clId="{6ECD27E6-B224-41CD-B4E0-E297462320DD}" dt="2023-11-24T08:53:05.552" v="95788"/>
          <ac:spMkLst>
            <pc:docMk/>
            <pc:sldMk cId="4183350934" sldId="2147478561"/>
            <ac:spMk id="626" creationId="{B563612F-8621-14F2-0DFA-3402F98DC9DF}"/>
          </ac:spMkLst>
        </pc:spChg>
        <pc:spChg chg="add del mod">
          <ac:chgData name="Steiner Andreas 6206 ED" userId="e6377c33-a923-4f14-8587-531c474c7b48" providerId="ADAL" clId="{6ECD27E6-B224-41CD-B4E0-E297462320DD}" dt="2023-11-24T08:53:07.437" v="95943"/>
          <ac:spMkLst>
            <pc:docMk/>
            <pc:sldMk cId="4183350934" sldId="2147478561"/>
            <ac:spMk id="627" creationId="{3553C05D-E4EC-F38B-48E5-32D992F1E373}"/>
          </ac:spMkLst>
        </pc:spChg>
        <pc:spChg chg="add del mod">
          <ac:chgData name="Steiner Andreas 6206 ED" userId="e6377c33-a923-4f14-8587-531c474c7b48" providerId="ADAL" clId="{6ECD27E6-B224-41CD-B4E0-E297462320DD}" dt="2023-11-24T08:53:09.377" v="96098"/>
          <ac:spMkLst>
            <pc:docMk/>
            <pc:sldMk cId="4183350934" sldId="2147478561"/>
            <ac:spMk id="628" creationId="{21724E7D-10AF-C563-9C15-6AD4B0548A6C}"/>
          </ac:spMkLst>
        </pc:spChg>
        <pc:spChg chg="add del mod">
          <ac:chgData name="Steiner Andreas 6206 ED" userId="e6377c33-a923-4f14-8587-531c474c7b48" providerId="ADAL" clId="{6ECD27E6-B224-41CD-B4E0-E297462320DD}" dt="2023-11-24T08:53:11.328" v="96253"/>
          <ac:spMkLst>
            <pc:docMk/>
            <pc:sldMk cId="4183350934" sldId="2147478561"/>
            <ac:spMk id="629" creationId="{9E066F1E-16DD-2156-04EB-87AEE738A7C2}"/>
          </ac:spMkLst>
        </pc:spChg>
        <pc:spChg chg="add del mod">
          <ac:chgData name="Steiner Andreas 6206 ED" userId="e6377c33-a923-4f14-8587-531c474c7b48" providerId="ADAL" clId="{6ECD27E6-B224-41CD-B4E0-E297462320DD}" dt="2023-11-24T08:53:13.368" v="96408"/>
          <ac:spMkLst>
            <pc:docMk/>
            <pc:sldMk cId="4183350934" sldId="2147478561"/>
            <ac:spMk id="630" creationId="{1A5E44AE-F424-C31B-0653-705051BBE575}"/>
          </ac:spMkLst>
        </pc:spChg>
        <pc:spChg chg="add del mod">
          <ac:chgData name="Steiner Andreas 6206 ED" userId="e6377c33-a923-4f14-8587-531c474c7b48" providerId="ADAL" clId="{6ECD27E6-B224-41CD-B4E0-E297462320DD}" dt="2023-11-24T08:53:15.415" v="96563"/>
          <ac:spMkLst>
            <pc:docMk/>
            <pc:sldMk cId="4183350934" sldId="2147478561"/>
            <ac:spMk id="631" creationId="{20057E63-FC2D-12CF-A905-91BECDF15A36}"/>
          </ac:spMkLst>
        </pc:spChg>
        <pc:spChg chg="add del mod">
          <ac:chgData name="Steiner Andreas 6206 ED" userId="e6377c33-a923-4f14-8587-531c474c7b48" providerId="ADAL" clId="{6ECD27E6-B224-41CD-B4E0-E297462320DD}" dt="2023-11-24T08:53:17.368" v="96718"/>
          <ac:spMkLst>
            <pc:docMk/>
            <pc:sldMk cId="4183350934" sldId="2147478561"/>
            <ac:spMk id="632" creationId="{2405CEC1-E7DD-94BE-DCB4-7830E2080ACD}"/>
          </ac:spMkLst>
        </pc:spChg>
        <pc:spChg chg="add del mod">
          <ac:chgData name="Steiner Andreas 6206 ED" userId="e6377c33-a923-4f14-8587-531c474c7b48" providerId="ADAL" clId="{6ECD27E6-B224-41CD-B4E0-E297462320DD}" dt="2023-11-24T08:53:19.360" v="96873"/>
          <ac:spMkLst>
            <pc:docMk/>
            <pc:sldMk cId="4183350934" sldId="2147478561"/>
            <ac:spMk id="633" creationId="{26216F65-7270-BE9A-CADE-4F4CD48F8050}"/>
          </ac:spMkLst>
        </pc:spChg>
        <pc:spChg chg="add del mod">
          <ac:chgData name="Steiner Andreas 6206 ED" userId="e6377c33-a923-4f14-8587-531c474c7b48" providerId="ADAL" clId="{6ECD27E6-B224-41CD-B4E0-E297462320DD}" dt="2023-11-24T08:53:21.300" v="97028"/>
          <ac:spMkLst>
            <pc:docMk/>
            <pc:sldMk cId="4183350934" sldId="2147478561"/>
            <ac:spMk id="634" creationId="{6283ECD7-849B-7613-A9C0-DCA638F1BAC0}"/>
          </ac:spMkLst>
        </pc:spChg>
        <pc:spChg chg="add del mod">
          <ac:chgData name="Steiner Andreas 6206 ED" userId="e6377c33-a923-4f14-8587-531c474c7b48" providerId="ADAL" clId="{6ECD27E6-B224-41CD-B4E0-E297462320DD}" dt="2023-11-24T08:53:23.257" v="97183"/>
          <ac:spMkLst>
            <pc:docMk/>
            <pc:sldMk cId="4183350934" sldId="2147478561"/>
            <ac:spMk id="635" creationId="{7D0F6CA1-3F34-341D-AE5B-27DE9203D6F4}"/>
          </ac:spMkLst>
        </pc:spChg>
        <pc:spChg chg="add del mod">
          <ac:chgData name="Steiner Andreas 6206 ED" userId="e6377c33-a923-4f14-8587-531c474c7b48" providerId="ADAL" clId="{6ECD27E6-B224-41CD-B4E0-E297462320DD}" dt="2023-11-24T08:53:25.388" v="97338"/>
          <ac:spMkLst>
            <pc:docMk/>
            <pc:sldMk cId="4183350934" sldId="2147478561"/>
            <ac:spMk id="636" creationId="{60C4AEA5-D68D-8191-6E96-42D27F125BA1}"/>
          </ac:spMkLst>
        </pc:spChg>
        <pc:spChg chg="add del mod">
          <ac:chgData name="Steiner Andreas 6206 ED" userId="e6377c33-a923-4f14-8587-531c474c7b48" providerId="ADAL" clId="{6ECD27E6-B224-41CD-B4E0-E297462320DD}" dt="2023-11-24T08:53:27.360" v="97493"/>
          <ac:spMkLst>
            <pc:docMk/>
            <pc:sldMk cId="4183350934" sldId="2147478561"/>
            <ac:spMk id="637" creationId="{48BFB32F-BA00-C2CC-E234-95AF7ABC85BA}"/>
          </ac:spMkLst>
        </pc:spChg>
        <pc:spChg chg="add del mod">
          <ac:chgData name="Steiner Andreas 6206 ED" userId="e6377c33-a923-4f14-8587-531c474c7b48" providerId="ADAL" clId="{6ECD27E6-B224-41CD-B4E0-E297462320DD}" dt="2023-11-24T08:53:29.255" v="97648"/>
          <ac:spMkLst>
            <pc:docMk/>
            <pc:sldMk cId="4183350934" sldId="2147478561"/>
            <ac:spMk id="638" creationId="{56D070DD-144A-7082-4D3B-87EE43682A3E}"/>
          </ac:spMkLst>
        </pc:spChg>
        <pc:spChg chg="add del mod">
          <ac:chgData name="Steiner Andreas 6206 ED" userId="e6377c33-a923-4f14-8587-531c474c7b48" providerId="ADAL" clId="{6ECD27E6-B224-41CD-B4E0-E297462320DD}" dt="2023-11-24T08:53:31.154" v="97803"/>
          <ac:spMkLst>
            <pc:docMk/>
            <pc:sldMk cId="4183350934" sldId="2147478561"/>
            <ac:spMk id="639" creationId="{98CB61F6-94A0-FE13-BA89-11B2C7FFA6C3}"/>
          </ac:spMkLst>
        </pc:spChg>
        <pc:spChg chg="add del mod">
          <ac:chgData name="Steiner Andreas 6206 ED" userId="e6377c33-a923-4f14-8587-531c474c7b48" providerId="ADAL" clId="{6ECD27E6-B224-41CD-B4E0-E297462320DD}" dt="2023-11-24T08:53:33.095" v="97958"/>
          <ac:spMkLst>
            <pc:docMk/>
            <pc:sldMk cId="4183350934" sldId="2147478561"/>
            <ac:spMk id="640" creationId="{D1560522-B131-CF80-E7E4-8D9163DDF982}"/>
          </ac:spMkLst>
        </pc:spChg>
        <pc:spChg chg="add del mod">
          <ac:chgData name="Steiner Andreas 6206 ED" userId="e6377c33-a923-4f14-8587-531c474c7b48" providerId="ADAL" clId="{6ECD27E6-B224-41CD-B4E0-E297462320DD}" dt="2023-11-24T08:53:35.013" v="98113"/>
          <ac:spMkLst>
            <pc:docMk/>
            <pc:sldMk cId="4183350934" sldId="2147478561"/>
            <ac:spMk id="641" creationId="{9373D410-F8F4-765C-EC1D-9EB27411975E}"/>
          </ac:spMkLst>
        </pc:spChg>
        <pc:spChg chg="add del mod">
          <ac:chgData name="Steiner Andreas 6206 ED" userId="e6377c33-a923-4f14-8587-531c474c7b48" providerId="ADAL" clId="{6ECD27E6-B224-41CD-B4E0-E297462320DD}" dt="2023-11-24T08:53:37.138" v="98268"/>
          <ac:spMkLst>
            <pc:docMk/>
            <pc:sldMk cId="4183350934" sldId="2147478561"/>
            <ac:spMk id="642" creationId="{8A91AE13-1F50-F191-F23D-275F47E11E3E}"/>
          </ac:spMkLst>
        </pc:spChg>
        <pc:spChg chg="add del mod">
          <ac:chgData name="Steiner Andreas 6206 ED" userId="e6377c33-a923-4f14-8587-531c474c7b48" providerId="ADAL" clId="{6ECD27E6-B224-41CD-B4E0-E297462320DD}" dt="2023-11-24T08:53:39.025" v="98423"/>
          <ac:spMkLst>
            <pc:docMk/>
            <pc:sldMk cId="4183350934" sldId="2147478561"/>
            <ac:spMk id="643" creationId="{EA49FC20-75D0-1DA3-172B-3CE178BBA40C}"/>
          </ac:spMkLst>
        </pc:spChg>
        <pc:spChg chg="add del mod">
          <ac:chgData name="Steiner Andreas 6206 ED" userId="e6377c33-a923-4f14-8587-531c474c7b48" providerId="ADAL" clId="{6ECD27E6-B224-41CD-B4E0-E297462320DD}" dt="2023-11-24T08:53:40.974" v="98578"/>
          <ac:spMkLst>
            <pc:docMk/>
            <pc:sldMk cId="4183350934" sldId="2147478561"/>
            <ac:spMk id="644" creationId="{7DD1EAEA-B26A-1FF0-FB79-E4873E344091}"/>
          </ac:spMkLst>
        </pc:spChg>
        <pc:spChg chg="add del mod">
          <ac:chgData name="Steiner Andreas 6206 ED" userId="e6377c33-a923-4f14-8587-531c474c7b48" providerId="ADAL" clId="{6ECD27E6-B224-41CD-B4E0-E297462320DD}" dt="2023-11-24T08:53:42.938" v="98733"/>
          <ac:spMkLst>
            <pc:docMk/>
            <pc:sldMk cId="4183350934" sldId="2147478561"/>
            <ac:spMk id="645" creationId="{F7F595D6-F7A3-F996-9A74-45C57FE18086}"/>
          </ac:spMkLst>
        </pc:spChg>
        <pc:spChg chg="add del mod">
          <ac:chgData name="Steiner Andreas 6206 ED" userId="e6377c33-a923-4f14-8587-531c474c7b48" providerId="ADAL" clId="{6ECD27E6-B224-41CD-B4E0-E297462320DD}" dt="2023-11-24T08:53:44.870" v="98888"/>
          <ac:spMkLst>
            <pc:docMk/>
            <pc:sldMk cId="4183350934" sldId="2147478561"/>
            <ac:spMk id="646" creationId="{163CB4AC-293A-D0FD-D238-A85FDD55AA65}"/>
          </ac:spMkLst>
        </pc:spChg>
        <pc:spChg chg="add del mod">
          <ac:chgData name="Steiner Andreas 6206 ED" userId="e6377c33-a923-4f14-8587-531c474c7b48" providerId="ADAL" clId="{6ECD27E6-B224-41CD-B4E0-E297462320DD}" dt="2023-11-24T08:53:46.838" v="99043"/>
          <ac:spMkLst>
            <pc:docMk/>
            <pc:sldMk cId="4183350934" sldId="2147478561"/>
            <ac:spMk id="647" creationId="{BB0FB9B2-A125-3A06-EB82-952C67B107E2}"/>
          </ac:spMkLst>
        </pc:spChg>
        <pc:spChg chg="add del mod">
          <ac:chgData name="Steiner Andreas 6206 ED" userId="e6377c33-a923-4f14-8587-531c474c7b48" providerId="ADAL" clId="{6ECD27E6-B224-41CD-B4E0-E297462320DD}" dt="2023-11-24T08:53:48.878" v="99198"/>
          <ac:spMkLst>
            <pc:docMk/>
            <pc:sldMk cId="4183350934" sldId="2147478561"/>
            <ac:spMk id="648" creationId="{53FC9D6B-FB1E-5A39-5208-043CBE5AE210}"/>
          </ac:spMkLst>
        </pc:spChg>
        <pc:spChg chg="add del mod">
          <ac:chgData name="Steiner Andreas 6206 ED" userId="e6377c33-a923-4f14-8587-531c474c7b48" providerId="ADAL" clId="{6ECD27E6-B224-41CD-B4E0-E297462320DD}" dt="2023-11-24T08:53:50.817" v="99353"/>
          <ac:spMkLst>
            <pc:docMk/>
            <pc:sldMk cId="4183350934" sldId="2147478561"/>
            <ac:spMk id="649" creationId="{26A5004A-E2CA-9DD7-E11B-641E36ACDB90}"/>
          </ac:spMkLst>
        </pc:spChg>
        <pc:spChg chg="add del mod">
          <ac:chgData name="Steiner Andreas 6206 ED" userId="e6377c33-a923-4f14-8587-531c474c7b48" providerId="ADAL" clId="{6ECD27E6-B224-41CD-B4E0-E297462320DD}" dt="2023-11-24T08:53:52.823" v="99508"/>
          <ac:spMkLst>
            <pc:docMk/>
            <pc:sldMk cId="4183350934" sldId="2147478561"/>
            <ac:spMk id="650" creationId="{9A9FA077-997A-AF91-5596-E28103026AA9}"/>
          </ac:spMkLst>
        </pc:spChg>
        <pc:spChg chg="add del mod">
          <ac:chgData name="Steiner Andreas 6206 ED" userId="e6377c33-a923-4f14-8587-531c474c7b48" providerId="ADAL" clId="{6ECD27E6-B224-41CD-B4E0-E297462320DD}" dt="2023-11-24T08:53:54.781" v="99663"/>
          <ac:spMkLst>
            <pc:docMk/>
            <pc:sldMk cId="4183350934" sldId="2147478561"/>
            <ac:spMk id="651" creationId="{9F978D7D-FA61-C5B5-535C-B0E03D9004D8}"/>
          </ac:spMkLst>
        </pc:spChg>
        <pc:spChg chg="add del mod">
          <ac:chgData name="Steiner Andreas 6206 ED" userId="e6377c33-a923-4f14-8587-531c474c7b48" providerId="ADAL" clId="{6ECD27E6-B224-41CD-B4E0-E297462320DD}" dt="2023-11-24T08:53:56.714" v="99818"/>
          <ac:spMkLst>
            <pc:docMk/>
            <pc:sldMk cId="4183350934" sldId="2147478561"/>
            <ac:spMk id="652" creationId="{43235820-3C74-9DA5-0052-9252EEF8DBE4}"/>
          </ac:spMkLst>
        </pc:spChg>
        <pc:spChg chg="add del mod">
          <ac:chgData name="Steiner Andreas 6206 ED" userId="e6377c33-a923-4f14-8587-531c474c7b48" providerId="ADAL" clId="{6ECD27E6-B224-41CD-B4E0-E297462320DD}" dt="2023-11-24T08:53:58.810" v="99973"/>
          <ac:spMkLst>
            <pc:docMk/>
            <pc:sldMk cId="4183350934" sldId="2147478561"/>
            <ac:spMk id="653" creationId="{4DDC5208-A737-25B6-2D01-99CC4583A56C}"/>
          </ac:spMkLst>
        </pc:spChg>
        <pc:spChg chg="add del mod">
          <ac:chgData name="Steiner Andreas 6206 ED" userId="e6377c33-a923-4f14-8587-531c474c7b48" providerId="ADAL" clId="{6ECD27E6-B224-41CD-B4E0-E297462320DD}" dt="2023-11-24T08:54:00.879" v="100128"/>
          <ac:spMkLst>
            <pc:docMk/>
            <pc:sldMk cId="4183350934" sldId="2147478561"/>
            <ac:spMk id="654" creationId="{E15FF848-081C-BF45-DBD6-A3816C6BF60B}"/>
          </ac:spMkLst>
        </pc:spChg>
        <pc:spChg chg="add del mod">
          <ac:chgData name="Steiner Andreas 6206 ED" userId="e6377c33-a923-4f14-8587-531c474c7b48" providerId="ADAL" clId="{6ECD27E6-B224-41CD-B4E0-E297462320DD}" dt="2023-11-24T08:54:02.881" v="100283"/>
          <ac:spMkLst>
            <pc:docMk/>
            <pc:sldMk cId="4183350934" sldId="2147478561"/>
            <ac:spMk id="655" creationId="{26FF9C6E-6A8F-1D4A-BF84-1981C549626E}"/>
          </ac:spMkLst>
        </pc:spChg>
        <pc:spChg chg="add del mod">
          <ac:chgData name="Steiner Andreas 6206 ED" userId="e6377c33-a923-4f14-8587-531c474c7b48" providerId="ADAL" clId="{6ECD27E6-B224-41CD-B4E0-E297462320DD}" dt="2023-11-24T08:54:04.826" v="100438"/>
          <ac:spMkLst>
            <pc:docMk/>
            <pc:sldMk cId="4183350934" sldId="2147478561"/>
            <ac:spMk id="656" creationId="{3D05D19C-E729-9D51-39B5-186F549D66A7}"/>
          </ac:spMkLst>
        </pc:spChg>
        <pc:spChg chg="add del mod">
          <ac:chgData name="Steiner Andreas 6206 ED" userId="e6377c33-a923-4f14-8587-531c474c7b48" providerId="ADAL" clId="{6ECD27E6-B224-41CD-B4E0-E297462320DD}" dt="2023-11-24T08:54:06.793" v="100593"/>
          <ac:spMkLst>
            <pc:docMk/>
            <pc:sldMk cId="4183350934" sldId="2147478561"/>
            <ac:spMk id="657" creationId="{B429DFE7-2DC6-0005-1A38-E2EC31F0CDF2}"/>
          </ac:spMkLst>
        </pc:spChg>
        <pc:spChg chg="add del mod">
          <ac:chgData name="Steiner Andreas 6206 ED" userId="e6377c33-a923-4f14-8587-531c474c7b48" providerId="ADAL" clId="{6ECD27E6-B224-41CD-B4E0-E297462320DD}" dt="2023-11-24T08:54:08.812" v="100748"/>
          <ac:spMkLst>
            <pc:docMk/>
            <pc:sldMk cId="4183350934" sldId="2147478561"/>
            <ac:spMk id="658" creationId="{58E70CA1-1E54-B611-5CB6-3F81B4725C7E}"/>
          </ac:spMkLst>
        </pc:spChg>
        <pc:spChg chg="add del mod">
          <ac:chgData name="Steiner Andreas 6206 ED" userId="e6377c33-a923-4f14-8587-531c474c7b48" providerId="ADAL" clId="{6ECD27E6-B224-41CD-B4E0-E297462320DD}" dt="2023-11-24T08:54:10.919" v="100903"/>
          <ac:spMkLst>
            <pc:docMk/>
            <pc:sldMk cId="4183350934" sldId="2147478561"/>
            <ac:spMk id="659" creationId="{AAC622F2-6BF4-3B11-BA9A-3C5B37237495}"/>
          </ac:spMkLst>
        </pc:spChg>
        <pc:spChg chg="add del mod">
          <ac:chgData name="Steiner Andreas 6206 ED" userId="e6377c33-a923-4f14-8587-531c474c7b48" providerId="ADAL" clId="{6ECD27E6-B224-41CD-B4E0-E297462320DD}" dt="2023-11-24T08:54:12.865" v="101058"/>
          <ac:spMkLst>
            <pc:docMk/>
            <pc:sldMk cId="4183350934" sldId="2147478561"/>
            <ac:spMk id="660" creationId="{3EBF190F-C563-2CE5-BD54-E25408CEC945}"/>
          </ac:spMkLst>
        </pc:spChg>
        <pc:spChg chg="add del mod">
          <ac:chgData name="Steiner Andreas 6206 ED" userId="e6377c33-a923-4f14-8587-531c474c7b48" providerId="ADAL" clId="{6ECD27E6-B224-41CD-B4E0-E297462320DD}" dt="2023-11-24T08:54:14.803" v="101213"/>
          <ac:spMkLst>
            <pc:docMk/>
            <pc:sldMk cId="4183350934" sldId="2147478561"/>
            <ac:spMk id="661" creationId="{19B1C8F5-C9E1-A06D-B9C2-44806ABA0CEF}"/>
          </ac:spMkLst>
        </pc:spChg>
        <pc:spChg chg="add del mod">
          <ac:chgData name="Steiner Andreas 6206 ED" userId="e6377c33-a923-4f14-8587-531c474c7b48" providerId="ADAL" clId="{6ECD27E6-B224-41CD-B4E0-E297462320DD}" dt="2023-11-24T08:54:16.700" v="101368"/>
          <ac:spMkLst>
            <pc:docMk/>
            <pc:sldMk cId="4183350934" sldId="2147478561"/>
            <ac:spMk id="662" creationId="{3B57705D-E296-1D70-59F2-781200DC5064}"/>
          </ac:spMkLst>
        </pc:spChg>
        <pc:spChg chg="add del mod">
          <ac:chgData name="Steiner Andreas 6206 ED" userId="e6377c33-a923-4f14-8587-531c474c7b48" providerId="ADAL" clId="{6ECD27E6-B224-41CD-B4E0-E297462320DD}" dt="2023-11-24T08:54:18.637" v="101523"/>
          <ac:spMkLst>
            <pc:docMk/>
            <pc:sldMk cId="4183350934" sldId="2147478561"/>
            <ac:spMk id="663" creationId="{CD4463BC-E183-5769-2F55-1F8E3F8F495B}"/>
          </ac:spMkLst>
        </pc:spChg>
        <pc:spChg chg="add del mod">
          <ac:chgData name="Steiner Andreas 6206 ED" userId="e6377c33-a923-4f14-8587-531c474c7b48" providerId="ADAL" clId="{6ECD27E6-B224-41CD-B4E0-E297462320DD}" dt="2023-11-24T08:54:20.609" v="101678"/>
          <ac:spMkLst>
            <pc:docMk/>
            <pc:sldMk cId="4183350934" sldId="2147478561"/>
            <ac:spMk id="664" creationId="{A5265FC5-A77E-A722-F941-2DC6EE68D18F}"/>
          </ac:spMkLst>
        </pc:spChg>
        <pc:spChg chg="add del mod">
          <ac:chgData name="Steiner Andreas 6206 ED" userId="e6377c33-a923-4f14-8587-531c474c7b48" providerId="ADAL" clId="{6ECD27E6-B224-41CD-B4E0-E297462320DD}" dt="2023-11-24T08:54:22.677" v="101833"/>
          <ac:spMkLst>
            <pc:docMk/>
            <pc:sldMk cId="4183350934" sldId="2147478561"/>
            <ac:spMk id="665" creationId="{12264BC6-0A31-F043-6639-B6D207BAF82E}"/>
          </ac:spMkLst>
        </pc:spChg>
        <pc:spChg chg="add del mod">
          <ac:chgData name="Steiner Andreas 6206 ED" userId="e6377c33-a923-4f14-8587-531c474c7b48" providerId="ADAL" clId="{6ECD27E6-B224-41CD-B4E0-E297462320DD}" dt="2023-11-24T08:54:24.656" v="101988"/>
          <ac:spMkLst>
            <pc:docMk/>
            <pc:sldMk cId="4183350934" sldId="2147478561"/>
            <ac:spMk id="666" creationId="{04198A4B-3F8E-A148-C2C7-6E8D57E95FF4}"/>
          </ac:spMkLst>
        </pc:spChg>
        <pc:spChg chg="add del mod">
          <ac:chgData name="Steiner Andreas 6206 ED" userId="e6377c33-a923-4f14-8587-531c474c7b48" providerId="ADAL" clId="{6ECD27E6-B224-41CD-B4E0-E297462320DD}" dt="2023-11-24T08:54:26.596" v="102143"/>
          <ac:spMkLst>
            <pc:docMk/>
            <pc:sldMk cId="4183350934" sldId="2147478561"/>
            <ac:spMk id="667" creationId="{33E7917D-F042-2D13-A758-607BBE1ED100}"/>
          </ac:spMkLst>
        </pc:spChg>
        <pc:spChg chg="add del mod">
          <ac:chgData name="Steiner Andreas 6206 ED" userId="e6377c33-a923-4f14-8587-531c474c7b48" providerId="ADAL" clId="{6ECD27E6-B224-41CD-B4E0-E297462320DD}" dt="2023-11-24T08:54:28.556" v="102298"/>
          <ac:spMkLst>
            <pc:docMk/>
            <pc:sldMk cId="4183350934" sldId="2147478561"/>
            <ac:spMk id="668" creationId="{F00986D7-E32C-FF05-F0D4-C548ECE18BB1}"/>
          </ac:spMkLst>
        </pc:spChg>
        <pc:spChg chg="add del mod">
          <ac:chgData name="Steiner Andreas 6206 ED" userId="e6377c33-a923-4f14-8587-531c474c7b48" providerId="ADAL" clId="{6ECD27E6-B224-41CD-B4E0-E297462320DD}" dt="2023-11-24T08:54:30.481" v="102453"/>
          <ac:spMkLst>
            <pc:docMk/>
            <pc:sldMk cId="4183350934" sldId="2147478561"/>
            <ac:spMk id="669" creationId="{67B05BF6-4906-09DE-38D5-41DBAA03CA44}"/>
          </ac:spMkLst>
        </pc:spChg>
        <pc:spChg chg="add del mod">
          <ac:chgData name="Steiner Andreas 6206 ED" userId="e6377c33-a923-4f14-8587-531c474c7b48" providerId="ADAL" clId="{6ECD27E6-B224-41CD-B4E0-E297462320DD}" dt="2023-11-24T08:54:32.664" v="102608"/>
          <ac:spMkLst>
            <pc:docMk/>
            <pc:sldMk cId="4183350934" sldId="2147478561"/>
            <ac:spMk id="670" creationId="{7CD3E009-39D8-E4B9-6BE0-F2DABCCDC654}"/>
          </ac:spMkLst>
        </pc:spChg>
        <pc:spChg chg="add del mod">
          <ac:chgData name="Steiner Andreas 6206 ED" userId="e6377c33-a923-4f14-8587-531c474c7b48" providerId="ADAL" clId="{6ECD27E6-B224-41CD-B4E0-E297462320DD}" dt="2023-11-24T08:54:34.637" v="102763"/>
          <ac:spMkLst>
            <pc:docMk/>
            <pc:sldMk cId="4183350934" sldId="2147478561"/>
            <ac:spMk id="671" creationId="{F256C7F8-272C-63E1-0E29-D4A4EF5D3A2F}"/>
          </ac:spMkLst>
        </pc:spChg>
        <pc:spChg chg="add del mod">
          <ac:chgData name="Steiner Andreas 6206 ED" userId="e6377c33-a923-4f14-8587-531c474c7b48" providerId="ADAL" clId="{6ECD27E6-B224-41CD-B4E0-E297462320DD}" dt="2023-11-24T08:54:36.537" v="102918"/>
          <ac:spMkLst>
            <pc:docMk/>
            <pc:sldMk cId="4183350934" sldId="2147478561"/>
            <ac:spMk id="672" creationId="{6741CC9B-F7A2-0927-F698-77F7509DC930}"/>
          </ac:spMkLst>
        </pc:spChg>
        <pc:spChg chg="add del mod">
          <ac:chgData name="Steiner Andreas 6206 ED" userId="e6377c33-a923-4f14-8587-531c474c7b48" providerId="ADAL" clId="{6ECD27E6-B224-41CD-B4E0-E297462320DD}" dt="2023-11-24T08:54:38.809" v="103073"/>
          <ac:spMkLst>
            <pc:docMk/>
            <pc:sldMk cId="4183350934" sldId="2147478561"/>
            <ac:spMk id="673" creationId="{0BFF19FF-CC02-4240-9976-AC0462E679D6}"/>
          </ac:spMkLst>
        </pc:spChg>
        <pc:spChg chg="add del mod">
          <ac:chgData name="Steiner Andreas 6206 ED" userId="e6377c33-a923-4f14-8587-531c474c7b48" providerId="ADAL" clId="{6ECD27E6-B224-41CD-B4E0-E297462320DD}" dt="2023-11-24T08:54:40.916" v="103228"/>
          <ac:spMkLst>
            <pc:docMk/>
            <pc:sldMk cId="4183350934" sldId="2147478561"/>
            <ac:spMk id="674" creationId="{2C87E561-E925-FC26-B237-66FD87DD3A20}"/>
          </ac:spMkLst>
        </pc:spChg>
        <pc:spChg chg="add del mod">
          <ac:chgData name="Steiner Andreas 6206 ED" userId="e6377c33-a923-4f14-8587-531c474c7b48" providerId="ADAL" clId="{6ECD27E6-B224-41CD-B4E0-E297462320DD}" dt="2023-11-24T08:54:42.861" v="103383"/>
          <ac:spMkLst>
            <pc:docMk/>
            <pc:sldMk cId="4183350934" sldId="2147478561"/>
            <ac:spMk id="675" creationId="{05A338EB-4D09-088F-4127-26A064246A0F}"/>
          </ac:spMkLst>
        </pc:spChg>
        <pc:spChg chg="add del mod">
          <ac:chgData name="Steiner Andreas 6206 ED" userId="e6377c33-a923-4f14-8587-531c474c7b48" providerId="ADAL" clId="{6ECD27E6-B224-41CD-B4E0-E297462320DD}" dt="2023-11-24T08:54:45.119" v="103538"/>
          <ac:spMkLst>
            <pc:docMk/>
            <pc:sldMk cId="4183350934" sldId="2147478561"/>
            <ac:spMk id="676" creationId="{5D7B5F13-768D-0A70-D5C6-5460329B4464}"/>
          </ac:spMkLst>
        </pc:spChg>
        <pc:spChg chg="add del mod">
          <ac:chgData name="Steiner Andreas 6206 ED" userId="e6377c33-a923-4f14-8587-531c474c7b48" providerId="ADAL" clId="{6ECD27E6-B224-41CD-B4E0-E297462320DD}" dt="2023-11-24T08:54:47.365" v="103693"/>
          <ac:spMkLst>
            <pc:docMk/>
            <pc:sldMk cId="4183350934" sldId="2147478561"/>
            <ac:spMk id="677" creationId="{1F157757-C8E9-EB47-C40B-2AD5F9C1582B}"/>
          </ac:spMkLst>
        </pc:spChg>
        <pc:spChg chg="add del mod">
          <ac:chgData name="Steiner Andreas 6206 ED" userId="e6377c33-a923-4f14-8587-531c474c7b48" providerId="ADAL" clId="{6ECD27E6-B224-41CD-B4E0-E297462320DD}" dt="2023-11-24T08:54:49.459" v="103848"/>
          <ac:spMkLst>
            <pc:docMk/>
            <pc:sldMk cId="4183350934" sldId="2147478561"/>
            <ac:spMk id="678" creationId="{619436EF-8C79-ABF7-DD8E-6EF2D7384333}"/>
          </ac:spMkLst>
        </pc:spChg>
        <pc:spChg chg="add del mod">
          <ac:chgData name="Steiner Andreas 6206 ED" userId="e6377c33-a923-4f14-8587-531c474c7b48" providerId="ADAL" clId="{6ECD27E6-B224-41CD-B4E0-E297462320DD}" dt="2023-11-24T08:54:51.843" v="104003"/>
          <ac:spMkLst>
            <pc:docMk/>
            <pc:sldMk cId="4183350934" sldId="2147478561"/>
            <ac:spMk id="679" creationId="{6EB09500-C10F-B8A9-8699-8E0E74FE76D6}"/>
          </ac:spMkLst>
        </pc:spChg>
        <pc:spChg chg="add del mod">
          <ac:chgData name="Steiner Andreas 6206 ED" userId="e6377c33-a923-4f14-8587-531c474c7b48" providerId="ADAL" clId="{6ECD27E6-B224-41CD-B4E0-E297462320DD}" dt="2023-11-24T08:54:53.881" v="104158"/>
          <ac:spMkLst>
            <pc:docMk/>
            <pc:sldMk cId="4183350934" sldId="2147478561"/>
            <ac:spMk id="680" creationId="{18986FC8-15ED-09DF-6804-0D1DD9972AEF}"/>
          </ac:spMkLst>
        </pc:spChg>
        <pc:spChg chg="add del mod">
          <ac:chgData name="Steiner Andreas 6206 ED" userId="e6377c33-a923-4f14-8587-531c474c7b48" providerId="ADAL" clId="{6ECD27E6-B224-41CD-B4E0-E297462320DD}" dt="2023-11-24T08:54:56.007" v="104313"/>
          <ac:spMkLst>
            <pc:docMk/>
            <pc:sldMk cId="4183350934" sldId="2147478561"/>
            <ac:spMk id="681" creationId="{A8FA2784-5163-463D-471D-4B14F9FA3A2F}"/>
          </ac:spMkLst>
        </pc:spChg>
        <pc:spChg chg="add del mod">
          <ac:chgData name="Steiner Andreas 6206 ED" userId="e6377c33-a923-4f14-8587-531c474c7b48" providerId="ADAL" clId="{6ECD27E6-B224-41CD-B4E0-E297462320DD}" dt="2023-11-24T08:54:58.085" v="104468"/>
          <ac:spMkLst>
            <pc:docMk/>
            <pc:sldMk cId="4183350934" sldId="2147478561"/>
            <ac:spMk id="682" creationId="{DC5F9E4D-878F-7162-5B7D-E0C1FFFE3A1B}"/>
          </ac:spMkLst>
        </pc:spChg>
        <pc:spChg chg="add del mod">
          <ac:chgData name="Steiner Andreas 6206 ED" userId="e6377c33-a923-4f14-8587-531c474c7b48" providerId="ADAL" clId="{6ECD27E6-B224-41CD-B4E0-E297462320DD}" dt="2023-11-24T08:55:00.086" v="104623"/>
          <ac:spMkLst>
            <pc:docMk/>
            <pc:sldMk cId="4183350934" sldId="2147478561"/>
            <ac:spMk id="683" creationId="{9059D9A0-C288-C367-C92F-62DD781B2528}"/>
          </ac:spMkLst>
        </pc:spChg>
        <pc:spChg chg="add del mod">
          <ac:chgData name="Steiner Andreas 6206 ED" userId="e6377c33-a923-4f14-8587-531c474c7b48" providerId="ADAL" clId="{6ECD27E6-B224-41CD-B4E0-E297462320DD}" dt="2023-11-24T08:55:02.038" v="104778"/>
          <ac:spMkLst>
            <pc:docMk/>
            <pc:sldMk cId="4183350934" sldId="2147478561"/>
            <ac:spMk id="684" creationId="{09F34945-E7C2-8FD6-2B1C-98AC33F2E075}"/>
          </ac:spMkLst>
        </pc:spChg>
        <pc:spChg chg="add del mod">
          <ac:chgData name="Steiner Andreas 6206 ED" userId="e6377c33-a923-4f14-8587-531c474c7b48" providerId="ADAL" clId="{6ECD27E6-B224-41CD-B4E0-E297462320DD}" dt="2023-11-24T08:55:04.019" v="104933"/>
          <ac:spMkLst>
            <pc:docMk/>
            <pc:sldMk cId="4183350934" sldId="2147478561"/>
            <ac:spMk id="685" creationId="{CCD812E3-BF04-BD51-D6B3-FF70EE2683A5}"/>
          </ac:spMkLst>
        </pc:spChg>
        <pc:spChg chg="add del mod">
          <ac:chgData name="Steiner Andreas 6206 ED" userId="e6377c33-a923-4f14-8587-531c474c7b48" providerId="ADAL" clId="{6ECD27E6-B224-41CD-B4E0-E297462320DD}" dt="2023-11-24T08:55:06.154" v="105088"/>
          <ac:spMkLst>
            <pc:docMk/>
            <pc:sldMk cId="4183350934" sldId="2147478561"/>
            <ac:spMk id="686" creationId="{D762EF90-F03B-18C0-EF32-3A8B2A7B4A7D}"/>
          </ac:spMkLst>
        </pc:spChg>
        <pc:spChg chg="add del mod">
          <ac:chgData name="Steiner Andreas 6206 ED" userId="e6377c33-a923-4f14-8587-531c474c7b48" providerId="ADAL" clId="{6ECD27E6-B224-41CD-B4E0-E297462320DD}" dt="2023-11-24T08:55:08.220" v="105243"/>
          <ac:spMkLst>
            <pc:docMk/>
            <pc:sldMk cId="4183350934" sldId="2147478561"/>
            <ac:spMk id="687" creationId="{CACB2A10-D7AE-E992-0BDC-F5A2DF6CDD55}"/>
          </ac:spMkLst>
        </pc:spChg>
        <pc:spChg chg="add del mod">
          <ac:chgData name="Steiner Andreas 6206 ED" userId="e6377c33-a923-4f14-8587-531c474c7b48" providerId="ADAL" clId="{6ECD27E6-B224-41CD-B4E0-E297462320DD}" dt="2023-11-24T08:55:10.218" v="105398"/>
          <ac:spMkLst>
            <pc:docMk/>
            <pc:sldMk cId="4183350934" sldId="2147478561"/>
            <ac:spMk id="688" creationId="{CCEA0E05-50CC-315C-0A3B-D84354E8B657}"/>
          </ac:spMkLst>
        </pc:spChg>
        <pc:spChg chg="add del mod">
          <ac:chgData name="Steiner Andreas 6206 ED" userId="e6377c33-a923-4f14-8587-531c474c7b48" providerId="ADAL" clId="{6ECD27E6-B224-41CD-B4E0-E297462320DD}" dt="2023-11-24T08:55:12.194" v="105553"/>
          <ac:spMkLst>
            <pc:docMk/>
            <pc:sldMk cId="4183350934" sldId="2147478561"/>
            <ac:spMk id="689" creationId="{7B9D2531-7873-EB90-C0E0-18B28097456E}"/>
          </ac:spMkLst>
        </pc:spChg>
        <pc:spChg chg="add del mod">
          <ac:chgData name="Steiner Andreas 6206 ED" userId="e6377c33-a923-4f14-8587-531c474c7b48" providerId="ADAL" clId="{6ECD27E6-B224-41CD-B4E0-E297462320DD}" dt="2023-11-24T08:55:14.256" v="105708"/>
          <ac:spMkLst>
            <pc:docMk/>
            <pc:sldMk cId="4183350934" sldId="2147478561"/>
            <ac:spMk id="690" creationId="{D62A3333-3018-ACE1-847F-C6446A6A6BCA}"/>
          </ac:spMkLst>
        </pc:spChg>
        <pc:spChg chg="add del mod">
          <ac:chgData name="Steiner Andreas 6206 ED" userId="e6377c33-a923-4f14-8587-531c474c7b48" providerId="ADAL" clId="{6ECD27E6-B224-41CD-B4E0-E297462320DD}" dt="2023-11-24T08:55:16.321" v="105863"/>
          <ac:spMkLst>
            <pc:docMk/>
            <pc:sldMk cId="4183350934" sldId="2147478561"/>
            <ac:spMk id="691" creationId="{4DF52E4F-2143-E119-0FD2-8E63E636B014}"/>
          </ac:spMkLst>
        </pc:spChg>
        <pc:spChg chg="add del mod">
          <ac:chgData name="Steiner Andreas 6206 ED" userId="e6377c33-a923-4f14-8587-531c474c7b48" providerId="ADAL" clId="{6ECD27E6-B224-41CD-B4E0-E297462320DD}" dt="2023-11-24T08:55:18.363" v="106018"/>
          <ac:spMkLst>
            <pc:docMk/>
            <pc:sldMk cId="4183350934" sldId="2147478561"/>
            <ac:spMk id="692" creationId="{0B7E7C99-E5E0-25B4-EF99-91ADAAEB8506}"/>
          </ac:spMkLst>
        </pc:spChg>
        <pc:spChg chg="add del mod">
          <ac:chgData name="Steiner Andreas 6206 ED" userId="e6377c33-a923-4f14-8587-531c474c7b48" providerId="ADAL" clId="{6ECD27E6-B224-41CD-B4E0-E297462320DD}" dt="2023-11-24T08:55:20.369" v="106173"/>
          <ac:spMkLst>
            <pc:docMk/>
            <pc:sldMk cId="4183350934" sldId="2147478561"/>
            <ac:spMk id="693" creationId="{5C7CA23E-0FFA-D239-2DB8-4EB2539E237A}"/>
          </ac:spMkLst>
        </pc:spChg>
        <pc:spChg chg="add del mod">
          <ac:chgData name="Steiner Andreas 6206 ED" userId="e6377c33-a923-4f14-8587-531c474c7b48" providerId="ADAL" clId="{6ECD27E6-B224-41CD-B4E0-E297462320DD}" dt="2023-11-24T08:55:22.323" v="106328"/>
          <ac:spMkLst>
            <pc:docMk/>
            <pc:sldMk cId="4183350934" sldId="2147478561"/>
            <ac:spMk id="694" creationId="{FB070829-DF63-3BBC-3F2A-C24D7C88367D}"/>
          </ac:spMkLst>
        </pc:spChg>
        <pc:spChg chg="add del mod">
          <ac:chgData name="Steiner Andreas 6206 ED" userId="e6377c33-a923-4f14-8587-531c474c7b48" providerId="ADAL" clId="{6ECD27E6-B224-41CD-B4E0-E297462320DD}" dt="2023-11-24T08:55:24.327" v="106483"/>
          <ac:spMkLst>
            <pc:docMk/>
            <pc:sldMk cId="4183350934" sldId="2147478561"/>
            <ac:spMk id="695" creationId="{14E05751-50C4-5DCD-B865-1D0062CD93F6}"/>
          </ac:spMkLst>
        </pc:spChg>
        <pc:spChg chg="add del mod">
          <ac:chgData name="Steiner Andreas 6206 ED" userId="e6377c33-a923-4f14-8587-531c474c7b48" providerId="ADAL" clId="{6ECD27E6-B224-41CD-B4E0-E297462320DD}" dt="2023-11-24T08:55:26.303" v="106638"/>
          <ac:spMkLst>
            <pc:docMk/>
            <pc:sldMk cId="4183350934" sldId="2147478561"/>
            <ac:spMk id="696" creationId="{B4C409BA-B115-D342-A801-F8DE48E63FB6}"/>
          </ac:spMkLst>
        </pc:spChg>
        <pc:spChg chg="add del mod">
          <ac:chgData name="Steiner Andreas 6206 ED" userId="e6377c33-a923-4f14-8587-531c474c7b48" providerId="ADAL" clId="{6ECD27E6-B224-41CD-B4E0-E297462320DD}" dt="2023-11-24T08:55:28.448" v="106793"/>
          <ac:spMkLst>
            <pc:docMk/>
            <pc:sldMk cId="4183350934" sldId="2147478561"/>
            <ac:spMk id="697" creationId="{0029C45B-4697-AAA0-5BB3-C31E0A136651}"/>
          </ac:spMkLst>
        </pc:spChg>
        <pc:spChg chg="add del mod">
          <ac:chgData name="Steiner Andreas 6206 ED" userId="e6377c33-a923-4f14-8587-531c474c7b48" providerId="ADAL" clId="{6ECD27E6-B224-41CD-B4E0-E297462320DD}" dt="2023-11-24T08:55:30.463" v="106948"/>
          <ac:spMkLst>
            <pc:docMk/>
            <pc:sldMk cId="4183350934" sldId="2147478561"/>
            <ac:spMk id="698" creationId="{2FB5C3A3-290D-6370-C92D-DB44D62C9906}"/>
          </ac:spMkLst>
        </pc:spChg>
        <pc:spChg chg="add del mod">
          <ac:chgData name="Steiner Andreas 6206 ED" userId="e6377c33-a923-4f14-8587-531c474c7b48" providerId="ADAL" clId="{6ECD27E6-B224-41CD-B4E0-E297462320DD}" dt="2023-11-24T08:55:32.619" v="107103"/>
          <ac:spMkLst>
            <pc:docMk/>
            <pc:sldMk cId="4183350934" sldId="2147478561"/>
            <ac:spMk id="699" creationId="{CD8A23F6-1035-0A86-BA53-AF4A004A770F}"/>
          </ac:spMkLst>
        </pc:spChg>
        <pc:spChg chg="add del mod">
          <ac:chgData name="Steiner Andreas 6206 ED" userId="e6377c33-a923-4f14-8587-531c474c7b48" providerId="ADAL" clId="{6ECD27E6-B224-41CD-B4E0-E297462320DD}" dt="2023-11-24T08:55:34.529" v="107258"/>
          <ac:spMkLst>
            <pc:docMk/>
            <pc:sldMk cId="4183350934" sldId="2147478561"/>
            <ac:spMk id="700" creationId="{751B1457-7990-E45C-7CD9-E6B96727EC18}"/>
          </ac:spMkLst>
        </pc:spChg>
        <pc:spChg chg="add del mod">
          <ac:chgData name="Steiner Andreas 6206 ED" userId="e6377c33-a923-4f14-8587-531c474c7b48" providerId="ADAL" clId="{6ECD27E6-B224-41CD-B4E0-E297462320DD}" dt="2023-11-24T08:55:36.454" v="107413"/>
          <ac:spMkLst>
            <pc:docMk/>
            <pc:sldMk cId="4183350934" sldId="2147478561"/>
            <ac:spMk id="701" creationId="{F514FBA7-A73A-4456-0F33-2C0B5221C9E8}"/>
          </ac:spMkLst>
        </pc:spChg>
        <pc:spChg chg="add del mod">
          <ac:chgData name="Steiner Andreas 6206 ED" userId="e6377c33-a923-4f14-8587-531c474c7b48" providerId="ADAL" clId="{6ECD27E6-B224-41CD-B4E0-E297462320DD}" dt="2023-11-24T08:55:38.494" v="107568"/>
          <ac:spMkLst>
            <pc:docMk/>
            <pc:sldMk cId="4183350934" sldId="2147478561"/>
            <ac:spMk id="702" creationId="{181A98F1-0DCD-6971-6FC6-5335AC526F97}"/>
          </ac:spMkLst>
        </pc:spChg>
        <pc:spChg chg="add del mod">
          <ac:chgData name="Steiner Andreas 6206 ED" userId="e6377c33-a923-4f14-8587-531c474c7b48" providerId="ADAL" clId="{6ECD27E6-B224-41CD-B4E0-E297462320DD}" dt="2023-11-24T08:55:40.536" v="107723"/>
          <ac:spMkLst>
            <pc:docMk/>
            <pc:sldMk cId="4183350934" sldId="2147478561"/>
            <ac:spMk id="703" creationId="{5333A3B6-4A8F-281B-A645-DDF544493A80}"/>
          </ac:spMkLst>
        </pc:spChg>
        <pc:spChg chg="add del mod">
          <ac:chgData name="Steiner Andreas 6206 ED" userId="e6377c33-a923-4f14-8587-531c474c7b48" providerId="ADAL" clId="{6ECD27E6-B224-41CD-B4E0-E297462320DD}" dt="2023-11-24T08:55:42.404" v="107878"/>
          <ac:spMkLst>
            <pc:docMk/>
            <pc:sldMk cId="4183350934" sldId="2147478561"/>
            <ac:spMk id="704" creationId="{5F60AAE0-310A-559E-EB6E-3BD1E3A56249}"/>
          </ac:spMkLst>
        </pc:spChg>
        <pc:spChg chg="add del mod">
          <ac:chgData name="Steiner Andreas 6206 ED" userId="e6377c33-a923-4f14-8587-531c474c7b48" providerId="ADAL" clId="{6ECD27E6-B224-41CD-B4E0-E297462320DD}" dt="2023-11-24T08:55:44.375" v="108033"/>
          <ac:spMkLst>
            <pc:docMk/>
            <pc:sldMk cId="4183350934" sldId="2147478561"/>
            <ac:spMk id="705" creationId="{03E641D0-AE08-370C-4FDA-0FB8ECC7A9C7}"/>
          </ac:spMkLst>
        </pc:spChg>
        <pc:spChg chg="add del mod">
          <ac:chgData name="Steiner Andreas 6206 ED" userId="e6377c33-a923-4f14-8587-531c474c7b48" providerId="ADAL" clId="{6ECD27E6-B224-41CD-B4E0-E297462320DD}" dt="2023-11-24T08:55:46.771" v="108188"/>
          <ac:spMkLst>
            <pc:docMk/>
            <pc:sldMk cId="4183350934" sldId="2147478561"/>
            <ac:spMk id="706" creationId="{006FC8E8-EFF1-F211-019C-4803E79BFD07}"/>
          </ac:spMkLst>
        </pc:spChg>
        <pc:spChg chg="add del mod">
          <ac:chgData name="Steiner Andreas 6206 ED" userId="e6377c33-a923-4f14-8587-531c474c7b48" providerId="ADAL" clId="{6ECD27E6-B224-41CD-B4E0-E297462320DD}" dt="2023-11-24T08:55:48.936" v="108343"/>
          <ac:spMkLst>
            <pc:docMk/>
            <pc:sldMk cId="4183350934" sldId="2147478561"/>
            <ac:spMk id="707" creationId="{AE91059E-052A-F92C-333B-737E71FEBE56}"/>
          </ac:spMkLst>
        </pc:spChg>
        <pc:spChg chg="add del mod">
          <ac:chgData name="Steiner Andreas 6206 ED" userId="e6377c33-a923-4f14-8587-531c474c7b48" providerId="ADAL" clId="{6ECD27E6-B224-41CD-B4E0-E297462320DD}" dt="2023-11-24T08:55:51.351" v="108498"/>
          <ac:spMkLst>
            <pc:docMk/>
            <pc:sldMk cId="4183350934" sldId="2147478561"/>
            <ac:spMk id="708" creationId="{008B111D-AD67-E45E-BE09-DD1BBAC18B04}"/>
          </ac:spMkLst>
        </pc:spChg>
        <pc:spChg chg="add del mod">
          <ac:chgData name="Steiner Andreas 6206 ED" userId="e6377c33-a923-4f14-8587-531c474c7b48" providerId="ADAL" clId="{6ECD27E6-B224-41CD-B4E0-E297462320DD}" dt="2023-11-24T08:55:53.439" v="108653"/>
          <ac:spMkLst>
            <pc:docMk/>
            <pc:sldMk cId="4183350934" sldId="2147478561"/>
            <ac:spMk id="709" creationId="{37B1D024-BF42-6882-6E92-81E48C25DFEA}"/>
          </ac:spMkLst>
        </pc:spChg>
        <pc:spChg chg="add del mod">
          <ac:chgData name="Steiner Andreas 6206 ED" userId="e6377c33-a923-4f14-8587-531c474c7b48" providerId="ADAL" clId="{6ECD27E6-B224-41CD-B4E0-E297462320DD}" dt="2023-11-24T08:55:55.508" v="108808"/>
          <ac:spMkLst>
            <pc:docMk/>
            <pc:sldMk cId="4183350934" sldId="2147478561"/>
            <ac:spMk id="710" creationId="{AA0977F0-1936-FE73-576D-403059A63D6B}"/>
          </ac:spMkLst>
        </pc:spChg>
        <pc:spChg chg="add del mod">
          <ac:chgData name="Steiner Andreas 6206 ED" userId="e6377c33-a923-4f14-8587-531c474c7b48" providerId="ADAL" clId="{6ECD27E6-B224-41CD-B4E0-E297462320DD}" dt="2023-11-24T08:55:57.531" v="108963"/>
          <ac:spMkLst>
            <pc:docMk/>
            <pc:sldMk cId="4183350934" sldId="2147478561"/>
            <ac:spMk id="711" creationId="{8B1F31B1-44D7-E27B-1EA5-FCF26D59BFE3}"/>
          </ac:spMkLst>
        </pc:spChg>
        <pc:spChg chg="add del mod">
          <ac:chgData name="Steiner Andreas 6206 ED" userId="e6377c33-a923-4f14-8587-531c474c7b48" providerId="ADAL" clId="{6ECD27E6-B224-41CD-B4E0-E297462320DD}" dt="2023-11-24T08:55:59.622" v="109118"/>
          <ac:spMkLst>
            <pc:docMk/>
            <pc:sldMk cId="4183350934" sldId="2147478561"/>
            <ac:spMk id="712" creationId="{8C503780-1F75-FC6B-A2FA-6590E2176092}"/>
          </ac:spMkLst>
        </pc:spChg>
        <pc:spChg chg="add del mod">
          <ac:chgData name="Steiner Andreas 6206 ED" userId="e6377c33-a923-4f14-8587-531c474c7b48" providerId="ADAL" clId="{6ECD27E6-B224-41CD-B4E0-E297462320DD}" dt="2023-11-24T08:56:02.031" v="109273"/>
          <ac:spMkLst>
            <pc:docMk/>
            <pc:sldMk cId="4183350934" sldId="2147478561"/>
            <ac:spMk id="713" creationId="{85E097FD-35D6-CB8B-7164-2E4532D78697}"/>
          </ac:spMkLst>
        </pc:spChg>
        <pc:spChg chg="add del mod">
          <ac:chgData name="Steiner Andreas 6206 ED" userId="e6377c33-a923-4f14-8587-531c474c7b48" providerId="ADAL" clId="{6ECD27E6-B224-41CD-B4E0-E297462320DD}" dt="2023-11-24T08:56:04.265" v="109428"/>
          <ac:spMkLst>
            <pc:docMk/>
            <pc:sldMk cId="4183350934" sldId="2147478561"/>
            <ac:spMk id="714" creationId="{01497B76-AC8D-17A8-54AE-2EA96FBF43F3}"/>
          </ac:spMkLst>
        </pc:spChg>
        <pc:spChg chg="add del mod">
          <ac:chgData name="Steiner Andreas 6206 ED" userId="e6377c33-a923-4f14-8587-531c474c7b48" providerId="ADAL" clId="{6ECD27E6-B224-41CD-B4E0-E297462320DD}" dt="2023-11-24T08:56:06.559" v="109583"/>
          <ac:spMkLst>
            <pc:docMk/>
            <pc:sldMk cId="4183350934" sldId="2147478561"/>
            <ac:spMk id="715" creationId="{A864EA9D-61B2-9384-21EA-F661D371D70E}"/>
          </ac:spMkLst>
        </pc:spChg>
        <pc:spChg chg="add del mod">
          <ac:chgData name="Steiner Andreas 6206 ED" userId="e6377c33-a923-4f14-8587-531c474c7b48" providerId="ADAL" clId="{6ECD27E6-B224-41CD-B4E0-E297462320DD}" dt="2023-11-24T08:56:08.829" v="109738"/>
          <ac:spMkLst>
            <pc:docMk/>
            <pc:sldMk cId="4183350934" sldId="2147478561"/>
            <ac:spMk id="716" creationId="{93F1E9E6-04A6-6D25-FC8C-CE76EF590191}"/>
          </ac:spMkLst>
        </pc:spChg>
        <pc:spChg chg="add del mod">
          <ac:chgData name="Steiner Andreas 6206 ED" userId="e6377c33-a923-4f14-8587-531c474c7b48" providerId="ADAL" clId="{6ECD27E6-B224-41CD-B4E0-E297462320DD}" dt="2023-11-24T08:56:10.878" v="109893"/>
          <ac:spMkLst>
            <pc:docMk/>
            <pc:sldMk cId="4183350934" sldId="2147478561"/>
            <ac:spMk id="717" creationId="{7CA0B397-BB35-363D-CDF6-2189CEAE4BF8}"/>
          </ac:spMkLst>
        </pc:spChg>
        <pc:spChg chg="add del mod">
          <ac:chgData name="Steiner Andreas 6206 ED" userId="e6377c33-a923-4f14-8587-531c474c7b48" providerId="ADAL" clId="{6ECD27E6-B224-41CD-B4E0-E297462320DD}" dt="2023-11-24T08:56:13" v="110048"/>
          <ac:spMkLst>
            <pc:docMk/>
            <pc:sldMk cId="4183350934" sldId="2147478561"/>
            <ac:spMk id="718" creationId="{2D4A6062-71DB-FF50-EE1F-55771E68C606}"/>
          </ac:spMkLst>
        </pc:spChg>
        <pc:spChg chg="add del mod">
          <ac:chgData name="Steiner Andreas 6206 ED" userId="e6377c33-a923-4f14-8587-531c474c7b48" providerId="ADAL" clId="{6ECD27E6-B224-41CD-B4E0-E297462320DD}" dt="2023-11-24T08:56:15.130" v="110203"/>
          <ac:spMkLst>
            <pc:docMk/>
            <pc:sldMk cId="4183350934" sldId="2147478561"/>
            <ac:spMk id="719" creationId="{3D0AADC8-A343-D4C6-4FEE-D98B6781C495}"/>
          </ac:spMkLst>
        </pc:spChg>
        <pc:spChg chg="add del mod">
          <ac:chgData name="Steiner Andreas 6206 ED" userId="e6377c33-a923-4f14-8587-531c474c7b48" providerId="ADAL" clId="{6ECD27E6-B224-41CD-B4E0-E297462320DD}" dt="2023-11-24T08:56:17.088" v="110358"/>
          <ac:spMkLst>
            <pc:docMk/>
            <pc:sldMk cId="4183350934" sldId="2147478561"/>
            <ac:spMk id="720" creationId="{EA86D252-6E1E-6C8D-6EDA-7087E8D15720}"/>
          </ac:spMkLst>
        </pc:spChg>
        <pc:spChg chg="add del mod">
          <ac:chgData name="Steiner Andreas 6206 ED" userId="e6377c33-a923-4f14-8587-531c474c7b48" providerId="ADAL" clId="{6ECD27E6-B224-41CD-B4E0-E297462320DD}" dt="2023-11-24T08:56:19.071" v="110513"/>
          <ac:spMkLst>
            <pc:docMk/>
            <pc:sldMk cId="4183350934" sldId="2147478561"/>
            <ac:spMk id="721" creationId="{02709252-BE8C-ED1A-7F7F-065E392042BE}"/>
          </ac:spMkLst>
        </pc:spChg>
        <pc:spChg chg="add del mod">
          <ac:chgData name="Steiner Andreas 6206 ED" userId="e6377c33-a923-4f14-8587-531c474c7b48" providerId="ADAL" clId="{6ECD27E6-B224-41CD-B4E0-E297462320DD}" dt="2023-11-24T08:56:21.010" v="110668"/>
          <ac:spMkLst>
            <pc:docMk/>
            <pc:sldMk cId="4183350934" sldId="2147478561"/>
            <ac:spMk id="722" creationId="{9AC4EBB6-B162-1104-E46D-89577DCDB423}"/>
          </ac:spMkLst>
        </pc:spChg>
        <pc:spChg chg="add del mod">
          <ac:chgData name="Steiner Andreas 6206 ED" userId="e6377c33-a923-4f14-8587-531c474c7b48" providerId="ADAL" clId="{6ECD27E6-B224-41CD-B4E0-E297462320DD}" dt="2023-11-24T08:56:23.162" v="110823"/>
          <ac:spMkLst>
            <pc:docMk/>
            <pc:sldMk cId="4183350934" sldId="2147478561"/>
            <ac:spMk id="723" creationId="{28C20F60-86E3-2F17-7022-0FEF8A2087D0}"/>
          </ac:spMkLst>
        </pc:spChg>
        <pc:spChg chg="add del mod">
          <ac:chgData name="Steiner Andreas 6206 ED" userId="e6377c33-a923-4f14-8587-531c474c7b48" providerId="ADAL" clId="{6ECD27E6-B224-41CD-B4E0-E297462320DD}" dt="2023-11-24T08:56:25.357" v="110978"/>
          <ac:spMkLst>
            <pc:docMk/>
            <pc:sldMk cId="4183350934" sldId="2147478561"/>
            <ac:spMk id="724" creationId="{2BE427F8-E97B-6AB6-1399-62B2E705E21B}"/>
          </ac:spMkLst>
        </pc:spChg>
        <pc:spChg chg="add del mod">
          <ac:chgData name="Steiner Andreas 6206 ED" userId="e6377c33-a923-4f14-8587-531c474c7b48" providerId="ADAL" clId="{6ECD27E6-B224-41CD-B4E0-E297462320DD}" dt="2023-11-24T08:56:27.397" v="111133"/>
          <ac:spMkLst>
            <pc:docMk/>
            <pc:sldMk cId="4183350934" sldId="2147478561"/>
            <ac:spMk id="725" creationId="{9DE17968-2F80-125E-A3DF-57EBD5559264}"/>
          </ac:spMkLst>
        </pc:spChg>
        <pc:spChg chg="add del mod">
          <ac:chgData name="Steiner Andreas 6206 ED" userId="e6377c33-a923-4f14-8587-531c474c7b48" providerId="ADAL" clId="{6ECD27E6-B224-41CD-B4E0-E297462320DD}" dt="2023-11-24T08:56:29.456" v="111288"/>
          <ac:spMkLst>
            <pc:docMk/>
            <pc:sldMk cId="4183350934" sldId="2147478561"/>
            <ac:spMk id="726" creationId="{EC653E00-6C08-80C8-138C-959AC2ED4301}"/>
          </ac:spMkLst>
        </pc:spChg>
        <pc:spChg chg="add del mod">
          <ac:chgData name="Steiner Andreas 6206 ED" userId="e6377c33-a923-4f14-8587-531c474c7b48" providerId="ADAL" clId="{6ECD27E6-B224-41CD-B4E0-E297462320DD}" dt="2023-11-24T08:56:31.528" v="111443"/>
          <ac:spMkLst>
            <pc:docMk/>
            <pc:sldMk cId="4183350934" sldId="2147478561"/>
            <ac:spMk id="727" creationId="{C8A13877-87D0-975D-A909-12FFCEE67E13}"/>
          </ac:spMkLst>
        </pc:spChg>
        <pc:spChg chg="add del mod">
          <ac:chgData name="Steiner Andreas 6206 ED" userId="e6377c33-a923-4f14-8587-531c474c7b48" providerId="ADAL" clId="{6ECD27E6-B224-41CD-B4E0-E297462320DD}" dt="2023-11-24T08:56:33.767" v="111598"/>
          <ac:spMkLst>
            <pc:docMk/>
            <pc:sldMk cId="4183350934" sldId="2147478561"/>
            <ac:spMk id="728" creationId="{E31FBFC9-1229-0D31-DE10-6924245CFF7E}"/>
          </ac:spMkLst>
        </pc:spChg>
        <pc:spChg chg="add del mod">
          <ac:chgData name="Steiner Andreas 6206 ED" userId="e6377c33-a923-4f14-8587-531c474c7b48" providerId="ADAL" clId="{6ECD27E6-B224-41CD-B4E0-E297462320DD}" dt="2023-11-24T08:56:35.956" v="111753"/>
          <ac:spMkLst>
            <pc:docMk/>
            <pc:sldMk cId="4183350934" sldId="2147478561"/>
            <ac:spMk id="729" creationId="{353242EE-F04E-944A-7234-301F25F8F98B}"/>
          </ac:spMkLst>
        </pc:spChg>
        <pc:spChg chg="add del mod">
          <ac:chgData name="Steiner Andreas 6206 ED" userId="e6377c33-a923-4f14-8587-531c474c7b48" providerId="ADAL" clId="{6ECD27E6-B224-41CD-B4E0-E297462320DD}" dt="2023-11-24T08:56:38.009" v="111908"/>
          <ac:spMkLst>
            <pc:docMk/>
            <pc:sldMk cId="4183350934" sldId="2147478561"/>
            <ac:spMk id="730" creationId="{C0E90FC9-D943-ED7F-6E68-FC6BBBF1F65D}"/>
          </ac:spMkLst>
        </pc:spChg>
        <pc:spChg chg="add del mod">
          <ac:chgData name="Steiner Andreas 6206 ED" userId="e6377c33-a923-4f14-8587-531c474c7b48" providerId="ADAL" clId="{6ECD27E6-B224-41CD-B4E0-E297462320DD}" dt="2023-11-24T08:56:40.144" v="112063"/>
          <ac:spMkLst>
            <pc:docMk/>
            <pc:sldMk cId="4183350934" sldId="2147478561"/>
            <ac:spMk id="731" creationId="{3205F008-A4EE-C443-2085-EDC02F88AAC0}"/>
          </ac:spMkLst>
        </pc:spChg>
        <pc:spChg chg="add del mod">
          <ac:chgData name="Steiner Andreas 6206 ED" userId="e6377c33-a923-4f14-8587-531c474c7b48" providerId="ADAL" clId="{6ECD27E6-B224-41CD-B4E0-E297462320DD}" dt="2023-11-24T08:56:42.097" v="112218"/>
          <ac:spMkLst>
            <pc:docMk/>
            <pc:sldMk cId="4183350934" sldId="2147478561"/>
            <ac:spMk id="732" creationId="{F8EC3279-74FA-3599-267E-6C246D2A42CD}"/>
          </ac:spMkLst>
        </pc:spChg>
        <pc:spChg chg="add del mod">
          <ac:chgData name="Steiner Andreas 6206 ED" userId="e6377c33-a923-4f14-8587-531c474c7b48" providerId="ADAL" clId="{6ECD27E6-B224-41CD-B4E0-E297462320DD}" dt="2023-11-24T08:56:44.101" v="112373"/>
          <ac:spMkLst>
            <pc:docMk/>
            <pc:sldMk cId="4183350934" sldId="2147478561"/>
            <ac:spMk id="733" creationId="{90B4EB7D-8C81-887F-CF5C-E1074298B879}"/>
          </ac:spMkLst>
        </pc:spChg>
        <pc:spChg chg="add del mod">
          <ac:chgData name="Steiner Andreas 6206 ED" userId="e6377c33-a923-4f14-8587-531c474c7b48" providerId="ADAL" clId="{6ECD27E6-B224-41CD-B4E0-E297462320DD}" dt="2023-11-24T08:56:46.124" v="112528"/>
          <ac:spMkLst>
            <pc:docMk/>
            <pc:sldMk cId="4183350934" sldId="2147478561"/>
            <ac:spMk id="734" creationId="{C470F5EE-C19E-5B9B-678B-CABE7C64704C}"/>
          </ac:spMkLst>
        </pc:spChg>
        <pc:spChg chg="add del mod">
          <ac:chgData name="Steiner Andreas 6206 ED" userId="e6377c33-a923-4f14-8587-531c474c7b48" providerId="ADAL" clId="{6ECD27E6-B224-41CD-B4E0-E297462320DD}" dt="2023-11-24T08:56:48.347" v="112683"/>
          <ac:spMkLst>
            <pc:docMk/>
            <pc:sldMk cId="4183350934" sldId="2147478561"/>
            <ac:spMk id="735" creationId="{73DA1B7D-7D08-9807-FDA9-06F361E7018F}"/>
          </ac:spMkLst>
        </pc:spChg>
        <pc:spChg chg="add del mod">
          <ac:chgData name="Steiner Andreas 6206 ED" userId="e6377c33-a923-4f14-8587-531c474c7b48" providerId="ADAL" clId="{6ECD27E6-B224-41CD-B4E0-E297462320DD}" dt="2023-11-24T08:56:50.398" v="112838"/>
          <ac:spMkLst>
            <pc:docMk/>
            <pc:sldMk cId="4183350934" sldId="2147478561"/>
            <ac:spMk id="736" creationId="{92C7B092-38C0-C683-293A-1D563126EE26}"/>
          </ac:spMkLst>
        </pc:spChg>
        <pc:spChg chg="add del mod">
          <ac:chgData name="Steiner Andreas 6206 ED" userId="e6377c33-a923-4f14-8587-531c474c7b48" providerId="ADAL" clId="{6ECD27E6-B224-41CD-B4E0-E297462320DD}" dt="2023-11-24T08:56:52.325" v="112993"/>
          <ac:spMkLst>
            <pc:docMk/>
            <pc:sldMk cId="4183350934" sldId="2147478561"/>
            <ac:spMk id="737" creationId="{AE38FC9F-07DC-4E10-052A-227D3886C064}"/>
          </ac:spMkLst>
        </pc:spChg>
        <pc:spChg chg="add del mod">
          <ac:chgData name="Steiner Andreas 6206 ED" userId="e6377c33-a923-4f14-8587-531c474c7b48" providerId="ADAL" clId="{6ECD27E6-B224-41CD-B4E0-E297462320DD}" dt="2023-11-24T08:56:54.457" v="113148"/>
          <ac:spMkLst>
            <pc:docMk/>
            <pc:sldMk cId="4183350934" sldId="2147478561"/>
            <ac:spMk id="738" creationId="{502A3A63-A386-E81F-3BEF-6A8111CC12F7}"/>
          </ac:spMkLst>
        </pc:spChg>
        <pc:spChg chg="add del mod">
          <ac:chgData name="Steiner Andreas 6206 ED" userId="e6377c33-a923-4f14-8587-531c474c7b48" providerId="ADAL" clId="{6ECD27E6-B224-41CD-B4E0-E297462320DD}" dt="2023-11-24T08:56:56.403" v="113303"/>
          <ac:spMkLst>
            <pc:docMk/>
            <pc:sldMk cId="4183350934" sldId="2147478561"/>
            <ac:spMk id="739" creationId="{BEE38D44-C630-6971-393D-01299E980C8B}"/>
          </ac:spMkLst>
        </pc:spChg>
        <pc:spChg chg="add del mod">
          <ac:chgData name="Steiner Andreas 6206 ED" userId="e6377c33-a923-4f14-8587-531c474c7b48" providerId="ADAL" clId="{6ECD27E6-B224-41CD-B4E0-E297462320DD}" dt="2023-11-24T08:56:58.559" v="113458"/>
          <ac:spMkLst>
            <pc:docMk/>
            <pc:sldMk cId="4183350934" sldId="2147478561"/>
            <ac:spMk id="740" creationId="{2E4F59A8-F9BF-8303-E5A3-3B2F02365606}"/>
          </ac:spMkLst>
        </pc:spChg>
        <pc:spChg chg="add del mod">
          <ac:chgData name="Steiner Andreas 6206 ED" userId="e6377c33-a923-4f14-8587-531c474c7b48" providerId="ADAL" clId="{6ECD27E6-B224-41CD-B4E0-E297462320DD}" dt="2023-11-24T08:57:00.844" v="113613"/>
          <ac:spMkLst>
            <pc:docMk/>
            <pc:sldMk cId="4183350934" sldId="2147478561"/>
            <ac:spMk id="741" creationId="{1F66FEF7-1B78-7FF4-0D58-70970E4DA52F}"/>
          </ac:spMkLst>
        </pc:spChg>
        <pc:spChg chg="add del mod">
          <ac:chgData name="Steiner Andreas 6206 ED" userId="e6377c33-a923-4f14-8587-531c474c7b48" providerId="ADAL" clId="{6ECD27E6-B224-41CD-B4E0-E297462320DD}" dt="2023-11-24T08:57:03.256" v="113768"/>
          <ac:spMkLst>
            <pc:docMk/>
            <pc:sldMk cId="4183350934" sldId="2147478561"/>
            <ac:spMk id="742" creationId="{3762D67B-5381-C060-0E92-C6B7B95204AF}"/>
          </ac:spMkLst>
        </pc:spChg>
        <pc:spChg chg="add del mod">
          <ac:chgData name="Steiner Andreas 6206 ED" userId="e6377c33-a923-4f14-8587-531c474c7b48" providerId="ADAL" clId="{6ECD27E6-B224-41CD-B4E0-E297462320DD}" dt="2023-11-24T09:02:21.871" v="113923"/>
          <ac:spMkLst>
            <pc:docMk/>
            <pc:sldMk cId="4183350934" sldId="2147478561"/>
            <ac:spMk id="743" creationId="{0A6632DA-93CC-158B-D595-A7F0C7DAB469}"/>
          </ac:spMkLst>
        </pc:spChg>
        <pc:spChg chg="add del mod">
          <ac:chgData name="Steiner Andreas 6206 ED" userId="e6377c33-a923-4f14-8587-531c474c7b48" providerId="ADAL" clId="{6ECD27E6-B224-41CD-B4E0-E297462320DD}" dt="2023-11-24T09:02:27.653" v="114078"/>
          <ac:spMkLst>
            <pc:docMk/>
            <pc:sldMk cId="4183350934" sldId="2147478561"/>
            <ac:spMk id="744" creationId="{7D84AE2C-A9AB-5864-9DF6-B88713800DFC}"/>
          </ac:spMkLst>
        </pc:spChg>
        <pc:spChg chg="add del mod">
          <ac:chgData name="Steiner Andreas 6206 ED" userId="e6377c33-a923-4f14-8587-531c474c7b48" providerId="ADAL" clId="{6ECD27E6-B224-41CD-B4E0-E297462320DD}" dt="2023-11-24T09:02:30.283" v="114233"/>
          <ac:spMkLst>
            <pc:docMk/>
            <pc:sldMk cId="4183350934" sldId="2147478561"/>
            <ac:spMk id="745" creationId="{CD40172D-44AF-9DD9-5B3C-8542E4500D79}"/>
          </ac:spMkLst>
        </pc:spChg>
        <pc:spChg chg="add del mod">
          <ac:chgData name="Steiner Andreas 6206 ED" userId="e6377c33-a923-4f14-8587-531c474c7b48" providerId="ADAL" clId="{6ECD27E6-B224-41CD-B4E0-E297462320DD}" dt="2023-11-24T09:02:33.643" v="114388"/>
          <ac:spMkLst>
            <pc:docMk/>
            <pc:sldMk cId="4183350934" sldId="2147478561"/>
            <ac:spMk id="746" creationId="{3E39FD66-713B-D0A9-7468-9C6B0FF7C3D4}"/>
          </ac:spMkLst>
        </pc:spChg>
        <pc:spChg chg="add del mod">
          <ac:chgData name="Steiner Andreas 6206 ED" userId="e6377c33-a923-4f14-8587-531c474c7b48" providerId="ADAL" clId="{6ECD27E6-B224-41CD-B4E0-E297462320DD}" dt="2023-11-24T09:02:36.993" v="114543"/>
          <ac:spMkLst>
            <pc:docMk/>
            <pc:sldMk cId="4183350934" sldId="2147478561"/>
            <ac:spMk id="747" creationId="{751CE873-1D84-C602-7C94-0A0AC206A958}"/>
          </ac:spMkLst>
        </pc:spChg>
        <pc:spChg chg="add del mod">
          <ac:chgData name="Steiner Andreas 6206 ED" userId="e6377c33-a923-4f14-8587-531c474c7b48" providerId="ADAL" clId="{6ECD27E6-B224-41CD-B4E0-E297462320DD}" dt="2023-11-24T11:31:22.806" v="114698"/>
          <ac:spMkLst>
            <pc:docMk/>
            <pc:sldMk cId="4183350934" sldId="2147478561"/>
            <ac:spMk id="748" creationId="{3CA0BACB-84B2-D624-6D77-9A18A8B4ACDC}"/>
          </ac:spMkLst>
        </pc:spChg>
        <pc:spChg chg="add del mod">
          <ac:chgData name="Steiner Andreas 6206 ED" userId="e6377c33-a923-4f14-8587-531c474c7b48" providerId="ADAL" clId="{6ECD27E6-B224-41CD-B4E0-E297462320DD}" dt="2023-11-24T11:33:30.095" v="114853"/>
          <ac:spMkLst>
            <pc:docMk/>
            <pc:sldMk cId="4183350934" sldId="2147478561"/>
            <ac:spMk id="749" creationId="{95DBAB63-E6BE-4B9F-B74C-8AAFA6533661}"/>
          </ac:spMkLst>
        </pc:spChg>
        <pc:spChg chg="add del mod">
          <ac:chgData name="Steiner Andreas 6206 ED" userId="e6377c33-a923-4f14-8587-531c474c7b48" providerId="ADAL" clId="{6ECD27E6-B224-41CD-B4E0-E297462320DD}" dt="2023-11-24T11:33:36.564" v="115008"/>
          <ac:spMkLst>
            <pc:docMk/>
            <pc:sldMk cId="4183350934" sldId="2147478561"/>
            <ac:spMk id="750" creationId="{09D28553-B155-DAF7-1A90-2EEA4BB5EFB1}"/>
          </ac:spMkLst>
        </pc:spChg>
        <pc:spChg chg="add del mod">
          <ac:chgData name="Steiner Andreas 6206 ED" userId="e6377c33-a923-4f14-8587-531c474c7b48" providerId="ADAL" clId="{6ECD27E6-B224-41CD-B4E0-E297462320DD}" dt="2023-11-24T11:33:39.699" v="115163"/>
          <ac:spMkLst>
            <pc:docMk/>
            <pc:sldMk cId="4183350934" sldId="2147478561"/>
            <ac:spMk id="751" creationId="{3E316F7B-083E-ECE7-E515-49CA8C24B8FC}"/>
          </ac:spMkLst>
        </pc:spChg>
        <pc:spChg chg="add del mod">
          <ac:chgData name="Steiner Andreas 6206 ED" userId="e6377c33-a923-4f14-8587-531c474c7b48" providerId="ADAL" clId="{6ECD27E6-B224-41CD-B4E0-E297462320DD}" dt="2023-11-24T11:33:43.332" v="115318"/>
          <ac:spMkLst>
            <pc:docMk/>
            <pc:sldMk cId="4183350934" sldId="2147478561"/>
            <ac:spMk id="752" creationId="{1F13A8F3-4898-FB5E-F921-D54B33A03031}"/>
          </ac:spMkLst>
        </pc:spChg>
        <pc:spChg chg="add del mod">
          <ac:chgData name="Steiner Andreas 6206 ED" userId="e6377c33-a923-4f14-8587-531c474c7b48" providerId="ADAL" clId="{6ECD27E6-B224-41CD-B4E0-E297462320DD}" dt="2023-11-24T11:33:46.488" v="115473"/>
          <ac:spMkLst>
            <pc:docMk/>
            <pc:sldMk cId="4183350934" sldId="2147478561"/>
            <ac:spMk id="753" creationId="{B0E455CE-881C-E319-F3ED-40573D87F16A}"/>
          </ac:spMkLst>
        </pc:spChg>
        <pc:spChg chg="add del mod">
          <ac:chgData name="Steiner Andreas 6206 ED" userId="e6377c33-a923-4f14-8587-531c474c7b48" providerId="ADAL" clId="{6ECD27E6-B224-41CD-B4E0-E297462320DD}" dt="2023-11-24T11:33:49.532" v="115628"/>
          <ac:spMkLst>
            <pc:docMk/>
            <pc:sldMk cId="4183350934" sldId="2147478561"/>
            <ac:spMk id="754" creationId="{C25679DD-10FF-260F-1508-F2AF229CD1C9}"/>
          </ac:spMkLst>
        </pc:spChg>
        <pc:spChg chg="add del mod">
          <ac:chgData name="Steiner Andreas 6206 ED" userId="e6377c33-a923-4f14-8587-531c474c7b48" providerId="ADAL" clId="{6ECD27E6-B224-41CD-B4E0-E297462320DD}" dt="2023-11-24T11:33:52.200" v="115783"/>
          <ac:spMkLst>
            <pc:docMk/>
            <pc:sldMk cId="4183350934" sldId="2147478561"/>
            <ac:spMk id="755" creationId="{A1AD60F5-C831-8EDB-FD22-9F7F49801735}"/>
          </ac:spMkLst>
        </pc:spChg>
        <pc:spChg chg="add del mod">
          <ac:chgData name="Steiner Andreas 6206 ED" userId="e6377c33-a923-4f14-8587-531c474c7b48" providerId="ADAL" clId="{6ECD27E6-B224-41CD-B4E0-E297462320DD}" dt="2023-11-24T11:33:55.064" v="115938"/>
          <ac:spMkLst>
            <pc:docMk/>
            <pc:sldMk cId="4183350934" sldId="2147478561"/>
            <ac:spMk id="756" creationId="{65B896D9-842A-6CB1-E358-0D13EA00EC5D}"/>
          </ac:spMkLst>
        </pc:spChg>
        <pc:spChg chg="add del mod">
          <ac:chgData name="Steiner Andreas 6206 ED" userId="e6377c33-a923-4f14-8587-531c474c7b48" providerId="ADAL" clId="{6ECD27E6-B224-41CD-B4E0-E297462320DD}" dt="2023-11-24T11:33:57.501" v="116093"/>
          <ac:spMkLst>
            <pc:docMk/>
            <pc:sldMk cId="4183350934" sldId="2147478561"/>
            <ac:spMk id="757" creationId="{D93DCDF2-9860-CFF9-70DA-1EDEDEADCB6C}"/>
          </ac:spMkLst>
        </pc:spChg>
        <pc:spChg chg="add del mod">
          <ac:chgData name="Steiner Andreas 6206 ED" userId="e6377c33-a923-4f14-8587-531c474c7b48" providerId="ADAL" clId="{6ECD27E6-B224-41CD-B4E0-E297462320DD}" dt="2023-11-24T11:33:59.830" v="116248"/>
          <ac:spMkLst>
            <pc:docMk/>
            <pc:sldMk cId="4183350934" sldId="2147478561"/>
            <ac:spMk id="758" creationId="{E7E34000-5094-8F56-3A83-CC341C2387B7}"/>
          </ac:spMkLst>
        </pc:spChg>
        <pc:spChg chg="add del mod">
          <ac:chgData name="Steiner Andreas 6206 ED" userId="e6377c33-a923-4f14-8587-531c474c7b48" providerId="ADAL" clId="{6ECD27E6-B224-41CD-B4E0-E297462320DD}" dt="2023-11-24T11:34:02.203" v="116403"/>
          <ac:spMkLst>
            <pc:docMk/>
            <pc:sldMk cId="4183350934" sldId="2147478561"/>
            <ac:spMk id="759" creationId="{DF245FFE-9461-C5B7-1F14-076DFBB7B14B}"/>
          </ac:spMkLst>
        </pc:spChg>
        <pc:spChg chg="add del mod">
          <ac:chgData name="Steiner Andreas 6206 ED" userId="e6377c33-a923-4f14-8587-531c474c7b48" providerId="ADAL" clId="{6ECD27E6-B224-41CD-B4E0-E297462320DD}" dt="2023-11-24T11:34:04.492" v="116558"/>
          <ac:spMkLst>
            <pc:docMk/>
            <pc:sldMk cId="4183350934" sldId="2147478561"/>
            <ac:spMk id="760" creationId="{956520C1-0FBA-AF21-447C-A99F8C62E749}"/>
          </ac:spMkLst>
        </pc:spChg>
        <pc:spChg chg="add del mod">
          <ac:chgData name="Steiner Andreas 6206 ED" userId="e6377c33-a923-4f14-8587-531c474c7b48" providerId="ADAL" clId="{6ECD27E6-B224-41CD-B4E0-E297462320DD}" dt="2023-11-24T11:34:07.045" v="116713"/>
          <ac:spMkLst>
            <pc:docMk/>
            <pc:sldMk cId="4183350934" sldId="2147478561"/>
            <ac:spMk id="761" creationId="{1EA2E5BC-34A6-3C7D-CA69-90FE34CA3A5B}"/>
          </ac:spMkLst>
        </pc:spChg>
        <pc:spChg chg="add del mod">
          <ac:chgData name="Steiner Andreas 6206 ED" userId="e6377c33-a923-4f14-8587-531c474c7b48" providerId="ADAL" clId="{6ECD27E6-B224-41CD-B4E0-E297462320DD}" dt="2023-11-24T11:34:09.672" v="116868"/>
          <ac:spMkLst>
            <pc:docMk/>
            <pc:sldMk cId="4183350934" sldId="2147478561"/>
            <ac:spMk id="762" creationId="{9FBCD059-0EAC-FB62-426B-F980C20E7102}"/>
          </ac:spMkLst>
        </pc:spChg>
        <pc:spChg chg="add del mod">
          <ac:chgData name="Steiner Andreas 6206 ED" userId="e6377c33-a923-4f14-8587-531c474c7b48" providerId="ADAL" clId="{6ECD27E6-B224-41CD-B4E0-E297462320DD}" dt="2023-11-24T11:34:11.510" v="117023"/>
          <ac:spMkLst>
            <pc:docMk/>
            <pc:sldMk cId="4183350934" sldId="2147478561"/>
            <ac:spMk id="763" creationId="{2EA09633-DB31-5F6F-0011-4391FDF05012}"/>
          </ac:spMkLst>
        </pc:spChg>
        <pc:spChg chg="add del mod">
          <ac:chgData name="Steiner Andreas 6206 ED" userId="e6377c33-a923-4f14-8587-531c474c7b48" providerId="ADAL" clId="{6ECD27E6-B224-41CD-B4E0-E297462320DD}" dt="2023-11-24T11:34:13.281" v="117178"/>
          <ac:spMkLst>
            <pc:docMk/>
            <pc:sldMk cId="4183350934" sldId="2147478561"/>
            <ac:spMk id="764" creationId="{301CD733-AF78-F9BC-BC29-870BC26C1577}"/>
          </ac:spMkLst>
        </pc:spChg>
        <pc:spChg chg="add del mod">
          <ac:chgData name="Steiner Andreas 6206 ED" userId="e6377c33-a923-4f14-8587-531c474c7b48" providerId="ADAL" clId="{6ECD27E6-B224-41CD-B4E0-E297462320DD}" dt="2023-11-24T11:34:15.078" v="117333"/>
          <ac:spMkLst>
            <pc:docMk/>
            <pc:sldMk cId="4183350934" sldId="2147478561"/>
            <ac:spMk id="765" creationId="{C75D22A3-5704-1C40-3B39-C997699F426A}"/>
          </ac:spMkLst>
        </pc:spChg>
        <pc:spChg chg="add del mod">
          <ac:chgData name="Steiner Andreas 6206 ED" userId="e6377c33-a923-4f14-8587-531c474c7b48" providerId="ADAL" clId="{6ECD27E6-B224-41CD-B4E0-E297462320DD}" dt="2023-11-24T11:34:16.854" v="117488"/>
          <ac:spMkLst>
            <pc:docMk/>
            <pc:sldMk cId="4183350934" sldId="2147478561"/>
            <ac:spMk id="766" creationId="{FEBBD05D-40F5-2659-F6BB-F157D23A5A3F}"/>
          </ac:spMkLst>
        </pc:spChg>
        <pc:spChg chg="add del mod">
          <ac:chgData name="Steiner Andreas 6206 ED" userId="e6377c33-a923-4f14-8587-531c474c7b48" providerId="ADAL" clId="{6ECD27E6-B224-41CD-B4E0-E297462320DD}" dt="2023-11-24T11:34:18.675" v="117643"/>
          <ac:spMkLst>
            <pc:docMk/>
            <pc:sldMk cId="4183350934" sldId="2147478561"/>
            <ac:spMk id="767" creationId="{890D37C1-B86C-32F9-A694-05D7E14C223D}"/>
          </ac:spMkLst>
        </pc:spChg>
        <pc:spChg chg="add del mod">
          <ac:chgData name="Steiner Andreas 6206 ED" userId="e6377c33-a923-4f14-8587-531c474c7b48" providerId="ADAL" clId="{6ECD27E6-B224-41CD-B4E0-E297462320DD}" dt="2023-11-24T11:34:20.829" v="117798"/>
          <ac:spMkLst>
            <pc:docMk/>
            <pc:sldMk cId="4183350934" sldId="2147478561"/>
            <ac:spMk id="768" creationId="{0D8B5F16-2560-F498-5791-FC56393F42D3}"/>
          </ac:spMkLst>
        </pc:spChg>
        <pc:spChg chg="add del mod">
          <ac:chgData name="Steiner Andreas 6206 ED" userId="e6377c33-a923-4f14-8587-531c474c7b48" providerId="ADAL" clId="{6ECD27E6-B224-41CD-B4E0-E297462320DD}" dt="2023-11-24T11:34:22.732" v="117953"/>
          <ac:spMkLst>
            <pc:docMk/>
            <pc:sldMk cId="4183350934" sldId="2147478561"/>
            <ac:spMk id="769" creationId="{E4C05B60-367E-BAE3-FA7A-6187969870E1}"/>
          </ac:spMkLst>
        </pc:spChg>
        <pc:spChg chg="add del mod">
          <ac:chgData name="Steiner Andreas 6206 ED" userId="e6377c33-a923-4f14-8587-531c474c7b48" providerId="ADAL" clId="{6ECD27E6-B224-41CD-B4E0-E297462320DD}" dt="2023-11-24T11:34:24.809" v="118108"/>
          <ac:spMkLst>
            <pc:docMk/>
            <pc:sldMk cId="4183350934" sldId="2147478561"/>
            <ac:spMk id="770" creationId="{9093B294-CF8E-DAC0-5DDB-755123DA8213}"/>
          </ac:spMkLst>
        </pc:spChg>
        <pc:spChg chg="add del mod">
          <ac:chgData name="Steiner Andreas 6206 ED" userId="e6377c33-a923-4f14-8587-531c474c7b48" providerId="ADAL" clId="{6ECD27E6-B224-41CD-B4E0-E297462320DD}" dt="2023-11-24T11:34:27.443" v="118263"/>
          <ac:spMkLst>
            <pc:docMk/>
            <pc:sldMk cId="4183350934" sldId="2147478561"/>
            <ac:spMk id="771" creationId="{22732847-3D6E-2D5A-7B6B-AF52E65E77C6}"/>
          </ac:spMkLst>
        </pc:spChg>
        <pc:spChg chg="add del mod">
          <ac:chgData name="Steiner Andreas 6206 ED" userId="e6377c33-a923-4f14-8587-531c474c7b48" providerId="ADAL" clId="{6ECD27E6-B224-41CD-B4E0-E297462320DD}" dt="2023-11-24T11:34:29.439" v="118418"/>
          <ac:spMkLst>
            <pc:docMk/>
            <pc:sldMk cId="4183350934" sldId="2147478561"/>
            <ac:spMk id="772" creationId="{DC6DD289-53A3-ED24-38F8-EE26570C756D}"/>
          </ac:spMkLst>
        </pc:spChg>
        <pc:spChg chg="add del mod">
          <ac:chgData name="Steiner Andreas 6206 ED" userId="e6377c33-a923-4f14-8587-531c474c7b48" providerId="ADAL" clId="{6ECD27E6-B224-41CD-B4E0-E297462320DD}" dt="2023-11-24T11:34:31.729" v="118573"/>
          <ac:spMkLst>
            <pc:docMk/>
            <pc:sldMk cId="4183350934" sldId="2147478561"/>
            <ac:spMk id="773" creationId="{A5F41F7D-4E84-674C-DDAA-1BF1246F03CD}"/>
          </ac:spMkLst>
        </pc:spChg>
        <pc:spChg chg="add del mod">
          <ac:chgData name="Steiner Andreas 6206 ED" userId="e6377c33-a923-4f14-8587-531c474c7b48" providerId="ADAL" clId="{6ECD27E6-B224-41CD-B4E0-E297462320DD}" dt="2023-11-24T11:34:33.681" v="118728"/>
          <ac:spMkLst>
            <pc:docMk/>
            <pc:sldMk cId="4183350934" sldId="2147478561"/>
            <ac:spMk id="774" creationId="{8A3DDEB8-7985-168D-BA63-27321A13BEEF}"/>
          </ac:spMkLst>
        </pc:spChg>
        <pc:spChg chg="add del mod">
          <ac:chgData name="Steiner Andreas 6206 ED" userId="e6377c33-a923-4f14-8587-531c474c7b48" providerId="ADAL" clId="{6ECD27E6-B224-41CD-B4E0-E297462320DD}" dt="2023-11-24T11:34:35.681" v="118883"/>
          <ac:spMkLst>
            <pc:docMk/>
            <pc:sldMk cId="4183350934" sldId="2147478561"/>
            <ac:spMk id="775" creationId="{CE92047D-AE29-29C3-54DE-130713F53F8D}"/>
          </ac:spMkLst>
        </pc:spChg>
        <pc:spChg chg="add del mod">
          <ac:chgData name="Steiner Andreas 6206 ED" userId="e6377c33-a923-4f14-8587-531c474c7b48" providerId="ADAL" clId="{6ECD27E6-B224-41CD-B4E0-E297462320DD}" dt="2023-11-24T11:34:37.760" v="119038"/>
          <ac:spMkLst>
            <pc:docMk/>
            <pc:sldMk cId="4183350934" sldId="2147478561"/>
            <ac:spMk id="776" creationId="{ABB967FB-A7F1-4D28-D259-07CD412763E4}"/>
          </ac:spMkLst>
        </pc:spChg>
        <pc:spChg chg="add del mod">
          <ac:chgData name="Steiner Andreas 6206 ED" userId="e6377c33-a923-4f14-8587-531c474c7b48" providerId="ADAL" clId="{6ECD27E6-B224-41CD-B4E0-E297462320DD}" dt="2023-11-24T11:34:39.726" v="119193"/>
          <ac:spMkLst>
            <pc:docMk/>
            <pc:sldMk cId="4183350934" sldId="2147478561"/>
            <ac:spMk id="777" creationId="{8C816CF3-6CB6-62F1-2838-217E70BAF058}"/>
          </ac:spMkLst>
        </pc:spChg>
        <pc:spChg chg="add del mod">
          <ac:chgData name="Steiner Andreas 6206 ED" userId="e6377c33-a923-4f14-8587-531c474c7b48" providerId="ADAL" clId="{6ECD27E6-B224-41CD-B4E0-E297462320DD}" dt="2023-11-24T11:34:41.930" v="119348"/>
          <ac:spMkLst>
            <pc:docMk/>
            <pc:sldMk cId="4183350934" sldId="2147478561"/>
            <ac:spMk id="778" creationId="{E5A95210-1E4E-E721-016A-4B656235214A}"/>
          </ac:spMkLst>
        </pc:spChg>
        <pc:spChg chg="add del mod">
          <ac:chgData name="Steiner Andreas 6206 ED" userId="e6377c33-a923-4f14-8587-531c474c7b48" providerId="ADAL" clId="{6ECD27E6-B224-41CD-B4E0-E297462320DD}" dt="2023-11-24T11:34:44.050" v="119503"/>
          <ac:spMkLst>
            <pc:docMk/>
            <pc:sldMk cId="4183350934" sldId="2147478561"/>
            <ac:spMk id="779" creationId="{CD9DE40B-2E9B-184D-A755-B80AB8C25D91}"/>
          </ac:spMkLst>
        </pc:spChg>
        <pc:spChg chg="add del mod">
          <ac:chgData name="Steiner Andreas 6206 ED" userId="e6377c33-a923-4f14-8587-531c474c7b48" providerId="ADAL" clId="{6ECD27E6-B224-41CD-B4E0-E297462320DD}" dt="2023-11-24T11:34:46.051" v="119658"/>
          <ac:spMkLst>
            <pc:docMk/>
            <pc:sldMk cId="4183350934" sldId="2147478561"/>
            <ac:spMk id="780" creationId="{FBB95C1F-E251-82DF-7B43-4F562D653866}"/>
          </ac:spMkLst>
        </pc:spChg>
        <pc:spChg chg="add del mod">
          <ac:chgData name="Steiner Andreas 6206 ED" userId="e6377c33-a923-4f14-8587-531c474c7b48" providerId="ADAL" clId="{6ECD27E6-B224-41CD-B4E0-E297462320DD}" dt="2023-11-24T11:34:47.959" v="119813"/>
          <ac:spMkLst>
            <pc:docMk/>
            <pc:sldMk cId="4183350934" sldId="2147478561"/>
            <ac:spMk id="781" creationId="{D85E1D87-0F44-D906-6454-FB558BED82C5}"/>
          </ac:spMkLst>
        </pc:spChg>
        <pc:spChg chg="add del mod">
          <ac:chgData name="Steiner Andreas 6206 ED" userId="e6377c33-a923-4f14-8587-531c474c7b48" providerId="ADAL" clId="{6ECD27E6-B224-41CD-B4E0-E297462320DD}" dt="2023-11-24T11:34:50.176" v="119968"/>
          <ac:spMkLst>
            <pc:docMk/>
            <pc:sldMk cId="4183350934" sldId="2147478561"/>
            <ac:spMk id="782" creationId="{A10B9005-AC45-AE3B-7058-5FD753C646B0}"/>
          </ac:spMkLst>
        </pc:spChg>
        <pc:spChg chg="add del mod">
          <ac:chgData name="Steiner Andreas 6206 ED" userId="e6377c33-a923-4f14-8587-531c474c7b48" providerId="ADAL" clId="{6ECD27E6-B224-41CD-B4E0-E297462320DD}" dt="2023-11-24T11:34:52.276" v="120123"/>
          <ac:spMkLst>
            <pc:docMk/>
            <pc:sldMk cId="4183350934" sldId="2147478561"/>
            <ac:spMk id="783" creationId="{F86C470A-BCC7-4939-4526-28E107555901}"/>
          </ac:spMkLst>
        </pc:spChg>
        <pc:spChg chg="add del mod">
          <ac:chgData name="Steiner Andreas 6206 ED" userId="e6377c33-a923-4f14-8587-531c474c7b48" providerId="ADAL" clId="{6ECD27E6-B224-41CD-B4E0-E297462320DD}" dt="2023-11-24T11:34:54.211" v="120278"/>
          <ac:spMkLst>
            <pc:docMk/>
            <pc:sldMk cId="4183350934" sldId="2147478561"/>
            <ac:spMk id="784" creationId="{F74C1A25-D07E-1C58-C1E4-43652D715E9E}"/>
          </ac:spMkLst>
        </pc:spChg>
        <pc:spChg chg="add del mod">
          <ac:chgData name="Steiner Andreas 6206 ED" userId="e6377c33-a923-4f14-8587-531c474c7b48" providerId="ADAL" clId="{6ECD27E6-B224-41CD-B4E0-E297462320DD}" dt="2023-11-24T11:34:56.077" v="120433"/>
          <ac:spMkLst>
            <pc:docMk/>
            <pc:sldMk cId="4183350934" sldId="2147478561"/>
            <ac:spMk id="785" creationId="{9EBAAC14-121B-4772-8528-F0B0D848F5FD}"/>
          </ac:spMkLst>
        </pc:spChg>
        <pc:spChg chg="add del mod">
          <ac:chgData name="Steiner Andreas 6206 ED" userId="e6377c33-a923-4f14-8587-531c474c7b48" providerId="ADAL" clId="{6ECD27E6-B224-41CD-B4E0-E297462320DD}" dt="2023-11-24T11:34:57.893" v="120588"/>
          <ac:spMkLst>
            <pc:docMk/>
            <pc:sldMk cId="4183350934" sldId="2147478561"/>
            <ac:spMk id="786" creationId="{6A6ECB33-AED4-B61A-7FCE-CBC7260CAA98}"/>
          </ac:spMkLst>
        </pc:spChg>
        <pc:spChg chg="add del mod">
          <ac:chgData name="Steiner Andreas 6206 ED" userId="e6377c33-a923-4f14-8587-531c474c7b48" providerId="ADAL" clId="{6ECD27E6-B224-41CD-B4E0-E297462320DD}" dt="2023-11-24T11:34:59.759" v="120743"/>
          <ac:spMkLst>
            <pc:docMk/>
            <pc:sldMk cId="4183350934" sldId="2147478561"/>
            <ac:spMk id="787" creationId="{6861FAC4-6D9C-F0B3-8321-3ACDBCEC45D8}"/>
          </ac:spMkLst>
        </pc:spChg>
        <pc:spChg chg="add del mod">
          <ac:chgData name="Steiner Andreas 6206 ED" userId="e6377c33-a923-4f14-8587-531c474c7b48" providerId="ADAL" clId="{6ECD27E6-B224-41CD-B4E0-E297462320DD}" dt="2023-11-24T11:35:01.599" v="120898"/>
          <ac:spMkLst>
            <pc:docMk/>
            <pc:sldMk cId="4183350934" sldId="2147478561"/>
            <ac:spMk id="788" creationId="{AD3F6FDB-613B-FF3A-8CA3-56DF3BEA1151}"/>
          </ac:spMkLst>
        </pc:spChg>
        <pc:spChg chg="add del mod">
          <ac:chgData name="Steiner Andreas 6206 ED" userId="e6377c33-a923-4f14-8587-531c474c7b48" providerId="ADAL" clId="{6ECD27E6-B224-41CD-B4E0-E297462320DD}" dt="2023-11-24T11:35:03.465" v="121053"/>
          <ac:spMkLst>
            <pc:docMk/>
            <pc:sldMk cId="4183350934" sldId="2147478561"/>
            <ac:spMk id="789" creationId="{275D97C2-2A01-A9F9-21A8-8EF44EC502A5}"/>
          </ac:spMkLst>
        </pc:spChg>
        <pc:spChg chg="add del mod">
          <ac:chgData name="Steiner Andreas 6206 ED" userId="e6377c33-a923-4f14-8587-531c474c7b48" providerId="ADAL" clId="{6ECD27E6-B224-41CD-B4E0-E297462320DD}" dt="2023-11-24T11:35:05.371" v="121208"/>
          <ac:spMkLst>
            <pc:docMk/>
            <pc:sldMk cId="4183350934" sldId="2147478561"/>
            <ac:spMk id="790" creationId="{81D8D1BE-486F-BA12-EF94-D75DFA80A7D7}"/>
          </ac:spMkLst>
        </pc:spChg>
        <pc:spChg chg="add del mod">
          <ac:chgData name="Steiner Andreas 6206 ED" userId="e6377c33-a923-4f14-8587-531c474c7b48" providerId="ADAL" clId="{6ECD27E6-B224-41CD-B4E0-E297462320DD}" dt="2023-11-24T11:35:07.589" v="121363"/>
          <ac:spMkLst>
            <pc:docMk/>
            <pc:sldMk cId="4183350934" sldId="2147478561"/>
            <ac:spMk id="791" creationId="{1C61501E-5D8C-2484-8A65-3E4D49994C52}"/>
          </ac:spMkLst>
        </pc:spChg>
        <pc:spChg chg="add del mod">
          <ac:chgData name="Steiner Andreas 6206 ED" userId="e6377c33-a923-4f14-8587-531c474c7b48" providerId="ADAL" clId="{6ECD27E6-B224-41CD-B4E0-E297462320DD}" dt="2023-11-24T11:35:09.513" v="121518"/>
          <ac:spMkLst>
            <pc:docMk/>
            <pc:sldMk cId="4183350934" sldId="2147478561"/>
            <ac:spMk id="792" creationId="{C42EC92A-E065-A224-B29B-B64E912EF8CC}"/>
          </ac:spMkLst>
        </pc:spChg>
        <pc:spChg chg="add del mod">
          <ac:chgData name="Steiner Andreas 6206 ED" userId="e6377c33-a923-4f14-8587-531c474c7b48" providerId="ADAL" clId="{6ECD27E6-B224-41CD-B4E0-E297462320DD}" dt="2023-11-24T11:35:11.480" v="121673"/>
          <ac:spMkLst>
            <pc:docMk/>
            <pc:sldMk cId="4183350934" sldId="2147478561"/>
            <ac:spMk id="793" creationId="{98914728-F8D2-5E83-0D72-F3C83365F79D}"/>
          </ac:spMkLst>
        </pc:spChg>
        <pc:spChg chg="add del mod">
          <ac:chgData name="Steiner Andreas 6206 ED" userId="e6377c33-a923-4f14-8587-531c474c7b48" providerId="ADAL" clId="{6ECD27E6-B224-41CD-B4E0-E297462320DD}" dt="2023-11-24T11:35:13.195" v="121828"/>
          <ac:spMkLst>
            <pc:docMk/>
            <pc:sldMk cId="4183350934" sldId="2147478561"/>
            <ac:spMk id="794" creationId="{A16B96B7-D2D7-DD22-309D-FB3D1010BE70}"/>
          </ac:spMkLst>
        </pc:spChg>
        <pc:spChg chg="add del mod">
          <ac:chgData name="Steiner Andreas 6206 ED" userId="e6377c33-a923-4f14-8587-531c474c7b48" providerId="ADAL" clId="{6ECD27E6-B224-41CD-B4E0-E297462320DD}" dt="2023-11-24T11:35:15.163" v="121983"/>
          <ac:spMkLst>
            <pc:docMk/>
            <pc:sldMk cId="4183350934" sldId="2147478561"/>
            <ac:spMk id="795" creationId="{1F688E68-E1DD-623C-6EC8-2C92AEB8EE37}"/>
          </ac:spMkLst>
        </pc:spChg>
        <pc:spChg chg="add del mod">
          <ac:chgData name="Steiner Andreas 6206 ED" userId="e6377c33-a923-4f14-8587-531c474c7b48" providerId="ADAL" clId="{6ECD27E6-B224-41CD-B4E0-E297462320DD}" dt="2023-11-24T11:35:16.826" v="122138"/>
          <ac:spMkLst>
            <pc:docMk/>
            <pc:sldMk cId="4183350934" sldId="2147478561"/>
            <ac:spMk id="796" creationId="{F4140F30-5BDA-5064-0ECF-4EF612403BB7}"/>
          </ac:spMkLst>
        </pc:spChg>
        <pc:spChg chg="add del mod">
          <ac:chgData name="Steiner Andreas 6206 ED" userId="e6377c33-a923-4f14-8587-531c474c7b48" providerId="ADAL" clId="{6ECD27E6-B224-41CD-B4E0-E297462320DD}" dt="2023-11-24T11:35:18.528" v="122293"/>
          <ac:spMkLst>
            <pc:docMk/>
            <pc:sldMk cId="4183350934" sldId="2147478561"/>
            <ac:spMk id="797" creationId="{4B382224-BC72-D19B-3A30-8C172FAD1173}"/>
          </ac:spMkLst>
        </pc:spChg>
        <pc:spChg chg="add del mod">
          <ac:chgData name="Steiner Andreas 6206 ED" userId="e6377c33-a923-4f14-8587-531c474c7b48" providerId="ADAL" clId="{6ECD27E6-B224-41CD-B4E0-E297462320DD}" dt="2023-11-24T11:35:20.150" v="122448"/>
          <ac:spMkLst>
            <pc:docMk/>
            <pc:sldMk cId="4183350934" sldId="2147478561"/>
            <ac:spMk id="798" creationId="{96AB4258-26C8-2E1E-E9BC-ED956C1C99A3}"/>
          </ac:spMkLst>
        </pc:spChg>
        <pc:spChg chg="add del mod">
          <ac:chgData name="Steiner Andreas 6206 ED" userId="e6377c33-a923-4f14-8587-531c474c7b48" providerId="ADAL" clId="{6ECD27E6-B224-41CD-B4E0-E297462320DD}" dt="2023-11-24T11:35:21.791" v="122603"/>
          <ac:spMkLst>
            <pc:docMk/>
            <pc:sldMk cId="4183350934" sldId="2147478561"/>
            <ac:spMk id="799" creationId="{7B633B7A-B2DE-0C8C-017A-3C779005C84B}"/>
          </ac:spMkLst>
        </pc:spChg>
        <pc:spChg chg="add del mod">
          <ac:chgData name="Steiner Andreas 6206 ED" userId="e6377c33-a923-4f14-8587-531c474c7b48" providerId="ADAL" clId="{6ECD27E6-B224-41CD-B4E0-E297462320DD}" dt="2023-11-24T11:35:23.518" v="122758"/>
          <ac:spMkLst>
            <pc:docMk/>
            <pc:sldMk cId="4183350934" sldId="2147478561"/>
            <ac:spMk id="800" creationId="{D031ABDB-2112-F285-72BE-2F2B2D556113}"/>
          </ac:spMkLst>
        </pc:spChg>
        <pc:spChg chg="add del mod">
          <ac:chgData name="Steiner Andreas 6206 ED" userId="e6377c33-a923-4f14-8587-531c474c7b48" providerId="ADAL" clId="{6ECD27E6-B224-41CD-B4E0-E297462320DD}" dt="2023-11-24T11:35:25.615" v="122913"/>
          <ac:spMkLst>
            <pc:docMk/>
            <pc:sldMk cId="4183350934" sldId="2147478561"/>
            <ac:spMk id="801" creationId="{A3F53C9D-0C9C-A68E-820B-9C8E58848174}"/>
          </ac:spMkLst>
        </pc:spChg>
        <pc:spChg chg="add del mod">
          <ac:chgData name="Steiner Andreas 6206 ED" userId="e6377c33-a923-4f14-8587-531c474c7b48" providerId="ADAL" clId="{6ECD27E6-B224-41CD-B4E0-E297462320DD}" dt="2023-11-24T11:35:27.612" v="123068"/>
          <ac:spMkLst>
            <pc:docMk/>
            <pc:sldMk cId="4183350934" sldId="2147478561"/>
            <ac:spMk id="802" creationId="{60C7AD60-EBF3-AB10-173D-A90CB6A58BFB}"/>
          </ac:spMkLst>
        </pc:spChg>
        <pc:spChg chg="add del mod">
          <ac:chgData name="Steiner Andreas 6206 ED" userId="e6377c33-a923-4f14-8587-531c474c7b48" providerId="ADAL" clId="{6ECD27E6-B224-41CD-B4E0-E297462320DD}" dt="2023-11-24T11:35:29.468" v="123223"/>
          <ac:spMkLst>
            <pc:docMk/>
            <pc:sldMk cId="4183350934" sldId="2147478561"/>
            <ac:spMk id="803" creationId="{1CDBC6A4-BBB2-E01F-9E28-E744817FF503}"/>
          </ac:spMkLst>
        </pc:spChg>
        <pc:spChg chg="add del mod">
          <ac:chgData name="Steiner Andreas 6206 ED" userId="e6377c33-a923-4f14-8587-531c474c7b48" providerId="ADAL" clId="{6ECD27E6-B224-41CD-B4E0-E297462320DD}" dt="2023-11-24T11:35:31.173" v="123378"/>
          <ac:spMkLst>
            <pc:docMk/>
            <pc:sldMk cId="4183350934" sldId="2147478561"/>
            <ac:spMk id="804" creationId="{B6FC45D0-5DE0-7412-28A4-3927C0EB8241}"/>
          </ac:spMkLst>
        </pc:spChg>
        <pc:spChg chg="add del mod">
          <ac:chgData name="Steiner Andreas 6206 ED" userId="e6377c33-a923-4f14-8587-531c474c7b48" providerId="ADAL" clId="{6ECD27E6-B224-41CD-B4E0-E297462320DD}" dt="2023-11-24T11:35:34.161" v="123533"/>
          <ac:spMkLst>
            <pc:docMk/>
            <pc:sldMk cId="4183350934" sldId="2147478561"/>
            <ac:spMk id="805" creationId="{ACA41D8C-0C7D-52C7-A181-C995B9508CDD}"/>
          </ac:spMkLst>
        </pc:spChg>
        <pc:spChg chg="add del mod">
          <ac:chgData name="Steiner Andreas 6206 ED" userId="e6377c33-a923-4f14-8587-531c474c7b48" providerId="ADAL" clId="{6ECD27E6-B224-41CD-B4E0-E297462320DD}" dt="2023-11-24T11:35:35.931" v="123688"/>
          <ac:spMkLst>
            <pc:docMk/>
            <pc:sldMk cId="4183350934" sldId="2147478561"/>
            <ac:spMk id="806" creationId="{AB81B826-8AF8-98F0-24BA-9FC097D10B9B}"/>
          </ac:spMkLst>
        </pc:spChg>
        <pc:spChg chg="add del mod">
          <ac:chgData name="Steiner Andreas 6206 ED" userId="e6377c33-a923-4f14-8587-531c474c7b48" providerId="ADAL" clId="{6ECD27E6-B224-41CD-B4E0-E297462320DD}" dt="2023-11-24T11:35:37.593" v="123843"/>
          <ac:spMkLst>
            <pc:docMk/>
            <pc:sldMk cId="4183350934" sldId="2147478561"/>
            <ac:spMk id="807" creationId="{E734ACBA-90E2-B721-3262-5DC50329D290}"/>
          </ac:spMkLst>
        </pc:spChg>
        <pc:spChg chg="add del mod">
          <ac:chgData name="Steiner Andreas 6206 ED" userId="e6377c33-a923-4f14-8587-531c474c7b48" providerId="ADAL" clId="{6ECD27E6-B224-41CD-B4E0-E297462320DD}" dt="2023-11-24T11:35:39.230" v="123998"/>
          <ac:spMkLst>
            <pc:docMk/>
            <pc:sldMk cId="4183350934" sldId="2147478561"/>
            <ac:spMk id="808" creationId="{7BC4E72A-4608-DD4D-57F2-ED401CD4EE28}"/>
          </ac:spMkLst>
        </pc:spChg>
        <pc:spChg chg="add del mod">
          <ac:chgData name="Steiner Andreas 6206 ED" userId="e6377c33-a923-4f14-8587-531c474c7b48" providerId="ADAL" clId="{6ECD27E6-B224-41CD-B4E0-E297462320DD}" dt="2023-11-24T11:35:40.934" v="124153"/>
          <ac:spMkLst>
            <pc:docMk/>
            <pc:sldMk cId="4183350934" sldId="2147478561"/>
            <ac:spMk id="809" creationId="{7D7C7803-D62A-737B-9E2D-5331E8EC4F3A}"/>
          </ac:spMkLst>
        </pc:spChg>
        <pc:spChg chg="add del mod">
          <ac:chgData name="Steiner Andreas 6206 ED" userId="e6377c33-a923-4f14-8587-531c474c7b48" providerId="ADAL" clId="{6ECD27E6-B224-41CD-B4E0-E297462320DD}" dt="2023-11-24T11:35:42.525" v="124308"/>
          <ac:spMkLst>
            <pc:docMk/>
            <pc:sldMk cId="4183350934" sldId="2147478561"/>
            <ac:spMk id="810" creationId="{6FD216B4-5484-BC89-EF9F-E086DECE2671}"/>
          </ac:spMkLst>
        </pc:spChg>
        <pc:spChg chg="add del mod">
          <ac:chgData name="Steiner Andreas 6206 ED" userId="e6377c33-a923-4f14-8587-531c474c7b48" providerId="ADAL" clId="{6ECD27E6-B224-41CD-B4E0-E297462320DD}" dt="2023-11-24T11:35:44.232" v="124463"/>
          <ac:spMkLst>
            <pc:docMk/>
            <pc:sldMk cId="4183350934" sldId="2147478561"/>
            <ac:spMk id="811" creationId="{54D9572F-4B28-AE59-4432-D13C22AADC88}"/>
          </ac:spMkLst>
        </pc:spChg>
        <pc:spChg chg="add del mod">
          <ac:chgData name="Steiner Andreas 6206 ED" userId="e6377c33-a923-4f14-8587-531c474c7b48" providerId="ADAL" clId="{6ECD27E6-B224-41CD-B4E0-E297462320DD}" dt="2023-11-24T11:35:45.867" v="124618"/>
          <ac:spMkLst>
            <pc:docMk/>
            <pc:sldMk cId="4183350934" sldId="2147478561"/>
            <ac:spMk id="812" creationId="{B830EB8B-FF17-83C2-99C1-A91B49854076}"/>
          </ac:spMkLst>
        </pc:spChg>
        <pc:spChg chg="add del mod">
          <ac:chgData name="Steiner Andreas 6206 ED" userId="e6377c33-a923-4f14-8587-531c474c7b48" providerId="ADAL" clId="{6ECD27E6-B224-41CD-B4E0-E297462320DD}" dt="2023-11-24T11:35:47.568" v="124773"/>
          <ac:spMkLst>
            <pc:docMk/>
            <pc:sldMk cId="4183350934" sldId="2147478561"/>
            <ac:spMk id="813" creationId="{4A7A12CC-6C27-394F-3D5C-7BBB91D0A1DB}"/>
          </ac:spMkLst>
        </pc:spChg>
        <pc:spChg chg="add del mod">
          <ac:chgData name="Steiner Andreas 6206 ED" userId="e6377c33-a923-4f14-8587-531c474c7b48" providerId="ADAL" clId="{6ECD27E6-B224-41CD-B4E0-E297462320DD}" dt="2023-11-24T11:35:49.377" v="124928"/>
          <ac:spMkLst>
            <pc:docMk/>
            <pc:sldMk cId="4183350934" sldId="2147478561"/>
            <ac:spMk id="814" creationId="{B709C1E2-CF07-73D8-0B04-FE58277E4D9E}"/>
          </ac:spMkLst>
        </pc:spChg>
        <pc:spChg chg="add del mod">
          <ac:chgData name="Steiner Andreas 6206 ED" userId="e6377c33-a923-4f14-8587-531c474c7b48" providerId="ADAL" clId="{6ECD27E6-B224-41CD-B4E0-E297462320DD}" dt="2023-11-24T11:35:51.287" v="125083"/>
          <ac:spMkLst>
            <pc:docMk/>
            <pc:sldMk cId="4183350934" sldId="2147478561"/>
            <ac:spMk id="815" creationId="{3389DCDE-5D61-8FCB-6D63-01F031E29635}"/>
          </ac:spMkLst>
        </pc:spChg>
        <pc:spChg chg="add del mod">
          <ac:chgData name="Steiner Andreas 6206 ED" userId="e6377c33-a923-4f14-8587-531c474c7b48" providerId="ADAL" clId="{6ECD27E6-B224-41CD-B4E0-E297462320DD}" dt="2023-11-24T11:35:52.994" v="125238"/>
          <ac:spMkLst>
            <pc:docMk/>
            <pc:sldMk cId="4183350934" sldId="2147478561"/>
            <ac:spMk id="816" creationId="{46429565-CA0D-002F-7F15-1669CB67B23A}"/>
          </ac:spMkLst>
        </pc:spChg>
        <pc:spChg chg="add del mod">
          <ac:chgData name="Steiner Andreas 6206 ED" userId="e6377c33-a923-4f14-8587-531c474c7b48" providerId="ADAL" clId="{6ECD27E6-B224-41CD-B4E0-E297462320DD}" dt="2023-11-24T11:35:55.029" v="125393"/>
          <ac:spMkLst>
            <pc:docMk/>
            <pc:sldMk cId="4183350934" sldId="2147478561"/>
            <ac:spMk id="817" creationId="{D28AC846-DA44-C584-BABD-D4F565EAF9B9}"/>
          </ac:spMkLst>
        </pc:spChg>
        <pc:spChg chg="add del mod">
          <ac:chgData name="Steiner Andreas 6206 ED" userId="e6377c33-a923-4f14-8587-531c474c7b48" providerId="ADAL" clId="{6ECD27E6-B224-41CD-B4E0-E297462320DD}" dt="2023-11-24T11:35:57.234" v="125548"/>
          <ac:spMkLst>
            <pc:docMk/>
            <pc:sldMk cId="4183350934" sldId="2147478561"/>
            <ac:spMk id="818" creationId="{E45EC053-FB4F-BB3C-F4EE-8FFC1701E88C}"/>
          </ac:spMkLst>
        </pc:spChg>
        <pc:spChg chg="add del mod">
          <ac:chgData name="Steiner Andreas 6206 ED" userId="e6377c33-a923-4f14-8587-531c474c7b48" providerId="ADAL" clId="{6ECD27E6-B224-41CD-B4E0-E297462320DD}" dt="2023-11-24T11:35:58.971" v="125703"/>
          <ac:spMkLst>
            <pc:docMk/>
            <pc:sldMk cId="4183350934" sldId="2147478561"/>
            <ac:spMk id="819" creationId="{0F70C18E-2ED5-7448-4EBF-8315ABBA0C1D}"/>
          </ac:spMkLst>
        </pc:spChg>
        <pc:spChg chg="add del mod">
          <ac:chgData name="Steiner Andreas 6206 ED" userId="e6377c33-a923-4f14-8587-531c474c7b48" providerId="ADAL" clId="{6ECD27E6-B224-41CD-B4E0-E297462320DD}" dt="2023-11-24T11:36:00.717" v="125858"/>
          <ac:spMkLst>
            <pc:docMk/>
            <pc:sldMk cId="4183350934" sldId="2147478561"/>
            <ac:spMk id="820" creationId="{6BFC5C10-5237-C586-CDC6-09864A526C74}"/>
          </ac:spMkLst>
        </pc:spChg>
        <pc:spChg chg="add del mod">
          <ac:chgData name="Steiner Andreas 6206 ED" userId="e6377c33-a923-4f14-8587-531c474c7b48" providerId="ADAL" clId="{6ECD27E6-B224-41CD-B4E0-E297462320DD}" dt="2023-11-24T11:36:02.443" v="126013"/>
          <ac:spMkLst>
            <pc:docMk/>
            <pc:sldMk cId="4183350934" sldId="2147478561"/>
            <ac:spMk id="821" creationId="{D842A444-AD49-79F0-BD7C-325E55507DEB}"/>
          </ac:spMkLst>
        </pc:spChg>
        <pc:spChg chg="add del mod">
          <ac:chgData name="Steiner Andreas 6206 ED" userId="e6377c33-a923-4f14-8587-531c474c7b48" providerId="ADAL" clId="{6ECD27E6-B224-41CD-B4E0-E297462320DD}" dt="2023-11-24T11:36:04.207" v="126168"/>
          <ac:spMkLst>
            <pc:docMk/>
            <pc:sldMk cId="4183350934" sldId="2147478561"/>
            <ac:spMk id="822" creationId="{019A8BCB-766C-E838-3600-B2C02866EA8A}"/>
          </ac:spMkLst>
        </pc:spChg>
        <pc:spChg chg="add del mod">
          <ac:chgData name="Steiner Andreas 6206 ED" userId="e6377c33-a923-4f14-8587-531c474c7b48" providerId="ADAL" clId="{6ECD27E6-B224-41CD-B4E0-E297462320DD}" dt="2023-11-24T11:36:05.965" v="126323"/>
          <ac:spMkLst>
            <pc:docMk/>
            <pc:sldMk cId="4183350934" sldId="2147478561"/>
            <ac:spMk id="823" creationId="{2537A1F2-80CC-B8C6-6626-2C3811D1D12F}"/>
          </ac:spMkLst>
        </pc:spChg>
        <pc:spChg chg="add del mod">
          <ac:chgData name="Steiner Andreas 6206 ED" userId="e6377c33-a923-4f14-8587-531c474c7b48" providerId="ADAL" clId="{6ECD27E6-B224-41CD-B4E0-E297462320DD}" dt="2023-11-24T11:36:07.684" v="126478"/>
          <ac:spMkLst>
            <pc:docMk/>
            <pc:sldMk cId="4183350934" sldId="2147478561"/>
            <ac:spMk id="824" creationId="{4DCC4E0C-E24A-7496-0A40-B429680CE560}"/>
          </ac:spMkLst>
        </pc:spChg>
        <pc:spChg chg="add del mod">
          <ac:chgData name="Steiner Andreas 6206 ED" userId="e6377c33-a923-4f14-8587-531c474c7b48" providerId="ADAL" clId="{6ECD27E6-B224-41CD-B4E0-E297462320DD}" dt="2023-11-24T11:36:09.503" v="126633"/>
          <ac:spMkLst>
            <pc:docMk/>
            <pc:sldMk cId="4183350934" sldId="2147478561"/>
            <ac:spMk id="825" creationId="{3204146E-4EA8-89C5-2F93-3F3216B1839D}"/>
          </ac:spMkLst>
        </pc:spChg>
        <pc:spChg chg="add del mod">
          <ac:chgData name="Steiner Andreas 6206 ED" userId="e6377c33-a923-4f14-8587-531c474c7b48" providerId="ADAL" clId="{6ECD27E6-B224-41CD-B4E0-E297462320DD}" dt="2023-11-24T11:36:11.383" v="126788"/>
          <ac:spMkLst>
            <pc:docMk/>
            <pc:sldMk cId="4183350934" sldId="2147478561"/>
            <ac:spMk id="826" creationId="{3C6F76E5-9153-CBEB-69FD-B0213896DEEE}"/>
          </ac:spMkLst>
        </pc:spChg>
        <pc:spChg chg="add del mod">
          <ac:chgData name="Steiner Andreas 6206 ED" userId="e6377c33-a923-4f14-8587-531c474c7b48" providerId="ADAL" clId="{6ECD27E6-B224-41CD-B4E0-E297462320DD}" dt="2023-11-24T11:36:13.228" v="126943"/>
          <ac:spMkLst>
            <pc:docMk/>
            <pc:sldMk cId="4183350934" sldId="2147478561"/>
            <ac:spMk id="827" creationId="{25072091-3F1F-B3B9-4BFF-F552BF25AB42}"/>
          </ac:spMkLst>
        </pc:spChg>
        <pc:spChg chg="add del mod">
          <ac:chgData name="Steiner Andreas 6206 ED" userId="e6377c33-a923-4f14-8587-531c474c7b48" providerId="ADAL" clId="{6ECD27E6-B224-41CD-B4E0-E297462320DD}" dt="2023-11-24T11:36:15.104" v="127098"/>
          <ac:spMkLst>
            <pc:docMk/>
            <pc:sldMk cId="4183350934" sldId="2147478561"/>
            <ac:spMk id="828" creationId="{4ECF6372-7F91-AA63-D24A-C766000FEB45}"/>
          </ac:spMkLst>
        </pc:spChg>
        <pc:spChg chg="add del mod">
          <ac:chgData name="Steiner Andreas 6206 ED" userId="e6377c33-a923-4f14-8587-531c474c7b48" providerId="ADAL" clId="{6ECD27E6-B224-41CD-B4E0-E297462320DD}" dt="2023-11-24T11:36:17.786" v="127253"/>
          <ac:spMkLst>
            <pc:docMk/>
            <pc:sldMk cId="4183350934" sldId="2147478561"/>
            <ac:spMk id="829" creationId="{055149ED-62B5-B905-4D64-B50E0ADB4A19}"/>
          </ac:spMkLst>
        </pc:spChg>
        <pc:spChg chg="add del mod">
          <ac:chgData name="Steiner Andreas 6206 ED" userId="e6377c33-a923-4f14-8587-531c474c7b48" providerId="ADAL" clId="{6ECD27E6-B224-41CD-B4E0-E297462320DD}" dt="2023-11-24T11:36:20.325" v="127408"/>
          <ac:spMkLst>
            <pc:docMk/>
            <pc:sldMk cId="4183350934" sldId="2147478561"/>
            <ac:spMk id="830" creationId="{5AA5F9A8-B67A-B3B2-82DF-5DE7B74B1388}"/>
          </ac:spMkLst>
        </pc:spChg>
        <pc:spChg chg="add del mod">
          <ac:chgData name="Steiner Andreas 6206 ED" userId="e6377c33-a923-4f14-8587-531c474c7b48" providerId="ADAL" clId="{6ECD27E6-B224-41CD-B4E0-E297462320DD}" dt="2023-11-24T11:36:22.655" v="127563"/>
          <ac:spMkLst>
            <pc:docMk/>
            <pc:sldMk cId="4183350934" sldId="2147478561"/>
            <ac:spMk id="831" creationId="{0CFB2569-FA41-7F06-CDCC-39856544D7DF}"/>
          </ac:spMkLst>
        </pc:spChg>
        <pc:spChg chg="add del mod">
          <ac:chgData name="Steiner Andreas 6206 ED" userId="e6377c33-a923-4f14-8587-531c474c7b48" providerId="ADAL" clId="{6ECD27E6-B224-41CD-B4E0-E297462320DD}" dt="2023-11-24T11:36:25.901" v="127718"/>
          <ac:spMkLst>
            <pc:docMk/>
            <pc:sldMk cId="4183350934" sldId="2147478561"/>
            <ac:spMk id="832" creationId="{C416691B-6536-936E-5428-E30CF47AAC21}"/>
          </ac:spMkLst>
        </pc:spChg>
        <pc:spChg chg="add del mod">
          <ac:chgData name="Steiner Andreas 6206 ED" userId="e6377c33-a923-4f14-8587-531c474c7b48" providerId="ADAL" clId="{6ECD27E6-B224-41CD-B4E0-E297462320DD}" dt="2023-11-24T11:36:28.599" v="127873"/>
          <ac:spMkLst>
            <pc:docMk/>
            <pc:sldMk cId="4183350934" sldId="2147478561"/>
            <ac:spMk id="833" creationId="{2A51ABEB-A0E0-8197-E0C4-6797ABB1C069}"/>
          </ac:spMkLst>
        </pc:spChg>
        <pc:spChg chg="add del mod">
          <ac:chgData name="Steiner Andreas 6206 ED" userId="e6377c33-a923-4f14-8587-531c474c7b48" providerId="ADAL" clId="{6ECD27E6-B224-41CD-B4E0-E297462320DD}" dt="2023-11-24T11:36:31.278" v="128028"/>
          <ac:spMkLst>
            <pc:docMk/>
            <pc:sldMk cId="4183350934" sldId="2147478561"/>
            <ac:spMk id="834" creationId="{6B6BA2E8-35FA-2E87-4836-19DAAF96D18B}"/>
          </ac:spMkLst>
        </pc:spChg>
        <pc:spChg chg="add del mod">
          <ac:chgData name="Steiner Andreas 6206 ED" userId="e6377c33-a923-4f14-8587-531c474c7b48" providerId="ADAL" clId="{6ECD27E6-B224-41CD-B4E0-E297462320DD}" dt="2023-11-24T11:36:33.520" v="128183"/>
          <ac:spMkLst>
            <pc:docMk/>
            <pc:sldMk cId="4183350934" sldId="2147478561"/>
            <ac:spMk id="835" creationId="{DC695A39-CF1F-691F-3FC5-AB567140FD6A}"/>
          </ac:spMkLst>
        </pc:spChg>
        <pc:spChg chg="add del mod">
          <ac:chgData name="Steiner Andreas 6206 ED" userId="e6377c33-a923-4f14-8587-531c474c7b48" providerId="ADAL" clId="{6ECD27E6-B224-41CD-B4E0-E297462320DD}" dt="2023-11-24T11:36:35.567" v="128338"/>
          <ac:spMkLst>
            <pc:docMk/>
            <pc:sldMk cId="4183350934" sldId="2147478561"/>
            <ac:spMk id="836" creationId="{E6828F46-D999-4520-79B9-C98E55D64732}"/>
          </ac:spMkLst>
        </pc:spChg>
        <pc:spChg chg="add del mod">
          <ac:chgData name="Steiner Andreas 6206 ED" userId="e6377c33-a923-4f14-8587-531c474c7b48" providerId="ADAL" clId="{6ECD27E6-B224-41CD-B4E0-E297462320DD}" dt="2023-11-24T11:36:37.737" v="128493"/>
          <ac:spMkLst>
            <pc:docMk/>
            <pc:sldMk cId="4183350934" sldId="2147478561"/>
            <ac:spMk id="837" creationId="{CAA777D0-6FFB-A24D-72B0-9E01C777F282}"/>
          </ac:spMkLst>
        </pc:spChg>
        <pc:spChg chg="add del mod">
          <ac:chgData name="Steiner Andreas 6206 ED" userId="e6377c33-a923-4f14-8587-531c474c7b48" providerId="ADAL" clId="{6ECD27E6-B224-41CD-B4E0-E297462320DD}" dt="2023-11-24T11:36:39.926" v="128648"/>
          <ac:spMkLst>
            <pc:docMk/>
            <pc:sldMk cId="4183350934" sldId="2147478561"/>
            <ac:spMk id="838" creationId="{8123B4CE-14E6-693D-94B5-71D97760CEB5}"/>
          </ac:spMkLst>
        </pc:spChg>
        <pc:spChg chg="add del mod">
          <ac:chgData name="Steiner Andreas 6206 ED" userId="e6377c33-a923-4f14-8587-531c474c7b48" providerId="ADAL" clId="{6ECD27E6-B224-41CD-B4E0-E297462320DD}" dt="2023-11-24T11:36:42.485" v="128803"/>
          <ac:spMkLst>
            <pc:docMk/>
            <pc:sldMk cId="4183350934" sldId="2147478561"/>
            <ac:spMk id="839" creationId="{73D96AF1-5470-415C-A90D-B9E58A5FA418}"/>
          </ac:spMkLst>
        </pc:spChg>
        <pc:spChg chg="add del mod">
          <ac:chgData name="Steiner Andreas 6206 ED" userId="e6377c33-a923-4f14-8587-531c474c7b48" providerId="ADAL" clId="{6ECD27E6-B224-41CD-B4E0-E297462320DD}" dt="2023-11-24T11:36:44.777" v="128958"/>
          <ac:spMkLst>
            <pc:docMk/>
            <pc:sldMk cId="4183350934" sldId="2147478561"/>
            <ac:spMk id="840" creationId="{6C42D58C-12E9-96C2-3E9A-6171ACDCCB8D}"/>
          </ac:spMkLst>
        </pc:spChg>
        <pc:spChg chg="add del mod">
          <ac:chgData name="Steiner Andreas 6206 ED" userId="e6377c33-a923-4f14-8587-531c474c7b48" providerId="ADAL" clId="{6ECD27E6-B224-41CD-B4E0-E297462320DD}" dt="2023-11-24T11:36:46.710" v="129113"/>
          <ac:spMkLst>
            <pc:docMk/>
            <pc:sldMk cId="4183350934" sldId="2147478561"/>
            <ac:spMk id="841" creationId="{E3695D7F-9D55-5FC5-23CE-78D6C0EE5C2F}"/>
          </ac:spMkLst>
        </pc:spChg>
        <pc:spChg chg="add del mod">
          <ac:chgData name="Steiner Andreas 6206 ED" userId="e6377c33-a923-4f14-8587-531c474c7b48" providerId="ADAL" clId="{6ECD27E6-B224-41CD-B4E0-E297462320DD}" dt="2023-11-24T11:36:48.694" v="129268"/>
          <ac:spMkLst>
            <pc:docMk/>
            <pc:sldMk cId="4183350934" sldId="2147478561"/>
            <ac:spMk id="842" creationId="{2369163D-FE89-5734-42B3-BB5AA2D8BCE3}"/>
          </ac:spMkLst>
        </pc:spChg>
        <pc:spChg chg="add del mod">
          <ac:chgData name="Steiner Andreas 6206 ED" userId="e6377c33-a923-4f14-8587-531c474c7b48" providerId="ADAL" clId="{6ECD27E6-B224-41CD-B4E0-E297462320DD}" dt="2023-11-24T11:36:50.665" v="129423"/>
          <ac:spMkLst>
            <pc:docMk/>
            <pc:sldMk cId="4183350934" sldId="2147478561"/>
            <ac:spMk id="843" creationId="{1B3BF995-EA97-EA34-6A87-96328736C7CB}"/>
          </ac:spMkLst>
        </pc:spChg>
        <pc:spChg chg="add del mod">
          <ac:chgData name="Steiner Andreas 6206 ED" userId="e6377c33-a923-4f14-8587-531c474c7b48" providerId="ADAL" clId="{6ECD27E6-B224-41CD-B4E0-E297462320DD}" dt="2023-11-24T11:36:52.816" v="129578"/>
          <ac:spMkLst>
            <pc:docMk/>
            <pc:sldMk cId="4183350934" sldId="2147478561"/>
            <ac:spMk id="844" creationId="{7DE5CFC5-5771-E378-08E6-598C721C7DDB}"/>
          </ac:spMkLst>
        </pc:spChg>
        <pc:spChg chg="add del mod">
          <ac:chgData name="Steiner Andreas 6206 ED" userId="e6377c33-a923-4f14-8587-531c474c7b48" providerId="ADAL" clId="{6ECD27E6-B224-41CD-B4E0-E297462320DD}" dt="2023-11-24T11:36:55.728" v="129733"/>
          <ac:spMkLst>
            <pc:docMk/>
            <pc:sldMk cId="4183350934" sldId="2147478561"/>
            <ac:spMk id="845" creationId="{05F2B885-C2A5-F7C2-71C2-FA8B04E6612A}"/>
          </ac:spMkLst>
        </pc:spChg>
        <pc:spChg chg="add del mod">
          <ac:chgData name="Steiner Andreas 6206 ED" userId="e6377c33-a923-4f14-8587-531c474c7b48" providerId="ADAL" clId="{6ECD27E6-B224-41CD-B4E0-E297462320DD}" dt="2023-11-24T11:36:57.959" v="129888"/>
          <ac:spMkLst>
            <pc:docMk/>
            <pc:sldMk cId="4183350934" sldId="2147478561"/>
            <ac:spMk id="846" creationId="{B7FC94B0-EC76-EEB9-965B-047B1D893FF1}"/>
          </ac:spMkLst>
        </pc:spChg>
        <pc:spChg chg="add del mod">
          <ac:chgData name="Steiner Andreas 6206 ED" userId="e6377c33-a923-4f14-8587-531c474c7b48" providerId="ADAL" clId="{6ECD27E6-B224-41CD-B4E0-E297462320DD}" dt="2023-11-24T11:37:00.269" v="130043"/>
          <ac:spMkLst>
            <pc:docMk/>
            <pc:sldMk cId="4183350934" sldId="2147478561"/>
            <ac:spMk id="847" creationId="{5412DA26-A6A2-3B12-E604-D1D1E7ED4B10}"/>
          </ac:spMkLst>
        </pc:spChg>
        <pc:spChg chg="add del mod">
          <ac:chgData name="Steiner Andreas 6206 ED" userId="e6377c33-a923-4f14-8587-531c474c7b48" providerId="ADAL" clId="{6ECD27E6-B224-41CD-B4E0-E297462320DD}" dt="2023-11-24T11:37:02.067" v="130198"/>
          <ac:spMkLst>
            <pc:docMk/>
            <pc:sldMk cId="4183350934" sldId="2147478561"/>
            <ac:spMk id="848" creationId="{5C1F37E1-C896-EA50-B4C0-BEE48C2F71D2}"/>
          </ac:spMkLst>
        </pc:spChg>
        <pc:spChg chg="add del mod">
          <ac:chgData name="Steiner Andreas 6206 ED" userId="e6377c33-a923-4f14-8587-531c474c7b48" providerId="ADAL" clId="{6ECD27E6-B224-41CD-B4E0-E297462320DD}" dt="2023-11-24T11:37:03.810" v="130353"/>
          <ac:spMkLst>
            <pc:docMk/>
            <pc:sldMk cId="4183350934" sldId="2147478561"/>
            <ac:spMk id="849" creationId="{ABD565D4-959A-3D91-D94A-2762ED51283E}"/>
          </ac:spMkLst>
        </pc:spChg>
        <pc:spChg chg="add del mod">
          <ac:chgData name="Steiner Andreas 6206 ED" userId="e6377c33-a923-4f14-8587-531c474c7b48" providerId="ADAL" clId="{6ECD27E6-B224-41CD-B4E0-E297462320DD}" dt="2023-11-24T11:37:05.685" v="130508"/>
          <ac:spMkLst>
            <pc:docMk/>
            <pc:sldMk cId="4183350934" sldId="2147478561"/>
            <ac:spMk id="850" creationId="{DDF91D6B-978A-7EE4-9E76-EC9EFBA418F8}"/>
          </ac:spMkLst>
        </pc:spChg>
        <pc:spChg chg="add del mod">
          <ac:chgData name="Steiner Andreas 6206 ED" userId="e6377c33-a923-4f14-8587-531c474c7b48" providerId="ADAL" clId="{6ECD27E6-B224-41CD-B4E0-E297462320DD}" dt="2023-11-24T11:37:07.449" v="130663"/>
          <ac:spMkLst>
            <pc:docMk/>
            <pc:sldMk cId="4183350934" sldId="2147478561"/>
            <ac:spMk id="851" creationId="{11330EC0-096C-8778-24E4-47AB327D5BBF}"/>
          </ac:spMkLst>
        </pc:spChg>
        <pc:spChg chg="add del mod">
          <ac:chgData name="Steiner Andreas 6206 ED" userId="e6377c33-a923-4f14-8587-531c474c7b48" providerId="ADAL" clId="{6ECD27E6-B224-41CD-B4E0-E297462320DD}" dt="2023-11-24T11:37:09.160" v="130818"/>
          <ac:spMkLst>
            <pc:docMk/>
            <pc:sldMk cId="4183350934" sldId="2147478561"/>
            <ac:spMk id="852" creationId="{6DAD9972-7CAF-AFCD-E475-4419D06B8181}"/>
          </ac:spMkLst>
        </pc:spChg>
        <pc:spChg chg="add del mod">
          <ac:chgData name="Steiner Andreas 6206 ED" userId="e6377c33-a923-4f14-8587-531c474c7b48" providerId="ADAL" clId="{6ECD27E6-B224-41CD-B4E0-E297462320DD}" dt="2023-11-24T11:37:10.846" v="130973"/>
          <ac:spMkLst>
            <pc:docMk/>
            <pc:sldMk cId="4183350934" sldId="2147478561"/>
            <ac:spMk id="853" creationId="{F9F9B80F-4DD1-733C-BB86-BDC4F67034ED}"/>
          </ac:spMkLst>
        </pc:spChg>
        <pc:spChg chg="add del mod">
          <ac:chgData name="Steiner Andreas 6206 ED" userId="e6377c33-a923-4f14-8587-531c474c7b48" providerId="ADAL" clId="{6ECD27E6-B224-41CD-B4E0-E297462320DD}" dt="2023-11-24T11:37:12.514" v="131128"/>
          <ac:spMkLst>
            <pc:docMk/>
            <pc:sldMk cId="4183350934" sldId="2147478561"/>
            <ac:spMk id="854" creationId="{186823A5-BCD8-263C-9A52-9DF1427E3909}"/>
          </ac:spMkLst>
        </pc:spChg>
        <pc:spChg chg="add del mod">
          <ac:chgData name="Steiner Andreas 6206 ED" userId="e6377c33-a923-4f14-8587-531c474c7b48" providerId="ADAL" clId="{6ECD27E6-B224-41CD-B4E0-E297462320DD}" dt="2023-11-24T11:37:14.181" v="131283"/>
          <ac:spMkLst>
            <pc:docMk/>
            <pc:sldMk cId="4183350934" sldId="2147478561"/>
            <ac:spMk id="855" creationId="{B9685784-3356-79D3-DC78-53538B7EFAAC}"/>
          </ac:spMkLst>
        </pc:spChg>
        <pc:spChg chg="add del mod">
          <ac:chgData name="Steiner Andreas 6206 ED" userId="e6377c33-a923-4f14-8587-531c474c7b48" providerId="ADAL" clId="{6ECD27E6-B224-41CD-B4E0-E297462320DD}" dt="2023-11-24T11:37:16.295" v="131438"/>
          <ac:spMkLst>
            <pc:docMk/>
            <pc:sldMk cId="4183350934" sldId="2147478561"/>
            <ac:spMk id="856" creationId="{6B184324-52C6-BACB-7D08-4AB6EAF37C12}"/>
          </ac:spMkLst>
        </pc:spChg>
        <pc:spChg chg="add del mod">
          <ac:chgData name="Steiner Andreas 6206 ED" userId="e6377c33-a923-4f14-8587-531c474c7b48" providerId="ADAL" clId="{6ECD27E6-B224-41CD-B4E0-E297462320DD}" dt="2023-11-24T11:37:18.258" v="131593"/>
          <ac:spMkLst>
            <pc:docMk/>
            <pc:sldMk cId="4183350934" sldId="2147478561"/>
            <ac:spMk id="857" creationId="{4015FF76-B66C-65E7-117D-1E153A65C799}"/>
          </ac:spMkLst>
        </pc:spChg>
        <pc:spChg chg="add del mod">
          <ac:chgData name="Steiner Andreas 6206 ED" userId="e6377c33-a923-4f14-8587-531c474c7b48" providerId="ADAL" clId="{6ECD27E6-B224-41CD-B4E0-E297462320DD}" dt="2023-11-24T11:37:20.135" v="131748"/>
          <ac:spMkLst>
            <pc:docMk/>
            <pc:sldMk cId="4183350934" sldId="2147478561"/>
            <ac:spMk id="858" creationId="{603B78BE-E125-079A-8987-EEA932F9A604}"/>
          </ac:spMkLst>
        </pc:spChg>
        <pc:spChg chg="add del mod">
          <ac:chgData name="Steiner Andreas 6206 ED" userId="e6377c33-a923-4f14-8587-531c474c7b48" providerId="ADAL" clId="{6ECD27E6-B224-41CD-B4E0-E297462320DD}" dt="2023-11-24T11:37:22.044" v="131903"/>
          <ac:spMkLst>
            <pc:docMk/>
            <pc:sldMk cId="4183350934" sldId="2147478561"/>
            <ac:spMk id="859" creationId="{F8A43C05-D01F-8A86-8437-66B238513E05}"/>
          </ac:spMkLst>
        </pc:spChg>
        <pc:spChg chg="add del mod">
          <ac:chgData name="Steiner Andreas 6206 ED" userId="e6377c33-a923-4f14-8587-531c474c7b48" providerId="ADAL" clId="{6ECD27E6-B224-41CD-B4E0-E297462320DD}" dt="2023-11-24T11:37:23.800" v="132058"/>
          <ac:spMkLst>
            <pc:docMk/>
            <pc:sldMk cId="4183350934" sldId="2147478561"/>
            <ac:spMk id="860" creationId="{E36C9883-9202-7E3B-AE28-DC96196F3437}"/>
          </ac:spMkLst>
        </pc:spChg>
        <pc:spChg chg="add del mod">
          <ac:chgData name="Steiner Andreas 6206 ED" userId="e6377c33-a923-4f14-8587-531c474c7b48" providerId="ADAL" clId="{6ECD27E6-B224-41CD-B4E0-E297462320DD}" dt="2023-11-24T11:37:25.503" v="132213"/>
          <ac:spMkLst>
            <pc:docMk/>
            <pc:sldMk cId="4183350934" sldId="2147478561"/>
            <ac:spMk id="861" creationId="{396F6EA0-E2B0-1743-B390-38E696E00DBA}"/>
          </ac:spMkLst>
        </pc:spChg>
        <pc:spChg chg="add del mod">
          <ac:chgData name="Steiner Andreas 6206 ED" userId="e6377c33-a923-4f14-8587-531c474c7b48" providerId="ADAL" clId="{6ECD27E6-B224-41CD-B4E0-E297462320DD}" dt="2023-11-24T11:37:27.535" v="132368"/>
          <ac:spMkLst>
            <pc:docMk/>
            <pc:sldMk cId="4183350934" sldId="2147478561"/>
            <ac:spMk id="862" creationId="{636BB567-5670-AECD-576D-F44371E3830B}"/>
          </ac:spMkLst>
        </pc:spChg>
        <pc:spChg chg="add del mod">
          <ac:chgData name="Steiner Andreas 6206 ED" userId="e6377c33-a923-4f14-8587-531c474c7b48" providerId="ADAL" clId="{6ECD27E6-B224-41CD-B4E0-E297462320DD}" dt="2023-11-24T11:37:30.246" v="132523"/>
          <ac:spMkLst>
            <pc:docMk/>
            <pc:sldMk cId="4183350934" sldId="2147478561"/>
            <ac:spMk id="863" creationId="{37D24040-0E3B-E187-DEDB-02F3020F5DEE}"/>
          </ac:spMkLst>
        </pc:spChg>
        <pc:spChg chg="add del mod">
          <ac:chgData name="Steiner Andreas 6206 ED" userId="e6377c33-a923-4f14-8587-531c474c7b48" providerId="ADAL" clId="{6ECD27E6-B224-41CD-B4E0-E297462320DD}" dt="2023-11-24T11:37:32.883" v="132678"/>
          <ac:spMkLst>
            <pc:docMk/>
            <pc:sldMk cId="4183350934" sldId="2147478561"/>
            <ac:spMk id="864" creationId="{9C82847F-2F94-8A19-C115-80B57811AB57}"/>
          </ac:spMkLst>
        </pc:spChg>
        <pc:spChg chg="add del mod">
          <ac:chgData name="Steiner Andreas 6206 ED" userId="e6377c33-a923-4f14-8587-531c474c7b48" providerId="ADAL" clId="{6ECD27E6-B224-41CD-B4E0-E297462320DD}" dt="2023-11-24T11:37:35.746" v="132833"/>
          <ac:spMkLst>
            <pc:docMk/>
            <pc:sldMk cId="4183350934" sldId="2147478561"/>
            <ac:spMk id="865" creationId="{C5D5AED5-A8EB-63E1-9704-55B5F4B5F0D2}"/>
          </ac:spMkLst>
        </pc:spChg>
        <pc:spChg chg="add del mod">
          <ac:chgData name="Steiner Andreas 6206 ED" userId="e6377c33-a923-4f14-8587-531c474c7b48" providerId="ADAL" clId="{6ECD27E6-B224-41CD-B4E0-E297462320DD}" dt="2023-11-24T11:37:38.498" v="132988"/>
          <ac:spMkLst>
            <pc:docMk/>
            <pc:sldMk cId="4183350934" sldId="2147478561"/>
            <ac:spMk id="866" creationId="{D1046DC6-0656-7A67-D849-236FE50FB857}"/>
          </ac:spMkLst>
        </pc:spChg>
        <pc:spChg chg="add del mod">
          <ac:chgData name="Steiner Andreas 6206 ED" userId="e6377c33-a923-4f14-8587-531c474c7b48" providerId="ADAL" clId="{6ECD27E6-B224-41CD-B4E0-E297462320DD}" dt="2023-11-24T11:37:41.004" v="133143"/>
          <ac:spMkLst>
            <pc:docMk/>
            <pc:sldMk cId="4183350934" sldId="2147478561"/>
            <ac:spMk id="867" creationId="{4F18AA6A-4204-5653-AC1A-30743031AAD4}"/>
          </ac:spMkLst>
        </pc:spChg>
        <pc:spChg chg="add del mod">
          <ac:chgData name="Steiner Andreas 6206 ED" userId="e6377c33-a923-4f14-8587-531c474c7b48" providerId="ADAL" clId="{6ECD27E6-B224-41CD-B4E0-E297462320DD}" dt="2023-11-24T11:37:44.175" v="133298"/>
          <ac:spMkLst>
            <pc:docMk/>
            <pc:sldMk cId="4183350934" sldId="2147478561"/>
            <ac:spMk id="868" creationId="{4E87BED6-B5D0-1CCC-F42D-4EA9B800EC6B}"/>
          </ac:spMkLst>
        </pc:spChg>
        <pc:spChg chg="add del mod">
          <ac:chgData name="Steiner Andreas 6206 ED" userId="e6377c33-a923-4f14-8587-531c474c7b48" providerId="ADAL" clId="{6ECD27E6-B224-41CD-B4E0-E297462320DD}" dt="2023-11-24T11:37:48.229" v="133453"/>
          <ac:spMkLst>
            <pc:docMk/>
            <pc:sldMk cId="4183350934" sldId="2147478561"/>
            <ac:spMk id="869" creationId="{129BB917-3812-9FDE-F252-DA41C165B77A}"/>
          </ac:spMkLst>
        </pc:spChg>
        <pc:spChg chg="add del mod">
          <ac:chgData name="Steiner Andreas 6206 ED" userId="e6377c33-a923-4f14-8587-531c474c7b48" providerId="ADAL" clId="{6ECD27E6-B224-41CD-B4E0-E297462320DD}" dt="2023-11-24T11:37:51.459" v="133608"/>
          <ac:spMkLst>
            <pc:docMk/>
            <pc:sldMk cId="4183350934" sldId="2147478561"/>
            <ac:spMk id="870" creationId="{6740C73C-0AEE-7AE4-CEA3-BC9F0E2D2620}"/>
          </ac:spMkLst>
        </pc:spChg>
        <pc:spChg chg="add del mod">
          <ac:chgData name="Steiner Andreas 6206 ED" userId="e6377c33-a923-4f14-8587-531c474c7b48" providerId="ADAL" clId="{6ECD27E6-B224-41CD-B4E0-E297462320DD}" dt="2023-11-24T11:37:54.196" v="133763"/>
          <ac:spMkLst>
            <pc:docMk/>
            <pc:sldMk cId="4183350934" sldId="2147478561"/>
            <ac:spMk id="871" creationId="{4D709A2E-F2B3-0A56-8288-82EC259C047E}"/>
          </ac:spMkLst>
        </pc:spChg>
        <pc:spChg chg="add del mod">
          <ac:chgData name="Steiner Andreas 6206 ED" userId="e6377c33-a923-4f14-8587-531c474c7b48" providerId="ADAL" clId="{6ECD27E6-B224-41CD-B4E0-E297462320DD}" dt="2023-11-24T11:37:56.589" v="133918"/>
          <ac:spMkLst>
            <pc:docMk/>
            <pc:sldMk cId="4183350934" sldId="2147478561"/>
            <ac:spMk id="872" creationId="{9A7A9AF0-DB51-AE38-487C-E1484B309D76}"/>
          </ac:spMkLst>
        </pc:spChg>
        <pc:spChg chg="add del mod">
          <ac:chgData name="Steiner Andreas 6206 ED" userId="e6377c33-a923-4f14-8587-531c474c7b48" providerId="ADAL" clId="{6ECD27E6-B224-41CD-B4E0-E297462320DD}" dt="2023-11-24T11:37:59.178" v="134073"/>
          <ac:spMkLst>
            <pc:docMk/>
            <pc:sldMk cId="4183350934" sldId="2147478561"/>
            <ac:spMk id="873" creationId="{7F035188-29B2-7323-7B61-27447FD87DE0}"/>
          </ac:spMkLst>
        </pc:spChg>
        <pc:spChg chg="add del mod">
          <ac:chgData name="Steiner Andreas 6206 ED" userId="e6377c33-a923-4f14-8587-531c474c7b48" providerId="ADAL" clId="{6ECD27E6-B224-41CD-B4E0-E297462320DD}" dt="2023-11-24T11:38:01.418" v="134228"/>
          <ac:spMkLst>
            <pc:docMk/>
            <pc:sldMk cId="4183350934" sldId="2147478561"/>
            <ac:spMk id="874" creationId="{D8BC9BB0-6416-0A99-C586-489F81675073}"/>
          </ac:spMkLst>
        </pc:spChg>
        <pc:spChg chg="add del mod">
          <ac:chgData name="Steiner Andreas 6206 ED" userId="e6377c33-a923-4f14-8587-531c474c7b48" providerId="ADAL" clId="{6ECD27E6-B224-41CD-B4E0-E297462320DD}" dt="2023-11-24T11:38:03.976" v="134383"/>
          <ac:spMkLst>
            <pc:docMk/>
            <pc:sldMk cId="4183350934" sldId="2147478561"/>
            <ac:spMk id="875" creationId="{45A03B1F-F223-3DE9-407A-705986E3CAE3}"/>
          </ac:spMkLst>
        </pc:spChg>
        <pc:spChg chg="add del mod">
          <ac:chgData name="Steiner Andreas 6206 ED" userId="e6377c33-a923-4f14-8587-531c474c7b48" providerId="ADAL" clId="{6ECD27E6-B224-41CD-B4E0-E297462320DD}" dt="2023-11-24T11:38:06.405" v="134538"/>
          <ac:spMkLst>
            <pc:docMk/>
            <pc:sldMk cId="4183350934" sldId="2147478561"/>
            <ac:spMk id="876" creationId="{D4934046-7BA5-9437-4F51-16195A96EE32}"/>
          </ac:spMkLst>
        </pc:spChg>
        <pc:spChg chg="add del mod">
          <ac:chgData name="Steiner Andreas 6206 ED" userId="e6377c33-a923-4f14-8587-531c474c7b48" providerId="ADAL" clId="{6ECD27E6-B224-41CD-B4E0-E297462320DD}" dt="2023-11-24T11:38:09.347" v="134693"/>
          <ac:spMkLst>
            <pc:docMk/>
            <pc:sldMk cId="4183350934" sldId="2147478561"/>
            <ac:spMk id="877" creationId="{01312ABD-E6DD-CE59-D44D-CF77000BF069}"/>
          </ac:spMkLst>
        </pc:spChg>
        <pc:spChg chg="add del mod">
          <ac:chgData name="Steiner Andreas 6206 ED" userId="e6377c33-a923-4f14-8587-531c474c7b48" providerId="ADAL" clId="{6ECD27E6-B224-41CD-B4E0-E297462320DD}" dt="2023-11-24T11:38:12.060" v="134848"/>
          <ac:spMkLst>
            <pc:docMk/>
            <pc:sldMk cId="4183350934" sldId="2147478561"/>
            <ac:spMk id="878" creationId="{1BA7779F-ED51-9AE2-78AF-E29F8E2A4292}"/>
          </ac:spMkLst>
        </pc:spChg>
        <pc:spChg chg="add del mod">
          <ac:chgData name="Steiner Andreas 6206 ED" userId="e6377c33-a923-4f14-8587-531c474c7b48" providerId="ADAL" clId="{6ECD27E6-B224-41CD-B4E0-E297462320DD}" dt="2023-11-24T11:38:14.346" v="135003"/>
          <ac:spMkLst>
            <pc:docMk/>
            <pc:sldMk cId="4183350934" sldId="2147478561"/>
            <ac:spMk id="879" creationId="{A985BF5F-6692-A7D4-2C94-CB00B638AD84}"/>
          </ac:spMkLst>
        </pc:spChg>
        <pc:spChg chg="add del mod">
          <ac:chgData name="Steiner Andreas 6206 ED" userId="e6377c33-a923-4f14-8587-531c474c7b48" providerId="ADAL" clId="{6ECD27E6-B224-41CD-B4E0-E297462320DD}" dt="2023-11-24T11:38:16.771" v="135158"/>
          <ac:spMkLst>
            <pc:docMk/>
            <pc:sldMk cId="4183350934" sldId="2147478561"/>
            <ac:spMk id="880" creationId="{FEAED2D3-8135-BEC0-EE30-7D1BC3EA0B69}"/>
          </ac:spMkLst>
        </pc:spChg>
        <pc:spChg chg="add del mod">
          <ac:chgData name="Steiner Andreas 6206 ED" userId="e6377c33-a923-4f14-8587-531c474c7b48" providerId="ADAL" clId="{6ECD27E6-B224-41CD-B4E0-E297462320DD}" dt="2023-11-24T11:38:19.726" v="135313"/>
          <ac:spMkLst>
            <pc:docMk/>
            <pc:sldMk cId="4183350934" sldId="2147478561"/>
            <ac:spMk id="881" creationId="{FC556A4B-0C0A-0C45-5729-A6326265AEC0}"/>
          </ac:spMkLst>
        </pc:spChg>
        <pc:spChg chg="add del mod">
          <ac:chgData name="Steiner Andreas 6206 ED" userId="e6377c33-a923-4f14-8587-531c474c7b48" providerId="ADAL" clId="{6ECD27E6-B224-41CD-B4E0-E297462320DD}" dt="2023-11-24T11:38:22.338" v="135468"/>
          <ac:spMkLst>
            <pc:docMk/>
            <pc:sldMk cId="4183350934" sldId="2147478561"/>
            <ac:spMk id="882" creationId="{E0EBD32C-6019-CCBF-1256-CF0BC692C129}"/>
          </ac:spMkLst>
        </pc:spChg>
        <pc:spChg chg="add del mod">
          <ac:chgData name="Steiner Andreas 6206 ED" userId="e6377c33-a923-4f14-8587-531c474c7b48" providerId="ADAL" clId="{6ECD27E6-B224-41CD-B4E0-E297462320DD}" dt="2023-11-24T11:38:25.013" v="135623"/>
          <ac:spMkLst>
            <pc:docMk/>
            <pc:sldMk cId="4183350934" sldId="2147478561"/>
            <ac:spMk id="883" creationId="{03A4671A-E7E5-0209-93E1-CB094876A14C}"/>
          </ac:spMkLst>
        </pc:spChg>
        <pc:spChg chg="add del mod">
          <ac:chgData name="Steiner Andreas 6206 ED" userId="e6377c33-a923-4f14-8587-531c474c7b48" providerId="ADAL" clId="{6ECD27E6-B224-41CD-B4E0-E297462320DD}" dt="2023-11-24T11:38:27.763" v="135778"/>
          <ac:spMkLst>
            <pc:docMk/>
            <pc:sldMk cId="4183350934" sldId="2147478561"/>
            <ac:spMk id="884" creationId="{D04EABAD-E174-5333-28B1-B93E42F1641F}"/>
          </ac:spMkLst>
        </pc:spChg>
        <pc:spChg chg="add del mod">
          <ac:chgData name="Steiner Andreas 6206 ED" userId="e6377c33-a923-4f14-8587-531c474c7b48" providerId="ADAL" clId="{6ECD27E6-B224-41CD-B4E0-E297462320DD}" dt="2023-11-24T11:38:30.456" v="135933"/>
          <ac:spMkLst>
            <pc:docMk/>
            <pc:sldMk cId="4183350934" sldId="2147478561"/>
            <ac:spMk id="885" creationId="{C4BBFBBA-2BBF-CCC5-A7C3-BA771D57CF43}"/>
          </ac:spMkLst>
        </pc:spChg>
        <pc:spChg chg="add del mod">
          <ac:chgData name="Steiner Andreas 6206 ED" userId="e6377c33-a923-4f14-8587-531c474c7b48" providerId="ADAL" clId="{6ECD27E6-B224-41CD-B4E0-E297462320DD}" dt="2023-11-24T11:38:32.774" v="136088"/>
          <ac:spMkLst>
            <pc:docMk/>
            <pc:sldMk cId="4183350934" sldId="2147478561"/>
            <ac:spMk id="886" creationId="{85381575-A310-A04F-7E52-243F71AFC580}"/>
          </ac:spMkLst>
        </pc:spChg>
        <pc:spChg chg="add del mod">
          <ac:chgData name="Steiner Andreas 6206 ED" userId="e6377c33-a923-4f14-8587-531c474c7b48" providerId="ADAL" clId="{6ECD27E6-B224-41CD-B4E0-E297462320DD}" dt="2023-11-24T11:38:35.252" v="136243"/>
          <ac:spMkLst>
            <pc:docMk/>
            <pc:sldMk cId="4183350934" sldId="2147478561"/>
            <ac:spMk id="887" creationId="{5FEC6BCD-32DF-649A-F410-01FCEAEF398F}"/>
          </ac:spMkLst>
        </pc:spChg>
        <pc:spChg chg="add del mod">
          <ac:chgData name="Steiner Andreas 6206 ED" userId="e6377c33-a923-4f14-8587-531c474c7b48" providerId="ADAL" clId="{6ECD27E6-B224-41CD-B4E0-E297462320DD}" dt="2023-11-24T11:38:38.107" v="136398"/>
          <ac:spMkLst>
            <pc:docMk/>
            <pc:sldMk cId="4183350934" sldId="2147478561"/>
            <ac:spMk id="888" creationId="{DA1014DE-FE7B-A8C1-9852-7565FE86A1D2}"/>
          </ac:spMkLst>
        </pc:spChg>
        <pc:spChg chg="add del mod">
          <ac:chgData name="Steiner Andreas 6206 ED" userId="e6377c33-a923-4f14-8587-531c474c7b48" providerId="ADAL" clId="{6ECD27E6-B224-41CD-B4E0-E297462320DD}" dt="2023-11-24T11:38:40.688" v="136553"/>
          <ac:spMkLst>
            <pc:docMk/>
            <pc:sldMk cId="4183350934" sldId="2147478561"/>
            <ac:spMk id="889" creationId="{BD0A5EDE-C7E1-C18A-4E87-4499AE3501B7}"/>
          </ac:spMkLst>
        </pc:spChg>
        <pc:spChg chg="add del mod">
          <ac:chgData name="Steiner Andreas 6206 ED" userId="e6377c33-a923-4f14-8587-531c474c7b48" providerId="ADAL" clId="{6ECD27E6-B224-41CD-B4E0-E297462320DD}" dt="2023-11-24T11:38:43.069" v="136708"/>
          <ac:spMkLst>
            <pc:docMk/>
            <pc:sldMk cId="4183350934" sldId="2147478561"/>
            <ac:spMk id="890" creationId="{75BB6E3C-10B4-BF56-3542-ED728A8C749C}"/>
          </ac:spMkLst>
        </pc:spChg>
        <pc:spChg chg="add del mod">
          <ac:chgData name="Steiner Andreas 6206 ED" userId="e6377c33-a923-4f14-8587-531c474c7b48" providerId="ADAL" clId="{6ECD27E6-B224-41CD-B4E0-E297462320DD}" dt="2023-11-24T11:38:45.494" v="136863"/>
          <ac:spMkLst>
            <pc:docMk/>
            <pc:sldMk cId="4183350934" sldId="2147478561"/>
            <ac:spMk id="891" creationId="{D97A94D1-43F5-A883-1132-CFF1295C906A}"/>
          </ac:spMkLst>
        </pc:spChg>
        <pc:spChg chg="add del mod">
          <ac:chgData name="Steiner Andreas 6206 ED" userId="e6377c33-a923-4f14-8587-531c474c7b48" providerId="ADAL" clId="{6ECD27E6-B224-41CD-B4E0-E297462320DD}" dt="2023-11-24T11:38:47.822" v="137018"/>
          <ac:spMkLst>
            <pc:docMk/>
            <pc:sldMk cId="4183350934" sldId="2147478561"/>
            <ac:spMk id="892" creationId="{D09F8D47-A093-E6E8-2985-183767908033}"/>
          </ac:spMkLst>
        </pc:spChg>
        <pc:spChg chg="add del mod">
          <ac:chgData name="Steiner Andreas 6206 ED" userId="e6377c33-a923-4f14-8587-531c474c7b48" providerId="ADAL" clId="{6ECD27E6-B224-41CD-B4E0-E297462320DD}" dt="2023-11-24T11:38:50.908" v="137173"/>
          <ac:spMkLst>
            <pc:docMk/>
            <pc:sldMk cId="4183350934" sldId="2147478561"/>
            <ac:spMk id="893" creationId="{E68BE246-F342-9C80-E95F-A5AD71C36604}"/>
          </ac:spMkLst>
        </pc:spChg>
        <pc:spChg chg="add del mod">
          <ac:chgData name="Steiner Andreas 6206 ED" userId="e6377c33-a923-4f14-8587-531c474c7b48" providerId="ADAL" clId="{6ECD27E6-B224-41CD-B4E0-E297462320DD}" dt="2023-11-24T11:38:53.281" v="137328"/>
          <ac:spMkLst>
            <pc:docMk/>
            <pc:sldMk cId="4183350934" sldId="2147478561"/>
            <ac:spMk id="894" creationId="{A0CC4CEC-28AE-5704-3283-E914CF897DE8}"/>
          </ac:spMkLst>
        </pc:spChg>
        <pc:spChg chg="add del mod">
          <ac:chgData name="Steiner Andreas 6206 ED" userId="e6377c33-a923-4f14-8587-531c474c7b48" providerId="ADAL" clId="{6ECD27E6-B224-41CD-B4E0-E297462320DD}" dt="2023-11-24T11:38:55.761" v="137483"/>
          <ac:spMkLst>
            <pc:docMk/>
            <pc:sldMk cId="4183350934" sldId="2147478561"/>
            <ac:spMk id="895" creationId="{0B89E912-8298-4E8B-8EBF-79524EE529AB}"/>
          </ac:spMkLst>
        </pc:spChg>
        <pc:spChg chg="add del mod">
          <ac:chgData name="Steiner Andreas 6206 ED" userId="e6377c33-a923-4f14-8587-531c474c7b48" providerId="ADAL" clId="{6ECD27E6-B224-41CD-B4E0-E297462320DD}" dt="2023-11-24T11:38:58.331" v="137638"/>
          <ac:spMkLst>
            <pc:docMk/>
            <pc:sldMk cId="4183350934" sldId="2147478561"/>
            <ac:spMk id="896" creationId="{60C77142-1C66-BA3A-E6A4-906FD63B519E}"/>
          </ac:spMkLst>
        </pc:spChg>
        <pc:spChg chg="add del mod">
          <ac:chgData name="Steiner Andreas 6206 ED" userId="e6377c33-a923-4f14-8587-531c474c7b48" providerId="ADAL" clId="{6ECD27E6-B224-41CD-B4E0-E297462320DD}" dt="2023-11-24T11:39:00.620" v="137793"/>
          <ac:spMkLst>
            <pc:docMk/>
            <pc:sldMk cId="4183350934" sldId="2147478561"/>
            <ac:spMk id="897" creationId="{4C6CE155-A750-53B0-5FAE-F5609320A86C}"/>
          </ac:spMkLst>
        </pc:spChg>
        <pc:spChg chg="add del mod">
          <ac:chgData name="Steiner Andreas 6206 ED" userId="e6377c33-a923-4f14-8587-531c474c7b48" providerId="ADAL" clId="{6ECD27E6-B224-41CD-B4E0-E297462320DD}" dt="2023-11-24T11:39:03.665" v="137948"/>
          <ac:spMkLst>
            <pc:docMk/>
            <pc:sldMk cId="4183350934" sldId="2147478561"/>
            <ac:spMk id="898" creationId="{39A4028C-B49A-F513-A5FC-8A601825B779}"/>
          </ac:spMkLst>
        </pc:spChg>
        <pc:spChg chg="add del mod">
          <ac:chgData name="Steiner Andreas 6206 ED" userId="e6377c33-a923-4f14-8587-531c474c7b48" providerId="ADAL" clId="{6ECD27E6-B224-41CD-B4E0-E297462320DD}" dt="2023-11-24T11:39:06.310" v="138103"/>
          <ac:spMkLst>
            <pc:docMk/>
            <pc:sldMk cId="4183350934" sldId="2147478561"/>
            <ac:spMk id="899" creationId="{14CDC7E9-50B1-1F25-D2B0-B1485BCD7B55}"/>
          </ac:spMkLst>
        </pc:spChg>
        <pc:spChg chg="add del mod">
          <ac:chgData name="Steiner Andreas 6206 ED" userId="e6377c33-a923-4f14-8587-531c474c7b48" providerId="ADAL" clId="{6ECD27E6-B224-41CD-B4E0-E297462320DD}" dt="2023-11-24T11:39:08.798" v="138258"/>
          <ac:spMkLst>
            <pc:docMk/>
            <pc:sldMk cId="4183350934" sldId="2147478561"/>
            <ac:spMk id="900" creationId="{D0757B6B-AFC0-EE30-64E5-00155C124857}"/>
          </ac:spMkLst>
        </pc:spChg>
        <pc:spChg chg="add del mod">
          <ac:chgData name="Steiner Andreas 6206 ED" userId="e6377c33-a923-4f14-8587-531c474c7b48" providerId="ADAL" clId="{6ECD27E6-B224-41CD-B4E0-E297462320DD}" dt="2023-11-24T11:39:11.156" v="138413"/>
          <ac:spMkLst>
            <pc:docMk/>
            <pc:sldMk cId="4183350934" sldId="2147478561"/>
            <ac:spMk id="901" creationId="{D6FB9D43-0383-D022-45F3-8B6B226C82D9}"/>
          </ac:spMkLst>
        </pc:spChg>
        <pc:spChg chg="add del mod">
          <ac:chgData name="Steiner Andreas 6206 ED" userId="e6377c33-a923-4f14-8587-531c474c7b48" providerId="ADAL" clId="{6ECD27E6-B224-41CD-B4E0-E297462320DD}" dt="2023-11-24T11:39:13.656" v="138568"/>
          <ac:spMkLst>
            <pc:docMk/>
            <pc:sldMk cId="4183350934" sldId="2147478561"/>
            <ac:spMk id="902" creationId="{B11496CC-3E5D-B5DB-9421-BD64D4D99450}"/>
          </ac:spMkLst>
        </pc:spChg>
        <pc:spChg chg="add del mod">
          <ac:chgData name="Steiner Andreas 6206 ED" userId="e6377c33-a923-4f14-8587-531c474c7b48" providerId="ADAL" clId="{6ECD27E6-B224-41CD-B4E0-E297462320DD}" dt="2023-11-24T11:39:16.347" v="138723"/>
          <ac:spMkLst>
            <pc:docMk/>
            <pc:sldMk cId="4183350934" sldId="2147478561"/>
            <ac:spMk id="903" creationId="{704B55FE-F5AF-12C5-B287-AB934CCC8544}"/>
          </ac:spMkLst>
        </pc:spChg>
        <pc:spChg chg="add del mod">
          <ac:chgData name="Steiner Andreas 6206 ED" userId="e6377c33-a923-4f14-8587-531c474c7b48" providerId="ADAL" clId="{6ECD27E6-B224-41CD-B4E0-E297462320DD}" dt="2023-11-24T11:39:19.152" v="138878"/>
          <ac:spMkLst>
            <pc:docMk/>
            <pc:sldMk cId="4183350934" sldId="2147478561"/>
            <ac:spMk id="904" creationId="{ECC794E3-2BB1-032B-73D1-54FBC57D510D}"/>
          </ac:spMkLst>
        </pc:spChg>
        <pc:spChg chg="add del mod">
          <ac:chgData name="Steiner Andreas 6206 ED" userId="e6377c33-a923-4f14-8587-531c474c7b48" providerId="ADAL" clId="{6ECD27E6-B224-41CD-B4E0-E297462320DD}" dt="2023-11-24T11:39:21.842" v="139033"/>
          <ac:spMkLst>
            <pc:docMk/>
            <pc:sldMk cId="4183350934" sldId="2147478561"/>
            <ac:spMk id="905" creationId="{A160F773-A3D9-65FD-1243-11B614B29A68}"/>
          </ac:spMkLst>
        </pc:spChg>
        <pc:spChg chg="add del mod">
          <ac:chgData name="Steiner Andreas 6206 ED" userId="e6377c33-a923-4f14-8587-531c474c7b48" providerId="ADAL" clId="{6ECD27E6-B224-41CD-B4E0-E297462320DD}" dt="2023-11-24T11:39:24.445" v="139188"/>
          <ac:spMkLst>
            <pc:docMk/>
            <pc:sldMk cId="4183350934" sldId="2147478561"/>
            <ac:spMk id="906" creationId="{A832243E-C2BF-C1C3-4123-50251F137D84}"/>
          </ac:spMkLst>
        </pc:spChg>
        <pc:spChg chg="add del mod">
          <ac:chgData name="Steiner Andreas 6206 ED" userId="e6377c33-a923-4f14-8587-531c474c7b48" providerId="ADAL" clId="{6ECD27E6-B224-41CD-B4E0-E297462320DD}" dt="2023-11-24T11:39:27.158" v="139343"/>
          <ac:spMkLst>
            <pc:docMk/>
            <pc:sldMk cId="4183350934" sldId="2147478561"/>
            <ac:spMk id="907" creationId="{13FE75DD-ED12-180B-8144-9D33DDAAF3E8}"/>
          </ac:spMkLst>
        </pc:spChg>
        <pc:spChg chg="add del mod">
          <ac:chgData name="Steiner Andreas 6206 ED" userId="e6377c33-a923-4f14-8587-531c474c7b48" providerId="ADAL" clId="{6ECD27E6-B224-41CD-B4E0-E297462320DD}" dt="2023-11-24T11:39:29.802" v="139498"/>
          <ac:spMkLst>
            <pc:docMk/>
            <pc:sldMk cId="4183350934" sldId="2147478561"/>
            <ac:spMk id="908" creationId="{D158D730-9362-4A14-61E1-37677ABCCD31}"/>
          </ac:spMkLst>
        </pc:spChg>
        <pc:spChg chg="add del mod">
          <ac:chgData name="Steiner Andreas 6206 ED" userId="e6377c33-a923-4f14-8587-531c474c7b48" providerId="ADAL" clId="{6ECD27E6-B224-41CD-B4E0-E297462320DD}" dt="2023-11-24T11:39:32.904" v="139653"/>
          <ac:spMkLst>
            <pc:docMk/>
            <pc:sldMk cId="4183350934" sldId="2147478561"/>
            <ac:spMk id="909" creationId="{921D28A6-CAA0-A0F0-7644-33FBBDD042A7}"/>
          </ac:spMkLst>
        </pc:spChg>
        <pc:spChg chg="add del mod">
          <ac:chgData name="Steiner Andreas 6206 ED" userId="e6377c33-a923-4f14-8587-531c474c7b48" providerId="ADAL" clId="{6ECD27E6-B224-41CD-B4E0-E297462320DD}" dt="2023-11-24T11:39:35.534" v="139808"/>
          <ac:spMkLst>
            <pc:docMk/>
            <pc:sldMk cId="4183350934" sldId="2147478561"/>
            <ac:spMk id="910" creationId="{E10EEE5E-7FA9-BB86-6ED1-A69775B00724}"/>
          </ac:spMkLst>
        </pc:spChg>
        <pc:spChg chg="add del mod">
          <ac:chgData name="Steiner Andreas 6206 ED" userId="e6377c33-a923-4f14-8587-531c474c7b48" providerId="ADAL" clId="{6ECD27E6-B224-41CD-B4E0-E297462320DD}" dt="2023-11-24T11:39:38.501" v="139963"/>
          <ac:spMkLst>
            <pc:docMk/>
            <pc:sldMk cId="4183350934" sldId="2147478561"/>
            <ac:spMk id="911" creationId="{AA92BFF9-07EB-1806-82E6-CC8F73CE4F87}"/>
          </ac:spMkLst>
        </pc:spChg>
        <pc:spChg chg="add del mod">
          <ac:chgData name="Steiner Andreas 6206 ED" userId="e6377c33-a923-4f14-8587-531c474c7b48" providerId="ADAL" clId="{6ECD27E6-B224-41CD-B4E0-E297462320DD}" dt="2023-11-24T11:39:41.138" v="140118"/>
          <ac:spMkLst>
            <pc:docMk/>
            <pc:sldMk cId="4183350934" sldId="2147478561"/>
            <ac:spMk id="912" creationId="{CBC79E65-D116-51A9-F20B-95E6F34F4EAE}"/>
          </ac:spMkLst>
        </pc:spChg>
        <pc:spChg chg="add del mod">
          <ac:chgData name="Steiner Andreas 6206 ED" userId="e6377c33-a923-4f14-8587-531c474c7b48" providerId="ADAL" clId="{6ECD27E6-B224-41CD-B4E0-E297462320DD}" dt="2023-11-24T11:39:43.808" v="140273"/>
          <ac:spMkLst>
            <pc:docMk/>
            <pc:sldMk cId="4183350934" sldId="2147478561"/>
            <ac:spMk id="913" creationId="{D0FB923C-051A-5203-50C0-E68AEF8D4E8E}"/>
          </ac:spMkLst>
        </pc:spChg>
        <pc:spChg chg="add del mod">
          <ac:chgData name="Steiner Andreas 6206 ED" userId="e6377c33-a923-4f14-8587-531c474c7b48" providerId="ADAL" clId="{6ECD27E6-B224-41CD-B4E0-E297462320DD}" dt="2023-11-24T11:39:46.321" v="140428"/>
          <ac:spMkLst>
            <pc:docMk/>
            <pc:sldMk cId="4183350934" sldId="2147478561"/>
            <ac:spMk id="914" creationId="{7BC9A11A-39ED-2191-F0CD-F2D54986FDB3}"/>
          </ac:spMkLst>
        </pc:spChg>
        <pc:spChg chg="add del mod">
          <ac:chgData name="Steiner Andreas 6206 ED" userId="e6377c33-a923-4f14-8587-531c474c7b48" providerId="ADAL" clId="{6ECD27E6-B224-41CD-B4E0-E297462320DD}" dt="2023-11-24T11:39:48.767" v="140583"/>
          <ac:spMkLst>
            <pc:docMk/>
            <pc:sldMk cId="4183350934" sldId="2147478561"/>
            <ac:spMk id="915" creationId="{614EAE47-CF96-F64C-CE0E-F4C05EAF2D1E}"/>
          </ac:spMkLst>
        </pc:spChg>
        <pc:spChg chg="add del mod">
          <ac:chgData name="Steiner Andreas 6206 ED" userId="e6377c33-a923-4f14-8587-531c474c7b48" providerId="ADAL" clId="{6ECD27E6-B224-41CD-B4E0-E297462320DD}" dt="2023-11-24T11:39:51.738" v="140738"/>
          <ac:spMkLst>
            <pc:docMk/>
            <pc:sldMk cId="4183350934" sldId="2147478561"/>
            <ac:spMk id="916" creationId="{9455F407-7F40-14F6-F13C-034A9FF13509}"/>
          </ac:spMkLst>
        </pc:spChg>
        <pc:spChg chg="add del mod">
          <ac:chgData name="Steiner Andreas 6206 ED" userId="e6377c33-a923-4f14-8587-531c474c7b48" providerId="ADAL" clId="{6ECD27E6-B224-41CD-B4E0-E297462320DD}" dt="2023-11-24T11:39:54.668" v="140893"/>
          <ac:spMkLst>
            <pc:docMk/>
            <pc:sldMk cId="4183350934" sldId="2147478561"/>
            <ac:spMk id="917" creationId="{09BCD243-FDF9-D1D3-6CE1-05DCC2FE015F}"/>
          </ac:spMkLst>
        </pc:spChg>
        <pc:spChg chg="add del mod">
          <ac:chgData name="Steiner Andreas 6206 ED" userId="e6377c33-a923-4f14-8587-531c474c7b48" providerId="ADAL" clId="{6ECD27E6-B224-41CD-B4E0-E297462320DD}" dt="2023-11-24T11:39:57.139" v="141048"/>
          <ac:spMkLst>
            <pc:docMk/>
            <pc:sldMk cId="4183350934" sldId="2147478561"/>
            <ac:spMk id="918" creationId="{14ECE421-43E5-F14B-0A40-DA1E9AE75F6C}"/>
          </ac:spMkLst>
        </pc:spChg>
        <pc:spChg chg="add del mod">
          <ac:chgData name="Steiner Andreas 6206 ED" userId="e6377c33-a923-4f14-8587-531c474c7b48" providerId="ADAL" clId="{6ECD27E6-B224-41CD-B4E0-E297462320DD}" dt="2023-11-24T11:39:59.506" v="141203"/>
          <ac:spMkLst>
            <pc:docMk/>
            <pc:sldMk cId="4183350934" sldId="2147478561"/>
            <ac:spMk id="919" creationId="{DB40BDB0-2ABB-6607-8678-236502985549}"/>
          </ac:spMkLst>
        </pc:spChg>
        <pc:spChg chg="add del mod">
          <ac:chgData name="Steiner Andreas 6206 ED" userId="e6377c33-a923-4f14-8587-531c474c7b48" providerId="ADAL" clId="{6ECD27E6-B224-41CD-B4E0-E297462320DD}" dt="2023-11-24T11:40:02.319" v="141358"/>
          <ac:spMkLst>
            <pc:docMk/>
            <pc:sldMk cId="4183350934" sldId="2147478561"/>
            <ac:spMk id="920" creationId="{1624BBEE-9AF4-94EB-832A-4A5365518A2C}"/>
          </ac:spMkLst>
        </pc:spChg>
        <pc:spChg chg="add del mod">
          <ac:chgData name="Steiner Andreas 6206 ED" userId="e6377c33-a923-4f14-8587-531c474c7b48" providerId="ADAL" clId="{6ECD27E6-B224-41CD-B4E0-E297462320DD}" dt="2023-11-24T11:40:05.116" v="141513"/>
          <ac:spMkLst>
            <pc:docMk/>
            <pc:sldMk cId="4183350934" sldId="2147478561"/>
            <ac:spMk id="921" creationId="{15E5FD63-7B43-E672-F8E9-03EEB1CDEDC0}"/>
          </ac:spMkLst>
        </pc:spChg>
        <pc:spChg chg="add del mod">
          <ac:chgData name="Steiner Andreas 6206 ED" userId="e6377c33-a923-4f14-8587-531c474c7b48" providerId="ADAL" clId="{6ECD27E6-B224-41CD-B4E0-E297462320DD}" dt="2023-11-24T11:40:07.861" v="141668"/>
          <ac:spMkLst>
            <pc:docMk/>
            <pc:sldMk cId="4183350934" sldId="2147478561"/>
            <ac:spMk id="922" creationId="{DB5A810C-8A59-ED71-8161-F2B7BB99D515}"/>
          </ac:spMkLst>
        </pc:spChg>
        <pc:spChg chg="add del mod">
          <ac:chgData name="Steiner Andreas 6206 ED" userId="e6377c33-a923-4f14-8587-531c474c7b48" providerId="ADAL" clId="{6ECD27E6-B224-41CD-B4E0-E297462320DD}" dt="2023-11-24T11:40:10.304" v="141823"/>
          <ac:spMkLst>
            <pc:docMk/>
            <pc:sldMk cId="4183350934" sldId="2147478561"/>
            <ac:spMk id="923" creationId="{C780D0D9-FD63-96D7-72BE-B60742F6B621}"/>
          </ac:spMkLst>
        </pc:spChg>
        <pc:spChg chg="add del mod">
          <ac:chgData name="Steiner Andreas 6206 ED" userId="e6377c33-a923-4f14-8587-531c474c7b48" providerId="ADAL" clId="{6ECD27E6-B224-41CD-B4E0-E297462320DD}" dt="2023-11-24T11:40:12.775" v="141978"/>
          <ac:spMkLst>
            <pc:docMk/>
            <pc:sldMk cId="4183350934" sldId="2147478561"/>
            <ac:spMk id="924" creationId="{22956B53-3E96-3B8A-335D-96A56B760C82}"/>
          </ac:spMkLst>
        </pc:spChg>
        <pc:spChg chg="add del mod">
          <ac:chgData name="Steiner Andreas 6206 ED" userId="e6377c33-a923-4f14-8587-531c474c7b48" providerId="ADAL" clId="{6ECD27E6-B224-41CD-B4E0-E297462320DD}" dt="2023-11-24T11:40:16.728" v="142133"/>
          <ac:spMkLst>
            <pc:docMk/>
            <pc:sldMk cId="4183350934" sldId="2147478561"/>
            <ac:spMk id="925" creationId="{BD82BB03-346E-FA42-8A02-D9DE10377195}"/>
          </ac:spMkLst>
        </pc:spChg>
        <pc:spChg chg="add del mod">
          <ac:chgData name="Steiner Andreas 6206 ED" userId="e6377c33-a923-4f14-8587-531c474c7b48" providerId="ADAL" clId="{6ECD27E6-B224-41CD-B4E0-E297462320DD}" dt="2023-11-24T11:40:19.988" v="142288"/>
          <ac:spMkLst>
            <pc:docMk/>
            <pc:sldMk cId="4183350934" sldId="2147478561"/>
            <ac:spMk id="926" creationId="{03402F09-3156-AB20-9004-7DAC1FD9E405}"/>
          </ac:spMkLst>
        </pc:spChg>
        <pc:spChg chg="add del mod">
          <ac:chgData name="Steiner Andreas 6206 ED" userId="e6377c33-a923-4f14-8587-531c474c7b48" providerId="ADAL" clId="{6ECD27E6-B224-41CD-B4E0-E297462320DD}" dt="2023-11-24T11:40:22.740" v="142443"/>
          <ac:spMkLst>
            <pc:docMk/>
            <pc:sldMk cId="4183350934" sldId="2147478561"/>
            <ac:spMk id="927" creationId="{27B04604-1B78-E9BB-459E-33664682FF79}"/>
          </ac:spMkLst>
        </pc:spChg>
        <pc:spChg chg="add del mod">
          <ac:chgData name="Steiner Andreas 6206 ED" userId="e6377c33-a923-4f14-8587-531c474c7b48" providerId="ADAL" clId="{6ECD27E6-B224-41CD-B4E0-E297462320DD}" dt="2023-11-24T11:40:25.445" v="142598"/>
          <ac:spMkLst>
            <pc:docMk/>
            <pc:sldMk cId="4183350934" sldId="2147478561"/>
            <ac:spMk id="928" creationId="{17BD7CBA-ED6F-970E-80CC-3A5B1135D6D4}"/>
          </ac:spMkLst>
        </pc:spChg>
        <pc:spChg chg="add del mod">
          <ac:chgData name="Steiner Andreas 6206 ED" userId="e6377c33-a923-4f14-8587-531c474c7b48" providerId="ADAL" clId="{6ECD27E6-B224-41CD-B4E0-E297462320DD}" dt="2023-11-24T11:40:28.544" v="142753"/>
          <ac:spMkLst>
            <pc:docMk/>
            <pc:sldMk cId="4183350934" sldId="2147478561"/>
            <ac:spMk id="929" creationId="{821B3A2A-DC8C-457B-A1EF-05BE205C1D1E}"/>
          </ac:spMkLst>
        </pc:spChg>
        <pc:spChg chg="add del mod">
          <ac:chgData name="Steiner Andreas 6206 ED" userId="e6377c33-a923-4f14-8587-531c474c7b48" providerId="ADAL" clId="{6ECD27E6-B224-41CD-B4E0-E297462320DD}" dt="2023-11-24T11:40:31.181" v="142908"/>
          <ac:spMkLst>
            <pc:docMk/>
            <pc:sldMk cId="4183350934" sldId="2147478561"/>
            <ac:spMk id="930" creationId="{3D8E0578-0A75-0043-1C3B-58E9D3140127}"/>
          </ac:spMkLst>
        </pc:spChg>
        <pc:spChg chg="add del mod">
          <ac:chgData name="Steiner Andreas 6206 ED" userId="e6377c33-a923-4f14-8587-531c474c7b48" providerId="ADAL" clId="{6ECD27E6-B224-41CD-B4E0-E297462320DD}" dt="2023-11-24T11:40:33.726" v="143063"/>
          <ac:spMkLst>
            <pc:docMk/>
            <pc:sldMk cId="4183350934" sldId="2147478561"/>
            <ac:spMk id="931" creationId="{6742BBAF-391B-74E5-5752-6A4E1126A207}"/>
          </ac:spMkLst>
        </pc:spChg>
        <pc:spChg chg="add del mod">
          <ac:chgData name="Steiner Andreas 6206 ED" userId="e6377c33-a923-4f14-8587-531c474c7b48" providerId="ADAL" clId="{6ECD27E6-B224-41CD-B4E0-E297462320DD}" dt="2023-11-24T11:40:36.565" v="143218"/>
          <ac:spMkLst>
            <pc:docMk/>
            <pc:sldMk cId="4183350934" sldId="2147478561"/>
            <ac:spMk id="932" creationId="{26D8D1B2-0463-C436-CE06-E0E62EE83411}"/>
          </ac:spMkLst>
        </pc:spChg>
        <pc:spChg chg="add del mod">
          <ac:chgData name="Steiner Andreas 6206 ED" userId="e6377c33-a923-4f14-8587-531c474c7b48" providerId="ADAL" clId="{6ECD27E6-B224-41CD-B4E0-E297462320DD}" dt="2023-11-24T11:40:39.591" v="143373"/>
          <ac:spMkLst>
            <pc:docMk/>
            <pc:sldMk cId="4183350934" sldId="2147478561"/>
            <ac:spMk id="933" creationId="{31D0DAAC-0D71-0667-3BE5-25A28594CEA0}"/>
          </ac:spMkLst>
        </pc:spChg>
        <pc:spChg chg="add del mod">
          <ac:chgData name="Steiner Andreas 6206 ED" userId="e6377c33-a923-4f14-8587-531c474c7b48" providerId="ADAL" clId="{6ECD27E6-B224-41CD-B4E0-E297462320DD}" dt="2023-11-24T11:40:42.455" v="143528"/>
          <ac:spMkLst>
            <pc:docMk/>
            <pc:sldMk cId="4183350934" sldId="2147478561"/>
            <ac:spMk id="934" creationId="{1ABACDEC-2806-FB1E-B7A6-E55516904613}"/>
          </ac:spMkLst>
        </pc:spChg>
        <pc:spChg chg="add del mod">
          <ac:chgData name="Steiner Andreas 6206 ED" userId="e6377c33-a923-4f14-8587-531c474c7b48" providerId="ADAL" clId="{6ECD27E6-B224-41CD-B4E0-E297462320DD}" dt="2023-11-24T11:40:45.109" v="143683"/>
          <ac:spMkLst>
            <pc:docMk/>
            <pc:sldMk cId="4183350934" sldId="2147478561"/>
            <ac:spMk id="935" creationId="{92E9C1BB-B0DE-A32D-3F06-6B81D34F49BF}"/>
          </ac:spMkLst>
        </pc:spChg>
        <pc:spChg chg="add del mod">
          <ac:chgData name="Steiner Andreas 6206 ED" userId="e6377c33-a923-4f14-8587-531c474c7b48" providerId="ADAL" clId="{6ECD27E6-B224-41CD-B4E0-E297462320DD}" dt="2023-11-24T11:40:47.909" v="143838"/>
          <ac:spMkLst>
            <pc:docMk/>
            <pc:sldMk cId="4183350934" sldId="2147478561"/>
            <ac:spMk id="936" creationId="{C29DB78B-D8BC-A00C-22E1-6BC658D09260}"/>
          </ac:spMkLst>
        </pc:spChg>
        <pc:spChg chg="add del mod">
          <ac:chgData name="Steiner Andreas 6206 ED" userId="e6377c33-a923-4f14-8587-531c474c7b48" providerId="ADAL" clId="{6ECD27E6-B224-41CD-B4E0-E297462320DD}" dt="2023-11-24T11:40:50.686" v="143993"/>
          <ac:spMkLst>
            <pc:docMk/>
            <pc:sldMk cId="4183350934" sldId="2147478561"/>
            <ac:spMk id="937" creationId="{947D5A39-43BE-1052-2BB0-A071D476A7AC}"/>
          </ac:spMkLst>
        </pc:spChg>
        <pc:spChg chg="add del mod">
          <ac:chgData name="Steiner Andreas 6206 ED" userId="e6377c33-a923-4f14-8587-531c474c7b48" providerId="ADAL" clId="{6ECD27E6-B224-41CD-B4E0-E297462320DD}" dt="2023-11-24T11:40:53.561" v="144148"/>
          <ac:spMkLst>
            <pc:docMk/>
            <pc:sldMk cId="4183350934" sldId="2147478561"/>
            <ac:spMk id="938" creationId="{AB8744D9-2B7C-225F-862F-8196EBC90612}"/>
          </ac:spMkLst>
        </pc:spChg>
        <pc:spChg chg="add del mod">
          <ac:chgData name="Steiner Andreas 6206 ED" userId="e6377c33-a923-4f14-8587-531c474c7b48" providerId="ADAL" clId="{6ECD27E6-B224-41CD-B4E0-E297462320DD}" dt="2023-11-24T11:40:56.283" v="144303"/>
          <ac:spMkLst>
            <pc:docMk/>
            <pc:sldMk cId="4183350934" sldId="2147478561"/>
            <ac:spMk id="939" creationId="{B0C1105B-FFE6-AA34-6836-D5B47ED91AF3}"/>
          </ac:spMkLst>
        </pc:spChg>
        <pc:spChg chg="add del mod">
          <ac:chgData name="Steiner Andreas 6206 ED" userId="e6377c33-a923-4f14-8587-531c474c7b48" providerId="ADAL" clId="{6ECD27E6-B224-41CD-B4E0-E297462320DD}" dt="2023-11-24T11:40:58.805" v="144458"/>
          <ac:spMkLst>
            <pc:docMk/>
            <pc:sldMk cId="4183350934" sldId="2147478561"/>
            <ac:spMk id="940" creationId="{D43E2B64-F3A9-509E-1F5E-04402A513F07}"/>
          </ac:spMkLst>
        </pc:spChg>
        <pc:spChg chg="add del mod">
          <ac:chgData name="Steiner Andreas 6206 ED" userId="e6377c33-a923-4f14-8587-531c474c7b48" providerId="ADAL" clId="{6ECD27E6-B224-41CD-B4E0-E297462320DD}" dt="2023-11-24T11:41:01.402" v="144613"/>
          <ac:spMkLst>
            <pc:docMk/>
            <pc:sldMk cId="4183350934" sldId="2147478561"/>
            <ac:spMk id="941" creationId="{EA0DA37E-FAA0-BD40-88B5-4BF1291DDC71}"/>
          </ac:spMkLst>
        </pc:spChg>
        <pc:spChg chg="add del mod">
          <ac:chgData name="Steiner Andreas 6206 ED" userId="e6377c33-a923-4f14-8587-531c474c7b48" providerId="ADAL" clId="{6ECD27E6-B224-41CD-B4E0-E297462320DD}" dt="2023-11-24T11:41:04.110" v="144768"/>
          <ac:spMkLst>
            <pc:docMk/>
            <pc:sldMk cId="4183350934" sldId="2147478561"/>
            <ac:spMk id="942" creationId="{CA9F8E55-B39C-6D5B-6D0B-0594A70E252C}"/>
          </ac:spMkLst>
        </pc:spChg>
        <pc:spChg chg="add del mod">
          <ac:chgData name="Steiner Andreas 6206 ED" userId="e6377c33-a923-4f14-8587-531c474c7b48" providerId="ADAL" clId="{6ECD27E6-B224-41CD-B4E0-E297462320DD}" dt="2023-11-24T11:41:07.187" v="144923"/>
          <ac:spMkLst>
            <pc:docMk/>
            <pc:sldMk cId="4183350934" sldId="2147478561"/>
            <ac:spMk id="943" creationId="{94CE36B4-ED1D-DCEC-A8F7-8AA353E5D35C}"/>
          </ac:spMkLst>
        </pc:spChg>
        <pc:spChg chg="add del mod">
          <ac:chgData name="Steiner Andreas 6206 ED" userId="e6377c33-a923-4f14-8587-531c474c7b48" providerId="ADAL" clId="{6ECD27E6-B224-41CD-B4E0-E297462320DD}" dt="2023-11-24T11:41:10.271" v="145078"/>
          <ac:spMkLst>
            <pc:docMk/>
            <pc:sldMk cId="4183350934" sldId="2147478561"/>
            <ac:spMk id="944" creationId="{9346A02B-97CD-41CD-3D33-63624D734634}"/>
          </ac:spMkLst>
        </pc:spChg>
        <pc:spChg chg="add del mod">
          <ac:chgData name="Steiner Andreas 6206 ED" userId="e6377c33-a923-4f14-8587-531c474c7b48" providerId="ADAL" clId="{6ECD27E6-B224-41CD-B4E0-E297462320DD}" dt="2023-11-24T11:41:13.196" v="145233"/>
          <ac:spMkLst>
            <pc:docMk/>
            <pc:sldMk cId="4183350934" sldId="2147478561"/>
            <ac:spMk id="945" creationId="{6128C682-2B15-79DE-3CF0-33B7929E2253}"/>
          </ac:spMkLst>
        </pc:spChg>
        <pc:spChg chg="add del mod">
          <ac:chgData name="Steiner Andreas 6206 ED" userId="e6377c33-a923-4f14-8587-531c474c7b48" providerId="ADAL" clId="{6ECD27E6-B224-41CD-B4E0-E297462320DD}" dt="2023-11-24T11:41:16.226" v="145388"/>
          <ac:spMkLst>
            <pc:docMk/>
            <pc:sldMk cId="4183350934" sldId="2147478561"/>
            <ac:spMk id="946" creationId="{8CF3BD5F-5124-19D3-0E8F-35F1B7A68196}"/>
          </ac:spMkLst>
        </pc:spChg>
        <pc:spChg chg="add del mod">
          <ac:chgData name="Steiner Andreas 6206 ED" userId="e6377c33-a923-4f14-8587-531c474c7b48" providerId="ADAL" clId="{6ECD27E6-B224-41CD-B4E0-E297462320DD}" dt="2023-11-24T11:41:19.456" v="145543"/>
          <ac:spMkLst>
            <pc:docMk/>
            <pc:sldMk cId="4183350934" sldId="2147478561"/>
            <ac:spMk id="947" creationId="{A5391E2D-D702-F281-B9D2-45F52191C40A}"/>
          </ac:spMkLst>
        </pc:spChg>
        <pc:spChg chg="add del mod">
          <ac:chgData name="Steiner Andreas 6206 ED" userId="e6377c33-a923-4f14-8587-531c474c7b48" providerId="ADAL" clId="{6ECD27E6-B224-41CD-B4E0-E297462320DD}" dt="2023-11-24T11:41:21.983" v="145698"/>
          <ac:spMkLst>
            <pc:docMk/>
            <pc:sldMk cId="4183350934" sldId="2147478561"/>
            <ac:spMk id="948" creationId="{53E0A59C-6D20-1495-D8D8-2001E1199287}"/>
          </ac:spMkLst>
        </pc:spChg>
        <pc:spChg chg="add del mod">
          <ac:chgData name="Steiner Andreas 6206 ED" userId="e6377c33-a923-4f14-8587-531c474c7b48" providerId="ADAL" clId="{6ECD27E6-B224-41CD-B4E0-E297462320DD}" dt="2023-11-24T11:41:25.839" v="145853"/>
          <ac:spMkLst>
            <pc:docMk/>
            <pc:sldMk cId="4183350934" sldId="2147478561"/>
            <ac:spMk id="949" creationId="{81AB0D1C-3A53-3BEB-F61F-9140CD0A3B83}"/>
          </ac:spMkLst>
        </pc:spChg>
        <pc:spChg chg="add del mod">
          <ac:chgData name="Steiner Andreas 6206 ED" userId="e6377c33-a923-4f14-8587-531c474c7b48" providerId="ADAL" clId="{6ECD27E6-B224-41CD-B4E0-E297462320DD}" dt="2023-11-24T11:41:28.929" v="146008"/>
          <ac:spMkLst>
            <pc:docMk/>
            <pc:sldMk cId="4183350934" sldId="2147478561"/>
            <ac:spMk id="950" creationId="{A2E978AF-95C8-85C7-41A4-A866976ECACD}"/>
          </ac:spMkLst>
        </pc:spChg>
        <pc:spChg chg="add del mod">
          <ac:chgData name="Steiner Andreas 6206 ED" userId="e6377c33-a923-4f14-8587-531c474c7b48" providerId="ADAL" clId="{6ECD27E6-B224-41CD-B4E0-E297462320DD}" dt="2023-11-24T11:41:31.503" v="146163"/>
          <ac:spMkLst>
            <pc:docMk/>
            <pc:sldMk cId="4183350934" sldId="2147478561"/>
            <ac:spMk id="951" creationId="{32CE416B-8ABD-E2F0-BDD7-7188695BFCED}"/>
          </ac:spMkLst>
        </pc:spChg>
        <pc:spChg chg="add del mod">
          <ac:chgData name="Steiner Andreas 6206 ED" userId="e6377c33-a923-4f14-8587-531c474c7b48" providerId="ADAL" clId="{6ECD27E6-B224-41CD-B4E0-E297462320DD}" dt="2023-11-24T11:41:33.643" v="146318"/>
          <ac:spMkLst>
            <pc:docMk/>
            <pc:sldMk cId="4183350934" sldId="2147478561"/>
            <ac:spMk id="952" creationId="{40D8AD80-EF23-E303-D1C3-E5E78EFEC1B0}"/>
          </ac:spMkLst>
        </pc:spChg>
        <pc:spChg chg="add del mod">
          <ac:chgData name="Steiner Andreas 6206 ED" userId="e6377c33-a923-4f14-8587-531c474c7b48" providerId="ADAL" clId="{6ECD27E6-B224-41CD-B4E0-E297462320DD}" dt="2023-11-24T11:41:35.774" v="146473"/>
          <ac:spMkLst>
            <pc:docMk/>
            <pc:sldMk cId="4183350934" sldId="2147478561"/>
            <ac:spMk id="953" creationId="{28B16FCB-FBD7-2C05-FC4A-FDCE4C08F40D}"/>
          </ac:spMkLst>
        </pc:spChg>
        <pc:spChg chg="add del mod">
          <ac:chgData name="Steiner Andreas 6206 ED" userId="e6377c33-a923-4f14-8587-531c474c7b48" providerId="ADAL" clId="{6ECD27E6-B224-41CD-B4E0-E297462320DD}" dt="2023-11-24T11:41:37.983" v="146628"/>
          <ac:spMkLst>
            <pc:docMk/>
            <pc:sldMk cId="4183350934" sldId="2147478561"/>
            <ac:spMk id="954" creationId="{D5604FE6-9C56-F350-C293-233EB1E27C70}"/>
          </ac:spMkLst>
        </pc:spChg>
        <pc:spChg chg="add del mod">
          <ac:chgData name="Steiner Andreas 6206 ED" userId="e6377c33-a923-4f14-8587-531c474c7b48" providerId="ADAL" clId="{6ECD27E6-B224-41CD-B4E0-E297462320DD}" dt="2023-11-24T11:41:40.800" v="146783"/>
          <ac:spMkLst>
            <pc:docMk/>
            <pc:sldMk cId="4183350934" sldId="2147478561"/>
            <ac:spMk id="955" creationId="{BB859178-28E8-0F63-DA62-0E29A7E2DB62}"/>
          </ac:spMkLst>
        </pc:spChg>
        <pc:spChg chg="add del mod">
          <ac:chgData name="Steiner Andreas 6206 ED" userId="e6377c33-a923-4f14-8587-531c474c7b48" providerId="ADAL" clId="{6ECD27E6-B224-41CD-B4E0-E297462320DD}" dt="2023-11-24T11:41:42.894" v="146938"/>
          <ac:spMkLst>
            <pc:docMk/>
            <pc:sldMk cId="4183350934" sldId="2147478561"/>
            <ac:spMk id="956" creationId="{8CDF1A4C-B42C-8D3F-F0F5-3D2E4A56CDA1}"/>
          </ac:spMkLst>
        </pc:spChg>
        <pc:spChg chg="add del mod">
          <ac:chgData name="Steiner Andreas 6206 ED" userId="e6377c33-a923-4f14-8587-531c474c7b48" providerId="ADAL" clId="{6ECD27E6-B224-41CD-B4E0-E297462320DD}" dt="2023-11-24T11:41:44.966" v="147093"/>
          <ac:spMkLst>
            <pc:docMk/>
            <pc:sldMk cId="4183350934" sldId="2147478561"/>
            <ac:spMk id="957" creationId="{58967030-AF47-C396-1481-F96CEF438DC1}"/>
          </ac:spMkLst>
        </pc:spChg>
        <pc:spChg chg="add del mod">
          <ac:chgData name="Steiner Andreas 6206 ED" userId="e6377c33-a923-4f14-8587-531c474c7b48" providerId="ADAL" clId="{6ECD27E6-B224-41CD-B4E0-E297462320DD}" dt="2023-11-24T11:41:47.498" v="147248"/>
          <ac:spMkLst>
            <pc:docMk/>
            <pc:sldMk cId="4183350934" sldId="2147478561"/>
            <ac:spMk id="958" creationId="{2936A9B8-3967-8F74-1B5B-391A3D9996F3}"/>
          </ac:spMkLst>
        </pc:spChg>
        <pc:spChg chg="add del mod">
          <ac:chgData name="Steiner Andreas 6206 ED" userId="e6377c33-a923-4f14-8587-531c474c7b48" providerId="ADAL" clId="{6ECD27E6-B224-41CD-B4E0-E297462320DD}" dt="2023-11-24T11:41:49.623" v="147403"/>
          <ac:spMkLst>
            <pc:docMk/>
            <pc:sldMk cId="4183350934" sldId="2147478561"/>
            <ac:spMk id="959" creationId="{EEBD962D-8E25-8865-9C21-CBCE291AF97D}"/>
          </ac:spMkLst>
        </pc:spChg>
        <pc:spChg chg="add del mod">
          <ac:chgData name="Steiner Andreas 6206 ED" userId="e6377c33-a923-4f14-8587-531c474c7b48" providerId="ADAL" clId="{6ECD27E6-B224-41CD-B4E0-E297462320DD}" dt="2023-11-24T11:41:51.982" v="147558"/>
          <ac:spMkLst>
            <pc:docMk/>
            <pc:sldMk cId="4183350934" sldId="2147478561"/>
            <ac:spMk id="960" creationId="{B1D37FBC-ED4A-1289-E462-1D247A7C518E}"/>
          </ac:spMkLst>
        </pc:spChg>
        <pc:spChg chg="add del mod">
          <ac:chgData name="Steiner Andreas 6206 ED" userId="e6377c33-a923-4f14-8587-531c474c7b48" providerId="ADAL" clId="{6ECD27E6-B224-41CD-B4E0-E297462320DD}" dt="2023-11-24T11:41:54.349" v="147713"/>
          <ac:spMkLst>
            <pc:docMk/>
            <pc:sldMk cId="4183350934" sldId="2147478561"/>
            <ac:spMk id="961" creationId="{4F4F62DA-8275-E147-7491-76977A109D95}"/>
          </ac:spMkLst>
        </pc:spChg>
        <pc:spChg chg="add del mod">
          <ac:chgData name="Steiner Andreas 6206 ED" userId="e6377c33-a923-4f14-8587-531c474c7b48" providerId="ADAL" clId="{6ECD27E6-B224-41CD-B4E0-E297462320DD}" dt="2023-11-24T11:41:57.592" v="147868"/>
          <ac:spMkLst>
            <pc:docMk/>
            <pc:sldMk cId="4183350934" sldId="2147478561"/>
            <ac:spMk id="962" creationId="{B19A4516-59A8-14EB-ADB6-C1E09E5F03C7}"/>
          </ac:spMkLst>
        </pc:spChg>
        <pc:spChg chg="add del mod">
          <ac:chgData name="Steiner Andreas 6206 ED" userId="e6377c33-a923-4f14-8587-531c474c7b48" providerId="ADAL" clId="{6ECD27E6-B224-41CD-B4E0-E297462320DD}" dt="2023-11-24T11:42:00.995" v="148023"/>
          <ac:spMkLst>
            <pc:docMk/>
            <pc:sldMk cId="4183350934" sldId="2147478561"/>
            <ac:spMk id="963" creationId="{34D53D96-A314-40D8-1216-A4AF1B09322F}"/>
          </ac:spMkLst>
        </pc:spChg>
        <pc:spChg chg="add del mod">
          <ac:chgData name="Steiner Andreas 6206 ED" userId="e6377c33-a923-4f14-8587-531c474c7b48" providerId="ADAL" clId="{6ECD27E6-B224-41CD-B4E0-E297462320DD}" dt="2023-11-24T11:42:04.181" v="148178"/>
          <ac:spMkLst>
            <pc:docMk/>
            <pc:sldMk cId="4183350934" sldId="2147478561"/>
            <ac:spMk id="964" creationId="{6129024E-01EF-03A9-D65B-65FDDF58AC19}"/>
          </ac:spMkLst>
        </pc:spChg>
        <pc:spChg chg="add del mod">
          <ac:chgData name="Steiner Andreas 6206 ED" userId="e6377c33-a923-4f14-8587-531c474c7b48" providerId="ADAL" clId="{6ECD27E6-B224-41CD-B4E0-E297462320DD}" dt="2023-11-24T11:42:06.678" v="148333"/>
          <ac:spMkLst>
            <pc:docMk/>
            <pc:sldMk cId="4183350934" sldId="2147478561"/>
            <ac:spMk id="965" creationId="{E82A64AF-DB3A-50F2-FBD4-CE567D2AB8D3}"/>
          </ac:spMkLst>
        </pc:spChg>
        <pc:spChg chg="add del mod">
          <ac:chgData name="Steiner Andreas 6206 ED" userId="e6377c33-a923-4f14-8587-531c474c7b48" providerId="ADAL" clId="{6ECD27E6-B224-41CD-B4E0-E297462320DD}" dt="2023-11-24T11:42:08.943" v="148488"/>
          <ac:spMkLst>
            <pc:docMk/>
            <pc:sldMk cId="4183350934" sldId="2147478561"/>
            <ac:spMk id="966" creationId="{F6C3A5A5-D108-8335-E1C5-FAC064AA4AE3}"/>
          </ac:spMkLst>
        </pc:spChg>
        <pc:spChg chg="add del mod">
          <ac:chgData name="Steiner Andreas 6206 ED" userId="e6377c33-a923-4f14-8587-531c474c7b48" providerId="ADAL" clId="{6ECD27E6-B224-41CD-B4E0-E297462320DD}" dt="2023-11-24T11:42:11.534" v="148643"/>
          <ac:spMkLst>
            <pc:docMk/>
            <pc:sldMk cId="4183350934" sldId="2147478561"/>
            <ac:spMk id="967" creationId="{2BCE8449-25FD-42F7-FCF3-E63168C4A10D}"/>
          </ac:spMkLst>
        </pc:spChg>
        <pc:spChg chg="add del mod">
          <ac:chgData name="Steiner Andreas 6206 ED" userId="e6377c33-a923-4f14-8587-531c474c7b48" providerId="ADAL" clId="{6ECD27E6-B224-41CD-B4E0-E297462320DD}" dt="2023-11-24T11:42:14.147" v="148798"/>
          <ac:spMkLst>
            <pc:docMk/>
            <pc:sldMk cId="4183350934" sldId="2147478561"/>
            <ac:spMk id="968" creationId="{FD7F6258-D4A3-B408-B56F-EEFEAA78F7F1}"/>
          </ac:spMkLst>
        </pc:spChg>
        <pc:spChg chg="add del mod">
          <ac:chgData name="Steiner Andreas 6206 ED" userId="e6377c33-a923-4f14-8587-531c474c7b48" providerId="ADAL" clId="{6ECD27E6-B224-41CD-B4E0-E297462320DD}" dt="2023-11-24T11:42:16.389" v="148953"/>
          <ac:spMkLst>
            <pc:docMk/>
            <pc:sldMk cId="4183350934" sldId="2147478561"/>
            <ac:spMk id="969" creationId="{DA649C0B-5202-062D-0683-E496356300F0}"/>
          </ac:spMkLst>
        </pc:spChg>
        <pc:spChg chg="add del mod">
          <ac:chgData name="Steiner Andreas 6206 ED" userId="e6377c33-a923-4f14-8587-531c474c7b48" providerId="ADAL" clId="{6ECD27E6-B224-41CD-B4E0-E297462320DD}" dt="2023-11-24T11:42:18.518" v="149108"/>
          <ac:spMkLst>
            <pc:docMk/>
            <pc:sldMk cId="4183350934" sldId="2147478561"/>
            <ac:spMk id="970" creationId="{3D8EF2FB-7316-AE6B-EEC5-8D136258CB4B}"/>
          </ac:spMkLst>
        </pc:spChg>
        <pc:spChg chg="add del mod">
          <ac:chgData name="Steiner Andreas 6206 ED" userId="e6377c33-a923-4f14-8587-531c474c7b48" providerId="ADAL" clId="{6ECD27E6-B224-41CD-B4E0-E297462320DD}" dt="2023-11-24T11:42:20.549" v="149263"/>
          <ac:spMkLst>
            <pc:docMk/>
            <pc:sldMk cId="4183350934" sldId="2147478561"/>
            <ac:spMk id="971" creationId="{308C48D2-27BE-7B31-18CD-09B284378F68}"/>
          </ac:spMkLst>
        </pc:spChg>
        <pc:spChg chg="add del mod">
          <ac:chgData name="Steiner Andreas 6206 ED" userId="e6377c33-a923-4f14-8587-531c474c7b48" providerId="ADAL" clId="{6ECD27E6-B224-41CD-B4E0-E297462320DD}" dt="2023-11-24T11:42:22.634" v="149418"/>
          <ac:spMkLst>
            <pc:docMk/>
            <pc:sldMk cId="4183350934" sldId="2147478561"/>
            <ac:spMk id="972" creationId="{A66B4D71-1331-7D17-6300-1184F5E519DC}"/>
          </ac:spMkLst>
        </pc:spChg>
        <pc:spChg chg="add del mod">
          <ac:chgData name="Steiner Andreas 6206 ED" userId="e6377c33-a923-4f14-8587-531c474c7b48" providerId="ADAL" clId="{6ECD27E6-B224-41CD-B4E0-E297462320DD}" dt="2023-11-24T11:42:24.560" v="149573"/>
          <ac:spMkLst>
            <pc:docMk/>
            <pc:sldMk cId="4183350934" sldId="2147478561"/>
            <ac:spMk id="973" creationId="{241560E9-4B11-A78B-D616-3A0516298A60}"/>
          </ac:spMkLst>
        </pc:spChg>
        <pc:spChg chg="add del mod">
          <ac:chgData name="Steiner Andreas 6206 ED" userId="e6377c33-a923-4f14-8587-531c474c7b48" providerId="ADAL" clId="{6ECD27E6-B224-41CD-B4E0-E297462320DD}" dt="2023-11-24T11:42:26.481" v="149728"/>
          <ac:spMkLst>
            <pc:docMk/>
            <pc:sldMk cId="4183350934" sldId="2147478561"/>
            <ac:spMk id="974" creationId="{CE938D23-7CE5-EC03-0C59-9A6F8B1E0DD5}"/>
          </ac:spMkLst>
        </pc:spChg>
        <pc:spChg chg="add del mod">
          <ac:chgData name="Steiner Andreas 6206 ED" userId="e6377c33-a923-4f14-8587-531c474c7b48" providerId="ADAL" clId="{6ECD27E6-B224-41CD-B4E0-E297462320DD}" dt="2023-11-24T11:42:29.690" v="149883"/>
          <ac:spMkLst>
            <pc:docMk/>
            <pc:sldMk cId="4183350934" sldId="2147478561"/>
            <ac:spMk id="975" creationId="{D6094A64-5FAC-D301-23E4-AA99C2A6F658}"/>
          </ac:spMkLst>
        </pc:spChg>
        <pc:spChg chg="add del mod">
          <ac:chgData name="Steiner Andreas 6206 ED" userId="e6377c33-a923-4f14-8587-531c474c7b48" providerId="ADAL" clId="{6ECD27E6-B224-41CD-B4E0-E297462320DD}" dt="2023-11-24T11:42:32.689" v="150038"/>
          <ac:spMkLst>
            <pc:docMk/>
            <pc:sldMk cId="4183350934" sldId="2147478561"/>
            <ac:spMk id="976" creationId="{23C09F98-E75D-909D-9A05-E680170CE240}"/>
          </ac:spMkLst>
        </pc:spChg>
        <pc:spChg chg="add del mod">
          <ac:chgData name="Steiner Andreas 6206 ED" userId="e6377c33-a923-4f14-8587-531c474c7b48" providerId="ADAL" clId="{6ECD27E6-B224-41CD-B4E0-E297462320DD}" dt="2023-11-24T11:42:35.886" v="150193"/>
          <ac:spMkLst>
            <pc:docMk/>
            <pc:sldMk cId="4183350934" sldId="2147478561"/>
            <ac:spMk id="977" creationId="{FD6134C4-C625-7F96-BE1F-A4929C94CB5C}"/>
          </ac:spMkLst>
        </pc:spChg>
        <pc:spChg chg="add del mod">
          <ac:chgData name="Steiner Andreas 6206 ED" userId="e6377c33-a923-4f14-8587-531c474c7b48" providerId="ADAL" clId="{6ECD27E6-B224-41CD-B4E0-E297462320DD}" dt="2023-11-24T11:42:38.215" v="150348"/>
          <ac:spMkLst>
            <pc:docMk/>
            <pc:sldMk cId="4183350934" sldId="2147478561"/>
            <ac:spMk id="978" creationId="{8D45726F-180C-6C3B-114B-6BBB85B06BC7}"/>
          </ac:spMkLst>
        </pc:spChg>
        <pc:spChg chg="add del mod">
          <ac:chgData name="Steiner Andreas 6206 ED" userId="e6377c33-a923-4f14-8587-531c474c7b48" providerId="ADAL" clId="{6ECD27E6-B224-41CD-B4E0-E297462320DD}" dt="2023-11-24T11:42:40.283" v="150503"/>
          <ac:spMkLst>
            <pc:docMk/>
            <pc:sldMk cId="4183350934" sldId="2147478561"/>
            <ac:spMk id="979" creationId="{353883AA-97AC-DFBF-4A03-DA25AD744B0D}"/>
          </ac:spMkLst>
        </pc:spChg>
        <pc:spChg chg="add del mod">
          <ac:chgData name="Steiner Andreas 6206 ED" userId="e6377c33-a923-4f14-8587-531c474c7b48" providerId="ADAL" clId="{6ECD27E6-B224-41CD-B4E0-E297462320DD}" dt="2023-11-24T11:42:42.312" v="150658"/>
          <ac:spMkLst>
            <pc:docMk/>
            <pc:sldMk cId="4183350934" sldId="2147478561"/>
            <ac:spMk id="980" creationId="{50121E83-9A0F-F1E8-25E8-1EEE13184017}"/>
          </ac:spMkLst>
        </pc:spChg>
        <pc:spChg chg="add del mod">
          <ac:chgData name="Steiner Andreas 6206 ED" userId="e6377c33-a923-4f14-8587-531c474c7b48" providerId="ADAL" clId="{6ECD27E6-B224-41CD-B4E0-E297462320DD}" dt="2023-11-24T11:42:44.413" v="150813"/>
          <ac:spMkLst>
            <pc:docMk/>
            <pc:sldMk cId="4183350934" sldId="2147478561"/>
            <ac:spMk id="981" creationId="{E2CA3AE4-1F7A-721B-538A-09993F85C452}"/>
          </ac:spMkLst>
        </pc:spChg>
        <pc:spChg chg="add del mod">
          <ac:chgData name="Steiner Andreas 6206 ED" userId="e6377c33-a923-4f14-8587-531c474c7b48" providerId="ADAL" clId="{6ECD27E6-B224-41CD-B4E0-E297462320DD}" dt="2023-11-24T11:42:46.712" v="150968"/>
          <ac:spMkLst>
            <pc:docMk/>
            <pc:sldMk cId="4183350934" sldId="2147478561"/>
            <ac:spMk id="982" creationId="{4CEB6457-A131-80A9-D519-65E865B3E7A7}"/>
          </ac:spMkLst>
        </pc:spChg>
        <pc:spChg chg="add del mod">
          <ac:chgData name="Steiner Andreas 6206 ED" userId="e6377c33-a923-4f14-8587-531c474c7b48" providerId="ADAL" clId="{6ECD27E6-B224-41CD-B4E0-E297462320DD}" dt="2023-11-24T11:42:48.908" v="151123"/>
          <ac:spMkLst>
            <pc:docMk/>
            <pc:sldMk cId="4183350934" sldId="2147478561"/>
            <ac:spMk id="983" creationId="{F9A64BA1-21F4-D522-9E60-DA0EC16C9CCB}"/>
          </ac:spMkLst>
        </pc:spChg>
        <pc:spChg chg="add del mod">
          <ac:chgData name="Steiner Andreas 6206 ED" userId="e6377c33-a923-4f14-8587-531c474c7b48" providerId="ADAL" clId="{6ECD27E6-B224-41CD-B4E0-E297462320DD}" dt="2023-11-24T11:42:51.197" v="151278"/>
          <ac:spMkLst>
            <pc:docMk/>
            <pc:sldMk cId="4183350934" sldId="2147478561"/>
            <ac:spMk id="984" creationId="{4F5C5B25-4D93-8273-0102-FF06FCE1C9F4}"/>
          </ac:spMkLst>
        </pc:spChg>
        <pc:spChg chg="add del mod">
          <ac:chgData name="Steiner Andreas 6206 ED" userId="e6377c33-a923-4f14-8587-531c474c7b48" providerId="ADAL" clId="{6ECD27E6-B224-41CD-B4E0-E297462320DD}" dt="2023-11-24T11:42:53.505" v="151433"/>
          <ac:spMkLst>
            <pc:docMk/>
            <pc:sldMk cId="4183350934" sldId="2147478561"/>
            <ac:spMk id="985" creationId="{BD81B3FD-8BA4-2EE3-6EBA-D8D71CC70292}"/>
          </ac:spMkLst>
        </pc:spChg>
        <pc:spChg chg="add del mod">
          <ac:chgData name="Steiner Andreas 6206 ED" userId="e6377c33-a923-4f14-8587-531c474c7b48" providerId="ADAL" clId="{6ECD27E6-B224-41CD-B4E0-E297462320DD}" dt="2023-11-24T11:42:55.742" v="151588"/>
          <ac:spMkLst>
            <pc:docMk/>
            <pc:sldMk cId="4183350934" sldId="2147478561"/>
            <ac:spMk id="986" creationId="{9E012F57-8CD7-1269-05B2-03D9B8E3ABDA}"/>
          </ac:spMkLst>
        </pc:spChg>
        <pc:spChg chg="add del mod">
          <ac:chgData name="Steiner Andreas 6206 ED" userId="e6377c33-a923-4f14-8587-531c474c7b48" providerId="ADAL" clId="{6ECD27E6-B224-41CD-B4E0-E297462320DD}" dt="2023-11-24T11:42:58.213" v="151743"/>
          <ac:spMkLst>
            <pc:docMk/>
            <pc:sldMk cId="4183350934" sldId="2147478561"/>
            <ac:spMk id="987" creationId="{7736459A-A1FF-FEF8-0F74-EF6FC9FB6582}"/>
          </ac:spMkLst>
        </pc:spChg>
        <pc:spChg chg="add del mod">
          <ac:chgData name="Steiner Andreas 6206 ED" userId="e6377c33-a923-4f14-8587-531c474c7b48" providerId="ADAL" clId="{6ECD27E6-B224-41CD-B4E0-E297462320DD}" dt="2023-11-24T11:43:01.926" v="151898"/>
          <ac:spMkLst>
            <pc:docMk/>
            <pc:sldMk cId="4183350934" sldId="2147478561"/>
            <ac:spMk id="988" creationId="{34B41F86-6DAE-4B59-621A-AACD72987991}"/>
          </ac:spMkLst>
        </pc:spChg>
        <pc:spChg chg="add del mod">
          <ac:chgData name="Steiner Andreas 6206 ED" userId="e6377c33-a923-4f14-8587-531c474c7b48" providerId="ADAL" clId="{6ECD27E6-B224-41CD-B4E0-E297462320DD}" dt="2023-11-24T11:43:04.301" v="152053"/>
          <ac:spMkLst>
            <pc:docMk/>
            <pc:sldMk cId="4183350934" sldId="2147478561"/>
            <ac:spMk id="989" creationId="{2005591D-08BD-C836-A2F6-AE0A4E9F2C23}"/>
          </ac:spMkLst>
        </pc:spChg>
        <pc:spChg chg="add del mod">
          <ac:chgData name="Steiner Andreas 6206 ED" userId="e6377c33-a923-4f14-8587-531c474c7b48" providerId="ADAL" clId="{6ECD27E6-B224-41CD-B4E0-E297462320DD}" dt="2023-11-24T11:43:06.434" v="152208"/>
          <ac:spMkLst>
            <pc:docMk/>
            <pc:sldMk cId="4183350934" sldId="2147478561"/>
            <ac:spMk id="990" creationId="{C293E24F-2D15-E5BF-9C61-D489A081E3BD}"/>
          </ac:spMkLst>
        </pc:spChg>
        <pc:spChg chg="add del mod">
          <ac:chgData name="Steiner Andreas 6206 ED" userId="e6377c33-a923-4f14-8587-531c474c7b48" providerId="ADAL" clId="{6ECD27E6-B224-41CD-B4E0-E297462320DD}" dt="2023-11-24T11:43:08.561" v="152363"/>
          <ac:spMkLst>
            <pc:docMk/>
            <pc:sldMk cId="4183350934" sldId="2147478561"/>
            <ac:spMk id="991" creationId="{C86EED63-A32E-4B9F-CB5E-3A48DA6319B6}"/>
          </ac:spMkLst>
        </pc:spChg>
        <pc:spChg chg="add del mod">
          <ac:chgData name="Steiner Andreas 6206 ED" userId="e6377c33-a923-4f14-8587-531c474c7b48" providerId="ADAL" clId="{6ECD27E6-B224-41CD-B4E0-E297462320DD}" dt="2023-11-24T11:43:10.708" v="152518"/>
          <ac:spMkLst>
            <pc:docMk/>
            <pc:sldMk cId="4183350934" sldId="2147478561"/>
            <ac:spMk id="992" creationId="{F3B6CC08-F76C-7DC6-A38A-3D8706EE96BE}"/>
          </ac:spMkLst>
        </pc:spChg>
        <pc:spChg chg="add del mod">
          <ac:chgData name="Steiner Andreas 6206 ED" userId="e6377c33-a923-4f14-8587-531c474c7b48" providerId="ADAL" clId="{6ECD27E6-B224-41CD-B4E0-E297462320DD}" dt="2023-11-24T11:43:12.957" v="152673"/>
          <ac:spMkLst>
            <pc:docMk/>
            <pc:sldMk cId="4183350934" sldId="2147478561"/>
            <ac:spMk id="993" creationId="{E7DCE4EB-F3D5-DCD0-A8C8-FD50707CEE1B}"/>
          </ac:spMkLst>
        </pc:spChg>
        <pc:spChg chg="add del mod">
          <ac:chgData name="Steiner Andreas 6206 ED" userId="e6377c33-a923-4f14-8587-531c474c7b48" providerId="ADAL" clId="{6ECD27E6-B224-41CD-B4E0-E297462320DD}" dt="2023-11-24T11:43:15.298" v="152828"/>
          <ac:spMkLst>
            <pc:docMk/>
            <pc:sldMk cId="4183350934" sldId="2147478561"/>
            <ac:spMk id="994" creationId="{6C6FA6EE-EF07-7B3A-AEE7-70FA5F4E05AE}"/>
          </ac:spMkLst>
        </pc:spChg>
        <pc:spChg chg="add del mod">
          <ac:chgData name="Steiner Andreas 6206 ED" userId="e6377c33-a923-4f14-8587-531c474c7b48" providerId="ADAL" clId="{6ECD27E6-B224-41CD-B4E0-E297462320DD}" dt="2023-11-24T11:43:18.440" v="152983"/>
          <ac:spMkLst>
            <pc:docMk/>
            <pc:sldMk cId="4183350934" sldId="2147478561"/>
            <ac:spMk id="995" creationId="{FA25BB38-B046-5498-4F0B-7C02408B846D}"/>
          </ac:spMkLst>
        </pc:spChg>
        <pc:spChg chg="add del mod">
          <ac:chgData name="Steiner Andreas 6206 ED" userId="e6377c33-a923-4f14-8587-531c474c7b48" providerId="ADAL" clId="{6ECD27E6-B224-41CD-B4E0-E297462320DD}" dt="2023-11-24T11:43:22.536" v="153138"/>
          <ac:spMkLst>
            <pc:docMk/>
            <pc:sldMk cId="4183350934" sldId="2147478561"/>
            <ac:spMk id="996" creationId="{9A54A16B-11D4-9AFB-49CF-6808DAC78E27}"/>
          </ac:spMkLst>
        </pc:spChg>
        <pc:spChg chg="add del mod">
          <ac:chgData name="Steiner Andreas 6206 ED" userId="e6377c33-a923-4f14-8587-531c474c7b48" providerId="ADAL" clId="{6ECD27E6-B224-41CD-B4E0-E297462320DD}" dt="2023-11-24T11:43:24.962" v="153293"/>
          <ac:spMkLst>
            <pc:docMk/>
            <pc:sldMk cId="4183350934" sldId="2147478561"/>
            <ac:spMk id="997" creationId="{DD6F41CF-8D1B-034E-9776-4439B7A87B6B}"/>
          </ac:spMkLst>
        </pc:spChg>
        <pc:spChg chg="add del mod">
          <ac:chgData name="Steiner Andreas 6206 ED" userId="e6377c33-a923-4f14-8587-531c474c7b48" providerId="ADAL" clId="{6ECD27E6-B224-41CD-B4E0-E297462320DD}" dt="2023-11-24T11:43:27.207" v="153448"/>
          <ac:spMkLst>
            <pc:docMk/>
            <pc:sldMk cId="4183350934" sldId="2147478561"/>
            <ac:spMk id="998" creationId="{08EE5691-A24C-42D3-83E0-D62B2FBF5E75}"/>
          </ac:spMkLst>
        </pc:spChg>
        <pc:spChg chg="add del mod">
          <ac:chgData name="Steiner Andreas 6206 ED" userId="e6377c33-a923-4f14-8587-531c474c7b48" providerId="ADAL" clId="{6ECD27E6-B224-41CD-B4E0-E297462320DD}" dt="2023-11-24T11:43:29.490" v="153603"/>
          <ac:spMkLst>
            <pc:docMk/>
            <pc:sldMk cId="4183350934" sldId="2147478561"/>
            <ac:spMk id="999" creationId="{44B1B463-38D1-34D3-A322-7774F12D2DD2}"/>
          </ac:spMkLst>
        </pc:spChg>
        <pc:spChg chg="add del mod">
          <ac:chgData name="Steiner Andreas 6206 ED" userId="e6377c33-a923-4f14-8587-531c474c7b48" providerId="ADAL" clId="{6ECD27E6-B224-41CD-B4E0-E297462320DD}" dt="2023-11-24T11:43:31.735" v="153758"/>
          <ac:spMkLst>
            <pc:docMk/>
            <pc:sldMk cId="4183350934" sldId="2147478561"/>
            <ac:spMk id="1000" creationId="{AB3C3E4F-F82A-55D9-542B-7C7C9A2CC0EB}"/>
          </ac:spMkLst>
        </pc:spChg>
        <pc:spChg chg="add del mod">
          <ac:chgData name="Steiner Andreas 6206 ED" userId="e6377c33-a923-4f14-8587-531c474c7b48" providerId="ADAL" clId="{6ECD27E6-B224-41CD-B4E0-E297462320DD}" dt="2023-11-24T11:43:34.491" v="153913"/>
          <ac:spMkLst>
            <pc:docMk/>
            <pc:sldMk cId="4183350934" sldId="2147478561"/>
            <ac:spMk id="1001" creationId="{199CBED0-48BB-62FE-47BD-1BD822F8EC40}"/>
          </ac:spMkLst>
        </pc:spChg>
        <pc:spChg chg="add del mod">
          <ac:chgData name="Steiner Andreas 6206 ED" userId="e6377c33-a923-4f14-8587-531c474c7b48" providerId="ADAL" clId="{6ECD27E6-B224-41CD-B4E0-E297462320DD}" dt="2023-11-24T11:43:36.622" v="154068"/>
          <ac:spMkLst>
            <pc:docMk/>
            <pc:sldMk cId="4183350934" sldId="2147478561"/>
            <ac:spMk id="1002" creationId="{29AF448A-52D3-DFC7-C1A4-ADE03588AE20}"/>
          </ac:spMkLst>
        </pc:spChg>
        <pc:spChg chg="add del mod">
          <ac:chgData name="Steiner Andreas 6206 ED" userId="e6377c33-a923-4f14-8587-531c474c7b48" providerId="ADAL" clId="{6ECD27E6-B224-41CD-B4E0-E297462320DD}" dt="2023-11-24T11:43:38.798" v="154223"/>
          <ac:spMkLst>
            <pc:docMk/>
            <pc:sldMk cId="4183350934" sldId="2147478561"/>
            <ac:spMk id="1003" creationId="{152242B6-9201-1A63-3324-2D24493C01D3}"/>
          </ac:spMkLst>
        </pc:spChg>
        <pc:spChg chg="add del mod">
          <ac:chgData name="Steiner Andreas 6206 ED" userId="e6377c33-a923-4f14-8587-531c474c7b48" providerId="ADAL" clId="{6ECD27E6-B224-41CD-B4E0-E297462320DD}" dt="2023-11-24T11:43:41.227" v="154378"/>
          <ac:spMkLst>
            <pc:docMk/>
            <pc:sldMk cId="4183350934" sldId="2147478561"/>
            <ac:spMk id="1004" creationId="{5DA53FF7-DF5C-2B0E-0A28-0F5B8A56DC2D}"/>
          </ac:spMkLst>
        </pc:spChg>
        <pc:spChg chg="add del mod">
          <ac:chgData name="Steiner Andreas 6206 ED" userId="e6377c33-a923-4f14-8587-531c474c7b48" providerId="ADAL" clId="{6ECD27E6-B224-41CD-B4E0-E297462320DD}" dt="2023-11-24T11:43:44.118" v="154533"/>
          <ac:spMkLst>
            <pc:docMk/>
            <pc:sldMk cId="4183350934" sldId="2147478561"/>
            <ac:spMk id="1005" creationId="{4994CF40-EC24-677E-A0F0-6378B594CD5E}"/>
          </ac:spMkLst>
        </pc:spChg>
        <pc:spChg chg="add del mod">
          <ac:chgData name="Steiner Andreas 6206 ED" userId="e6377c33-a923-4f14-8587-531c474c7b48" providerId="ADAL" clId="{6ECD27E6-B224-41CD-B4E0-E297462320DD}" dt="2023-11-24T11:43:46.425" v="154688"/>
          <ac:spMkLst>
            <pc:docMk/>
            <pc:sldMk cId="4183350934" sldId="2147478561"/>
            <ac:spMk id="1006" creationId="{B147955D-6529-F86E-B10E-99F9C574C305}"/>
          </ac:spMkLst>
        </pc:spChg>
        <pc:spChg chg="add del mod">
          <ac:chgData name="Steiner Andreas 6206 ED" userId="e6377c33-a923-4f14-8587-531c474c7b48" providerId="ADAL" clId="{6ECD27E6-B224-41CD-B4E0-E297462320DD}" dt="2023-11-24T11:43:48.757" v="154843"/>
          <ac:spMkLst>
            <pc:docMk/>
            <pc:sldMk cId="4183350934" sldId="2147478561"/>
            <ac:spMk id="1007" creationId="{7E22334A-9D94-6030-5B2D-FD9EAC9A9029}"/>
          </ac:spMkLst>
        </pc:spChg>
        <pc:spChg chg="add del mod">
          <ac:chgData name="Steiner Andreas 6206 ED" userId="e6377c33-a923-4f14-8587-531c474c7b48" providerId="ADAL" clId="{6ECD27E6-B224-41CD-B4E0-E297462320DD}" dt="2023-11-24T11:43:50.766" v="154998"/>
          <ac:spMkLst>
            <pc:docMk/>
            <pc:sldMk cId="4183350934" sldId="2147478561"/>
            <ac:spMk id="1008" creationId="{108877BF-0C4A-D748-15B2-F3E7D3DB7D27}"/>
          </ac:spMkLst>
        </pc:spChg>
        <pc:spChg chg="add del mod">
          <ac:chgData name="Steiner Andreas 6206 ED" userId="e6377c33-a923-4f14-8587-531c474c7b48" providerId="ADAL" clId="{6ECD27E6-B224-41CD-B4E0-E297462320DD}" dt="2023-11-24T11:43:52.972" v="155153"/>
          <ac:spMkLst>
            <pc:docMk/>
            <pc:sldMk cId="4183350934" sldId="2147478561"/>
            <ac:spMk id="1009" creationId="{D6958183-EDD9-FC5E-E8A3-5D5710710BB4}"/>
          </ac:spMkLst>
        </pc:spChg>
        <pc:spChg chg="add del mod">
          <ac:chgData name="Steiner Andreas 6206 ED" userId="e6377c33-a923-4f14-8587-531c474c7b48" providerId="ADAL" clId="{6ECD27E6-B224-41CD-B4E0-E297462320DD}" dt="2023-11-24T11:43:56.024" v="155308"/>
          <ac:spMkLst>
            <pc:docMk/>
            <pc:sldMk cId="4183350934" sldId="2147478561"/>
            <ac:spMk id="1010" creationId="{F3297FEA-4054-FBD5-EC7B-E78C7F1AF11C}"/>
          </ac:spMkLst>
        </pc:spChg>
        <pc:spChg chg="add del mod">
          <ac:chgData name="Steiner Andreas 6206 ED" userId="e6377c33-a923-4f14-8587-531c474c7b48" providerId="ADAL" clId="{6ECD27E6-B224-41CD-B4E0-E297462320DD}" dt="2023-11-24T11:43:58.348" v="155463"/>
          <ac:spMkLst>
            <pc:docMk/>
            <pc:sldMk cId="4183350934" sldId="2147478561"/>
            <ac:spMk id="1011" creationId="{3819FB68-EA15-4885-BA2A-A97E6456A1BB}"/>
          </ac:spMkLst>
        </pc:spChg>
        <pc:spChg chg="add del mod">
          <ac:chgData name="Steiner Andreas 6206 ED" userId="e6377c33-a923-4f14-8587-531c474c7b48" providerId="ADAL" clId="{6ECD27E6-B224-41CD-B4E0-E297462320DD}" dt="2023-11-24T11:44:00.416" v="155618"/>
          <ac:spMkLst>
            <pc:docMk/>
            <pc:sldMk cId="4183350934" sldId="2147478561"/>
            <ac:spMk id="1012" creationId="{F8D1BEF2-4730-B43A-365D-5349A40EBF51}"/>
          </ac:spMkLst>
        </pc:spChg>
        <pc:spChg chg="add del mod">
          <ac:chgData name="Steiner Andreas 6206 ED" userId="e6377c33-a923-4f14-8587-531c474c7b48" providerId="ADAL" clId="{6ECD27E6-B224-41CD-B4E0-E297462320DD}" dt="2023-11-24T11:44:02.416" v="155773"/>
          <ac:spMkLst>
            <pc:docMk/>
            <pc:sldMk cId="4183350934" sldId="2147478561"/>
            <ac:spMk id="1013" creationId="{8C8F7740-3CE1-9802-954F-CCB1CA3A2E10}"/>
          </ac:spMkLst>
        </pc:spChg>
        <pc:spChg chg="add del mod">
          <ac:chgData name="Steiner Andreas 6206 ED" userId="e6377c33-a923-4f14-8587-531c474c7b48" providerId="ADAL" clId="{6ECD27E6-B224-41CD-B4E0-E297462320DD}" dt="2023-11-24T11:44:04.459" v="155928"/>
          <ac:spMkLst>
            <pc:docMk/>
            <pc:sldMk cId="4183350934" sldId="2147478561"/>
            <ac:spMk id="1014" creationId="{C1AAF73E-95FE-2C55-DF5C-DE932B7404DD}"/>
          </ac:spMkLst>
        </pc:spChg>
        <pc:spChg chg="add del mod">
          <ac:chgData name="Steiner Andreas 6206 ED" userId="e6377c33-a923-4f14-8587-531c474c7b48" providerId="ADAL" clId="{6ECD27E6-B224-41CD-B4E0-E297462320DD}" dt="2023-11-24T11:44:06.473" v="156083"/>
          <ac:spMkLst>
            <pc:docMk/>
            <pc:sldMk cId="4183350934" sldId="2147478561"/>
            <ac:spMk id="1015" creationId="{EFAA59F7-75F5-BC1E-421A-8508C1D17757}"/>
          </ac:spMkLst>
        </pc:spChg>
        <pc:spChg chg="add del mod">
          <ac:chgData name="Steiner Andreas 6206 ED" userId="e6377c33-a923-4f14-8587-531c474c7b48" providerId="ADAL" clId="{6ECD27E6-B224-41CD-B4E0-E297462320DD}" dt="2023-11-24T11:44:08.666" v="156238"/>
          <ac:spMkLst>
            <pc:docMk/>
            <pc:sldMk cId="4183350934" sldId="2147478561"/>
            <ac:spMk id="1016" creationId="{BD10C658-4BC5-F4A6-2804-BB82B13EFCC0}"/>
          </ac:spMkLst>
        </pc:spChg>
        <pc:spChg chg="add del mod">
          <ac:chgData name="Steiner Andreas 6206 ED" userId="e6377c33-a923-4f14-8587-531c474c7b48" providerId="ADAL" clId="{6ECD27E6-B224-41CD-B4E0-E297462320DD}" dt="2023-11-24T11:44:10.708" v="156393"/>
          <ac:spMkLst>
            <pc:docMk/>
            <pc:sldMk cId="4183350934" sldId="2147478561"/>
            <ac:spMk id="1017" creationId="{A61A7589-33EF-6B4E-E0C6-1E58C0FCBF99}"/>
          </ac:spMkLst>
        </pc:spChg>
        <pc:spChg chg="add del mod">
          <ac:chgData name="Steiner Andreas 6206 ED" userId="e6377c33-a923-4f14-8587-531c474c7b48" providerId="ADAL" clId="{6ECD27E6-B224-41CD-B4E0-E297462320DD}" dt="2023-11-24T11:44:12.725" v="156548"/>
          <ac:spMkLst>
            <pc:docMk/>
            <pc:sldMk cId="4183350934" sldId="2147478561"/>
            <ac:spMk id="1018" creationId="{9FC92FF5-67C8-EAA8-E146-EF73A5909CD7}"/>
          </ac:spMkLst>
        </pc:spChg>
        <pc:spChg chg="add del mod">
          <ac:chgData name="Steiner Andreas 6206 ED" userId="e6377c33-a923-4f14-8587-531c474c7b48" providerId="ADAL" clId="{6ECD27E6-B224-41CD-B4E0-E297462320DD}" dt="2023-11-24T11:44:14.728" v="156703"/>
          <ac:spMkLst>
            <pc:docMk/>
            <pc:sldMk cId="4183350934" sldId="2147478561"/>
            <ac:spMk id="1019" creationId="{18856C62-A422-8495-8377-DADC51872E82}"/>
          </ac:spMkLst>
        </pc:spChg>
        <pc:spChg chg="add del mod">
          <ac:chgData name="Steiner Andreas 6206 ED" userId="e6377c33-a923-4f14-8587-531c474c7b48" providerId="ADAL" clId="{6ECD27E6-B224-41CD-B4E0-E297462320DD}" dt="2023-11-24T11:44:16.707" v="156858"/>
          <ac:spMkLst>
            <pc:docMk/>
            <pc:sldMk cId="4183350934" sldId="2147478561"/>
            <ac:spMk id="1020" creationId="{1166FDA3-9105-80A3-2C91-DBCE5D43419F}"/>
          </ac:spMkLst>
        </pc:spChg>
        <pc:spChg chg="add del mod">
          <ac:chgData name="Steiner Andreas 6206 ED" userId="e6377c33-a923-4f14-8587-531c474c7b48" providerId="ADAL" clId="{6ECD27E6-B224-41CD-B4E0-E297462320DD}" dt="2023-11-24T11:44:18.823" v="157013"/>
          <ac:spMkLst>
            <pc:docMk/>
            <pc:sldMk cId="4183350934" sldId="2147478561"/>
            <ac:spMk id="1021" creationId="{EEA17DD8-6B3C-2D8B-8AB7-96D613835694}"/>
          </ac:spMkLst>
        </pc:spChg>
        <pc:spChg chg="add del mod">
          <ac:chgData name="Steiner Andreas 6206 ED" userId="e6377c33-a923-4f14-8587-531c474c7b48" providerId="ADAL" clId="{6ECD27E6-B224-41CD-B4E0-E297462320DD}" dt="2023-11-24T11:44:20.923" v="157168"/>
          <ac:spMkLst>
            <pc:docMk/>
            <pc:sldMk cId="4183350934" sldId="2147478561"/>
            <ac:spMk id="1022" creationId="{800814E2-1066-34B9-951F-E4A7FE05660D}"/>
          </ac:spMkLst>
        </pc:spChg>
        <pc:spChg chg="add del mod">
          <ac:chgData name="Steiner Andreas 6206 ED" userId="e6377c33-a923-4f14-8587-531c474c7b48" providerId="ADAL" clId="{6ECD27E6-B224-41CD-B4E0-E297462320DD}" dt="2023-11-24T11:44:23.270" v="157323"/>
          <ac:spMkLst>
            <pc:docMk/>
            <pc:sldMk cId="4183350934" sldId="2147478561"/>
            <ac:spMk id="1023" creationId="{BDCF25DC-A6E9-CC83-D9B9-1FE30F6053A0}"/>
          </ac:spMkLst>
        </pc:spChg>
        <pc:spChg chg="add del mod">
          <ac:chgData name="Steiner Andreas 6206 ED" userId="e6377c33-a923-4f14-8587-531c474c7b48" providerId="ADAL" clId="{6ECD27E6-B224-41CD-B4E0-E297462320DD}" dt="2023-11-24T11:44:25.398" v="157478"/>
          <ac:spMkLst>
            <pc:docMk/>
            <pc:sldMk cId="4183350934" sldId="2147478561"/>
            <ac:spMk id="1024" creationId="{4E1D1BE1-B7BC-6C00-CBCA-69BCC4E0C64F}"/>
          </ac:spMkLst>
        </pc:spChg>
        <pc:spChg chg="add del mod">
          <ac:chgData name="Steiner Andreas 6206 ED" userId="e6377c33-a923-4f14-8587-531c474c7b48" providerId="ADAL" clId="{6ECD27E6-B224-41CD-B4E0-E297462320DD}" dt="2023-11-24T11:44:30.835" v="157633"/>
          <ac:spMkLst>
            <pc:docMk/>
            <pc:sldMk cId="4183350934" sldId="2147478561"/>
            <ac:spMk id="1025" creationId="{52EFEA4F-C0E5-852A-44E2-436DB76D9C34}"/>
          </ac:spMkLst>
        </pc:spChg>
        <pc:spChg chg="add mod">
          <ac:chgData name="Steiner Andreas 6206 ED" userId="e6377c33-a923-4f14-8587-531c474c7b48" providerId="ADAL" clId="{6ECD27E6-B224-41CD-B4E0-E297462320DD}" dt="2023-11-24T11:44:30.836" v="157634"/>
          <ac:spMkLst>
            <pc:docMk/>
            <pc:sldMk cId="4183350934" sldId="2147478561"/>
            <ac:spMk id="1026" creationId="{5DECA4F1-D6E6-ED50-44DF-D63531B84DB1}"/>
          </ac:spMkLst>
        </pc:spChg>
      </pc:sldChg>
      <pc:sldChg chg="addSp delSp modSp mod">
        <pc:chgData name="Steiner Andreas 6206 ED" userId="e6377c33-a923-4f14-8587-531c474c7b48" providerId="ADAL" clId="{6ECD27E6-B224-41CD-B4E0-E297462320DD}" dt="2023-11-24T11:44:30.854" v="157644"/>
        <pc:sldMkLst>
          <pc:docMk/>
          <pc:sldMk cId="3591700787" sldId="2147478562"/>
        </pc:sldMkLst>
        <pc:spChg chg="mod">
          <ac:chgData name="Steiner Andreas 6206 ED" userId="e6377c33-a923-4f14-8587-531c474c7b48" providerId="ADAL" clId="{6ECD27E6-B224-41CD-B4E0-E297462320DD}" dt="2023-11-24T11:44:30.836" v="157640" actId="20577"/>
          <ac:spMkLst>
            <pc:docMk/>
            <pc:sldMk cId="3591700787" sldId="2147478562"/>
            <ac:spMk id="3" creationId="{4E8CC9C0-365F-2AE2-45F2-482F3CE5F5BC}"/>
          </ac:spMkLst>
        </pc:spChg>
        <pc:spChg chg="del">
          <ac:chgData name="Steiner Andreas 6206 ED" userId="e6377c33-a923-4f14-8587-531c474c7b48" providerId="ADAL" clId="{6ECD27E6-B224-41CD-B4E0-E297462320DD}" dt="2023-11-23T19:49:53.661" v="183"/>
          <ac:spMkLst>
            <pc:docMk/>
            <pc:sldMk cId="3591700787" sldId="2147478562"/>
            <ac:spMk id="5" creationId="{64E93222-32B7-20A4-715C-D9A68AE48A8A}"/>
          </ac:spMkLst>
        </pc:spChg>
        <pc:spChg chg="add del mod">
          <ac:chgData name="Steiner Andreas 6206 ED" userId="e6377c33-a923-4f14-8587-531c474c7b48" providerId="ADAL" clId="{6ECD27E6-B224-41CD-B4E0-E297462320DD}" dt="2023-11-23T19:49:53.663" v="186"/>
          <ac:spMkLst>
            <pc:docMk/>
            <pc:sldMk cId="3591700787" sldId="2147478562"/>
            <ac:spMk id="7" creationId="{6668AA45-1036-AC95-1BDB-DC7E1068544C}"/>
          </ac:spMkLst>
        </pc:spChg>
        <pc:spChg chg="add del mod">
          <ac:chgData name="Steiner Andreas 6206 ED" userId="e6377c33-a923-4f14-8587-531c474c7b48" providerId="ADAL" clId="{6ECD27E6-B224-41CD-B4E0-E297462320DD}" dt="2023-11-23T19:49:54.546" v="318"/>
          <ac:spMkLst>
            <pc:docMk/>
            <pc:sldMk cId="3591700787" sldId="2147478562"/>
            <ac:spMk id="8" creationId="{6D03C6C7-23B7-3CCC-7A9B-44760573C909}"/>
          </ac:spMkLst>
        </pc:spChg>
        <pc:spChg chg="add del mod">
          <ac:chgData name="Steiner Andreas 6206 ED" userId="e6377c33-a923-4f14-8587-531c474c7b48" providerId="ADAL" clId="{6ECD27E6-B224-41CD-B4E0-E297462320DD}" dt="2023-11-23T19:50:25.414" v="473"/>
          <ac:spMkLst>
            <pc:docMk/>
            <pc:sldMk cId="3591700787" sldId="2147478562"/>
            <ac:spMk id="9" creationId="{0C9A7C36-9CAF-6563-8CE8-91A9B8EF2C66}"/>
          </ac:spMkLst>
        </pc:spChg>
        <pc:spChg chg="add del mod">
          <ac:chgData name="Steiner Andreas 6206 ED" userId="e6377c33-a923-4f14-8587-531c474c7b48" providerId="ADAL" clId="{6ECD27E6-B224-41CD-B4E0-E297462320DD}" dt="2023-11-23T19:50:35.203" v="628"/>
          <ac:spMkLst>
            <pc:docMk/>
            <pc:sldMk cId="3591700787" sldId="2147478562"/>
            <ac:spMk id="10" creationId="{523C5519-719D-DA57-86D4-99D7AF018970}"/>
          </ac:spMkLst>
        </pc:spChg>
        <pc:spChg chg="add del mod">
          <ac:chgData name="Steiner Andreas 6206 ED" userId="e6377c33-a923-4f14-8587-531c474c7b48" providerId="ADAL" clId="{6ECD27E6-B224-41CD-B4E0-E297462320DD}" dt="2023-11-23T19:50:46.867" v="783"/>
          <ac:spMkLst>
            <pc:docMk/>
            <pc:sldMk cId="3591700787" sldId="2147478562"/>
            <ac:spMk id="11" creationId="{D359D55F-33ED-A25B-AAF6-1A8452836221}"/>
          </ac:spMkLst>
        </pc:spChg>
        <pc:spChg chg="add del mod">
          <ac:chgData name="Steiner Andreas 6206 ED" userId="e6377c33-a923-4f14-8587-531c474c7b48" providerId="ADAL" clId="{6ECD27E6-B224-41CD-B4E0-E297462320DD}" dt="2023-11-23T19:50:58.577" v="938"/>
          <ac:spMkLst>
            <pc:docMk/>
            <pc:sldMk cId="3591700787" sldId="2147478562"/>
            <ac:spMk id="12" creationId="{1D2EB64A-4748-2A2D-3B86-0609A9C06CC0}"/>
          </ac:spMkLst>
        </pc:spChg>
        <pc:spChg chg="add del mod">
          <ac:chgData name="Steiner Andreas 6206 ED" userId="e6377c33-a923-4f14-8587-531c474c7b48" providerId="ADAL" clId="{6ECD27E6-B224-41CD-B4E0-E297462320DD}" dt="2023-11-23T19:51:09.257" v="1093"/>
          <ac:spMkLst>
            <pc:docMk/>
            <pc:sldMk cId="3591700787" sldId="2147478562"/>
            <ac:spMk id="25" creationId="{242C8DFD-A06A-8184-6D37-19439D6BF324}"/>
          </ac:spMkLst>
        </pc:spChg>
        <pc:spChg chg="add del mod">
          <ac:chgData name="Steiner Andreas 6206 ED" userId="e6377c33-a923-4f14-8587-531c474c7b48" providerId="ADAL" clId="{6ECD27E6-B224-41CD-B4E0-E297462320DD}" dt="2023-11-23T19:51:20.280" v="1248"/>
          <ac:spMkLst>
            <pc:docMk/>
            <pc:sldMk cId="3591700787" sldId="2147478562"/>
            <ac:spMk id="26" creationId="{4DE73E9D-EF57-C314-CD7C-3D13F280B301}"/>
          </ac:spMkLst>
        </pc:spChg>
        <pc:spChg chg="add del mod">
          <ac:chgData name="Steiner Andreas 6206 ED" userId="e6377c33-a923-4f14-8587-531c474c7b48" providerId="ADAL" clId="{6ECD27E6-B224-41CD-B4E0-E297462320DD}" dt="2023-11-23T19:51:31.707" v="1403"/>
          <ac:spMkLst>
            <pc:docMk/>
            <pc:sldMk cId="3591700787" sldId="2147478562"/>
            <ac:spMk id="27" creationId="{85595F17-678F-A5E1-5E3F-1098BFE04567}"/>
          </ac:spMkLst>
        </pc:spChg>
        <pc:spChg chg="add del mod">
          <ac:chgData name="Steiner Andreas 6206 ED" userId="e6377c33-a923-4f14-8587-531c474c7b48" providerId="ADAL" clId="{6ECD27E6-B224-41CD-B4E0-E297462320DD}" dt="2023-11-23T19:51:42.384" v="1558"/>
          <ac:spMkLst>
            <pc:docMk/>
            <pc:sldMk cId="3591700787" sldId="2147478562"/>
            <ac:spMk id="28" creationId="{35D1182F-04C9-630C-2D95-8868A09A67C9}"/>
          </ac:spMkLst>
        </pc:spChg>
        <pc:spChg chg="add del mod">
          <ac:chgData name="Steiner Andreas 6206 ED" userId="e6377c33-a923-4f14-8587-531c474c7b48" providerId="ADAL" clId="{6ECD27E6-B224-41CD-B4E0-E297462320DD}" dt="2023-11-23T19:51:53.671" v="1713"/>
          <ac:spMkLst>
            <pc:docMk/>
            <pc:sldMk cId="3591700787" sldId="2147478562"/>
            <ac:spMk id="29" creationId="{B5A09242-4F5C-94DE-D01D-17F0B9294F97}"/>
          </ac:spMkLst>
        </pc:spChg>
        <pc:spChg chg="add del mod">
          <ac:chgData name="Steiner Andreas 6206 ED" userId="e6377c33-a923-4f14-8587-531c474c7b48" providerId="ADAL" clId="{6ECD27E6-B224-41CD-B4E0-E297462320DD}" dt="2023-11-23T19:52:05.368" v="1868"/>
          <ac:spMkLst>
            <pc:docMk/>
            <pc:sldMk cId="3591700787" sldId="2147478562"/>
            <ac:spMk id="30" creationId="{CABFA1CD-3716-637F-C1E1-AE283851C3D4}"/>
          </ac:spMkLst>
        </pc:spChg>
        <pc:spChg chg="add del mod">
          <ac:chgData name="Steiner Andreas 6206 ED" userId="e6377c33-a923-4f14-8587-531c474c7b48" providerId="ADAL" clId="{6ECD27E6-B224-41CD-B4E0-E297462320DD}" dt="2023-11-23T19:52:17.087" v="2023"/>
          <ac:spMkLst>
            <pc:docMk/>
            <pc:sldMk cId="3591700787" sldId="2147478562"/>
            <ac:spMk id="31" creationId="{416E937F-9741-DCE6-E95E-FBE62FCEDDE1}"/>
          </ac:spMkLst>
        </pc:spChg>
        <pc:spChg chg="add del mod">
          <ac:chgData name="Steiner Andreas 6206 ED" userId="e6377c33-a923-4f14-8587-531c474c7b48" providerId="ADAL" clId="{6ECD27E6-B224-41CD-B4E0-E297462320DD}" dt="2023-11-23T19:52:28.769" v="2178"/>
          <ac:spMkLst>
            <pc:docMk/>
            <pc:sldMk cId="3591700787" sldId="2147478562"/>
            <ac:spMk id="32" creationId="{0392B5E3-FE6B-55EB-7E4E-2452D8CC24DC}"/>
          </ac:spMkLst>
        </pc:spChg>
        <pc:spChg chg="add del mod">
          <ac:chgData name="Steiner Andreas 6206 ED" userId="e6377c33-a923-4f14-8587-531c474c7b48" providerId="ADAL" clId="{6ECD27E6-B224-41CD-B4E0-E297462320DD}" dt="2023-11-23T19:52:40.456" v="2333"/>
          <ac:spMkLst>
            <pc:docMk/>
            <pc:sldMk cId="3591700787" sldId="2147478562"/>
            <ac:spMk id="33" creationId="{723A22CF-1C29-B947-A86E-2AEC0A8331D4}"/>
          </ac:spMkLst>
        </pc:spChg>
        <pc:spChg chg="add del mod">
          <ac:chgData name="Steiner Andreas 6206 ED" userId="e6377c33-a923-4f14-8587-531c474c7b48" providerId="ADAL" clId="{6ECD27E6-B224-41CD-B4E0-E297462320DD}" dt="2023-11-23T19:52:51.805" v="2488"/>
          <ac:spMkLst>
            <pc:docMk/>
            <pc:sldMk cId="3591700787" sldId="2147478562"/>
            <ac:spMk id="34" creationId="{0B22BA1C-681C-EFD5-2228-F5D57EDAE7F8}"/>
          </ac:spMkLst>
        </pc:spChg>
        <pc:spChg chg="add del mod">
          <ac:chgData name="Steiner Andreas 6206 ED" userId="e6377c33-a923-4f14-8587-531c474c7b48" providerId="ADAL" clId="{6ECD27E6-B224-41CD-B4E0-E297462320DD}" dt="2023-11-23T19:53:03.521" v="2643"/>
          <ac:spMkLst>
            <pc:docMk/>
            <pc:sldMk cId="3591700787" sldId="2147478562"/>
            <ac:spMk id="35" creationId="{75C11900-5D11-70CD-9802-C4B33E34B0D9}"/>
          </ac:spMkLst>
        </pc:spChg>
        <pc:spChg chg="add del mod">
          <ac:chgData name="Steiner Andreas 6206 ED" userId="e6377c33-a923-4f14-8587-531c474c7b48" providerId="ADAL" clId="{6ECD27E6-B224-41CD-B4E0-E297462320DD}" dt="2023-11-23T19:53:15.251" v="2798"/>
          <ac:spMkLst>
            <pc:docMk/>
            <pc:sldMk cId="3591700787" sldId="2147478562"/>
            <ac:spMk id="36" creationId="{01CF1A54-1042-E11D-4DD9-D1A715DCDD55}"/>
          </ac:spMkLst>
        </pc:spChg>
        <pc:spChg chg="add del mod">
          <ac:chgData name="Steiner Andreas 6206 ED" userId="e6377c33-a923-4f14-8587-531c474c7b48" providerId="ADAL" clId="{6ECD27E6-B224-41CD-B4E0-E297462320DD}" dt="2023-11-23T19:53:26.930" v="2953"/>
          <ac:spMkLst>
            <pc:docMk/>
            <pc:sldMk cId="3591700787" sldId="2147478562"/>
            <ac:spMk id="37" creationId="{35F0E2BC-2B2A-F9C9-4490-D84705FC4ECF}"/>
          </ac:spMkLst>
        </pc:spChg>
        <pc:spChg chg="add del mod">
          <ac:chgData name="Steiner Andreas 6206 ED" userId="e6377c33-a923-4f14-8587-531c474c7b48" providerId="ADAL" clId="{6ECD27E6-B224-41CD-B4E0-E297462320DD}" dt="2023-11-23T19:53:38.588" v="3108"/>
          <ac:spMkLst>
            <pc:docMk/>
            <pc:sldMk cId="3591700787" sldId="2147478562"/>
            <ac:spMk id="38" creationId="{993A3C02-1C6E-74AF-E11F-7EA638DA4C08}"/>
          </ac:spMkLst>
        </pc:spChg>
        <pc:spChg chg="add del mod">
          <ac:chgData name="Steiner Andreas 6206 ED" userId="e6377c33-a923-4f14-8587-531c474c7b48" providerId="ADAL" clId="{6ECD27E6-B224-41CD-B4E0-E297462320DD}" dt="2023-11-23T19:53:50.251" v="3263"/>
          <ac:spMkLst>
            <pc:docMk/>
            <pc:sldMk cId="3591700787" sldId="2147478562"/>
            <ac:spMk id="39" creationId="{9102C62E-573B-28B9-C5D2-D0D9CDE31448}"/>
          </ac:spMkLst>
        </pc:spChg>
        <pc:spChg chg="add del mod">
          <ac:chgData name="Steiner Andreas 6206 ED" userId="e6377c33-a923-4f14-8587-531c474c7b48" providerId="ADAL" clId="{6ECD27E6-B224-41CD-B4E0-E297462320DD}" dt="2023-11-23T19:54:01.924" v="3418"/>
          <ac:spMkLst>
            <pc:docMk/>
            <pc:sldMk cId="3591700787" sldId="2147478562"/>
            <ac:spMk id="40" creationId="{BE475392-2C95-0E76-1F68-A9E095674FA4}"/>
          </ac:spMkLst>
        </pc:spChg>
        <pc:spChg chg="add del mod">
          <ac:chgData name="Steiner Andreas 6206 ED" userId="e6377c33-a923-4f14-8587-531c474c7b48" providerId="ADAL" clId="{6ECD27E6-B224-41CD-B4E0-E297462320DD}" dt="2023-11-23T19:54:13.617" v="3573"/>
          <ac:spMkLst>
            <pc:docMk/>
            <pc:sldMk cId="3591700787" sldId="2147478562"/>
            <ac:spMk id="41" creationId="{B07AC785-B394-7ADE-5F32-C1C2A12FCCB6}"/>
          </ac:spMkLst>
        </pc:spChg>
        <pc:spChg chg="add del mod">
          <ac:chgData name="Steiner Andreas 6206 ED" userId="e6377c33-a923-4f14-8587-531c474c7b48" providerId="ADAL" clId="{6ECD27E6-B224-41CD-B4E0-E297462320DD}" dt="2023-11-23T19:54:25.275" v="3728"/>
          <ac:spMkLst>
            <pc:docMk/>
            <pc:sldMk cId="3591700787" sldId="2147478562"/>
            <ac:spMk id="42" creationId="{D52E7CE4-ACEF-9D59-0ED3-03F26A4F9872}"/>
          </ac:spMkLst>
        </pc:spChg>
        <pc:spChg chg="add del mod">
          <ac:chgData name="Steiner Andreas 6206 ED" userId="e6377c33-a923-4f14-8587-531c474c7b48" providerId="ADAL" clId="{6ECD27E6-B224-41CD-B4E0-E297462320DD}" dt="2023-11-23T19:54:36.998" v="3883"/>
          <ac:spMkLst>
            <pc:docMk/>
            <pc:sldMk cId="3591700787" sldId="2147478562"/>
            <ac:spMk id="43" creationId="{3A69CB6C-98E9-2F39-8AAB-3ED6195C161F}"/>
          </ac:spMkLst>
        </pc:spChg>
        <pc:spChg chg="add del mod">
          <ac:chgData name="Steiner Andreas 6206 ED" userId="e6377c33-a923-4f14-8587-531c474c7b48" providerId="ADAL" clId="{6ECD27E6-B224-41CD-B4E0-E297462320DD}" dt="2023-11-23T19:54:48.288" v="4038"/>
          <ac:spMkLst>
            <pc:docMk/>
            <pc:sldMk cId="3591700787" sldId="2147478562"/>
            <ac:spMk id="44" creationId="{A5CC00E4-3C3F-EEBE-3AC6-66110291AE50}"/>
          </ac:spMkLst>
        </pc:spChg>
        <pc:spChg chg="add del mod">
          <ac:chgData name="Steiner Andreas 6206 ED" userId="e6377c33-a923-4f14-8587-531c474c7b48" providerId="ADAL" clId="{6ECD27E6-B224-41CD-B4E0-E297462320DD}" dt="2023-11-23T19:54:59.981" v="4193"/>
          <ac:spMkLst>
            <pc:docMk/>
            <pc:sldMk cId="3591700787" sldId="2147478562"/>
            <ac:spMk id="45" creationId="{5EE8DB00-7131-AB9C-DD39-1E9EA92B8938}"/>
          </ac:spMkLst>
        </pc:spChg>
        <pc:spChg chg="add del mod">
          <ac:chgData name="Steiner Andreas 6206 ED" userId="e6377c33-a923-4f14-8587-531c474c7b48" providerId="ADAL" clId="{6ECD27E6-B224-41CD-B4E0-E297462320DD}" dt="2023-11-23T19:55:11.709" v="4348"/>
          <ac:spMkLst>
            <pc:docMk/>
            <pc:sldMk cId="3591700787" sldId="2147478562"/>
            <ac:spMk id="46" creationId="{F1D282A9-5FBC-E6B7-BB34-75CCC61EDE8B}"/>
          </ac:spMkLst>
        </pc:spChg>
        <pc:spChg chg="add del mod">
          <ac:chgData name="Steiner Andreas 6206 ED" userId="e6377c33-a923-4f14-8587-531c474c7b48" providerId="ADAL" clId="{6ECD27E6-B224-41CD-B4E0-E297462320DD}" dt="2023-11-23T19:55:23.382" v="4503"/>
          <ac:spMkLst>
            <pc:docMk/>
            <pc:sldMk cId="3591700787" sldId="2147478562"/>
            <ac:spMk id="47" creationId="{0AA4E33C-F72F-28E4-F191-DA981561DB71}"/>
          </ac:spMkLst>
        </pc:spChg>
        <pc:spChg chg="add del mod">
          <ac:chgData name="Steiner Andreas 6206 ED" userId="e6377c33-a923-4f14-8587-531c474c7b48" providerId="ADAL" clId="{6ECD27E6-B224-41CD-B4E0-E297462320DD}" dt="2023-11-23T19:55:35.048" v="4658"/>
          <ac:spMkLst>
            <pc:docMk/>
            <pc:sldMk cId="3591700787" sldId="2147478562"/>
            <ac:spMk id="48" creationId="{2E9CDE46-57DE-A537-D8BB-BE98D5DE3212}"/>
          </ac:spMkLst>
        </pc:spChg>
        <pc:spChg chg="add del mod">
          <ac:chgData name="Steiner Andreas 6206 ED" userId="e6377c33-a923-4f14-8587-531c474c7b48" providerId="ADAL" clId="{6ECD27E6-B224-41CD-B4E0-E297462320DD}" dt="2023-11-23T19:55:46.320" v="4813"/>
          <ac:spMkLst>
            <pc:docMk/>
            <pc:sldMk cId="3591700787" sldId="2147478562"/>
            <ac:spMk id="49" creationId="{A0781479-C872-AD73-1B72-278990F51B7F}"/>
          </ac:spMkLst>
        </pc:spChg>
        <pc:spChg chg="add del mod">
          <ac:chgData name="Steiner Andreas 6206 ED" userId="e6377c33-a923-4f14-8587-531c474c7b48" providerId="ADAL" clId="{6ECD27E6-B224-41CD-B4E0-E297462320DD}" dt="2023-11-23T19:55:58.023" v="4968"/>
          <ac:spMkLst>
            <pc:docMk/>
            <pc:sldMk cId="3591700787" sldId="2147478562"/>
            <ac:spMk id="50" creationId="{533D4E7F-AEEC-5105-41C1-F00C4C7E7CCE}"/>
          </ac:spMkLst>
        </pc:spChg>
        <pc:spChg chg="add del mod">
          <ac:chgData name="Steiner Andreas 6206 ED" userId="e6377c33-a923-4f14-8587-531c474c7b48" providerId="ADAL" clId="{6ECD27E6-B224-41CD-B4E0-E297462320DD}" dt="2023-11-23T19:56:09.704" v="5123"/>
          <ac:spMkLst>
            <pc:docMk/>
            <pc:sldMk cId="3591700787" sldId="2147478562"/>
            <ac:spMk id="51" creationId="{F5F10EFF-F3DC-C5E4-BA35-C2B268C9566D}"/>
          </ac:spMkLst>
        </pc:spChg>
        <pc:spChg chg="add del mod">
          <ac:chgData name="Steiner Andreas 6206 ED" userId="e6377c33-a923-4f14-8587-531c474c7b48" providerId="ADAL" clId="{6ECD27E6-B224-41CD-B4E0-E297462320DD}" dt="2023-11-23T19:56:21.392" v="5278"/>
          <ac:spMkLst>
            <pc:docMk/>
            <pc:sldMk cId="3591700787" sldId="2147478562"/>
            <ac:spMk id="52" creationId="{E3C3F79A-9CEA-10CD-95C6-456480A3353C}"/>
          </ac:spMkLst>
        </pc:spChg>
        <pc:spChg chg="add del mod">
          <ac:chgData name="Steiner Andreas 6206 ED" userId="e6377c33-a923-4f14-8587-531c474c7b48" providerId="ADAL" clId="{6ECD27E6-B224-41CD-B4E0-E297462320DD}" dt="2023-11-23T19:56:33.074" v="5433"/>
          <ac:spMkLst>
            <pc:docMk/>
            <pc:sldMk cId="3591700787" sldId="2147478562"/>
            <ac:spMk id="53" creationId="{E4E8C133-7003-8FF2-797E-D8EDF71B9AA4}"/>
          </ac:spMkLst>
        </pc:spChg>
        <pc:spChg chg="add del mod">
          <ac:chgData name="Steiner Andreas 6206 ED" userId="e6377c33-a923-4f14-8587-531c474c7b48" providerId="ADAL" clId="{6ECD27E6-B224-41CD-B4E0-E297462320DD}" dt="2023-11-23T19:56:44.400" v="5588"/>
          <ac:spMkLst>
            <pc:docMk/>
            <pc:sldMk cId="3591700787" sldId="2147478562"/>
            <ac:spMk id="54" creationId="{04CF0F34-90C4-C261-4567-1902C0BCA0E6}"/>
          </ac:spMkLst>
        </pc:spChg>
        <pc:spChg chg="add del mod">
          <ac:chgData name="Steiner Andreas 6206 ED" userId="e6377c33-a923-4f14-8587-531c474c7b48" providerId="ADAL" clId="{6ECD27E6-B224-41CD-B4E0-E297462320DD}" dt="2023-11-23T19:56:54.811" v="5743"/>
          <ac:spMkLst>
            <pc:docMk/>
            <pc:sldMk cId="3591700787" sldId="2147478562"/>
            <ac:spMk id="55" creationId="{CCE59007-0CD3-9FD9-764A-C4CFA3D4F813}"/>
          </ac:spMkLst>
        </pc:spChg>
        <pc:spChg chg="add del mod">
          <ac:chgData name="Steiner Andreas 6206 ED" userId="e6377c33-a923-4f14-8587-531c474c7b48" providerId="ADAL" clId="{6ECD27E6-B224-41CD-B4E0-E297462320DD}" dt="2023-11-23T19:57:06.274" v="5898"/>
          <ac:spMkLst>
            <pc:docMk/>
            <pc:sldMk cId="3591700787" sldId="2147478562"/>
            <ac:spMk id="56" creationId="{F9A9B2E0-5A27-D303-DBBC-16FD80FBD4E8}"/>
          </ac:spMkLst>
        </pc:spChg>
        <pc:spChg chg="add del mod">
          <ac:chgData name="Steiner Andreas 6206 ED" userId="e6377c33-a923-4f14-8587-531c474c7b48" providerId="ADAL" clId="{6ECD27E6-B224-41CD-B4E0-E297462320DD}" dt="2023-11-23T19:57:17.978" v="6053"/>
          <ac:spMkLst>
            <pc:docMk/>
            <pc:sldMk cId="3591700787" sldId="2147478562"/>
            <ac:spMk id="57" creationId="{699781AB-148D-0DF7-FF27-096A5EE42C07}"/>
          </ac:spMkLst>
        </pc:spChg>
        <pc:spChg chg="add del mod">
          <ac:chgData name="Steiner Andreas 6206 ED" userId="e6377c33-a923-4f14-8587-531c474c7b48" providerId="ADAL" clId="{6ECD27E6-B224-41CD-B4E0-E297462320DD}" dt="2023-11-23T19:57:29.382" v="6208"/>
          <ac:spMkLst>
            <pc:docMk/>
            <pc:sldMk cId="3591700787" sldId="2147478562"/>
            <ac:spMk id="58" creationId="{237E96E5-9E75-8FC5-AE1A-9BB35330B5B7}"/>
          </ac:spMkLst>
        </pc:spChg>
        <pc:spChg chg="add del mod">
          <ac:chgData name="Steiner Andreas 6206 ED" userId="e6377c33-a923-4f14-8587-531c474c7b48" providerId="ADAL" clId="{6ECD27E6-B224-41CD-B4E0-E297462320DD}" dt="2023-11-23T19:57:41.044" v="6363"/>
          <ac:spMkLst>
            <pc:docMk/>
            <pc:sldMk cId="3591700787" sldId="2147478562"/>
            <ac:spMk id="59" creationId="{2789F37F-21EE-4F79-D8D2-FAF7AF01A5DD}"/>
          </ac:spMkLst>
        </pc:spChg>
        <pc:spChg chg="add del mod">
          <ac:chgData name="Steiner Andreas 6206 ED" userId="e6377c33-a923-4f14-8587-531c474c7b48" providerId="ADAL" clId="{6ECD27E6-B224-41CD-B4E0-E297462320DD}" dt="2023-11-23T19:57:52.709" v="6518"/>
          <ac:spMkLst>
            <pc:docMk/>
            <pc:sldMk cId="3591700787" sldId="2147478562"/>
            <ac:spMk id="60" creationId="{50E6A8E6-F5A7-EC62-26F3-2B5B39113CC5}"/>
          </ac:spMkLst>
        </pc:spChg>
        <pc:spChg chg="add del mod">
          <ac:chgData name="Steiner Andreas 6206 ED" userId="e6377c33-a923-4f14-8587-531c474c7b48" providerId="ADAL" clId="{6ECD27E6-B224-41CD-B4E0-E297462320DD}" dt="2023-11-23T19:58:04.424" v="6673"/>
          <ac:spMkLst>
            <pc:docMk/>
            <pc:sldMk cId="3591700787" sldId="2147478562"/>
            <ac:spMk id="61" creationId="{FFDE577A-047D-0288-A477-1809CBF580D9}"/>
          </ac:spMkLst>
        </pc:spChg>
        <pc:spChg chg="add del mod">
          <ac:chgData name="Steiner Andreas 6206 ED" userId="e6377c33-a923-4f14-8587-531c474c7b48" providerId="ADAL" clId="{6ECD27E6-B224-41CD-B4E0-E297462320DD}" dt="2023-11-23T19:58:15.778" v="6828"/>
          <ac:spMkLst>
            <pc:docMk/>
            <pc:sldMk cId="3591700787" sldId="2147478562"/>
            <ac:spMk id="62" creationId="{9BC6D849-B711-D117-E685-76894FD56AEE}"/>
          </ac:spMkLst>
        </pc:spChg>
        <pc:spChg chg="add del mod">
          <ac:chgData name="Steiner Andreas 6206 ED" userId="e6377c33-a923-4f14-8587-531c474c7b48" providerId="ADAL" clId="{6ECD27E6-B224-41CD-B4E0-E297462320DD}" dt="2023-11-23T19:58:27.942" v="6983"/>
          <ac:spMkLst>
            <pc:docMk/>
            <pc:sldMk cId="3591700787" sldId="2147478562"/>
            <ac:spMk id="63" creationId="{CF6EC7CE-0096-DDC1-44A6-FEAED7C6B02E}"/>
          </ac:spMkLst>
        </pc:spChg>
        <pc:spChg chg="add del mod">
          <ac:chgData name="Steiner Andreas 6206 ED" userId="e6377c33-a923-4f14-8587-531c474c7b48" providerId="ADAL" clId="{6ECD27E6-B224-41CD-B4E0-E297462320DD}" dt="2023-11-23T19:58:39.674" v="7138"/>
          <ac:spMkLst>
            <pc:docMk/>
            <pc:sldMk cId="3591700787" sldId="2147478562"/>
            <ac:spMk id="64" creationId="{1E6E5992-EC89-2AE8-216F-0A1BD6A9C8FD}"/>
          </ac:spMkLst>
        </pc:spChg>
        <pc:spChg chg="add del mod">
          <ac:chgData name="Steiner Andreas 6206 ED" userId="e6377c33-a923-4f14-8587-531c474c7b48" providerId="ADAL" clId="{6ECD27E6-B224-41CD-B4E0-E297462320DD}" dt="2023-11-23T19:58:51.364" v="7293"/>
          <ac:spMkLst>
            <pc:docMk/>
            <pc:sldMk cId="3591700787" sldId="2147478562"/>
            <ac:spMk id="65" creationId="{574058AA-A718-3A1D-74AA-21E915DBB23C}"/>
          </ac:spMkLst>
        </pc:spChg>
        <pc:spChg chg="add del mod">
          <ac:chgData name="Steiner Andreas 6206 ED" userId="e6377c33-a923-4f14-8587-531c474c7b48" providerId="ADAL" clId="{6ECD27E6-B224-41CD-B4E0-E297462320DD}" dt="2023-11-23T19:59:02.695" v="7448"/>
          <ac:spMkLst>
            <pc:docMk/>
            <pc:sldMk cId="3591700787" sldId="2147478562"/>
            <ac:spMk id="66" creationId="{38EE845C-66A8-EFBB-2E0D-187F0758B47B}"/>
          </ac:spMkLst>
        </pc:spChg>
        <pc:spChg chg="add del mod">
          <ac:chgData name="Steiner Andreas 6206 ED" userId="e6377c33-a923-4f14-8587-531c474c7b48" providerId="ADAL" clId="{6ECD27E6-B224-41CD-B4E0-E297462320DD}" dt="2023-11-24T08:31:41.598" v="7603"/>
          <ac:spMkLst>
            <pc:docMk/>
            <pc:sldMk cId="3591700787" sldId="2147478562"/>
            <ac:spMk id="67" creationId="{7DBE1CAA-F78B-1E71-0CA8-57B2509A6207}"/>
          </ac:spMkLst>
        </pc:spChg>
        <pc:spChg chg="add del mod">
          <ac:chgData name="Steiner Andreas 6206 ED" userId="e6377c33-a923-4f14-8587-531c474c7b48" providerId="ADAL" clId="{6ECD27E6-B224-41CD-B4E0-E297462320DD}" dt="2023-11-24T08:31:45.282" v="7758"/>
          <ac:spMkLst>
            <pc:docMk/>
            <pc:sldMk cId="3591700787" sldId="2147478562"/>
            <ac:spMk id="68" creationId="{B8587241-E79E-D5B5-948C-7898A176EB4F}"/>
          </ac:spMkLst>
        </pc:spChg>
        <pc:spChg chg="add del mod">
          <ac:chgData name="Steiner Andreas 6206 ED" userId="e6377c33-a923-4f14-8587-531c474c7b48" providerId="ADAL" clId="{6ECD27E6-B224-41CD-B4E0-E297462320DD}" dt="2023-11-24T08:31:47.117" v="7913"/>
          <ac:spMkLst>
            <pc:docMk/>
            <pc:sldMk cId="3591700787" sldId="2147478562"/>
            <ac:spMk id="69" creationId="{CD0EF64C-757F-8FA5-BE19-FE02F5C3E4A8}"/>
          </ac:spMkLst>
        </pc:spChg>
        <pc:spChg chg="add del mod">
          <ac:chgData name="Steiner Andreas 6206 ED" userId="e6377c33-a923-4f14-8587-531c474c7b48" providerId="ADAL" clId="{6ECD27E6-B224-41CD-B4E0-E297462320DD}" dt="2023-11-24T08:31:49.008" v="8068"/>
          <ac:spMkLst>
            <pc:docMk/>
            <pc:sldMk cId="3591700787" sldId="2147478562"/>
            <ac:spMk id="70" creationId="{510F9587-1E7E-DE54-AF9E-34B00D6E5DC5}"/>
          </ac:spMkLst>
        </pc:spChg>
        <pc:spChg chg="add del mod">
          <ac:chgData name="Steiner Andreas 6206 ED" userId="e6377c33-a923-4f14-8587-531c474c7b48" providerId="ADAL" clId="{6ECD27E6-B224-41CD-B4E0-E297462320DD}" dt="2023-11-24T08:31:50.843" v="8223"/>
          <ac:spMkLst>
            <pc:docMk/>
            <pc:sldMk cId="3591700787" sldId="2147478562"/>
            <ac:spMk id="71" creationId="{256DAB25-4E22-A9A3-C55C-E91E168258E1}"/>
          </ac:spMkLst>
        </pc:spChg>
        <pc:spChg chg="add del mod">
          <ac:chgData name="Steiner Andreas 6206 ED" userId="e6377c33-a923-4f14-8587-531c474c7b48" providerId="ADAL" clId="{6ECD27E6-B224-41CD-B4E0-E297462320DD}" dt="2023-11-24T08:31:52.658" v="8378"/>
          <ac:spMkLst>
            <pc:docMk/>
            <pc:sldMk cId="3591700787" sldId="2147478562"/>
            <ac:spMk id="72" creationId="{E486072F-B751-122F-0406-A50BA7405A35}"/>
          </ac:spMkLst>
        </pc:spChg>
        <pc:spChg chg="add del mod">
          <ac:chgData name="Steiner Andreas 6206 ED" userId="e6377c33-a923-4f14-8587-531c474c7b48" providerId="ADAL" clId="{6ECD27E6-B224-41CD-B4E0-E297462320DD}" dt="2023-11-24T08:31:54.449" v="8533"/>
          <ac:spMkLst>
            <pc:docMk/>
            <pc:sldMk cId="3591700787" sldId="2147478562"/>
            <ac:spMk id="73" creationId="{67F159C2-B926-4A8B-33E5-BE4E2045B310}"/>
          </ac:spMkLst>
        </pc:spChg>
        <pc:spChg chg="add del mod">
          <ac:chgData name="Steiner Andreas 6206 ED" userId="e6377c33-a923-4f14-8587-531c474c7b48" providerId="ADAL" clId="{6ECD27E6-B224-41CD-B4E0-E297462320DD}" dt="2023-11-24T08:31:56.293" v="8688"/>
          <ac:spMkLst>
            <pc:docMk/>
            <pc:sldMk cId="3591700787" sldId="2147478562"/>
            <ac:spMk id="74" creationId="{819A242F-D2CD-320E-806F-9EB1C616D25F}"/>
          </ac:spMkLst>
        </pc:spChg>
        <pc:spChg chg="add del mod">
          <ac:chgData name="Steiner Andreas 6206 ED" userId="e6377c33-a923-4f14-8587-531c474c7b48" providerId="ADAL" clId="{6ECD27E6-B224-41CD-B4E0-E297462320DD}" dt="2023-11-24T08:31:58.186" v="8843"/>
          <ac:spMkLst>
            <pc:docMk/>
            <pc:sldMk cId="3591700787" sldId="2147478562"/>
            <ac:spMk id="75" creationId="{7DA1079C-BF36-4EE3-36CA-4C5900D8BC5D}"/>
          </ac:spMkLst>
        </pc:spChg>
        <pc:spChg chg="add del mod">
          <ac:chgData name="Steiner Andreas 6206 ED" userId="e6377c33-a923-4f14-8587-531c474c7b48" providerId="ADAL" clId="{6ECD27E6-B224-41CD-B4E0-E297462320DD}" dt="2023-11-24T08:32:00.983" v="8998"/>
          <ac:spMkLst>
            <pc:docMk/>
            <pc:sldMk cId="3591700787" sldId="2147478562"/>
            <ac:spMk id="76" creationId="{8493A444-30E3-2441-C63F-BC3643F6BCB0}"/>
          </ac:spMkLst>
        </pc:spChg>
        <pc:spChg chg="add del mod">
          <ac:chgData name="Steiner Andreas 6206 ED" userId="e6377c33-a923-4f14-8587-531c474c7b48" providerId="ADAL" clId="{6ECD27E6-B224-41CD-B4E0-E297462320DD}" dt="2023-11-24T08:32:03.269" v="9153"/>
          <ac:spMkLst>
            <pc:docMk/>
            <pc:sldMk cId="3591700787" sldId="2147478562"/>
            <ac:spMk id="77" creationId="{CFBA1D7C-91F2-DC8E-A86D-33B945C484D5}"/>
          </ac:spMkLst>
        </pc:spChg>
        <pc:spChg chg="add del mod">
          <ac:chgData name="Steiner Andreas 6206 ED" userId="e6377c33-a923-4f14-8587-531c474c7b48" providerId="ADAL" clId="{6ECD27E6-B224-41CD-B4E0-E297462320DD}" dt="2023-11-24T08:32:05.288" v="9308"/>
          <ac:spMkLst>
            <pc:docMk/>
            <pc:sldMk cId="3591700787" sldId="2147478562"/>
            <ac:spMk id="78" creationId="{BC342A10-A44B-EC39-43A3-8850DE0A7327}"/>
          </ac:spMkLst>
        </pc:spChg>
        <pc:spChg chg="add del mod">
          <ac:chgData name="Steiner Andreas 6206 ED" userId="e6377c33-a923-4f14-8587-531c474c7b48" providerId="ADAL" clId="{6ECD27E6-B224-41CD-B4E0-E297462320DD}" dt="2023-11-24T08:32:07.241" v="9463"/>
          <ac:spMkLst>
            <pc:docMk/>
            <pc:sldMk cId="3591700787" sldId="2147478562"/>
            <ac:spMk id="79" creationId="{AE2090E9-DEFE-8590-9970-FA336D276506}"/>
          </ac:spMkLst>
        </pc:spChg>
        <pc:spChg chg="add del mod">
          <ac:chgData name="Steiner Andreas 6206 ED" userId="e6377c33-a923-4f14-8587-531c474c7b48" providerId="ADAL" clId="{6ECD27E6-B224-41CD-B4E0-E297462320DD}" dt="2023-11-24T08:32:09.578" v="9618"/>
          <ac:spMkLst>
            <pc:docMk/>
            <pc:sldMk cId="3591700787" sldId="2147478562"/>
            <ac:spMk id="80" creationId="{FD2318A1-E093-08F9-EE9D-2533317BD298}"/>
          </ac:spMkLst>
        </pc:spChg>
        <pc:spChg chg="add del mod">
          <ac:chgData name="Steiner Andreas 6206 ED" userId="e6377c33-a923-4f14-8587-531c474c7b48" providerId="ADAL" clId="{6ECD27E6-B224-41CD-B4E0-E297462320DD}" dt="2023-11-24T08:32:11.887" v="9773"/>
          <ac:spMkLst>
            <pc:docMk/>
            <pc:sldMk cId="3591700787" sldId="2147478562"/>
            <ac:spMk id="81" creationId="{2CE81292-F25D-39F1-A3C6-28BB821E7EFC}"/>
          </ac:spMkLst>
        </pc:spChg>
        <pc:spChg chg="add del mod">
          <ac:chgData name="Steiner Andreas 6206 ED" userId="e6377c33-a923-4f14-8587-531c474c7b48" providerId="ADAL" clId="{6ECD27E6-B224-41CD-B4E0-E297462320DD}" dt="2023-11-24T08:32:14.034" v="9928"/>
          <ac:spMkLst>
            <pc:docMk/>
            <pc:sldMk cId="3591700787" sldId="2147478562"/>
            <ac:spMk id="82" creationId="{0FF4F7EA-10B6-F781-2FA9-D9B11C1A415A}"/>
          </ac:spMkLst>
        </pc:spChg>
        <pc:spChg chg="add del mod">
          <ac:chgData name="Steiner Andreas 6206 ED" userId="e6377c33-a923-4f14-8587-531c474c7b48" providerId="ADAL" clId="{6ECD27E6-B224-41CD-B4E0-E297462320DD}" dt="2023-11-24T08:32:15.976" v="10083"/>
          <ac:spMkLst>
            <pc:docMk/>
            <pc:sldMk cId="3591700787" sldId="2147478562"/>
            <ac:spMk id="83" creationId="{06F5C280-7502-9F9C-1393-813B34F28E01}"/>
          </ac:spMkLst>
        </pc:spChg>
        <pc:spChg chg="add del mod">
          <ac:chgData name="Steiner Andreas 6206 ED" userId="e6377c33-a923-4f14-8587-531c474c7b48" providerId="ADAL" clId="{6ECD27E6-B224-41CD-B4E0-E297462320DD}" dt="2023-11-24T08:32:17.965" v="10238"/>
          <ac:spMkLst>
            <pc:docMk/>
            <pc:sldMk cId="3591700787" sldId="2147478562"/>
            <ac:spMk id="84" creationId="{8D8747FE-D8A6-13C6-3042-EB997429449A}"/>
          </ac:spMkLst>
        </pc:spChg>
        <pc:spChg chg="add del mod">
          <ac:chgData name="Steiner Andreas 6206 ED" userId="e6377c33-a923-4f14-8587-531c474c7b48" providerId="ADAL" clId="{6ECD27E6-B224-41CD-B4E0-E297462320DD}" dt="2023-11-24T08:32:19.946" v="10393"/>
          <ac:spMkLst>
            <pc:docMk/>
            <pc:sldMk cId="3591700787" sldId="2147478562"/>
            <ac:spMk id="85" creationId="{9EFBAEEB-F570-D264-A9AB-527F9F8A2B13}"/>
          </ac:spMkLst>
        </pc:spChg>
        <pc:spChg chg="add del mod">
          <ac:chgData name="Steiner Andreas 6206 ED" userId="e6377c33-a923-4f14-8587-531c474c7b48" providerId="ADAL" clId="{6ECD27E6-B224-41CD-B4E0-E297462320DD}" dt="2023-11-24T08:32:21.887" v="10548"/>
          <ac:spMkLst>
            <pc:docMk/>
            <pc:sldMk cId="3591700787" sldId="2147478562"/>
            <ac:spMk id="86" creationId="{06B2FB95-DE94-36DD-D753-5BAF80986577}"/>
          </ac:spMkLst>
        </pc:spChg>
        <pc:spChg chg="add del mod">
          <ac:chgData name="Steiner Andreas 6206 ED" userId="e6377c33-a923-4f14-8587-531c474c7b48" providerId="ADAL" clId="{6ECD27E6-B224-41CD-B4E0-E297462320DD}" dt="2023-11-24T08:32:24.076" v="10703"/>
          <ac:spMkLst>
            <pc:docMk/>
            <pc:sldMk cId="3591700787" sldId="2147478562"/>
            <ac:spMk id="87" creationId="{F774512A-B2C0-1E74-A030-0FA4B9CAA932}"/>
          </ac:spMkLst>
        </pc:spChg>
        <pc:spChg chg="add del mod">
          <ac:chgData name="Steiner Andreas 6206 ED" userId="e6377c33-a923-4f14-8587-531c474c7b48" providerId="ADAL" clId="{6ECD27E6-B224-41CD-B4E0-E297462320DD}" dt="2023-11-24T08:32:26.014" v="10858"/>
          <ac:spMkLst>
            <pc:docMk/>
            <pc:sldMk cId="3591700787" sldId="2147478562"/>
            <ac:spMk id="88" creationId="{9279D9ED-B8B7-3763-2332-EA547589B316}"/>
          </ac:spMkLst>
        </pc:spChg>
        <pc:spChg chg="add del mod">
          <ac:chgData name="Steiner Andreas 6206 ED" userId="e6377c33-a923-4f14-8587-531c474c7b48" providerId="ADAL" clId="{6ECD27E6-B224-41CD-B4E0-E297462320DD}" dt="2023-11-24T08:32:28.013" v="11013"/>
          <ac:spMkLst>
            <pc:docMk/>
            <pc:sldMk cId="3591700787" sldId="2147478562"/>
            <ac:spMk id="89" creationId="{9994E02D-0C9D-4F7D-7EA4-60222DB474A1}"/>
          </ac:spMkLst>
        </pc:spChg>
        <pc:spChg chg="add del mod">
          <ac:chgData name="Steiner Andreas 6206 ED" userId="e6377c33-a923-4f14-8587-531c474c7b48" providerId="ADAL" clId="{6ECD27E6-B224-41CD-B4E0-E297462320DD}" dt="2023-11-24T08:32:29.907" v="11168"/>
          <ac:spMkLst>
            <pc:docMk/>
            <pc:sldMk cId="3591700787" sldId="2147478562"/>
            <ac:spMk id="90" creationId="{2BD7C921-0E84-46CF-0C36-E79CEE825102}"/>
          </ac:spMkLst>
        </pc:spChg>
        <pc:spChg chg="add del mod">
          <ac:chgData name="Steiner Andreas 6206 ED" userId="e6377c33-a923-4f14-8587-531c474c7b48" providerId="ADAL" clId="{6ECD27E6-B224-41CD-B4E0-E297462320DD}" dt="2023-11-24T08:32:32.048" v="11323"/>
          <ac:spMkLst>
            <pc:docMk/>
            <pc:sldMk cId="3591700787" sldId="2147478562"/>
            <ac:spMk id="91" creationId="{086AFC1D-A404-BEFA-CF1A-44D772861B5A}"/>
          </ac:spMkLst>
        </pc:spChg>
        <pc:spChg chg="add del mod">
          <ac:chgData name="Steiner Andreas 6206 ED" userId="e6377c33-a923-4f14-8587-531c474c7b48" providerId="ADAL" clId="{6ECD27E6-B224-41CD-B4E0-E297462320DD}" dt="2023-11-24T08:32:34.445" v="11478"/>
          <ac:spMkLst>
            <pc:docMk/>
            <pc:sldMk cId="3591700787" sldId="2147478562"/>
            <ac:spMk id="92" creationId="{3D2BAC26-734D-7E75-C8F3-9D8DA1FAA655}"/>
          </ac:spMkLst>
        </pc:spChg>
        <pc:spChg chg="add del mod">
          <ac:chgData name="Steiner Andreas 6206 ED" userId="e6377c33-a923-4f14-8587-531c474c7b48" providerId="ADAL" clId="{6ECD27E6-B224-41CD-B4E0-E297462320DD}" dt="2023-11-24T08:32:36.760" v="11633"/>
          <ac:spMkLst>
            <pc:docMk/>
            <pc:sldMk cId="3591700787" sldId="2147478562"/>
            <ac:spMk id="93" creationId="{4700F519-6AC8-EE30-0499-79DC3A191628}"/>
          </ac:spMkLst>
        </pc:spChg>
        <pc:spChg chg="add del mod">
          <ac:chgData name="Steiner Andreas 6206 ED" userId="e6377c33-a923-4f14-8587-531c474c7b48" providerId="ADAL" clId="{6ECD27E6-B224-41CD-B4E0-E297462320DD}" dt="2023-11-24T08:32:38.683" v="11788"/>
          <ac:spMkLst>
            <pc:docMk/>
            <pc:sldMk cId="3591700787" sldId="2147478562"/>
            <ac:spMk id="94" creationId="{3A1B75DD-5601-C57E-C5A2-D751D2380DB1}"/>
          </ac:spMkLst>
        </pc:spChg>
        <pc:spChg chg="add del mod">
          <ac:chgData name="Steiner Andreas 6206 ED" userId="e6377c33-a923-4f14-8587-531c474c7b48" providerId="ADAL" clId="{6ECD27E6-B224-41CD-B4E0-E297462320DD}" dt="2023-11-24T08:32:40.801" v="11943"/>
          <ac:spMkLst>
            <pc:docMk/>
            <pc:sldMk cId="3591700787" sldId="2147478562"/>
            <ac:spMk id="95" creationId="{AE34252B-1774-6A82-FB62-C8790411EBC4}"/>
          </ac:spMkLst>
        </pc:spChg>
        <pc:spChg chg="add del mod">
          <ac:chgData name="Steiner Andreas 6206 ED" userId="e6377c33-a923-4f14-8587-531c474c7b48" providerId="ADAL" clId="{6ECD27E6-B224-41CD-B4E0-E297462320DD}" dt="2023-11-24T08:32:42.962" v="12098"/>
          <ac:spMkLst>
            <pc:docMk/>
            <pc:sldMk cId="3591700787" sldId="2147478562"/>
            <ac:spMk id="96" creationId="{F678B698-402B-6211-289A-AA3172335A7A}"/>
          </ac:spMkLst>
        </pc:spChg>
        <pc:spChg chg="add del mod">
          <ac:chgData name="Steiner Andreas 6206 ED" userId="e6377c33-a923-4f14-8587-531c474c7b48" providerId="ADAL" clId="{6ECD27E6-B224-41CD-B4E0-E297462320DD}" dt="2023-11-24T08:32:45.092" v="12253"/>
          <ac:spMkLst>
            <pc:docMk/>
            <pc:sldMk cId="3591700787" sldId="2147478562"/>
            <ac:spMk id="97" creationId="{516F61EF-D1FC-476B-02D0-CBE36E62A47B}"/>
          </ac:spMkLst>
        </pc:spChg>
        <pc:spChg chg="add del mod">
          <ac:chgData name="Steiner Andreas 6206 ED" userId="e6377c33-a923-4f14-8587-531c474c7b48" providerId="ADAL" clId="{6ECD27E6-B224-41CD-B4E0-E297462320DD}" dt="2023-11-24T08:32:47.285" v="12408"/>
          <ac:spMkLst>
            <pc:docMk/>
            <pc:sldMk cId="3591700787" sldId="2147478562"/>
            <ac:spMk id="98" creationId="{564002D9-0CA9-D68C-F973-E902D2C430DB}"/>
          </ac:spMkLst>
        </pc:spChg>
        <pc:spChg chg="add del mod">
          <ac:chgData name="Steiner Andreas 6206 ED" userId="e6377c33-a923-4f14-8587-531c474c7b48" providerId="ADAL" clId="{6ECD27E6-B224-41CD-B4E0-E297462320DD}" dt="2023-11-24T08:32:49.341" v="12563"/>
          <ac:spMkLst>
            <pc:docMk/>
            <pc:sldMk cId="3591700787" sldId="2147478562"/>
            <ac:spMk id="99" creationId="{CE1075FF-D8F7-3A5E-64AC-676A77EBE965}"/>
          </ac:spMkLst>
        </pc:spChg>
        <pc:spChg chg="add del mod">
          <ac:chgData name="Steiner Andreas 6206 ED" userId="e6377c33-a923-4f14-8587-531c474c7b48" providerId="ADAL" clId="{6ECD27E6-B224-41CD-B4E0-E297462320DD}" dt="2023-11-24T08:32:51.274" v="12718"/>
          <ac:spMkLst>
            <pc:docMk/>
            <pc:sldMk cId="3591700787" sldId="2147478562"/>
            <ac:spMk id="100" creationId="{2DEFF534-4700-7C22-C008-3B644B93EDC2}"/>
          </ac:spMkLst>
        </pc:spChg>
        <pc:spChg chg="add del mod">
          <ac:chgData name="Steiner Andreas 6206 ED" userId="e6377c33-a923-4f14-8587-531c474c7b48" providerId="ADAL" clId="{6ECD27E6-B224-41CD-B4E0-E297462320DD}" dt="2023-11-24T08:32:53.284" v="12873"/>
          <ac:spMkLst>
            <pc:docMk/>
            <pc:sldMk cId="3591700787" sldId="2147478562"/>
            <ac:spMk id="101" creationId="{F3665261-AE7A-6D60-85D2-005C7D030CC6}"/>
          </ac:spMkLst>
        </pc:spChg>
        <pc:spChg chg="add del mod">
          <ac:chgData name="Steiner Andreas 6206 ED" userId="e6377c33-a923-4f14-8587-531c474c7b48" providerId="ADAL" clId="{6ECD27E6-B224-41CD-B4E0-E297462320DD}" dt="2023-11-24T08:32:55.276" v="13028"/>
          <ac:spMkLst>
            <pc:docMk/>
            <pc:sldMk cId="3591700787" sldId="2147478562"/>
            <ac:spMk id="102" creationId="{AE1F99CC-CAEA-7D06-BFAC-BBD7D4B6DE66}"/>
          </ac:spMkLst>
        </pc:spChg>
        <pc:spChg chg="add del mod">
          <ac:chgData name="Steiner Andreas 6206 ED" userId="e6377c33-a923-4f14-8587-531c474c7b48" providerId="ADAL" clId="{6ECD27E6-B224-41CD-B4E0-E297462320DD}" dt="2023-11-24T08:32:57.202" v="13183"/>
          <ac:spMkLst>
            <pc:docMk/>
            <pc:sldMk cId="3591700787" sldId="2147478562"/>
            <ac:spMk id="103" creationId="{87FDA797-3A08-9B58-32C1-9C1ABFA08EA0}"/>
          </ac:spMkLst>
        </pc:spChg>
        <pc:spChg chg="add del mod">
          <ac:chgData name="Steiner Andreas 6206 ED" userId="e6377c33-a923-4f14-8587-531c474c7b48" providerId="ADAL" clId="{6ECD27E6-B224-41CD-B4E0-E297462320DD}" dt="2023-11-24T08:32:59.309" v="13338"/>
          <ac:spMkLst>
            <pc:docMk/>
            <pc:sldMk cId="3591700787" sldId="2147478562"/>
            <ac:spMk id="104" creationId="{A64175F3-03F9-0453-A458-BAA56E6D7F75}"/>
          </ac:spMkLst>
        </pc:spChg>
        <pc:spChg chg="add del mod">
          <ac:chgData name="Steiner Andreas 6206 ED" userId="e6377c33-a923-4f14-8587-531c474c7b48" providerId="ADAL" clId="{6ECD27E6-B224-41CD-B4E0-E297462320DD}" dt="2023-11-24T08:33:01.457" v="13493"/>
          <ac:spMkLst>
            <pc:docMk/>
            <pc:sldMk cId="3591700787" sldId="2147478562"/>
            <ac:spMk id="105" creationId="{C2DCF62A-24A2-7C2F-EE31-02152A079070}"/>
          </ac:spMkLst>
        </pc:spChg>
        <pc:spChg chg="add del mod">
          <ac:chgData name="Steiner Andreas 6206 ED" userId="e6377c33-a923-4f14-8587-531c474c7b48" providerId="ADAL" clId="{6ECD27E6-B224-41CD-B4E0-E297462320DD}" dt="2023-11-24T08:33:03.798" v="13648"/>
          <ac:spMkLst>
            <pc:docMk/>
            <pc:sldMk cId="3591700787" sldId="2147478562"/>
            <ac:spMk id="106" creationId="{06F0136D-78D4-A62A-A3F9-EF8CA686BD74}"/>
          </ac:spMkLst>
        </pc:spChg>
        <pc:spChg chg="add del mod">
          <ac:chgData name="Steiner Andreas 6206 ED" userId="e6377c33-a923-4f14-8587-531c474c7b48" providerId="ADAL" clId="{6ECD27E6-B224-41CD-B4E0-E297462320DD}" dt="2023-11-24T08:33:06.173" v="13803"/>
          <ac:spMkLst>
            <pc:docMk/>
            <pc:sldMk cId="3591700787" sldId="2147478562"/>
            <ac:spMk id="107" creationId="{76A23CBA-BB74-459B-AE7F-1EE741FE5DC2}"/>
          </ac:spMkLst>
        </pc:spChg>
        <pc:spChg chg="add del mod">
          <ac:chgData name="Steiner Andreas 6206 ED" userId="e6377c33-a923-4f14-8587-531c474c7b48" providerId="ADAL" clId="{6ECD27E6-B224-41CD-B4E0-E297462320DD}" dt="2023-11-24T08:33:08.402" v="13958"/>
          <ac:spMkLst>
            <pc:docMk/>
            <pc:sldMk cId="3591700787" sldId="2147478562"/>
            <ac:spMk id="108" creationId="{8202D22C-53BB-50DE-F1CF-4FDB715E4099}"/>
          </ac:spMkLst>
        </pc:spChg>
        <pc:spChg chg="add del mod">
          <ac:chgData name="Steiner Andreas 6206 ED" userId="e6377c33-a923-4f14-8587-531c474c7b48" providerId="ADAL" clId="{6ECD27E6-B224-41CD-B4E0-E297462320DD}" dt="2023-11-24T08:33:10.824" v="14113"/>
          <ac:spMkLst>
            <pc:docMk/>
            <pc:sldMk cId="3591700787" sldId="2147478562"/>
            <ac:spMk id="109" creationId="{DE264AFC-E77F-2C9C-E2E8-9FD7D8872244}"/>
          </ac:spMkLst>
        </pc:spChg>
        <pc:spChg chg="add del mod">
          <ac:chgData name="Steiner Andreas 6206 ED" userId="e6377c33-a923-4f14-8587-531c474c7b48" providerId="ADAL" clId="{6ECD27E6-B224-41CD-B4E0-E297462320DD}" dt="2023-11-24T08:33:12.769" v="14268"/>
          <ac:spMkLst>
            <pc:docMk/>
            <pc:sldMk cId="3591700787" sldId="2147478562"/>
            <ac:spMk id="110" creationId="{C1394F94-475D-FFCD-8334-A81495B8D614}"/>
          </ac:spMkLst>
        </pc:spChg>
        <pc:spChg chg="add del mod">
          <ac:chgData name="Steiner Andreas 6206 ED" userId="e6377c33-a923-4f14-8587-531c474c7b48" providerId="ADAL" clId="{6ECD27E6-B224-41CD-B4E0-E297462320DD}" dt="2023-11-24T08:33:14.656" v="14423"/>
          <ac:spMkLst>
            <pc:docMk/>
            <pc:sldMk cId="3591700787" sldId="2147478562"/>
            <ac:spMk id="111" creationId="{AED01B85-014F-4E4E-0F22-0B4713A75CBC}"/>
          </ac:spMkLst>
        </pc:spChg>
        <pc:spChg chg="add del mod">
          <ac:chgData name="Steiner Andreas 6206 ED" userId="e6377c33-a923-4f14-8587-531c474c7b48" providerId="ADAL" clId="{6ECD27E6-B224-41CD-B4E0-E297462320DD}" dt="2023-11-24T08:33:16.690" v="14578"/>
          <ac:spMkLst>
            <pc:docMk/>
            <pc:sldMk cId="3591700787" sldId="2147478562"/>
            <ac:spMk id="112" creationId="{C1546B13-DE5B-2F29-1B52-1C28C3D2EC20}"/>
          </ac:spMkLst>
        </pc:spChg>
        <pc:spChg chg="add del mod">
          <ac:chgData name="Steiner Andreas 6206 ED" userId="e6377c33-a923-4f14-8587-531c474c7b48" providerId="ADAL" clId="{6ECD27E6-B224-41CD-B4E0-E297462320DD}" dt="2023-11-24T08:33:19.003" v="14733"/>
          <ac:spMkLst>
            <pc:docMk/>
            <pc:sldMk cId="3591700787" sldId="2147478562"/>
            <ac:spMk id="113" creationId="{4D17BC28-7CAE-8E91-75F6-7AAD1E3BBA3F}"/>
          </ac:spMkLst>
        </pc:spChg>
        <pc:spChg chg="add del mod">
          <ac:chgData name="Steiner Andreas 6206 ED" userId="e6377c33-a923-4f14-8587-531c474c7b48" providerId="ADAL" clId="{6ECD27E6-B224-41CD-B4E0-E297462320DD}" dt="2023-11-24T08:33:21.472" v="14888"/>
          <ac:spMkLst>
            <pc:docMk/>
            <pc:sldMk cId="3591700787" sldId="2147478562"/>
            <ac:spMk id="114" creationId="{A730C404-8802-F4BC-D738-6F7E5C3B57A7}"/>
          </ac:spMkLst>
        </pc:spChg>
        <pc:spChg chg="add del mod">
          <ac:chgData name="Steiner Andreas 6206 ED" userId="e6377c33-a923-4f14-8587-531c474c7b48" providerId="ADAL" clId="{6ECD27E6-B224-41CD-B4E0-E297462320DD}" dt="2023-11-24T08:33:23.803" v="15043"/>
          <ac:spMkLst>
            <pc:docMk/>
            <pc:sldMk cId="3591700787" sldId="2147478562"/>
            <ac:spMk id="115" creationId="{04F030F0-1133-4DA2-622D-A38EA0244A3D}"/>
          </ac:spMkLst>
        </pc:spChg>
        <pc:spChg chg="add del mod">
          <ac:chgData name="Steiner Andreas 6206 ED" userId="e6377c33-a923-4f14-8587-531c474c7b48" providerId="ADAL" clId="{6ECD27E6-B224-41CD-B4E0-E297462320DD}" dt="2023-11-24T08:33:26.147" v="15198"/>
          <ac:spMkLst>
            <pc:docMk/>
            <pc:sldMk cId="3591700787" sldId="2147478562"/>
            <ac:spMk id="116" creationId="{9842F01C-A419-7D8F-6D3D-00157753A625}"/>
          </ac:spMkLst>
        </pc:spChg>
        <pc:spChg chg="add del mod">
          <ac:chgData name="Steiner Andreas 6206 ED" userId="e6377c33-a923-4f14-8587-531c474c7b48" providerId="ADAL" clId="{6ECD27E6-B224-41CD-B4E0-E297462320DD}" dt="2023-11-24T08:33:28.492" v="15353"/>
          <ac:spMkLst>
            <pc:docMk/>
            <pc:sldMk cId="3591700787" sldId="2147478562"/>
            <ac:spMk id="117" creationId="{AB3E1E1B-B132-97A9-7F8B-3CAE3442BFE9}"/>
          </ac:spMkLst>
        </pc:spChg>
        <pc:spChg chg="add del mod">
          <ac:chgData name="Steiner Andreas 6206 ED" userId="e6377c33-a923-4f14-8587-531c474c7b48" providerId="ADAL" clId="{6ECD27E6-B224-41CD-B4E0-E297462320DD}" dt="2023-11-24T08:33:30.948" v="15508"/>
          <ac:spMkLst>
            <pc:docMk/>
            <pc:sldMk cId="3591700787" sldId="2147478562"/>
            <ac:spMk id="118" creationId="{9CBDDB4B-2558-423F-DD1A-4694A4BFC6D5}"/>
          </ac:spMkLst>
        </pc:spChg>
        <pc:spChg chg="add del mod">
          <ac:chgData name="Steiner Andreas 6206 ED" userId="e6377c33-a923-4f14-8587-531c474c7b48" providerId="ADAL" clId="{6ECD27E6-B224-41CD-B4E0-E297462320DD}" dt="2023-11-24T08:33:33.688" v="15663"/>
          <ac:spMkLst>
            <pc:docMk/>
            <pc:sldMk cId="3591700787" sldId="2147478562"/>
            <ac:spMk id="119" creationId="{7FB4C78F-820E-971C-CF94-3827AE305E3D}"/>
          </ac:spMkLst>
        </pc:spChg>
        <pc:spChg chg="add del mod">
          <ac:chgData name="Steiner Andreas 6206 ED" userId="e6377c33-a923-4f14-8587-531c474c7b48" providerId="ADAL" clId="{6ECD27E6-B224-41CD-B4E0-E297462320DD}" dt="2023-11-24T08:33:35.977" v="15818"/>
          <ac:spMkLst>
            <pc:docMk/>
            <pc:sldMk cId="3591700787" sldId="2147478562"/>
            <ac:spMk id="120" creationId="{4EA898E2-4BB6-1DB3-9988-DD39EFEF3342}"/>
          </ac:spMkLst>
        </pc:spChg>
        <pc:spChg chg="add del mod">
          <ac:chgData name="Steiner Andreas 6206 ED" userId="e6377c33-a923-4f14-8587-531c474c7b48" providerId="ADAL" clId="{6ECD27E6-B224-41CD-B4E0-E297462320DD}" dt="2023-11-24T08:33:38.087" v="15973"/>
          <ac:spMkLst>
            <pc:docMk/>
            <pc:sldMk cId="3591700787" sldId="2147478562"/>
            <ac:spMk id="121" creationId="{2C0E118B-9602-ED74-16EE-5B3C4CD9DD40}"/>
          </ac:spMkLst>
        </pc:spChg>
        <pc:spChg chg="add del mod">
          <ac:chgData name="Steiner Andreas 6206 ED" userId="e6377c33-a923-4f14-8587-531c474c7b48" providerId="ADAL" clId="{6ECD27E6-B224-41CD-B4E0-E297462320DD}" dt="2023-11-24T08:33:40.533" v="16128"/>
          <ac:spMkLst>
            <pc:docMk/>
            <pc:sldMk cId="3591700787" sldId="2147478562"/>
            <ac:spMk id="122" creationId="{3D0B4C0C-4C52-921F-7578-6709318C6AB5}"/>
          </ac:spMkLst>
        </pc:spChg>
        <pc:spChg chg="add del mod">
          <ac:chgData name="Steiner Andreas 6206 ED" userId="e6377c33-a923-4f14-8587-531c474c7b48" providerId="ADAL" clId="{6ECD27E6-B224-41CD-B4E0-E297462320DD}" dt="2023-11-24T08:33:43.211" v="16283"/>
          <ac:spMkLst>
            <pc:docMk/>
            <pc:sldMk cId="3591700787" sldId="2147478562"/>
            <ac:spMk id="123" creationId="{9F8F50AF-4143-0966-76E0-851863693CB4}"/>
          </ac:spMkLst>
        </pc:spChg>
        <pc:spChg chg="add del mod">
          <ac:chgData name="Steiner Andreas 6206 ED" userId="e6377c33-a923-4f14-8587-531c474c7b48" providerId="ADAL" clId="{6ECD27E6-B224-41CD-B4E0-E297462320DD}" dt="2023-11-24T08:33:45.617" v="16438"/>
          <ac:spMkLst>
            <pc:docMk/>
            <pc:sldMk cId="3591700787" sldId="2147478562"/>
            <ac:spMk id="124" creationId="{0CB2EC0A-4AC1-703F-717D-58E2F3AB73D7}"/>
          </ac:spMkLst>
        </pc:spChg>
        <pc:spChg chg="add del mod">
          <ac:chgData name="Steiner Andreas 6206 ED" userId="e6377c33-a923-4f14-8587-531c474c7b48" providerId="ADAL" clId="{6ECD27E6-B224-41CD-B4E0-E297462320DD}" dt="2023-11-24T08:33:47.809" v="16593"/>
          <ac:spMkLst>
            <pc:docMk/>
            <pc:sldMk cId="3591700787" sldId="2147478562"/>
            <ac:spMk id="125" creationId="{0EE1AD7B-DB22-F1ED-2844-F82821A00E06}"/>
          </ac:spMkLst>
        </pc:spChg>
        <pc:spChg chg="add del mod">
          <ac:chgData name="Steiner Andreas 6206 ED" userId="e6377c33-a923-4f14-8587-531c474c7b48" providerId="ADAL" clId="{6ECD27E6-B224-41CD-B4E0-E297462320DD}" dt="2023-11-24T08:33:50.601" v="16748"/>
          <ac:spMkLst>
            <pc:docMk/>
            <pc:sldMk cId="3591700787" sldId="2147478562"/>
            <ac:spMk id="126" creationId="{513F6982-59CA-43FD-188C-908E1FBDA31D}"/>
          </ac:spMkLst>
        </pc:spChg>
        <pc:spChg chg="add del mod">
          <ac:chgData name="Steiner Andreas 6206 ED" userId="e6377c33-a923-4f14-8587-531c474c7b48" providerId="ADAL" clId="{6ECD27E6-B224-41CD-B4E0-E297462320DD}" dt="2023-11-24T08:33:52.947" v="16903"/>
          <ac:spMkLst>
            <pc:docMk/>
            <pc:sldMk cId="3591700787" sldId="2147478562"/>
            <ac:spMk id="127" creationId="{939C7904-3E86-DB8A-8426-D12A291A4DF4}"/>
          </ac:spMkLst>
        </pc:spChg>
        <pc:spChg chg="add del mod">
          <ac:chgData name="Steiner Andreas 6206 ED" userId="e6377c33-a923-4f14-8587-531c474c7b48" providerId="ADAL" clId="{6ECD27E6-B224-41CD-B4E0-E297462320DD}" dt="2023-11-24T08:33:55.112" v="17058"/>
          <ac:spMkLst>
            <pc:docMk/>
            <pc:sldMk cId="3591700787" sldId="2147478562"/>
            <ac:spMk id="128" creationId="{9F8E98D5-E78A-74F8-0EE4-79EECC67AF83}"/>
          </ac:spMkLst>
        </pc:spChg>
        <pc:spChg chg="add del mod">
          <ac:chgData name="Steiner Andreas 6206 ED" userId="e6377c33-a923-4f14-8587-531c474c7b48" providerId="ADAL" clId="{6ECD27E6-B224-41CD-B4E0-E297462320DD}" dt="2023-11-24T08:33:57.495" v="17213"/>
          <ac:spMkLst>
            <pc:docMk/>
            <pc:sldMk cId="3591700787" sldId="2147478562"/>
            <ac:spMk id="129" creationId="{BCBD33DC-9080-2245-640C-506D93445D74}"/>
          </ac:spMkLst>
        </pc:spChg>
        <pc:spChg chg="add del mod">
          <ac:chgData name="Steiner Andreas 6206 ED" userId="e6377c33-a923-4f14-8587-531c474c7b48" providerId="ADAL" clId="{6ECD27E6-B224-41CD-B4E0-E297462320DD}" dt="2023-11-24T08:33:59.926" v="17368"/>
          <ac:spMkLst>
            <pc:docMk/>
            <pc:sldMk cId="3591700787" sldId="2147478562"/>
            <ac:spMk id="130" creationId="{D0B0548C-13E5-ED9A-16F5-2060F1168ADA}"/>
          </ac:spMkLst>
        </pc:spChg>
        <pc:spChg chg="add del mod">
          <ac:chgData name="Steiner Andreas 6206 ED" userId="e6377c33-a923-4f14-8587-531c474c7b48" providerId="ADAL" clId="{6ECD27E6-B224-41CD-B4E0-E297462320DD}" dt="2023-11-24T08:34:01.999" v="17523"/>
          <ac:spMkLst>
            <pc:docMk/>
            <pc:sldMk cId="3591700787" sldId="2147478562"/>
            <ac:spMk id="131" creationId="{50337471-F600-3A87-687B-34B45C5D7D9C}"/>
          </ac:spMkLst>
        </pc:spChg>
        <pc:spChg chg="add del mod">
          <ac:chgData name="Steiner Andreas 6206 ED" userId="e6377c33-a923-4f14-8587-531c474c7b48" providerId="ADAL" clId="{6ECD27E6-B224-41CD-B4E0-E297462320DD}" dt="2023-11-24T08:34:04.275" v="17678"/>
          <ac:spMkLst>
            <pc:docMk/>
            <pc:sldMk cId="3591700787" sldId="2147478562"/>
            <ac:spMk id="132" creationId="{C370B7E3-61A1-88FA-C03E-660DE43883D8}"/>
          </ac:spMkLst>
        </pc:spChg>
        <pc:spChg chg="add del mod">
          <ac:chgData name="Steiner Andreas 6206 ED" userId="e6377c33-a923-4f14-8587-531c474c7b48" providerId="ADAL" clId="{6ECD27E6-B224-41CD-B4E0-E297462320DD}" dt="2023-11-24T08:34:06.162" v="17833"/>
          <ac:spMkLst>
            <pc:docMk/>
            <pc:sldMk cId="3591700787" sldId="2147478562"/>
            <ac:spMk id="133" creationId="{BB691517-0D48-DADB-186E-91C25E377F33}"/>
          </ac:spMkLst>
        </pc:spChg>
        <pc:spChg chg="add del mod">
          <ac:chgData name="Steiner Andreas 6206 ED" userId="e6377c33-a923-4f14-8587-531c474c7b48" providerId="ADAL" clId="{6ECD27E6-B224-41CD-B4E0-E297462320DD}" dt="2023-11-24T08:34:08.246" v="17988"/>
          <ac:spMkLst>
            <pc:docMk/>
            <pc:sldMk cId="3591700787" sldId="2147478562"/>
            <ac:spMk id="134" creationId="{E4D18A9C-A15F-D119-B6D0-FE8DACF3E551}"/>
          </ac:spMkLst>
        </pc:spChg>
        <pc:spChg chg="add del mod">
          <ac:chgData name="Steiner Andreas 6206 ED" userId="e6377c33-a923-4f14-8587-531c474c7b48" providerId="ADAL" clId="{6ECD27E6-B224-41CD-B4E0-E297462320DD}" dt="2023-11-24T08:34:10.190" v="18143"/>
          <ac:spMkLst>
            <pc:docMk/>
            <pc:sldMk cId="3591700787" sldId="2147478562"/>
            <ac:spMk id="135" creationId="{04DB26C6-6712-B096-130A-53182634FD81}"/>
          </ac:spMkLst>
        </pc:spChg>
        <pc:spChg chg="add del mod">
          <ac:chgData name="Steiner Andreas 6206 ED" userId="e6377c33-a923-4f14-8587-531c474c7b48" providerId="ADAL" clId="{6ECD27E6-B224-41CD-B4E0-E297462320DD}" dt="2023-11-24T08:34:12.326" v="18298"/>
          <ac:spMkLst>
            <pc:docMk/>
            <pc:sldMk cId="3591700787" sldId="2147478562"/>
            <ac:spMk id="136" creationId="{B1AB9E08-3C7A-ED75-8BD7-EC8A408D903B}"/>
          </ac:spMkLst>
        </pc:spChg>
        <pc:spChg chg="add del mod">
          <ac:chgData name="Steiner Andreas 6206 ED" userId="e6377c33-a923-4f14-8587-531c474c7b48" providerId="ADAL" clId="{6ECD27E6-B224-41CD-B4E0-E297462320DD}" dt="2023-11-24T08:34:14.644" v="18453"/>
          <ac:spMkLst>
            <pc:docMk/>
            <pc:sldMk cId="3591700787" sldId="2147478562"/>
            <ac:spMk id="137" creationId="{54026240-46B4-71CD-61C6-48FFA2A9FB79}"/>
          </ac:spMkLst>
        </pc:spChg>
        <pc:spChg chg="add del mod">
          <ac:chgData name="Steiner Andreas 6206 ED" userId="e6377c33-a923-4f14-8587-531c474c7b48" providerId="ADAL" clId="{6ECD27E6-B224-41CD-B4E0-E297462320DD}" dt="2023-11-24T08:34:16.646" v="18608"/>
          <ac:spMkLst>
            <pc:docMk/>
            <pc:sldMk cId="3591700787" sldId="2147478562"/>
            <ac:spMk id="138" creationId="{3CDFAED1-85E4-DC38-0EF2-A837DD2FA96D}"/>
          </ac:spMkLst>
        </pc:spChg>
        <pc:spChg chg="add del mod">
          <ac:chgData name="Steiner Andreas 6206 ED" userId="e6377c33-a923-4f14-8587-531c474c7b48" providerId="ADAL" clId="{6ECD27E6-B224-41CD-B4E0-E297462320DD}" dt="2023-11-24T08:34:18.915" v="18763"/>
          <ac:spMkLst>
            <pc:docMk/>
            <pc:sldMk cId="3591700787" sldId="2147478562"/>
            <ac:spMk id="139" creationId="{9CBA736D-57D4-41A7-9E6F-F2292ED9160F}"/>
          </ac:spMkLst>
        </pc:spChg>
        <pc:spChg chg="add del mod">
          <ac:chgData name="Steiner Andreas 6206 ED" userId="e6377c33-a923-4f14-8587-531c474c7b48" providerId="ADAL" clId="{6ECD27E6-B224-41CD-B4E0-E297462320DD}" dt="2023-11-24T08:34:20.957" v="18918"/>
          <ac:spMkLst>
            <pc:docMk/>
            <pc:sldMk cId="3591700787" sldId="2147478562"/>
            <ac:spMk id="140" creationId="{68ECE8C3-FA55-FA8B-5DFB-9B2D19BDA44C}"/>
          </ac:spMkLst>
        </pc:spChg>
        <pc:spChg chg="add del mod">
          <ac:chgData name="Steiner Andreas 6206 ED" userId="e6377c33-a923-4f14-8587-531c474c7b48" providerId="ADAL" clId="{6ECD27E6-B224-41CD-B4E0-E297462320DD}" dt="2023-11-24T08:34:23.087" v="19073"/>
          <ac:spMkLst>
            <pc:docMk/>
            <pc:sldMk cId="3591700787" sldId="2147478562"/>
            <ac:spMk id="141" creationId="{4ECDD3FB-6621-B964-7190-9791A8A23488}"/>
          </ac:spMkLst>
        </pc:spChg>
        <pc:spChg chg="add del mod">
          <ac:chgData name="Steiner Andreas 6206 ED" userId="e6377c33-a923-4f14-8587-531c474c7b48" providerId="ADAL" clId="{6ECD27E6-B224-41CD-B4E0-E297462320DD}" dt="2023-11-24T08:34:26.401" v="19228"/>
          <ac:spMkLst>
            <pc:docMk/>
            <pc:sldMk cId="3591700787" sldId="2147478562"/>
            <ac:spMk id="142" creationId="{CFFAF529-9434-3819-37F5-60FA93BC6973}"/>
          </ac:spMkLst>
        </pc:spChg>
        <pc:spChg chg="add del mod">
          <ac:chgData name="Steiner Andreas 6206 ED" userId="e6377c33-a923-4f14-8587-531c474c7b48" providerId="ADAL" clId="{6ECD27E6-B224-41CD-B4E0-E297462320DD}" dt="2023-11-24T08:34:29.058" v="19383"/>
          <ac:spMkLst>
            <pc:docMk/>
            <pc:sldMk cId="3591700787" sldId="2147478562"/>
            <ac:spMk id="143" creationId="{28E0371B-CB1C-F64A-9E72-A7E7382EE253}"/>
          </ac:spMkLst>
        </pc:spChg>
        <pc:spChg chg="add del mod">
          <ac:chgData name="Steiner Andreas 6206 ED" userId="e6377c33-a923-4f14-8587-531c474c7b48" providerId="ADAL" clId="{6ECD27E6-B224-41CD-B4E0-E297462320DD}" dt="2023-11-24T08:34:31.658" v="19538"/>
          <ac:spMkLst>
            <pc:docMk/>
            <pc:sldMk cId="3591700787" sldId="2147478562"/>
            <ac:spMk id="144" creationId="{37C6E0B4-EE95-4A30-A7ED-CD621D817D37}"/>
          </ac:spMkLst>
        </pc:spChg>
        <pc:spChg chg="add del mod">
          <ac:chgData name="Steiner Andreas 6206 ED" userId="e6377c33-a923-4f14-8587-531c474c7b48" providerId="ADAL" clId="{6ECD27E6-B224-41CD-B4E0-E297462320DD}" dt="2023-11-24T08:34:33.869" v="19693"/>
          <ac:spMkLst>
            <pc:docMk/>
            <pc:sldMk cId="3591700787" sldId="2147478562"/>
            <ac:spMk id="145" creationId="{65991060-61ED-FBD4-82AC-B52BB1D7BBB4}"/>
          </ac:spMkLst>
        </pc:spChg>
        <pc:spChg chg="add del mod">
          <ac:chgData name="Steiner Andreas 6206 ED" userId="e6377c33-a923-4f14-8587-531c474c7b48" providerId="ADAL" clId="{6ECD27E6-B224-41CD-B4E0-E297462320DD}" dt="2023-11-24T08:34:36.123" v="19848"/>
          <ac:spMkLst>
            <pc:docMk/>
            <pc:sldMk cId="3591700787" sldId="2147478562"/>
            <ac:spMk id="146" creationId="{F39C4C5A-1B77-1E72-204F-EE9E51C4BB7B}"/>
          </ac:spMkLst>
        </pc:spChg>
        <pc:spChg chg="add del mod">
          <ac:chgData name="Steiner Andreas 6206 ED" userId="e6377c33-a923-4f14-8587-531c474c7b48" providerId="ADAL" clId="{6ECD27E6-B224-41CD-B4E0-E297462320DD}" dt="2023-11-24T08:34:38.353" v="20003"/>
          <ac:spMkLst>
            <pc:docMk/>
            <pc:sldMk cId="3591700787" sldId="2147478562"/>
            <ac:spMk id="147" creationId="{CAEC1D78-62F6-C615-D23F-2EE2B42627BD}"/>
          </ac:spMkLst>
        </pc:spChg>
        <pc:spChg chg="add del mod">
          <ac:chgData name="Steiner Andreas 6206 ED" userId="e6377c33-a923-4f14-8587-531c474c7b48" providerId="ADAL" clId="{6ECD27E6-B224-41CD-B4E0-E297462320DD}" dt="2023-11-24T08:34:40.723" v="20158"/>
          <ac:spMkLst>
            <pc:docMk/>
            <pc:sldMk cId="3591700787" sldId="2147478562"/>
            <ac:spMk id="148" creationId="{ECD25D7F-B64F-3390-4F88-3BFF505AA129}"/>
          </ac:spMkLst>
        </pc:spChg>
        <pc:spChg chg="add del mod">
          <ac:chgData name="Steiner Andreas 6206 ED" userId="e6377c33-a923-4f14-8587-531c474c7b48" providerId="ADAL" clId="{6ECD27E6-B224-41CD-B4E0-E297462320DD}" dt="2023-11-24T08:34:43.407" v="20313"/>
          <ac:spMkLst>
            <pc:docMk/>
            <pc:sldMk cId="3591700787" sldId="2147478562"/>
            <ac:spMk id="149" creationId="{57169CB7-A4D2-EF0E-77D4-F0D65C6508E7}"/>
          </ac:spMkLst>
        </pc:spChg>
        <pc:spChg chg="add del mod">
          <ac:chgData name="Steiner Andreas 6206 ED" userId="e6377c33-a923-4f14-8587-531c474c7b48" providerId="ADAL" clId="{6ECD27E6-B224-41CD-B4E0-E297462320DD}" dt="2023-11-24T08:34:45.770" v="20468"/>
          <ac:spMkLst>
            <pc:docMk/>
            <pc:sldMk cId="3591700787" sldId="2147478562"/>
            <ac:spMk id="150" creationId="{9DF605ED-BD62-2A76-42FF-9B5DA594473B}"/>
          </ac:spMkLst>
        </pc:spChg>
        <pc:spChg chg="add del mod">
          <ac:chgData name="Steiner Andreas 6206 ED" userId="e6377c33-a923-4f14-8587-531c474c7b48" providerId="ADAL" clId="{6ECD27E6-B224-41CD-B4E0-E297462320DD}" dt="2023-11-24T08:34:47.978" v="20623"/>
          <ac:spMkLst>
            <pc:docMk/>
            <pc:sldMk cId="3591700787" sldId="2147478562"/>
            <ac:spMk id="151" creationId="{47597C50-332B-ADDC-A7CF-C7A62A75483E}"/>
          </ac:spMkLst>
        </pc:spChg>
        <pc:spChg chg="add del mod">
          <ac:chgData name="Steiner Andreas 6206 ED" userId="e6377c33-a923-4f14-8587-531c474c7b48" providerId="ADAL" clId="{6ECD27E6-B224-41CD-B4E0-E297462320DD}" dt="2023-11-24T08:34:50.441" v="20778"/>
          <ac:spMkLst>
            <pc:docMk/>
            <pc:sldMk cId="3591700787" sldId="2147478562"/>
            <ac:spMk id="152" creationId="{43E3D224-65D1-F884-AA63-657122614974}"/>
          </ac:spMkLst>
        </pc:spChg>
        <pc:spChg chg="add del mod">
          <ac:chgData name="Steiner Andreas 6206 ED" userId="e6377c33-a923-4f14-8587-531c474c7b48" providerId="ADAL" clId="{6ECD27E6-B224-41CD-B4E0-E297462320DD}" dt="2023-11-24T08:34:53.039" v="20933"/>
          <ac:spMkLst>
            <pc:docMk/>
            <pc:sldMk cId="3591700787" sldId="2147478562"/>
            <ac:spMk id="153" creationId="{FC0DA169-2269-7755-3CB2-264146B9AA5D}"/>
          </ac:spMkLst>
        </pc:spChg>
        <pc:spChg chg="add del mod">
          <ac:chgData name="Steiner Andreas 6206 ED" userId="e6377c33-a923-4f14-8587-531c474c7b48" providerId="ADAL" clId="{6ECD27E6-B224-41CD-B4E0-E297462320DD}" dt="2023-11-24T08:34:55.445" v="21088"/>
          <ac:spMkLst>
            <pc:docMk/>
            <pc:sldMk cId="3591700787" sldId="2147478562"/>
            <ac:spMk id="154" creationId="{E630A4A5-6941-716D-8983-D643AB545FA3}"/>
          </ac:spMkLst>
        </pc:spChg>
        <pc:spChg chg="add del mod">
          <ac:chgData name="Steiner Andreas 6206 ED" userId="e6377c33-a923-4f14-8587-531c474c7b48" providerId="ADAL" clId="{6ECD27E6-B224-41CD-B4E0-E297462320DD}" dt="2023-11-24T08:34:57.847" v="21243"/>
          <ac:spMkLst>
            <pc:docMk/>
            <pc:sldMk cId="3591700787" sldId="2147478562"/>
            <ac:spMk id="155" creationId="{56A2A9F7-D8CD-5E96-01DB-ABF424CFE8D8}"/>
          </ac:spMkLst>
        </pc:spChg>
        <pc:spChg chg="add del mod">
          <ac:chgData name="Steiner Andreas 6206 ED" userId="e6377c33-a923-4f14-8587-531c474c7b48" providerId="ADAL" clId="{6ECD27E6-B224-41CD-B4E0-E297462320DD}" dt="2023-11-24T08:35:00.417" v="21398"/>
          <ac:spMkLst>
            <pc:docMk/>
            <pc:sldMk cId="3591700787" sldId="2147478562"/>
            <ac:spMk id="156" creationId="{9B340D83-4716-E554-D5D1-32E99FF058D5}"/>
          </ac:spMkLst>
        </pc:spChg>
        <pc:spChg chg="add del mod">
          <ac:chgData name="Steiner Andreas 6206 ED" userId="e6377c33-a923-4f14-8587-531c474c7b48" providerId="ADAL" clId="{6ECD27E6-B224-41CD-B4E0-E297462320DD}" dt="2023-11-24T08:35:02.919" v="21553"/>
          <ac:spMkLst>
            <pc:docMk/>
            <pc:sldMk cId="3591700787" sldId="2147478562"/>
            <ac:spMk id="157" creationId="{9D8A944B-05E2-00D9-FDB3-6426AD3F1798}"/>
          </ac:spMkLst>
        </pc:spChg>
        <pc:spChg chg="add del mod">
          <ac:chgData name="Steiner Andreas 6206 ED" userId="e6377c33-a923-4f14-8587-531c474c7b48" providerId="ADAL" clId="{6ECD27E6-B224-41CD-B4E0-E297462320DD}" dt="2023-11-24T08:35:05.406" v="21708"/>
          <ac:spMkLst>
            <pc:docMk/>
            <pc:sldMk cId="3591700787" sldId="2147478562"/>
            <ac:spMk id="158" creationId="{3B8E3C8F-7A7B-80F9-C518-1EA9901E7DFB}"/>
          </ac:spMkLst>
        </pc:spChg>
        <pc:spChg chg="add del mod">
          <ac:chgData name="Steiner Andreas 6206 ED" userId="e6377c33-a923-4f14-8587-531c474c7b48" providerId="ADAL" clId="{6ECD27E6-B224-41CD-B4E0-E297462320DD}" dt="2023-11-24T08:35:07.947" v="21863"/>
          <ac:spMkLst>
            <pc:docMk/>
            <pc:sldMk cId="3591700787" sldId="2147478562"/>
            <ac:spMk id="159" creationId="{87EACF99-2D21-D902-5C36-D28C95187D54}"/>
          </ac:spMkLst>
        </pc:spChg>
        <pc:spChg chg="add del mod">
          <ac:chgData name="Steiner Andreas 6206 ED" userId="e6377c33-a923-4f14-8587-531c474c7b48" providerId="ADAL" clId="{6ECD27E6-B224-41CD-B4E0-E297462320DD}" dt="2023-11-24T08:35:10.416" v="22018"/>
          <ac:spMkLst>
            <pc:docMk/>
            <pc:sldMk cId="3591700787" sldId="2147478562"/>
            <ac:spMk id="160" creationId="{C0DA0BAA-4825-26E0-F3CF-CD556D3FB242}"/>
          </ac:spMkLst>
        </pc:spChg>
        <pc:spChg chg="add del mod">
          <ac:chgData name="Steiner Andreas 6206 ED" userId="e6377c33-a923-4f14-8587-531c474c7b48" providerId="ADAL" clId="{6ECD27E6-B224-41CD-B4E0-E297462320DD}" dt="2023-11-24T08:35:12.876" v="22173"/>
          <ac:spMkLst>
            <pc:docMk/>
            <pc:sldMk cId="3591700787" sldId="2147478562"/>
            <ac:spMk id="161" creationId="{32AF3BE4-116F-CD8E-CCF7-0C45F613C5CA}"/>
          </ac:spMkLst>
        </pc:spChg>
        <pc:spChg chg="add del mod">
          <ac:chgData name="Steiner Andreas 6206 ED" userId="e6377c33-a923-4f14-8587-531c474c7b48" providerId="ADAL" clId="{6ECD27E6-B224-41CD-B4E0-E297462320DD}" dt="2023-11-24T08:35:14.986" v="22328"/>
          <ac:spMkLst>
            <pc:docMk/>
            <pc:sldMk cId="3591700787" sldId="2147478562"/>
            <ac:spMk id="162" creationId="{43656B67-119B-EA93-8C98-49914A625D9F}"/>
          </ac:spMkLst>
        </pc:spChg>
        <pc:spChg chg="add del mod">
          <ac:chgData name="Steiner Andreas 6206 ED" userId="e6377c33-a923-4f14-8587-531c474c7b48" providerId="ADAL" clId="{6ECD27E6-B224-41CD-B4E0-E297462320DD}" dt="2023-11-24T08:35:17.434" v="22483"/>
          <ac:spMkLst>
            <pc:docMk/>
            <pc:sldMk cId="3591700787" sldId="2147478562"/>
            <ac:spMk id="163" creationId="{E5D5CF27-F4C2-66A4-58F6-493FDC5EB063}"/>
          </ac:spMkLst>
        </pc:spChg>
        <pc:spChg chg="add del mod">
          <ac:chgData name="Steiner Andreas 6206 ED" userId="e6377c33-a923-4f14-8587-531c474c7b48" providerId="ADAL" clId="{6ECD27E6-B224-41CD-B4E0-E297462320DD}" dt="2023-11-24T08:35:19.824" v="22638"/>
          <ac:spMkLst>
            <pc:docMk/>
            <pc:sldMk cId="3591700787" sldId="2147478562"/>
            <ac:spMk id="164" creationId="{3B3AA655-E17F-7D18-C97D-0658C467F5D3}"/>
          </ac:spMkLst>
        </pc:spChg>
        <pc:spChg chg="add del mod">
          <ac:chgData name="Steiner Andreas 6206 ED" userId="e6377c33-a923-4f14-8587-531c474c7b48" providerId="ADAL" clId="{6ECD27E6-B224-41CD-B4E0-E297462320DD}" dt="2023-11-24T08:35:22.223" v="22793"/>
          <ac:spMkLst>
            <pc:docMk/>
            <pc:sldMk cId="3591700787" sldId="2147478562"/>
            <ac:spMk id="165" creationId="{CA3FAEB9-E9C7-616A-22EC-E9AC433B45A6}"/>
          </ac:spMkLst>
        </pc:spChg>
        <pc:spChg chg="add del mod">
          <ac:chgData name="Steiner Andreas 6206 ED" userId="e6377c33-a923-4f14-8587-531c474c7b48" providerId="ADAL" clId="{6ECD27E6-B224-41CD-B4E0-E297462320DD}" dt="2023-11-24T08:35:24.627" v="22948"/>
          <ac:spMkLst>
            <pc:docMk/>
            <pc:sldMk cId="3591700787" sldId="2147478562"/>
            <ac:spMk id="166" creationId="{D3DA6D84-5988-DDD4-8640-0A8FD3C3EC96}"/>
          </ac:spMkLst>
        </pc:spChg>
        <pc:spChg chg="add del mod">
          <ac:chgData name="Steiner Andreas 6206 ED" userId="e6377c33-a923-4f14-8587-531c474c7b48" providerId="ADAL" clId="{6ECD27E6-B224-41CD-B4E0-E297462320DD}" dt="2023-11-24T08:35:27.218" v="23103"/>
          <ac:spMkLst>
            <pc:docMk/>
            <pc:sldMk cId="3591700787" sldId="2147478562"/>
            <ac:spMk id="167" creationId="{12FDD6C5-6934-A953-044B-7750101E13BC}"/>
          </ac:spMkLst>
        </pc:spChg>
        <pc:spChg chg="add del mod">
          <ac:chgData name="Steiner Andreas 6206 ED" userId="e6377c33-a923-4f14-8587-531c474c7b48" providerId="ADAL" clId="{6ECD27E6-B224-41CD-B4E0-E297462320DD}" dt="2023-11-24T08:35:29.930" v="23258"/>
          <ac:spMkLst>
            <pc:docMk/>
            <pc:sldMk cId="3591700787" sldId="2147478562"/>
            <ac:spMk id="168" creationId="{26FEC5B0-7746-93D7-B0E7-F8B00B45D1C6}"/>
          </ac:spMkLst>
        </pc:spChg>
        <pc:spChg chg="add del mod">
          <ac:chgData name="Steiner Andreas 6206 ED" userId="e6377c33-a923-4f14-8587-531c474c7b48" providerId="ADAL" clId="{6ECD27E6-B224-41CD-B4E0-E297462320DD}" dt="2023-11-24T08:35:32.285" v="23413"/>
          <ac:spMkLst>
            <pc:docMk/>
            <pc:sldMk cId="3591700787" sldId="2147478562"/>
            <ac:spMk id="169" creationId="{70D99544-5062-798D-C033-79B86BAFA346}"/>
          </ac:spMkLst>
        </pc:spChg>
        <pc:spChg chg="add del mod">
          <ac:chgData name="Steiner Andreas 6206 ED" userId="e6377c33-a923-4f14-8587-531c474c7b48" providerId="ADAL" clId="{6ECD27E6-B224-41CD-B4E0-E297462320DD}" dt="2023-11-24T08:35:34.677" v="23568"/>
          <ac:spMkLst>
            <pc:docMk/>
            <pc:sldMk cId="3591700787" sldId="2147478562"/>
            <ac:spMk id="170" creationId="{43BEDC7B-79AD-D2E9-25F8-A905029D6B75}"/>
          </ac:spMkLst>
        </pc:spChg>
        <pc:spChg chg="add del mod">
          <ac:chgData name="Steiner Andreas 6206 ED" userId="e6377c33-a923-4f14-8587-531c474c7b48" providerId="ADAL" clId="{6ECD27E6-B224-41CD-B4E0-E297462320DD}" dt="2023-11-24T08:35:37" v="23723"/>
          <ac:spMkLst>
            <pc:docMk/>
            <pc:sldMk cId="3591700787" sldId="2147478562"/>
            <ac:spMk id="171" creationId="{9012BE1A-EBAE-F816-F178-86D88C5AB48A}"/>
          </ac:spMkLst>
        </pc:spChg>
        <pc:spChg chg="add del mod">
          <ac:chgData name="Steiner Andreas 6206 ED" userId="e6377c33-a923-4f14-8587-531c474c7b48" providerId="ADAL" clId="{6ECD27E6-B224-41CD-B4E0-E297462320DD}" dt="2023-11-24T08:35:39.411" v="23878"/>
          <ac:spMkLst>
            <pc:docMk/>
            <pc:sldMk cId="3591700787" sldId="2147478562"/>
            <ac:spMk id="172" creationId="{55D6BD15-0B9F-25CA-461B-F02CEFD438B2}"/>
          </ac:spMkLst>
        </pc:spChg>
        <pc:spChg chg="add del mod">
          <ac:chgData name="Steiner Andreas 6206 ED" userId="e6377c33-a923-4f14-8587-531c474c7b48" providerId="ADAL" clId="{6ECD27E6-B224-41CD-B4E0-E297462320DD}" dt="2023-11-24T08:35:42.079" v="24033"/>
          <ac:spMkLst>
            <pc:docMk/>
            <pc:sldMk cId="3591700787" sldId="2147478562"/>
            <ac:spMk id="173" creationId="{05C7EE96-A1A7-83A0-56E7-BC9627344BC0}"/>
          </ac:spMkLst>
        </pc:spChg>
        <pc:spChg chg="add del mod">
          <ac:chgData name="Steiner Andreas 6206 ED" userId="e6377c33-a923-4f14-8587-531c474c7b48" providerId="ADAL" clId="{6ECD27E6-B224-41CD-B4E0-E297462320DD}" dt="2023-11-24T08:35:44.549" v="24188"/>
          <ac:spMkLst>
            <pc:docMk/>
            <pc:sldMk cId="3591700787" sldId="2147478562"/>
            <ac:spMk id="174" creationId="{D51ABE3D-1543-C5AA-ACA3-B459F4D7298B}"/>
          </ac:spMkLst>
        </pc:spChg>
        <pc:spChg chg="add del mod">
          <ac:chgData name="Steiner Andreas 6206 ED" userId="e6377c33-a923-4f14-8587-531c474c7b48" providerId="ADAL" clId="{6ECD27E6-B224-41CD-B4E0-E297462320DD}" dt="2023-11-24T08:35:46.821" v="24343"/>
          <ac:spMkLst>
            <pc:docMk/>
            <pc:sldMk cId="3591700787" sldId="2147478562"/>
            <ac:spMk id="175" creationId="{B4DD939E-647B-B410-FFDE-F039AC5B450B}"/>
          </ac:spMkLst>
        </pc:spChg>
        <pc:spChg chg="add del mod">
          <ac:chgData name="Steiner Andreas 6206 ED" userId="e6377c33-a923-4f14-8587-531c474c7b48" providerId="ADAL" clId="{6ECD27E6-B224-41CD-B4E0-E297462320DD}" dt="2023-11-24T08:35:49.075" v="24498"/>
          <ac:spMkLst>
            <pc:docMk/>
            <pc:sldMk cId="3591700787" sldId="2147478562"/>
            <ac:spMk id="176" creationId="{F4A2943C-B205-E209-EBAC-5119E7C99A2F}"/>
          </ac:spMkLst>
        </pc:spChg>
        <pc:spChg chg="add del mod">
          <ac:chgData name="Steiner Andreas 6206 ED" userId="e6377c33-a923-4f14-8587-531c474c7b48" providerId="ADAL" clId="{6ECD27E6-B224-41CD-B4E0-E297462320DD}" dt="2023-11-24T08:35:51.362" v="24653"/>
          <ac:spMkLst>
            <pc:docMk/>
            <pc:sldMk cId="3591700787" sldId="2147478562"/>
            <ac:spMk id="177" creationId="{436D30EC-D218-0AD1-5C73-734A262A07E6}"/>
          </ac:spMkLst>
        </pc:spChg>
        <pc:spChg chg="add del mod">
          <ac:chgData name="Steiner Andreas 6206 ED" userId="e6377c33-a923-4f14-8587-531c474c7b48" providerId="ADAL" clId="{6ECD27E6-B224-41CD-B4E0-E297462320DD}" dt="2023-11-24T08:35:54.300" v="24808"/>
          <ac:spMkLst>
            <pc:docMk/>
            <pc:sldMk cId="3591700787" sldId="2147478562"/>
            <ac:spMk id="178" creationId="{0D869D58-89BB-6059-5A69-7BE4DF577D0C}"/>
          </ac:spMkLst>
        </pc:spChg>
        <pc:spChg chg="add del mod">
          <ac:chgData name="Steiner Andreas 6206 ED" userId="e6377c33-a923-4f14-8587-531c474c7b48" providerId="ADAL" clId="{6ECD27E6-B224-41CD-B4E0-E297462320DD}" dt="2023-11-24T08:35:56.760" v="24963"/>
          <ac:spMkLst>
            <pc:docMk/>
            <pc:sldMk cId="3591700787" sldId="2147478562"/>
            <ac:spMk id="179" creationId="{8D70B18D-5DAE-1083-47DF-FB726BB12E7D}"/>
          </ac:spMkLst>
        </pc:spChg>
        <pc:spChg chg="add del mod">
          <ac:chgData name="Steiner Andreas 6206 ED" userId="e6377c33-a923-4f14-8587-531c474c7b48" providerId="ADAL" clId="{6ECD27E6-B224-41CD-B4E0-E297462320DD}" dt="2023-11-24T08:35:59.303" v="25118"/>
          <ac:spMkLst>
            <pc:docMk/>
            <pc:sldMk cId="3591700787" sldId="2147478562"/>
            <ac:spMk id="180" creationId="{507F491F-33E8-90E3-4FF4-C30057751E50}"/>
          </ac:spMkLst>
        </pc:spChg>
        <pc:spChg chg="add del mod">
          <ac:chgData name="Steiner Andreas 6206 ED" userId="e6377c33-a923-4f14-8587-531c474c7b48" providerId="ADAL" clId="{6ECD27E6-B224-41CD-B4E0-E297462320DD}" dt="2023-11-24T08:36:01.813" v="25273"/>
          <ac:spMkLst>
            <pc:docMk/>
            <pc:sldMk cId="3591700787" sldId="2147478562"/>
            <ac:spMk id="181" creationId="{9F1036B5-4D1E-71CA-4DA4-BA0C88DA14EB}"/>
          </ac:spMkLst>
        </pc:spChg>
        <pc:spChg chg="add del mod">
          <ac:chgData name="Steiner Andreas 6206 ED" userId="e6377c33-a923-4f14-8587-531c474c7b48" providerId="ADAL" clId="{6ECD27E6-B224-41CD-B4E0-E297462320DD}" dt="2023-11-24T08:36:04.416" v="25428"/>
          <ac:spMkLst>
            <pc:docMk/>
            <pc:sldMk cId="3591700787" sldId="2147478562"/>
            <ac:spMk id="182" creationId="{D9C1FB6E-AB42-5B25-A05B-24C7971C5B15}"/>
          </ac:spMkLst>
        </pc:spChg>
        <pc:spChg chg="add del mod">
          <ac:chgData name="Steiner Andreas 6206 ED" userId="e6377c33-a923-4f14-8587-531c474c7b48" providerId="ADAL" clId="{6ECD27E6-B224-41CD-B4E0-E297462320DD}" dt="2023-11-24T08:36:06.916" v="25583"/>
          <ac:spMkLst>
            <pc:docMk/>
            <pc:sldMk cId="3591700787" sldId="2147478562"/>
            <ac:spMk id="183" creationId="{A355C6A7-6B7E-9BC6-7E3D-008C4DB0120A}"/>
          </ac:spMkLst>
        </pc:spChg>
        <pc:spChg chg="add del mod">
          <ac:chgData name="Steiner Andreas 6206 ED" userId="e6377c33-a923-4f14-8587-531c474c7b48" providerId="ADAL" clId="{6ECD27E6-B224-41CD-B4E0-E297462320DD}" dt="2023-11-24T08:36:09.413" v="25738"/>
          <ac:spMkLst>
            <pc:docMk/>
            <pc:sldMk cId="3591700787" sldId="2147478562"/>
            <ac:spMk id="184" creationId="{F98569EE-5509-F853-AC17-B5A03D2969AE}"/>
          </ac:spMkLst>
        </pc:spChg>
        <pc:spChg chg="add del mod">
          <ac:chgData name="Steiner Andreas 6206 ED" userId="e6377c33-a923-4f14-8587-531c474c7b48" providerId="ADAL" clId="{6ECD27E6-B224-41CD-B4E0-E297462320DD}" dt="2023-11-24T08:36:11.931" v="25893"/>
          <ac:spMkLst>
            <pc:docMk/>
            <pc:sldMk cId="3591700787" sldId="2147478562"/>
            <ac:spMk id="185" creationId="{F3D4BC49-D0A8-D122-4BF1-EB995CC3A469}"/>
          </ac:spMkLst>
        </pc:spChg>
        <pc:spChg chg="add del mod">
          <ac:chgData name="Steiner Andreas 6206 ED" userId="e6377c33-a923-4f14-8587-531c474c7b48" providerId="ADAL" clId="{6ECD27E6-B224-41CD-B4E0-E297462320DD}" dt="2023-11-24T08:36:14.317" v="26048"/>
          <ac:spMkLst>
            <pc:docMk/>
            <pc:sldMk cId="3591700787" sldId="2147478562"/>
            <ac:spMk id="186" creationId="{885F6E17-A1AA-48C8-7F33-6D6341378CF7}"/>
          </ac:spMkLst>
        </pc:spChg>
        <pc:spChg chg="add del mod">
          <ac:chgData name="Steiner Andreas 6206 ED" userId="e6377c33-a923-4f14-8587-531c474c7b48" providerId="ADAL" clId="{6ECD27E6-B224-41CD-B4E0-E297462320DD}" dt="2023-11-24T08:36:17.172" v="26203"/>
          <ac:spMkLst>
            <pc:docMk/>
            <pc:sldMk cId="3591700787" sldId="2147478562"/>
            <ac:spMk id="187" creationId="{11601A31-FEAF-D8C1-E3F4-C523042CDA33}"/>
          </ac:spMkLst>
        </pc:spChg>
        <pc:spChg chg="add del mod">
          <ac:chgData name="Steiner Andreas 6206 ED" userId="e6377c33-a923-4f14-8587-531c474c7b48" providerId="ADAL" clId="{6ECD27E6-B224-41CD-B4E0-E297462320DD}" dt="2023-11-24T08:36:19.544" v="26358"/>
          <ac:spMkLst>
            <pc:docMk/>
            <pc:sldMk cId="3591700787" sldId="2147478562"/>
            <ac:spMk id="188" creationId="{8C145E40-3CC2-8828-33FF-B480C80E5A79}"/>
          </ac:spMkLst>
        </pc:spChg>
        <pc:spChg chg="add del mod">
          <ac:chgData name="Steiner Andreas 6206 ED" userId="e6377c33-a923-4f14-8587-531c474c7b48" providerId="ADAL" clId="{6ECD27E6-B224-41CD-B4E0-E297462320DD}" dt="2023-11-24T08:36:21.830" v="26513"/>
          <ac:spMkLst>
            <pc:docMk/>
            <pc:sldMk cId="3591700787" sldId="2147478562"/>
            <ac:spMk id="189" creationId="{4DF22EA4-792E-0E86-EE72-BFC05DF92E82}"/>
          </ac:spMkLst>
        </pc:spChg>
        <pc:spChg chg="add del mod">
          <ac:chgData name="Steiner Andreas 6206 ED" userId="e6377c33-a923-4f14-8587-531c474c7b48" providerId="ADAL" clId="{6ECD27E6-B224-41CD-B4E0-E297462320DD}" dt="2023-11-24T08:36:24.324" v="26668"/>
          <ac:spMkLst>
            <pc:docMk/>
            <pc:sldMk cId="3591700787" sldId="2147478562"/>
            <ac:spMk id="190" creationId="{66254557-29D2-977F-E7B8-972D4E5AC394}"/>
          </ac:spMkLst>
        </pc:spChg>
        <pc:spChg chg="add del mod">
          <ac:chgData name="Steiner Andreas 6206 ED" userId="e6377c33-a923-4f14-8587-531c474c7b48" providerId="ADAL" clId="{6ECD27E6-B224-41CD-B4E0-E297462320DD}" dt="2023-11-24T08:36:26.878" v="26823"/>
          <ac:spMkLst>
            <pc:docMk/>
            <pc:sldMk cId="3591700787" sldId="2147478562"/>
            <ac:spMk id="191" creationId="{2B08ED25-73A8-8375-48CA-F561D4F10651}"/>
          </ac:spMkLst>
        </pc:spChg>
        <pc:spChg chg="add del mod">
          <ac:chgData name="Steiner Andreas 6206 ED" userId="e6377c33-a923-4f14-8587-531c474c7b48" providerId="ADAL" clId="{6ECD27E6-B224-41CD-B4E0-E297462320DD}" dt="2023-11-24T08:36:29.737" v="26978"/>
          <ac:spMkLst>
            <pc:docMk/>
            <pc:sldMk cId="3591700787" sldId="2147478562"/>
            <ac:spMk id="192" creationId="{56646A35-40C1-DA5D-BA15-2845D6C3536E}"/>
          </ac:spMkLst>
        </pc:spChg>
        <pc:spChg chg="add del mod">
          <ac:chgData name="Steiner Andreas 6206 ED" userId="e6377c33-a923-4f14-8587-531c474c7b48" providerId="ADAL" clId="{6ECD27E6-B224-41CD-B4E0-E297462320DD}" dt="2023-11-24T08:36:32.487" v="27133"/>
          <ac:spMkLst>
            <pc:docMk/>
            <pc:sldMk cId="3591700787" sldId="2147478562"/>
            <ac:spMk id="193" creationId="{A1A6D7CF-48ED-0DB1-EB90-168DF67D5CE8}"/>
          </ac:spMkLst>
        </pc:spChg>
        <pc:spChg chg="add del mod">
          <ac:chgData name="Steiner Andreas 6206 ED" userId="e6377c33-a923-4f14-8587-531c474c7b48" providerId="ADAL" clId="{6ECD27E6-B224-41CD-B4E0-E297462320DD}" dt="2023-11-24T08:36:35" v="27288"/>
          <ac:spMkLst>
            <pc:docMk/>
            <pc:sldMk cId="3591700787" sldId="2147478562"/>
            <ac:spMk id="194" creationId="{F3AB3A12-9CA8-C56C-ED15-F0B920567F4E}"/>
          </ac:spMkLst>
        </pc:spChg>
        <pc:spChg chg="add del mod">
          <ac:chgData name="Steiner Andreas 6206 ED" userId="e6377c33-a923-4f14-8587-531c474c7b48" providerId="ADAL" clId="{6ECD27E6-B224-41CD-B4E0-E297462320DD}" dt="2023-11-24T08:36:37.558" v="27443"/>
          <ac:spMkLst>
            <pc:docMk/>
            <pc:sldMk cId="3591700787" sldId="2147478562"/>
            <ac:spMk id="195" creationId="{07794945-B190-4D69-ABEF-BE2C56B95D84}"/>
          </ac:spMkLst>
        </pc:spChg>
        <pc:spChg chg="add del mod">
          <ac:chgData name="Steiner Andreas 6206 ED" userId="e6377c33-a923-4f14-8587-531c474c7b48" providerId="ADAL" clId="{6ECD27E6-B224-41CD-B4E0-E297462320DD}" dt="2023-11-24T08:36:40.207" v="27598"/>
          <ac:spMkLst>
            <pc:docMk/>
            <pc:sldMk cId="3591700787" sldId="2147478562"/>
            <ac:spMk id="196" creationId="{1A90C63C-D9B5-762F-9C2D-8E789B45C3EA}"/>
          </ac:spMkLst>
        </pc:spChg>
        <pc:spChg chg="add del mod">
          <ac:chgData name="Steiner Andreas 6206 ED" userId="e6377c33-a923-4f14-8587-531c474c7b48" providerId="ADAL" clId="{6ECD27E6-B224-41CD-B4E0-E297462320DD}" dt="2023-11-24T08:36:42.898" v="27753"/>
          <ac:spMkLst>
            <pc:docMk/>
            <pc:sldMk cId="3591700787" sldId="2147478562"/>
            <ac:spMk id="197" creationId="{F9AF9114-D0CB-6300-E9B1-E4FBC585F2CC}"/>
          </ac:spMkLst>
        </pc:spChg>
        <pc:spChg chg="add del mod">
          <ac:chgData name="Steiner Andreas 6206 ED" userId="e6377c33-a923-4f14-8587-531c474c7b48" providerId="ADAL" clId="{6ECD27E6-B224-41CD-B4E0-E297462320DD}" dt="2023-11-24T08:36:45.389" v="27908"/>
          <ac:spMkLst>
            <pc:docMk/>
            <pc:sldMk cId="3591700787" sldId="2147478562"/>
            <ac:spMk id="198" creationId="{B588F257-6C3E-6A93-8430-98CD1EE62782}"/>
          </ac:spMkLst>
        </pc:spChg>
        <pc:spChg chg="add del mod">
          <ac:chgData name="Steiner Andreas 6206 ED" userId="e6377c33-a923-4f14-8587-531c474c7b48" providerId="ADAL" clId="{6ECD27E6-B224-41CD-B4E0-E297462320DD}" dt="2023-11-24T08:36:47.812" v="28063"/>
          <ac:spMkLst>
            <pc:docMk/>
            <pc:sldMk cId="3591700787" sldId="2147478562"/>
            <ac:spMk id="199" creationId="{2467C53B-8C77-652F-81F1-2C97E2199387}"/>
          </ac:spMkLst>
        </pc:spChg>
        <pc:spChg chg="add del mod">
          <ac:chgData name="Steiner Andreas 6206 ED" userId="e6377c33-a923-4f14-8587-531c474c7b48" providerId="ADAL" clId="{6ECD27E6-B224-41CD-B4E0-E297462320DD}" dt="2023-11-24T08:36:50.321" v="28218"/>
          <ac:spMkLst>
            <pc:docMk/>
            <pc:sldMk cId="3591700787" sldId="2147478562"/>
            <ac:spMk id="200" creationId="{C5AD7ABC-EBC7-94C8-3666-42EED5F16828}"/>
          </ac:spMkLst>
        </pc:spChg>
        <pc:spChg chg="add del mod">
          <ac:chgData name="Steiner Andreas 6206 ED" userId="e6377c33-a923-4f14-8587-531c474c7b48" providerId="ADAL" clId="{6ECD27E6-B224-41CD-B4E0-E297462320DD}" dt="2023-11-24T08:36:53.376" v="28373"/>
          <ac:spMkLst>
            <pc:docMk/>
            <pc:sldMk cId="3591700787" sldId="2147478562"/>
            <ac:spMk id="201" creationId="{7CB875BD-D81B-ADF4-835E-8CE37FFB666C}"/>
          </ac:spMkLst>
        </pc:spChg>
        <pc:spChg chg="add del mod">
          <ac:chgData name="Steiner Andreas 6206 ED" userId="e6377c33-a923-4f14-8587-531c474c7b48" providerId="ADAL" clId="{6ECD27E6-B224-41CD-B4E0-E297462320DD}" dt="2023-11-24T08:36:56.452" v="28528"/>
          <ac:spMkLst>
            <pc:docMk/>
            <pc:sldMk cId="3591700787" sldId="2147478562"/>
            <ac:spMk id="202" creationId="{34EB3373-1178-648E-35BD-B08370069BFB}"/>
          </ac:spMkLst>
        </pc:spChg>
        <pc:spChg chg="add del mod">
          <ac:chgData name="Steiner Andreas 6206 ED" userId="e6377c33-a923-4f14-8587-531c474c7b48" providerId="ADAL" clId="{6ECD27E6-B224-41CD-B4E0-E297462320DD}" dt="2023-11-24T08:36:59.358" v="28683"/>
          <ac:spMkLst>
            <pc:docMk/>
            <pc:sldMk cId="3591700787" sldId="2147478562"/>
            <ac:spMk id="203" creationId="{331DE9EA-9002-0521-4F17-45F98DC8125F}"/>
          </ac:spMkLst>
        </pc:spChg>
        <pc:spChg chg="add del mod">
          <ac:chgData name="Steiner Andreas 6206 ED" userId="e6377c33-a923-4f14-8587-531c474c7b48" providerId="ADAL" clId="{6ECD27E6-B224-41CD-B4E0-E297462320DD}" dt="2023-11-24T08:37:01.997" v="28838"/>
          <ac:spMkLst>
            <pc:docMk/>
            <pc:sldMk cId="3591700787" sldId="2147478562"/>
            <ac:spMk id="204" creationId="{D9371ACD-D37C-CDDD-2E26-81BED1E96EE5}"/>
          </ac:spMkLst>
        </pc:spChg>
        <pc:spChg chg="add del mod">
          <ac:chgData name="Steiner Andreas 6206 ED" userId="e6377c33-a923-4f14-8587-531c474c7b48" providerId="ADAL" clId="{6ECD27E6-B224-41CD-B4E0-E297462320DD}" dt="2023-11-24T08:37:04.744" v="28993"/>
          <ac:spMkLst>
            <pc:docMk/>
            <pc:sldMk cId="3591700787" sldId="2147478562"/>
            <ac:spMk id="205" creationId="{C845A20F-3BA2-759A-2D9D-506165A01A64}"/>
          </ac:spMkLst>
        </pc:spChg>
        <pc:spChg chg="add del mod">
          <ac:chgData name="Steiner Andreas 6206 ED" userId="e6377c33-a923-4f14-8587-531c474c7b48" providerId="ADAL" clId="{6ECD27E6-B224-41CD-B4E0-E297462320DD}" dt="2023-11-24T08:37:07.555" v="29148"/>
          <ac:spMkLst>
            <pc:docMk/>
            <pc:sldMk cId="3591700787" sldId="2147478562"/>
            <ac:spMk id="206" creationId="{15C781ED-6B79-61D5-7DD4-462B5BCD929A}"/>
          </ac:spMkLst>
        </pc:spChg>
        <pc:spChg chg="add del mod">
          <ac:chgData name="Steiner Andreas 6206 ED" userId="e6377c33-a923-4f14-8587-531c474c7b48" providerId="ADAL" clId="{6ECD27E6-B224-41CD-B4E0-E297462320DD}" dt="2023-11-24T08:37:10.209" v="29303"/>
          <ac:spMkLst>
            <pc:docMk/>
            <pc:sldMk cId="3591700787" sldId="2147478562"/>
            <ac:spMk id="207" creationId="{23236F2B-32B5-7C48-661B-89FC89B6DBE9}"/>
          </ac:spMkLst>
        </pc:spChg>
        <pc:spChg chg="add del mod">
          <ac:chgData name="Steiner Andreas 6206 ED" userId="e6377c33-a923-4f14-8587-531c474c7b48" providerId="ADAL" clId="{6ECD27E6-B224-41CD-B4E0-E297462320DD}" dt="2023-11-24T08:37:12.872" v="29458"/>
          <ac:spMkLst>
            <pc:docMk/>
            <pc:sldMk cId="3591700787" sldId="2147478562"/>
            <ac:spMk id="208" creationId="{4BF4F826-FC3C-A5CE-A933-24CC69D41836}"/>
          </ac:spMkLst>
        </pc:spChg>
        <pc:spChg chg="add del mod">
          <ac:chgData name="Steiner Andreas 6206 ED" userId="e6377c33-a923-4f14-8587-531c474c7b48" providerId="ADAL" clId="{6ECD27E6-B224-41CD-B4E0-E297462320DD}" dt="2023-11-24T08:37:16.231" v="29613"/>
          <ac:spMkLst>
            <pc:docMk/>
            <pc:sldMk cId="3591700787" sldId="2147478562"/>
            <ac:spMk id="209" creationId="{7CC6964A-58EA-972A-0574-E6157B9857E6}"/>
          </ac:spMkLst>
        </pc:spChg>
        <pc:spChg chg="add del mod">
          <ac:chgData name="Steiner Andreas 6206 ED" userId="e6377c33-a923-4f14-8587-531c474c7b48" providerId="ADAL" clId="{6ECD27E6-B224-41CD-B4E0-E297462320DD}" dt="2023-11-24T08:37:18.971" v="29768"/>
          <ac:spMkLst>
            <pc:docMk/>
            <pc:sldMk cId="3591700787" sldId="2147478562"/>
            <ac:spMk id="210" creationId="{509322B4-1120-785B-3C94-AF34E554E7D9}"/>
          </ac:spMkLst>
        </pc:spChg>
        <pc:spChg chg="add del mod">
          <ac:chgData name="Steiner Andreas 6206 ED" userId="e6377c33-a923-4f14-8587-531c474c7b48" providerId="ADAL" clId="{6ECD27E6-B224-41CD-B4E0-E297462320DD}" dt="2023-11-24T08:37:21.420" v="29923"/>
          <ac:spMkLst>
            <pc:docMk/>
            <pc:sldMk cId="3591700787" sldId="2147478562"/>
            <ac:spMk id="211" creationId="{D0269658-D904-FFB8-DEE7-7CA0DADB0419}"/>
          </ac:spMkLst>
        </pc:spChg>
        <pc:spChg chg="add del mod">
          <ac:chgData name="Steiner Andreas 6206 ED" userId="e6377c33-a923-4f14-8587-531c474c7b48" providerId="ADAL" clId="{6ECD27E6-B224-41CD-B4E0-E297462320DD}" dt="2023-11-24T08:37:24.273" v="30078"/>
          <ac:spMkLst>
            <pc:docMk/>
            <pc:sldMk cId="3591700787" sldId="2147478562"/>
            <ac:spMk id="212" creationId="{3916EF0B-C29E-F42F-1125-2F7F875C7A2D}"/>
          </ac:spMkLst>
        </pc:spChg>
        <pc:spChg chg="add del mod">
          <ac:chgData name="Steiner Andreas 6206 ED" userId="e6377c33-a923-4f14-8587-531c474c7b48" providerId="ADAL" clId="{6ECD27E6-B224-41CD-B4E0-E297462320DD}" dt="2023-11-24T08:37:26.838" v="30233"/>
          <ac:spMkLst>
            <pc:docMk/>
            <pc:sldMk cId="3591700787" sldId="2147478562"/>
            <ac:spMk id="213" creationId="{682C11E2-053C-A967-301E-8D8AE7550E46}"/>
          </ac:spMkLst>
        </pc:spChg>
        <pc:spChg chg="add del mod">
          <ac:chgData name="Steiner Andreas 6206 ED" userId="e6377c33-a923-4f14-8587-531c474c7b48" providerId="ADAL" clId="{6ECD27E6-B224-41CD-B4E0-E297462320DD}" dt="2023-11-24T08:37:30.171" v="30388"/>
          <ac:spMkLst>
            <pc:docMk/>
            <pc:sldMk cId="3591700787" sldId="2147478562"/>
            <ac:spMk id="214" creationId="{D32A4B6E-CD18-2E5C-8C32-A635312F52C9}"/>
          </ac:spMkLst>
        </pc:spChg>
        <pc:spChg chg="add del mod">
          <ac:chgData name="Steiner Andreas 6206 ED" userId="e6377c33-a923-4f14-8587-531c474c7b48" providerId="ADAL" clId="{6ECD27E6-B224-41CD-B4E0-E297462320DD}" dt="2023-11-24T08:37:32.993" v="30543"/>
          <ac:spMkLst>
            <pc:docMk/>
            <pc:sldMk cId="3591700787" sldId="2147478562"/>
            <ac:spMk id="215" creationId="{58002194-5612-4B04-9DFA-D0604F6B897E}"/>
          </ac:spMkLst>
        </pc:spChg>
        <pc:spChg chg="add del mod">
          <ac:chgData name="Steiner Andreas 6206 ED" userId="e6377c33-a923-4f14-8587-531c474c7b48" providerId="ADAL" clId="{6ECD27E6-B224-41CD-B4E0-E297462320DD}" dt="2023-11-24T08:37:35.658" v="30698"/>
          <ac:spMkLst>
            <pc:docMk/>
            <pc:sldMk cId="3591700787" sldId="2147478562"/>
            <ac:spMk id="216" creationId="{24CB4646-3BE6-D73E-590B-CC1882CEC11F}"/>
          </ac:spMkLst>
        </pc:spChg>
        <pc:spChg chg="add del mod">
          <ac:chgData name="Steiner Andreas 6206 ED" userId="e6377c33-a923-4f14-8587-531c474c7b48" providerId="ADAL" clId="{6ECD27E6-B224-41CD-B4E0-E297462320DD}" dt="2023-11-24T08:37:38.234" v="30853"/>
          <ac:spMkLst>
            <pc:docMk/>
            <pc:sldMk cId="3591700787" sldId="2147478562"/>
            <ac:spMk id="217" creationId="{5905BD3C-9A4B-4C02-9B3C-67736D31C865}"/>
          </ac:spMkLst>
        </pc:spChg>
        <pc:spChg chg="add del mod">
          <ac:chgData name="Steiner Andreas 6206 ED" userId="e6377c33-a923-4f14-8587-531c474c7b48" providerId="ADAL" clId="{6ECD27E6-B224-41CD-B4E0-E297462320DD}" dt="2023-11-24T08:37:42.350" v="31008"/>
          <ac:spMkLst>
            <pc:docMk/>
            <pc:sldMk cId="3591700787" sldId="2147478562"/>
            <ac:spMk id="218" creationId="{7CC1BF45-A29B-4268-57AF-5DC1057CD4BB}"/>
          </ac:spMkLst>
        </pc:spChg>
        <pc:spChg chg="add del mod">
          <ac:chgData name="Steiner Andreas 6206 ED" userId="e6377c33-a923-4f14-8587-531c474c7b48" providerId="ADAL" clId="{6ECD27E6-B224-41CD-B4E0-E297462320DD}" dt="2023-11-24T08:37:45.200" v="31163"/>
          <ac:spMkLst>
            <pc:docMk/>
            <pc:sldMk cId="3591700787" sldId="2147478562"/>
            <ac:spMk id="219" creationId="{8BF3F46F-C272-9100-5071-56CB0B2D2F8C}"/>
          </ac:spMkLst>
        </pc:spChg>
        <pc:spChg chg="add del mod">
          <ac:chgData name="Steiner Andreas 6206 ED" userId="e6377c33-a923-4f14-8587-531c474c7b48" providerId="ADAL" clId="{6ECD27E6-B224-41CD-B4E0-E297462320DD}" dt="2023-11-24T08:37:48.054" v="31318"/>
          <ac:spMkLst>
            <pc:docMk/>
            <pc:sldMk cId="3591700787" sldId="2147478562"/>
            <ac:spMk id="220" creationId="{1D8BE2D8-7FF1-2BFC-447E-A43CE520546C}"/>
          </ac:spMkLst>
        </pc:spChg>
        <pc:spChg chg="add del mod">
          <ac:chgData name="Steiner Andreas 6206 ED" userId="e6377c33-a923-4f14-8587-531c474c7b48" providerId="ADAL" clId="{6ECD27E6-B224-41CD-B4E0-E297462320DD}" dt="2023-11-24T08:37:50.741" v="31473"/>
          <ac:spMkLst>
            <pc:docMk/>
            <pc:sldMk cId="3591700787" sldId="2147478562"/>
            <ac:spMk id="221" creationId="{CCD9DA1E-1085-B4DF-139A-BAD8B66EB20C}"/>
          </ac:spMkLst>
        </pc:spChg>
        <pc:spChg chg="add del mod">
          <ac:chgData name="Steiner Andreas 6206 ED" userId="e6377c33-a923-4f14-8587-531c474c7b48" providerId="ADAL" clId="{6ECD27E6-B224-41CD-B4E0-E297462320DD}" dt="2023-11-24T08:37:53.386" v="31628"/>
          <ac:spMkLst>
            <pc:docMk/>
            <pc:sldMk cId="3591700787" sldId="2147478562"/>
            <ac:spMk id="222" creationId="{251D65C3-F7B4-6020-4FC1-B9528AF63CC3}"/>
          </ac:spMkLst>
        </pc:spChg>
        <pc:spChg chg="add del mod">
          <ac:chgData name="Steiner Andreas 6206 ED" userId="e6377c33-a923-4f14-8587-531c474c7b48" providerId="ADAL" clId="{6ECD27E6-B224-41CD-B4E0-E297462320DD}" dt="2023-11-24T08:37:57.485" v="31783"/>
          <ac:spMkLst>
            <pc:docMk/>
            <pc:sldMk cId="3591700787" sldId="2147478562"/>
            <ac:spMk id="223" creationId="{D678311D-F8BF-5436-3D90-26A86671C478}"/>
          </ac:spMkLst>
        </pc:spChg>
        <pc:spChg chg="add del mod">
          <ac:chgData name="Steiner Andreas 6206 ED" userId="e6377c33-a923-4f14-8587-531c474c7b48" providerId="ADAL" clId="{6ECD27E6-B224-41CD-B4E0-E297462320DD}" dt="2023-11-24T08:38:00.246" v="31938"/>
          <ac:spMkLst>
            <pc:docMk/>
            <pc:sldMk cId="3591700787" sldId="2147478562"/>
            <ac:spMk id="224" creationId="{BCAC45CE-4106-6D73-B947-732A75BBC0E4}"/>
          </ac:spMkLst>
        </pc:spChg>
        <pc:spChg chg="add del mod">
          <ac:chgData name="Steiner Andreas 6206 ED" userId="e6377c33-a923-4f14-8587-531c474c7b48" providerId="ADAL" clId="{6ECD27E6-B224-41CD-B4E0-E297462320DD}" dt="2023-11-24T08:38:03.182" v="32093"/>
          <ac:spMkLst>
            <pc:docMk/>
            <pc:sldMk cId="3591700787" sldId="2147478562"/>
            <ac:spMk id="225" creationId="{998B7227-4909-694F-456C-8722AE5173FD}"/>
          </ac:spMkLst>
        </pc:spChg>
        <pc:spChg chg="add del mod">
          <ac:chgData name="Steiner Andreas 6206 ED" userId="e6377c33-a923-4f14-8587-531c474c7b48" providerId="ADAL" clId="{6ECD27E6-B224-41CD-B4E0-E297462320DD}" dt="2023-11-24T08:38:06.091" v="32248"/>
          <ac:spMkLst>
            <pc:docMk/>
            <pc:sldMk cId="3591700787" sldId="2147478562"/>
            <ac:spMk id="226" creationId="{B6DAF879-E7CE-27E2-0FF3-2DC33513878A}"/>
          </ac:spMkLst>
        </pc:spChg>
        <pc:spChg chg="add del mod">
          <ac:chgData name="Steiner Andreas 6206 ED" userId="e6377c33-a923-4f14-8587-531c474c7b48" providerId="ADAL" clId="{6ECD27E6-B224-41CD-B4E0-E297462320DD}" dt="2023-11-24T08:38:09.308" v="32403"/>
          <ac:spMkLst>
            <pc:docMk/>
            <pc:sldMk cId="3591700787" sldId="2147478562"/>
            <ac:spMk id="227" creationId="{57129BB1-46BB-099B-130A-96B50F723DF4}"/>
          </ac:spMkLst>
        </pc:spChg>
        <pc:spChg chg="add del mod">
          <ac:chgData name="Steiner Andreas 6206 ED" userId="e6377c33-a923-4f14-8587-531c474c7b48" providerId="ADAL" clId="{6ECD27E6-B224-41CD-B4E0-E297462320DD}" dt="2023-11-24T08:38:11.999" v="32558"/>
          <ac:spMkLst>
            <pc:docMk/>
            <pc:sldMk cId="3591700787" sldId="2147478562"/>
            <ac:spMk id="228" creationId="{BA7D5A09-FC0B-56A0-A05A-9B60B30507EB}"/>
          </ac:spMkLst>
        </pc:spChg>
        <pc:spChg chg="add del mod">
          <ac:chgData name="Steiner Andreas 6206 ED" userId="e6377c33-a923-4f14-8587-531c474c7b48" providerId="ADAL" clId="{6ECD27E6-B224-41CD-B4E0-E297462320DD}" dt="2023-11-24T08:38:14.606" v="32713"/>
          <ac:spMkLst>
            <pc:docMk/>
            <pc:sldMk cId="3591700787" sldId="2147478562"/>
            <ac:spMk id="229" creationId="{35DEBBE7-3148-ED41-157D-1277F2E07710}"/>
          </ac:spMkLst>
        </pc:spChg>
        <pc:spChg chg="add del mod">
          <ac:chgData name="Steiner Andreas 6206 ED" userId="e6377c33-a923-4f14-8587-531c474c7b48" providerId="ADAL" clId="{6ECD27E6-B224-41CD-B4E0-E297462320DD}" dt="2023-11-24T08:38:17.326" v="32868"/>
          <ac:spMkLst>
            <pc:docMk/>
            <pc:sldMk cId="3591700787" sldId="2147478562"/>
            <ac:spMk id="230" creationId="{5FB4D28F-3801-F982-BF6A-8351B29BF881}"/>
          </ac:spMkLst>
        </pc:spChg>
        <pc:spChg chg="add del mod">
          <ac:chgData name="Steiner Andreas 6206 ED" userId="e6377c33-a923-4f14-8587-531c474c7b48" providerId="ADAL" clId="{6ECD27E6-B224-41CD-B4E0-E297462320DD}" dt="2023-11-24T08:38:20.328" v="33023"/>
          <ac:spMkLst>
            <pc:docMk/>
            <pc:sldMk cId="3591700787" sldId="2147478562"/>
            <ac:spMk id="231" creationId="{7A449C4C-0CE4-166C-E25C-8E3CEA528388}"/>
          </ac:spMkLst>
        </pc:spChg>
        <pc:spChg chg="add del mod">
          <ac:chgData name="Steiner Andreas 6206 ED" userId="e6377c33-a923-4f14-8587-531c474c7b48" providerId="ADAL" clId="{6ECD27E6-B224-41CD-B4E0-E297462320DD}" dt="2023-11-24T08:38:23.173" v="33178"/>
          <ac:spMkLst>
            <pc:docMk/>
            <pc:sldMk cId="3591700787" sldId="2147478562"/>
            <ac:spMk id="232" creationId="{6051BE32-BC2B-D0AB-9E5D-4FD27C3F32A1}"/>
          </ac:spMkLst>
        </pc:spChg>
        <pc:spChg chg="add del mod">
          <ac:chgData name="Steiner Andreas 6206 ED" userId="e6377c33-a923-4f14-8587-531c474c7b48" providerId="ADAL" clId="{6ECD27E6-B224-41CD-B4E0-E297462320DD}" dt="2023-11-24T08:38:26.057" v="33333"/>
          <ac:spMkLst>
            <pc:docMk/>
            <pc:sldMk cId="3591700787" sldId="2147478562"/>
            <ac:spMk id="233" creationId="{9FBFAEA4-AA62-C051-D792-37E8CF970C5A}"/>
          </ac:spMkLst>
        </pc:spChg>
        <pc:spChg chg="add del mod">
          <ac:chgData name="Steiner Andreas 6206 ED" userId="e6377c33-a923-4f14-8587-531c474c7b48" providerId="ADAL" clId="{6ECD27E6-B224-41CD-B4E0-E297462320DD}" dt="2023-11-24T08:38:29.663" v="33488"/>
          <ac:spMkLst>
            <pc:docMk/>
            <pc:sldMk cId="3591700787" sldId="2147478562"/>
            <ac:spMk id="234" creationId="{F4F9D1BB-0324-8307-51E6-F913E91656D2}"/>
          </ac:spMkLst>
        </pc:spChg>
        <pc:spChg chg="add del mod">
          <ac:chgData name="Steiner Andreas 6206 ED" userId="e6377c33-a923-4f14-8587-531c474c7b48" providerId="ADAL" clId="{6ECD27E6-B224-41CD-B4E0-E297462320DD}" dt="2023-11-24T08:38:32.748" v="33643"/>
          <ac:spMkLst>
            <pc:docMk/>
            <pc:sldMk cId="3591700787" sldId="2147478562"/>
            <ac:spMk id="235" creationId="{BF9778E7-1DEF-4CB7-3E62-F446BEF03BB6}"/>
          </ac:spMkLst>
        </pc:spChg>
        <pc:spChg chg="add del mod">
          <ac:chgData name="Steiner Andreas 6206 ED" userId="e6377c33-a923-4f14-8587-531c474c7b48" providerId="ADAL" clId="{6ECD27E6-B224-41CD-B4E0-E297462320DD}" dt="2023-11-24T08:38:35.371" v="33798"/>
          <ac:spMkLst>
            <pc:docMk/>
            <pc:sldMk cId="3591700787" sldId="2147478562"/>
            <ac:spMk id="236" creationId="{48580053-4F36-D028-32FF-08BA48197D6A}"/>
          </ac:spMkLst>
        </pc:spChg>
        <pc:spChg chg="add del mod">
          <ac:chgData name="Steiner Andreas 6206 ED" userId="e6377c33-a923-4f14-8587-531c474c7b48" providerId="ADAL" clId="{6ECD27E6-B224-41CD-B4E0-E297462320DD}" dt="2023-11-24T08:38:38.014" v="33953"/>
          <ac:spMkLst>
            <pc:docMk/>
            <pc:sldMk cId="3591700787" sldId="2147478562"/>
            <ac:spMk id="237" creationId="{9FD5569B-C670-B8CF-A333-AF4794074E36}"/>
          </ac:spMkLst>
        </pc:spChg>
        <pc:spChg chg="add del mod">
          <ac:chgData name="Steiner Andreas 6206 ED" userId="e6377c33-a923-4f14-8587-531c474c7b48" providerId="ADAL" clId="{6ECD27E6-B224-41CD-B4E0-E297462320DD}" dt="2023-11-24T08:38:40.561" v="34108"/>
          <ac:spMkLst>
            <pc:docMk/>
            <pc:sldMk cId="3591700787" sldId="2147478562"/>
            <ac:spMk id="238" creationId="{DA361AFA-E021-7918-3AC1-21F92BBDA37E}"/>
          </ac:spMkLst>
        </pc:spChg>
        <pc:spChg chg="add del mod">
          <ac:chgData name="Steiner Andreas 6206 ED" userId="e6377c33-a923-4f14-8587-531c474c7b48" providerId="ADAL" clId="{6ECD27E6-B224-41CD-B4E0-E297462320DD}" dt="2023-11-24T08:38:43.192" v="34263"/>
          <ac:spMkLst>
            <pc:docMk/>
            <pc:sldMk cId="3591700787" sldId="2147478562"/>
            <ac:spMk id="239" creationId="{BD325044-D26B-7A40-0106-00C16F0A74F6}"/>
          </ac:spMkLst>
        </pc:spChg>
        <pc:spChg chg="add del mod">
          <ac:chgData name="Steiner Andreas 6206 ED" userId="e6377c33-a923-4f14-8587-531c474c7b48" providerId="ADAL" clId="{6ECD27E6-B224-41CD-B4E0-E297462320DD}" dt="2023-11-24T08:38:47.099" v="34418"/>
          <ac:spMkLst>
            <pc:docMk/>
            <pc:sldMk cId="3591700787" sldId="2147478562"/>
            <ac:spMk id="240" creationId="{D79C7F64-404E-2B8A-1E11-7AE063C3F4F1}"/>
          </ac:spMkLst>
        </pc:spChg>
        <pc:spChg chg="add del mod">
          <ac:chgData name="Steiner Andreas 6206 ED" userId="e6377c33-a923-4f14-8587-531c474c7b48" providerId="ADAL" clId="{6ECD27E6-B224-41CD-B4E0-E297462320DD}" dt="2023-11-24T08:38:49.797" v="34573"/>
          <ac:spMkLst>
            <pc:docMk/>
            <pc:sldMk cId="3591700787" sldId="2147478562"/>
            <ac:spMk id="241" creationId="{A0B3BC94-4D68-EE16-523A-FAF5BCAAEBCA}"/>
          </ac:spMkLst>
        </pc:spChg>
        <pc:spChg chg="add del mod">
          <ac:chgData name="Steiner Andreas 6206 ED" userId="e6377c33-a923-4f14-8587-531c474c7b48" providerId="ADAL" clId="{6ECD27E6-B224-41CD-B4E0-E297462320DD}" dt="2023-11-24T08:38:52.625" v="34728"/>
          <ac:spMkLst>
            <pc:docMk/>
            <pc:sldMk cId="3591700787" sldId="2147478562"/>
            <ac:spMk id="242" creationId="{499D4DE3-A679-0869-BEFB-40F4D0C022F9}"/>
          </ac:spMkLst>
        </pc:spChg>
        <pc:spChg chg="add del mod">
          <ac:chgData name="Steiner Andreas 6206 ED" userId="e6377c33-a923-4f14-8587-531c474c7b48" providerId="ADAL" clId="{6ECD27E6-B224-41CD-B4E0-E297462320DD}" dt="2023-11-24T08:38:55.571" v="34883"/>
          <ac:spMkLst>
            <pc:docMk/>
            <pc:sldMk cId="3591700787" sldId="2147478562"/>
            <ac:spMk id="243" creationId="{6EF7D4C1-BBAF-D9A3-F004-72E7A447A7C9}"/>
          </ac:spMkLst>
        </pc:spChg>
        <pc:spChg chg="add del mod">
          <ac:chgData name="Steiner Andreas 6206 ED" userId="e6377c33-a923-4f14-8587-531c474c7b48" providerId="ADAL" clId="{6ECD27E6-B224-41CD-B4E0-E297462320DD}" dt="2023-11-24T08:38:58.819" v="35038"/>
          <ac:spMkLst>
            <pc:docMk/>
            <pc:sldMk cId="3591700787" sldId="2147478562"/>
            <ac:spMk id="244" creationId="{EB2F71EA-D38D-6C0D-956B-C98B9CC04614}"/>
          </ac:spMkLst>
        </pc:spChg>
        <pc:spChg chg="add del mod">
          <ac:chgData name="Steiner Andreas 6206 ED" userId="e6377c33-a923-4f14-8587-531c474c7b48" providerId="ADAL" clId="{6ECD27E6-B224-41CD-B4E0-E297462320DD}" dt="2023-11-24T08:39:02.464" v="35193"/>
          <ac:spMkLst>
            <pc:docMk/>
            <pc:sldMk cId="3591700787" sldId="2147478562"/>
            <ac:spMk id="245" creationId="{3EDD8305-D879-7FC9-8316-8033BFD9D735}"/>
          </ac:spMkLst>
        </pc:spChg>
        <pc:spChg chg="add del mod">
          <ac:chgData name="Steiner Andreas 6206 ED" userId="e6377c33-a923-4f14-8587-531c474c7b48" providerId="ADAL" clId="{6ECD27E6-B224-41CD-B4E0-E297462320DD}" dt="2023-11-24T08:39:05.466" v="35348"/>
          <ac:spMkLst>
            <pc:docMk/>
            <pc:sldMk cId="3591700787" sldId="2147478562"/>
            <ac:spMk id="246" creationId="{8D9851C3-F124-46B6-A214-07344778E1E5}"/>
          </ac:spMkLst>
        </pc:spChg>
        <pc:spChg chg="add del mod">
          <ac:chgData name="Steiner Andreas 6206 ED" userId="e6377c33-a923-4f14-8587-531c474c7b48" providerId="ADAL" clId="{6ECD27E6-B224-41CD-B4E0-E297462320DD}" dt="2023-11-24T08:39:08.406" v="35503"/>
          <ac:spMkLst>
            <pc:docMk/>
            <pc:sldMk cId="3591700787" sldId="2147478562"/>
            <ac:spMk id="247" creationId="{76914C07-298A-46BE-A9CA-D3DC185D7670}"/>
          </ac:spMkLst>
        </pc:spChg>
        <pc:spChg chg="add del mod">
          <ac:chgData name="Steiner Andreas 6206 ED" userId="e6377c33-a923-4f14-8587-531c474c7b48" providerId="ADAL" clId="{6ECD27E6-B224-41CD-B4E0-E297462320DD}" dt="2023-11-24T08:39:12.943" v="35658"/>
          <ac:spMkLst>
            <pc:docMk/>
            <pc:sldMk cId="3591700787" sldId="2147478562"/>
            <ac:spMk id="248" creationId="{6DCCD98C-767D-461C-2354-6E79BB0770FC}"/>
          </ac:spMkLst>
        </pc:spChg>
        <pc:spChg chg="add del mod">
          <ac:chgData name="Steiner Andreas 6206 ED" userId="e6377c33-a923-4f14-8587-531c474c7b48" providerId="ADAL" clId="{6ECD27E6-B224-41CD-B4E0-E297462320DD}" dt="2023-11-24T08:39:15.600" v="35813"/>
          <ac:spMkLst>
            <pc:docMk/>
            <pc:sldMk cId="3591700787" sldId="2147478562"/>
            <ac:spMk id="249" creationId="{7CC80AAB-B78A-A942-A2A5-0D428761BA69}"/>
          </ac:spMkLst>
        </pc:spChg>
        <pc:spChg chg="add del mod">
          <ac:chgData name="Steiner Andreas 6206 ED" userId="e6377c33-a923-4f14-8587-531c474c7b48" providerId="ADAL" clId="{6ECD27E6-B224-41CD-B4E0-E297462320DD}" dt="2023-11-24T08:39:18.281" v="35968"/>
          <ac:spMkLst>
            <pc:docMk/>
            <pc:sldMk cId="3591700787" sldId="2147478562"/>
            <ac:spMk id="250" creationId="{AEDE365A-C1E5-6D79-4095-5B10F0C4EA06}"/>
          </ac:spMkLst>
        </pc:spChg>
        <pc:spChg chg="add del mod">
          <ac:chgData name="Steiner Andreas 6206 ED" userId="e6377c33-a923-4f14-8587-531c474c7b48" providerId="ADAL" clId="{6ECD27E6-B224-41CD-B4E0-E297462320DD}" dt="2023-11-24T08:39:20.924" v="36123"/>
          <ac:spMkLst>
            <pc:docMk/>
            <pc:sldMk cId="3591700787" sldId="2147478562"/>
            <ac:spMk id="251" creationId="{FBD9C00C-0846-5C55-1D97-A9A7F6A0380B}"/>
          </ac:spMkLst>
        </pc:spChg>
        <pc:spChg chg="add del mod">
          <ac:chgData name="Steiner Andreas 6206 ED" userId="e6377c33-a923-4f14-8587-531c474c7b48" providerId="ADAL" clId="{6ECD27E6-B224-41CD-B4E0-E297462320DD}" dt="2023-11-24T08:39:24.077" v="36278"/>
          <ac:spMkLst>
            <pc:docMk/>
            <pc:sldMk cId="3591700787" sldId="2147478562"/>
            <ac:spMk id="252" creationId="{4996AF4C-62F2-B3D6-EEDB-F6202E5E02E7}"/>
          </ac:spMkLst>
        </pc:spChg>
        <pc:spChg chg="add del mod">
          <ac:chgData name="Steiner Andreas 6206 ED" userId="e6377c33-a923-4f14-8587-531c474c7b48" providerId="ADAL" clId="{6ECD27E6-B224-41CD-B4E0-E297462320DD}" dt="2023-11-24T08:39:26.797" v="36433"/>
          <ac:spMkLst>
            <pc:docMk/>
            <pc:sldMk cId="3591700787" sldId="2147478562"/>
            <ac:spMk id="253" creationId="{4CF05B4C-C9B3-A82C-0308-72C4E64F3642}"/>
          </ac:spMkLst>
        </pc:spChg>
        <pc:spChg chg="add del mod">
          <ac:chgData name="Steiner Andreas 6206 ED" userId="e6377c33-a923-4f14-8587-531c474c7b48" providerId="ADAL" clId="{6ECD27E6-B224-41CD-B4E0-E297462320DD}" dt="2023-11-24T08:39:29.547" v="36588"/>
          <ac:spMkLst>
            <pc:docMk/>
            <pc:sldMk cId="3591700787" sldId="2147478562"/>
            <ac:spMk id="254" creationId="{710BEC00-9A56-2B50-CD91-651E50A35502}"/>
          </ac:spMkLst>
        </pc:spChg>
        <pc:spChg chg="add del mod">
          <ac:chgData name="Steiner Andreas 6206 ED" userId="e6377c33-a923-4f14-8587-531c474c7b48" providerId="ADAL" clId="{6ECD27E6-B224-41CD-B4E0-E297462320DD}" dt="2023-11-24T08:39:32.120" v="36743"/>
          <ac:spMkLst>
            <pc:docMk/>
            <pc:sldMk cId="3591700787" sldId="2147478562"/>
            <ac:spMk id="255" creationId="{9049846C-67A9-9559-D8D1-8348A9CDF669}"/>
          </ac:spMkLst>
        </pc:spChg>
        <pc:spChg chg="add del mod">
          <ac:chgData name="Steiner Andreas 6206 ED" userId="e6377c33-a923-4f14-8587-531c474c7b48" providerId="ADAL" clId="{6ECD27E6-B224-41CD-B4E0-E297462320DD}" dt="2023-11-24T08:39:34.628" v="36898"/>
          <ac:spMkLst>
            <pc:docMk/>
            <pc:sldMk cId="3591700787" sldId="2147478562"/>
            <ac:spMk id="256" creationId="{C1764937-859B-2B5B-0245-6B395D5002CC}"/>
          </ac:spMkLst>
        </pc:spChg>
        <pc:spChg chg="add del mod">
          <ac:chgData name="Steiner Andreas 6206 ED" userId="e6377c33-a923-4f14-8587-531c474c7b48" providerId="ADAL" clId="{6ECD27E6-B224-41CD-B4E0-E297462320DD}" dt="2023-11-24T08:39:37.548" v="37053"/>
          <ac:spMkLst>
            <pc:docMk/>
            <pc:sldMk cId="3591700787" sldId="2147478562"/>
            <ac:spMk id="257" creationId="{56A4C590-E9BA-111E-DE78-F6BBF7A0C648}"/>
          </ac:spMkLst>
        </pc:spChg>
        <pc:spChg chg="add del mod">
          <ac:chgData name="Steiner Andreas 6206 ED" userId="e6377c33-a923-4f14-8587-531c474c7b48" providerId="ADAL" clId="{6ECD27E6-B224-41CD-B4E0-E297462320DD}" dt="2023-11-24T08:39:40.187" v="37208"/>
          <ac:spMkLst>
            <pc:docMk/>
            <pc:sldMk cId="3591700787" sldId="2147478562"/>
            <ac:spMk id="258" creationId="{C14904A2-71C7-5B20-BA91-61ADE1FFA092}"/>
          </ac:spMkLst>
        </pc:spChg>
        <pc:spChg chg="add del mod">
          <ac:chgData name="Steiner Andreas 6206 ED" userId="e6377c33-a923-4f14-8587-531c474c7b48" providerId="ADAL" clId="{6ECD27E6-B224-41CD-B4E0-E297462320DD}" dt="2023-11-24T08:39:42.626" v="37363"/>
          <ac:spMkLst>
            <pc:docMk/>
            <pc:sldMk cId="3591700787" sldId="2147478562"/>
            <ac:spMk id="259" creationId="{2FD86128-25F7-0496-4A6D-E6E9169B841B}"/>
          </ac:spMkLst>
        </pc:spChg>
        <pc:spChg chg="add del mod">
          <ac:chgData name="Steiner Andreas 6206 ED" userId="e6377c33-a923-4f14-8587-531c474c7b48" providerId="ADAL" clId="{6ECD27E6-B224-41CD-B4E0-E297462320DD}" dt="2023-11-24T08:39:45.193" v="37518"/>
          <ac:spMkLst>
            <pc:docMk/>
            <pc:sldMk cId="3591700787" sldId="2147478562"/>
            <ac:spMk id="260" creationId="{5B977ECC-231F-C586-573D-F45A14AFF2D5}"/>
          </ac:spMkLst>
        </pc:spChg>
        <pc:spChg chg="add del mod">
          <ac:chgData name="Steiner Andreas 6206 ED" userId="e6377c33-a923-4f14-8587-531c474c7b48" providerId="ADAL" clId="{6ECD27E6-B224-41CD-B4E0-E297462320DD}" dt="2023-11-24T08:39:48.217" v="37673"/>
          <ac:spMkLst>
            <pc:docMk/>
            <pc:sldMk cId="3591700787" sldId="2147478562"/>
            <ac:spMk id="261" creationId="{16693620-2C2A-E614-4D92-2059B0281D8F}"/>
          </ac:spMkLst>
        </pc:spChg>
        <pc:spChg chg="add del mod">
          <ac:chgData name="Steiner Andreas 6206 ED" userId="e6377c33-a923-4f14-8587-531c474c7b48" providerId="ADAL" clId="{6ECD27E6-B224-41CD-B4E0-E297462320DD}" dt="2023-11-24T08:39:50.912" v="37828"/>
          <ac:spMkLst>
            <pc:docMk/>
            <pc:sldMk cId="3591700787" sldId="2147478562"/>
            <ac:spMk id="262" creationId="{20C3662D-B72D-3C48-D5E7-76B341CD3DAD}"/>
          </ac:spMkLst>
        </pc:spChg>
        <pc:spChg chg="add del mod">
          <ac:chgData name="Steiner Andreas 6206 ED" userId="e6377c33-a923-4f14-8587-531c474c7b48" providerId="ADAL" clId="{6ECD27E6-B224-41CD-B4E0-E297462320DD}" dt="2023-11-24T08:39:53.563" v="37983"/>
          <ac:spMkLst>
            <pc:docMk/>
            <pc:sldMk cId="3591700787" sldId="2147478562"/>
            <ac:spMk id="263" creationId="{50D7E315-CC66-8710-5728-BE7AC96912B6}"/>
          </ac:spMkLst>
        </pc:spChg>
        <pc:spChg chg="add del mod">
          <ac:chgData name="Steiner Andreas 6206 ED" userId="e6377c33-a923-4f14-8587-531c474c7b48" providerId="ADAL" clId="{6ECD27E6-B224-41CD-B4E0-E297462320DD}" dt="2023-11-24T08:39:56.511" v="38138"/>
          <ac:spMkLst>
            <pc:docMk/>
            <pc:sldMk cId="3591700787" sldId="2147478562"/>
            <ac:spMk id="264" creationId="{4AE2372F-3131-5B0E-ECF7-FB685C72AA93}"/>
          </ac:spMkLst>
        </pc:spChg>
        <pc:spChg chg="add del mod">
          <ac:chgData name="Steiner Andreas 6206 ED" userId="e6377c33-a923-4f14-8587-531c474c7b48" providerId="ADAL" clId="{6ECD27E6-B224-41CD-B4E0-E297462320DD}" dt="2023-11-24T08:39:59.856" v="38293"/>
          <ac:spMkLst>
            <pc:docMk/>
            <pc:sldMk cId="3591700787" sldId="2147478562"/>
            <ac:spMk id="265" creationId="{65229200-8607-A7F1-C0D0-DFA08B0C2469}"/>
          </ac:spMkLst>
        </pc:spChg>
        <pc:spChg chg="add del mod">
          <ac:chgData name="Steiner Andreas 6206 ED" userId="e6377c33-a923-4f14-8587-531c474c7b48" providerId="ADAL" clId="{6ECD27E6-B224-41CD-B4E0-E297462320DD}" dt="2023-11-24T08:40:02.947" v="38448"/>
          <ac:spMkLst>
            <pc:docMk/>
            <pc:sldMk cId="3591700787" sldId="2147478562"/>
            <ac:spMk id="266" creationId="{9F017105-F5DA-3013-4B04-EC09918F5B68}"/>
          </ac:spMkLst>
        </pc:spChg>
        <pc:spChg chg="add del mod">
          <ac:chgData name="Steiner Andreas 6206 ED" userId="e6377c33-a923-4f14-8587-531c474c7b48" providerId="ADAL" clId="{6ECD27E6-B224-41CD-B4E0-E297462320DD}" dt="2023-11-24T08:40:05.690" v="38603"/>
          <ac:spMkLst>
            <pc:docMk/>
            <pc:sldMk cId="3591700787" sldId="2147478562"/>
            <ac:spMk id="267" creationId="{B9D7B364-0621-D356-CB59-4A08A69ED7C2}"/>
          </ac:spMkLst>
        </pc:spChg>
        <pc:spChg chg="add del mod">
          <ac:chgData name="Steiner Andreas 6206 ED" userId="e6377c33-a923-4f14-8587-531c474c7b48" providerId="ADAL" clId="{6ECD27E6-B224-41CD-B4E0-E297462320DD}" dt="2023-11-24T08:40:08.259" v="38758"/>
          <ac:spMkLst>
            <pc:docMk/>
            <pc:sldMk cId="3591700787" sldId="2147478562"/>
            <ac:spMk id="268" creationId="{C8436459-47F7-953C-F469-FA900FA011D8}"/>
          </ac:spMkLst>
        </pc:spChg>
        <pc:spChg chg="add del mod">
          <ac:chgData name="Steiner Andreas 6206 ED" userId="e6377c33-a923-4f14-8587-531c474c7b48" providerId="ADAL" clId="{6ECD27E6-B224-41CD-B4E0-E297462320DD}" dt="2023-11-24T08:40:10.998" v="38913"/>
          <ac:spMkLst>
            <pc:docMk/>
            <pc:sldMk cId="3591700787" sldId="2147478562"/>
            <ac:spMk id="269" creationId="{EE8B6C78-AD8D-4D6B-B71B-8253F8ECA611}"/>
          </ac:spMkLst>
        </pc:spChg>
        <pc:spChg chg="add del mod">
          <ac:chgData name="Steiner Andreas 6206 ED" userId="e6377c33-a923-4f14-8587-531c474c7b48" providerId="ADAL" clId="{6ECD27E6-B224-41CD-B4E0-E297462320DD}" dt="2023-11-24T08:40:14.180" v="39068"/>
          <ac:spMkLst>
            <pc:docMk/>
            <pc:sldMk cId="3591700787" sldId="2147478562"/>
            <ac:spMk id="270" creationId="{37ED3BAD-AE65-E52F-7274-9B29A73D4D26}"/>
          </ac:spMkLst>
        </pc:spChg>
        <pc:spChg chg="add del mod">
          <ac:chgData name="Steiner Andreas 6206 ED" userId="e6377c33-a923-4f14-8587-531c474c7b48" providerId="ADAL" clId="{6ECD27E6-B224-41CD-B4E0-E297462320DD}" dt="2023-11-24T08:40:16.836" v="39223"/>
          <ac:spMkLst>
            <pc:docMk/>
            <pc:sldMk cId="3591700787" sldId="2147478562"/>
            <ac:spMk id="271" creationId="{5BF43657-0F1A-2054-E7D8-03CBF6868CCA}"/>
          </ac:spMkLst>
        </pc:spChg>
        <pc:spChg chg="add del mod">
          <ac:chgData name="Steiner Andreas 6206 ED" userId="e6377c33-a923-4f14-8587-531c474c7b48" providerId="ADAL" clId="{6ECD27E6-B224-41CD-B4E0-E297462320DD}" dt="2023-11-24T08:40:19.342" v="39378"/>
          <ac:spMkLst>
            <pc:docMk/>
            <pc:sldMk cId="3591700787" sldId="2147478562"/>
            <ac:spMk id="272" creationId="{7E53DBD6-3C7A-2DBF-67ED-44B3A235CB51}"/>
          </ac:spMkLst>
        </pc:spChg>
        <pc:spChg chg="add del mod">
          <ac:chgData name="Steiner Andreas 6206 ED" userId="e6377c33-a923-4f14-8587-531c474c7b48" providerId="ADAL" clId="{6ECD27E6-B224-41CD-B4E0-E297462320DD}" dt="2023-11-24T08:40:21.773" v="39533"/>
          <ac:spMkLst>
            <pc:docMk/>
            <pc:sldMk cId="3591700787" sldId="2147478562"/>
            <ac:spMk id="273" creationId="{58BF20FA-8975-4E75-19AF-4079941832AD}"/>
          </ac:spMkLst>
        </pc:spChg>
        <pc:spChg chg="add del mod">
          <ac:chgData name="Steiner Andreas 6206 ED" userId="e6377c33-a923-4f14-8587-531c474c7b48" providerId="ADAL" clId="{6ECD27E6-B224-41CD-B4E0-E297462320DD}" dt="2023-11-24T08:40:24.553" v="39688"/>
          <ac:spMkLst>
            <pc:docMk/>
            <pc:sldMk cId="3591700787" sldId="2147478562"/>
            <ac:spMk id="274" creationId="{8F442EA4-C097-2614-5648-1BDA8DAA1952}"/>
          </ac:spMkLst>
        </pc:spChg>
        <pc:spChg chg="add del mod">
          <ac:chgData name="Steiner Andreas 6206 ED" userId="e6377c33-a923-4f14-8587-531c474c7b48" providerId="ADAL" clId="{6ECD27E6-B224-41CD-B4E0-E297462320DD}" dt="2023-11-24T08:40:27.485" v="39843"/>
          <ac:spMkLst>
            <pc:docMk/>
            <pc:sldMk cId="3591700787" sldId="2147478562"/>
            <ac:spMk id="275" creationId="{CF5AB3B9-0E8F-38FE-35CB-3DA9FA7E9914}"/>
          </ac:spMkLst>
        </pc:spChg>
        <pc:spChg chg="add del mod">
          <ac:chgData name="Steiner Andreas 6206 ED" userId="e6377c33-a923-4f14-8587-531c474c7b48" providerId="ADAL" clId="{6ECD27E6-B224-41CD-B4E0-E297462320DD}" dt="2023-11-24T08:40:30.028" v="39998"/>
          <ac:spMkLst>
            <pc:docMk/>
            <pc:sldMk cId="3591700787" sldId="2147478562"/>
            <ac:spMk id="276" creationId="{1F228976-F7C6-F45B-B516-DFC8D54A9A33}"/>
          </ac:spMkLst>
        </pc:spChg>
        <pc:spChg chg="add del mod">
          <ac:chgData name="Steiner Andreas 6206 ED" userId="e6377c33-a923-4f14-8587-531c474c7b48" providerId="ADAL" clId="{6ECD27E6-B224-41CD-B4E0-E297462320DD}" dt="2023-11-24T08:40:32.675" v="40153"/>
          <ac:spMkLst>
            <pc:docMk/>
            <pc:sldMk cId="3591700787" sldId="2147478562"/>
            <ac:spMk id="277" creationId="{418515FB-E4DE-20E2-F45A-6271C5AA97D1}"/>
          </ac:spMkLst>
        </pc:spChg>
        <pc:spChg chg="add del mod">
          <ac:chgData name="Steiner Andreas 6206 ED" userId="e6377c33-a923-4f14-8587-531c474c7b48" providerId="ADAL" clId="{6ECD27E6-B224-41CD-B4E0-E297462320DD}" dt="2023-11-24T08:40:35.158" v="40308"/>
          <ac:spMkLst>
            <pc:docMk/>
            <pc:sldMk cId="3591700787" sldId="2147478562"/>
            <ac:spMk id="278" creationId="{32BDA82E-5905-DB7B-E92E-FE3A76612031}"/>
          </ac:spMkLst>
        </pc:spChg>
        <pc:spChg chg="add del mod">
          <ac:chgData name="Steiner Andreas 6206 ED" userId="e6377c33-a923-4f14-8587-531c474c7b48" providerId="ADAL" clId="{6ECD27E6-B224-41CD-B4E0-E297462320DD}" dt="2023-11-24T08:40:38.575" v="40463"/>
          <ac:spMkLst>
            <pc:docMk/>
            <pc:sldMk cId="3591700787" sldId="2147478562"/>
            <ac:spMk id="279" creationId="{D0C90BA0-0FC7-4699-34BB-6DFDBB7B83E6}"/>
          </ac:spMkLst>
        </pc:spChg>
        <pc:spChg chg="add del mod">
          <ac:chgData name="Steiner Andreas 6206 ED" userId="e6377c33-a923-4f14-8587-531c474c7b48" providerId="ADAL" clId="{6ECD27E6-B224-41CD-B4E0-E297462320DD}" dt="2023-11-24T08:40:41.347" v="40618"/>
          <ac:spMkLst>
            <pc:docMk/>
            <pc:sldMk cId="3591700787" sldId="2147478562"/>
            <ac:spMk id="280" creationId="{FE6660EE-AF99-71B0-4CDB-E242DC385221}"/>
          </ac:spMkLst>
        </pc:spChg>
        <pc:spChg chg="add del mod">
          <ac:chgData name="Steiner Andreas 6206 ED" userId="e6377c33-a923-4f14-8587-531c474c7b48" providerId="ADAL" clId="{6ECD27E6-B224-41CD-B4E0-E297462320DD}" dt="2023-11-24T08:40:44.058" v="40773"/>
          <ac:spMkLst>
            <pc:docMk/>
            <pc:sldMk cId="3591700787" sldId="2147478562"/>
            <ac:spMk id="281" creationId="{1595F37F-200F-11F6-C5CA-95E26D26F057}"/>
          </ac:spMkLst>
        </pc:spChg>
        <pc:spChg chg="add del mod">
          <ac:chgData name="Steiner Andreas 6206 ED" userId="e6377c33-a923-4f14-8587-531c474c7b48" providerId="ADAL" clId="{6ECD27E6-B224-41CD-B4E0-E297462320DD}" dt="2023-11-24T08:40:46.517" v="40928"/>
          <ac:spMkLst>
            <pc:docMk/>
            <pc:sldMk cId="3591700787" sldId="2147478562"/>
            <ac:spMk id="282" creationId="{A4247509-0C98-E886-B745-647E271B1125}"/>
          </ac:spMkLst>
        </pc:spChg>
        <pc:spChg chg="add del mod">
          <ac:chgData name="Steiner Andreas 6206 ED" userId="e6377c33-a923-4f14-8587-531c474c7b48" providerId="ADAL" clId="{6ECD27E6-B224-41CD-B4E0-E297462320DD}" dt="2023-11-24T08:40:49.467" v="41083"/>
          <ac:spMkLst>
            <pc:docMk/>
            <pc:sldMk cId="3591700787" sldId="2147478562"/>
            <ac:spMk id="283" creationId="{58E249DE-70E0-24E2-D16F-50034B515325}"/>
          </ac:spMkLst>
        </pc:spChg>
        <pc:spChg chg="add del mod">
          <ac:chgData name="Steiner Andreas 6206 ED" userId="e6377c33-a923-4f14-8587-531c474c7b48" providerId="ADAL" clId="{6ECD27E6-B224-41CD-B4E0-E297462320DD}" dt="2023-11-24T08:40:52.165" v="41238"/>
          <ac:spMkLst>
            <pc:docMk/>
            <pc:sldMk cId="3591700787" sldId="2147478562"/>
            <ac:spMk id="284" creationId="{0ACEF3DF-CA49-3EC3-E223-312600C9F0A0}"/>
          </ac:spMkLst>
        </pc:spChg>
        <pc:spChg chg="add del mod">
          <ac:chgData name="Steiner Andreas 6206 ED" userId="e6377c33-a923-4f14-8587-531c474c7b48" providerId="ADAL" clId="{6ECD27E6-B224-41CD-B4E0-E297462320DD}" dt="2023-11-24T08:40:54.679" v="41393"/>
          <ac:spMkLst>
            <pc:docMk/>
            <pc:sldMk cId="3591700787" sldId="2147478562"/>
            <ac:spMk id="285" creationId="{5035D584-FD2D-5311-9F5A-88BF76B6D793}"/>
          </ac:spMkLst>
        </pc:spChg>
        <pc:spChg chg="add del mod">
          <ac:chgData name="Steiner Andreas 6206 ED" userId="e6377c33-a923-4f14-8587-531c474c7b48" providerId="ADAL" clId="{6ECD27E6-B224-41CD-B4E0-E297462320DD}" dt="2023-11-24T08:40:57.152" v="41548"/>
          <ac:spMkLst>
            <pc:docMk/>
            <pc:sldMk cId="3591700787" sldId="2147478562"/>
            <ac:spMk id="286" creationId="{931EAC4C-F8E7-4E7B-387D-8D594822D35E}"/>
          </ac:spMkLst>
        </pc:spChg>
        <pc:spChg chg="add del mod">
          <ac:chgData name="Steiner Andreas 6206 ED" userId="e6377c33-a923-4f14-8587-531c474c7b48" providerId="ADAL" clId="{6ECD27E6-B224-41CD-B4E0-E297462320DD}" dt="2023-11-24T08:40:59.857" v="41703"/>
          <ac:spMkLst>
            <pc:docMk/>
            <pc:sldMk cId="3591700787" sldId="2147478562"/>
            <ac:spMk id="287" creationId="{9C5BFC73-2969-15D9-B81A-0F726D8EB379}"/>
          </ac:spMkLst>
        </pc:spChg>
        <pc:spChg chg="add del mod">
          <ac:chgData name="Steiner Andreas 6206 ED" userId="e6377c33-a923-4f14-8587-531c474c7b48" providerId="ADAL" clId="{6ECD27E6-B224-41CD-B4E0-E297462320DD}" dt="2023-11-24T08:41:02.872" v="41858"/>
          <ac:spMkLst>
            <pc:docMk/>
            <pc:sldMk cId="3591700787" sldId="2147478562"/>
            <ac:spMk id="288" creationId="{93E62A13-AF78-87E1-CDAC-1862B6F65256}"/>
          </ac:spMkLst>
        </pc:spChg>
        <pc:spChg chg="add del mod">
          <ac:chgData name="Steiner Andreas 6206 ED" userId="e6377c33-a923-4f14-8587-531c474c7b48" providerId="ADAL" clId="{6ECD27E6-B224-41CD-B4E0-E297462320DD}" dt="2023-11-24T08:41:05.636" v="42013"/>
          <ac:spMkLst>
            <pc:docMk/>
            <pc:sldMk cId="3591700787" sldId="2147478562"/>
            <ac:spMk id="289" creationId="{E881A3DD-815E-0E7E-8B69-18A274AFE497}"/>
          </ac:spMkLst>
        </pc:spChg>
        <pc:spChg chg="add del mod">
          <ac:chgData name="Steiner Andreas 6206 ED" userId="e6377c33-a923-4f14-8587-531c474c7b48" providerId="ADAL" clId="{6ECD27E6-B224-41CD-B4E0-E297462320DD}" dt="2023-11-24T08:41:09.222" v="42168"/>
          <ac:spMkLst>
            <pc:docMk/>
            <pc:sldMk cId="3591700787" sldId="2147478562"/>
            <ac:spMk id="290" creationId="{59B4BACE-82C1-5BCB-8F0C-CF609F4DC7C9}"/>
          </ac:spMkLst>
        </pc:spChg>
        <pc:spChg chg="add del mod">
          <ac:chgData name="Steiner Andreas 6206 ED" userId="e6377c33-a923-4f14-8587-531c474c7b48" providerId="ADAL" clId="{6ECD27E6-B224-41CD-B4E0-E297462320DD}" dt="2023-11-24T08:41:12.790" v="42323"/>
          <ac:spMkLst>
            <pc:docMk/>
            <pc:sldMk cId="3591700787" sldId="2147478562"/>
            <ac:spMk id="291" creationId="{A579F83A-43A0-9E09-2752-683F9901CD85}"/>
          </ac:spMkLst>
        </pc:spChg>
        <pc:spChg chg="add del mod">
          <ac:chgData name="Steiner Andreas 6206 ED" userId="e6377c33-a923-4f14-8587-531c474c7b48" providerId="ADAL" clId="{6ECD27E6-B224-41CD-B4E0-E297462320DD}" dt="2023-11-24T08:41:15.527" v="42478"/>
          <ac:spMkLst>
            <pc:docMk/>
            <pc:sldMk cId="3591700787" sldId="2147478562"/>
            <ac:spMk id="292" creationId="{A73C7076-755D-5567-103D-79C67B11829A}"/>
          </ac:spMkLst>
        </pc:spChg>
        <pc:spChg chg="add del mod">
          <ac:chgData name="Steiner Andreas 6206 ED" userId="e6377c33-a923-4f14-8587-531c474c7b48" providerId="ADAL" clId="{6ECD27E6-B224-41CD-B4E0-E297462320DD}" dt="2023-11-24T08:41:17.710" v="42633"/>
          <ac:spMkLst>
            <pc:docMk/>
            <pc:sldMk cId="3591700787" sldId="2147478562"/>
            <ac:spMk id="293" creationId="{641AD559-A484-2E8A-B4EE-817F2ACC7E65}"/>
          </ac:spMkLst>
        </pc:spChg>
        <pc:spChg chg="add del mod">
          <ac:chgData name="Steiner Andreas 6206 ED" userId="e6377c33-a923-4f14-8587-531c474c7b48" providerId="ADAL" clId="{6ECD27E6-B224-41CD-B4E0-E297462320DD}" dt="2023-11-24T08:41:20.037" v="42788"/>
          <ac:spMkLst>
            <pc:docMk/>
            <pc:sldMk cId="3591700787" sldId="2147478562"/>
            <ac:spMk id="294" creationId="{004A3093-365D-A255-2699-5CEFFF1277FF}"/>
          </ac:spMkLst>
        </pc:spChg>
        <pc:spChg chg="add del mod">
          <ac:chgData name="Steiner Andreas 6206 ED" userId="e6377c33-a923-4f14-8587-531c474c7b48" providerId="ADAL" clId="{6ECD27E6-B224-41CD-B4E0-E297462320DD}" dt="2023-11-24T08:41:22.390" v="42943"/>
          <ac:spMkLst>
            <pc:docMk/>
            <pc:sldMk cId="3591700787" sldId="2147478562"/>
            <ac:spMk id="295" creationId="{67283D66-AA2C-6A2C-6F52-8035D4089DAB}"/>
          </ac:spMkLst>
        </pc:spChg>
        <pc:spChg chg="add del mod">
          <ac:chgData name="Steiner Andreas 6206 ED" userId="e6377c33-a923-4f14-8587-531c474c7b48" providerId="ADAL" clId="{6ECD27E6-B224-41CD-B4E0-E297462320DD}" dt="2023-11-24T08:41:24.497" v="43098"/>
          <ac:spMkLst>
            <pc:docMk/>
            <pc:sldMk cId="3591700787" sldId="2147478562"/>
            <ac:spMk id="296" creationId="{81C533E8-84C7-473F-C95C-F894FB15EBEF}"/>
          </ac:spMkLst>
        </pc:spChg>
        <pc:spChg chg="add del mod">
          <ac:chgData name="Steiner Andreas 6206 ED" userId="e6377c33-a923-4f14-8587-531c474c7b48" providerId="ADAL" clId="{6ECD27E6-B224-41CD-B4E0-E297462320DD}" dt="2023-11-24T08:41:27.062" v="43253"/>
          <ac:spMkLst>
            <pc:docMk/>
            <pc:sldMk cId="3591700787" sldId="2147478562"/>
            <ac:spMk id="297" creationId="{030D76F3-AA0A-079D-C7B7-DDDE154A798F}"/>
          </ac:spMkLst>
        </pc:spChg>
        <pc:spChg chg="add del mod">
          <ac:chgData name="Steiner Andreas 6206 ED" userId="e6377c33-a923-4f14-8587-531c474c7b48" providerId="ADAL" clId="{6ECD27E6-B224-41CD-B4E0-E297462320DD}" dt="2023-11-24T08:41:29.128" v="43408"/>
          <ac:spMkLst>
            <pc:docMk/>
            <pc:sldMk cId="3591700787" sldId="2147478562"/>
            <ac:spMk id="298" creationId="{5962E209-7D3A-1247-EDCA-E7179DAAF1D8}"/>
          </ac:spMkLst>
        </pc:spChg>
        <pc:spChg chg="add del mod">
          <ac:chgData name="Steiner Andreas 6206 ED" userId="e6377c33-a923-4f14-8587-531c474c7b48" providerId="ADAL" clId="{6ECD27E6-B224-41CD-B4E0-E297462320DD}" dt="2023-11-24T08:41:31.505" v="43563"/>
          <ac:spMkLst>
            <pc:docMk/>
            <pc:sldMk cId="3591700787" sldId="2147478562"/>
            <ac:spMk id="299" creationId="{6E84B593-B84C-CF64-FBD8-63C16A1D44BB}"/>
          </ac:spMkLst>
        </pc:spChg>
        <pc:spChg chg="add del mod">
          <ac:chgData name="Steiner Andreas 6206 ED" userId="e6377c33-a923-4f14-8587-531c474c7b48" providerId="ADAL" clId="{6ECD27E6-B224-41CD-B4E0-E297462320DD}" dt="2023-11-24T08:41:35.802" v="43718"/>
          <ac:spMkLst>
            <pc:docMk/>
            <pc:sldMk cId="3591700787" sldId="2147478562"/>
            <ac:spMk id="300" creationId="{4B979F3B-E032-F0CE-771C-D760B8ABD360}"/>
          </ac:spMkLst>
        </pc:spChg>
        <pc:spChg chg="add del mod">
          <ac:chgData name="Steiner Andreas 6206 ED" userId="e6377c33-a923-4f14-8587-531c474c7b48" providerId="ADAL" clId="{6ECD27E6-B224-41CD-B4E0-E297462320DD}" dt="2023-11-24T08:41:38.831" v="43873"/>
          <ac:spMkLst>
            <pc:docMk/>
            <pc:sldMk cId="3591700787" sldId="2147478562"/>
            <ac:spMk id="301" creationId="{7EB53592-F6BF-EA0F-019F-646BA9202A10}"/>
          </ac:spMkLst>
        </pc:spChg>
        <pc:spChg chg="add del mod">
          <ac:chgData name="Steiner Andreas 6206 ED" userId="e6377c33-a923-4f14-8587-531c474c7b48" providerId="ADAL" clId="{6ECD27E6-B224-41CD-B4E0-E297462320DD}" dt="2023-11-24T08:41:40.996" v="44028"/>
          <ac:spMkLst>
            <pc:docMk/>
            <pc:sldMk cId="3591700787" sldId="2147478562"/>
            <ac:spMk id="302" creationId="{0A3F74B4-767D-EF34-A56B-EB4BD9730A9F}"/>
          </ac:spMkLst>
        </pc:spChg>
        <pc:spChg chg="add del mod">
          <ac:chgData name="Steiner Andreas 6206 ED" userId="e6377c33-a923-4f14-8587-531c474c7b48" providerId="ADAL" clId="{6ECD27E6-B224-41CD-B4E0-E297462320DD}" dt="2023-11-24T08:41:43.389" v="44183"/>
          <ac:spMkLst>
            <pc:docMk/>
            <pc:sldMk cId="3591700787" sldId="2147478562"/>
            <ac:spMk id="303" creationId="{09E0BC8F-C49C-7CD4-8431-40773654C454}"/>
          </ac:spMkLst>
        </pc:spChg>
        <pc:spChg chg="add del mod">
          <ac:chgData name="Steiner Andreas 6206 ED" userId="e6377c33-a923-4f14-8587-531c474c7b48" providerId="ADAL" clId="{6ECD27E6-B224-41CD-B4E0-E297462320DD}" dt="2023-11-24T08:41:45.284" v="44338"/>
          <ac:spMkLst>
            <pc:docMk/>
            <pc:sldMk cId="3591700787" sldId="2147478562"/>
            <ac:spMk id="304" creationId="{5CF09798-CE29-B334-1AC9-DC66CAE077E3}"/>
          </ac:spMkLst>
        </pc:spChg>
        <pc:spChg chg="add del mod">
          <ac:chgData name="Steiner Andreas 6206 ED" userId="e6377c33-a923-4f14-8587-531c474c7b48" providerId="ADAL" clId="{6ECD27E6-B224-41CD-B4E0-E297462320DD}" dt="2023-11-24T08:41:47.221" v="44493"/>
          <ac:spMkLst>
            <pc:docMk/>
            <pc:sldMk cId="3591700787" sldId="2147478562"/>
            <ac:spMk id="305" creationId="{44744672-BEE3-3150-8D77-339328408B72}"/>
          </ac:spMkLst>
        </pc:spChg>
        <pc:spChg chg="add del mod">
          <ac:chgData name="Steiner Andreas 6206 ED" userId="e6377c33-a923-4f14-8587-531c474c7b48" providerId="ADAL" clId="{6ECD27E6-B224-41CD-B4E0-E297462320DD}" dt="2023-11-24T08:41:49.234" v="44648"/>
          <ac:spMkLst>
            <pc:docMk/>
            <pc:sldMk cId="3591700787" sldId="2147478562"/>
            <ac:spMk id="306" creationId="{5A8583E4-D436-87F6-70D6-3F287BDD0A94}"/>
          </ac:spMkLst>
        </pc:spChg>
        <pc:spChg chg="add del mod">
          <ac:chgData name="Steiner Andreas 6206 ED" userId="e6377c33-a923-4f14-8587-531c474c7b48" providerId="ADAL" clId="{6ECD27E6-B224-41CD-B4E0-E297462320DD}" dt="2023-11-24T08:41:51.095" v="44803"/>
          <ac:spMkLst>
            <pc:docMk/>
            <pc:sldMk cId="3591700787" sldId="2147478562"/>
            <ac:spMk id="307" creationId="{248F1789-63E0-7FCB-9F4B-568DC08E3BC1}"/>
          </ac:spMkLst>
        </pc:spChg>
        <pc:spChg chg="add del mod">
          <ac:chgData name="Steiner Andreas 6206 ED" userId="e6377c33-a923-4f14-8587-531c474c7b48" providerId="ADAL" clId="{6ECD27E6-B224-41CD-B4E0-E297462320DD}" dt="2023-11-24T08:41:53.444" v="44958"/>
          <ac:spMkLst>
            <pc:docMk/>
            <pc:sldMk cId="3591700787" sldId="2147478562"/>
            <ac:spMk id="308" creationId="{D6D6B0AF-ECA2-75AC-1212-DD38C3871731}"/>
          </ac:spMkLst>
        </pc:spChg>
        <pc:spChg chg="add del mod">
          <ac:chgData name="Steiner Andreas 6206 ED" userId="e6377c33-a923-4f14-8587-531c474c7b48" providerId="ADAL" clId="{6ECD27E6-B224-41CD-B4E0-E297462320DD}" dt="2023-11-24T08:41:55.418" v="45113"/>
          <ac:spMkLst>
            <pc:docMk/>
            <pc:sldMk cId="3591700787" sldId="2147478562"/>
            <ac:spMk id="309" creationId="{5F02A023-9B58-A79E-55E0-51264FAC9C8C}"/>
          </ac:spMkLst>
        </pc:spChg>
        <pc:spChg chg="add del mod">
          <ac:chgData name="Steiner Andreas 6206 ED" userId="e6377c33-a923-4f14-8587-531c474c7b48" providerId="ADAL" clId="{6ECD27E6-B224-41CD-B4E0-E297462320DD}" dt="2023-11-24T08:41:57.668" v="45268"/>
          <ac:spMkLst>
            <pc:docMk/>
            <pc:sldMk cId="3591700787" sldId="2147478562"/>
            <ac:spMk id="310" creationId="{23FA5537-AD36-FBAF-35DD-084DF9613F6A}"/>
          </ac:spMkLst>
        </pc:spChg>
        <pc:spChg chg="add del mod">
          <ac:chgData name="Steiner Andreas 6206 ED" userId="e6377c33-a923-4f14-8587-531c474c7b48" providerId="ADAL" clId="{6ECD27E6-B224-41CD-B4E0-E297462320DD}" dt="2023-11-24T08:41:59.895" v="45423"/>
          <ac:spMkLst>
            <pc:docMk/>
            <pc:sldMk cId="3591700787" sldId="2147478562"/>
            <ac:spMk id="311" creationId="{304FE69F-A529-9F9B-C6CD-1F7078686624}"/>
          </ac:spMkLst>
        </pc:spChg>
        <pc:spChg chg="add del mod">
          <ac:chgData name="Steiner Andreas 6206 ED" userId="e6377c33-a923-4f14-8587-531c474c7b48" providerId="ADAL" clId="{6ECD27E6-B224-41CD-B4E0-E297462320DD}" dt="2023-11-24T08:42:02.036" v="45578"/>
          <ac:spMkLst>
            <pc:docMk/>
            <pc:sldMk cId="3591700787" sldId="2147478562"/>
            <ac:spMk id="312" creationId="{E8D1E6F7-99F1-A202-234A-F89DFF7344D3}"/>
          </ac:spMkLst>
        </pc:spChg>
        <pc:spChg chg="add del mod">
          <ac:chgData name="Steiner Andreas 6206 ED" userId="e6377c33-a923-4f14-8587-531c474c7b48" providerId="ADAL" clId="{6ECD27E6-B224-41CD-B4E0-E297462320DD}" dt="2023-11-24T08:42:04.058" v="45733"/>
          <ac:spMkLst>
            <pc:docMk/>
            <pc:sldMk cId="3591700787" sldId="2147478562"/>
            <ac:spMk id="313" creationId="{01F0F84E-6A4F-204B-27AF-CED3F57DD240}"/>
          </ac:spMkLst>
        </pc:spChg>
        <pc:spChg chg="add del mod">
          <ac:chgData name="Steiner Andreas 6206 ED" userId="e6377c33-a923-4f14-8587-531c474c7b48" providerId="ADAL" clId="{6ECD27E6-B224-41CD-B4E0-E297462320DD}" dt="2023-11-24T08:42:06" v="45888"/>
          <ac:spMkLst>
            <pc:docMk/>
            <pc:sldMk cId="3591700787" sldId="2147478562"/>
            <ac:spMk id="314" creationId="{B22DB7E9-132D-EEF2-0A3E-E3D53A88FD60}"/>
          </ac:spMkLst>
        </pc:spChg>
        <pc:spChg chg="add del mod">
          <ac:chgData name="Steiner Andreas 6206 ED" userId="e6377c33-a923-4f14-8587-531c474c7b48" providerId="ADAL" clId="{6ECD27E6-B224-41CD-B4E0-E297462320DD}" dt="2023-11-24T08:42:07.863" v="46043"/>
          <ac:spMkLst>
            <pc:docMk/>
            <pc:sldMk cId="3591700787" sldId="2147478562"/>
            <ac:spMk id="315" creationId="{9FAC0219-40C6-7731-3DC5-3CDB24D83B62}"/>
          </ac:spMkLst>
        </pc:spChg>
        <pc:spChg chg="add del mod">
          <ac:chgData name="Steiner Andreas 6206 ED" userId="e6377c33-a923-4f14-8587-531c474c7b48" providerId="ADAL" clId="{6ECD27E6-B224-41CD-B4E0-E297462320DD}" dt="2023-11-24T08:42:09.786" v="46198"/>
          <ac:spMkLst>
            <pc:docMk/>
            <pc:sldMk cId="3591700787" sldId="2147478562"/>
            <ac:spMk id="316" creationId="{7758122D-5DB6-E0A5-2F09-4405E9930F59}"/>
          </ac:spMkLst>
        </pc:spChg>
        <pc:spChg chg="add del mod">
          <ac:chgData name="Steiner Andreas 6206 ED" userId="e6377c33-a923-4f14-8587-531c474c7b48" providerId="ADAL" clId="{6ECD27E6-B224-41CD-B4E0-E297462320DD}" dt="2023-11-24T08:42:12.165" v="46353"/>
          <ac:spMkLst>
            <pc:docMk/>
            <pc:sldMk cId="3591700787" sldId="2147478562"/>
            <ac:spMk id="317" creationId="{6895808D-3145-D692-63E8-29942DDAA77A}"/>
          </ac:spMkLst>
        </pc:spChg>
        <pc:spChg chg="add del mod">
          <ac:chgData name="Steiner Andreas 6206 ED" userId="e6377c33-a923-4f14-8587-531c474c7b48" providerId="ADAL" clId="{6ECD27E6-B224-41CD-B4E0-E297462320DD}" dt="2023-11-24T08:42:14.742" v="46508"/>
          <ac:spMkLst>
            <pc:docMk/>
            <pc:sldMk cId="3591700787" sldId="2147478562"/>
            <ac:spMk id="318" creationId="{41F421C2-2FB8-4F1D-908F-D258BB826E3E}"/>
          </ac:spMkLst>
        </pc:spChg>
        <pc:spChg chg="add del mod">
          <ac:chgData name="Steiner Andreas 6206 ED" userId="e6377c33-a923-4f14-8587-531c474c7b48" providerId="ADAL" clId="{6ECD27E6-B224-41CD-B4E0-E297462320DD}" dt="2023-11-24T08:42:17.054" v="46663"/>
          <ac:spMkLst>
            <pc:docMk/>
            <pc:sldMk cId="3591700787" sldId="2147478562"/>
            <ac:spMk id="319" creationId="{E02B591E-ABBC-EF8A-058F-8DAFBF02B234}"/>
          </ac:spMkLst>
        </pc:spChg>
        <pc:spChg chg="add del mod">
          <ac:chgData name="Steiner Andreas 6206 ED" userId="e6377c33-a923-4f14-8587-531c474c7b48" providerId="ADAL" clId="{6ECD27E6-B224-41CD-B4E0-E297462320DD}" dt="2023-11-24T08:42:19.223" v="46818"/>
          <ac:spMkLst>
            <pc:docMk/>
            <pc:sldMk cId="3591700787" sldId="2147478562"/>
            <ac:spMk id="320" creationId="{CB8C9200-DFDF-39C0-BD88-83FC1CE78B90}"/>
          </ac:spMkLst>
        </pc:spChg>
        <pc:spChg chg="add del mod">
          <ac:chgData name="Steiner Andreas 6206 ED" userId="e6377c33-a923-4f14-8587-531c474c7b48" providerId="ADAL" clId="{6ECD27E6-B224-41CD-B4E0-E297462320DD}" dt="2023-11-24T08:42:21.571" v="46973"/>
          <ac:spMkLst>
            <pc:docMk/>
            <pc:sldMk cId="3591700787" sldId="2147478562"/>
            <ac:spMk id="321" creationId="{A7A4B09E-2DB3-EF2E-256E-70DCF6648B23}"/>
          </ac:spMkLst>
        </pc:spChg>
        <pc:spChg chg="add del mod">
          <ac:chgData name="Steiner Andreas 6206 ED" userId="e6377c33-a923-4f14-8587-531c474c7b48" providerId="ADAL" clId="{6ECD27E6-B224-41CD-B4E0-E297462320DD}" dt="2023-11-24T08:42:24.151" v="47128"/>
          <ac:spMkLst>
            <pc:docMk/>
            <pc:sldMk cId="3591700787" sldId="2147478562"/>
            <ac:spMk id="322" creationId="{8181F3DD-69D5-7270-48AE-B3E95F77CDC5}"/>
          </ac:spMkLst>
        </pc:spChg>
        <pc:spChg chg="add del mod">
          <ac:chgData name="Steiner Andreas 6206 ED" userId="e6377c33-a923-4f14-8587-531c474c7b48" providerId="ADAL" clId="{6ECD27E6-B224-41CD-B4E0-E297462320DD}" dt="2023-11-24T08:42:26.103" v="47283"/>
          <ac:spMkLst>
            <pc:docMk/>
            <pc:sldMk cId="3591700787" sldId="2147478562"/>
            <ac:spMk id="323" creationId="{E14F3ADD-15CC-D096-EF74-7EB5E07C63AF}"/>
          </ac:spMkLst>
        </pc:spChg>
        <pc:spChg chg="add del mod">
          <ac:chgData name="Steiner Andreas 6206 ED" userId="e6377c33-a923-4f14-8587-531c474c7b48" providerId="ADAL" clId="{6ECD27E6-B224-41CD-B4E0-E297462320DD}" dt="2023-11-24T08:42:28.001" v="47438"/>
          <ac:spMkLst>
            <pc:docMk/>
            <pc:sldMk cId="3591700787" sldId="2147478562"/>
            <ac:spMk id="324" creationId="{0A44AF48-0DCC-C989-C5DB-5D53C51D76FA}"/>
          </ac:spMkLst>
        </pc:spChg>
        <pc:spChg chg="add del mod">
          <ac:chgData name="Steiner Andreas 6206 ED" userId="e6377c33-a923-4f14-8587-531c474c7b48" providerId="ADAL" clId="{6ECD27E6-B224-41CD-B4E0-E297462320DD}" dt="2023-11-24T08:42:29.779" v="47593"/>
          <ac:spMkLst>
            <pc:docMk/>
            <pc:sldMk cId="3591700787" sldId="2147478562"/>
            <ac:spMk id="325" creationId="{9E2F2DD2-2DFA-3982-8B8A-DA2A0C9C6211}"/>
          </ac:spMkLst>
        </pc:spChg>
        <pc:spChg chg="add del mod">
          <ac:chgData name="Steiner Andreas 6206 ED" userId="e6377c33-a923-4f14-8587-531c474c7b48" providerId="ADAL" clId="{6ECD27E6-B224-41CD-B4E0-E297462320DD}" dt="2023-11-24T08:42:31.699" v="47748"/>
          <ac:spMkLst>
            <pc:docMk/>
            <pc:sldMk cId="3591700787" sldId="2147478562"/>
            <ac:spMk id="326" creationId="{220B7C3B-A5A8-7220-04AE-1E201F4B98A4}"/>
          </ac:spMkLst>
        </pc:spChg>
        <pc:spChg chg="add del mod">
          <ac:chgData name="Steiner Andreas 6206 ED" userId="e6377c33-a923-4f14-8587-531c474c7b48" providerId="ADAL" clId="{6ECD27E6-B224-41CD-B4E0-E297462320DD}" dt="2023-11-24T08:42:33.706" v="47903"/>
          <ac:spMkLst>
            <pc:docMk/>
            <pc:sldMk cId="3591700787" sldId="2147478562"/>
            <ac:spMk id="327" creationId="{F966F980-9A1B-D034-4DC6-72B999F02F86}"/>
          </ac:spMkLst>
        </pc:spChg>
        <pc:spChg chg="add del mod">
          <ac:chgData name="Steiner Andreas 6206 ED" userId="e6377c33-a923-4f14-8587-531c474c7b48" providerId="ADAL" clId="{6ECD27E6-B224-41CD-B4E0-E297462320DD}" dt="2023-11-24T08:42:35.733" v="48058"/>
          <ac:spMkLst>
            <pc:docMk/>
            <pc:sldMk cId="3591700787" sldId="2147478562"/>
            <ac:spMk id="328" creationId="{E0CFF56D-D49F-78DB-F085-0FD910B252F2}"/>
          </ac:spMkLst>
        </pc:spChg>
        <pc:spChg chg="add del mod">
          <ac:chgData name="Steiner Andreas 6206 ED" userId="e6377c33-a923-4f14-8587-531c474c7b48" providerId="ADAL" clId="{6ECD27E6-B224-41CD-B4E0-E297462320DD}" dt="2023-11-24T08:42:37.610" v="48213"/>
          <ac:spMkLst>
            <pc:docMk/>
            <pc:sldMk cId="3591700787" sldId="2147478562"/>
            <ac:spMk id="329" creationId="{52B58380-847F-C39B-5C30-58D7098A4C6B}"/>
          </ac:spMkLst>
        </pc:spChg>
        <pc:spChg chg="add del mod">
          <ac:chgData name="Steiner Andreas 6206 ED" userId="e6377c33-a923-4f14-8587-531c474c7b48" providerId="ADAL" clId="{6ECD27E6-B224-41CD-B4E0-E297462320DD}" dt="2023-11-24T08:42:39.474" v="48368"/>
          <ac:spMkLst>
            <pc:docMk/>
            <pc:sldMk cId="3591700787" sldId="2147478562"/>
            <ac:spMk id="330" creationId="{B5D843C1-1769-5D0E-C273-76A90BECEF7D}"/>
          </ac:spMkLst>
        </pc:spChg>
        <pc:spChg chg="add del mod">
          <ac:chgData name="Steiner Andreas 6206 ED" userId="e6377c33-a923-4f14-8587-531c474c7b48" providerId="ADAL" clId="{6ECD27E6-B224-41CD-B4E0-E297462320DD}" dt="2023-11-24T08:42:41.616" v="48523"/>
          <ac:spMkLst>
            <pc:docMk/>
            <pc:sldMk cId="3591700787" sldId="2147478562"/>
            <ac:spMk id="331" creationId="{7A5D7505-80C2-9367-8096-D881B59F7901}"/>
          </ac:spMkLst>
        </pc:spChg>
        <pc:spChg chg="add del mod">
          <ac:chgData name="Steiner Andreas 6206 ED" userId="e6377c33-a923-4f14-8587-531c474c7b48" providerId="ADAL" clId="{6ECD27E6-B224-41CD-B4E0-E297462320DD}" dt="2023-11-24T08:42:43.719" v="48678"/>
          <ac:spMkLst>
            <pc:docMk/>
            <pc:sldMk cId="3591700787" sldId="2147478562"/>
            <ac:spMk id="332" creationId="{F21FBAFD-58D1-D5D2-8732-5AE203BF7360}"/>
          </ac:spMkLst>
        </pc:spChg>
        <pc:spChg chg="add del mod">
          <ac:chgData name="Steiner Andreas 6206 ED" userId="e6377c33-a923-4f14-8587-531c474c7b48" providerId="ADAL" clId="{6ECD27E6-B224-41CD-B4E0-E297462320DD}" dt="2023-11-24T08:42:45.756" v="48833"/>
          <ac:spMkLst>
            <pc:docMk/>
            <pc:sldMk cId="3591700787" sldId="2147478562"/>
            <ac:spMk id="333" creationId="{D26BAD15-1479-F13E-3B22-5739ED0E4AC0}"/>
          </ac:spMkLst>
        </pc:spChg>
        <pc:spChg chg="add del mod">
          <ac:chgData name="Steiner Andreas 6206 ED" userId="e6377c33-a923-4f14-8587-531c474c7b48" providerId="ADAL" clId="{6ECD27E6-B224-41CD-B4E0-E297462320DD}" dt="2023-11-24T08:42:47.607" v="48988"/>
          <ac:spMkLst>
            <pc:docMk/>
            <pc:sldMk cId="3591700787" sldId="2147478562"/>
            <ac:spMk id="334" creationId="{530CBF2A-9772-70CE-F2DA-EE7047831035}"/>
          </ac:spMkLst>
        </pc:spChg>
        <pc:spChg chg="add del mod">
          <ac:chgData name="Steiner Andreas 6206 ED" userId="e6377c33-a923-4f14-8587-531c474c7b48" providerId="ADAL" clId="{6ECD27E6-B224-41CD-B4E0-E297462320DD}" dt="2023-11-24T08:42:49.422" v="49143"/>
          <ac:spMkLst>
            <pc:docMk/>
            <pc:sldMk cId="3591700787" sldId="2147478562"/>
            <ac:spMk id="335" creationId="{8732E8D0-329B-B4BE-A5BB-4F7BFB18CA6D}"/>
          </ac:spMkLst>
        </pc:spChg>
        <pc:spChg chg="add del mod">
          <ac:chgData name="Steiner Andreas 6206 ED" userId="e6377c33-a923-4f14-8587-531c474c7b48" providerId="ADAL" clId="{6ECD27E6-B224-41CD-B4E0-E297462320DD}" dt="2023-11-24T08:42:51.292" v="49298"/>
          <ac:spMkLst>
            <pc:docMk/>
            <pc:sldMk cId="3591700787" sldId="2147478562"/>
            <ac:spMk id="336" creationId="{6D568524-5079-3576-0250-8BD5C0CF1BC7}"/>
          </ac:spMkLst>
        </pc:spChg>
        <pc:spChg chg="add del mod">
          <ac:chgData name="Steiner Andreas 6206 ED" userId="e6377c33-a923-4f14-8587-531c474c7b48" providerId="ADAL" clId="{6ECD27E6-B224-41CD-B4E0-E297462320DD}" dt="2023-11-24T08:42:53.412" v="49453"/>
          <ac:spMkLst>
            <pc:docMk/>
            <pc:sldMk cId="3591700787" sldId="2147478562"/>
            <ac:spMk id="337" creationId="{2AE389F2-AD8C-63FB-9C7E-B7D8F02B425D}"/>
          </ac:spMkLst>
        </pc:spChg>
        <pc:spChg chg="add del mod">
          <ac:chgData name="Steiner Andreas 6206 ED" userId="e6377c33-a923-4f14-8587-531c474c7b48" providerId="ADAL" clId="{6ECD27E6-B224-41CD-B4E0-E297462320DD}" dt="2023-11-24T08:42:56.061" v="49608"/>
          <ac:spMkLst>
            <pc:docMk/>
            <pc:sldMk cId="3591700787" sldId="2147478562"/>
            <ac:spMk id="338" creationId="{444C9446-DC56-764C-2D8E-DCFA1DD47142}"/>
          </ac:spMkLst>
        </pc:spChg>
        <pc:spChg chg="add del mod">
          <ac:chgData name="Steiner Andreas 6206 ED" userId="e6377c33-a923-4f14-8587-531c474c7b48" providerId="ADAL" clId="{6ECD27E6-B224-41CD-B4E0-E297462320DD}" dt="2023-11-24T08:42:58.109" v="49763"/>
          <ac:spMkLst>
            <pc:docMk/>
            <pc:sldMk cId="3591700787" sldId="2147478562"/>
            <ac:spMk id="339" creationId="{869564B4-96E4-13B0-2314-8CCEC5318BDB}"/>
          </ac:spMkLst>
        </pc:spChg>
        <pc:spChg chg="add del mod">
          <ac:chgData name="Steiner Andreas 6206 ED" userId="e6377c33-a923-4f14-8587-531c474c7b48" providerId="ADAL" clId="{6ECD27E6-B224-41CD-B4E0-E297462320DD}" dt="2023-11-24T08:43:00.020" v="49918"/>
          <ac:spMkLst>
            <pc:docMk/>
            <pc:sldMk cId="3591700787" sldId="2147478562"/>
            <ac:spMk id="340" creationId="{DE987EEA-8D7A-C83F-1DE6-98BBD77F90E0}"/>
          </ac:spMkLst>
        </pc:spChg>
        <pc:spChg chg="add del mod">
          <ac:chgData name="Steiner Andreas 6206 ED" userId="e6377c33-a923-4f14-8587-531c474c7b48" providerId="ADAL" clId="{6ECD27E6-B224-41CD-B4E0-E297462320DD}" dt="2023-11-24T08:43:02.021" v="50073"/>
          <ac:spMkLst>
            <pc:docMk/>
            <pc:sldMk cId="3591700787" sldId="2147478562"/>
            <ac:spMk id="341" creationId="{6BE63BD5-A7CC-3BC7-A3ED-39317C17B5EB}"/>
          </ac:spMkLst>
        </pc:spChg>
        <pc:spChg chg="add del mod">
          <ac:chgData name="Steiner Andreas 6206 ED" userId="e6377c33-a923-4f14-8587-531c474c7b48" providerId="ADAL" clId="{6ECD27E6-B224-41CD-B4E0-E297462320DD}" dt="2023-11-24T08:43:03.994" v="50228"/>
          <ac:spMkLst>
            <pc:docMk/>
            <pc:sldMk cId="3591700787" sldId="2147478562"/>
            <ac:spMk id="342" creationId="{226AEC47-11B1-EBEC-1894-C7089390D7EC}"/>
          </ac:spMkLst>
        </pc:spChg>
        <pc:spChg chg="add del mod">
          <ac:chgData name="Steiner Andreas 6206 ED" userId="e6377c33-a923-4f14-8587-531c474c7b48" providerId="ADAL" clId="{6ECD27E6-B224-41CD-B4E0-E297462320DD}" dt="2023-11-24T08:43:05.901" v="50383"/>
          <ac:spMkLst>
            <pc:docMk/>
            <pc:sldMk cId="3591700787" sldId="2147478562"/>
            <ac:spMk id="343" creationId="{BCAAB7AC-CBA6-9D45-AE60-1BDAC49D93F2}"/>
          </ac:spMkLst>
        </pc:spChg>
        <pc:spChg chg="add del mod">
          <ac:chgData name="Steiner Andreas 6206 ED" userId="e6377c33-a923-4f14-8587-531c474c7b48" providerId="ADAL" clId="{6ECD27E6-B224-41CD-B4E0-E297462320DD}" dt="2023-11-24T08:43:08.173" v="50538"/>
          <ac:spMkLst>
            <pc:docMk/>
            <pc:sldMk cId="3591700787" sldId="2147478562"/>
            <ac:spMk id="344" creationId="{95316E16-FF21-753B-3847-FEA04002275B}"/>
          </ac:spMkLst>
        </pc:spChg>
        <pc:spChg chg="add del mod">
          <ac:chgData name="Steiner Andreas 6206 ED" userId="e6377c33-a923-4f14-8587-531c474c7b48" providerId="ADAL" clId="{6ECD27E6-B224-41CD-B4E0-E297462320DD}" dt="2023-11-24T08:43:10.139" v="50693"/>
          <ac:spMkLst>
            <pc:docMk/>
            <pc:sldMk cId="3591700787" sldId="2147478562"/>
            <ac:spMk id="345" creationId="{3C5F9340-7F4F-81CF-1817-7A2A8CA9E9E6}"/>
          </ac:spMkLst>
        </pc:spChg>
        <pc:spChg chg="add del mod">
          <ac:chgData name="Steiner Andreas 6206 ED" userId="e6377c33-a923-4f14-8587-531c474c7b48" providerId="ADAL" clId="{6ECD27E6-B224-41CD-B4E0-E297462320DD}" dt="2023-11-24T08:43:12.007" v="50848"/>
          <ac:spMkLst>
            <pc:docMk/>
            <pc:sldMk cId="3591700787" sldId="2147478562"/>
            <ac:spMk id="346" creationId="{6312799C-70C5-08DF-00B0-216C91C56CEE}"/>
          </ac:spMkLst>
        </pc:spChg>
        <pc:spChg chg="add del mod">
          <ac:chgData name="Steiner Andreas 6206 ED" userId="e6377c33-a923-4f14-8587-531c474c7b48" providerId="ADAL" clId="{6ECD27E6-B224-41CD-B4E0-E297462320DD}" dt="2023-11-24T08:43:14.056" v="51003"/>
          <ac:spMkLst>
            <pc:docMk/>
            <pc:sldMk cId="3591700787" sldId="2147478562"/>
            <ac:spMk id="347" creationId="{F3C2C8E4-FCC9-211A-BB6F-B08A0AA9B241}"/>
          </ac:spMkLst>
        </pc:spChg>
        <pc:spChg chg="add del mod">
          <ac:chgData name="Steiner Andreas 6206 ED" userId="e6377c33-a923-4f14-8587-531c474c7b48" providerId="ADAL" clId="{6ECD27E6-B224-41CD-B4E0-E297462320DD}" dt="2023-11-24T08:43:16.050" v="51158"/>
          <ac:spMkLst>
            <pc:docMk/>
            <pc:sldMk cId="3591700787" sldId="2147478562"/>
            <ac:spMk id="348" creationId="{BA72EDB1-8E15-4788-A64A-957D6444144E}"/>
          </ac:spMkLst>
        </pc:spChg>
        <pc:spChg chg="add del mod">
          <ac:chgData name="Steiner Andreas 6206 ED" userId="e6377c33-a923-4f14-8587-531c474c7b48" providerId="ADAL" clId="{6ECD27E6-B224-41CD-B4E0-E297462320DD}" dt="2023-11-24T08:43:18.095" v="51313"/>
          <ac:spMkLst>
            <pc:docMk/>
            <pc:sldMk cId="3591700787" sldId="2147478562"/>
            <ac:spMk id="349" creationId="{13A8BDAC-4C77-FA2A-2F01-E32EF2FF4BD1}"/>
          </ac:spMkLst>
        </pc:spChg>
        <pc:spChg chg="add del mod">
          <ac:chgData name="Steiner Andreas 6206 ED" userId="e6377c33-a923-4f14-8587-531c474c7b48" providerId="ADAL" clId="{6ECD27E6-B224-41CD-B4E0-E297462320DD}" dt="2023-11-24T08:43:20.088" v="51468"/>
          <ac:spMkLst>
            <pc:docMk/>
            <pc:sldMk cId="3591700787" sldId="2147478562"/>
            <ac:spMk id="350" creationId="{7B7192A5-0999-6748-6C25-3CC3A0FF46E6}"/>
          </ac:spMkLst>
        </pc:spChg>
        <pc:spChg chg="add del mod">
          <ac:chgData name="Steiner Andreas 6206 ED" userId="e6377c33-a923-4f14-8587-531c474c7b48" providerId="ADAL" clId="{6ECD27E6-B224-41CD-B4E0-E297462320DD}" dt="2023-11-24T08:43:21.993" v="51623"/>
          <ac:spMkLst>
            <pc:docMk/>
            <pc:sldMk cId="3591700787" sldId="2147478562"/>
            <ac:spMk id="351" creationId="{EE0B9FBB-7ED4-4304-2762-DEEFE599685D}"/>
          </ac:spMkLst>
        </pc:spChg>
        <pc:spChg chg="add del mod">
          <ac:chgData name="Steiner Andreas 6206 ED" userId="e6377c33-a923-4f14-8587-531c474c7b48" providerId="ADAL" clId="{6ECD27E6-B224-41CD-B4E0-E297462320DD}" dt="2023-11-24T08:43:23.940" v="51778"/>
          <ac:spMkLst>
            <pc:docMk/>
            <pc:sldMk cId="3591700787" sldId="2147478562"/>
            <ac:spMk id="352" creationId="{42275B38-6DBD-6C3C-F711-4260FBD0C0A2}"/>
          </ac:spMkLst>
        </pc:spChg>
        <pc:spChg chg="add del mod">
          <ac:chgData name="Steiner Andreas 6206 ED" userId="e6377c33-a923-4f14-8587-531c474c7b48" providerId="ADAL" clId="{6ECD27E6-B224-41CD-B4E0-E297462320DD}" dt="2023-11-24T08:43:25.823" v="51933"/>
          <ac:spMkLst>
            <pc:docMk/>
            <pc:sldMk cId="3591700787" sldId="2147478562"/>
            <ac:spMk id="353" creationId="{D721826B-573D-1A13-72E8-FDD80004D500}"/>
          </ac:spMkLst>
        </pc:spChg>
        <pc:spChg chg="add del mod">
          <ac:chgData name="Steiner Andreas 6206 ED" userId="e6377c33-a923-4f14-8587-531c474c7b48" providerId="ADAL" clId="{6ECD27E6-B224-41CD-B4E0-E297462320DD}" dt="2023-11-24T08:43:27.640" v="52088"/>
          <ac:spMkLst>
            <pc:docMk/>
            <pc:sldMk cId="3591700787" sldId="2147478562"/>
            <ac:spMk id="354" creationId="{9929EDE8-34FE-AA8A-2DDA-5FE1CCCF1B5A}"/>
          </ac:spMkLst>
        </pc:spChg>
        <pc:spChg chg="add del mod">
          <ac:chgData name="Steiner Andreas 6206 ED" userId="e6377c33-a923-4f14-8587-531c474c7b48" providerId="ADAL" clId="{6ECD27E6-B224-41CD-B4E0-E297462320DD}" dt="2023-11-24T08:43:29.432" v="52243"/>
          <ac:spMkLst>
            <pc:docMk/>
            <pc:sldMk cId="3591700787" sldId="2147478562"/>
            <ac:spMk id="355" creationId="{7F24ADCD-5F91-9DBE-0A49-0BE27EE65D61}"/>
          </ac:spMkLst>
        </pc:spChg>
        <pc:spChg chg="add del mod">
          <ac:chgData name="Steiner Andreas 6206 ED" userId="e6377c33-a923-4f14-8587-531c474c7b48" providerId="ADAL" clId="{6ECD27E6-B224-41CD-B4E0-E297462320DD}" dt="2023-11-24T08:43:32.208" v="52398"/>
          <ac:spMkLst>
            <pc:docMk/>
            <pc:sldMk cId="3591700787" sldId="2147478562"/>
            <ac:spMk id="356" creationId="{2A1A1D8B-7555-FB8E-3A10-06DCFF5948A6}"/>
          </ac:spMkLst>
        </pc:spChg>
        <pc:spChg chg="add del mod">
          <ac:chgData name="Steiner Andreas 6206 ED" userId="e6377c33-a923-4f14-8587-531c474c7b48" providerId="ADAL" clId="{6ECD27E6-B224-41CD-B4E0-E297462320DD}" dt="2023-11-24T08:43:34.678" v="52553"/>
          <ac:spMkLst>
            <pc:docMk/>
            <pc:sldMk cId="3591700787" sldId="2147478562"/>
            <ac:spMk id="357" creationId="{872EBB1D-ABC4-A8AB-D8E1-E5D57E64FD22}"/>
          </ac:spMkLst>
        </pc:spChg>
        <pc:spChg chg="add del mod">
          <ac:chgData name="Steiner Andreas 6206 ED" userId="e6377c33-a923-4f14-8587-531c474c7b48" providerId="ADAL" clId="{6ECD27E6-B224-41CD-B4E0-E297462320DD}" dt="2023-11-24T08:43:36.760" v="52708"/>
          <ac:spMkLst>
            <pc:docMk/>
            <pc:sldMk cId="3591700787" sldId="2147478562"/>
            <ac:spMk id="358" creationId="{31D0E81D-C2CE-EF12-D908-CC976BEF10EB}"/>
          </ac:spMkLst>
        </pc:spChg>
        <pc:spChg chg="add del mod">
          <ac:chgData name="Steiner Andreas 6206 ED" userId="e6377c33-a923-4f14-8587-531c474c7b48" providerId="ADAL" clId="{6ECD27E6-B224-41CD-B4E0-E297462320DD}" dt="2023-11-24T08:43:38.885" v="52863"/>
          <ac:spMkLst>
            <pc:docMk/>
            <pc:sldMk cId="3591700787" sldId="2147478562"/>
            <ac:spMk id="359" creationId="{6F7370BB-5266-A337-F032-DE0B6D44EE51}"/>
          </ac:spMkLst>
        </pc:spChg>
        <pc:spChg chg="add del mod">
          <ac:chgData name="Steiner Andreas 6206 ED" userId="e6377c33-a923-4f14-8587-531c474c7b48" providerId="ADAL" clId="{6ECD27E6-B224-41CD-B4E0-E297462320DD}" dt="2023-11-24T08:43:41.002" v="53018"/>
          <ac:spMkLst>
            <pc:docMk/>
            <pc:sldMk cId="3591700787" sldId="2147478562"/>
            <ac:spMk id="360" creationId="{EA738C89-DF96-0202-59A2-670F100B91B7}"/>
          </ac:spMkLst>
        </pc:spChg>
        <pc:spChg chg="add del mod">
          <ac:chgData name="Steiner Andreas 6206 ED" userId="e6377c33-a923-4f14-8587-531c474c7b48" providerId="ADAL" clId="{6ECD27E6-B224-41CD-B4E0-E297462320DD}" dt="2023-11-24T08:43:42.943" v="53173"/>
          <ac:spMkLst>
            <pc:docMk/>
            <pc:sldMk cId="3591700787" sldId="2147478562"/>
            <ac:spMk id="361" creationId="{DB56F8EC-2A73-A3D4-EE9A-DD8EB39AB915}"/>
          </ac:spMkLst>
        </pc:spChg>
        <pc:spChg chg="add del mod">
          <ac:chgData name="Steiner Andreas 6206 ED" userId="e6377c33-a923-4f14-8587-531c474c7b48" providerId="ADAL" clId="{6ECD27E6-B224-41CD-B4E0-E297462320DD}" dt="2023-11-24T08:43:44.758" v="53328"/>
          <ac:spMkLst>
            <pc:docMk/>
            <pc:sldMk cId="3591700787" sldId="2147478562"/>
            <ac:spMk id="362" creationId="{644EF45A-BF41-49C4-3BCF-8E9B6DAC8B7F}"/>
          </ac:spMkLst>
        </pc:spChg>
        <pc:spChg chg="add del mod">
          <ac:chgData name="Steiner Andreas 6206 ED" userId="e6377c33-a923-4f14-8587-531c474c7b48" providerId="ADAL" clId="{6ECD27E6-B224-41CD-B4E0-E297462320DD}" dt="2023-11-24T08:43:46.545" v="53483"/>
          <ac:spMkLst>
            <pc:docMk/>
            <pc:sldMk cId="3591700787" sldId="2147478562"/>
            <ac:spMk id="363" creationId="{C16DD47B-0824-6D84-B2E4-CD9EC0FE635E}"/>
          </ac:spMkLst>
        </pc:spChg>
        <pc:spChg chg="add del mod">
          <ac:chgData name="Steiner Andreas 6206 ED" userId="e6377c33-a923-4f14-8587-531c474c7b48" providerId="ADAL" clId="{6ECD27E6-B224-41CD-B4E0-E297462320DD}" dt="2023-11-24T08:43:48.523" v="53638"/>
          <ac:spMkLst>
            <pc:docMk/>
            <pc:sldMk cId="3591700787" sldId="2147478562"/>
            <ac:spMk id="364" creationId="{E99F1151-5A26-2044-2A6C-CB60A7415F9C}"/>
          </ac:spMkLst>
        </pc:spChg>
        <pc:spChg chg="add del mod">
          <ac:chgData name="Steiner Andreas 6206 ED" userId="e6377c33-a923-4f14-8587-531c474c7b48" providerId="ADAL" clId="{6ECD27E6-B224-41CD-B4E0-E297462320DD}" dt="2023-11-24T08:43:50.449" v="53793"/>
          <ac:spMkLst>
            <pc:docMk/>
            <pc:sldMk cId="3591700787" sldId="2147478562"/>
            <ac:spMk id="365" creationId="{011D56B2-CDBE-4C11-1F4D-CF517151F4DE}"/>
          </ac:spMkLst>
        </pc:spChg>
        <pc:spChg chg="add del mod">
          <ac:chgData name="Steiner Andreas 6206 ED" userId="e6377c33-a923-4f14-8587-531c474c7b48" providerId="ADAL" clId="{6ECD27E6-B224-41CD-B4E0-E297462320DD}" dt="2023-11-24T08:43:52.719" v="53948"/>
          <ac:spMkLst>
            <pc:docMk/>
            <pc:sldMk cId="3591700787" sldId="2147478562"/>
            <ac:spMk id="366" creationId="{138E0876-270B-7166-A5E2-D90715752A09}"/>
          </ac:spMkLst>
        </pc:spChg>
        <pc:spChg chg="add del mod">
          <ac:chgData name="Steiner Andreas 6206 ED" userId="e6377c33-a923-4f14-8587-531c474c7b48" providerId="ADAL" clId="{6ECD27E6-B224-41CD-B4E0-E297462320DD}" dt="2023-11-24T08:43:55.290" v="54103"/>
          <ac:spMkLst>
            <pc:docMk/>
            <pc:sldMk cId="3591700787" sldId="2147478562"/>
            <ac:spMk id="367" creationId="{C6AC41CD-5B97-4F86-EC2B-CCA72690940C}"/>
          </ac:spMkLst>
        </pc:spChg>
        <pc:spChg chg="add del mod">
          <ac:chgData name="Steiner Andreas 6206 ED" userId="e6377c33-a923-4f14-8587-531c474c7b48" providerId="ADAL" clId="{6ECD27E6-B224-41CD-B4E0-E297462320DD}" dt="2023-11-24T08:43:57.318" v="54258"/>
          <ac:spMkLst>
            <pc:docMk/>
            <pc:sldMk cId="3591700787" sldId="2147478562"/>
            <ac:spMk id="368" creationId="{27FB8CE2-EDDB-1EC6-6186-ED439D11C1BA}"/>
          </ac:spMkLst>
        </pc:spChg>
        <pc:spChg chg="add del mod">
          <ac:chgData name="Steiner Andreas 6206 ED" userId="e6377c33-a923-4f14-8587-531c474c7b48" providerId="ADAL" clId="{6ECD27E6-B224-41CD-B4E0-E297462320DD}" dt="2023-11-24T08:43:59.620" v="54413"/>
          <ac:spMkLst>
            <pc:docMk/>
            <pc:sldMk cId="3591700787" sldId="2147478562"/>
            <ac:spMk id="369" creationId="{61E89756-3DEB-21C0-E287-8FD437E64A5E}"/>
          </ac:spMkLst>
        </pc:spChg>
        <pc:spChg chg="add del mod">
          <ac:chgData name="Steiner Andreas 6206 ED" userId="e6377c33-a923-4f14-8587-531c474c7b48" providerId="ADAL" clId="{6ECD27E6-B224-41CD-B4E0-E297462320DD}" dt="2023-11-24T08:44:01.786" v="54568"/>
          <ac:spMkLst>
            <pc:docMk/>
            <pc:sldMk cId="3591700787" sldId="2147478562"/>
            <ac:spMk id="370" creationId="{D2F3FFD2-3F23-4624-85B9-C2B998CEC4EA}"/>
          </ac:spMkLst>
        </pc:spChg>
        <pc:spChg chg="add del mod">
          <ac:chgData name="Steiner Andreas 6206 ED" userId="e6377c33-a923-4f14-8587-531c474c7b48" providerId="ADAL" clId="{6ECD27E6-B224-41CD-B4E0-E297462320DD}" dt="2023-11-24T08:44:03.996" v="54723"/>
          <ac:spMkLst>
            <pc:docMk/>
            <pc:sldMk cId="3591700787" sldId="2147478562"/>
            <ac:spMk id="371" creationId="{3AF138EF-24A7-58B8-0ECF-08C181624722}"/>
          </ac:spMkLst>
        </pc:spChg>
        <pc:spChg chg="add del mod">
          <ac:chgData name="Steiner Andreas 6206 ED" userId="e6377c33-a923-4f14-8587-531c474c7b48" providerId="ADAL" clId="{6ECD27E6-B224-41CD-B4E0-E297462320DD}" dt="2023-11-24T08:44:06.018" v="54878"/>
          <ac:spMkLst>
            <pc:docMk/>
            <pc:sldMk cId="3591700787" sldId="2147478562"/>
            <ac:spMk id="372" creationId="{A6C8CFA0-9644-4465-B294-072D5340AE51}"/>
          </ac:spMkLst>
        </pc:spChg>
        <pc:spChg chg="add del mod">
          <ac:chgData name="Steiner Andreas 6206 ED" userId="e6377c33-a923-4f14-8587-531c474c7b48" providerId="ADAL" clId="{6ECD27E6-B224-41CD-B4E0-E297462320DD}" dt="2023-11-24T08:44:07.991" v="55033"/>
          <ac:spMkLst>
            <pc:docMk/>
            <pc:sldMk cId="3591700787" sldId="2147478562"/>
            <ac:spMk id="373" creationId="{03780867-683C-4F3B-4B1A-0442662CFDC7}"/>
          </ac:spMkLst>
        </pc:spChg>
        <pc:spChg chg="add del mod">
          <ac:chgData name="Steiner Andreas 6206 ED" userId="e6377c33-a923-4f14-8587-531c474c7b48" providerId="ADAL" clId="{6ECD27E6-B224-41CD-B4E0-E297462320DD}" dt="2023-11-24T08:44:09.959" v="55188"/>
          <ac:spMkLst>
            <pc:docMk/>
            <pc:sldMk cId="3591700787" sldId="2147478562"/>
            <ac:spMk id="374" creationId="{B7579828-05EF-D056-2F9E-43AFF21B2FF6}"/>
          </ac:spMkLst>
        </pc:spChg>
        <pc:spChg chg="add del mod">
          <ac:chgData name="Steiner Andreas 6206 ED" userId="e6377c33-a923-4f14-8587-531c474c7b48" providerId="ADAL" clId="{6ECD27E6-B224-41CD-B4E0-E297462320DD}" dt="2023-11-24T08:44:11.988" v="55343"/>
          <ac:spMkLst>
            <pc:docMk/>
            <pc:sldMk cId="3591700787" sldId="2147478562"/>
            <ac:spMk id="375" creationId="{0ABB6CCA-FA93-DE48-3B61-519D106AECDA}"/>
          </ac:spMkLst>
        </pc:spChg>
        <pc:spChg chg="add del mod">
          <ac:chgData name="Steiner Andreas 6206 ED" userId="e6377c33-a923-4f14-8587-531c474c7b48" providerId="ADAL" clId="{6ECD27E6-B224-41CD-B4E0-E297462320DD}" dt="2023-11-24T08:44:14.118" v="55498"/>
          <ac:spMkLst>
            <pc:docMk/>
            <pc:sldMk cId="3591700787" sldId="2147478562"/>
            <ac:spMk id="376" creationId="{8E7E3F99-6A18-C446-B954-385D270C590D}"/>
          </ac:spMkLst>
        </pc:spChg>
        <pc:spChg chg="add del mod">
          <ac:chgData name="Steiner Andreas 6206 ED" userId="e6377c33-a923-4f14-8587-531c474c7b48" providerId="ADAL" clId="{6ECD27E6-B224-41CD-B4E0-E297462320DD}" dt="2023-11-24T08:44:16.222" v="55653"/>
          <ac:spMkLst>
            <pc:docMk/>
            <pc:sldMk cId="3591700787" sldId="2147478562"/>
            <ac:spMk id="377" creationId="{9A7C5D86-FDE1-4FF1-8F54-ABEDC0781F34}"/>
          </ac:spMkLst>
        </pc:spChg>
        <pc:spChg chg="add del mod">
          <ac:chgData name="Steiner Andreas 6206 ED" userId="e6377c33-a923-4f14-8587-531c474c7b48" providerId="ADAL" clId="{6ECD27E6-B224-41CD-B4E0-E297462320DD}" dt="2023-11-24T08:44:18.712" v="55808"/>
          <ac:spMkLst>
            <pc:docMk/>
            <pc:sldMk cId="3591700787" sldId="2147478562"/>
            <ac:spMk id="378" creationId="{1EAF90F4-1296-8FAB-C61C-02294650B8B3}"/>
          </ac:spMkLst>
        </pc:spChg>
        <pc:spChg chg="add del mod">
          <ac:chgData name="Steiner Andreas 6206 ED" userId="e6377c33-a923-4f14-8587-531c474c7b48" providerId="ADAL" clId="{6ECD27E6-B224-41CD-B4E0-E297462320DD}" dt="2023-11-24T08:44:21.576" v="55963"/>
          <ac:spMkLst>
            <pc:docMk/>
            <pc:sldMk cId="3591700787" sldId="2147478562"/>
            <ac:spMk id="379" creationId="{D28466B8-C5B7-9FAC-9E54-18A6D7000EFC}"/>
          </ac:spMkLst>
        </pc:spChg>
        <pc:spChg chg="add del mod">
          <ac:chgData name="Steiner Andreas 6206 ED" userId="e6377c33-a923-4f14-8587-531c474c7b48" providerId="ADAL" clId="{6ECD27E6-B224-41CD-B4E0-E297462320DD}" dt="2023-11-24T08:44:23.926" v="56118"/>
          <ac:spMkLst>
            <pc:docMk/>
            <pc:sldMk cId="3591700787" sldId="2147478562"/>
            <ac:spMk id="380" creationId="{D6A8855D-C2EC-7111-6763-DD290C820BF4}"/>
          </ac:spMkLst>
        </pc:spChg>
        <pc:spChg chg="add del mod">
          <ac:chgData name="Steiner Andreas 6206 ED" userId="e6377c33-a923-4f14-8587-531c474c7b48" providerId="ADAL" clId="{6ECD27E6-B224-41CD-B4E0-E297462320DD}" dt="2023-11-24T08:44:25.860" v="56273"/>
          <ac:spMkLst>
            <pc:docMk/>
            <pc:sldMk cId="3591700787" sldId="2147478562"/>
            <ac:spMk id="381" creationId="{BA44B720-D049-EDC8-F349-55B59E8295B6}"/>
          </ac:spMkLst>
        </pc:spChg>
        <pc:spChg chg="add del mod">
          <ac:chgData name="Steiner Andreas 6206 ED" userId="e6377c33-a923-4f14-8587-531c474c7b48" providerId="ADAL" clId="{6ECD27E6-B224-41CD-B4E0-E297462320DD}" dt="2023-11-24T08:44:28.042" v="56428"/>
          <ac:spMkLst>
            <pc:docMk/>
            <pc:sldMk cId="3591700787" sldId="2147478562"/>
            <ac:spMk id="382" creationId="{FD3BFEEF-3C81-36EE-7EB9-F997BFA826CB}"/>
          </ac:spMkLst>
        </pc:spChg>
        <pc:spChg chg="add del mod">
          <ac:chgData name="Steiner Andreas 6206 ED" userId="e6377c33-a923-4f14-8587-531c474c7b48" providerId="ADAL" clId="{6ECD27E6-B224-41CD-B4E0-E297462320DD}" dt="2023-11-24T08:44:30.063" v="56583"/>
          <ac:spMkLst>
            <pc:docMk/>
            <pc:sldMk cId="3591700787" sldId="2147478562"/>
            <ac:spMk id="383" creationId="{C6E4BECA-F483-EC13-C445-1FD29B3814D5}"/>
          </ac:spMkLst>
        </pc:spChg>
        <pc:spChg chg="add del mod">
          <ac:chgData name="Steiner Andreas 6206 ED" userId="e6377c33-a923-4f14-8587-531c474c7b48" providerId="ADAL" clId="{6ECD27E6-B224-41CD-B4E0-E297462320DD}" dt="2023-11-24T08:44:32.010" v="56738"/>
          <ac:spMkLst>
            <pc:docMk/>
            <pc:sldMk cId="3591700787" sldId="2147478562"/>
            <ac:spMk id="384" creationId="{26DAA6F0-588A-714B-B4F6-5318A0335FA0}"/>
          </ac:spMkLst>
        </pc:spChg>
        <pc:spChg chg="add del mod">
          <ac:chgData name="Steiner Andreas 6206 ED" userId="e6377c33-a923-4f14-8587-531c474c7b48" providerId="ADAL" clId="{6ECD27E6-B224-41CD-B4E0-E297462320DD}" dt="2023-11-24T08:44:33.975" v="56893"/>
          <ac:spMkLst>
            <pc:docMk/>
            <pc:sldMk cId="3591700787" sldId="2147478562"/>
            <ac:spMk id="385" creationId="{CB51B4DA-F2D8-87CA-A696-962DCDBB79CD}"/>
          </ac:spMkLst>
        </pc:spChg>
        <pc:spChg chg="add del mod">
          <ac:chgData name="Steiner Andreas 6206 ED" userId="e6377c33-a923-4f14-8587-531c474c7b48" providerId="ADAL" clId="{6ECD27E6-B224-41CD-B4E0-E297462320DD}" dt="2023-11-24T08:44:36.495" v="57048"/>
          <ac:spMkLst>
            <pc:docMk/>
            <pc:sldMk cId="3591700787" sldId="2147478562"/>
            <ac:spMk id="386" creationId="{4F98EE46-C08C-A9E8-148A-C35639C9F66D}"/>
          </ac:spMkLst>
        </pc:spChg>
        <pc:spChg chg="add del mod">
          <ac:chgData name="Steiner Andreas 6206 ED" userId="e6377c33-a923-4f14-8587-531c474c7b48" providerId="ADAL" clId="{6ECD27E6-B224-41CD-B4E0-E297462320DD}" dt="2023-11-24T08:44:39.116" v="57203"/>
          <ac:spMkLst>
            <pc:docMk/>
            <pc:sldMk cId="3591700787" sldId="2147478562"/>
            <ac:spMk id="387" creationId="{2C37B0C3-DA46-B605-E377-35C0B408A0E8}"/>
          </ac:spMkLst>
        </pc:spChg>
        <pc:spChg chg="add del mod">
          <ac:chgData name="Steiner Andreas 6206 ED" userId="e6377c33-a923-4f14-8587-531c474c7b48" providerId="ADAL" clId="{6ECD27E6-B224-41CD-B4E0-E297462320DD}" dt="2023-11-24T08:44:41.378" v="57358"/>
          <ac:spMkLst>
            <pc:docMk/>
            <pc:sldMk cId="3591700787" sldId="2147478562"/>
            <ac:spMk id="388" creationId="{6EEED5C6-627F-EC58-08D4-286F94DBD543}"/>
          </ac:spMkLst>
        </pc:spChg>
        <pc:spChg chg="add del mod">
          <ac:chgData name="Steiner Andreas 6206 ED" userId="e6377c33-a923-4f14-8587-531c474c7b48" providerId="ADAL" clId="{6ECD27E6-B224-41CD-B4E0-E297462320DD}" dt="2023-11-24T08:44:43.521" v="57513"/>
          <ac:spMkLst>
            <pc:docMk/>
            <pc:sldMk cId="3591700787" sldId="2147478562"/>
            <ac:spMk id="389" creationId="{A8158D31-1437-087A-81DC-D59C8C18010F}"/>
          </ac:spMkLst>
        </pc:spChg>
        <pc:spChg chg="add del mod">
          <ac:chgData name="Steiner Andreas 6206 ED" userId="e6377c33-a923-4f14-8587-531c474c7b48" providerId="ADAL" clId="{6ECD27E6-B224-41CD-B4E0-E297462320DD}" dt="2023-11-24T08:44:45.697" v="57668"/>
          <ac:spMkLst>
            <pc:docMk/>
            <pc:sldMk cId="3591700787" sldId="2147478562"/>
            <ac:spMk id="390" creationId="{3F804AAE-771B-ABA4-EAC1-FE7F84919EE8}"/>
          </ac:spMkLst>
        </pc:spChg>
        <pc:spChg chg="add del mod">
          <ac:chgData name="Steiner Andreas 6206 ED" userId="e6377c33-a923-4f14-8587-531c474c7b48" providerId="ADAL" clId="{6ECD27E6-B224-41CD-B4E0-E297462320DD}" dt="2023-11-24T08:44:48.460" v="57823"/>
          <ac:spMkLst>
            <pc:docMk/>
            <pc:sldMk cId="3591700787" sldId="2147478562"/>
            <ac:spMk id="391" creationId="{EC015591-B59F-4FF6-A2CD-4920DCA44E8E}"/>
          </ac:spMkLst>
        </pc:spChg>
        <pc:spChg chg="add del mod">
          <ac:chgData name="Steiner Andreas 6206 ED" userId="e6377c33-a923-4f14-8587-531c474c7b48" providerId="ADAL" clId="{6ECD27E6-B224-41CD-B4E0-E297462320DD}" dt="2023-11-24T08:44:50.669" v="57978"/>
          <ac:spMkLst>
            <pc:docMk/>
            <pc:sldMk cId="3591700787" sldId="2147478562"/>
            <ac:spMk id="392" creationId="{9695261D-66DB-42B0-EAC3-86A359784564}"/>
          </ac:spMkLst>
        </pc:spChg>
        <pc:spChg chg="add del mod">
          <ac:chgData name="Steiner Andreas 6206 ED" userId="e6377c33-a923-4f14-8587-531c474c7b48" providerId="ADAL" clId="{6ECD27E6-B224-41CD-B4E0-E297462320DD}" dt="2023-11-24T08:44:52.817" v="58133"/>
          <ac:spMkLst>
            <pc:docMk/>
            <pc:sldMk cId="3591700787" sldId="2147478562"/>
            <ac:spMk id="393" creationId="{97C329D9-7525-143E-4AD0-30365FC13A13}"/>
          </ac:spMkLst>
        </pc:spChg>
        <pc:spChg chg="add del mod">
          <ac:chgData name="Steiner Andreas 6206 ED" userId="e6377c33-a923-4f14-8587-531c474c7b48" providerId="ADAL" clId="{6ECD27E6-B224-41CD-B4E0-E297462320DD}" dt="2023-11-24T08:44:55.027" v="58288"/>
          <ac:spMkLst>
            <pc:docMk/>
            <pc:sldMk cId="3591700787" sldId="2147478562"/>
            <ac:spMk id="394" creationId="{C4937CD7-EC27-555F-36DC-284B9D060486}"/>
          </ac:spMkLst>
        </pc:spChg>
        <pc:spChg chg="add del mod">
          <ac:chgData name="Steiner Andreas 6206 ED" userId="e6377c33-a923-4f14-8587-531c474c7b48" providerId="ADAL" clId="{6ECD27E6-B224-41CD-B4E0-E297462320DD}" dt="2023-11-24T08:44:57.015" v="58443"/>
          <ac:spMkLst>
            <pc:docMk/>
            <pc:sldMk cId="3591700787" sldId="2147478562"/>
            <ac:spMk id="395" creationId="{DEF60CC2-4CDC-2B0E-CF1E-336D74D419D3}"/>
          </ac:spMkLst>
        </pc:spChg>
        <pc:spChg chg="add del mod">
          <ac:chgData name="Steiner Andreas 6206 ED" userId="e6377c33-a923-4f14-8587-531c474c7b48" providerId="ADAL" clId="{6ECD27E6-B224-41CD-B4E0-E297462320DD}" dt="2023-11-24T08:44:58.957" v="58598"/>
          <ac:spMkLst>
            <pc:docMk/>
            <pc:sldMk cId="3591700787" sldId="2147478562"/>
            <ac:spMk id="396" creationId="{0C12F7EA-3B12-952B-87F4-1E265495D2ED}"/>
          </ac:spMkLst>
        </pc:spChg>
        <pc:spChg chg="add del mod">
          <ac:chgData name="Steiner Andreas 6206 ED" userId="e6377c33-a923-4f14-8587-531c474c7b48" providerId="ADAL" clId="{6ECD27E6-B224-41CD-B4E0-E297462320DD}" dt="2023-11-24T08:45:01.120" v="58753"/>
          <ac:spMkLst>
            <pc:docMk/>
            <pc:sldMk cId="3591700787" sldId="2147478562"/>
            <ac:spMk id="397" creationId="{5C4EE62E-4520-5CC2-D751-A774BBB91EC0}"/>
          </ac:spMkLst>
        </pc:spChg>
        <pc:spChg chg="add del mod">
          <ac:chgData name="Steiner Andreas 6206 ED" userId="e6377c33-a923-4f14-8587-531c474c7b48" providerId="ADAL" clId="{6ECD27E6-B224-41CD-B4E0-E297462320DD}" dt="2023-11-24T08:45:03.033" v="58908"/>
          <ac:spMkLst>
            <pc:docMk/>
            <pc:sldMk cId="3591700787" sldId="2147478562"/>
            <ac:spMk id="398" creationId="{52A000ED-3E81-EBED-F986-8F73D850DED5}"/>
          </ac:spMkLst>
        </pc:spChg>
        <pc:spChg chg="add del mod">
          <ac:chgData name="Steiner Andreas 6206 ED" userId="e6377c33-a923-4f14-8587-531c474c7b48" providerId="ADAL" clId="{6ECD27E6-B224-41CD-B4E0-E297462320DD}" dt="2023-11-24T08:45:04.878" v="59063"/>
          <ac:spMkLst>
            <pc:docMk/>
            <pc:sldMk cId="3591700787" sldId="2147478562"/>
            <ac:spMk id="399" creationId="{0F665AE6-5C4B-9F40-8B4A-463CEB02C0C5}"/>
          </ac:spMkLst>
        </pc:spChg>
        <pc:spChg chg="add del mod">
          <ac:chgData name="Steiner Andreas 6206 ED" userId="e6377c33-a923-4f14-8587-531c474c7b48" providerId="ADAL" clId="{6ECD27E6-B224-41CD-B4E0-E297462320DD}" dt="2023-11-24T08:45:06.723" v="59218"/>
          <ac:spMkLst>
            <pc:docMk/>
            <pc:sldMk cId="3591700787" sldId="2147478562"/>
            <ac:spMk id="400" creationId="{5EF16DA4-F971-3CEE-7199-E52A203F18A4}"/>
          </ac:spMkLst>
        </pc:spChg>
        <pc:spChg chg="add del mod">
          <ac:chgData name="Steiner Andreas 6206 ED" userId="e6377c33-a923-4f14-8587-531c474c7b48" providerId="ADAL" clId="{6ECD27E6-B224-41CD-B4E0-E297462320DD}" dt="2023-11-24T08:45:08.558" v="59373"/>
          <ac:spMkLst>
            <pc:docMk/>
            <pc:sldMk cId="3591700787" sldId="2147478562"/>
            <ac:spMk id="401" creationId="{9B15C4A0-C4EE-05D5-45CD-CB63767F78D7}"/>
          </ac:spMkLst>
        </pc:spChg>
        <pc:spChg chg="add del mod">
          <ac:chgData name="Steiner Andreas 6206 ED" userId="e6377c33-a923-4f14-8587-531c474c7b48" providerId="ADAL" clId="{6ECD27E6-B224-41CD-B4E0-E297462320DD}" dt="2023-11-24T08:45:10.411" v="59528"/>
          <ac:spMkLst>
            <pc:docMk/>
            <pc:sldMk cId="3591700787" sldId="2147478562"/>
            <ac:spMk id="402" creationId="{DF6E923C-552A-7C5D-1FC0-AC83CBB63F2D}"/>
          </ac:spMkLst>
        </pc:spChg>
        <pc:spChg chg="add del mod">
          <ac:chgData name="Steiner Andreas 6206 ED" userId="e6377c33-a923-4f14-8587-531c474c7b48" providerId="ADAL" clId="{6ECD27E6-B224-41CD-B4E0-E297462320DD}" dt="2023-11-24T08:45:12.460" v="59683"/>
          <ac:spMkLst>
            <pc:docMk/>
            <pc:sldMk cId="3591700787" sldId="2147478562"/>
            <ac:spMk id="403" creationId="{A4A40CFF-81E0-B837-F9E7-7E9064433026}"/>
          </ac:spMkLst>
        </pc:spChg>
        <pc:spChg chg="add del mod">
          <ac:chgData name="Steiner Andreas 6206 ED" userId="e6377c33-a923-4f14-8587-531c474c7b48" providerId="ADAL" clId="{6ECD27E6-B224-41CD-B4E0-E297462320DD}" dt="2023-11-24T08:45:14.407" v="59838"/>
          <ac:spMkLst>
            <pc:docMk/>
            <pc:sldMk cId="3591700787" sldId="2147478562"/>
            <ac:spMk id="404" creationId="{03C3642A-CF9B-BFD4-C81F-3CB501867630}"/>
          </ac:spMkLst>
        </pc:spChg>
        <pc:spChg chg="add del mod">
          <ac:chgData name="Steiner Andreas 6206 ED" userId="e6377c33-a923-4f14-8587-531c474c7b48" providerId="ADAL" clId="{6ECD27E6-B224-41CD-B4E0-E297462320DD}" dt="2023-11-24T08:45:16.465" v="59993"/>
          <ac:spMkLst>
            <pc:docMk/>
            <pc:sldMk cId="3591700787" sldId="2147478562"/>
            <ac:spMk id="405" creationId="{029D61E4-57B6-492F-955A-323F0A3FFD3C}"/>
          </ac:spMkLst>
        </pc:spChg>
        <pc:spChg chg="add del mod">
          <ac:chgData name="Steiner Andreas 6206 ED" userId="e6377c33-a923-4f14-8587-531c474c7b48" providerId="ADAL" clId="{6ECD27E6-B224-41CD-B4E0-E297462320DD}" dt="2023-11-24T08:45:18.412" v="60148"/>
          <ac:spMkLst>
            <pc:docMk/>
            <pc:sldMk cId="3591700787" sldId="2147478562"/>
            <ac:spMk id="406" creationId="{22487DBD-6C16-753C-B30D-07FE6CB7073D}"/>
          </ac:spMkLst>
        </pc:spChg>
        <pc:spChg chg="add del mod">
          <ac:chgData name="Steiner Andreas 6206 ED" userId="e6377c33-a923-4f14-8587-531c474c7b48" providerId="ADAL" clId="{6ECD27E6-B224-41CD-B4E0-E297462320DD}" dt="2023-11-24T08:45:20.301" v="60303"/>
          <ac:spMkLst>
            <pc:docMk/>
            <pc:sldMk cId="3591700787" sldId="2147478562"/>
            <ac:spMk id="407" creationId="{F8D26890-CBAA-D024-C3B7-A2956C335195}"/>
          </ac:spMkLst>
        </pc:spChg>
        <pc:spChg chg="add del mod">
          <ac:chgData name="Steiner Andreas 6206 ED" userId="e6377c33-a923-4f14-8587-531c474c7b48" providerId="ADAL" clId="{6ECD27E6-B224-41CD-B4E0-E297462320DD}" dt="2023-11-24T08:45:22.519" v="60458"/>
          <ac:spMkLst>
            <pc:docMk/>
            <pc:sldMk cId="3591700787" sldId="2147478562"/>
            <ac:spMk id="408" creationId="{59B9A0AC-D312-8B3D-1049-A72430BFF8E0}"/>
          </ac:spMkLst>
        </pc:spChg>
        <pc:spChg chg="add del mod">
          <ac:chgData name="Steiner Andreas 6206 ED" userId="e6377c33-a923-4f14-8587-531c474c7b48" providerId="ADAL" clId="{6ECD27E6-B224-41CD-B4E0-E297462320DD}" dt="2023-11-24T08:45:24.692" v="60613"/>
          <ac:spMkLst>
            <pc:docMk/>
            <pc:sldMk cId="3591700787" sldId="2147478562"/>
            <ac:spMk id="409" creationId="{347DDC90-3C0F-7EBA-41DB-FDEA855D43FC}"/>
          </ac:spMkLst>
        </pc:spChg>
        <pc:spChg chg="add del mod">
          <ac:chgData name="Steiner Andreas 6206 ED" userId="e6377c33-a923-4f14-8587-531c474c7b48" providerId="ADAL" clId="{6ECD27E6-B224-41CD-B4E0-E297462320DD}" dt="2023-11-24T08:45:26.624" v="60768"/>
          <ac:spMkLst>
            <pc:docMk/>
            <pc:sldMk cId="3591700787" sldId="2147478562"/>
            <ac:spMk id="410" creationId="{4CE311A0-76BA-BACF-9360-97DA6F7B656D}"/>
          </ac:spMkLst>
        </pc:spChg>
        <pc:spChg chg="add del mod">
          <ac:chgData name="Steiner Andreas 6206 ED" userId="e6377c33-a923-4f14-8587-531c474c7b48" providerId="ADAL" clId="{6ECD27E6-B224-41CD-B4E0-E297462320DD}" dt="2023-11-24T08:45:28.503" v="60923"/>
          <ac:spMkLst>
            <pc:docMk/>
            <pc:sldMk cId="3591700787" sldId="2147478562"/>
            <ac:spMk id="411" creationId="{339DEA12-6AB0-742F-76A6-42B056EF095D}"/>
          </ac:spMkLst>
        </pc:spChg>
        <pc:spChg chg="add del mod">
          <ac:chgData name="Steiner Andreas 6206 ED" userId="e6377c33-a923-4f14-8587-531c474c7b48" providerId="ADAL" clId="{6ECD27E6-B224-41CD-B4E0-E297462320DD}" dt="2023-11-24T08:45:30.350" v="61078"/>
          <ac:spMkLst>
            <pc:docMk/>
            <pc:sldMk cId="3591700787" sldId="2147478562"/>
            <ac:spMk id="412" creationId="{881D082A-FD8E-C0FD-7567-CBA34DCA5F26}"/>
          </ac:spMkLst>
        </pc:spChg>
        <pc:spChg chg="add del mod">
          <ac:chgData name="Steiner Andreas 6206 ED" userId="e6377c33-a923-4f14-8587-531c474c7b48" providerId="ADAL" clId="{6ECD27E6-B224-41CD-B4E0-E297462320DD}" dt="2023-11-24T08:45:32.184" v="61233"/>
          <ac:spMkLst>
            <pc:docMk/>
            <pc:sldMk cId="3591700787" sldId="2147478562"/>
            <ac:spMk id="413" creationId="{6F8B96A8-B269-EA35-6CD4-B94F8008061B}"/>
          </ac:spMkLst>
        </pc:spChg>
        <pc:spChg chg="add del mod">
          <ac:chgData name="Steiner Andreas 6206 ED" userId="e6377c33-a923-4f14-8587-531c474c7b48" providerId="ADAL" clId="{6ECD27E6-B224-41CD-B4E0-E297462320DD}" dt="2023-11-24T08:45:34.365" v="61388"/>
          <ac:spMkLst>
            <pc:docMk/>
            <pc:sldMk cId="3591700787" sldId="2147478562"/>
            <ac:spMk id="414" creationId="{7EF7CF98-BF3F-BF68-803F-ADE3268F221F}"/>
          </ac:spMkLst>
        </pc:spChg>
        <pc:spChg chg="add del mod">
          <ac:chgData name="Steiner Andreas 6206 ED" userId="e6377c33-a923-4f14-8587-531c474c7b48" providerId="ADAL" clId="{6ECD27E6-B224-41CD-B4E0-E297462320DD}" dt="2023-11-24T08:45:36.408" v="61543"/>
          <ac:spMkLst>
            <pc:docMk/>
            <pc:sldMk cId="3591700787" sldId="2147478562"/>
            <ac:spMk id="415" creationId="{335B6C8F-6FEB-1DCC-37E6-3687A183560F}"/>
          </ac:spMkLst>
        </pc:spChg>
        <pc:spChg chg="add del mod">
          <ac:chgData name="Steiner Andreas 6206 ED" userId="e6377c33-a923-4f14-8587-531c474c7b48" providerId="ADAL" clId="{6ECD27E6-B224-41CD-B4E0-E297462320DD}" dt="2023-11-24T08:45:38.255" v="61698"/>
          <ac:spMkLst>
            <pc:docMk/>
            <pc:sldMk cId="3591700787" sldId="2147478562"/>
            <ac:spMk id="416" creationId="{F6212A6B-F320-9C7D-394E-FB045A63A21E}"/>
          </ac:spMkLst>
        </pc:spChg>
        <pc:spChg chg="add del mod">
          <ac:chgData name="Steiner Andreas 6206 ED" userId="e6377c33-a923-4f14-8587-531c474c7b48" providerId="ADAL" clId="{6ECD27E6-B224-41CD-B4E0-E297462320DD}" dt="2023-11-24T08:45:40.151" v="61853"/>
          <ac:spMkLst>
            <pc:docMk/>
            <pc:sldMk cId="3591700787" sldId="2147478562"/>
            <ac:spMk id="417" creationId="{94EE3D13-2B83-7DC4-2B24-9E764129D16A}"/>
          </ac:spMkLst>
        </pc:spChg>
        <pc:spChg chg="add del mod">
          <ac:chgData name="Steiner Andreas 6206 ED" userId="e6377c33-a923-4f14-8587-531c474c7b48" providerId="ADAL" clId="{6ECD27E6-B224-41CD-B4E0-E297462320DD}" dt="2023-11-24T08:45:42.182" v="62008"/>
          <ac:spMkLst>
            <pc:docMk/>
            <pc:sldMk cId="3591700787" sldId="2147478562"/>
            <ac:spMk id="418" creationId="{E1FD418B-65CD-E769-B8AB-570F29F66816}"/>
          </ac:spMkLst>
        </pc:spChg>
        <pc:spChg chg="add del mod">
          <ac:chgData name="Steiner Andreas 6206 ED" userId="e6377c33-a923-4f14-8587-531c474c7b48" providerId="ADAL" clId="{6ECD27E6-B224-41CD-B4E0-E297462320DD}" dt="2023-11-24T08:45:44.151" v="62163"/>
          <ac:spMkLst>
            <pc:docMk/>
            <pc:sldMk cId="3591700787" sldId="2147478562"/>
            <ac:spMk id="419" creationId="{B179C01F-8E26-5EC1-8ACE-5ED3EC63DF65}"/>
          </ac:spMkLst>
        </pc:spChg>
        <pc:spChg chg="add del mod">
          <ac:chgData name="Steiner Andreas 6206 ED" userId="e6377c33-a923-4f14-8587-531c474c7b48" providerId="ADAL" clId="{6ECD27E6-B224-41CD-B4E0-E297462320DD}" dt="2023-11-24T08:45:46.268" v="62318"/>
          <ac:spMkLst>
            <pc:docMk/>
            <pc:sldMk cId="3591700787" sldId="2147478562"/>
            <ac:spMk id="420" creationId="{DA473E3A-2320-B0C8-CFD5-22A1C1B201CB}"/>
          </ac:spMkLst>
        </pc:spChg>
        <pc:spChg chg="add del mod">
          <ac:chgData name="Steiner Andreas 6206 ED" userId="e6377c33-a923-4f14-8587-531c474c7b48" providerId="ADAL" clId="{6ECD27E6-B224-41CD-B4E0-E297462320DD}" dt="2023-11-24T08:45:48.169" v="62473"/>
          <ac:spMkLst>
            <pc:docMk/>
            <pc:sldMk cId="3591700787" sldId="2147478562"/>
            <ac:spMk id="421" creationId="{CF648809-DDB3-21B4-2AE5-669F4C29CB42}"/>
          </ac:spMkLst>
        </pc:spChg>
        <pc:spChg chg="add del mod">
          <ac:chgData name="Steiner Andreas 6206 ED" userId="e6377c33-a923-4f14-8587-531c474c7b48" providerId="ADAL" clId="{6ECD27E6-B224-41CD-B4E0-E297462320DD}" dt="2023-11-24T08:45:50.521" v="62628"/>
          <ac:spMkLst>
            <pc:docMk/>
            <pc:sldMk cId="3591700787" sldId="2147478562"/>
            <ac:spMk id="422" creationId="{C416353C-F968-A27A-78E5-607C6B110B49}"/>
          </ac:spMkLst>
        </pc:spChg>
        <pc:spChg chg="add del mod">
          <ac:chgData name="Steiner Andreas 6206 ED" userId="e6377c33-a923-4f14-8587-531c474c7b48" providerId="ADAL" clId="{6ECD27E6-B224-41CD-B4E0-E297462320DD}" dt="2023-11-24T08:45:52.526" v="62783"/>
          <ac:spMkLst>
            <pc:docMk/>
            <pc:sldMk cId="3591700787" sldId="2147478562"/>
            <ac:spMk id="423" creationId="{CF2B1145-F298-4784-4C41-31BD22937F48}"/>
          </ac:spMkLst>
        </pc:spChg>
        <pc:spChg chg="add del mod">
          <ac:chgData name="Steiner Andreas 6206 ED" userId="e6377c33-a923-4f14-8587-531c474c7b48" providerId="ADAL" clId="{6ECD27E6-B224-41CD-B4E0-E297462320DD}" dt="2023-11-24T08:45:54.540" v="62938"/>
          <ac:spMkLst>
            <pc:docMk/>
            <pc:sldMk cId="3591700787" sldId="2147478562"/>
            <ac:spMk id="424" creationId="{BED11392-22E1-BA2D-FB45-30243552161A}"/>
          </ac:spMkLst>
        </pc:spChg>
        <pc:spChg chg="add del mod">
          <ac:chgData name="Steiner Andreas 6206 ED" userId="e6377c33-a923-4f14-8587-531c474c7b48" providerId="ADAL" clId="{6ECD27E6-B224-41CD-B4E0-E297462320DD}" dt="2023-11-24T08:45:56.749" v="63093"/>
          <ac:spMkLst>
            <pc:docMk/>
            <pc:sldMk cId="3591700787" sldId="2147478562"/>
            <ac:spMk id="425" creationId="{E453AEFC-4BA8-7465-99F7-BA9DAC7B70A1}"/>
          </ac:spMkLst>
        </pc:spChg>
        <pc:spChg chg="add del mod">
          <ac:chgData name="Steiner Andreas 6206 ED" userId="e6377c33-a923-4f14-8587-531c474c7b48" providerId="ADAL" clId="{6ECD27E6-B224-41CD-B4E0-E297462320DD}" dt="2023-11-24T08:45:58.765" v="63248"/>
          <ac:spMkLst>
            <pc:docMk/>
            <pc:sldMk cId="3591700787" sldId="2147478562"/>
            <ac:spMk id="426" creationId="{FBAFED73-DFCA-4DD9-518C-2A271512E3E2}"/>
          </ac:spMkLst>
        </pc:spChg>
        <pc:spChg chg="add del mod">
          <ac:chgData name="Steiner Andreas 6206 ED" userId="e6377c33-a923-4f14-8587-531c474c7b48" providerId="ADAL" clId="{6ECD27E6-B224-41CD-B4E0-E297462320DD}" dt="2023-11-24T08:46:00.858" v="63403"/>
          <ac:spMkLst>
            <pc:docMk/>
            <pc:sldMk cId="3591700787" sldId="2147478562"/>
            <ac:spMk id="427" creationId="{95D17ED2-D93C-EC25-6404-B837D6D65175}"/>
          </ac:spMkLst>
        </pc:spChg>
        <pc:spChg chg="add del mod">
          <ac:chgData name="Steiner Andreas 6206 ED" userId="e6377c33-a923-4f14-8587-531c474c7b48" providerId="ADAL" clId="{6ECD27E6-B224-41CD-B4E0-E297462320DD}" dt="2023-11-24T08:46:02.928" v="63558"/>
          <ac:spMkLst>
            <pc:docMk/>
            <pc:sldMk cId="3591700787" sldId="2147478562"/>
            <ac:spMk id="428" creationId="{5C6C7BA5-9679-3EA2-A0DB-4B6C013EF257}"/>
          </ac:spMkLst>
        </pc:spChg>
        <pc:spChg chg="add del mod">
          <ac:chgData name="Steiner Andreas 6206 ED" userId="e6377c33-a923-4f14-8587-531c474c7b48" providerId="ADAL" clId="{6ECD27E6-B224-41CD-B4E0-E297462320DD}" dt="2023-11-24T08:46:05.388" v="63713"/>
          <ac:spMkLst>
            <pc:docMk/>
            <pc:sldMk cId="3591700787" sldId="2147478562"/>
            <ac:spMk id="429" creationId="{4A7CA696-E261-7120-EA21-F08D125A3D9B}"/>
          </ac:spMkLst>
        </pc:spChg>
        <pc:spChg chg="add del mod">
          <ac:chgData name="Steiner Andreas 6206 ED" userId="e6377c33-a923-4f14-8587-531c474c7b48" providerId="ADAL" clId="{6ECD27E6-B224-41CD-B4E0-E297462320DD}" dt="2023-11-24T08:46:07.911" v="63868"/>
          <ac:spMkLst>
            <pc:docMk/>
            <pc:sldMk cId="3591700787" sldId="2147478562"/>
            <ac:spMk id="430" creationId="{20E0B481-BE69-5059-B889-DFBF19AC261B}"/>
          </ac:spMkLst>
        </pc:spChg>
        <pc:spChg chg="add del mod">
          <ac:chgData name="Steiner Andreas 6206 ED" userId="e6377c33-a923-4f14-8587-531c474c7b48" providerId="ADAL" clId="{6ECD27E6-B224-41CD-B4E0-E297462320DD}" dt="2023-11-24T08:46:10.025" v="64023"/>
          <ac:spMkLst>
            <pc:docMk/>
            <pc:sldMk cId="3591700787" sldId="2147478562"/>
            <ac:spMk id="431" creationId="{BBDDCEC7-6280-D650-3D23-1C8660321D4B}"/>
          </ac:spMkLst>
        </pc:spChg>
        <pc:spChg chg="add del mod">
          <ac:chgData name="Steiner Andreas 6206 ED" userId="e6377c33-a923-4f14-8587-531c474c7b48" providerId="ADAL" clId="{6ECD27E6-B224-41CD-B4E0-E297462320DD}" dt="2023-11-24T08:46:12.240" v="64178"/>
          <ac:spMkLst>
            <pc:docMk/>
            <pc:sldMk cId="3591700787" sldId="2147478562"/>
            <ac:spMk id="432" creationId="{B36F5382-E1C1-590F-B877-80BC6CC42616}"/>
          </ac:spMkLst>
        </pc:spChg>
        <pc:spChg chg="add del mod">
          <ac:chgData name="Steiner Andreas 6206 ED" userId="e6377c33-a923-4f14-8587-531c474c7b48" providerId="ADAL" clId="{6ECD27E6-B224-41CD-B4E0-E297462320DD}" dt="2023-11-24T08:46:14.414" v="64333"/>
          <ac:spMkLst>
            <pc:docMk/>
            <pc:sldMk cId="3591700787" sldId="2147478562"/>
            <ac:spMk id="433" creationId="{03516B5F-C6C4-A2D5-9BB4-82E80DD84345}"/>
          </ac:spMkLst>
        </pc:spChg>
        <pc:spChg chg="add del mod">
          <ac:chgData name="Steiner Andreas 6206 ED" userId="e6377c33-a923-4f14-8587-531c474c7b48" providerId="ADAL" clId="{6ECD27E6-B224-41CD-B4E0-E297462320DD}" dt="2023-11-24T08:46:16.591" v="64488"/>
          <ac:spMkLst>
            <pc:docMk/>
            <pc:sldMk cId="3591700787" sldId="2147478562"/>
            <ac:spMk id="434" creationId="{56406A07-AD1C-16C7-A0E7-718B7A7A090E}"/>
          </ac:spMkLst>
        </pc:spChg>
        <pc:spChg chg="add del mod">
          <ac:chgData name="Steiner Andreas 6206 ED" userId="e6377c33-a923-4f14-8587-531c474c7b48" providerId="ADAL" clId="{6ECD27E6-B224-41CD-B4E0-E297462320DD}" dt="2023-11-24T08:46:18.484" v="64643"/>
          <ac:spMkLst>
            <pc:docMk/>
            <pc:sldMk cId="3591700787" sldId="2147478562"/>
            <ac:spMk id="435" creationId="{38F825B8-4825-B836-4983-74C1FBCB5225}"/>
          </ac:spMkLst>
        </pc:spChg>
        <pc:spChg chg="add del mod">
          <ac:chgData name="Steiner Andreas 6206 ED" userId="e6377c33-a923-4f14-8587-531c474c7b48" providerId="ADAL" clId="{6ECD27E6-B224-41CD-B4E0-E297462320DD}" dt="2023-11-24T08:46:21.028" v="64798"/>
          <ac:spMkLst>
            <pc:docMk/>
            <pc:sldMk cId="3591700787" sldId="2147478562"/>
            <ac:spMk id="436" creationId="{477C2E2F-667F-B6B9-18A1-DB5D6DBF8D72}"/>
          </ac:spMkLst>
        </pc:spChg>
        <pc:spChg chg="add del mod">
          <ac:chgData name="Steiner Andreas 6206 ED" userId="e6377c33-a923-4f14-8587-531c474c7b48" providerId="ADAL" clId="{6ECD27E6-B224-41CD-B4E0-E297462320DD}" dt="2023-11-24T08:46:23.364" v="64953"/>
          <ac:spMkLst>
            <pc:docMk/>
            <pc:sldMk cId="3591700787" sldId="2147478562"/>
            <ac:spMk id="437" creationId="{8D3CF860-6141-6062-7181-5C1BA1BBCBBD}"/>
          </ac:spMkLst>
        </pc:spChg>
        <pc:spChg chg="add del mod">
          <ac:chgData name="Steiner Andreas 6206 ED" userId="e6377c33-a923-4f14-8587-531c474c7b48" providerId="ADAL" clId="{6ECD27E6-B224-41CD-B4E0-E297462320DD}" dt="2023-11-24T08:46:25.502" v="65108"/>
          <ac:spMkLst>
            <pc:docMk/>
            <pc:sldMk cId="3591700787" sldId="2147478562"/>
            <ac:spMk id="438" creationId="{EFE53293-86EA-3FAA-AE67-FA5EC7B2D44D}"/>
          </ac:spMkLst>
        </pc:spChg>
        <pc:spChg chg="add del mod">
          <ac:chgData name="Steiner Andreas 6206 ED" userId="e6377c33-a923-4f14-8587-531c474c7b48" providerId="ADAL" clId="{6ECD27E6-B224-41CD-B4E0-E297462320DD}" dt="2023-11-24T08:46:27.824" v="65263"/>
          <ac:spMkLst>
            <pc:docMk/>
            <pc:sldMk cId="3591700787" sldId="2147478562"/>
            <ac:spMk id="439" creationId="{DC9C80D8-16E7-FF86-5228-4FD055CE35CA}"/>
          </ac:spMkLst>
        </pc:spChg>
        <pc:spChg chg="add del mod">
          <ac:chgData name="Steiner Andreas 6206 ED" userId="e6377c33-a923-4f14-8587-531c474c7b48" providerId="ADAL" clId="{6ECD27E6-B224-41CD-B4E0-E297462320DD}" dt="2023-11-24T08:46:29.910" v="65418"/>
          <ac:spMkLst>
            <pc:docMk/>
            <pc:sldMk cId="3591700787" sldId="2147478562"/>
            <ac:spMk id="440" creationId="{5A6FB87B-01B7-A77B-64E9-5431375B6671}"/>
          </ac:spMkLst>
        </pc:spChg>
        <pc:spChg chg="add del mod">
          <ac:chgData name="Steiner Andreas 6206 ED" userId="e6377c33-a923-4f14-8587-531c474c7b48" providerId="ADAL" clId="{6ECD27E6-B224-41CD-B4E0-E297462320DD}" dt="2023-11-24T08:46:32.374" v="65573"/>
          <ac:spMkLst>
            <pc:docMk/>
            <pc:sldMk cId="3591700787" sldId="2147478562"/>
            <ac:spMk id="441" creationId="{4216A7B5-F4B2-2D2D-D159-D494C87CEEFA}"/>
          </ac:spMkLst>
        </pc:spChg>
        <pc:spChg chg="add del mod">
          <ac:chgData name="Steiner Andreas 6206 ED" userId="e6377c33-a923-4f14-8587-531c474c7b48" providerId="ADAL" clId="{6ECD27E6-B224-41CD-B4E0-E297462320DD}" dt="2023-11-24T08:46:34.384" v="65728"/>
          <ac:spMkLst>
            <pc:docMk/>
            <pc:sldMk cId="3591700787" sldId="2147478562"/>
            <ac:spMk id="442" creationId="{6F530E03-202F-7DD6-8879-473BD37F3CDB}"/>
          </ac:spMkLst>
        </pc:spChg>
        <pc:spChg chg="add del mod">
          <ac:chgData name="Steiner Andreas 6206 ED" userId="e6377c33-a923-4f14-8587-531c474c7b48" providerId="ADAL" clId="{6ECD27E6-B224-41CD-B4E0-E297462320DD}" dt="2023-11-24T08:46:36.308" v="65883"/>
          <ac:spMkLst>
            <pc:docMk/>
            <pc:sldMk cId="3591700787" sldId="2147478562"/>
            <ac:spMk id="443" creationId="{97AF56E9-EF79-3372-8F5E-0F0E2636A68B}"/>
          </ac:spMkLst>
        </pc:spChg>
        <pc:spChg chg="add del mod">
          <ac:chgData name="Steiner Andreas 6206 ED" userId="e6377c33-a923-4f14-8587-531c474c7b48" providerId="ADAL" clId="{6ECD27E6-B224-41CD-B4E0-E297462320DD}" dt="2023-11-24T08:46:38.405" v="66038"/>
          <ac:spMkLst>
            <pc:docMk/>
            <pc:sldMk cId="3591700787" sldId="2147478562"/>
            <ac:spMk id="444" creationId="{44902CB3-EE6D-59A3-AF82-CDA5FA20B8ED}"/>
          </ac:spMkLst>
        </pc:spChg>
        <pc:spChg chg="add del mod">
          <ac:chgData name="Steiner Andreas 6206 ED" userId="e6377c33-a923-4f14-8587-531c474c7b48" providerId="ADAL" clId="{6ECD27E6-B224-41CD-B4E0-E297462320DD}" dt="2023-11-24T08:46:40.525" v="66193"/>
          <ac:spMkLst>
            <pc:docMk/>
            <pc:sldMk cId="3591700787" sldId="2147478562"/>
            <ac:spMk id="445" creationId="{69DA86F9-76E3-0256-C072-BFC14BEFEDAD}"/>
          </ac:spMkLst>
        </pc:spChg>
        <pc:spChg chg="add del mod">
          <ac:chgData name="Steiner Andreas 6206 ED" userId="e6377c33-a923-4f14-8587-531c474c7b48" providerId="ADAL" clId="{6ECD27E6-B224-41CD-B4E0-E297462320DD}" dt="2023-11-24T08:46:42.784" v="66348"/>
          <ac:spMkLst>
            <pc:docMk/>
            <pc:sldMk cId="3591700787" sldId="2147478562"/>
            <ac:spMk id="446" creationId="{625D3717-97CD-6D67-0467-ACB0DF8EEF19}"/>
          </ac:spMkLst>
        </pc:spChg>
        <pc:spChg chg="add del mod">
          <ac:chgData name="Steiner Andreas 6206 ED" userId="e6377c33-a923-4f14-8587-531c474c7b48" providerId="ADAL" clId="{6ECD27E6-B224-41CD-B4E0-E297462320DD}" dt="2023-11-24T08:46:44.884" v="66503"/>
          <ac:spMkLst>
            <pc:docMk/>
            <pc:sldMk cId="3591700787" sldId="2147478562"/>
            <ac:spMk id="447" creationId="{6419E9C7-D1C9-7454-53E5-ABA350F94354}"/>
          </ac:spMkLst>
        </pc:spChg>
        <pc:spChg chg="add del mod">
          <ac:chgData name="Steiner Andreas 6206 ED" userId="e6377c33-a923-4f14-8587-531c474c7b48" providerId="ADAL" clId="{6ECD27E6-B224-41CD-B4E0-E297462320DD}" dt="2023-11-24T08:46:46.959" v="66658"/>
          <ac:spMkLst>
            <pc:docMk/>
            <pc:sldMk cId="3591700787" sldId="2147478562"/>
            <ac:spMk id="448" creationId="{C01C4231-7BBC-7CAD-F2AD-D61E6A72416E}"/>
          </ac:spMkLst>
        </pc:spChg>
        <pc:spChg chg="add del mod">
          <ac:chgData name="Steiner Andreas 6206 ED" userId="e6377c33-a923-4f14-8587-531c474c7b48" providerId="ADAL" clId="{6ECD27E6-B224-41CD-B4E0-E297462320DD}" dt="2023-11-24T08:46:49.087" v="66813"/>
          <ac:spMkLst>
            <pc:docMk/>
            <pc:sldMk cId="3591700787" sldId="2147478562"/>
            <ac:spMk id="449" creationId="{D790F699-8568-77E4-8C83-382BE2B726A6}"/>
          </ac:spMkLst>
        </pc:spChg>
        <pc:spChg chg="add del mod">
          <ac:chgData name="Steiner Andreas 6206 ED" userId="e6377c33-a923-4f14-8587-531c474c7b48" providerId="ADAL" clId="{6ECD27E6-B224-41CD-B4E0-E297462320DD}" dt="2023-11-24T08:46:51.149" v="66968"/>
          <ac:spMkLst>
            <pc:docMk/>
            <pc:sldMk cId="3591700787" sldId="2147478562"/>
            <ac:spMk id="450" creationId="{DF96D9B1-9F8C-CAB2-931E-0A80FAFD0A90}"/>
          </ac:spMkLst>
        </pc:spChg>
        <pc:spChg chg="add del mod">
          <ac:chgData name="Steiner Andreas 6206 ED" userId="e6377c33-a923-4f14-8587-531c474c7b48" providerId="ADAL" clId="{6ECD27E6-B224-41CD-B4E0-E297462320DD}" dt="2023-11-24T08:46:53.171" v="67123"/>
          <ac:spMkLst>
            <pc:docMk/>
            <pc:sldMk cId="3591700787" sldId="2147478562"/>
            <ac:spMk id="451" creationId="{B4BB4D2B-1698-4C0F-F7C3-1D48FB89EA72}"/>
          </ac:spMkLst>
        </pc:spChg>
        <pc:spChg chg="add del mod">
          <ac:chgData name="Steiner Andreas 6206 ED" userId="e6377c33-a923-4f14-8587-531c474c7b48" providerId="ADAL" clId="{6ECD27E6-B224-41CD-B4E0-E297462320DD}" dt="2023-11-24T08:46:55.176" v="67278"/>
          <ac:spMkLst>
            <pc:docMk/>
            <pc:sldMk cId="3591700787" sldId="2147478562"/>
            <ac:spMk id="452" creationId="{B99E311E-6C5B-4E47-99C3-022511EDAA10}"/>
          </ac:spMkLst>
        </pc:spChg>
        <pc:spChg chg="add del mod">
          <ac:chgData name="Steiner Andreas 6206 ED" userId="e6377c33-a923-4f14-8587-531c474c7b48" providerId="ADAL" clId="{6ECD27E6-B224-41CD-B4E0-E297462320DD}" dt="2023-11-24T08:46:57.111" v="67433"/>
          <ac:spMkLst>
            <pc:docMk/>
            <pc:sldMk cId="3591700787" sldId="2147478562"/>
            <ac:spMk id="453" creationId="{948A8006-D049-4A6D-45BB-8B9BDC336201}"/>
          </ac:spMkLst>
        </pc:spChg>
        <pc:spChg chg="add del mod">
          <ac:chgData name="Steiner Andreas 6206 ED" userId="e6377c33-a923-4f14-8587-531c474c7b48" providerId="ADAL" clId="{6ECD27E6-B224-41CD-B4E0-E297462320DD}" dt="2023-11-24T08:46:58.987" v="67588"/>
          <ac:spMkLst>
            <pc:docMk/>
            <pc:sldMk cId="3591700787" sldId="2147478562"/>
            <ac:spMk id="454" creationId="{5F9526CC-A44D-C02F-891C-1939E3E588FB}"/>
          </ac:spMkLst>
        </pc:spChg>
        <pc:spChg chg="add del mod">
          <ac:chgData name="Steiner Andreas 6206 ED" userId="e6377c33-a923-4f14-8587-531c474c7b48" providerId="ADAL" clId="{6ECD27E6-B224-41CD-B4E0-E297462320DD}" dt="2023-11-24T08:47:01.096" v="67743"/>
          <ac:spMkLst>
            <pc:docMk/>
            <pc:sldMk cId="3591700787" sldId="2147478562"/>
            <ac:spMk id="455" creationId="{508F91DD-E662-AE2C-0433-27088F277563}"/>
          </ac:spMkLst>
        </pc:spChg>
        <pc:spChg chg="add del mod">
          <ac:chgData name="Steiner Andreas 6206 ED" userId="e6377c33-a923-4f14-8587-531c474c7b48" providerId="ADAL" clId="{6ECD27E6-B224-41CD-B4E0-E297462320DD}" dt="2023-11-24T08:47:03.306" v="67898"/>
          <ac:spMkLst>
            <pc:docMk/>
            <pc:sldMk cId="3591700787" sldId="2147478562"/>
            <ac:spMk id="456" creationId="{440F1F00-E247-0C2E-8B6B-00B0EBFCD8F5}"/>
          </ac:spMkLst>
        </pc:spChg>
        <pc:spChg chg="add del mod">
          <ac:chgData name="Steiner Andreas 6206 ED" userId="e6377c33-a923-4f14-8587-531c474c7b48" providerId="ADAL" clId="{6ECD27E6-B224-41CD-B4E0-E297462320DD}" dt="2023-11-24T08:47:05.235" v="68053"/>
          <ac:spMkLst>
            <pc:docMk/>
            <pc:sldMk cId="3591700787" sldId="2147478562"/>
            <ac:spMk id="457" creationId="{5585D577-462A-0458-1C02-853804EA4F10}"/>
          </ac:spMkLst>
        </pc:spChg>
        <pc:spChg chg="add del mod">
          <ac:chgData name="Steiner Andreas 6206 ED" userId="e6377c33-a923-4f14-8587-531c474c7b48" providerId="ADAL" clId="{6ECD27E6-B224-41CD-B4E0-E297462320DD}" dt="2023-11-24T08:47:07.010" v="68208"/>
          <ac:spMkLst>
            <pc:docMk/>
            <pc:sldMk cId="3591700787" sldId="2147478562"/>
            <ac:spMk id="458" creationId="{4409B082-A639-BC32-4E8B-134F7286A101}"/>
          </ac:spMkLst>
        </pc:spChg>
        <pc:spChg chg="add del mod">
          <ac:chgData name="Steiner Andreas 6206 ED" userId="e6377c33-a923-4f14-8587-531c474c7b48" providerId="ADAL" clId="{6ECD27E6-B224-41CD-B4E0-E297462320DD}" dt="2023-11-24T08:47:08.919" v="68363"/>
          <ac:spMkLst>
            <pc:docMk/>
            <pc:sldMk cId="3591700787" sldId="2147478562"/>
            <ac:spMk id="459" creationId="{AE87B0F9-7490-E7FA-C096-2BA166DEA098}"/>
          </ac:spMkLst>
        </pc:spChg>
        <pc:spChg chg="add del mod">
          <ac:chgData name="Steiner Andreas 6206 ED" userId="e6377c33-a923-4f14-8587-531c474c7b48" providerId="ADAL" clId="{6ECD27E6-B224-41CD-B4E0-E297462320DD}" dt="2023-11-24T08:47:10.792" v="68518"/>
          <ac:spMkLst>
            <pc:docMk/>
            <pc:sldMk cId="3591700787" sldId="2147478562"/>
            <ac:spMk id="460" creationId="{048ABE37-B116-8FB1-392A-D310D894CA03}"/>
          </ac:spMkLst>
        </pc:spChg>
        <pc:spChg chg="add del mod">
          <ac:chgData name="Steiner Andreas 6206 ED" userId="e6377c33-a923-4f14-8587-531c474c7b48" providerId="ADAL" clId="{6ECD27E6-B224-41CD-B4E0-E297462320DD}" dt="2023-11-24T08:47:12.677" v="68673"/>
          <ac:spMkLst>
            <pc:docMk/>
            <pc:sldMk cId="3591700787" sldId="2147478562"/>
            <ac:spMk id="461" creationId="{D2EA601A-4888-05FC-8598-B01E44F64607}"/>
          </ac:spMkLst>
        </pc:spChg>
        <pc:spChg chg="add del mod">
          <ac:chgData name="Steiner Andreas 6206 ED" userId="e6377c33-a923-4f14-8587-531c474c7b48" providerId="ADAL" clId="{6ECD27E6-B224-41CD-B4E0-E297462320DD}" dt="2023-11-24T08:47:14.847" v="68828"/>
          <ac:spMkLst>
            <pc:docMk/>
            <pc:sldMk cId="3591700787" sldId="2147478562"/>
            <ac:spMk id="462" creationId="{55F8B839-96EC-1357-BADF-ABC3BF16647B}"/>
          </ac:spMkLst>
        </pc:spChg>
        <pc:spChg chg="add del mod">
          <ac:chgData name="Steiner Andreas 6206 ED" userId="e6377c33-a923-4f14-8587-531c474c7b48" providerId="ADAL" clId="{6ECD27E6-B224-41CD-B4E0-E297462320DD}" dt="2023-11-24T08:47:16.788" v="68983"/>
          <ac:spMkLst>
            <pc:docMk/>
            <pc:sldMk cId="3591700787" sldId="2147478562"/>
            <ac:spMk id="463" creationId="{27F15B74-F375-FE28-3B82-402FA76F2094}"/>
          </ac:spMkLst>
        </pc:spChg>
        <pc:spChg chg="add del mod">
          <ac:chgData name="Steiner Andreas 6206 ED" userId="e6377c33-a923-4f14-8587-531c474c7b48" providerId="ADAL" clId="{6ECD27E6-B224-41CD-B4E0-E297462320DD}" dt="2023-11-24T08:47:18.746" v="69138"/>
          <ac:spMkLst>
            <pc:docMk/>
            <pc:sldMk cId="3591700787" sldId="2147478562"/>
            <ac:spMk id="464" creationId="{31C50583-8858-6C3A-6C0F-C41AE58B1B44}"/>
          </ac:spMkLst>
        </pc:spChg>
        <pc:spChg chg="add del mod">
          <ac:chgData name="Steiner Andreas 6206 ED" userId="e6377c33-a923-4f14-8587-531c474c7b48" providerId="ADAL" clId="{6ECD27E6-B224-41CD-B4E0-E297462320DD}" dt="2023-11-24T08:47:20.696" v="69293"/>
          <ac:spMkLst>
            <pc:docMk/>
            <pc:sldMk cId="3591700787" sldId="2147478562"/>
            <ac:spMk id="465" creationId="{101C6CFC-BFFC-91EE-0858-BB19F4AD119A}"/>
          </ac:spMkLst>
        </pc:spChg>
        <pc:spChg chg="add del mod">
          <ac:chgData name="Steiner Andreas 6206 ED" userId="e6377c33-a923-4f14-8587-531c474c7b48" providerId="ADAL" clId="{6ECD27E6-B224-41CD-B4E0-E297462320DD}" dt="2023-11-24T08:47:23.171" v="69448"/>
          <ac:spMkLst>
            <pc:docMk/>
            <pc:sldMk cId="3591700787" sldId="2147478562"/>
            <ac:spMk id="466" creationId="{986F4DDB-BEF3-7FCB-98F5-98582A3EFA12}"/>
          </ac:spMkLst>
        </pc:spChg>
        <pc:spChg chg="add del mod">
          <ac:chgData name="Steiner Andreas 6206 ED" userId="e6377c33-a923-4f14-8587-531c474c7b48" providerId="ADAL" clId="{6ECD27E6-B224-41CD-B4E0-E297462320DD}" dt="2023-11-24T08:47:25.825" v="69603"/>
          <ac:spMkLst>
            <pc:docMk/>
            <pc:sldMk cId="3591700787" sldId="2147478562"/>
            <ac:spMk id="467" creationId="{84E23C54-6658-7054-848B-371BD0BDB59D}"/>
          </ac:spMkLst>
        </pc:spChg>
        <pc:spChg chg="add del mod">
          <ac:chgData name="Steiner Andreas 6206 ED" userId="e6377c33-a923-4f14-8587-531c474c7b48" providerId="ADAL" clId="{6ECD27E6-B224-41CD-B4E0-E297462320DD}" dt="2023-11-24T08:47:27.988" v="69758"/>
          <ac:spMkLst>
            <pc:docMk/>
            <pc:sldMk cId="3591700787" sldId="2147478562"/>
            <ac:spMk id="468" creationId="{FD44986A-6662-836A-ECB1-A52289037135}"/>
          </ac:spMkLst>
        </pc:spChg>
        <pc:spChg chg="add del mod">
          <ac:chgData name="Steiner Andreas 6206 ED" userId="e6377c33-a923-4f14-8587-531c474c7b48" providerId="ADAL" clId="{6ECD27E6-B224-41CD-B4E0-E297462320DD}" dt="2023-11-24T08:47:30.022" v="69913"/>
          <ac:spMkLst>
            <pc:docMk/>
            <pc:sldMk cId="3591700787" sldId="2147478562"/>
            <ac:spMk id="469" creationId="{54C865BC-267D-F117-F9EC-FC593D5AFBA9}"/>
          </ac:spMkLst>
        </pc:spChg>
        <pc:spChg chg="add del mod">
          <ac:chgData name="Steiner Andreas 6206 ED" userId="e6377c33-a923-4f14-8587-531c474c7b48" providerId="ADAL" clId="{6ECD27E6-B224-41CD-B4E0-E297462320DD}" dt="2023-11-24T08:47:32.015" v="70068"/>
          <ac:spMkLst>
            <pc:docMk/>
            <pc:sldMk cId="3591700787" sldId="2147478562"/>
            <ac:spMk id="470" creationId="{6F9BB624-6A8E-C9E1-0FAA-3475D5643C40}"/>
          </ac:spMkLst>
        </pc:spChg>
        <pc:spChg chg="add del mod">
          <ac:chgData name="Steiner Andreas 6206 ED" userId="e6377c33-a923-4f14-8587-531c474c7b48" providerId="ADAL" clId="{6ECD27E6-B224-41CD-B4E0-E297462320DD}" dt="2023-11-24T08:47:33.974" v="70223"/>
          <ac:spMkLst>
            <pc:docMk/>
            <pc:sldMk cId="3591700787" sldId="2147478562"/>
            <ac:spMk id="471" creationId="{20B77183-0462-5099-796D-72836E462AA4}"/>
          </ac:spMkLst>
        </pc:spChg>
        <pc:spChg chg="add del mod">
          <ac:chgData name="Steiner Andreas 6206 ED" userId="e6377c33-a923-4f14-8587-531c474c7b48" providerId="ADAL" clId="{6ECD27E6-B224-41CD-B4E0-E297462320DD}" dt="2023-11-24T08:47:36.140" v="70378"/>
          <ac:spMkLst>
            <pc:docMk/>
            <pc:sldMk cId="3591700787" sldId="2147478562"/>
            <ac:spMk id="472" creationId="{DEE556E7-0DFC-AB0C-0A2E-9EE35A9A0188}"/>
          </ac:spMkLst>
        </pc:spChg>
        <pc:spChg chg="add del mod">
          <ac:chgData name="Steiner Andreas 6206 ED" userId="e6377c33-a923-4f14-8587-531c474c7b48" providerId="ADAL" clId="{6ECD27E6-B224-41CD-B4E0-E297462320DD}" dt="2023-11-24T08:47:38.242" v="70533"/>
          <ac:spMkLst>
            <pc:docMk/>
            <pc:sldMk cId="3591700787" sldId="2147478562"/>
            <ac:spMk id="473" creationId="{9C66A245-81CA-243E-CC54-6EDB227E2544}"/>
          </ac:spMkLst>
        </pc:spChg>
        <pc:spChg chg="add del mod">
          <ac:chgData name="Steiner Andreas 6206 ED" userId="e6377c33-a923-4f14-8587-531c474c7b48" providerId="ADAL" clId="{6ECD27E6-B224-41CD-B4E0-E297462320DD}" dt="2023-11-24T08:47:40.330" v="70688"/>
          <ac:spMkLst>
            <pc:docMk/>
            <pc:sldMk cId="3591700787" sldId="2147478562"/>
            <ac:spMk id="474" creationId="{B0FE7DBE-AF7A-DCF5-0E5E-612B8B134478}"/>
          </ac:spMkLst>
        </pc:spChg>
        <pc:spChg chg="add del mod">
          <ac:chgData name="Steiner Andreas 6206 ED" userId="e6377c33-a923-4f14-8587-531c474c7b48" providerId="ADAL" clId="{6ECD27E6-B224-41CD-B4E0-E297462320DD}" dt="2023-11-24T08:47:42.225" v="70843"/>
          <ac:spMkLst>
            <pc:docMk/>
            <pc:sldMk cId="3591700787" sldId="2147478562"/>
            <ac:spMk id="475" creationId="{124C8671-0485-23A4-16C5-1FC4CFF1FE7D}"/>
          </ac:spMkLst>
        </pc:spChg>
        <pc:spChg chg="add del mod">
          <ac:chgData name="Steiner Andreas 6206 ED" userId="e6377c33-a923-4f14-8587-531c474c7b48" providerId="ADAL" clId="{6ECD27E6-B224-41CD-B4E0-E297462320DD}" dt="2023-11-24T08:47:44.157" v="70998"/>
          <ac:spMkLst>
            <pc:docMk/>
            <pc:sldMk cId="3591700787" sldId="2147478562"/>
            <ac:spMk id="476" creationId="{7AB35DCC-7E65-2C89-BE0D-2B5E9F45508E}"/>
          </ac:spMkLst>
        </pc:spChg>
        <pc:spChg chg="add del mod">
          <ac:chgData name="Steiner Andreas 6206 ED" userId="e6377c33-a923-4f14-8587-531c474c7b48" providerId="ADAL" clId="{6ECD27E6-B224-41CD-B4E0-E297462320DD}" dt="2023-11-24T08:47:46.109" v="71153"/>
          <ac:spMkLst>
            <pc:docMk/>
            <pc:sldMk cId="3591700787" sldId="2147478562"/>
            <ac:spMk id="477" creationId="{3C62774C-6E20-B017-6B6B-D455CB4AAA2B}"/>
          </ac:spMkLst>
        </pc:spChg>
        <pc:spChg chg="add del mod">
          <ac:chgData name="Steiner Andreas 6206 ED" userId="e6377c33-a923-4f14-8587-531c474c7b48" providerId="ADAL" clId="{6ECD27E6-B224-41CD-B4E0-E297462320DD}" dt="2023-11-24T08:47:48.232" v="71308"/>
          <ac:spMkLst>
            <pc:docMk/>
            <pc:sldMk cId="3591700787" sldId="2147478562"/>
            <ac:spMk id="478" creationId="{E5B5FA4E-897C-0CAA-98EA-17FF14725AD0}"/>
          </ac:spMkLst>
        </pc:spChg>
        <pc:spChg chg="add del mod">
          <ac:chgData name="Steiner Andreas 6206 ED" userId="e6377c33-a923-4f14-8587-531c474c7b48" providerId="ADAL" clId="{6ECD27E6-B224-41CD-B4E0-E297462320DD}" dt="2023-11-24T08:47:50.298" v="71463"/>
          <ac:spMkLst>
            <pc:docMk/>
            <pc:sldMk cId="3591700787" sldId="2147478562"/>
            <ac:spMk id="479" creationId="{9331104E-045C-28C8-E003-732F3D1C621D}"/>
          </ac:spMkLst>
        </pc:spChg>
        <pc:spChg chg="add del mod">
          <ac:chgData name="Steiner Andreas 6206 ED" userId="e6377c33-a923-4f14-8587-531c474c7b48" providerId="ADAL" clId="{6ECD27E6-B224-41CD-B4E0-E297462320DD}" dt="2023-11-24T08:47:52.191" v="71618"/>
          <ac:spMkLst>
            <pc:docMk/>
            <pc:sldMk cId="3591700787" sldId="2147478562"/>
            <ac:spMk id="480" creationId="{FD99C7D7-40B7-87F5-69F2-02A182F1AD3C}"/>
          </ac:spMkLst>
        </pc:spChg>
        <pc:spChg chg="add del mod">
          <ac:chgData name="Steiner Andreas 6206 ED" userId="e6377c33-a923-4f14-8587-531c474c7b48" providerId="ADAL" clId="{6ECD27E6-B224-41CD-B4E0-E297462320DD}" dt="2023-11-24T08:47:54.122" v="71773"/>
          <ac:spMkLst>
            <pc:docMk/>
            <pc:sldMk cId="3591700787" sldId="2147478562"/>
            <ac:spMk id="481" creationId="{18E1EC34-7436-0B25-41A3-1440D2F96820}"/>
          </ac:spMkLst>
        </pc:spChg>
        <pc:spChg chg="add del mod">
          <ac:chgData name="Steiner Andreas 6206 ED" userId="e6377c33-a923-4f14-8587-531c474c7b48" providerId="ADAL" clId="{6ECD27E6-B224-41CD-B4E0-E297462320DD}" dt="2023-11-24T08:47:55.995" v="71928"/>
          <ac:spMkLst>
            <pc:docMk/>
            <pc:sldMk cId="3591700787" sldId="2147478562"/>
            <ac:spMk id="482" creationId="{175E9152-0A7A-878F-14CA-39433A1779D0}"/>
          </ac:spMkLst>
        </pc:spChg>
        <pc:spChg chg="add del mod">
          <ac:chgData name="Steiner Andreas 6206 ED" userId="e6377c33-a923-4f14-8587-531c474c7b48" providerId="ADAL" clId="{6ECD27E6-B224-41CD-B4E0-E297462320DD}" dt="2023-11-24T08:47:57.982" v="72083"/>
          <ac:spMkLst>
            <pc:docMk/>
            <pc:sldMk cId="3591700787" sldId="2147478562"/>
            <ac:spMk id="483" creationId="{E9F15240-F48C-D7F4-152F-4C456D698288}"/>
          </ac:spMkLst>
        </pc:spChg>
        <pc:spChg chg="add del mod">
          <ac:chgData name="Steiner Andreas 6206 ED" userId="e6377c33-a923-4f14-8587-531c474c7b48" providerId="ADAL" clId="{6ECD27E6-B224-41CD-B4E0-E297462320DD}" dt="2023-11-24T08:48:00.128" v="72238"/>
          <ac:spMkLst>
            <pc:docMk/>
            <pc:sldMk cId="3591700787" sldId="2147478562"/>
            <ac:spMk id="484" creationId="{D23CE054-266D-29C9-5027-6D35685B1956}"/>
          </ac:spMkLst>
        </pc:spChg>
        <pc:spChg chg="add del mod">
          <ac:chgData name="Steiner Andreas 6206 ED" userId="e6377c33-a923-4f14-8587-531c474c7b48" providerId="ADAL" clId="{6ECD27E6-B224-41CD-B4E0-E297462320DD}" dt="2023-11-24T08:48:02.256" v="72393"/>
          <ac:spMkLst>
            <pc:docMk/>
            <pc:sldMk cId="3591700787" sldId="2147478562"/>
            <ac:spMk id="485" creationId="{67C890D3-7532-4676-ADD9-EAA5522F4A01}"/>
          </ac:spMkLst>
        </pc:spChg>
        <pc:spChg chg="add del mod">
          <ac:chgData name="Steiner Andreas 6206 ED" userId="e6377c33-a923-4f14-8587-531c474c7b48" providerId="ADAL" clId="{6ECD27E6-B224-41CD-B4E0-E297462320DD}" dt="2023-11-24T08:48:04.272" v="72548"/>
          <ac:spMkLst>
            <pc:docMk/>
            <pc:sldMk cId="3591700787" sldId="2147478562"/>
            <ac:spMk id="486" creationId="{FD64303C-B699-23D3-CB26-886269822382}"/>
          </ac:spMkLst>
        </pc:spChg>
        <pc:spChg chg="add del mod">
          <ac:chgData name="Steiner Andreas 6206 ED" userId="e6377c33-a923-4f14-8587-531c474c7b48" providerId="ADAL" clId="{6ECD27E6-B224-41CD-B4E0-E297462320DD}" dt="2023-11-24T08:48:06.531" v="72703"/>
          <ac:spMkLst>
            <pc:docMk/>
            <pc:sldMk cId="3591700787" sldId="2147478562"/>
            <ac:spMk id="487" creationId="{1918A010-0CB7-DEEC-14AC-3EB2A0E006C2}"/>
          </ac:spMkLst>
        </pc:spChg>
        <pc:spChg chg="add del mod">
          <ac:chgData name="Steiner Andreas 6206 ED" userId="e6377c33-a923-4f14-8587-531c474c7b48" providerId="ADAL" clId="{6ECD27E6-B224-41CD-B4E0-E297462320DD}" dt="2023-11-24T08:48:08.625" v="72858"/>
          <ac:spMkLst>
            <pc:docMk/>
            <pc:sldMk cId="3591700787" sldId="2147478562"/>
            <ac:spMk id="488" creationId="{9AD9E890-A5FB-15E1-1DD3-25661D1E1455}"/>
          </ac:spMkLst>
        </pc:spChg>
        <pc:spChg chg="add del mod">
          <ac:chgData name="Steiner Andreas 6206 ED" userId="e6377c33-a923-4f14-8587-531c474c7b48" providerId="ADAL" clId="{6ECD27E6-B224-41CD-B4E0-E297462320DD}" dt="2023-11-24T08:48:10.744" v="73013"/>
          <ac:spMkLst>
            <pc:docMk/>
            <pc:sldMk cId="3591700787" sldId="2147478562"/>
            <ac:spMk id="489" creationId="{2911EA3C-6778-F9BC-5851-5C1065FD8B2E}"/>
          </ac:spMkLst>
        </pc:spChg>
        <pc:spChg chg="add del mod">
          <ac:chgData name="Steiner Andreas 6206 ED" userId="e6377c33-a923-4f14-8587-531c474c7b48" providerId="ADAL" clId="{6ECD27E6-B224-41CD-B4E0-E297462320DD}" dt="2023-11-24T08:48:12.660" v="73168"/>
          <ac:spMkLst>
            <pc:docMk/>
            <pc:sldMk cId="3591700787" sldId="2147478562"/>
            <ac:spMk id="490" creationId="{5B7341D1-5518-452D-DE02-AD62B836E5EA}"/>
          </ac:spMkLst>
        </pc:spChg>
        <pc:spChg chg="add del mod">
          <ac:chgData name="Steiner Andreas 6206 ED" userId="e6377c33-a923-4f14-8587-531c474c7b48" providerId="ADAL" clId="{6ECD27E6-B224-41CD-B4E0-E297462320DD}" dt="2023-11-24T08:48:15.306" v="73323"/>
          <ac:spMkLst>
            <pc:docMk/>
            <pc:sldMk cId="3591700787" sldId="2147478562"/>
            <ac:spMk id="491" creationId="{CB93FF1F-E876-B0CA-25F3-E77847AA0841}"/>
          </ac:spMkLst>
        </pc:spChg>
        <pc:spChg chg="add del mod">
          <ac:chgData name="Steiner Andreas 6206 ED" userId="e6377c33-a923-4f14-8587-531c474c7b48" providerId="ADAL" clId="{6ECD27E6-B224-41CD-B4E0-E297462320DD}" dt="2023-11-24T08:48:18.092" v="73478"/>
          <ac:spMkLst>
            <pc:docMk/>
            <pc:sldMk cId="3591700787" sldId="2147478562"/>
            <ac:spMk id="492" creationId="{40EB4CC0-E821-C829-77E6-89DD98C4E7F7}"/>
          </ac:spMkLst>
        </pc:spChg>
        <pc:spChg chg="add del mod">
          <ac:chgData name="Steiner Andreas 6206 ED" userId="e6377c33-a923-4f14-8587-531c474c7b48" providerId="ADAL" clId="{6ECD27E6-B224-41CD-B4E0-E297462320DD}" dt="2023-11-24T08:48:20.491" v="73633"/>
          <ac:spMkLst>
            <pc:docMk/>
            <pc:sldMk cId="3591700787" sldId="2147478562"/>
            <ac:spMk id="493" creationId="{4CC72FD2-609D-A818-D101-B7E6E36840A9}"/>
          </ac:spMkLst>
        </pc:spChg>
        <pc:spChg chg="add del mod">
          <ac:chgData name="Steiner Andreas 6206 ED" userId="e6377c33-a923-4f14-8587-531c474c7b48" providerId="ADAL" clId="{6ECD27E6-B224-41CD-B4E0-E297462320DD}" dt="2023-11-24T08:48:22.641" v="73788"/>
          <ac:spMkLst>
            <pc:docMk/>
            <pc:sldMk cId="3591700787" sldId="2147478562"/>
            <ac:spMk id="494" creationId="{B7125813-A129-A446-B3C4-4BC79E339418}"/>
          </ac:spMkLst>
        </pc:spChg>
        <pc:spChg chg="add del mod">
          <ac:chgData name="Steiner Andreas 6206 ED" userId="e6377c33-a923-4f14-8587-531c474c7b48" providerId="ADAL" clId="{6ECD27E6-B224-41CD-B4E0-E297462320DD}" dt="2023-11-24T08:48:24.715" v="73943"/>
          <ac:spMkLst>
            <pc:docMk/>
            <pc:sldMk cId="3591700787" sldId="2147478562"/>
            <ac:spMk id="495" creationId="{33448BFB-02EE-25A5-908A-E7BD4C33226A}"/>
          </ac:spMkLst>
        </pc:spChg>
        <pc:spChg chg="add del mod">
          <ac:chgData name="Steiner Andreas 6206 ED" userId="e6377c33-a923-4f14-8587-531c474c7b48" providerId="ADAL" clId="{6ECD27E6-B224-41CD-B4E0-E297462320DD}" dt="2023-11-24T08:48:26.808" v="74098"/>
          <ac:spMkLst>
            <pc:docMk/>
            <pc:sldMk cId="3591700787" sldId="2147478562"/>
            <ac:spMk id="496" creationId="{B2CB622B-C998-6A9E-4F6E-49589100FD6D}"/>
          </ac:spMkLst>
        </pc:spChg>
        <pc:spChg chg="add del mod">
          <ac:chgData name="Steiner Andreas 6206 ED" userId="e6377c33-a923-4f14-8587-531c474c7b48" providerId="ADAL" clId="{6ECD27E6-B224-41CD-B4E0-E297462320DD}" dt="2023-11-24T08:48:28.798" v="74253"/>
          <ac:spMkLst>
            <pc:docMk/>
            <pc:sldMk cId="3591700787" sldId="2147478562"/>
            <ac:spMk id="497" creationId="{5AD61486-B4EF-8EAA-A6CD-EADE7DE4D66A}"/>
          </ac:spMkLst>
        </pc:spChg>
        <pc:spChg chg="add del mod">
          <ac:chgData name="Steiner Andreas 6206 ED" userId="e6377c33-a923-4f14-8587-531c474c7b48" providerId="ADAL" clId="{6ECD27E6-B224-41CD-B4E0-E297462320DD}" dt="2023-11-24T08:48:30.672" v="74408"/>
          <ac:spMkLst>
            <pc:docMk/>
            <pc:sldMk cId="3591700787" sldId="2147478562"/>
            <ac:spMk id="498" creationId="{7D0FDD6B-7251-3A8C-F6DB-38604D1E6205}"/>
          </ac:spMkLst>
        </pc:spChg>
        <pc:spChg chg="add del mod">
          <ac:chgData name="Steiner Andreas 6206 ED" userId="e6377c33-a923-4f14-8587-531c474c7b48" providerId="ADAL" clId="{6ECD27E6-B224-41CD-B4E0-E297462320DD}" dt="2023-11-24T08:48:32.664" v="74563"/>
          <ac:spMkLst>
            <pc:docMk/>
            <pc:sldMk cId="3591700787" sldId="2147478562"/>
            <ac:spMk id="499" creationId="{6D803493-89C1-CAF6-2D2A-5B09FFB3FFB0}"/>
          </ac:spMkLst>
        </pc:spChg>
        <pc:spChg chg="add del mod">
          <ac:chgData name="Steiner Andreas 6206 ED" userId="e6377c33-a923-4f14-8587-531c474c7b48" providerId="ADAL" clId="{6ECD27E6-B224-41CD-B4E0-E297462320DD}" dt="2023-11-24T08:48:34.944" v="74718"/>
          <ac:spMkLst>
            <pc:docMk/>
            <pc:sldMk cId="3591700787" sldId="2147478562"/>
            <ac:spMk id="500" creationId="{6248C2DB-2C95-505C-0737-87FD9C848AA8}"/>
          </ac:spMkLst>
        </pc:spChg>
        <pc:spChg chg="add del mod">
          <ac:chgData name="Steiner Andreas 6206 ED" userId="e6377c33-a923-4f14-8587-531c474c7b48" providerId="ADAL" clId="{6ECD27E6-B224-41CD-B4E0-E297462320DD}" dt="2023-11-24T08:48:37.080" v="74873"/>
          <ac:spMkLst>
            <pc:docMk/>
            <pc:sldMk cId="3591700787" sldId="2147478562"/>
            <ac:spMk id="501" creationId="{73F00F28-62B8-DF27-1B23-C8B555E17801}"/>
          </ac:spMkLst>
        </pc:spChg>
        <pc:spChg chg="add del mod">
          <ac:chgData name="Steiner Andreas 6206 ED" userId="e6377c33-a923-4f14-8587-531c474c7b48" providerId="ADAL" clId="{6ECD27E6-B224-41CD-B4E0-E297462320DD}" dt="2023-11-24T08:48:39.132" v="75028"/>
          <ac:spMkLst>
            <pc:docMk/>
            <pc:sldMk cId="3591700787" sldId="2147478562"/>
            <ac:spMk id="502" creationId="{BA497EEC-E243-B4C9-81E8-6B48563D1F85}"/>
          </ac:spMkLst>
        </pc:spChg>
        <pc:spChg chg="add del mod">
          <ac:chgData name="Steiner Andreas 6206 ED" userId="e6377c33-a923-4f14-8587-531c474c7b48" providerId="ADAL" clId="{6ECD27E6-B224-41CD-B4E0-E297462320DD}" dt="2023-11-24T08:48:41.362" v="75183"/>
          <ac:spMkLst>
            <pc:docMk/>
            <pc:sldMk cId="3591700787" sldId="2147478562"/>
            <ac:spMk id="503" creationId="{D7F775CD-7B16-EBC6-0B41-9F04967CFB3C}"/>
          </ac:spMkLst>
        </pc:spChg>
        <pc:spChg chg="add del mod">
          <ac:chgData name="Steiner Andreas 6206 ED" userId="e6377c33-a923-4f14-8587-531c474c7b48" providerId="ADAL" clId="{6ECD27E6-B224-41CD-B4E0-E297462320DD}" dt="2023-11-24T08:48:43.752" v="75338"/>
          <ac:spMkLst>
            <pc:docMk/>
            <pc:sldMk cId="3591700787" sldId="2147478562"/>
            <ac:spMk id="504" creationId="{C4D68309-179E-00E4-6878-EA20BCFC8885}"/>
          </ac:spMkLst>
        </pc:spChg>
        <pc:spChg chg="add del mod">
          <ac:chgData name="Steiner Andreas 6206 ED" userId="e6377c33-a923-4f14-8587-531c474c7b48" providerId="ADAL" clId="{6ECD27E6-B224-41CD-B4E0-E297462320DD}" dt="2023-11-24T08:48:46.052" v="75493"/>
          <ac:spMkLst>
            <pc:docMk/>
            <pc:sldMk cId="3591700787" sldId="2147478562"/>
            <ac:spMk id="505" creationId="{A159455E-CBEA-ACC1-068D-C0D0817A4219}"/>
          </ac:spMkLst>
        </pc:spChg>
        <pc:spChg chg="add del mod">
          <ac:chgData name="Steiner Andreas 6206 ED" userId="e6377c33-a923-4f14-8587-531c474c7b48" providerId="ADAL" clId="{6ECD27E6-B224-41CD-B4E0-E297462320DD}" dt="2023-11-24T08:48:48.037" v="75648"/>
          <ac:spMkLst>
            <pc:docMk/>
            <pc:sldMk cId="3591700787" sldId="2147478562"/>
            <ac:spMk id="506" creationId="{DB42A3DB-B7F4-5A95-EFF0-211AAD544E45}"/>
          </ac:spMkLst>
        </pc:spChg>
        <pc:spChg chg="add del mod">
          <ac:chgData name="Steiner Andreas 6206 ED" userId="e6377c33-a923-4f14-8587-531c474c7b48" providerId="ADAL" clId="{6ECD27E6-B224-41CD-B4E0-E297462320DD}" dt="2023-11-24T08:48:50.096" v="75803"/>
          <ac:spMkLst>
            <pc:docMk/>
            <pc:sldMk cId="3591700787" sldId="2147478562"/>
            <ac:spMk id="507" creationId="{02A58696-1C23-A131-91F7-376771A9CDB1}"/>
          </ac:spMkLst>
        </pc:spChg>
        <pc:spChg chg="add del mod">
          <ac:chgData name="Steiner Andreas 6206 ED" userId="e6377c33-a923-4f14-8587-531c474c7b48" providerId="ADAL" clId="{6ECD27E6-B224-41CD-B4E0-E297462320DD}" dt="2023-11-24T08:48:52.274" v="75958"/>
          <ac:spMkLst>
            <pc:docMk/>
            <pc:sldMk cId="3591700787" sldId="2147478562"/>
            <ac:spMk id="508" creationId="{BE111AF5-E69A-BF52-7CBD-EE34EC53D57B}"/>
          </ac:spMkLst>
        </pc:spChg>
        <pc:spChg chg="add del mod">
          <ac:chgData name="Steiner Andreas 6206 ED" userId="e6377c33-a923-4f14-8587-531c474c7b48" providerId="ADAL" clId="{6ECD27E6-B224-41CD-B4E0-E297462320DD}" dt="2023-11-24T08:48:54.133" v="76113"/>
          <ac:spMkLst>
            <pc:docMk/>
            <pc:sldMk cId="3591700787" sldId="2147478562"/>
            <ac:spMk id="509" creationId="{14028318-4D19-719B-1C7F-0621459E828C}"/>
          </ac:spMkLst>
        </pc:spChg>
        <pc:spChg chg="add del mod">
          <ac:chgData name="Steiner Andreas 6206 ED" userId="e6377c33-a923-4f14-8587-531c474c7b48" providerId="ADAL" clId="{6ECD27E6-B224-41CD-B4E0-E297462320DD}" dt="2023-11-24T08:48:56.166" v="76268"/>
          <ac:spMkLst>
            <pc:docMk/>
            <pc:sldMk cId="3591700787" sldId="2147478562"/>
            <ac:spMk id="510" creationId="{25C3F1DD-016F-FBC4-8ECF-E7182C0FB71C}"/>
          </ac:spMkLst>
        </pc:spChg>
        <pc:spChg chg="add del mod">
          <ac:chgData name="Steiner Andreas 6206 ED" userId="e6377c33-a923-4f14-8587-531c474c7b48" providerId="ADAL" clId="{6ECD27E6-B224-41CD-B4E0-E297462320DD}" dt="2023-11-24T08:48:58.084" v="76423"/>
          <ac:spMkLst>
            <pc:docMk/>
            <pc:sldMk cId="3591700787" sldId="2147478562"/>
            <ac:spMk id="511" creationId="{E8D6C1B4-8CCD-33C9-53FB-F9CA8F159DDC}"/>
          </ac:spMkLst>
        </pc:spChg>
        <pc:spChg chg="add del mod">
          <ac:chgData name="Steiner Andreas 6206 ED" userId="e6377c33-a923-4f14-8587-531c474c7b48" providerId="ADAL" clId="{6ECD27E6-B224-41CD-B4E0-E297462320DD}" dt="2023-11-24T08:49:00.164" v="76578"/>
          <ac:spMkLst>
            <pc:docMk/>
            <pc:sldMk cId="3591700787" sldId="2147478562"/>
            <ac:spMk id="512" creationId="{C9C83DC0-1159-8CFB-BB2E-0C84E4584717}"/>
          </ac:spMkLst>
        </pc:spChg>
        <pc:spChg chg="add del mod">
          <ac:chgData name="Steiner Andreas 6206 ED" userId="e6377c33-a923-4f14-8587-531c474c7b48" providerId="ADAL" clId="{6ECD27E6-B224-41CD-B4E0-E297462320DD}" dt="2023-11-24T08:49:02.114" v="76733"/>
          <ac:spMkLst>
            <pc:docMk/>
            <pc:sldMk cId="3591700787" sldId="2147478562"/>
            <ac:spMk id="513" creationId="{889D04C4-05FF-50FC-0BFC-D55D8B833676}"/>
          </ac:spMkLst>
        </pc:spChg>
        <pc:spChg chg="add del mod">
          <ac:chgData name="Steiner Andreas 6206 ED" userId="e6377c33-a923-4f14-8587-531c474c7b48" providerId="ADAL" clId="{6ECD27E6-B224-41CD-B4E0-E297462320DD}" dt="2023-11-24T08:49:04.082" v="76888"/>
          <ac:spMkLst>
            <pc:docMk/>
            <pc:sldMk cId="3591700787" sldId="2147478562"/>
            <ac:spMk id="514" creationId="{AD34A57C-8689-3288-7439-4C1816CCF733}"/>
          </ac:spMkLst>
        </pc:spChg>
        <pc:spChg chg="add del mod">
          <ac:chgData name="Steiner Andreas 6206 ED" userId="e6377c33-a923-4f14-8587-531c474c7b48" providerId="ADAL" clId="{6ECD27E6-B224-41CD-B4E0-E297462320DD}" dt="2023-11-24T08:49:05.995" v="77043"/>
          <ac:spMkLst>
            <pc:docMk/>
            <pc:sldMk cId="3591700787" sldId="2147478562"/>
            <ac:spMk id="515" creationId="{27E0BA19-5FE0-0B92-1A5D-88C69B15FEA3}"/>
          </ac:spMkLst>
        </pc:spChg>
        <pc:spChg chg="add del mod">
          <ac:chgData name="Steiner Andreas 6206 ED" userId="e6377c33-a923-4f14-8587-531c474c7b48" providerId="ADAL" clId="{6ECD27E6-B224-41CD-B4E0-E297462320DD}" dt="2023-11-24T08:49:08.084" v="77198"/>
          <ac:spMkLst>
            <pc:docMk/>
            <pc:sldMk cId="3591700787" sldId="2147478562"/>
            <ac:spMk id="516" creationId="{EA48DDB1-2232-50DF-E110-6BB4CB9451A1}"/>
          </ac:spMkLst>
        </pc:spChg>
        <pc:spChg chg="add del mod">
          <ac:chgData name="Steiner Andreas 6206 ED" userId="e6377c33-a923-4f14-8587-531c474c7b48" providerId="ADAL" clId="{6ECD27E6-B224-41CD-B4E0-E297462320DD}" dt="2023-11-24T08:49:09.976" v="77353"/>
          <ac:spMkLst>
            <pc:docMk/>
            <pc:sldMk cId="3591700787" sldId="2147478562"/>
            <ac:spMk id="517" creationId="{014DAF55-0C0D-7168-C859-77838D49D5A4}"/>
          </ac:spMkLst>
        </pc:spChg>
        <pc:spChg chg="add del mod">
          <ac:chgData name="Steiner Andreas 6206 ED" userId="e6377c33-a923-4f14-8587-531c474c7b48" providerId="ADAL" clId="{6ECD27E6-B224-41CD-B4E0-E297462320DD}" dt="2023-11-24T08:49:11.748" v="77508"/>
          <ac:spMkLst>
            <pc:docMk/>
            <pc:sldMk cId="3591700787" sldId="2147478562"/>
            <ac:spMk id="518" creationId="{FDEC1A3D-5129-8C2E-0F22-7717426AE2B6}"/>
          </ac:spMkLst>
        </pc:spChg>
        <pc:spChg chg="add del mod">
          <ac:chgData name="Steiner Andreas 6206 ED" userId="e6377c33-a923-4f14-8587-531c474c7b48" providerId="ADAL" clId="{6ECD27E6-B224-41CD-B4E0-E297462320DD}" dt="2023-11-24T08:49:13.875" v="77663"/>
          <ac:spMkLst>
            <pc:docMk/>
            <pc:sldMk cId="3591700787" sldId="2147478562"/>
            <ac:spMk id="519" creationId="{81729ED2-899E-2037-9875-82460825D2B6}"/>
          </ac:spMkLst>
        </pc:spChg>
        <pc:spChg chg="add del mod">
          <ac:chgData name="Steiner Andreas 6206 ED" userId="e6377c33-a923-4f14-8587-531c474c7b48" providerId="ADAL" clId="{6ECD27E6-B224-41CD-B4E0-E297462320DD}" dt="2023-11-24T08:49:15.840" v="77818"/>
          <ac:spMkLst>
            <pc:docMk/>
            <pc:sldMk cId="3591700787" sldId="2147478562"/>
            <ac:spMk id="520" creationId="{446E1149-A2F2-D6E3-E25F-AFE233151E7E}"/>
          </ac:spMkLst>
        </pc:spChg>
        <pc:spChg chg="add del mod">
          <ac:chgData name="Steiner Andreas 6206 ED" userId="e6377c33-a923-4f14-8587-531c474c7b48" providerId="ADAL" clId="{6ECD27E6-B224-41CD-B4E0-E297462320DD}" dt="2023-11-24T08:49:17.915" v="77973"/>
          <ac:spMkLst>
            <pc:docMk/>
            <pc:sldMk cId="3591700787" sldId="2147478562"/>
            <ac:spMk id="521" creationId="{ADD06874-4E22-0509-7230-A68DEA4B2C25}"/>
          </ac:spMkLst>
        </pc:spChg>
        <pc:spChg chg="add del mod">
          <ac:chgData name="Steiner Andreas 6206 ED" userId="e6377c33-a923-4f14-8587-531c474c7b48" providerId="ADAL" clId="{6ECD27E6-B224-41CD-B4E0-E297462320DD}" dt="2023-11-24T08:49:19.924" v="78128"/>
          <ac:spMkLst>
            <pc:docMk/>
            <pc:sldMk cId="3591700787" sldId="2147478562"/>
            <ac:spMk id="522" creationId="{8383FE57-F6A1-81B5-AAFD-3E9EBF01F80B}"/>
          </ac:spMkLst>
        </pc:spChg>
        <pc:spChg chg="add del mod">
          <ac:chgData name="Steiner Andreas 6206 ED" userId="e6377c33-a923-4f14-8587-531c474c7b48" providerId="ADAL" clId="{6ECD27E6-B224-41CD-B4E0-E297462320DD}" dt="2023-11-24T08:49:21.797" v="78283"/>
          <ac:spMkLst>
            <pc:docMk/>
            <pc:sldMk cId="3591700787" sldId="2147478562"/>
            <ac:spMk id="523" creationId="{9525DB9D-5A0D-622B-3391-5E0FB62E9CB4}"/>
          </ac:spMkLst>
        </pc:spChg>
        <pc:spChg chg="add del mod">
          <ac:chgData name="Steiner Andreas 6206 ED" userId="e6377c33-a923-4f14-8587-531c474c7b48" providerId="ADAL" clId="{6ECD27E6-B224-41CD-B4E0-E297462320DD}" dt="2023-11-24T08:49:23.732" v="78438"/>
          <ac:spMkLst>
            <pc:docMk/>
            <pc:sldMk cId="3591700787" sldId="2147478562"/>
            <ac:spMk id="524" creationId="{2E67D4EA-E796-9811-2D39-21AF1DCA1E9B}"/>
          </ac:spMkLst>
        </pc:spChg>
        <pc:spChg chg="add del mod">
          <ac:chgData name="Steiner Andreas 6206 ED" userId="e6377c33-a923-4f14-8587-531c474c7b48" providerId="ADAL" clId="{6ECD27E6-B224-41CD-B4E0-E297462320DD}" dt="2023-11-24T08:49:25.609" v="78593"/>
          <ac:spMkLst>
            <pc:docMk/>
            <pc:sldMk cId="3591700787" sldId="2147478562"/>
            <ac:spMk id="525" creationId="{5EB193DB-F2D9-95F8-239B-39289F859173}"/>
          </ac:spMkLst>
        </pc:spChg>
        <pc:spChg chg="add del mod">
          <ac:chgData name="Steiner Andreas 6206 ED" userId="e6377c33-a923-4f14-8587-531c474c7b48" providerId="ADAL" clId="{6ECD27E6-B224-41CD-B4E0-E297462320DD}" dt="2023-11-24T08:49:27.689" v="78748"/>
          <ac:spMkLst>
            <pc:docMk/>
            <pc:sldMk cId="3591700787" sldId="2147478562"/>
            <ac:spMk id="526" creationId="{845A1B1E-D48E-F821-383E-1183937201B1}"/>
          </ac:spMkLst>
        </pc:spChg>
        <pc:spChg chg="add del mod">
          <ac:chgData name="Steiner Andreas 6206 ED" userId="e6377c33-a923-4f14-8587-531c474c7b48" providerId="ADAL" clId="{6ECD27E6-B224-41CD-B4E0-E297462320DD}" dt="2023-11-24T08:49:29.740" v="78903"/>
          <ac:spMkLst>
            <pc:docMk/>
            <pc:sldMk cId="3591700787" sldId="2147478562"/>
            <ac:spMk id="527" creationId="{F5D7ABC2-2B6F-6A14-C24D-C78BD780605D}"/>
          </ac:spMkLst>
        </pc:spChg>
        <pc:spChg chg="add del mod">
          <ac:chgData name="Steiner Andreas 6206 ED" userId="e6377c33-a923-4f14-8587-531c474c7b48" providerId="ADAL" clId="{6ECD27E6-B224-41CD-B4E0-E297462320DD}" dt="2023-11-24T08:49:31.617" v="79058"/>
          <ac:spMkLst>
            <pc:docMk/>
            <pc:sldMk cId="3591700787" sldId="2147478562"/>
            <ac:spMk id="528" creationId="{46A889D8-9B4C-21B7-9D26-25CAA5C382E1}"/>
          </ac:spMkLst>
        </pc:spChg>
        <pc:spChg chg="add del mod">
          <ac:chgData name="Steiner Andreas 6206 ED" userId="e6377c33-a923-4f14-8587-531c474c7b48" providerId="ADAL" clId="{6ECD27E6-B224-41CD-B4E0-E297462320DD}" dt="2023-11-24T08:49:33.537" v="79213"/>
          <ac:spMkLst>
            <pc:docMk/>
            <pc:sldMk cId="3591700787" sldId="2147478562"/>
            <ac:spMk id="529" creationId="{0D78EFC9-9DAE-7E56-902B-7F553A92BDA8}"/>
          </ac:spMkLst>
        </pc:spChg>
        <pc:spChg chg="add del mod">
          <ac:chgData name="Steiner Andreas 6206 ED" userId="e6377c33-a923-4f14-8587-531c474c7b48" providerId="ADAL" clId="{6ECD27E6-B224-41CD-B4E0-E297462320DD}" dt="2023-11-24T08:49:35.425" v="79368"/>
          <ac:spMkLst>
            <pc:docMk/>
            <pc:sldMk cId="3591700787" sldId="2147478562"/>
            <ac:spMk id="530" creationId="{77FF05C0-7D5D-7B5F-BD3A-86B9BB6A74E4}"/>
          </ac:spMkLst>
        </pc:spChg>
        <pc:spChg chg="add del mod">
          <ac:chgData name="Steiner Andreas 6206 ED" userId="e6377c33-a923-4f14-8587-531c474c7b48" providerId="ADAL" clId="{6ECD27E6-B224-41CD-B4E0-E297462320DD}" dt="2023-11-24T08:49:37.272" v="79523"/>
          <ac:spMkLst>
            <pc:docMk/>
            <pc:sldMk cId="3591700787" sldId="2147478562"/>
            <ac:spMk id="531" creationId="{8B538BCC-5C7D-4B04-AF7C-E4E189865F29}"/>
          </ac:spMkLst>
        </pc:spChg>
        <pc:spChg chg="add del mod">
          <ac:chgData name="Steiner Andreas 6206 ED" userId="e6377c33-a923-4f14-8587-531c474c7b48" providerId="ADAL" clId="{6ECD27E6-B224-41CD-B4E0-E297462320DD}" dt="2023-11-24T08:49:39.217" v="79678"/>
          <ac:spMkLst>
            <pc:docMk/>
            <pc:sldMk cId="3591700787" sldId="2147478562"/>
            <ac:spMk id="532" creationId="{A87C2489-E357-839E-85A8-1CADDC19638A}"/>
          </ac:spMkLst>
        </pc:spChg>
        <pc:spChg chg="add del mod">
          <ac:chgData name="Steiner Andreas 6206 ED" userId="e6377c33-a923-4f14-8587-531c474c7b48" providerId="ADAL" clId="{6ECD27E6-B224-41CD-B4E0-E297462320DD}" dt="2023-11-24T08:49:41.341" v="79833"/>
          <ac:spMkLst>
            <pc:docMk/>
            <pc:sldMk cId="3591700787" sldId="2147478562"/>
            <ac:spMk id="533" creationId="{67489B21-A769-101D-60B4-905E99D3ADD1}"/>
          </ac:spMkLst>
        </pc:spChg>
        <pc:spChg chg="add del mod">
          <ac:chgData name="Steiner Andreas 6206 ED" userId="e6377c33-a923-4f14-8587-531c474c7b48" providerId="ADAL" clId="{6ECD27E6-B224-41CD-B4E0-E297462320DD}" dt="2023-11-24T08:49:43.231" v="79988"/>
          <ac:spMkLst>
            <pc:docMk/>
            <pc:sldMk cId="3591700787" sldId="2147478562"/>
            <ac:spMk id="534" creationId="{7F9A1FC1-D8AC-CD67-33DC-4F34987D015F}"/>
          </ac:spMkLst>
        </pc:spChg>
        <pc:spChg chg="add del mod">
          <ac:chgData name="Steiner Andreas 6206 ED" userId="e6377c33-a923-4f14-8587-531c474c7b48" providerId="ADAL" clId="{6ECD27E6-B224-41CD-B4E0-E297462320DD}" dt="2023-11-24T08:49:45.172" v="80143"/>
          <ac:spMkLst>
            <pc:docMk/>
            <pc:sldMk cId="3591700787" sldId="2147478562"/>
            <ac:spMk id="535" creationId="{F1DFEF07-69CF-1191-CB9A-4D5F53BD604F}"/>
          </ac:spMkLst>
        </pc:spChg>
        <pc:spChg chg="add del mod">
          <ac:chgData name="Steiner Andreas 6206 ED" userId="e6377c33-a923-4f14-8587-531c474c7b48" providerId="ADAL" clId="{6ECD27E6-B224-41CD-B4E0-E297462320DD}" dt="2023-11-24T08:49:47.138" v="80298"/>
          <ac:spMkLst>
            <pc:docMk/>
            <pc:sldMk cId="3591700787" sldId="2147478562"/>
            <ac:spMk id="536" creationId="{E044E4DB-453F-5298-8A91-32E93BDE5FB6}"/>
          </ac:spMkLst>
        </pc:spChg>
        <pc:spChg chg="add del mod">
          <ac:chgData name="Steiner Andreas 6206 ED" userId="e6377c33-a923-4f14-8587-531c474c7b48" providerId="ADAL" clId="{6ECD27E6-B224-41CD-B4E0-E297462320DD}" dt="2023-11-24T08:49:49.034" v="80453"/>
          <ac:spMkLst>
            <pc:docMk/>
            <pc:sldMk cId="3591700787" sldId="2147478562"/>
            <ac:spMk id="537" creationId="{3597FF3C-FB8E-2585-6B7C-4CA2219AC7D9}"/>
          </ac:spMkLst>
        </pc:spChg>
        <pc:spChg chg="add del mod">
          <ac:chgData name="Steiner Andreas 6206 ED" userId="e6377c33-a923-4f14-8587-531c474c7b48" providerId="ADAL" clId="{6ECD27E6-B224-41CD-B4E0-E297462320DD}" dt="2023-11-24T08:49:50.904" v="80608"/>
          <ac:spMkLst>
            <pc:docMk/>
            <pc:sldMk cId="3591700787" sldId="2147478562"/>
            <ac:spMk id="538" creationId="{C6C2EB82-FCBC-9F62-BC39-51A1F4AB5F65}"/>
          </ac:spMkLst>
        </pc:spChg>
        <pc:spChg chg="add del mod">
          <ac:chgData name="Steiner Andreas 6206 ED" userId="e6377c33-a923-4f14-8587-531c474c7b48" providerId="ADAL" clId="{6ECD27E6-B224-41CD-B4E0-E297462320DD}" dt="2023-11-24T08:49:52.826" v="80763"/>
          <ac:spMkLst>
            <pc:docMk/>
            <pc:sldMk cId="3591700787" sldId="2147478562"/>
            <ac:spMk id="539" creationId="{1610C463-C0AD-97CD-7531-0D7F2E95A4E0}"/>
          </ac:spMkLst>
        </pc:spChg>
        <pc:spChg chg="add del mod">
          <ac:chgData name="Steiner Andreas 6206 ED" userId="e6377c33-a923-4f14-8587-531c474c7b48" providerId="ADAL" clId="{6ECD27E6-B224-41CD-B4E0-E297462320DD}" dt="2023-11-24T08:49:54.757" v="80918"/>
          <ac:spMkLst>
            <pc:docMk/>
            <pc:sldMk cId="3591700787" sldId="2147478562"/>
            <ac:spMk id="540" creationId="{BC1FEBC9-523C-29B9-35CC-D48FD39F8717}"/>
          </ac:spMkLst>
        </pc:spChg>
        <pc:spChg chg="add del mod">
          <ac:chgData name="Steiner Andreas 6206 ED" userId="e6377c33-a923-4f14-8587-531c474c7b48" providerId="ADAL" clId="{6ECD27E6-B224-41CD-B4E0-E297462320DD}" dt="2023-11-24T08:49:56.623" v="81073"/>
          <ac:spMkLst>
            <pc:docMk/>
            <pc:sldMk cId="3591700787" sldId="2147478562"/>
            <ac:spMk id="541" creationId="{21BD7F10-3630-84E9-011E-6E15C9DE6054}"/>
          </ac:spMkLst>
        </pc:spChg>
        <pc:spChg chg="add del mod">
          <ac:chgData name="Steiner Andreas 6206 ED" userId="e6377c33-a923-4f14-8587-531c474c7b48" providerId="ADAL" clId="{6ECD27E6-B224-41CD-B4E0-E297462320DD}" dt="2023-11-24T08:49:58.531" v="81228"/>
          <ac:spMkLst>
            <pc:docMk/>
            <pc:sldMk cId="3591700787" sldId="2147478562"/>
            <ac:spMk id="542" creationId="{968CD193-5772-978F-89BE-17174E8D0302}"/>
          </ac:spMkLst>
        </pc:spChg>
        <pc:spChg chg="add del mod">
          <ac:chgData name="Steiner Andreas 6206 ED" userId="e6377c33-a923-4f14-8587-531c474c7b48" providerId="ADAL" clId="{6ECD27E6-B224-41CD-B4E0-E297462320DD}" dt="2023-11-24T08:50:00.452" v="81383"/>
          <ac:spMkLst>
            <pc:docMk/>
            <pc:sldMk cId="3591700787" sldId="2147478562"/>
            <ac:spMk id="543" creationId="{785248FD-1BAF-4462-4145-E38FA07DBD93}"/>
          </ac:spMkLst>
        </pc:spChg>
        <pc:spChg chg="add del mod">
          <ac:chgData name="Steiner Andreas 6206 ED" userId="e6377c33-a923-4f14-8587-531c474c7b48" providerId="ADAL" clId="{6ECD27E6-B224-41CD-B4E0-E297462320DD}" dt="2023-11-24T08:50:02.545" v="81538"/>
          <ac:spMkLst>
            <pc:docMk/>
            <pc:sldMk cId="3591700787" sldId="2147478562"/>
            <ac:spMk id="544" creationId="{D926373D-63D9-F0B7-199C-91149948D961}"/>
          </ac:spMkLst>
        </pc:spChg>
        <pc:spChg chg="add del mod">
          <ac:chgData name="Steiner Andreas 6206 ED" userId="e6377c33-a923-4f14-8587-531c474c7b48" providerId="ADAL" clId="{6ECD27E6-B224-41CD-B4E0-E297462320DD}" dt="2023-11-24T08:50:04.610" v="81693"/>
          <ac:spMkLst>
            <pc:docMk/>
            <pc:sldMk cId="3591700787" sldId="2147478562"/>
            <ac:spMk id="545" creationId="{B4F0921F-B55B-2BF9-A381-AA3B811F9177}"/>
          </ac:spMkLst>
        </pc:spChg>
        <pc:spChg chg="add del mod">
          <ac:chgData name="Steiner Andreas 6206 ED" userId="e6377c33-a923-4f14-8587-531c474c7b48" providerId="ADAL" clId="{6ECD27E6-B224-41CD-B4E0-E297462320DD}" dt="2023-11-24T08:50:06.543" v="81848"/>
          <ac:spMkLst>
            <pc:docMk/>
            <pc:sldMk cId="3591700787" sldId="2147478562"/>
            <ac:spMk id="546" creationId="{37C72ED1-AC25-6591-6252-9F4B8A3C723A}"/>
          </ac:spMkLst>
        </pc:spChg>
        <pc:spChg chg="add del mod">
          <ac:chgData name="Steiner Andreas 6206 ED" userId="e6377c33-a923-4f14-8587-531c474c7b48" providerId="ADAL" clId="{6ECD27E6-B224-41CD-B4E0-E297462320DD}" dt="2023-11-24T08:50:08.409" v="82003"/>
          <ac:spMkLst>
            <pc:docMk/>
            <pc:sldMk cId="3591700787" sldId="2147478562"/>
            <ac:spMk id="547" creationId="{3C16B6FF-C844-8C32-71E2-FB8BCCC8CDE1}"/>
          </ac:spMkLst>
        </pc:spChg>
        <pc:spChg chg="add del mod">
          <ac:chgData name="Steiner Andreas 6206 ED" userId="e6377c33-a923-4f14-8587-531c474c7b48" providerId="ADAL" clId="{6ECD27E6-B224-41CD-B4E0-E297462320DD}" dt="2023-11-24T08:50:10.319" v="82158"/>
          <ac:spMkLst>
            <pc:docMk/>
            <pc:sldMk cId="3591700787" sldId="2147478562"/>
            <ac:spMk id="548" creationId="{86140A42-35A2-E6FA-07EE-5A4FCFDDFC92}"/>
          </ac:spMkLst>
        </pc:spChg>
        <pc:spChg chg="add del mod">
          <ac:chgData name="Steiner Andreas 6206 ED" userId="e6377c33-a923-4f14-8587-531c474c7b48" providerId="ADAL" clId="{6ECD27E6-B224-41CD-B4E0-E297462320DD}" dt="2023-11-24T08:50:12.241" v="82313"/>
          <ac:spMkLst>
            <pc:docMk/>
            <pc:sldMk cId="3591700787" sldId="2147478562"/>
            <ac:spMk id="549" creationId="{1C1444FE-6D8B-B0B1-CB2B-5142548786DC}"/>
          </ac:spMkLst>
        </pc:spChg>
        <pc:spChg chg="add del mod">
          <ac:chgData name="Steiner Andreas 6206 ED" userId="e6377c33-a923-4f14-8587-531c474c7b48" providerId="ADAL" clId="{6ECD27E6-B224-41CD-B4E0-E297462320DD}" dt="2023-11-24T08:50:14.298" v="82468"/>
          <ac:spMkLst>
            <pc:docMk/>
            <pc:sldMk cId="3591700787" sldId="2147478562"/>
            <ac:spMk id="550" creationId="{E90BB4EF-4B42-867C-C0EF-5EE485A853B6}"/>
          </ac:spMkLst>
        </pc:spChg>
        <pc:spChg chg="add del mod">
          <ac:chgData name="Steiner Andreas 6206 ED" userId="e6377c33-a923-4f14-8587-531c474c7b48" providerId="ADAL" clId="{6ECD27E6-B224-41CD-B4E0-E297462320DD}" dt="2023-11-24T08:50:16.234" v="82623"/>
          <ac:spMkLst>
            <pc:docMk/>
            <pc:sldMk cId="3591700787" sldId="2147478562"/>
            <ac:spMk id="551" creationId="{6AD3E151-9740-9D40-1133-0590A919870C}"/>
          </ac:spMkLst>
        </pc:spChg>
        <pc:spChg chg="add del mod">
          <ac:chgData name="Steiner Andreas 6206 ED" userId="e6377c33-a923-4f14-8587-531c474c7b48" providerId="ADAL" clId="{6ECD27E6-B224-41CD-B4E0-E297462320DD}" dt="2023-11-24T08:50:18.235" v="82778"/>
          <ac:spMkLst>
            <pc:docMk/>
            <pc:sldMk cId="3591700787" sldId="2147478562"/>
            <ac:spMk id="552" creationId="{4FF1A813-AD7D-4869-F296-E3112737ABA2}"/>
          </ac:spMkLst>
        </pc:spChg>
        <pc:spChg chg="add del mod">
          <ac:chgData name="Steiner Andreas 6206 ED" userId="e6377c33-a923-4f14-8587-531c474c7b48" providerId="ADAL" clId="{6ECD27E6-B224-41CD-B4E0-E297462320DD}" dt="2023-11-24T08:50:20.468" v="82933"/>
          <ac:spMkLst>
            <pc:docMk/>
            <pc:sldMk cId="3591700787" sldId="2147478562"/>
            <ac:spMk id="553" creationId="{3D49EA9B-EFB9-1F5C-2709-87DC6FF98120}"/>
          </ac:spMkLst>
        </pc:spChg>
        <pc:spChg chg="add del mod">
          <ac:chgData name="Steiner Andreas 6206 ED" userId="e6377c33-a923-4f14-8587-531c474c7b48" providerId="ADAL" clId="{6ECD27E6-B224-41CD-B4E0-E297462320DD}" dt="2023-11-24T08:50:22.372" v="83088"/>
          <ac:spMkLst>
            <pc:docMk/>
            <pc:sldMk cId="3591700787" sldId="2147478562"/>
            <ac:spMk id="554" creationId="{56922D2D-B0F0-14CD-4755-960063B56DD9}"/>
          </ac:spMkLst>
        </pc:spChg>
        <pc:spChg chg="add del mod">
          <ac:chgData name="Steiner Andreas 6206 ED" userId="e6377c33-a923-4f14-8587-531c474c7b48" providerId="ADAL" clId="{6ECD27E6-B224-41CD-B4E0-E297462320DD}" dt="2023-11-24T08:50:24.514" v="83243"/>
          <ac:spMkLst>
            <pc:docMk/>
            <pc:sldMk cId="3591700787" sldId="2147478562"/>
            <ac:spMk id="555" creationId="{EACA9099-136A-E2DD-829A-B2FCB362E598}"/>
          </ac:spMkLst>
        </pc:spChg>
        <pc:spChg chg="add del mod">
          <ac:chgData name="Steiner Andreas 6206 ED" userId="e6377c33-a923-4f14-8587-531c474c7b48" providerId="ADAL" clId="{6ECD27E6-B224-41CD-B4E0-E297462320DD}" dt="2023-11-24T08:50:26.482" v="83398"/>
          <ac:spMkLst>
            <pc:docMk/>
            <pc:sldMk cId="3591700787" sldId="2147478562"/>
            <ac:spMk id="556" creationId="{8B76D796-89BE-7EC1-596D-A81F45ECE344}"/>
          </ac:spMkLst>
        </pc:spChg>
        <pc:spChg chg="add del mod">
          <ac:chgData name="Steiner Andreas 6206 ED" userId="e6377c33-a923-4f14-8587-531c474c7b48" providerId="ADAL" clId="{6ECD27E6-B224-41CD-B4E0-E297462320DD}" dt="2023-11-24T08:50:28.399" v="83553"/>
          <ac:spMkLst>
            <pc:docMk/>
            <pc:sldMk cId="3591700787" sldId="2147478562"/>
            <ac:spMk id="557" creationId="{2F4CECF2-E8A3-08A6-CFE5-33AB25C537CE}"/>
          </ac:spMkLst>
        </pc:spChg>
        <pc:spChg chg="add del mod">
          <ac:chgData name="Steiner Andreas 6206 ED" userId="e6377c33-a923-4f14-8587-531c474c7b48" providerId="ADAL" clId="{6ECD27E6-B224-41CD-B4E0-E297462320DD}" dt="2023-11-24T08:50:30.319" v="83708"/>
          <ac:spMkLst>
            <pc:docMk/>
            <pc:sldMk cId="3591700787" sldId="2147478562"/>
            <ac:spMk id="558" creationId="{348702CF-0FE7-DFF0-046F-190C6AD69F88}"/>
          </ac:spMkLst>
        </pc:spChg>
        <pc:spChg chg="add del mod">
          <ac:chgData name="Steiner Andreas 6206 ED" userId="e6377c33-a923-4f14-8587-531c474c7b48" providerId="ADAL" clId="{6ECD27E6-B224-41CD-B4E0-E297462320DD}" dt="2023-11-24T08:50:32.406" v="83863"/>
          <ac:spMkLst>
            <pc:docMk/>
            <pc:sldMk cId="3591700787" sldId="2147478562"/>
            <ac:spMk id="559" creationId="{ECAD8DF9-2DF3-A443-B2B3-7D911652F9CA}"/>
          </ac:spMkLst>
        </pc:spChg>
        <pc:spChg chg="add del mod">
          <ac:chgData name="Steiner Andreas 6206 ED" userId="e6377c33-a923-4f14-8587-531c474c7b48" providerId="ADAL" clId="{6ECD27E6-B224-41CD-B4E0-E297462320DD}" dt="2023-11-24T08:50:34.425" v="84018"/>
          <ac:spMkLst>
            <pc:docMk/>
            <pc:sldMk cId="3591700787" sldId="2147478562"/>
            <ac:spMk id="560" creationId="{1B0CF975-D3C3-1C57-60B7-276B9966C398}"/>
          </ac:spMkLst>
        </pc:spChg>
        <pc:spChg chg="add del mod">
          <ac:chgData name="Steiner Andreas 6206 ED" userId="e6377c33-a923-4f14-8587-531c474c7b48" providerId="ADAL" clId="{6ECD27E6-B224-41CD-B4E0-E297462320DD}" dt="2023-11-24T08:50:36.635" v="84173"/>
          <ac:spMkLst>
            <pc:docMk/>
            <pc:sldMk cId="3591700787" sldId="2147478562"/>
            <ac:spMk id="561" creationId="{7255EB8F-15E6-8454-B8D7-9095E92787FD}"/>
          </ac:spMkLst>
        </pc:spChg>
        <pc:spChg chg="add del mod">
          <ac:chgData name="Steiner Andreas 6206 ED" userId="e6377c33-a923-4f14-8587-531c474c7b48" providerId="ADAL" clId="{6ECD27E6-B224-41CD-B4E0-E297462320DD}" dt="2023-11-24T08:50:38.592" v="84328"/>
          <ac:spMkLst>
            <pc:docMk/>
            <pc:sldMk cId="3591700787" sldId="2147478562"/>
            <ac:spMk id="562" creationId="{F087BDF2-CD34-C21D-E194-D11C746D8561}"/>
          </ac:spMkLst>
        </pc:spChg>
        <pc:spChg chg="add del mod">
          <ac:chgData name="Steiner Andreas 6206 ED" userId="e6377c33-a923-4f14-8587-531c474c7b48" providerId="ADAL" clId="{6ECD27E6-B224-41CD-B4E0-E297462320DD}" dt="2023-11-24T08:50:40.580" v="84483"/>
          <ac:spMkLst>
            <pc:docMk/>
            <pc:sldMk cId="3591700787" sldId="2147478562"/>
            <ac:spMk id="563" creationId="{1B2578FB-63FA-85C6-92AC-DA071B1AACAB}"/>
          </ac:spMkLst>
        </pc:spChg>
        <pc:spChg chg="add del mod">
          <ac:chgData name="Steiner Andreas 6206 ED" userId="e6377c33-a923-4f14-8587-531c474c7b48" providerId="ADAL" clId="{6ECD27E6-B224-41CD-B4E0-E297462320DD}" dt="2023-11-24T08:50:42.577" v="84638"/>
          <ac:spMkLst>
            <pc:docMk/>
            <pc:sldMk cId="3591700787" sldId="2147478562"/>
            <ac:spMk id="564" creationId="{BAAE4A01-EF3B-BDF4-454E-A67CAEA7C49C}"/>
          </ac:spMkLst>
        </pc:spChg>
        <pc:spChg chg="add del mod">
          <ac:chgData name="Steiner Andreas 6206 ED" userId="e6377c33-a923-4f14-8587-531c474c7b48" providerId="ADAL" clId="{6ECD27E6-B224-41CD-B4E0-E297462320DD}" dt="2023-11-24T08:50:44.774" v="84793"/>
          <ac:spMkLst>
            <pc:docMk/>
            <pc:sldMk cId="3591700787" sldId="2147478562"/>
            <ac:spMk id="565" creationId="{703EFEDA-80B8-8EE5-0A02-A6A0432A8FE1}"/>
          </ac:spMkLst>
        </pc:spChg>
        <pc:spChg chg="add del mod">
          <ac:chgData name="Steiner Andreas 6206 ED" userId="e6377c33-a923-4f14-8587-531c474c7b48" providerId="ADAL" clId="{6ECD27E6-B224-41CD-B4E0-E297462320DD}" dt="2023-11-24T08:50:46.879" v="84948"/>
          <ac:spMkLst>
            <pc:docMk/>
            <pc:sldMk cId="3591700787" sldId="2147478562"/>
            <ac:spMk id="566" creationId="{7DEF2FE9-0D83-D11A-3310-60F49CF1619B}"/>
          </ac:spMkLst>
        </pc:spChg>
        <pc:spChg chg="add del mod">
          <ac:chgData name="Steiner Andreas 6206 ED" userId="e6377c33-a923-4f14-8587-531c474c7b48" providerId="ADAL" clId="{6ECD27E6-B224-41CD-B4E0-E297462320DD}" dt="2023-11-24T08:50:48.970" v="85103"/>
          <ac:spMkLst>
            <pc:docMk/>
            <pc:sldMk cId="3591700787" sldId="2147478562"/>
            <ac:spMk id="567" creationId="{C7667FE6-1B3A-DCFE-BA93-8B39ACF37D44}"/>
          </ac:spMkLst>
        </pc:spChg>
        <pc:spChg chg="add del mod">
          <ac:chgData name="Steiner Andreas 6206 ED" userId="e6377c33-a923-4f14-8587-531c474c7b48" providerId="ADAL" clId="{6ECD27E6-B224-41CD-B4E0-E297462320DD}" dt="2023-11-24T08:50:51.077" v="85258"/>
          <ac:spMkLst>
            <pc:docMk/>
            <pc:sldMk cId="3591700787" sldId="2147478562"/>
            <ac:spMk id="568" creationId="{DB49164F-B8CB-2F0C-C4DF-6BF0975DA8C7}"/>
          </ac:spMkLst>
        </pc:spChg>
        <pc:spChg chg="add del mod">
          <ac:chgData name="Steiner Andreas 6206 ED" userId="e6377c33-a923-4f14-8587-531c474c7b48" providerId="ADAL" clId="{6ECD27E6-B224-41CD-B4E0-E297462320DD}" dt="2023-11-24T08:50:53.182" v="85413"/>
          <ac:spMkLst>
            <pc:docMk/>
            <pc:sldMk cId="3591700787" sldId="2147478562"/>
            <ac:spMk id="569" creationId="{BF61A85C-08D6-9391-9126-D4060577843A}"/>
          </ac:spMkLst>
        </pc:spChg>
        <pc:spChg chg="add del mod">
          <ac:chgData name="Steiner Andreas 6206 ED" userId="e6377c33-a923-4f14-8587-531c474c7b48" providerId="ADAL" clId="{6ECD27E6-B224-41CD-B4E0-E297462320DD}" dt="2023-11-24T08:50:55.084" v="85568"/>
          <ac:spMkLst>
            <pc:docMk/>
            <pc:sldMk cId="3591700787" sldId="2147478562"/>
            <ac:spMk id="570" creationId="{B2099D3F-3B04-0A0B-A109-672F0129436F}"/>
          </ac:spMkLst>
        </pc:spChg>
        <pc:spChg chg="add del mod">
          <ac:chgData name="Steiner Andreas 6206 ED" userId="e6377c33-a923-4f14-8587-531c474c7b48" providerId="ADAL" clId="{6ECD27E6-B224-41CD-B4E0-E297462320DD}" dt="2023-11-24T08:50:56.999" v="85723"/>
          <ac:spMkLst>
            <pc:docMk/>
            <pc:sldMk cId="3591700787" sldId="2147478562"/>
            <ac:spMk id="571" creationId="{62F8C8E4-CC5D-6EAA-EA64-F5A9DC6FF05C}"/>
          </ac:spMkLst>
        </pc:spChg>
        <pc:spChg chg="add del mod">
          <ac:chgData name="Steiner Andreas 6206 ED" userId="e6377c33-a923-4f14-8587-531c474c7b48" providerId="ADAL" clId="{6ECD27E6-B224-41CD-B4E0-E297462320DD}" dt="2023-11-24T08:50:59.205" v="85878"/>
          <ac:spMkLst>
            <pc:docMk/>
            <pc:sldMk cId="3591700787" sldId="2147478562"/>
            <ac:spMk id="572" creationId="{60F60FC1-8F50-2691-B743-D4B452583148}"/>
          </ac:spMkLst>
        </pc:spChg>
        <pc:spChg chg="add del mod">
          <ac:chgData name="Steiner Andreas 6206 ED" userId="e6377c33-a923-4f14-8587-531c474c7b48" providerId="ADAL" clId="{6ECD27E6-B224-41CD-B4E0-E297462320DD}" dt="2023-11-24T08:51:01.143" v="86033"/>
          <ac:spMkLst>
            <pc:docMk/>
            <pc:sldMk cId="3591700787" sldId="2147478562"/>
            <ac:spMk id="573" creationId="{C1630C68-7A61-87CA-2975-F1AA69CBEE5C}"/>
          </ac:spMkLst>
        </pc:spChg>
        <pc:spChg chg="add del mod">
          <ac:chgData name="Steiner Andreas 6206 ED" userId="e6377c33-a923-4f14-8587-531c474c7b48" providerId="ADAL" clId="{6ECD27E6-B224-41CD-B4E0-E297462320DD}" dt="2023-11-24T08:51:03.125" v="86188"/>
          <ac:spMkLst>
            <pc:docMk/>
            <pc:sldMk cId="3591700787" sldId="2147478562"/>
            <ac:spMk id="574" creationId="{105B0689-056B-11DE-4F83-AFFC88B760F5}"/>
          </ac:spMkLst>
        </pc:spChg>
        <pc:spChg chg="add del mod">
          <ac:chgData name="Steiner Andreas 6206 ED" userId="e6377c33-a923-4f14-8587-531c474c7b48" providerId="ADAL" clId="{6ECD27E6-B224-41CD-B4E0-E297462320DD}" dt="2023-11-24T08:51:04.986" v="86343"/>
          <ac:spMkLst>
            <pc:docMk/>
            <pc:sldMk cId="3591700787" sldId="2147478562"/>
            <ac:spMk id="575" creationId="{7A9A1DF1-C6EE-AE53-686D-8E82F442A82F}"/>
          </ac:spMkLst>
        </pc:spChg>
        <pc:spChg chg="add del mod">
          <ac:chgData name="Steiner Andreas 6206 ED" userId="e6377c33-a923-4f14-8587-531c474c7b48" providerId="ADAL" clId="{6ECD27E6-B224-41CD-B4E0-E297462320DD}" dt="2023-11-24T08:51:06.883" v="86498"/>
          <ac:spMkLst>
            <pc:docMk/>
            <pc:sldMk cId="3591700787" sldId="2147478562"/>
            <ac:spMk id="576" creationId="{5116ACDC-B57C-B524-D7CB-1A9A8481528A}"/>
          </ac:spMkLst>
        </pc:spChg>
        <pc:spChg chg="add del mod">
          <ac:chgData name="Steiner Andreas 6206 ED" userId="e6377c33-a923-4f14-8587-531c474c7b48" providerId="ADAL" clId="{6ECD27E6-B224-41CD-B4E0-E297462320DD}" dt="2023-11-24T08:51:08.885" v="86653"/>
          <ac:spMkLst>
            <pc:docMk/>
            <pc:sldMk cId="3591700787" sldId="2147478562"/>
            <ac:spMk id="577" creationId="{91C104E3-6865-8030-2D6D-D060FB676CD4}"/>
          </ac:spMkLst>
        </pc:spChg>
        <pc:spChg chg="add del mod">
          <ac:chgData name="Steiner Andreas 6206 ED" userId="e6377c33-a923-4f14-8587-531c474c7b48" providerId="ADAL" clId="{6ECD27E6-B224-41CD-B4E0-E297462320DD}" dt="2023-11-24T08:51:10.899" v="86808"/>
          <ac:spMkLst>
            <pc:docMk/>
            <pc:sldMk cId="3591700787" sldId="2147478562"/>
            <ac:spMk id="578" creationId="{82F53571-7641-9C59-79A3-4762F7E99FD9}"/>
          </ac:spMkLst>
        </pc:spChg>
        <pc:spChg chg="add del mod">
          <ac:chgData name="Steiner Andreas 6206 ED" userId="e6377c33-a923-4f14-8587-531c474c7b48" providerId="ADAL" clId="{6ECD27E6-B224-41CD-B4E0-E297462320DD}" dt="2023-11-24T08:51:12.818" v="86963"/>
          <ac:spMkLst>
            <pc:docMk/>
            <pc:sldMk cId="3591700787" sldId="2147478562"/>
            <ac:spMk id="579" creationId="{4D9650EE-752F-A87C-604A-ED0E5E8D8FE1}"/>
          </ac:spMkLst>
        </pc:spChg>
        <pc:spChg chg="add del mod">
          <ac:chgData name="Steiner Andreas 6206 ED" userId="e6377c33-a923-4f14-8587-531c474c7b48" providerId="ADAL" clId="{6ECD27E6-B224-41CD-B4E0-E297462320DD}" dt="2023-11-24T08:51:15.005" v="87118"/>
          <ac:spMkLst>
            <pc:docMk/>
            <pc:sldMk cId="3591700787" sldId="2147478562"/>
            <ac:spMk id="580" creationId="{8B720F08-D3F0-373D-EEA2-7A8CE4BD7E81}"/>
          </ac:spMkLst>
        </pc:spChg>
        <pc:spChg chg="add del mod">
          <ac:chgData name="Steiner Andreas 6206 ED" userId="e6377c33-a923-4f14-8587-531c474c7b48" providerId="ADAL" clId="{6ECD27E6-B224-41CD-B4E0-E297462320DD}" dt="2023-11-24T08:51:17.076" v="87273"/>
          <ac:spMkLst>
            <pc:docMk/>
            <pc:sldMk cId="3591700787" sldId="2147478562"/>
            <ac:spMk id="581" creationId="{CCD9114B-6FD2-3743-19D0-0648556C2266}"/>
          </ac:spMkLst>
        </pc:spChg>
        <pc:spChg chg="add del mod">
          <ac:chgData name="Steiner Andreas 6206 ED" userId="e6377c33-a923-4f14-8587-531c474c7b48" providerId="ADAL" clId="{6ECD27E6-B224-41CD-B4E0-E297462320DD}" dt="2023-11-24T08:51:19.004" v="87428"/>
          <ac:spMkLst>
            <pc:docMk/>
            <pc:sldMk cId="3591700787" sldId="2147478562"/>
            <ac:spMk id="582" creationId="{4BB38F27-1E55-C440-4F5D-CC9F27059A86}"/>
          </ac:spMkLst>
        </pc:spChg>
        <pc:spChg chg="add del mod">
          <ac:chgData name="Steiner Andreas 6206 ED" userId="e6377c33-a923-4f14-8587-531c474c7b48" providerId="ADAL" clId="{6ECD27E6-B224-41CD-B4E0-E297462320DD}" dt="2023-11-24T08:51:21.089" v="87583"/>
          <ac:spMkLst>
            <pc:docMk/>
            <pc:sldMk cId="3591700787" sldId="2147478562"/>
            <ac:spMk id="583" creationId="{0A93D064-4B58-C7D3-594E-95755113E9D9}"/>
          </ac:spMkLst>
        </pc:spChg>
        <pc:spChg chg="add del mod">
          <ac:chgData name="Steiner Andreas 6206 ED" userId="e6377c33-a923-4f14-8587-531c474c7b48" providerId="ADAL" clId="{6ECD27E6-B224-41CD-B4E0-E297462320DD}" dt="2023-11-24T08:51:23.017" v="87738"/>
          <ac:spMkLst>
            <pc:docMk/>
            <pc:sldMk cId="3591700787" sldId="2147478562"/>
            <ac:spMk id="584" creationId="{F85A6813-211C-08D2-C82F-5F0D4B3D646C}"/>
          </ac:spMkLst>
        </pc:spChg>
        <pc:spChg chg="add del mod">
          <ac:chgData name="Steiner Andreas 6206 ED" userId="e6377c33-a923-4f14-8587-531c474c7b48" providerId="ADAL" clId="{6ECD27E6-B224-41CD-B4E0-E297462320DD}" dt="2023-11-24T08:51:24.905" v="87893"/>
          <ac:spMkLst>
            <pc:docMk/>
            <pc:sldMk cId="3591700787" sldId="2147478562"/>
            <ac:spMk id="585" creationId="{EDF09372-D576-A684-27C7-F8BC490C30A7}"/>
          </ac:spMkLst>
        </pc:spChg>
        <pc:spChg chg="add del mod">
          <ac:chgData name="Steiner Andreas 6206 ED" userId="e6377c33-a923-4f14-8587-531c474c7b48" providerId="ADAL" clId="{6ECD27E6-B224-41CD-B4E0-E297462320DD}" dt="2023-11-24T08:51:26.793" v="88048"/>
          <ac:spMkLst>
            <pc:docMk/>
            <pc:sldMk cId="3591700787" sldId="2147478562"/>
            <ac:spMk id="586" creationId="{BAFB7C98-3E88-879B-4024-B862DA97F1ED}"/>
          </ac:spMkLst>
        </pc:spChg>
        <pc:spChg chg="add del mod">
          <ac:chgData name="Steiner Andreas 6206 ED" userId="e6377c33-a923-4f14-8587-531c474c7b48" providerId="ADAL" clId="{6ECD27E6-B224-41CD-B4E0-E297462320DD}" dt="2023-11-24T08:51:28.698" v="88203"/>
          <ac:spMkLst>
            <pc:docMk/>
            <pc:sldMk cId="3591700787" sldId="2147478562"/>
            <ac:spMk id="587" creationId="{03BF4892-16C7-265A-7D43-037F61A3AB1C}"/>
          </ac:spMkLst>
        </pc:spChg>
        <pc:spChg chg="add del mod">
          <ac:chgData name="Steiner Andreas 6206 ED" userId="e6377c33-a923-4f14-8587-531c474c7b48" providerId="ADAL" clId="{6ECD27E6-B224-41CD-B4E0-E297462320DD}" dt="2023-11-24T08:51:30.709" v="88358"/>
          <ac:spMkLst>
            <pc:docMk/>
            <pc:sldMk cId="3591700787" sldId="2147478562"/>
            <ac:spMk id="588" creationId="{6D9D4DE9-EE43-7522-0636-4D3AB93F47B2}"/>
          </ac:spMkLst>
        </pc:spChg>
        <pc:spChg chg="add del mod">
          <ac:chgData name="Steiner Andreas 6206 ED" userId="e6377c33-a923-4f14-8587-531c474c7b48" providerId="ADAL" clId="{6ECD27E6-B224-41CD-B4E0-E297462320DD}" dt="2023-11-24T08:51:32.848" v="88513"/>
          <ac:spMkLst>
            <pc:docMk/>
            <pc:sldMk cId="3591700787" sldId="2147478562"/>
            <ac:spMk id="589" creationId="{360D2745-26EE-C3F4-9B1A-CC334BFB4B62}"/>
          </ac:spMkLst>
        </pc:spChg>
        <pc:spChg chg="add del mod">
          <ac:chgData name="Steiner Andreas 6206 ED" userId="e6377c33-a923-4f14-8587-531c474c7b48" providerId="ADAL" clId="{6ECD27E6-B224-41CD-B4E0-E297462320DD}" dt="2023-11-24T08:51:34.793" v="88668"/>
          <ac:spMkLst>
            <pc:docMk/>
            <pc:sldMk cId="3591700787" sldId="2147478562"/>
            <ac:spMk id="590" creationId="{C20210AF-48C7-077D-1D40-912B3FA3AACB}"/>
          </ac:spMkLst>
        </pc:spChg>
        <pc:spChg chg="add del mod">
          <ac:chgData name="Steiner Andreas 6206 ED" userId="e6377c33-a923-4f14-8587-531c474c7b48" providerId="ADAL" clId="{6ECD27E6-B224-41CD-B4E0-E297462320DD}" dt="2023-11-24T08:51:36.672" v="88823"/>
          <ac:spMkLst>
            <pc:docMk/>
            <pc:sldMk cId="3591700787" sldId="2147478562"/>
            <ac:spMk id="591" creationId="{4EB201B4-1C3E-445C-A6AC-BDD2BBB22285}"/>
          </ac:spMkLst>
        </pc:spChg>
        <pc:spChg chg="add del mod">
          <ac:chgData name="Steiner Andreas 6206 ED" userId="e6377c33-a923-4f14-8587-531c474c7b48" providerId="ADAL" clId="{6ECD27E6-B224-41CD-B4E0-E297462320DD}" dt="2023-11-24T08:51:38.628" v="88978"/>
          <ac:spMkLst>
            <pc:docMk/>
            <pc:sldMk cId="3591700787" sldId="2147478562"/>
            <ac:spMk id="592" creationId="{A036C364-7B14-8950-8117-997726215C23}"/>
          </ac:spMkLst>
        </pc:spChg>
        <pc:spChg chg="add del mod">
          <ac:chgData name="Steiner Andreas 6206 ED" userId="e6377c33-a923-4f14-8587-531c474c7b48" providerId="ADAL" clId="{6ECD27E6-B224-41CD-B4E0-E297462320DD}" dt="2023-11-24T08:51:40.564" v="89133"/>
          <ac:spMkLst>
            <pc:docMk/>
            <pc:sldMk cId="3591700787" sldId="2147478562"/>
            <ac:spMk id="593" creationId="{F2148532-6AC3-A511-7836-35E19579D16A}"/>
          </ac:spMkLst>
        </pc:spChg>
        <pc:spChg chg="add del mod">
          <ac:chgData name="Steiner Andreas 6206 ED" userId="e6377c33-a923-4f14-8587-531c474c7b48" providerId="ADAL" clId="{6ECD27E6-B224-41CD-B4E0-E297462320DD}" dt="2023-11-24T08:51:42.572" v="89288"/>
          <ac:spMkLst>
            <pc:docMk/>
            <pc:sldMk cId="3591700787" sldId="2147478562"/>
            <ac:spMk id="594" creationId="{9731B440-6A4B-CF63-F560-CF32DCBD5302}"/>
          </ac:spMkLst>
        </pc:spChg>
        <pc:spChg chg="add del mod">
          <ac:chgData name="Steiner Andreas 6206 ED" userId="e6377c33-a923-4f14-8587-531c474c7b48" providerId="ADAL" clId="{6ECD27E6-B224-41CD-B4E0-E297462320DD}" dt="2023-11-24T08:51:44.678" v="89443"/>
          <ac:spMkLst>
            <pc:docMk/>
            <pc:sldMk cId="3591700787" sldId="2147478562"/>
            <ac:spMk id="595" creationId="{CA2C1C3B-B171-2796-04AA-63C2F847BE61}"/>
          </ac:spMkLst>
        </pc:spChg>
        <pc:spChg chg="add del mod">
          <ac:chgData name="Steiner Andreas 6206 ED" userId="e6377c33-a923-4f14-8587-531c474c7b48" providerId="ADAL" clId="{6ECD27E6-B224-41CD-B4E0-E297462320DD}" dt="2023-11-24T08:51:46.622" v="89598"/>
          <ac:spMkLst>
            <pc:docMk/>
            <pc:sldMk cId="3591700787" sldId="2147478562"/>
            <ac:spMk id="596" creationId="{A4344927-DF7A-B7A9-8DDA-CD8A218DCCC4}"/>
          </ac:spMkLst>
        </pc:spChg>
        <pc:spChg chg="add del mod">
          <ac:chgData name="Steiner Andreas 6206 ED" userId="e6377c33-a923-4f14-8587-531c474c7b48" providerId="ADAL" clId="{6ECD27E6-B224-41CD-B4E0-E297462320DD}" dt="2023-11-24T08:51:48.503" v="89753"/>
          <ac:spMkLst>
            <pc:docMk/>
            <pc:sldMk cId="3591700787" sldId="2147478562"/>
            <ac:spMk id="597" creationId="{24C95EFE-CD9F-6BD1-BC59-CAA047BED01A}"/>
          </ac:spMkLst>
        </pc:spChg>
        <pc:spChg chg="add del mod">
          <ac:chgData name="Steiner Andreas 6206 ED" userId="e6377c33-a923-4f14-8587-531c474c7b48" providerId="ADAL" clId="{6ECD27E6-B224-41CD-B4E0-E297462320DD}" dt="2023-11-24T08:51:50.449" v="89908"/>
          <ac:spMkLst>
            <pc:docMk/>
            <pc:sldMk cId="3591700787" sldId="2147478562"/>
            <ac:spMk id="598" creationId="{38A901F4-3657-B2B8-48A2-6690E01B10B9}"/>
          </ac:spMkLst>
        </pc:spChg>
        <pc:spChg chg="add del mod">
          <ac:chgData name="Steiner Andreas 6206 ED" userId="e6377c33-a923-4f14-8587-531c474c7b48" providerId="ADAL" clId="{6ECD27E6-B224-41CD-B4E0-E297462320DD}" dt="2023-11-24T08:51:52.346" v="90063"/>
          <ac:spMkLst>
            <pc:docMk/>
            <pc:sldMk cId="3591700787" sldId="2147478562"/>
            <ac:spMk id="599" creationId="{C9BE6BBC-3946-3FB0-AD3B-D1B24D95B652}"/>
          </ac:spMkLst>
        </pc:spChg>
        <pc:spChg chg="add del mod">
          <ac:chgData name="Steiner Andreas 6206 ED" userId="e6377c33-a923-4f14-8587-531c474c7b48" providerId="ADAL" clId="{6ECD27E6-B224-41CD-B4E0-E297462320DD}" dt="2023-11-24T08:51:54.352" v="90218"/>
          <ac:spMkLst>
            <pc:docMk/>
            <pc:sldMk cId="3591700787" sldId="2147478562"/>
            <ac:spMk id="600" creationId="{FA8F21AF-65C8-6AA1-5FCA-C921C52F2BA9}"/>
          </ac:spMkLst>
        </pc:spChg>
        <pc:spChg chg="add del mod">
          <ac:chgData name="Steiner Andreas 6206 ED" userId="e6377c33-a923-4f14-8587-531c474c7b48" providerId="ADAL" clId="{6ECD27E6-B224-41CD-B4E0-E297462320DD}" dt="2023-11-24T08:51:56.318" v="90373"/>
          <ac:spMkLst>
            <pc:docMk/>
            <pc:sldMk cId="3591700787" sldId="2147478562"/>
            <ac:spMk id="601" creationId="{E829DFAE-E294-8448-31E0-BD5E0F93DECC}"/>
          </ac:spMkLst>
        </pc:spChg>
        <pc:spChg chg="add del mod">
          <ac:chgData name="Steiner Andreas 6206 ED" userId="e6377c33-a923-4f14-8587-531c474c7b48" providerId="ADAL" clId="{6ECD27E6-B224-41CD-B4E0-E297462320DD}" dt="2023-11-24T08:51:58.254" v="90528"/>
          <ac:spMkLst>
            <pc:docMk/>
            <pc:sldMk cId="3591700787" sldId="2147478562"/>
            <ac:spMk id="602" creationId="{03F18030-9751-6AAC-D249-23B3670DFD28}"/>
          </ac:spMkLst>
        </pc:spChg>
        <pc:spChg chg="add del mod">
          <ac:chgData name="Steiner Andreas 6206 ED" userId="e6377c33-a923-4f14-8587-531c474c7b48" providerId="ADAL" clId="{6ECD27E6-B224-41CD-B4E0-E297462320DD}" dt="2023-11-24T08:52:00.397" v="90683"/>
          <ac:spMkLst>
            <pc:docMk/>
            <pc:sldMk cId="3591700787" sldId="2147478562"/>
            <ac:spMk id="603" creationId="{4266EFC1-ABE8-5A20-AAFB-E5F3B304AF26}"/>
          </ac:spMkLst>
        </pc:spChg>
        <pc:spChg chg="add del mod">
          <ac:chgData name="Steiner Andreas 6206 ED" userId="e6377c33-a923-4f14-8587-531c474c7b48" providerId="ADAL" clId="{6ECD27E6-B224-41CD-B4E0-E297462320DD}" dt="2023-11-24T08:52:02.348" v="90838"/>
          <ac:spMkLst>
            <pc:docMk/>
            <pc:sldMk cId="3591700787" sldId="2147478562"/>
            <ac:spMk id="604" creationId="{8D2BB4BD-24E5-D2DD-5532-DE9572F368DD}"/>
          </ac:spMkLst>
        </pc:spChg>
        <pc:spChg chg="add del mod">
          <ac:chgData name="Steiner Andreas 6206 ED" userId="e6377c33-a923-4f14-8587-531c474c7b48" providerId="ADAL" clId="{6ECD27E6-B224-41CD-B4E0-E297462320DD}" dt="2023-11-24T08:52:04.255" v="90993"/>
          <ac:spMkLst>
            <pc:docMk/>
            <pc:sldMk cId="3591700787" sldId="2147478562"/>
            <ac:spMk id="605" creationId="{9CA15FFB-E913-33DC-381E-49529B8FA334}"/>
          </ac:spMkLst>
        </pc:spChg>
        <pc:spChg chg="add del mod">
          <ac:chgData name="Steiner Andreas 6206 ED" userId="e6377c33-a923-4f14-8587-531c474c7b48" providerId="ADAL" clId="{6ECD27E6-B224-41CD-B4E0-E297462320DD}" dt="2023-11-24T08:52:06.491" v="91148"/>
          <ac:spMkLst>
            <pc:docMk/>
            <pc:sldMk cId="3591700787" sldId="2147478562"/>
            <ac:spMk id="606" creationId="{CEDD1F7F-124B-DA58-71B8-8B680D670EC0}"/>
          </ac:spMkLst>
        </pc:spChg>
        <pc:spChg chg="add del mod">
          <ac:chgData name="Steiner Andreas 6206 ED" userId="e6377c33-a923-4f14-8587-531c474c7b48" providerId="ADAL" clId="{6ECD27E6-B224-41CD-B4E0-E297462320DD}" dt="2023-11-24T08:52:08.422" v="91303"/>
          <ac:spMkLst>
            <pc:docMk/>
            <pc:sldMk cId="3591700787" sldId="2147478562"/>
            <ac:spMk id="607" creationId="{014797D1-53C2-2105-127F-FBE875C3BC46}"/>
          </ac:spMkLst>
        </pc:spChg>
        <pc:spChg chg="add del mod">
          <ac:chgData name="Steiner Andreas 6206 ED" userId="e6377c33-a923-4f14-8587-531c474c7b48" providerId="ADAL" clId="{6ECD27E6-B224-41CD-B4E0-E297462320DD}" dt="2023-11-24T08:52:10.301" v="91458"/>
          <ac:spMkLst>
            <pc:docMk/>
            <pc:sldMk cId="3591700787" sldId="2147478562"/>
            <ac:spMk id="608" creationId="{2CEF1FD9-7144-C279-01D8-72DED6B3D001}"/>
          </ac:spMkLst>
        </pc:spChg>
        <pc:spChg chg="add del mod">
          <ac:chgData name="Steiner Andreas 6206 ED" userId="e6377c33-a923-4f14-8587-531c474c7b48" providerId="ADAL" clId="{6ECD27E6-B224-41CD-B4E0-E297462320DD}" dt="2023-11-24T08:52:12.145" v="91613"/>
          <ac:spMkLst>
            <pc:docMk/>
            <pc:sldMk cId="3591700787" sldId="2147478562"/>
            <ac:spMk id="609" creationId="{9B094C8C-CD0D-19C9-027C-FB7DFFBC6BA5}"/>
          </ac:spMkLst>
        </pc:spChg>
        <pc:spChg chg="add del mod">
          <ac:chgData name="Steiner Andreas 6206 ED" userId="e6377c33-a923-4f14-8587-531c474c7b48" providerId="ADAL" clId="{6ECD27E6-B224-41CD-B4E0-E297462320DD}" dt="2023-11-24T08:52:14.092" v="91768"/>
          <ac:spMkLst>
            <pc:docMk/>
            <pc:sldMk cId="3591700787" sldId="2147478562"/>
            <ac:spMk id="610" creationId="{FCBBCB12-1C98-E955-BE8C-243B10E97677}"/>
          </ac:spMkLst>
        </pc:spChg>
        <pc:spChg chg="add del mod">
          <ac:chgData name="Steiner Andreas 6206 ED" userId="e6377c33-a923-4f14-8587-531c474c7b48" providerId="ADAL" clId="{6ECD27E6-B224-41CD-B4E0-E297462320DD}" dt="2023-11-24T08:52:16.013" v="91923"/>
          <ac:spMkLst>
            <pc:docMk/>
            <pc:sldMk cId="3591700787" sldId="2147478562"/>
            <ac:spMk id="611" creationId="{9F5B2824-D437-6C4C-2DC6-914C71CDA284}"/>
          </ac:spMkLst>
        </pc:spChg>
        <pc:spChg chg="add del mod">
          <ac:chgData name="Steiner Andreas 6206 ED" userId="e6377c33-a923-4f14-8587-531c474c7b48" providerId="ADAL" clId="{6ECD27E6-B224-41CD-B4E0-E297462320DD}" dt="2023-11-24T08:52:18.166" v="92078"/>
          <ac:spMkLst>
            <pc:docMk/>
            <pc:sldMk cId="3591700787" sldId="2147478562"/>
            <ac:spMk id="612" creationId="{EF57EDBD-F6E2-96D2-544C-E8AEAD1C75FA}"/>
          </ac:spMkLst>
        </pc:spChg>
        <pc:spChg chg="add del mod">
          <ac:chgData name="Steiner Andreas 6206 ED" userId="e6377c33-a923-4f14-8587-531c474c7b48" providerId="ADAL" clId="{6ECD27E6-B224-41CD-B4E0-E297462320DD}" dt="2023-11-24T08:52:20.126" v="92233"/>
          <ac:spMkLst>
            <pc:docMk/>
            <pc:sldMk cId="3591700787" sldId="2147478562"/>
            <ac:spMk id="613" creationId="{A4B2DC80-FE59-4BB8-312A-447C03F21CFA}"/>
          </ac:spMkLst>
        </pc:spChg>
        <pc:spChg chg="add del mod">
          <ac:chgData name="Steiner Andreas 6206 ED" userId="e6377c33-a923-4f14-8587-531c474c7b48" providerId="ADAL" clId="{6ECD27E6-B224-41CD-B4E0-E297462320DD}" dt="2023-11-24T08:52:21.979" v="92388"/>
          <ac:spMkLst>
            <pc:docMk/>
            <pc:sldMk cId="3591700787" sldId="2147478562"/>
            <ac:spMk id="614" creationId="{AD59B741-9A8C-28B8-3A3E-90E458B6E8F8}"/>
          </ac:spMkLst>
        </pc:spChg>
        <pc:spChg chg="add del mod">
          <ac:chgData name="Steiner Andreas 6206 ED" userId="e6377c33-a923-4f14-8587-531c474c7b48" providerId="ADAL" clId="{6ECD27E6-B224-41CD-B4E0-E297462320DD}" dt="2023-11-24T08:52:24.029" v="92543"/>
          <ac:spMkLst>
            <pc:docMk/>
            <pc:sldMk cId="3591700787" sldId="2147478562"/>
            <ac:spMk id="615" creationId="{8D7EAC0F-78FF-3AD9-50E0-45E1830B9843}"/>
          </ac:spMkLst>
        </pc:spChg>
        <pc:spChg chg="add del mod">
          <ac:chgData name="Steiner Andreas 6206 ED" userId="e6377c33-a923-4f14-8587-531c474c7b48" providerId="ADAL" clId="{6ECD27E6-B224-41CD-B4E0-E297462320DD}" dt="2023-11-24T08:52:25.881" v="92698"/>
          <ac:spMkLst>
            <pc:docMk/>
            <pc:sldMk cId="3591700787" sldId="2147478562"/>
            <ac:spMk id="616" creationId="{8F60EA9C-D21C-341D-C5FF-EC1D27490B20}"/>
          </ac:spMkLst>
        </pc:spChg>
        <pc:spChg chg="add del mod">
          <ac:chgData name="Steiner Andreas 6206 ED" userId="e6377c33-a923-4f14-8587-531c474c7b48" providerId="ADAL" clId="{6ECD27E6-B224-41CD-B4E0-E297462320DD}" dt="2023-11-24T08:52:27.784" v="92853"/>
          <ac:spMkLst>
            <pc:docMk/>
            <pc:sldMk cId="3591700787" sldId="2147478562"/>
            <ac:spMk id="617" creationId="{E65FB070-F416-2D11-2D27-0C0FAF5B941B}"/>
          </ac:spMkLst>
        </pc:spChg>
        <pc:spChg chg="add del mod">
          <ac:chgData name="Steiner Andreas 6206 ED" userId="e6377c33-a923-4f14-8587-531c474c7b48" providerId="ADAL" clId="{6ECD27E6-B224-41CD-B4E0-E297462320DD}" dt="2023-11-24T08:52:29.883" v="93008"/>
          <ac:spMkLst>
            <pc:docMk/>
            <pc:sldMk cId="3591700787" sldId="2147478562"/>
            <ac:spMk id="618" creationId="{EFEBBC58-F008-A507-9BA1-6E72E8C39A72}"/>
          </ac:spMkLst>
        </pc:spChg>
        <pc:spChg chg="add del mod">
          <ac:chgData name="Steiner Andreas 6206 ED" userId="e6377c33-a923-4f14-8587-531c474c7b48" providerId="ADAL" clId="{6ECD27E6-B224-41CD-B4E0-E297462320DD}" dt="2023-11-24T08:52:31.797" v="93163"/>
          <ac:spMkLst>
            <pc:docMk/>
            <pc:sldMk cId="3591700787" sldId="2147478562"/>
            <ac:spMk id="619" creationId="{E4504488-4FC1-7814-678D-97DEA3FDACF0}"/>
          </ac:spMkLst>
        </pc:spChg>
        <pc:spChg chg="add del mod">
          <ac:chgData name="Steiner Andreas 6206 ED" userId="e6377c33-a923-4f14-8587-531c474c7b48" providerId="ADAL" clId="{6ECD27E6-B224-41CD-B4E0-E297462320DD}" dt="2023-11-24T08:52:33.701" v="93318"/>
          <ac:spMkLst>
            <pc:docMk/>
            <pc:sldMk cId="3591700787" sldId="2147478562"/>
            <ac:spMk id="620" creationId="{9DA1D310-CD27-F0EB-1C3B-83529E565FCE}"/>
          </ac:spMkLst>
        </pc:spChg>
        <pc:spChg chg="add del mod">
          <ac:chgData name="Steiner Andreas 6206 ED" userId="e6377c33-a923-4f14-8587-531c474c7b48" providerId="ADAL" clId="{6ECD27E6-B224-41CD-B4E0-E297462320DD}" dt="2023-11-24T08:52:35.628" v="93473"/>
          <ac:spMkLst>
            <pc:docMk/>
            <pc:sldMk cId="3591700787" sldId="2147478562"/>
            <ac:spMk id="621" creationId="{47CF6D52-3B1E-AB60-F82C-D1AFC0C1484F}"/>
          </ac:spMkLst>
        </pc:spChg>
        <pc:spChg chg="add del mod">
          <ac:chgData name="Steiner Andreas 6206 ED" userId="e6377c33-a923-4f14-8587-531c474c7b48" providerId="ADAL" clId="{6ECD27E6-B224-41CD-B4E0-E297462320DD}" dt="2023-11-24T08:52:37.537" v="93628"/>
          <ac:spMkLst>
            <pc:docMk/>
            <pc:sldMk cId="3591700787" sldId="2147478562"/>
            <ac:spMk id="622" creationId="{4F0B5DE1-30B9-CC60-8A4D-AAE2ADCDA805}"/>
          </ac:spMkLst>
        </pc:spChg>
        <pc:spChg chg="add del mod">
          <ac:chgData name="Steiner Andreas 6206 ED" userId="e6377c33-a923-4f14-8587-531c474c7b48" providerId="ADAL" clId="{6ECD27E6-B224-41CD-B4E0-E297462320DD}" dt="2023-11-24T08:52:39.479" v="93783"/>
          <ac:spMkLst>
            <pc:docMk/>
            <pc:sldMk cId="3591700787" sldId="2147478562"/>
            <ac:spMk id="623" creationId="{7D00B8C7-54D7-8CDA-EFB2-6C45C17A6E83}"/>
          </ac:spMkLst>
        </pc:spChg>
        <pc:spChg chg="add del mod">
          <ac:chgData name="Steiner Andreas 6206 ED" userId="e6377c33-a923-4f14-8587-531c474c7b48" providerId="ADAL" clId="{6ECD27E6-B224-41CD-B4E0-E297462320DD}" dt="2023-11-24T08:52:41.521" v="93938"/>
          <ac:spMkLst>
            <pc:docMk/>
            <pc:sldMk cId="3591700787" sldId="2147478562"/>
            <ac:spMk id="624" creationId="{C48F34F5-F4A5-E042-30EE-521E7805EBF9}"/>
          </ac:spMkLst>
        </pc:spChg>
        <pc:spChg chg="add del mod">
          <ac:chgData name="Steiner Andreas 6206 ED" userId="e6377c33-a923-4f14-8587-531c474c7b48" providerId="ADAL" clId="{6ECD27E6-B224-41CD-B4E0-E297462320DD}" dt="2023-11-24T08:52:43.451" v="94093"/>
          <ac:spMkLst>
            <pc:docMk/>
            <pc:sldMk cId="3591700787" sldId="2147478562"/>
            <ac:spMk id="625" creationId="{F257F307-2394-D519-85F2-5C4EA5466547}"/>
          </ac:spMkLst>
        </pc:spChg>
        <pc:spChg chg="add del mod">
          <ac:chgData name="Steiner Andreas 6206 ED" userId="e6377c33-a923-4f14-8587-531c474c7b48" providerId="ADAL" clId="{6ECD27E6-B224-41CD-B4E0-E297462320DD}" dt="2023-11-24T08:52:45.389" v="94248"/>
          <ac:spMkLst>
            <pc:docMk/>
            <pc:sldMk cId="3591700787" sldId="2147478562"/>
            <ac:spMk id="626" creationId="{9B890526-1F2D-3828-154D-3AA4ACCA1366}"/>
          </ac:spMkLst>
        </pc:spChg>
        <pc:spChg chg="add del mod">
          <ac:chgData name="Steiner Andreas 6206 ED" userId="e6377c33-a923-4f14-8587-531c474c7b48" providerId="ADAL" clId="{6ECD27E6-B224-41CD-B4E0-E297462320DD}" dt="2023-11-24T08:52:47.356" v="94403"/>
          <ac:spMkLst>
            <pc:docMk/>
            <pc:sldMk cId="3591700787" sldId="2147478562"/>
            <ac:spMk id="627" creationId="{9B116C7C-ED38-1557-50E5-0B00C3326382}"/>
          </ac:spMkLst>
        </pc:spChg>
        <pc:spChg chg="add del mod">
          <ac:chgData name="Steiner Andreas 6206 ED" userId="e6377c33-a923-4f14-8587-531c474c7b48" providerId="ADAL" clId="{6ECD27E6-B224-41CD-B4E0-E297462320DD}" dt="2023-11-24T08:52:49.458" v="94558"/>
          <ac:spMkLst>
            <pc:docMk/>
            <pc:sldMk cId="3591700787" sldId="2147478562"/>
            <ac:spMk id="628" creationId="{C686B046-3847-64AA-59F0-F6E73B7231FB}"/>
          </ac:spMkLst>
        </pc:spChg>
        <pc:spChg chg="add del mod">
          <ac:chgData name="Steiner Andreas 6206 ED" userId="e6377c33-a923-4f14-8587-531c474c7b48" providerId="ADAL" clId="{6ECD27E6-B224-41CD-B4E0-E297462320DD}" dt="2023-11-24T08:52:51.629" v="94713"/>
          <ac:spMkLst>
            <pc:docMk/>
            <pc:sldMk cId="3591700787" sldId="2147478562"/>
            <ac:spMk id="629" creationId="{8C37B53E-1640-7997-F065-B2CFB9DFE8DC}"/>
          </ac:spMkLst>
        </pc:spChg>
        <pc:spChg chg="add del mod">
          <ac:chgData name="Steiner Andreas 6206 ED" userId="e6377c33-a923-4f14-8587-531c474c7b48" providerId="ADAL" clId="{6ECD27E6-B224-41CD-B4E0-E297462320DD}" dt="2023-11-24T08:52:53.572" v="94868"/>
          <ac:spMkLst>
            <pc:docMk/>
            <pc:sldMk cId="3591700787" sldId="2147478562"/>
            <ac:spMk id="630" creationId="{8231CED9-DB3E-3FBC-F1F1-9C5725D41C65}"/>
          </ac:spMkLst>
        </pc:spChg>
        <pc:spChg chg="add del mod">
          <ac:chgData name="Steiner Andreas 6206 ED" userId="e6377c33-a923-4f14-8587-531c474c7b48" providerId="ADAL" clId="{6ECD27E6-B224-41CD-B4E0-E297462320DD}" dt="2023-11-24T08:52:55.515" v="95023"/>
          <ac:spMkLst>
            <pc:docMk/>
            <pc:sldMk cId="3591700787" sldId="2147478562"/>
            <ac:spMk id="631" creationId="{811FFE3F-149D-E9DA-4F2B-09230ABA8866}"/>
          </ac:spMkLst>
        </pc:spChg>
        <pc:spChg chg="add del mod">
          <ac:chgData name="Steiner Andreas 6206 ED" userId="e6377c33-a923-4f14-8587-531c474c7b48" providerId="ADAL" clId="{6ECD27E6-B224-41CD-B4E0-E297462320DD}" dt="2023-11-24T08:52:57.534" v="95178"/>
          <ac:spMkLst>
            <pc:docMk/>
            <pc:sldMk cId="3591700787" sldId="2147478562"/>
            <ac:spMk id="632" creationId="{4ABA4D6E-7398-56A0-282E-1FBF828C3A56}"/>
          </ac:spMkLst>
        </pc:spChg>
        <pc:spChg chg="add del mod">
          <ac:chgData name="Steiner Andreas 6206 ED" userId="e6377c33-a923-4f14-8587-531c474c7b48" providerId="ADAL" clId="{6ECD27E6-B224-41CD-B4E0-E297462320DD}" dt="2023-11-24T08:52:59.508" v="95333"/>
          <ac:spMkLst>
            <pc:docMk/>
            <pc:sldMk cId="3591700787" sldId="2147478562"/>
            <ac:spMk id="633" creationId="{AE856B8D-75FF-A09E-76A5-1F17A387F3D0}"/>
          </ac:spMkLst>
        </pc:spChg>
        <pc:spChg chg="add del mod">
          <ac:chgData name="Steiner Andreas 6206 ED" userId="e6377c33-a923-4f14-8587-531c474c7b48" providerId="ADAL" clId="{6ECD27E6-B224-41CD-B4E0-E297462320DD}" dt="2023-11-24T08:53:01.522" v="95488"/>
          <ac:spMkLst>
            <pc:docMk/>
            <pc:sldMk cId="3591700787" sldId="2147478562"/>
            <ac:spMk id="634" creationId="{B95FC516-D05C-E2BF-830B-B7CABA0CF718}"/>
          </ac:spMkLst>
        </pc:spChg>
        <pc:spChg chg="add del mod">
          <ac:chgData name="Steiner Andreas 6206 ED" userId="e6377c33-a923-4f14-8587-531c474c7b48" providerId="ADAL" clId="{6ECD27E6-B224-41CD-B4E0-E297462320DD}" dt="2023-11-24T08:53:03.628" v="95643"/>
          <ac:spMkLst>
            <pc:docMk/>
            <pc:sldMk cId="3591700787" sldId="2147478562"/>
            <ac:spMk id="635" creationId="{312A86C0-29B5-040A-3D60-6963C32AC3F3}"/>
          </ac:spMkLst>
        </pc:spChg>
        <pc:spChg chg="add del mod">
          <ac:chgData name="Steiner Andreas 6206 ED" userId="e6377c33-a923-4f14-8587-531c474c7b48" providerId="ADAL" clId="{6ECD27E6-B224-41CD-B4E0-E297462320DD}" dt="2023-11-24T08:53:05.564" v="95798"/>
          <ac:spMkLst>
            <pc:docMk/>
            <pc:sldMk cId="3591700787" sldId="2147478562"/>
            <ac:spMk id="636" creationId="{A7A35997-96CD-8417-F7E0-DACCF2363767}"/>
          </ac:spMkLst>
        </pc:spChg>
        <pc:spChg chg="add del mod">
          <ac:chgData name="Steiner Andreas 6206 ED" userId="e6377c33-a923-4f14-8587-531c474c7b48" providerId="ADAL" clId="{6ECD27E6-B224-41CD-B4E0-E297462320DD}" dt="2023-11-24T08:53:07.451" v="95953"/>
          <ac:spMkLst>
            <pc:docMk/>
            <pc:sldMk cId="3591700787" sldId="2147478562"/>
            <ac:spMk id="637" creationId="{D982D44F-85AB-2573-1584-2FA8B923AAC3}"/>
          </ac:spMkLst>
        </pc:spChg>
        <pc:spChg chg="add del mod">
          <ac:chgData name="Steiner Andreas 6206 ED" userId="e6377c33-a923-4f14-8587-531c474c7b48" providerId="ADAL" clId="{6ECD27E6-B224-41CD-B4E0-E297462320DD}" dt="2023-11-24T08:53:09.392" v="96108"/>
          <ac:spMkLst>
            <pc:docMk/>
            <pc:sldMk cId="3591700787" sldId="2147478562"/>
            <ac:spMk id="638" creationId="{F03713CA-B168-854D-E125-9E5DE4FB95A0}"/>
          </ac:spMkLst>
        </pc:spChg>
        <pc:spChg chg="add del mod">
          <ac:chgData name="Steiner Andreas 6206 ED" userId="e6377c33-a923-4f14-8587-531c474c7b48" providerId="ADAL" clId="{6ECD27E6-B224-41CD-B4E0-E297462320DD}" dt="2023-11-24T08:53:11.348" v="96263"/>
          <ac:spMkLst>
            <pc:docMk/>
            <pc:sldMk cId="3591700787" sldId="2147478562"/>
            <ac:spMk id="639" creationId="{1D49C956-F563-D26C-C4AB-6A48EFBA4AC0}"/>
          </ac:spMkLst>
        </pc:spChg>
        <pc:spChg chg="add del mod">
          <ac:chgData name="Steiner Andreas 6206 ED" userId="e6377c33-a923-4f14-8587-531c474c7b48" providerId="ADAL" clId="{6ECD27E6-B224-41CD-B4E0-E297462320DD}" dt="2023-11-24T08:53:13.390" v="96418"/>
          <ac:spMkLst>
            <pc:docMk/>
            <pc:sldMk cId="3591700787" sldId="2147478562"/>
            <ac:spMk id="640" creationId="{2E7DFA4F-D17C-FA87-8B42-BC67A65214E1}"/>
          </ac:spMkLst>
        </pc:spChg>
        <pc:spChg chg="add del mod">
          <ac:chgData name="Steiner Andreas 6206 ED" userId="e6377c33-a923-4f14-8587-531c474c7b48" providerId="ADAL" clId="{6ECD27E6-B224-41CD-B4E0-E297462320DD}" dt="2023-11-24T08:53:15.433" v="96573"/>
          <ac:spMkLst>
            <pc:docMk/>
            <pc:sldMk cId="3591700787" sldId="2147478562"/>
            <ac:spMk id="641" creationId="{76744EDC-CC1C-15FE-C5CC-315D3B52E1A8}"/>
          </ac:spMkLst>
        </pc:spChg>
        <pc:spChg chg="add del mod">
          <ac:chgData name="Steiner Andreas 6206 ED" userId="e6377c33-a923-4f14-8587-531c474c7b48" providerId="ADAL" clId="{6ECD27E6-B224-41CD-B4E0-E297462320DD}" dt="2023-11-24T08:53:17.382" v="96728"/>
          <ac:spMkLst>
            <pc:docMk/>
            <pc:sldMk cId="3591700787" sldId="2147478562"/>
            <ac:spMk id="642" creationId="{34A659A6-F712-BE73-21F3-21E2B7270F0B}"/>
          </ac:spMkLst>
        </pc:spChg>
        <pc:spChg chg="add del mod">
          <ac:chgData name="Steiner Andreas 6206 ED" userId="e6377c33-a923-4f14-8587-531c474c7b48" providerId="ADAL" clId="{6ECD27E6-B224-41CD-B4E0-E297462320DD}" dt="2023-11-24T08:53:19.377" v="96883"/>
          <ac:spMkLst>
            <pc:docMk/>
            <pc:sldMk cId="3591700787" sldId="2147478562"/>
            <ac:spMk id="643" creationId="{0FA3301D-16C5-6D75-B3EE-828C75C2A138}"/>
          </ac:spMkLst>
        </pc:spChg>
        <pc:spChg chg="add del mod">
          <ac:chgData name="Steiner Andreas 6206 ED" userId="e6377c33-a923-4f14-8587-531c474c7b48" providerId="ADAL" clId="{6ECD27E6-B224-41CD-B4E0-E297462320DD}" dt="2023-11-24T08:53:21.314" v="97038"/>
          <ac:spMkLst>
            <pc:docMk/>
            <pc:sldMk cId="3591700787" sldId="2147478562"/>
            <ac:spMk id="644" creationId="{A07DE9A0-9085-2FA3-0B29-8FF1DDC4A49C}"/>
          </ac:spMkLst>
        </pc:spChg>
        <pc:spChg chg="add del mod">
          <ac:chgData name="Steiner Andreas 6206 ED" userId="e6377c33-a923-4f14-8587-531c474c7b48" providerId="ADAL" clId="{6ECD27E6-B224-41CD-B4E0-E297462320DD}" dt="2023-11-24T08:53:23.271" v="97193"/>
          <ac:spMkLst>
            <pc:docMk/>
            <pc:sldMk cId="3591700787" sldId="2147478562"/>
            <ac:spMk id="645" creationId="{3A0C9BE5-1D2B-1038-9204-BCB2BBBD7394}"/>
          </ac:spMkLst>
        </pc:spChg>
        <pc:spChg chg="add del mod">
          <ac:chgData name="Steiner Andreas 6206 ED" userId="e6377c33-a923-4f14-8587-531c474c7b48" providerId="ADAL" clId="{6ECD27E6-B224-41CD-B4E0-E297462320DD}" dt="2023-11-24T08:53:25.403" v="97348"/>
          <ac:spMkLst>
            <pc:docMk/>
            <pc:sldMk cId="3591700787" sldId="2147478562"/>
            <ac:spMk id="646" creationId="{25681F6D-3571-A7EC-C246-9B28DF447365}"/>
          </ac:spMkLst>
        </pc:spChg>
        <pc:spChg chg="add del mod">
          <ac:chgData name="Steiner Andreas 6206 ED" userId="e6377c33-a923-4f14-8587-531c474c7b48" providerId="ADAL" clId="{6ECD27E6-B224-41CD-B4E0-E297462320DD}" dt="2023-11-24T08:53:27.374" v="97503"/>
          <ac:spMkLst>
            <pc:docMk/>
            <pc:sldMk cId="3591700787" sldId="2147478562"/>
            <ac:spMk id="647" creationId="{EC14FF29-43AA-453B-8CB7-D12225E3BDDC}"/>
          </ac:spMkLst>
        </pc:spChg>
        <pc:spChg chg="add del mod">
          <ac:chgData name="Steiner Andreas 6206 ED" userId="e6377c33-a923-4f14-8587-531c474c7b48" providerId="ADAL" clId="{6ECD27E6-B224-41CD-B4E0-E297462320DD}" dt="2023-11-24T08:53:29.269" v="97658"/>
          <ac:spMkLst>
            <pc:docMk/>
            <pc:sldMk cId="3591700787" sldId="2147478562"/>
            <ac:spMk id="648" creationId="{7D6BBA5A-2A35-B761-51AB-FCEC51508A9C}"/>
          </ac:spMkLst>
        </pc:spChg>
        <pc:spChg chg="add del mod">
          <ac:chgData name="Steiner Andreas 6206 ED" userId="e6377c33-a923-4f14-8587-531c474c7b48" providerId="ADAL" clId="{6ECD27E6-B224-41CD-B4E0-E297462320DD}" dt="2023-11-24T08:53:31.169" v="97813"/>
          <ac:spMkLst>
            <pc:docMk/>
            <pc:sldMk cId="3591700787" sldId="2147478562"/>
            <ac:spMk id="649" creationId="{143BFD73-7D2E-84F6-E5D1-1209FF00D959}"/>
          </ac:spMkLst>
        </pc:spChg>
        <pc:spChg chg="add del mod">
          <ac:chgData name="Steiner Andreas 6206 ED" userId="e6377c33-a923-4f14-8587-531c474c7b48" providerId="ADAL" clId="{6ECD27E6-B224-41CD-B4E0-E297462320DD}" dt="2023-11-24T08:53:33.109" v="97968"/>
          <ac:spMkLst>
            <pc:docMk/>
            <pc:sldMk cId="3591700787" sldId="2147478562"/>
            <ac:spMk id="650" creationId="{3EA610B9-0B58-AB97-038B-7DC911EB2BC5}"/>
          </ac:spMkLst>
        </pc:spChg>
        <pc:spChg chg="add del mod">
          <ac:chgData name="Steiner Andreas 6206 ED" userId="e6377c33-a923-4f14-8587-531c474c7b48" providerId="ADAL" clId="{6ECD27E6-B224-41CD-B4E0-E297462320DD}" dt="2023-11-24T08:53:35.026" v="98123"/>
          <ac:spMkLst>
            <pc:docMk/>
            <pc:sldMk cId="3591700787" sldId="2147478562"/>
            <ac:spMk id="651" creationId="{779D1CC7-863C-7BD5-24C3-159F0F8B9F28}"/>
          </ac:spMkLst>
        </pc:spChg>
        <pc:spChg chg="add del mod">
          <ac:chgData name="Steiner Andreas 6206 ED" userId="e6377c33-a923-4f14-8587-531c474c7b48" providerId="ADAL" clId="{6ECD27E6-B224-41CD-B4E0-E297462320DD}" dt="2023-11-24T08:53:37.155" v="98278"/>
          <ac:spMkLst>
            <pc:docMk/>
            <pc:sldMk cId="3591700787" sldId="2147478562"/>
            <ac:spMk id="652" creationId="{9B5BE061-81FB-5B9C-9180-64C4A7CF2C02}"/>
          </ac:spMkLst>
        </pc:spChg>
        <pc:spChg chg="add del mod">
          <ac:chgData name="Steiner Andreas 6206 ED" userId="e6377c33-a923-4f14-8587-531c474c7b48" providerId="ADAL" clId="{6ECD27E6-B224-41CD-B4E0-E297462320DD}" dt="2023-11-24T08:53:39.038" v="98433"/>
          <ac:spMkLst>
            <pc:docMk/>
            <pc:sldMk cId="3591700787" sldId="2147478562"/>
            <ac:spMk id="653" creationId="{5771FF3B-5CA8-0BAB-1A79-4FC7D94F2EC6}"/>
          </ac:spMkLst>
        </pc:spChg>
        <pc:spChg chg="add del mod">
          <ac:chgData name="Steiner Andreas 6206 ED" userId="e6377c33-a923-4f14-8587-531c474c7b48" providerId="ADAL" clId="{6ECD27E6-B224-41CD-B4E0-E297462320DD}" dt="2023-11-24T08:53:40.985" v="98588"/>
          <ac:spMkLst>
            <pc:docMk/>
            <pc:sldMk cId="3591700787" sldId="2147478562"/>
            <ac:spMk id="654" creationId="{968EC969-AA37-441C-9E6D-8B3ACF927347}"/>
          </ac:spMkLst>
        </pc:spChg>
        <pc:spChg chg="add del mod">
          <ac:chgData name="Steiner Andreas 6206 ED" userId="e6377c33-a923-4f14-8587-531c474c7b48" providerId="ADAL" clId="{6ECD27E6-B224-41CD-B4E0-E297462320DD}" dt="2023-11-24T08:53:42.954" v="98743"/>
          <ac:spMkLst>
            <pc:docMk/>
            <pc:sldMk cId="3591700787" sldId="2147478562"/>
            <ac:spMk id="655" creationId="{71C50B29-9FBD-F117-169F-B681B93223B1}"/>
          </ac:spMkLst>
        </pc:spChg>
        <pc:spChg chg="add del mod">
          <ac:chgData name="Steiner Andreas 6206 ED" userId="e6377c33-a923-4f14-8587-531c474c7b48" providerId="ADAL" clId="{6ECD27E6-B224-41CD-B4E0-E297462320DD}" dt="2023-11-24T08:53:44.883" v="98898"/>
          <ac:spMkLst>
            <pc:docMk/>
            <pc:sldMk cId="3591700787" sldId="2147478562"/>
            <ac:spMk id="656" creationId="{06D7032B-977C-DA13-D1F0-27D94B479891}"/>
          </ac:spMkLst>
        </pc:spChg>
        <pc:spChg chg="add del mod">
          <ac:chgData name="Steiner Andreas 6206 ED" userId="e6377c33-a923-4f14-8587-531c474c7b48" providerId="ADAL" clId="{6ECD27E6-B224-41CD-B4E0-E297462320DD}" dt="2023-11-24T08:53:46.855" v="99053"/>
          <ac:spMkLst>
            <pc:docMk/>
            <pc:sldMk cId="3591700787" sldId="2147478562"/>
            <ac:spMk id="657" creationId="{CA1EB336-CCFD-CA1F-8A45-04E923855AEF}"/>
          </ac:spMkLst>
        </pc:spChg>
        <pc:spChg chg="add del mod">
          <ac:chgData name="Steiner Andreas 6206 ED" userId="e6377c33-a923-4f14-8587-531c474c7b48" providerId="ADAL" clId="{6ECD27E6-B224-41CD-B4E0-E297462320DD}" dt="2023-11-24T08:53:48.892" v="99208"/>
          <ac:spMkLst>
            <pc:docMk/>
            <pc:sldMk cId="3591700787" sldId="2147478562"/>
            <ac:spMk id="658" creationId="{AB250155-F1A2-E0F3-63AC-5A829CCD7C5C}"/>
          </ac:spMkLst>
        </pc:spChg>
        <pc:spChg chg="add del mod">
          <ac:chgData name="Steiner Andreas 6206 ED" userId="e6377c33-a923-4f14-8587-531c474c7b48" providerId="ADAL" clId="{6ECD27E6-B224-41CD-B4E0-E297462320DD}" dt="2023-11-24T08:53:50.829" v="99363"/>
          <ac:spMkLst>
            <pc:docMk/>
            <pc:sldMk cId="3591700787" sldId="2147478562"/>
            <ac:spMk id="659" creationId="{24C1506A-434B-16BF-5C32-4C9DEF50C4F3}"/>
          </ac:spMkLst>
        </pc:spChg>
        <pc:spChg chg="add del mod">
          <ac:chgData name="Steiner Andreas 6206 ED" userId="e6377c33-a923-4f14-8587-531c474c7b48" providerId="ADAL" clId="{6ECD27E6-B224-41CD-B4E0-E297462320DD}" dt="2023-11-24T08:53:52.839" v="99518"/>
          <ac:spMkLst>
            <pc:docMk/>
            <pc:sldMk cId="3591700787" sldId="2147478562"/>
            <ac:spMk id="660" creationId="{7AFEA279-66C3-10F9-37D6-9A4A3234826F}"/>
          </ac:spMkLst>
        </pc:spChg>
        <pc:spChg chg="add del mod">
          <ac:chgData name="Steiner Andreas 6206 ED" userId="e6377c33-a923-4f14-8587-531c474c7b48" providerId="ADAL" clId="{6ECD27E6-B224-41CD-B4E0-E297462320DD}" dt="2023-11-24T08:53:54.797" v="99673"/>
          <ac:spMkLst>
            <pc:docMk/>
            <pc:sldMk cId="3591700787" sldId="2147478562"/>
            <ac:spMk id="661" creationId="{2E6DD435-C0DA-A9B4-5CC4-B8ED99DBA0E6}"/>
          </ac:spMkLst>
        </pc:spChg>
        <pc:spChg chg="add del mod">
          <ac:chgData name="Steiner Andreas 6206 ED" userId="e6377c33-a923-4f14-8587-531c474c7b48" providerId="ADAL" clId="{6ECD27E6-B224-41CD-B4E0-E297462320DD}" dt="2023-11-24T08:53:56.747" v="99828"/>
          <ac:spMkLst>
            <pc:docMk/>
            <pc:sldMk cId="3591700787" sldId="2147478562"/>
            <ac:spMk id="662" creationId="{6908189E-A0D6-63DF-2038-BA111A230126}"/>
          </ac:spMkLst>
        </pc:spChg>
        <pc:spChg chg="add del mod">
          <ac:chgData name="Steiner Andreas 6206 ED" userId="e6377c33-a923-4f14-8587-531c474c7b48" providerId="ADAL" clId="{6ECD27E6-B224-41CD-B4E0-E297462320DD}" dt="2023-11-24T08:53:58.828" v="99983"/>
          <ac:spMkLst>
            <pc:docMk/>
            <pc:sldMk cId="3591700787" sldId="2147478562"/>
            <ac:spMk id="663" creationId="{896A0DA0-3385-505E-7BED-7278576B637C}"/>
          </ac:spMkLst>
        </pc:spChg>
        <pc:spChg chg="add del mod">
          <ac:chgData name="Steiner Andreas 6206 ED" userId="e6377c33-a923-4f14-8587-531c474c7b48" providerId="ADAL" clId="{6ECD27E6-B224-41CD-B4E0-E297462320DD}" dt="2023-11-24T08:54:00.893" v="100138"/>
          <ac:spMkLst>
            <pc:docMk/>
            <pc:sldMk cId="3591700787" sldId="2147478562"/>
            <ac:spMk id="664" creationId="{AF8833C4-A61B-718C-924A-599DE1A6FABF}"/>
          </ac:spMkLst>
        </pc:spChg>
        <pc:spChg chg="add del mod">
          <ac:chgData name="Steiner Andreas 6206 ED" userId="e6377c33-a923-4f14-8587-531c474c7b48" providerId="ADAL" clId="{6ECD27E6-B224-41CD-B4E0-E297462320DD}" dt="2023-11-24T08:54:02.900" v="100293"/>
          <ac:spMkLst>
            <pc:docMk/>
            <pc:sldMk cId="3591700787" sldId="2147478562"/>
            <ac:spMk id="665" creationId="{F81A5F28-7BEB-41DC-8E4C-2B4D19571B00}"/>
          </ac:spMkLst>
        </pc:spChg>
        <pc:spChg chg="add del mod">
          <ac:chgData name="Steiner Andreas 6206 ED" userId="e6377c33-a923-4f14-8587-531c474c7b48" providerId="ADAL" clId="{6ECD27E6-B224-41CD-B4E0-E297462320DD}" dt="2023-11-24T08:54:04.841" v="100448"/>
          <ac:spMkLst>
            <pc:docMk/>
            <pc:sldMk cId="3591700787" sldId="2147478562"/>
            <ac:spMk id="666" creationId="{A3C27695-C525-43A2-1B4F-135A675196B7}"/>
          </ac:spMkLst>
        </pc:spChg>
        <pc:spChg chg="add del mod">
          <ac:chgData name="Steiner Andreas 6206 ED" userId="e6377c33-a923-4f14-8587-531c474c7b48" providerId="ADAL" clId="{6ECD27E6-B224-41CD-B4E0-E297462320DD}" dt="2023-11-24T08:54:06.809" v="100603"/>
          <ac:spMkLst>
            <pc:docMk/>
            <pc:sldMk cId="3591700787" sldId="2147478562"/>
            <ac:spMk id="667" creationId="{C58E5EF1-D781-4CC9-71FC-563418B5A3DC}"/>
          </ac:spMkLst>
        </pc:spChg>
        <pc:spChg chg="add del mod">
          <ac:chgData name="Steiner Andreas 6206 ED" userId="e6377c33-a923-4f14-8587-531c474c7b48" providerId="ADAL" clId="{6ECD27E6-B224-41CD-B4E0-E297462320DD}" dt="2023-11-24T08:54:08.833" v="100758"/>
          <ac:spMkLst>
            <pc:docMk/>
            <pc:sldMk cId="3591700787" sldId="2147478562"/>
            <ac:spMk id="668" creationId="{870EE1C3-FCFD-F673-6562-CCFB4E174E99}"/>
          </ac:spMkLst>
        </pc:spChg>
        <pc:spChg chg="add del mod">
          <ac:chgData name="Steiner Andreas 6206 ED" userId="e6377c33-a923-4f14-8587-531c474c7b48" providerId="ADAL" clId="{6ECD27E6-B224-41CD-B4E0-E297462320DD}" dt="2023-11-24T08:54:10.933" v="100913"/>
          <ac:spMkLst>
            <pc:docMk/>
            <pc:sldMk cId="3591700787" sldId="2147478562"/>
            <ac:spMk id="669" creationId="{55BD003A-5D53-BE9D-8E1E-269827B9DBD2}"/>
          </ac:spMkLst>
        </pc:spChg>
        <pc:spChg chg="add del mod">
          <ac:chgData name="Steiner Andreas 6206 ED" userId="e6377c33-a923-4f14-8587-531c474c7b48" providerId="ADAL" clId="{6ECD27E6-B224-41CD-B4E0-E297462320DD}" dt="2023-11-24T08:54:12.884" v="101068"/>
          <ac:spMkLst>
            <pc:docMk/>
            <pc:sldMk cId="3591700787" sldId="2147478562"/>
            <ac:spMk id="670" creationId="{C78AFE53-B1B8-54A3-5624-ECA68EF8EAF4}"/>
          </ac:spMkLst>
        </pc:spChg>
        <pc:spChg chg="add del mod">
          <ac:chgData name="Steiner Andreas 6206 ED" userId="e6377c33-a923-4f14-8587-531c474c7b48" providerId="ADAL" clId="{6ECD27E6-B224-41CD-B4E0-E297462320DD}" dt="2023-11-24T08:54:14.818" v="101223"/>
          <ac:spMkLst>
            <pc:docMk/>
            <pc:sldMk cId="3591700787" sldId="2147478562"/>
            <ac:spMk id="671" creationId="{24150638-3869-9B63-F6D8-A2F4412D6B02}"/>
          </ac:spMkLst>
        </pc:spChg>
        <pc:spChg chg="add del mod">
          <ac:chgData name="Steiner Andreas 6206 ED" userId="e6377c33-a923-4f14-8587-531c474c7b48" providerId="ADAL" clId="{6ECD27E6-B224-41CD-B4E0-E297462320DD}" dt="2023-11-24T08:54:16.714" v="101378"/>
          <ac:spMkLst>
            <pc:docMk/>
            <pc:sldMk cId="3591700787" sldId="2147478562"/>
            <ac:spMk id="672" creationId="{B79B2B5E-7693-1F58-210D-4F04CCF733B3}"/>
          </ac:spMkLst>
        </pc:spChg>
        <pc:spChg chg="add del mod">
          <ac:chgData name="Steiner Andreas 6206 ED" userId="e6377c33-a923-4f14-8587-531c474c7b48" providerId="ADAL" clId="{6ECD27E6-B224-41CD-B4E0-E297462320DD}" dt="2023-11-24T08:54:18.651" v="101533"/>
          <ac:spMkLst>
            <pc:docMk/>
            <pc:sldMk cId="3591700787" sldId="2147478562"/>
            <ac:spMk id="673" creationId="{ECB7176A-21FD-5DC9-820E-B66E44F1E257}"/>
          </ac:spMkLst>
        </pc:spChg>
        <pc:spChg chg="add del mod">
          <ac:chgData name="Steiner Andreas 6206 ED" userId="e6377c33-a923-4f14-8587-531c474c7b48" providerId="ADAL" clId="{6ECD27E6-B224-41CD-B4E0-E297462320DD}" dt="2023-11-24T08:54:20.628" v="101688"/>
          <ac:spMkLst>
            <pc:docMk/>
            <pc:sldMk cId="3591700787" sldId="2147478562"/>
            <ac:spMk id="674" creationId="{33EB4D83-FE50-633A-DF98-C6F999BBA2E5}"/>
          </ac:spMkLst>
        </pc:spChg>
        <pc:spChg chg="add del mod">
          <ac:chgData name="Steiner Andreas 6206 ED" userId="e6377c33-a923-4f14-8587-531c474c7b48" providerId="ADAL" clId="{6ECD27E6-B224-41CD-B4E0-E297462320DD}" dt="2023-11-24T08:54:22.690" v="101843"/>
          <ac:spMkLst>
            <pc:docMk/>
            <pc:sldMk cId="3591700787" sldId="2147478562"/>
            <ac:spMk id="675" creationId="{C6BCA3CE-5E86-3CD9-8F31-FFCBA06CCE7F}"/>
          </ac:spMkLst>
        </pc:spChg>
        <pc:spChg chg="add del mod">
          <ac:chgData name="Steiner Andreas 6206 ED" userId="e6377c33-a923-4f14-8587-531c474c7b48" providerId="ADAL" clId="{6ECD27E6-B224-41CD-B4E0-E297462320DD}" dt="2023-11-24T08:54:24.670" v="101998"/>
          <ac:spMkLst>
            <pc:docMk/>
            <pc:sldMk cId="3591700787" sldId="2147478562"/>
            <ac:spMk id="676" creationId="{9B320FA6-E4E7-E7B9-6CF0-B85A3ED80DE1}"/>
          </ac:spMkLst>
        </pc:spChg>
        <pc:spChg chg="add del mod">
          <ac:chgData name="Steiner Andreas 6206 ED" userId="e6377c33-a923-4f14-8587-531c474c7b48" providerId="ADAL" clId="{6ECD27E6-B224-41CD-B4E0-E297462320DD}" dt="2023-11-24T08:54:26.609" v="102153"/>
          <ac:spMkLst>
            <pc:docMk/>
            <pc:sldMk cId="3591700787" sldId="2147478562"/>
            <ac:spMk id="677" creationId="{15D61649-F4EA-E466-6446-94F6FDB76764}"/>
          </ac:spMkLst>
        </pc:spChg>
        <pc:spChg chg="add del mod">
          <ac:chgData name="Steiner Andreas 6206 ED" userId="e6377c33-a923-4f14-8587-531c474c7b48" providerId="ADAL" clId="{6ECD27E6-B224-41CD-B4E0-E297462320DD}" dt="2023-11-24T08:54:28.571" v="102308"/>
          <ac:spMkLst>
            <pc:docMk/>
            <pc:sldMk cId="3591700787" sldId="2147478562"/>
            <ac:spMk id="678" creationId="{FDAE6C6A-BAC2-1BAE-38AF-E3A6B96643C8}"/>
          </ac:spMkLst>
        </pc:spChg>
        <pc:spChg chg="add del mod">
          <ac:chgData name="Steiner Andreas 6206 ED" userId="e6377c33-a923-4f14-8587-531c474c7b48" providerId="ADAL" clId="{6ECD27E6-B224-41CD-B4E0-E297462320DD}" dt="2023-11-24T08:54:30.495" v="102463"/>
          <ac:spMkLst>
            <pc:docMk/>
            <pc:sldMk cId="3591700787" sldId="2147478562"/>
            <ac:spMk id="679" creationId="{714F3167-1CF1-23B6-CCA0-4651871364C3}"/>
          </ac:spMkLst>
        </pc:spChg>
        <pc:spChg chg="add del mod">
          <ac:chgData name="Steiner Andreas 6206 ED" userId="e6377c33-a923-4f14-8587-531c474c7b48" providerId="ADAL" clId="{6ECD27E6-B224-41CD-B4E0-E297462320DD}" dt="2023-11-24T08:54:32.681" v="102618"/>
          <ac:spMkLst>
            <pc:docMk/>
            <pc:sldMk cId="3591700787" sldId="2147478562"/>
            <ac:spMk id="680" creationId="{850280CC-2433-DD62-4B37-4F35784527A1}"/>
          </ac:spMkLst>
        </pc:spChg>
        <pc:spChg chg="add del mod">
          <ac:chgData name="Steiner Andreas 6206 ED" userId="e6377c33-a923-4f14-8587-531c474c7b48" providerId="ADAL" clId="{6ECD27E6-B224-41CD-B4E0-E297462320DD}" dt="2023-11-24T08:54:34.651" v="102773"/>
          <ac:spMkLst>
            <pc:docMk/>
            <pc:sldMk cId="3591700787" sldId="2147478562"/>
            <ac:spMk id="681" creationId="{324613E9-EDFB-7AFC-D7FC-908B9B3285E0}"/>
          </ac:spMkLst>
        </pc:spChg>
        <pc:spChg chg="add del mod">
          <ac:chgData name="Steiner Andreas 6206 ED" userId="e6377c33-a923-4f14-8587-531c474c7b48" providerId="ADAL" clId="{6ECD27E6-B224-41CD-B4E0-E297462320DD}" dt="2023-11-24T08:54:36.548" v="102928"/>
          <ac:spMkLst>
            <pc:docMk/>
            <pc:sldMk cId="3591700787" sldId="2147478562"/>
            <ac:spMk id="682" creationId="{727FFB24-6420-1D0E-960F-C7385E60E388}"/>
          </ac:spMkLst>
        </pc:spChg>
        <pc:spChg chg="add del mod">
          <ac:chgData name="Steiner Andreas 6206 ED" userId="e6377c33-a923-4f14-8587-531c474c7b48" providerId="ADAL" clId="{6ECD27E6-B224-41CD-B4E0-E297462320DD}" dt="2023-11-24T08:54:38.834" v="103083"/>
          <ac:spMkLst>
            <pc:docMk/>
            <pc:sldMk cId="3591700787" sldId="2147478562"/>
            <ac:spMk id="683" creationId="{E9A8DE75-91A3-CDB3-5160-CCEA33E2E24B}"/>
          </ac:spMkLst>
        </pc:spChg>
        <pc:spChg chg="add del mod">
          <ac:chgData name="Steiner Andreas 6206 ED" userId="e6377c33-a923-4f14-8587-531c474c7b48" providerId="ADAL" clId="{6ECD27E6-B224-41CD-B4E0-E297462320DD}" dt="2023-11-24T08:54:40.930" v="103238"/>
          <ac:spMkLst>
            <pc:docMk/>
            <pc:sldMk cId="3591700787" sldId="2147478562"/>
            <ac:spMk id="684" creationId="{1AEB9CCF-DA1F-C921-BB87-A0B8E5880C94}"/>
          </ac:spMkLst>
        </pc:spChg>
        <pc:spChg chg="add del mod">
          <ac:chgData name="Steiner Andreas 6206 ED" userId="e6377c33-a923-4f14-8587-531c474c7b48" providerId="ADAL" clId="{6ECD27E6-B224-41CD-B4E0-E297462320DD}" dt="2023-11-24T08:54:42.880" v="103393"/>
          <ac:spMkLst>
            <pc:docMk/>
            <pc:sldMk cId="3591700787" sldId="2147478562"/>
            <ac:spMk id="685" creationId="{EEE0E4D3-4F04-FD96-7CE3-BB124FD6050B}"/>
          </ac:spMkLst>
        </pc:spChg>
        <pc:spChg chg="add del mod">
          <ac:chgData name="Steiner Andreas 6206 ED" userId="e6377c33-a923-4f14-8587-531c474c7b48" providerId="ADAL" clId="{6ECD27E6-B224-41CD-B4E0-E297462320DD}" dt="2023-11-24T08:54:45.133" v="103548"/>
          <ac:spMkLst>
            <pc:docMk/>
            <pc:sldMk cId="3591700787" sldId="2147478562"/>
            <ac:spMk id="686" creationId="{55ED4950-381D-A989-ECAC-52A5E6370D09}"/>
          </ac:spMkLst>
        </pc:spChg>
        <pc:spChg chg="add del mod">
          <ac:chgData name="Steiner Andreas 6206 ED" userId="e6377c33-a923-4f14-8587-531c474c7b48" providerId="ADAL" clId="{6ECD27E6-B224-41CD-B4E0-E297462320DD}" dt="2023-11-24T08:54:47.381" v="103703"/>
          <ac:spMkLst>
            <pc:docMk/>
            <pc:sldMk cId="3591700787" sldId="2147478562"/>
            <ac:spMk id="687" creationId="{B2A80569-5A95-FDE8-487C-9EF1BCACF449}"/>
          </ac:spMkLst>
        </pc:spChg>
        <pc:spChg chg="add del mod">
          <ac:chgData name="Steiner Andreas 6206 ED" userId="e6377c33-a923-4f14-8587-531c474c7b48" providerId="ADAL" clId="{6ECD27E6-B224-41CD-B4E0-E297462320DD}" dt="2023-11-24T08:54:49.476" v="103858"/>
          <ac:spMkLst>
            <pc:docMk/>
            <pc:sldMk cId="3591700787" sldId="2147478562"/>
            <ac:spMk id="688" creationId="{018492F1-B935-5B6B-22A5-A45EB48EE9B2}"/>
          </ac:spMkLst>
        </pc:spChg>
        <pc:spChg chg="add del mod">
          <ac:chgData name="Steiner Andreas 6206 ED" userId="e6377c33-a923-4f14-8587-531c474c7b48" providerId="ADAL" clId="{6ECD27E6-B224-41CD-B4E0-E297462320DD}" dt="2023-11-24T08:54:51.858" v="104013"/>
          <ac:spMkLst>
            <pc:docMk/>
            <pc:sldMk cId="3591700787" sldId="2147478562"/>
            <ac:spMk id="689" creationId="{B8CD8D57-9E48-7978-E5DD-2E84D7E7D4BD}"/>
          </ac:spMkLst>
        </pc:spChg>
        <pc:spChg chg="add del mod">
          <ac:chgData name="Steiner Andreas 6206 ED" userId="e6377c33-a923-4f14-8587-531c474c7b48" providerId="ADAL" clId="{6ECD27E6-B224-41CD-B4E0-E297462320DD}" dt="2023-11-24T08:54:53.894" v="104168"/>
          <ac:spMkLst>
            <pc:docMk/>
            <pc:sldMk cId="3591700787" sldId="2147478562"/>
            <ac:spMk id="690" creationId="{5BBFAB38-ED03-1F4D-892E-B4733BFDF100}"/>
          </ac:spMkLst>
        </pc:spChg>
        <pc:spChg chg="add del mod">
          <ac:chgData name="Steiner Andreas 6206 ED" userId="e6377c33-a923-4f14-8587-531c474c7b48" providerId="ADAL" clId="{6ECD27E6-B224-41CD-B4E0-E297462320DD}" dt="2023-11-24T08:54:56.023" v="104323"/>
          <ac:spMkLst>
            <pc:docMk/>
            <pc:sldMk cId="3591700787" sldId="2147478562"/>
            <ac:spMk id="691" creationId="{9A31576B-2DE2-26EB-B44D-BD63955BD88F}"/>
          </ac:spMkLst>
        </pc:spChg>
        <pc:spChg chg="add del mod">
          <ac:chgData name="Steiner Andreas 6206 ED" userId="e6377c33-a923-4f14-8587-531c474c7b48" providerId="ADAL" clId="{6ECD27E6-B224-41CD-B4E0-E297462320DD}" dt="2023-11-24T08:54:58.099" v="104478"/>
          <ac:spMkLst>
            <pc:docMk/>
            <pc:sldMk cId="3591700787" sldId="2147478562"/>
            <ac:spMk id="692" creationId="{A71E7DB8-807C-7B65-222C-D4CBEA162D78}"/>
          </ac:spMkLst>
        </pc:spChg>
        <pc:spChg chg="add del mod">
          <ac:chgData name="Steiner Andreas 6206 ED" userId="e6377c33-a923-4f14-8587-531c474c7b48" providerId="ADAL" clId="{6ECD27E6-B224-41CD-B4E0-E297462320DD}" dt="2023-11-24T08:55:00.100" v="104633"/>
          <ac:spMkLst>
            <pc:docMk/>
            <pc:sldMk cId="3591700787" sldId="2147478562"/>
            <ac:spMk id="693" creationId="{4D567141-D328-5E7D-B7D1-1CD98A8A34DF}"/>
          </ac:spMkLst>
        </pc:spChg>
        <pc:spChg chg="add del mod">
          <ac:chgData name="Steiner Andreas 6206 ED" userId="e6377c33-a923-4f14-8587-531c474c7b48" providerId="ADAL" clId="{6ECD27E6-B224-41CD-B4E0-E297462320DD}" dt="2023-11-24T08:55:02.053" v="104788"/>
          <ac:spMkLst>
            <pc:docMk/>
            <pc:sldMk cId="3591700787" sldId="2147478562"/>
            <ac:spMk id="694" creationId="{580B6AA3-F359-341D-5E9C-B2A81A07FBA2}"/>
          </ac:spMkLst>
        </pc:spChg>
        <pc:spChg chg="add del mod">
          <ac:chgData name="Steiner Andreas 6206 ED" userId="e6377c33-a923-4f14-8587-531c474c7b48" providerId="ADAL" clId="{6ECD27E6-B224-41CD-B4E0-E297462320DD}" dt="2023-11-24T08:55:04.035" v="104943"/>
          <ac:spMkLst>
            <pc:docMk/>
            <pc:sldMk cId="3591700787" sldId="2147478562"/>
            <ac:spMk id="695" creationId="{0B30DF16-26B2-188E-3642-A08C6F8CE96D}"/>
          </ac:spMkLst>
        </pc:spChg>
        <pc:spChg chg="add del mod">
          <ac:chgData name="Steiner Andreas 6206 ED" userId="e6377c33-a923-4f14-8587-531c474c7b48" providerId="ADAL" clId="{6ECD27E6-B224-41CD-B4E0-E297462320DD}" dt="2023-11-24T08:55:06.173" v="105098"/>
          <ac:spMkLst>
            <pc:docMk/>
            <pc:sldMk cId="3591700787" sldId="2147478562"/>
            <ac:spMk id="696" creationId="{A61FCEDE-083D-3F72-0F30-D6323C5E652D}"/>
          </ac:spMkLst>
        </pc:spChg>
        <pc:spChg chg="add del mod">
          <ac:chgData name="Steiner Andreas 6206 ED" userId="e6377c33-a923-4f14-8587-531c474c7b48" providerId="ADAL" clId="{6ECD27E6-B224-41CD-B4E0-E297462320DD}" dt="2023-11-24T08:55:08.231" v="105253"/>
          <ac:spMkLst>
            <pc:docMk/>
            <pc:sldMk cId="3591700787" sldId="2147478562"/>
            <ac:spMk id="697" creationId="{800A59E0-2088-3A1B-6560-68CB81ECAB35}"/>
          </ac:spMkLst>
        </pc:spChg>
        <pc:spChg chg="add del mod">
          <ac:chgData name="Steiner Andreas 6206 ED" userId="e6377c33-a923-4f14-8587-531c474c7b48" providerId="ADAL" clId="{6ECD27E6-B224-41CD-B4E0-E297462320DD}" dt="2023-11-24T08:55:10.232" v="105408"/>
          <ac:spMkLst>
            <pc:docMk/>
            <pc:sldMk cId="3591700787" sldId="2147478562"/>
            <ac:spMk id="698" creationId="{495E5CD6-A5FA-190C-79CC-AD67D3EDEEA9}"/>
          </ac:spMkLst>
        </pc:spChg>
        <pc:spChg chg="add del mod">
          <ac:chgData name="Steiner Andreas 6206 ED" userId="e6377c33-a923-4f14-8587-531c474c7b48" providerId="ADAL" clId="{6ECD27E6-B224-41CD-B4E0-E297462320DD}" dt="2023-11-24T08:55:12.208" v="105563"/>
          <ac:spMkLst>
            <pc:docMk/>
            <pc:sldMk cId="3591700787" sldId="2147478562"/>
            <ac:spMk id="699" creationId="{32D014A9-E3E5-D394-5C6A-210B8BB0FEB4}"/>
          </ac:spMkLst>
        </pc:spChg>
        <pc:spChg chg="add del mod">
          <ac:chgData name="Steiner Andreas 6206 ED" userId="e6377c33-a923-4f14-8587-531c474c7b48" providerId="ADAL" clId="{6ECD27E6-B224-41CD-B4E0-E297462320DD}" dt="2023-11-24T08:55:14.271" v="105718"/>
          <ac:spMkLst>
            <pc:docMk/>
            <pc:sldMk cId="3591700787" sldId="2147478562"/>
            <ac:spMk id="700" creationId="{12E63DC4-43F5-15EF-8BC9-DF2DC866BA30}"/>
          </ac:spMkLst>
        </pc:spChg>
        <pc:spChg chg="add del mod">
          <ac:chgData name="Steiner Andreas 6206 ED" userId="e6377c33-a923-4f14-8587-531c474c7b48" providerId="ADAL" clId="{6ECD27E6-B224-41CD-B4E0-E297462320DD}" dt="2023-11-24T08:55:16.334" v="105873"/>
          <ac:spMkLst>
            <pc:docMk/>
            <pc:sldMk cId="3591700787" sldId="2147478562"/>
            <ac:spMk id="701" creationId="{5F7E2527-1EEF-D39C-0BFC-D480FE335A07}"/>
          </ac:spMkLst>
        </pc:spChg>
        <pc:spChg chg="add del mod">
          <ac:chgData name="Steiner Andreas 6206 ED" userId="e6377c33-a923-4f14-8587-531c474c7b48" providerId="ADAL" clId="{6ECD27E6-B224-41CD-B4E0-E297462320DD}" dt="2023-11-24T08:55:18.375" v="106028"/>
          <ac:spMkLst>
            <pc:docMk/>
            <pc:sldMk cId="3591700787" sldId="2147478562"/>
            <ac:spMk id="702" creationId="{53991E37-FFBE-13EE-DDA3-2FEECB622119}"/>
          </ac:spMkLst>
        </pc:spChg>
        <pc:spChg chg="add del mod">
          <ac:chgData name="Steiner Andreas 6206 ED" userId="e6377c33-a923-4f14-8587-531c474c7b48" providerId="ADAL" clId="{6ECD27E6-B224-41CD-B4E0-E297462320DD}" dt="2023-11-24T08:55:20.383" v="106183"/>
          <ac:spMkLst>
            <pc:docMk/>
            <pc:sldMk cId="3591700787" sldId="2147478562"/>
            <ac:spMk id="703" creationId="{874221D0-4FE8-F972-3B91-97FFBA51A522}"/>
          </ac:spMkLst>
        </pc:spChg>
        <pc:spChg chg="add del mod">
          <ac:chgData name="Steiner Andreas 6206 ED" userId="e6377c33-a923-4f14-8587-531c474c7b48" providerId="ADAL" clId="{6ECD27E6-B224-41CD-B4E0-E297462320DD}" dt="2023-11-24T08:55:22.337" v="106338"/>
          <ac:spMkLst>
            <pc:docMk/>
            <pc:sldMk cId="3591700787" sldId="2147478562"/>
            <ac:spMk id="704" creationId="{FA647421-3299-2507-F280-4E162954ABA1}"/>
          </ac:spMkLst>
        </pc:spChg>
        <pc:spChg chg="add del mod">
          <ac:chgData name="Steiner Andreas 6206 ED" userId="e6377c33-a923-4f14-8587-531c474c7b48" providerId="ADAL" clId="{6ECD27E6-B224-41CD-B4E0-E297462320DD}" dt="2023-11-24T08:55:24.341" v="106493"/>
          <ac:spMkLst>
            <pc:docMk/>
            <pc:sldMk cId="3591700787" sldId="2147478562"/>
            <ac:spMk id="705" creationId="{84323898-38E3-6A93-60BE-86CDE9C3397D}"/>
          </ac:spMkLst>
        </pc:spChg>
        <pc:spChg chg="add del mod">
          <ac:chgData name="Steiner Andreas 6206 ED" userId="e6377c33-a923-4f14-8587-531c474c7b48" providerId="ADAL" clId="{6ECD27E6-B224-41CD-B4E0-E297462320DD}" dt="2023-11-24T08:55:26.317" v="106648"/>
          <ac:spMkLst>
            <pc:docMk/>
            <pc:sldMk cId="3591700787" sldId="2147478562"/>
            <ac:spMk id="706" creationId="{5DF79E08-5832-2959-6D80-7F46448D2AD5}"/>
          </ac:spMkLst>
        </pc:spChg>
        <pc:spChg chg="add del mod">
          <ac:chgData name="Steiner Andreas 6206 ED" userId="e6377c33-a923-4f14-8587-531c474c7b48" providerId="ADAL" clId="{6ECD27E6-B224-41CD-B4E0-E297462320DD}" dt="2023-11-24T08:55:28.462" v="106803"/>
          <ac:spMkLst>
            <pc:docMk/>
            <pc:sldMk cId="3591700787" sldId="2147478562"/>
            <ac:spMk id="707" creationId="{EE34E5CD-734A-677B-9EB0-057BA3284E78}"/>
          </ac:spMkLst>
        </pc:spChg>
        <pc:spChg chg="add del mod">
          <ac:chgData name="Steiner Andreas 6206 ED" userId="e6377c33-a923-4f14-8587-531c474c7b48" providerId="ADAL" clId="{6ECD27E6-B224-41CD-B4E0-E297462320DD}" dt="2023-11-24T08:55:30.487" v="106958"/>
          <ac:spMkLst>
            <pc:docMk/>
            <pc:sldMk cId="3591700787" sldId="2147478562"/>
            <ac:spMk id="708" creationId="{9BE15BDE-3FD1-8BB0-46AD-462255C7130A}"/>
          </ac:spMkLst>
        </pc:spChg>
        <pc:spChg chg="add del mod">
          <ac:chgData name="Steiner Andreas 6206 ED" userId="e6377c33-a923-4f14-8587-531c474c7b48" providerId="ADAL" clId="{6ECD27E6-B224-41CD-B4E0-E297462320DD}" dt="2023-11-24T08:55:32.633" v="107113"/>
          <ac:spMkLst>
            <pc:docMk/>
            <pc:sldMk cId="3591700787" sldId="2147478562"/>
            <ac:spMk id="709" creationId="{8FF9A6C0-5A96-6C4A-A7BD-DB57722122DB}"/>
          </ac:spMkLst>
        </pc:spChg>
        <pc:spChg chg="add del mod">
          <ac:chgData name="Steiner Andreas 6206 ED" userId="e6377c33-a923-4f14-8587-531c474c7b48" providerId="ADAL" clId="{6ECD27E6-B224-41CD-B4E0-E297462320DD}" dt="2023-11-24T08:55:34.544" v="107268"/>
          <ac:spMkLst>
            <pc:docMk/>
            <pc:sldMk cId="3591700787" sldId="2147478562"/>
            <ac:spMk id="710" creationId="{918CB8B2-A928-8D6F-7CD7-AB63955FFFB5}"/>
          </ac:spMkLst>
        </pc:spChg>
        <pc:spChg chg="add del mod">
          <ac:chgData name="Steiner Andreas 6206 ED" userId="e6377c33-a923-4f14-8587-531c474c7b48" providerId="ADAL" clId="{6ECD27E6-B224-41CD-B4E0-E297462320DD}" dt="2023-11-24T08:55:36.469" v="107423"/>
          <ac:spMkLst>
            <pc:docMk/>
            <pc:sldMk cId="3591700787" sldId="2147478562"/>
            <ac:spMk id="711" creationId="{4DFA382B-9CEE-920A-6771-757368B1E989}"/>
          </ac:spMkLst>
        </pc:spChg>
        <pc:spChg chg="add del mod">
          <ac:chgData name="Steiner Andreas 6206 ED" userId="e6377c33-a923-4f14-8587-531c474c7b48" providerId="ADAL" clId="{6ECD27E6-B224-41CD-B4E0-E297462320DD}" dt="2023-11-24T08:55:38.511" v="107578"/>
          <ac:spMkLst>
            <pc:docMk/>
            <pc:sldMk cId="3591700787" sldId="2147478562"/>
            <ac:spMk id="712" creationId="{B4EACA05-6481-FA98-A593-757FE8B0BA00}"/>
          </ac:spMkLst>
        </pc:spChg>
        <pc:spChg chg="add del mod">
          <ac:chgData name="Steiner Andreas 6206 ED" userId="e6377c33-a923-4f14-8587-531c474c7b48" providerId="ADAL" clId="{6ECD27E6-B224-41CD-B4E0-E297462320DD}" dt="2023-11-24T08:55:40.551" v="107733"/>
          <ac:spMkLst>
            <pc:docMk/>
            <pc:sldMk cId="3591700787" sldId="2147478562"/>
            <ac:spMk id="713" creationId="{4D3F0A75-8597-5829-928F-86D56E2B79E6}"/>
          </ac:spMkLst>
        </pc:spChg>
        <pc:spChg chg="add del mod">
          <ac:chgData name="Steiner Andreas 6206 ED" userId="e6377c33-a923-4f14-8587-531c474c7b48" providerId="ADAL" clId="{6ECD27E6-B224-41CD-B4E0-E297462320DD}" dt="2023-11-24T08:55:42.417" v="107888"/>
          <ac:spMkLst>
            <pc:docMk/>
            <pc:sldMk cId="3591700787" sldId="2147478562"/>
            <ac:spMk id="714" creationId="{7ADE6B1F-703B-61D4-D6AD-C6FD64B5B714}"/>
          </ac:spMkLst>
        </pc:spChg>
        <pc:spChg chg="add del mod">
          <ac:chgData name="Steiner Andreas 6206 ED" userId="e6377c33-a923-4f14-8587-531c474c7b48" providerId="ADAL" clId="{6ECD27E6-B224-41CD-B4E0-E297462320DD}" dt="2023-11-24T08:55:44.394" v="108043"/>
          <ac:spMkLst>
            <pc:docMk/>
            <pc:sldMk cId="3591700787" sldId="2147478562"/>
            <ac:spMk id="715" creationId="{0395BDB4-848F-9315-F0C7-508295B79972}"/>
          </ac:spMkLst>
        </pc:spChg>
        <pc:spChg chg="add del mod">
          <ac:chgData name="Steiner Andreas 6206 ED" userId="e6377c33-a923-4f14-8587-531c474c7b48" providerId="ADAL" clId="{6ECD27E6-B224-41CD-B4E0-E297462320DD}" dt="2023-11-24T08:55:46.795" v="108198"/>
          <ac:spMkLst>
            <pc:docMk/>
            <pc:sldMk cId="3591700787" sldId="2147478562"/>
            <ac:spMk id="716" creationId="{E76A26B3-3DBA-0E5E-917E-CE4CB9461A6A}"/>
          </ac:spMkLst>
        </pc:spChg>
        <pc:spChg chg="add del mod">
          <ac:chgData name="Steiner Andreas 6206 ED" userId="e6377c33-a923-4f14-8587-531c474c7b48" providerId="ADAL" clId="{6ECD27E6-B224-41CD-B4E0-E297462320DD}" dt="2023-11-24T08:55:48.961" v="108353"/>
          <ac:spMkLst>
            <pc:docMk/>
            <pc:sldMk cId="3591700787" sldId="2147478562"/>
            <ac:spMk id="717" creationId="{D32D4A9A-B14A-0500-6906-E31D6592E88D}"/>
          </ac:spMkLst>
        </pc:spChg>
        <pc:spChg chg="add del mod">
          <ac:chgData name="Steiner Andreas 6206 ED" userId="e6377c33-a923-4f14-8587-531c474c7b48" providerId="ADAL" clId="{6ECD27E6-B224-41CD-B4E0-E297462320DD}" dt="2023-11-24T08:55:51.366" v="108508"/>
          <ac:spMkLst>
            <pc:docMk/>
            <pc:sldMk cId="3591700787" sldId="2147478562"/>
            <ac:spMk id="718" creationId="{34F8A314-8E1D-AB4F-730D-A6B343D07ADF}"/>
          </ac:spMkLst>
        </pc:spChg>
        <pc:spChg chg="add del mod">
          <ac:chgData name="Steiner Andreas 6206 ED" userId="e6377c33-a923-4f14-8587-531c474c7b48" providerId="ADAL" clId="{6ECD27E6-B224-41CD-B4E0-E297462320DD}" dt="2023-11-24T08:55:53.460" v="108663"/>
          <ac:spMkLst>
            <pc:docMk/>
            <pc:sldMk cId="3591700787" sldId="2147478562"/>
            <ac:spMk id="719" creationId="{AD56DADC-1394-B86A-982F-C053FF362B40}"/>
          </ac:spMkLst>
        </pc:spChg>
        <pc:spChg chg="add del mod">
          <ac:chgData name="Steiner Andreas 6206 ED" userId="e6377c33-a923-4f14-8587-531c474c7b48" providerId="ADAL" clId="{6ECD27E6-B224-41CD-B4E0-E297462320DD}" dt="2023-11-24T08:55:55.519" v="108818"/>
          <ac:spMkLst>
            <pc:docMk/>
            <pc:sldMk cId="3591700787" sldId="2147478562"/>
            <ac:spMk id="720" creationId="{C39D1241-69DC-7F7C-344B-37C05AC21B66}"/>
          </ac:spMkLst>
        </pc:spChg>
        <pc:spChg chg="add del mod">
          <ac:chgData name="Steiner Andreas 6206 ED" userId="e6377c33-a923-4f14-8587-531c474c7b48" providerId="ADAL" clId="{6ECD27E6-B224-41CD-B4E0-E297462320DD}" dt="2023-11-24T08:55:57.545" v="108973"/>
          <ac:spMkLst>
            <pc:docMk/>
            <pc:sldMk cId="3591700787" sldId="2147478562"/>
            <ac:spMk id="721" creationId="{C8F66F2A-BDFB-E877-7AA6-F64E144B5D96}"/>
          </ac:spMkLst>
        </pc:spChg>
        <pc:spChg chg="add del mod">
          <ac:chgData name="Steiner Andreas 6206 ED" userId="e6377c33-a923-4f14-8587-531c474c7b48" providerId="ADAL" clId="{6ECD27E6-B224-41CD-B4E0-E297462320DD}" dt="2023-11-24T08:55:59.638" v="109128"/>
          <ac:spMkLst>
            <pc:docMk/>
            <pc:sldMk cId="3591700787" sldId="2147478562"/>
            <ac:spMk id="722" creationId="{A9AC33F0-3222-8076-1444-9AE1A7F0D6B2}"/>
          </ac:spMkLst>
        </pc:spChg>
        <pc:spChg chg="add del mod">
          <ac:chgData name="Steiner Andreas 6206 ED" userId="e6377c33-a923-4f14-8587-531c474c7b48" providerId="ADAL" clId="{6ECD27E6-B224-41CD-B4E0-E297462320DD}" dt="2023-11-24T08:56:02.049" v="109283"/>
          <ac:spMkLst>
            <pc:docMk/>
            <pc:sldMk cId="3591700787" sldId="2147478562"/>
            <ac:spMk id="723" creationId="{5318BE39-778E-434D-13C5-0065433BE744}"/>
          </ac:spMkLst>
        </pc:spChg>
        <pc:spChg chg="add del mod">
          <ac:chgData name="Steiner Andreas 6206 ED" userId="e6377c33-a923-4f14-8587-531c474c7b48" providerId="ADAL" clId="{6ECD27E6-B224-41CD-B4E0-E297462320DD}" dt="2023-11-24T08:56:04.283" v="109438"/>
          <ac:spMkLst>
            <pc:docMk/>
            <pc:sldMk cId="3591700787" sldId="2147478562"/>
            <ac:spMk id="724" creationId="{00CD9FCA-C5A9-7A6C-A348-1102B5CE95F1}"/>
          </ac:spMkLst>
        </pc:spChg>
        <pc:spChg chg="add del mod">
          <ac:chgData name="Steiner Andreas 6206 ED" userId="e6377c33-a923-4f14-8587-531c474c7b48" providerId="ADAL" clId="{6ECD27E6-B224-41CD-B4E0-E297462320DD}" dt="2023-11-24T08:56:06.577" v="109593"/>
          <ac:spMkLst>
            <pc:docMk/>
            <pc:sldMk cId="3591700787" sldId="2147478562"/>
            <ac:spMk id="725" creationId="{70AC7C7A-D311-D8C6-F30E-8EE23073565D}"/>
          </ac:spMkLst>
        </pc:spChg>
        <pc:spChg chg="add del mod">
          <ac:chgData name="Steiner Andreas 6206 ED" userId="e6377c33-a923-4f14-8587-531c474c7b48" providerId="ADAL" clId="{6ECD27E6-B224-41CD-B4E0-E297462320DD}" dt="2023-11-24T08:56:08.843" v="109748"/>
          <ac:spMkLst>
            <pc:docMk/>
            <pc:sldMk cId="3591700787" sldId="2147478562"/>
            <ac:spMk id="726" creationId="{317DB7DA-C9FD-C8AC-5D11-D715C9C26F0A}"/>
          </ac:spMkLst>
        </pc:spChg>
        <pc:spChg chg="add del mod">
          <ac:chgData name="Steiner Andreas 6206 ED" userId="e6377c33-a923-4f14-8587-531c474c7b48" providerId="ADAL" clId="{6ECD27E6-B224-41CD-B4E0-E297462320DD}" dt="2023-11-24T08:56:10.891" v="109903"/>
          <ac:spMkLst>
            <pc:docMk/>
            <pc:sldMk cId="3591700787" sldId="2147478562"/>
            <ac:spMk id="727" creationId="{DA05079D-7563-A426-4156-0BAAD088A4FF}"/>
          </ac:spMkLst>
        </pc:spChg>
        <pc:spChg chg="add del mod">
          <ac:chgData name="Steiner Andreas 6206 ED" userId="e6377c33-a923-4f14-8587-531c474c7b48" providerId="ADAL" clId="{6ECD27E6-B224-41CD-B4E0-E297462320DD}" dt="2023-11-24T08:56:13.016" v="110058"/>
          <ac:spMkLst>
            <pc:docMk/>
            <pc:sldMk cId="3591700787" sldId="2147478562"/>
            <ac:spMk id="728" creationId="{858C9AD1-551B-3685-94FD-E7C31ED1AD5F}"/>
          </ac:spMkLst>
        </pc:spChg>
        <pc:spChg chg="add del mod">
          <ac:chgData name="Steiner Andreas 6206 ED" userId="e6377c33-a923-4f14-8587-531c474c7b48" providerId="ADAL" clId="{6ECD27E6-B224-41CD-B4E0-E297462320DD}" dt="2023-11-24T08:56:15.143" v="110213"/>
          <ac:spMkLst>
            <pc:docMk/>
            <pc:sldMk cId="3591700787" sldId="2147478562"/>
            <ac:spMk id="729" creationId="{8403BD39-D131-BC6C-D011-327C5D8DED1C}"/>
          </ac:spMkLst>
        </pc:spChg>
        <pc:spChg chg="add del mod">
          <ac:chgData name="Steiner Andreas 6206 ED" userId="e6377c33-a923-4f14-8587-531c474c7b48" providerId="ADAL" clId="{6ECD27E6-B224-41CD-B4E0-E297462320DD}" dt="2023-11-24T08:56:17.102" v="110368"/>
          <ac:spMkLst>
            <pc:docMk/>
            <pc:sldMk cId="3591700787" sldId="2147478562"/>
            <ac:spMk id="730" creationId="{D4C7C475-FA00-5EA4-DC7B-56DAF0784206}"/>
          </ac:spMkLst>
        </pc:spChg>
        <pc:spChg chg="add del mod">
          <ac:chgData name="Steiner Andreas 6206 ED" userId="e6377c33-a923-4f14-8587-531c474c7b48" providerId="ADAL" clId="{6ECD27E6-B224-41CD-B4E0-E297462320DD}" dt="2023-11-24T08:56:19.086" v="110523"/>
          <ac:spMkLst>
            <pc:docMk/>
            <pc:sldMk cId="3591700787" sldId="2147478562"/>
            <ac:spMk id="731" creationId="{73BB9894-8D6B-6957-E8BD-43E8E111B64F}"/>
          </ac:spMkLst>
        </pc:spChg>
        <pc:spChg chg="add del mod">
          <ac:chgData name="Steiner Andreas 6206 ED" userId="e6377c33-a923-4f14-8587-531c474c7b48" providerId="ADAL" clId="{6ECD27E6-B224-41CD-B4E0-E297462320DD}" dt="2023-11-24T08:56:21.023" v="110678"/>
          <ac:spMkLst>
            <pc:docMk/>
            <pc:sldMk cId="3591700787" sldId="2147478562"/>
            <ac:spMk id="732" creationId="{0CDC8FA3-9330-0F3E-4964-9026145F0095}"/>
          </ac:spMkLst>
        </pc:spChg>
        <pc:spChg chg="add del mod">
          <ac:chgData name="Steiner Andreas 6206 ED" userId="e6377c33-a923-4f14-8587-531c474c7b48" providerId="ADAL" clId="{6ECD27E6-B224-41CD-B4E0-E297462320DD}" dt="2023-11-24T08:56:23.180" v="110833"/>
          <ac:spMkLst>
            <pc:docMk/>
            <pc:sldMk cId="3591700787" sldId="2147478562"/>
            <ac:spMk id="733" creationId="{C08F406E-56C5-9F96-474D-BE3A5C726D7C}"/>
          </ac:spMkLst>
        </pc:spChg>
        <pc:spChg chg="add del mod">
          <ac:chgData name="Steiner Andreas 6206 ED" userId="e6377c33-a923-4f14-8587-531c474c7b48" providerId="ADAL" clId="{6ECD27E6-B224-41CD-B4E0-E297462320DD}" dt="2023-11-24T08:56:25.370" v="110988"/>
          <ac:spMkLst>
            <pc:docMk/>
            <pc:sldMk cId="3591700787" sldId="2147478562"/>
            <ac:spMk id="734" creationId="{CE8632E1-E2AC-70D8-400B-64697D60E17D}"/>
          </ac:spMkLst>
        </pc:spChg>
        <pc:spChg chg="add del mod">
          <ac:chgData name="Steiner Andreas 6206 ED" userId="e6377c33-a923-4f14-8587-531c474c7b48" providerId="ADAL" clId="{6ECD27E6-B224-41CD-B4E0-E297462320DD}" dt="2023-11-24T08:56:27.413" v="111143"/>
          <ac:spMkLst>
            <pc:docMk/>
            <pc:sldMk cId="3591700787" sldId="2147478562"/>
            <ac:spMk id="735" creationId="{F58018BB-7020-5A7D-2030-1DE67079543A}"/>
          </ac:spMkLst>
        </pc:spChg>
        <pc:spChg chg="add del mod">
          <ac:chgData name="Steiner Andreas 6206 ED" userId="e6377c33-a923-4f14-8587-531c474c7b48" providerId="ADAL" clId="{6ECD27E6-B224-41CD-B4E0-E297462320DD}" dt="2023-11-24T08:56:29.472" v="111298"/>
          <ac:spMkLst>
            <pc:docMk/>
            <pc:sldMk cId="3591700787" sldId="2147478562"/>
            <ac:spMk id="736" creationId="{8188E0F4-3C93-61B1-40A1-400F1E35935B}"/>
          </ac:spMkLst>
        </pc:spChg>
        <pc:spChg chg="add del mod">
          <ac:chgData name="Steiner Andreas 6206 ED" userId="e6377c33-a923-4f14-8587-531c474c7b48" providerId="ADAL" clId="{6ECD27E6-B224-41CD-B4E0-E297462320DD}" dt="2023-11-24T08:56:31.543" v="111453"/>
          <ac:spMkLst>
            <pc:docMk/>
            <pc:sldMk cId="3591700787" sldId="2147478562"/>
            <ac:spMk id="737" creationId="{0DFD2CD8-6E66-C89C-287B-6AA295EFD0C1}"/>
          </ac:spMkLst>
        </pc:spChg>
        <pc:spChg chg="add del mod">
          <ac:chgData name="Steiner Andreas 6206 ED" userId="e6377c33-a923-4f14-8587-531c474c7b48" providerId="ADAL" clId="{6ECD27E6-B224-41CD-B4E0-E297462320DD}" dt="2023-11-24T08:56:33.781" v="111608"/>
          <ac:spMkLst>
            <pc:docMk/>
            <pc:sldMk cId="3591700787" sldId="2147478562"/>
            <ac:spMk id="738" creationId="{4D9F3C5C-5D7B-0475-0AEB-49C70A39925F}"/>
          </ac:spMkLst>
        </pc:spChg>
        <pc:spChg chg="add del mod">
          <ac:chgData name="Steiner Andreas 6206 ED" userId="e6377c33-a923-4f14-8587-531c474c7b48" providerId="ADAL" clId="{6ECD27E6-B224-41CD-B4E0-E297462320DD}" dt="2023-11-24T08:56:35.974" v="111763"/>
          <ac:spMkLst>
            <pc:docMk/>
            <pc:sldMk cId="3591700787" sldId="2147478562"/>
            <ac:spMk id="739" creationId="{EEC29363-25CA-CED6-5BA8-4715A2104096}"/>
          </ac:spMkLst>
        </pc:spChg>
        <pc:spChg chg="add del mod">
          <ac:chgData name="Steiner Andreas 6206 ED" userId="e6377c33-a923-4f14-8587-531c474c7b48" providerId="ADAL" clId="{6ECD27E6-B224-41CD-B4E0-E297462320DD}" dt="2023-11-24T08:56:38.025" v="111918"/>
          <ac:spMkLst>
            <pc:docMk/>
            <pc:sldMk cId="3591700787" sldId="2147478562"/>
            <ac:spMk id="740" creationId="{289D7828-DE50-9443-D7C5-08E58EEB27A9}"/>
          </ac:spMkLst>
        </pc:spChg>
        <pc:spChg chg="add del mod">
          <ac:chgData name="Steiner Andreas 6206 ED" userId="e6377c33-a923-4f14-8587-531c474c7b48" providerId="ADAL" clId="{6ECD27E6-B224-41CD-B4E0-E297462320DD}" dt="2023-11-24T08:56:40.158" v="112073"/>
          <ac:spMkLst>
            <pc:docMk/>
            <pc:sldMk cId="3591700787" sldId="2147478562"/>
            <ac:spMk id="741" creationId="{04944E8A-AB11-9D3C-2C15-BA8F34C1CD92}"/>
          </ac:spMkLst>
        </pc:spChg>
        <pc:spChg chg="add del mod">
          <ac:chgData name="Steiner Andreas 6206 ED" userId="e6377c33-a923-4f14-8587-531c474c7b48" providerId="ADAL" clId="{6ECD27E6-B224-41CD-B4E0-E297462320DD}" dt="2023-11-24T08:56:42.112" v="112228"/>
          <ac:spMkLst>
            <pc:docMk/>
            <pc:sldMk cId="3591700787" sldId="2147478562"/>
            <ac:spMk id="742" creationId="{CECC6FA5-97D6-7CA6-F353-5FE43306AEB4}"/>
          </ac:spMkLst>
        </pc:spChg>
        <pc:spChg chg="add del mod">
          <ac:chgData name="Steiner Andreas 6206 ED" userId="e6377c33-a923-4f14-8587-531c474c7b48" providerId="ADAL" clId="{6ECD27E6-B224-41CD-B4E0-E297462320DD}" dt="2023-11-24T08:56:44.116" v="112383"/>
          <ac:spMkLst>
            <pc:docMk/>
            <pc:sldMk cId="3591700787" sldId="2147478562"/>
            <ac:spMk id="743" creationId="{E0EABE88-1AFF-F0D7-F883-7A92A2E8744D}"/>
          </ac:spMkLst>
        </pc:spChg>
        <pc:spChg chg="add del mod">
          <ac:chgData name="Steiner Andreas 6206 ED" userId="e6377c33-a923-4f14-8587-531c474c7b48" providerId="ADAL" clId="{6ECD27E6-B224-41CD-B4E0-E297462320DD}" dt="2023-11-24T08:56:46.142" v="112538"/>
          <ac:spMkLst>
            <pc:docMk/>
            <pc:sldMk cId="3591700787" sldId="2147478562"/>
            <ac:spMk id="744" creationId="{14774393-39FF-A23E-B707-3D572B1C04D3}"/>
          </ac:spMkLst>
        </pc:spChg>
        <pc:spChg chg="add del mod">
          <ac:chgData name="Steiner Andreas 6206 ED" userId="e6377c33-a923-4f14-8587-531c474c7b48" providerId="ADAL" clId="{6ECD27E6-B224-41CD-B4E0-E297462320DD}" dt="2023-11-24T08:56:48.362" v="112693"/>
          <ac:spMkLst>
            <pc:docMk/>
            <pc:sldMk cId="3591700787" sldId="2147478562"/>
            <ac:spMk id="745" creationId="{9499819F-891C-EAD8-B2CD-693F68503FAE}"/>
          </ac:spMkLst>
        </pc:spChg>
        <pc:spChg chg="add del mod">
          <ac:chgData name="Steiner Andreas 6206 ED" userId="e6377c33-a923-4f14-8587-531c474c7b48" providerId="ADAL" clId="{6ECD27E6-B224-41CD-B4E0-E297462320DD}" dt="2023-11-24T08:56:50.411" v="112848"/>
          <ac:spMkLst>
            <pc:docMk/>
            <pc:sldMk cId="3591700787" sldId="2147478562"/>
            <ac:spMk id="746" creationId="{5D9570D0-63EB-5B4A-EF5B-71750C3D7FD0}"/>
          </ac:spMkLst>
        </pc:spChg>
        <pc:spChg chg="add del mod">
          <ac:chgData name="Steiner Andreas 6206 ED" userId="e6377c33-a923-4f14-8587-531c474c7b48" providerId="ADAL" clId="{6ECD27E6-B224-41CD-B4E0-E297462320DD}" dt="2023-11-24T08:56:52.339" v="113003"/>
          <ac:spMkLst>
            <pc:docMk/>
            <pc:sldMk cId="3591700787" sldId="2147478562"/>
            <ac:spMk id="747" creationId="{A2514027-3842-8798-8C1B-3317B31B8D2F}"/>
          </ac:spMkLst>
        </pc:spChg>
        <pc:spChg chg="add del mod">
          <ac:chgData name="Steiner Andreas 6206 ED" userId="e6377c33-a923-4f14-8587-531c474c7b48" providerId="ADAL" clId="{6ECD27E6-B224-41CD-B4E0-E297462320DD}" dt="2023-11-24T08:56:54.475" v="113158"/>
          <ac:spMkLst>
            <pc:docMk/>
            <pc:sldMk cId="3591700787" sldId="2147478562"/>
            <ac:spMk id="748" creationId="{EE93966E-0C36-FF43-8106-B378570E1C28}"/>
          </ac:spMkLst>
        </pc:spChg>
        <pc:spChg chg="add del mod">
          <ac:chgData name="Steiner Andreas 6206 ED" userId="e6377c33-a923-4f14-8587-531c474c7b48" providerId="ADAL" clId="{6ECD27E6-B224-41CD-B4E0-E297462320DD}" dt="2023-11-24T08:56:56.417" v="113313"/>
          <ac:spMkLst>
            <pc:docMk/>
            <pc:sldMk cId="3591700787" sldId="2147478562"/>
            <ac:spMk id="749" creationId="{E0B333B4-7C3A-92F2-C5BC-F376F200D864}"/>
          </ac:spMkLst>
        </pc:spChg>
        <pc:spChg chg="add del mod">
          <ac:chgData name="Steiner Andreas 6206 ED" userId="e6377c33-a923-4f14-8587-531c474c7b48" providerId="ADAL" clId="{6ECD27E6-B224-41CD-B4E0-E297462320DD}" dt="2023-11-24T08:56:58.577" v="113468"/>
          <ac:spMkLst>
            <pc:docMk/>
            <pc:sldMk cId="3591700787" sldId="2147478562"/>
            <ac:spMk id="750" creationId="{CD646407-CF8D-73A8-0894-D3C399E40968}"/>
          </ac:spMkLst>
        </pc:spChg>
        <pc:spChg chg="add del mod">
          <ac:chgData name="Steiner Andreas 6206 ED" userId="e6377c33-a923-4f14-8587-531c474c7b48" providerId="ADAL" clId="{6ECD27E6-B224-41CD-B4E0-E297462320DD}" dt="2023-11-24T08:57:00.859" v="113623"/>
          <ac:spMkLst>
            <pc:docMk/>
            <pc:sldMk cId="3591700787" sldId="2147478562"/>
            <ac:spMk id="751" creationId="{40298FBF-4842-23DE-4E7F-F101B65E1585}"/>
          </ac:spMkLst>
        </pc:spChg>
        <pc:spChg chg="add del mod">
          <ac:chgData name="Steiner Andreas 6206 ED" userId="e6377c33-a923-4f14-8587-531c474c7b48" providerId="ADAL" clId="{6ECD27E6-B224-41CD-B4E0-E297462320DD}" dt="2023-11-24T08:57:03.273" v="113778"/>
          <ac:spMkLst>
            <pc:docMk/>
            <pc:sldMk cId="3591700787" sldId="2147478562"/>
            <ac:spMk id="752" creationId="{BA4207E0-7D06-F317-C179-6D1AA586B87E}"/>
          </ac:spMkLst>
        </pc:spChg>
        <pc:spChg chg="add del mod">
          <ac:chgData name="Steiner Andreas 6206 ED" userId="e6377c33-a923-4f14-8587-531c474c7b48" providerId="ADAL" clId="{6ECD27E6-B224-41CD-B4E0-E297462320DD}" dt="2023-11-24T09:02:21.903" v="113933"/>
          <ac:spMkLst>
            <pc:docMk/>
            <pc:sldMk cId="3591700787" sldId="2147478562"/>
            <ac:spMk id="753" creationId="{C9AF9158-8965-4898-0A85-9DBFB904414A}"/>
          </ac:spMkLst>
        </pc:spChg>
        <pc:spChg chg="add del mod">
          <ac:chgData name="Steiner Andreas 6206 ED" userId="e6377c33-a923-4f14-8587-531c474c7b48" providerId="ADAL" clId="{6ECD27E6-B224-41CD-B4E0-E297462320DD}" dt="2023-11-24T09:02:27.693" v="114088"/>
          <ac:spMkLst>
            <pc:docMk/>
            <pc:sldMk cId="3591700787" sldId="2147478562"/>
            <ac:spMk id="754" creationId="{89E80AF1-D6F8-9486-4AA5-C61CD37D85F7}"/>
          </ac:spMkLst>
        </pc:spChg>
        <pc:spChg chg="add del mod">
          <ac:chgData name="Steiner Andreas 6206 ED" userId="e6377c33-a923-4f14-8587-531c474c7b48" providerId="ADAL" clId="{6ECD27E6-B224-41CD-B4E0-E297462320DD}" dt="2023-11-24T09:02:30.323" v="114243"/>
          <ac:spMkLst>
            <pc:docMk/>
            <pc:sldMk cId="3591700787" sldId="2147478562"/>
            <ac:spMk id="755" creationId="{820C9B70-CAD2-17FB-74D4-9F85A6439911}"/>
          </ac:spMkLst>
        </pc:spChg>
        <pc:spChg chg="add del mod">
          <ac:chgData name="Steiner Andreas 6206 ED" userId="e6377c33-a923-4f14-8587-531c474c7b48" providerId="ADAL" clId="{6ECD27E6-B224-41CD-B4E0-E297462320DD}" dt="2023-11-24T09:02:33.673" v="114398"/>
          <ac:spMkLst>
            <pc:docMk/>
            <pc:sldMk cId="3591700787" sldId="2147478562"/>
            <ac:spMk id="756" creationId="{D44FCA0A-1394-232A-ED69-79FD0BB14119}"/>
          </ac:spMkLst>
        </pc:spChg>
        <pc:spChg chg="add del mod">
          <ac:chgData name="Steiner Andreas 6206 ED" userId="e6377c33-a923-4f14-8587-531c474c7b48" providerId="ADAL" clId="{6ECD27E6-B224-41CD-B4E0-E297462320DD}" dt="2023-11-24T09:02:37.028" v="114553"/>
          <ac:spMkLst>
            <pc:docMk/>
            <pc:sldMk cId="3591700787" sldId="2147478562"/>
            <ac:spMk id="757" creationId="{C0E27DD3-4AB0-4C0B-A661-CD30F3CBCC9C}"/>
          </ac:spMkLst>
        </pc:spChg>
        <pc:spChg chg="add del mod">
          <ac:chgData name="Steiner Andreas 6206 ED" userId="e6377c33-a923-4f14-8587-531c474c7b48" providerId="ADAL" clId="{6ECD27E6-B224-41CD-B4E0-E297462320DD}" dt="2023-11-24T11:31:22.841" v="114708"/>
          <ac:spMkLst>
            <pc:docMk/>
            <pc:sldMk cId="3591700787" sldId="2147478562"/>
            <ac:spMk id="758" creationId="{6DE86986-62B9-A73C-72FF-362B98A53646}"/>
          </ac:spMkLst>
        </pc:spChg>
        <pc:spChg chg="add del mod">
          <ac:chgData name="Steiner Andreas 6206 ED" userId="e6377c33-a923-4f14-8587-531c474c7b48" providerId="ADAL" clId="{6ECD27E6-B224-41CD-B4E0-E297462320DD}" dt="2023-11-24T11:33:30.125" v="114863"/>
          <ac:spMkLst>
            <pc:docMk/>
            <pc:sldMk cId="3591700787" sldId="2147478562"/>
            <ac:spMk id="759" creationId="{06E18196-950B-ABAD-B34B-E69CAA7DAFF0}"/>
          </ac:spMkLst>
        </pc:spChg>
        <pc:spChg chg="add del mod">
          <ac:chgData name="Steiner Andreas 6206 ED" userId="e6377c33-a923-4f14-8587-531c474c7b48" providerId="ADAL" clId="{6ECD27E6-B224-41CD-B4E0-E297462320DD}" dt="2023-11-24T11:33:36.589" v="115018"/>
          <ac:spMkLst>
            <pc:docMk/>
            <pc:sldMk cId="3591700787" sldId="2147478562"/>
            <ac:spMk id="760" creationId="{C6651B8E-4BC1-3623-CE20-E884C74BAC17}"/>
          </ac:spMkLst>
        </pc:spChg>
        <pc:spChg chg="add del mod">
          <ac:chgData name="Steiner Andreas 6206 ED" userId="e6377c33-a923-4f14-8587-531c474c7b48" providerId="ADAL" clId="{6ECD27E6-B224-41CD-B4E0-E297462320DD}" dt="2023-11-24T11:33:39.747" v="115173"/>
          <ac:spMkLst>
            <pc:docMk/>
            <pc:sldMk cId="3591700787" sldId="2147478562"/>
            <ac:spMk id="761" creationId="{64DB3E50-E95D-691D-F07A-1801AEB3BA12}"/>
          </ac:spMkLst>
        </pc:spChg>
        <pc:spChg chg="add del mod">
          <ac:chgData name="Steiner Andreas 6206 ED" userId="e6377c33-a923-4f14-8587-531c474c7b48" providerId="ADAL" clId="{6ECD27E6-B224-41CD-B4E0-E297462320DD}" dt="2023-11-24T11:33:43.413" v="115328"/>
          <ac:spMkLst>
            <pc:docMk/>
            <pc:sldMk cId="3591700787" sldId="2147478562"/>
            <ac:spMk id="762" creationId="{00D15DFE-4943-6F78-530E-2F074CC3AED7}"/>
          </ac:spMkLst>
        </pc:spChg>
        <pc:spChg chg="add del mod">
          <ac:chgData name="Steiner Andreas 6206 ED" userId="e6377c33-a923-4f14-8587-531c474c7b48" providerId="ADAL" clId="{6ECD27E6-B224-41CD-B4E0-E297462320DD}" dt="2023-11-24T11:33:46.522" v="115483"/>
          <ac:spMkLst>
            <pc:docMk/>
            <pc:sldMk cId="3591700787" sldId="2147478562"/>
            <ac:spMk id="763" creationId="{3A620E32-6BAF-8562-8981-7C428D68589C}"/>
          </ac:spMkLst>
        </pc:spChg>
        <pc:spChg chg="add del mod">
          <ac:chgData name="Steiner Andreas 6206 ED" userId="e6377c33-a923-4f14-8587-531c474c7b48" providerId="ADAL" clId="{6ECD27E6-B224-41CD-B4E0-E297462320DD}" dt="2023-11-24T11:33:49.564" v="115638"/>
          <ac:spMkLst>
            <pc:docMk/>
            <pc:sldMk cId="3591700787" sldId="2147478562"/>
            <ac:spMk id="764" creationId="{82906A7B-7F65-C159-C85B-25DEAD00FB1F}"/>
          </ac:spMkLst>
        </pc:spChg>
        <pc:spChg chg="add del mod">
          <ac:chgData name="Steiner Andreas 6206 ED" userId="e6377c33-a923-4f14-8587-531c474c7b48" providerId="ADAL" clId="{6ECD27E6-B224-41CD-B4E0-E297462320DD}" dt="2023-11-24T11:33:52.231" v="115793"/>
          <ac:spMkLst>
            <pc:docMk/>
            <pc:sldMk cId="3591700787" sldId="2147478562"/>
            <ac:spMk id="765" creationId="{5F5EBDC3-55E4-7BD1-0B09-7655B42813C7}"/>
          </ac:spMkLst>
        </pc:spChg>
        <pc:spChg chg="add del mod">
          <ac:chgData name="Steiner Andreas 6206 ED" userId="e6377c33-a923-4f14-8587-531c474c7b48" providerId="ADAL" clId="{6ECD27E6-B224-41CD-B4E0-E297462320DD}" dt="2023-11-24T11:33:55.096" v="115948"/>
          <ac:spMkLst>
            <pc:docMk/>
            <pc:sldMk cId="3591700787" sldId="2147478562"/>
            <ac:spMk id="766" creationId="{73B24A6F-7D9F-3404-D39D-CC59BAE479CB}"/>
          </ac:spMkLst>
        </pc:spChg>
        <pc:spChg chg="add del mod">
          <ac:chgData name="Steiner Andreas 6206 ED" userId="e6377c33-a923-4f14-8587-531c474c7b48" providerId="ADAL" clId="{6ECD27E6-B224-41CD-B4E0-E297462320DD}" dt="2023-11-24T11:33:57.524" v="116103"/>
          <ac:spMkLst>
            <pc:docMk/>
            <pc:sldMk cId="3591700787" sldId="2147478562"/>
            <ac:spMk id="767" creationId="{5D55C076-6997-DC1E-885F-37C055EF999F}"/>
          </ac:spMkLst>
        </pc:spChg>
        <pc:spChg chg="add del mod">
          <ac:chgData name="Steiner Andreas 6206 ED" userId="e6377c33-a923-4f14-8587-531c474c7b48" providerId="ADAL" clId="{6ECD27E6-B224-41CD-B4E0-E297462320DD}" dt="2023-11-24T11:33:59.858" v="116258"/>
          <ac:spMkLst>
            <pc:docMk/>
            <pc:sldMk cId="3591700787" sldId="2147478562"/>
            <ac:spMk id="768" creationId="{3CAFCF11-7805-348E-2268-75BC6CF392C8}"/>
          </ac:spMkLst>
        </pc:spChg>
        <pc:spChg chg="add del mod">
          <ac:chgData name="Steiner Andreas 6206 ED" userId="e6377c33-a923-4f14-8587-531c474c7b48" providerId="ADAL" clId="{6ECD27E6-B224-41CD-B4E0-E297462320DD}" dt="2023-11-24T11:34:02.235" v="116413"/>
          <ac:spMkLst>
            <pc:docMk/>
            <pc:sldMk cId="3591700787" sldId="2147478562"/>
            <ac:spMk id="769" creationId="{4FAA505C-D6E6-C70E-A8CC-091002D48038}"/>
          </ac:spMkLst>
        </pc:spChg>
        <pc:spChg chg="add del mod">
          <ac:chgData name="Steiner Andreas 6206 ED" userId="e6377c33-a923-4f14-8587-531c474c7b48" providerId="ADAL" clId="{6ECD27E6-B224-41CD-B4E0-E297462320DD}" dt="2023-11-24T11:34:04.506" v="116568"/>
          <ac:spMkLst>
            <pc:docMk/>
            <pc:sldMk cId="3591700787" sldId="2147478562"/>
            <ac:spMk id="770" creationId="{433C30C6-C7BC-BA1D-EA0E-C5BA3F636ECA}"/>
          </ac:spMkLst>
        </pc:spChg>
        <pc:spChg chg="add del mod">
          <ac:chgData name="Steiner Andreas 6206 ED" userId="e6377c33-a923-4f14-8587-531c474c7b48" providerId="ADAL" clId="{6ECD27E6-B224-41CD-B4E0-E297462320DD}" dt="2023-11-24T11:34:07.068" v="116723"/>
          <ac:spMkLst>
            <pc:docMk/>
            <pc:sldMk cId="3591700787" sldId="2147478562"/>
            <ac:spMk id="771" creationId="{88D53F0E-D931-117B-46F6-24FEB260A266}"/>
          </ac:spMkLst>
        </pc:spChg>
        <pc:spChg chg="add del mod">
          <ac:chgData name="Steiner Andreas 6206 ED" userId="e6377c33-a923-4f14-8587-531c474c7b48" providerId="ADAL" clId="{6ECD27E6-B224-41CD-B4E0-E297462320DD}" dt="2023-11-24T11:34:09.675" v="116878"/>
          <ac:spMkLst>
            <pc:docMk/>
            <pc:sldMk cId="3591700787" sldId="2147478562"/>
            <ac:spMk id="772" creationId="{2C84D968-8BF9-F7EB-486A-D3FEBA702F2A}"/>
          </ac:spMkLst>
        </pc:spChg>
        <pc:spChg chg="add del mod">
          <ac:chgData name="Steiner Andreas 6206 ED" userId="e6377c33-a923-4f14-8587-531c474c7b48" providerId="ADAL" clId="{6ECD27E6-B224-41CD-B4E0-E297462320DD}" dt="2023-11-24T11:34:11.515" v="117033"/>
          <ac:spMkLst>
            <pc:docMk/>
            <pc:sldMk cId="3591700787" sldId="2147478562"/>
            <ac:spMk id="773" creationId="{6FCD0921-8A35-FD79-727B-5E7383FDE4AD}"/>
          </ac:spMkLst>
        </pc:spChg>
        <pc:spChg chg="add del mod">
          <ac:chgData name="Steiner Andreas 6206 ED" userId="e6377c33-a923-4f14-8587-531c474c7b48" providerId="ADAL" clId="{6ECD27E6-B224-41CD-B4E0-E297462320DD}" dt="2023-11-24T11:34:13.281" v="117188"/>
          <ac:spMkLst>
            <pc:docMk/>
            <pc:sldMk cId="3591700787" sldId="2147478562"/>
            <ac:spMk id="774" creationId="{BA4E3ECA-60EA-2B37-B1AC-8B40DC2F3EAE}"/>
          </ac:spMkLst>
        </pc:spChg>
        <pc:spChg chg="add del mod">
          <ac:chgData name="Steiner Andreas 6206 ED" userId="e6377c33-a923-4f14-8587-531c474c7b48" providerId="ADAL" clId="{6ECD27E6-B224-41CD-B4E0-E297462320DD}" dt="2023-11-24T11:34:15.082" v="117343"/>
          <ac:spMkLst>
            <pc:docMk/>
            <pc:sldMk cId="3591700787" sldId="2147478562"/>
            <ac:spMk id="775" creationId="{2C831C5A-3F3D-E15B-116E-677439D3A78A}"/>
          </ac:spMkLst>
        </pc:spChg>
        <pc:spChg chg="add del mod">
          <ac:chgData name="Steiner Andreas 6206 ED" userId="e6377c33-a923-4f14-8587-531c474c7b48" providerId="ADAL" clId="{6ECD27E6-B224-41CD-B4E0-E297462320DD}" dt="2023-11-24T11:34:16.870" v="117498"/>
          <ac:spMkLst>
            <pc:docMk/>
            <pc:sldMk cId="3591700787" sldId="2147478562"/>
            <ac:spMk id="776" creationId="{C6137C77-B5ED-A6C0-B869-F6A91785ABAD}"/>
          </ac:spMkLst>
        </pc:spChg>
        <pc:spChg chg="add del mod">
          <ac:chgData name="Steiner Andreas 6206 ED" userId="e6377c33-a923-4f14-8587-531c474c7b48" providerId="ADAL" clId="{6ECD27E6-B224-41CD-B4E0-E297462320DD}" dt="2023-11-24T11:34:18.688" v="117653"/>
          <ac:spMkLst>
            <pc:docMk/>
            <pc:sldMk cId="3591700787" sldId="2147478562"/>
            <ac:spMk id="777" creationId="{C587E052-46AD-5D01-4D02-0190E4F3CDD9}"/>
          </ac:spMkLst>
        </pc:spChg>
        <pc:spChg chg="add del mod">
          <ac:chgData name="Steiner Andreas 6206 ED" userId="e6377c33-a923-4f14-8587-531c474c7b48" providerId="ADAL" clId="{6ECD27E6-B224-41CD-B4E0-E297462320DD}" dt="2023-11-24T11:34:20.854" v="117808"/>
          <ac:spMkLst>
            <pc:docMk/>
            <pc:sldMk cId="3591700787" sldId="2147478562"/>
            <ac:spMk id="778" creationId="{F3993AF8-63FE-EBEB-BB69-6606D97D34E4}"/>
          </ac:spMkLst>
        </pc:spChg>
        <pc:spChg chg="add del mod">
          <ac:chgData name="Steiner Andreas 6206 ED" userId="e6377c33-a923-4f14-8587-531c474c7b48" providerId="ADAL" clId="{6ECD27E6-B224-41CD-B4E0-E297462320DD}" dt="2023-11-24T11:34:22.764" v="117963"/>
          <ac:spMkLst>
            <pc:docMk/>
            <pc:sldMk cId="3591700787" sldId="2147478562"/>
            <ac:spMk id="779" creationId="{9CBCB752-FB29-C7F9-6D54-359BF8A2B92D}"/>
          </ac:spMkLst>
        </pc:spChg>
        <pc:spChg chg="add del mod">
          <ac:chgData name="Steiner Andreas 6206 ED" userId="e6377c33-a923-4f14-8587-531c474c7b48" providerId="ADAL" clId="{6ECD27E6-B224-41CD-B4E0-E297462320DD}" dt="2023-11-24T11:34:24.836" v="118118"/>
          <ac:spMkLst>
            <pc:docMk/>
            <pc:sldMk cId="3591700787" sldId="2147478562"/>
            <ac:spMk id="780" creationId="{20C7DACD-7E43-2DDF-6EA9-9B5842C68196}"/>
          </ac:spMkLst>
        </pc:spChg>
        <pc:spChg chg="add del mod">
          <ac:chgData name="Steiner Andreas 6206 ED" userId="e6377c33-a923-4f14-8587-531c474c7b48" providerId="ADAL" clId="{6ECD27E6-B224-41CD-B4E0-E297462320DD}" dt="2023-11-24T11:34:27.449" v="118273"/>
          <ac:spMkLst>
            <pc:docMk/>
            <pc:sldMk cId="3591700787" sldId="2147478562"/>
            <ac:spMk id="781" creationId="{66671F1C-3FBC-1378-F9E8-DCFB607F0D1F}"/>
          </ac:spMkLst>
        </pc:spChg>
        <pc:spChg chg="add del mod">
          <ac:chgData name="Steiner Andreas 6206 ED" userId="e6377c33-a923-4f14-8587-531c474c7b48" providerId="ADAL" clId="{6ECD27E6-B224-41CD-B4E0-E297462320DD}" dt="2023-11-24T11:34:29.458" v="118428"/>
          <ac:spMkLst>
            <pc:docMk/>
            <pc:sldMk cId="3591700787" sldId="2147478562"/>
            <ac:spMk id="782" creationId="{96192C27-20ED-D204-DC29-D6BD620D8668}"/>
          </ac:spMkLst>
        </pc:spChg>
        <pc:spChg chg="add del mod">
          <ac:chgData name="Steiner Andreas 6206 ED" userId="e6377c33-a923-4f14-8587-531c474c7b48" providerId="ADAL" clId="{6ECD27E6-B224-41CD-B4E0-E297462320DD}" dt="2023-11-24T11:34:31.755" v="118583"/>
          <ac:spMkLst>
            <pc:docMk/>
            <pc:sldMk cId="3591700787" sldId="2147478562"/>
            <ac:spMk id="783" creationId="{DE85D591-E497-398B-0C4A-FC1F18281D96}"/>
          </ac:spMkLst>
        </pc:spChg>
        <pc:spChg chg="add del mod">
          <ac:chgData name="Steiner Andreas 6206 ED" userId="e6377c33-a923-4f14-8587-531c474c7b48" providerId="ADAL" clId="{6ECD27E6-B224-41CD-B4E0-E297462320DD}" dt="2023-11-24T11:34:33.687" v="118738"/>
          <ac:spMkLst>
            <pc:docMk/>
            <pc:sldMk cId="3591700787" sldId="2147478562"/>
            <ac:spMk id="784" creationId="{3097BA7A-9473-F8A3-1CD0-1A6E96E6A5D5}"/>
          </ac:spMkLst>
        </pc:spChg>
        <pc:spChg chg="add del mod">
          <ac:chgData name="Steiner Andreas 6206 ED" userId="e6377c33-a923-4f14-8587-531c474c7b48" providerId="ADAL" clId="{6ECD27E6-B224-41CD-B4E0-E297462320DD}" dt="2023-11-24T11:34:35.691" v="118893"/>
          <ac:spMkLst>
            <pc:docMk/>
            <pc:sldMk cId="3591700787" sldId="2147478562"/>
            <ac:spMk id="785" creationId="{4350506B-ED75-0EB1-65F9-2783C60B63C0}"/>
          </ac:spMkLst>
        </pc:spChg>
        <pc:spChg chg="add del mod">
          <ac:chgData name="Steiner Andreas 6206 ED" userId="e6377c33-a923-4f14-8587-531c474c7b48" providerId="ADAL" clId="{6ECD27E6-B224-41CD-B4E0-E297462320DD}" dt="2023-11-24T11:34:37.785" v="119048"/>
          <ac:spMkLst>
            <pc:docMk/>
            <pc:sldMk cId="3591700787" sldId="2147478562"/>
            <ac:spMk id="786" creationId="{367D9DCA-456D-4ADF-5A93-0775942AD747}"/>
          </ac:spMkLst>
        </pc:spChg>
        <pc:spChg chg="add del mod">
          <ac:chgData name="Steiner Andreas 6206 ED" userId="e6377c33-a923-4f14-8587-531c474c7b48" providerId="ADAL" clId="{6ECD27E6-B224-41CD-B4E0-E297462320DD}" dt="2023-11-24T11:34:39.749" v="119203"/>
          <ac:spMkLst>
            <pc:docMk/>
            <pc:sldMk cId="3591700787" sldId="2147478562"/>
            <ac:spMk id="787" creationId="{EDC778E7-5C22-4D82-659D-878FB7E8682E}"/>
          </ac:spMkLst>
        </pc:spChg>
        <pc:spChg chg="add del mod">
          <ac:chgData name="Steiner Andreas 6206 ED" userId="e6377c33-a923-4f14-8587-531c474c7b48" providerId="ADAL" clId="{6ECD27E6-B224-41CD-B4E0-E297462320DD}" dt="2023-11-24T11:34:41.949" v="119358"/>
          <ac:spMkLst>
            <pc:docMk/>
            <pc:sldMk cId="3591700787" sldId="2147478562"/>
            <ac:spMk id="788" creationId="{C7D2A6FB-E2E9-6EA0-9B45-92296A672027}"/>
          </ac:spMkLst>
        </pc:spChg>
        <pc:spChg chg="add del mod">
          <ac:chgData name="Steiner Andreas 6206 ED" userId="e6377c33-a923-4f14-8587-531c474c7b48" providerId="ADAL" clId="{6ECD27E6-B224-41CD-B4E0-E297462320DD}" dt="2023-11-24T11:34:44.067" v="119513"/>
          <ac:spMkLst>
            <pc:docMk/>
            <pc:sldMk cId="3591700787" sldId="2147478562"/>
            <ac:spMk id="789" creationId="{E7A6294B-1A54-533D-6760-159761D430EB}"/>
          </ac:spMkLst>
        </pc:spChg>
        <pc:spChg chg="add del mod">
          <ac:chgData name="Steiner Andreas 6206 ED" userId="e6377c33-a923-4f14-8587-531c474c7b48" providerId="ADAL" clId="{6ECD27E6-B224-41CD-B4E0-E297462320DD}" dt="2023-11-24T11:34:46.065" v="119668"/>
          <ac:spMkLst>
            <pc:docMk/>
            <pc:sldMk cId="3591700787" sldId="2147478562"/>
            <ac:spMk id="790" creationId="{5EF1D9B6-7C5B-6A4F-C336-C1D8F2E4F923}"/>
          </ac:spMkLst>
        </pc:spChg>
        <pc:spChg chg="add del mod">
          <ac:chgData name="Steiner Andreas 6206 ED" userId="e6377c33-a923-4f14-8587-531c474c7b48" providerId="ADAL" clId="{6ECD27E6-B224-41CD-B4E0-E297462320DD}" dt="2023-11-24T11:34:47.970" v="119823"/>
          <ac:spMkLst>
            <pc:docMk/>
            <pc:sldMk cId="3591700787" sldId="2147478562"/>
            <ac:spMk id="791" creationId="{892B2859-9682-997C-78EE-BBB794675C8C}"/>
          </ac:spMkLst>
        </pc:spChg>
        <pc:spChg chg="add del mod">
          <ac:chgData name="Steiner Andreas 6206 ED" userId="e6377c33-a923-4f14-8587-531c474c7b48" providerId="ADAL" clId="{6ECD27E6-B224-41CD-B4E0-E297462320DD}" dt="2023-11-24T11:34:50.184" v="119978"/>
          <ac:spMkLst>
            <pc:docMk/>
            <pc:sldMk cId="3591700787" sldId="2147478562"/>
            <ac:spMk id="792" creationId="{13FE7179-0300-1551-B284-8692C48FC44D}"/>
          </ac:spMkLst>
        </pc:spChg>
        <pc:spChg chg="add del mod">
          <ac:chgData name="Steiner Andreas 6206 ED" userId="e6377c33-a923-4f14-8587-531c474c7b48" providerId="ADAL" clId="{6ECD27E6-B224-41CD-B4E0-E297462320DD}" dt="2023-11-24T11:34:52.291" v="120133"/>
          <ac:spMkLst>
            <pc:docMk/>
            <pc:sldMk cId="3591700787" sldId="2147478562"/>
            <ac:spMk id="793" creationId="{6B9BAA82-BE5D-6C7D-D68C-0EAECE742C5A}"/>
          </ac:spMkLst>
        </pc:spChg>
        <pc:spChg chg="add del mod">
          <ac:chgData name="Steiner Andreas 6206 ED" userId="e6377c33-a923-4f14-8587-531c474c7b48" providerId="ADAL" clId="{6ECD27E6-B224-41CD-B4E0-E297462320DD}" dt="2023-11-24T11:34:54.219" v="120288"/>
          <ac:spMkLst>
            <pc:docMk/>
            <pc:sldMk cId="3591700787" sldId="2147478562"/>
            <ac:spMk id="794" creationId="{89583696-7E5C-6E23-31CB-11CA17F616A0}"/>
          </ac:spMkLst>
        </pc:spChg>
        <pc:spChg chg="add del mod">
          <ac:chgData name="Steiner Andreas 6206 ED" userId="e6377c33-a923-4f14-8587-531c474c7b48" providerId="ADAL" clId="{6ECD27E6-B224-41CD-B4E0-E297462320DD}" dt="2023-11-24T11:34:56.090" v="120443"/>
          <ac:spMkLst>
            <pc:docMk/>
            <pc:sldMk cId="3591700787" sldId="2147478562"/>
            <ac:spMk id="795" creationId="{3556717C-0392-61B4-C4F0-9E43E4A4C768}"/>
          </ac:spMkLst>
        </pc:spChg>
        <pc:spChg chg="add del mod">
          <ac:chgData name="Steiner Andreas 6206 ED" userId="e6377c33-a923-4f14-8587-531c474c7b48" providerId="ADAL" clId="{6ECD27E6-B224-41CD-B4E0-E297462320DD}" dt="2023-11-24T11:34:57.912" v="120598"/>
          <ac:spMkLst>
            <pc:docMk/>
            <pc:sldMk cId="3591700787" sldId="2147478562"/>
            <ac:spMk id="796" creationId="{E87DF636-F8C4-DDC4-4D7B-44263634F362}"/>
          </ac:spMkLst>
        </pc:spChg>
        <pc:spChg chg="add del mod">
          <ac:chgData name="Steiner Andreas 6206 ED" userId="e6377c33-a923-4f14-8587-531c474c7b48" providerId="ADAL" clId="{6ECD27E6-B224-41CD-B4E0-E297462320DD}" dt="2023-11-24T11:34:59.775" v="120753"/>
          <ac:spMkLst>
            <pc:docMk/>
            <pc:sldMk cId="3591700787" sldId="2147478562"/>
            <ac:spMk id="797" creationId="{7B4E6D31-C9BE-B300-69D5-40580611BA12}"/>
          </ac:spMkLst>
        </pc:spChg>
        <pc:spChg chg="add del mod">
          <ac:chgData name="Steiner Andreas 6206 ED" userId="e6377c33-a923-4f14-8587-531c474c7b48" providerId="ADAL" clId="{6ECD27E6-B224-41CD-B4E0-E297462320DD}" dt="2023-11-24T11:35:01.620" v="120908"/>
          <ac:spMkLst>
            <pc:docMk/>
            <pc:sldMk cId="3591700787" sldId="2147478562"/>
            <ac:spMk id="798" creationId="{C7562A4D-68B1-9C9A-EE9C-5C7790B34CD3}"/>
          </ac:spMkLst>
        </pc:spChg>
        <pc:spChg chg="add del mod">
          <ac:chgData name="Steiner Andreas 6206 ED" userId="e6377c33-a923-4f14-8587-531c474c7b48" providerId="ADAL" clId="{6ECD27E6-B224-41CD-B4E0-E297462320DD}" dt="2023-11-24T11:35:03.488" v="121063"/>
          <ac:spMkLst>
            <pc:docMk/>
            <pc:sldMk cId="3591700787" sldId="2147478562"/>
            <ac:spMk id="799" creationId="{5893A677-7876-8679-B9D1-13D85E3966B0}"/>
          </ac:spMkLst>
        </pc:spChg>
        <pc:spChg chg="add del mod">
          <ac:chgData name="Steiner Andreas 6206 ED" userId="e6377c33-a923-4f14-8587-531c474c7b48" providerId="ADAL" clId="{6ECD27E6-B224-41CD-B4E0-E297462320DD}" dt="2023-11-24T11:35:05.393" v="121218"/>
          <ac:spMkLst>
            <pc:docMk/>
            <pc:sldMk cId="3591700787" sldId="2147478562"/>
            <ac:spMk id="800" creationId="{25B59708-20E5-A342-E811-C2DDF3E5A2B9}"/>
          </ac:spMkLst>
        </pc:spChg>
        <pc:spChg chg="add del mod">
          <ac:chgData name="Steiner Andreas 6206 ED" userId="e6377c33-a923-4f14-8587-531c474c7b48" providerId="ADAL" clId="{6ECD27E6-B224-41CD-B4E0-E297462320DD}" dt="2023-11-24T11:35:07.602" v="121373"/>
          <ac:spMkLst>
            <pc:docMk/>
            <pc:sldMk cId="3591700787" sldId="2147478562"/>
            <ac:spMk id="801" creationId="{96E7F5D8-A9DC-7E8B-5E6B-3A27EAE0EE7A}"/>
          </ac:spMkLst>
        </pc:spChg>
        <pc:spChg chg="add del mod">
          <ac:chgData name="Steiner Andreas 6206 ED" userId="e6377c33-a923-4f14-8587-531c474c7b48" providerId="ADAL" clId="{6ECD27E6-B224-41CD-B4E0-E297462320DD}" dt="2023-11-24T11:35:09.536" v="121528"/>
          <ac:spMkLst>
            <pc:docMk/>
            <pc:sldMk cId="3591700787" sldId="2147478562"/>
            <ac:spMk id="802" creationId="{2E28AA81-7DFE-7D77-D309-7B094028D2B4}"/>
          </ac:spMkLst>
        </pc:spChg>
        <pc:spChg chg="add del mod">
          <ac:chgData name="Steiner Andreas 6206 ED" userId="e6377c33-a923-4f14-8587-531c474c7b48" providerId="ADAL" clId="{6ECD27E6-B224-41CD-B4E0-E297462320DD}" dt="2023-11-24T11:35:11.506" v="121683"/>
          <ac:spMkLst>
            <pc:docMk/>
            <pc:sldMk cId="3591700787" sldId="2147478562"/>
            <ac:spMk id="803" creationId="{68DE7E2D-4CAF-595A-0E96-962F24ADB1B7}"/>
          </ac:spMkLst>
        </pc:spChg>
        <pc:spChg chg="add del mod">
          <ac:chgData name="Steiner Andreas 6206 ED" userId="e6377c33-a923-4f14-8587-531c474c7b48" providerId="ADAL" clId="{6ECD27E6-B224-41CD-B4E0-E297462320DD}" dt="2023-11-24T11:35:13.216" v="121838"/>
          <ac:spMkLst>
            <pc:docMk/>
            <pc:sldMk cId="3591700787" sldId="2147478562"/>
            <ac:spMk id="804" creationId="{E627366D-F6BA-3A11-CBB8-540A104E9E94}"/>
          </ac:spMkLst>
        </pc:spChg>
        <pc:spChg chg="add del mod">
          <ac:chgData name="Steiner Andreas 6206 ED" userId="e6377c33-a923-4f14-8587-531c474c7b48" providerId="ADAL" clId="{6ECD27E6-B224-41CD-B4E0-E297462320DD}" dt="2023-11-24T11:35:15.170" v="121993"/>
          <ac:spMkLst>
            <pc:docMk/>
            <pc:sldMk cId="3591700787" sldId="2147478562"/>
            <ac:spMk id="805" creationId="{036923F0-5D8C-36EA-2C29-85542AF7BC4A}"/>
          </ac:spMkLst>
        </pc:spChg>
        <pc:spChg chg="add del mod">
          <ac:chgData name="Steiner Andreas 6206 ED" userId="e6377c33-a923-4f14-8587-531c474c7b48" providerId="ADAL" clId="{6ECD27E6-B224-41CD-B4E0-E297462320DD}" dt="2023-11-24T11:35:16.844" v="122148"/>
          <ac:spMkLst>
            <pc:docMk/>
            <pc:sldMk cId="3591700787" sldId="2147478562"/>
            <ac:spMk id="806" creationId="{508C7CE8-3B7F-9FE4-0800-36E7AE494FCB}"/>
          </ac:spMkLst>
        </pc:spChg>
        <pc:spChg chg="add del mod">
          <ac:chgData name="Steiner Andreas 6206 ED" userId="e6377c33-a923-4f14-8587-531c474c7b48" providerId="ADAL" clId="{6ECD27E6-B224-41CD-B4E0-E297462320DD}" dt="2023-11-24T11:35:18.528" v="122303"/>
          <ac:spMkLst>
            <pc:docMk/>
            <pc:sldMk cId="3591700787" sldId="2147478562"/>
            <ac:spMk id="807" creationId="{D121BBD6-833F-E01F-A727-23D1FC47C3C8}"/>
          </ac:spMkLst>
        </pc:spChg>
        <pc:spChg chg="add del mod">
          <ac:chgData name="Steiner Andreas 6206 ED" userId="e6377c33-a923-4f14-8587-531c474c7b48" providerId="ADAL" clId="{6ECD27E6-B224-41CD-B4E0-E297462320DD}" dt="2023-11-24T11:35:20.157" v="122458"/>
          <ac:spMkLst>
            <pc:docMk/>
            <pc:sldMk cId="3591700787" sldId="2147478562"/>
            <ac:spMk id="808" creationId="{CE56DBB7-C559-31B4-9541-349077E757C7}"/>
          </ac:spMkLst>
        </pc:spChg>
        <pc:spChg chg="add del mod">
          <ac:chgData name="Steiner Andreas 6206 ED" userId="e6377c33-a923-4f14-8587-531c474c7b48" providerId="ADAL" clId="{6ECD27E6-B224-41CD-B4E0-E297462320DD}" dt="2023-11-24T11:35:21.801" v="122613"/>
          <ac:spMkLst>
            <pc:docMk/>
            <pc:sldMk cId="3591700787" sldId="2147478562"/>
            <ac:spMk id="809" creationId="{0DDB0DA8-D9E5-7BA5-08EE-C0DB3CD1A39F}"/>
          </ac:spMkLst>
        </pc:spChg>
        <pc:spChg chg="add del mod">
          <ac:chgData name="Steiner Andreas 6206 ED" userId="e6377c33-a923-4f14-8587-531c474c7b48" providerId="ADAL" clId="{6ECD27E6-B224-41CD-B4E0-E297462320DD}" dt="2023-11-24T11:35:23.518" v="122768"/>
          <ac:spMkLst>
            <pc:docMk/>
            <pc:sldMk cId="3591700787" sldId="2147478562"/>
            <ac:spMk id="810" creationId="{BA73AA6B-C099-1CCA-E888-246BE6A3C89A}"/>
          </ac:spMkLst>
        </pc:spChg>
        <pc:spChg chg="add del mod">
          <ac:chgData name="Steiner Andreas 6206 ED" userId="e6377c33-a923-4f14-8587-531c474c7b48" providerId="ADAL" clId="{6ECD27E6-B224-41CD-B4E0-E297462320DD}" dt="2023-11-24T11:35:25.634" v="122923"/>
          <ac:spMkLst>
            <pc:docMk/>
            <pc:sldMk cId="3591700787" sldId="2147478562"/>
            <ac:spMk id="811" creationId="{64996CD9-EBDF-EBBB-1214-790237BD5C4B}"/>
          </ac:spMkLst>
        </pc:spChg>
        <pc:spChg chg="add del mod">
          <ac:chgData name="Steiner Andreas 6206 ED" userId="e6377c33-a923-4f14-8587-531c474c7b48" providerId="ADAL" clId="{6ECD27E6-B224-41CD-B4E0-E297462320DD}" dt="2023-11-24T11:35:27.626" v="123078"/>
          <ac:spMkLst>
            <pc:docMk/>
            <pc:sldMk cId="3591700787" sldId="2147478562"/>
            <ac:spMk id="812" creationId="{739CE709-ED2B-0284-4760-864F747393D9}"/>
          </ac:spMkLst>
        </pc:spChg>
        <pc:spChg chg="add del mod">
          <ac:chgData name="Steiner Andreas 6206 ED" userId="e6377c33-a923-4f14-8587-531c474c7b48" providerId="ADAL" clId="{6ECD27E6-B224-41CD-B4E0-E297462320DD}" dt="2023-11-24T11:35:29.482" v="123233"/>
          <ac:spMkLst>
            <pc:docMk/>
            <pc:sldMk cId="3591700787" sldId="2147478562"/>
            <ac:spMk id="813" creationId="{D273B240-E9A1-1E24-2E8D-9638066A369B}"/>
          </ac:spMkLst>
        </pc:spChg>
        <pc:spChg chg="add del mod">
          <ac:chgData name="Steiner Andreas 6206 ED" userId="e6377c33-a923-4f14-8587-531c474c7b48" providerId="ADAL" clId="{6ECD27E6-B224-41CD-B4E0-E297462320DD}" dt="2023-11-24T11:35:31.190" v="123388"/>
          <ac:spMkLst>
            <pc:docMk/>
            <pc:sldMk cId="3591700787" sldId="2147478562"/>
            <ac:spMk id="814" creationId="{4817B2E0-5C5E-C7BE-6AFE-6870E69DE03A}"/>
          </ac:spMkLst>
        </pc:spChg>
        <pc:spChg chg="add del mod">
          <ac:chgData name="Steiner Andreas 6206 ED" userId="e6377c33-a923-4f14-8587-531c474c7b48" providerId="ADAL" clId="{6ECD27E6-B224-41CD-B4E0-E297462320DD}" dt="2023-11-24T11:35:34.187" v="123543"/>
          <ac:spMkLst>
            <pc:docMk/>
            <pc:sldMk cId="3591700787" sldId="2147478562"/>
            <ac:spMk id="815" creationId="{32B48F7A-AB7F-8511-8FEB-99EC7BA49C00}"/>
          </ac:spMkLst>
        </pc:spChg>
        <pc:spChg chg="add del mod">
          <ac:chgData name="Steiner Andreas 6206 ED" userId="e6377c33-a923-4f14-8587-531c474c7b48" providerId="ADAL" clId="{6ECD27E6-B224-41CD-B4E0-E297462320DD}" dt="2023-11-24T11:35:35.952" v="123698"/>
          <ac:spMkLst>
            <pc:docMk/>
            <pc:sldMk cId="3591700787" sldId="2147478562"/>
            <ac:spMk id="816" creationId="{0C7D1033-AF07-374E-7442-0E0FDE4EEF23}"/>
          </ac:spMkLst>
        </pc:spChg>
        <pc:spChg chg="add del mod">
          <ac:chgData name="Steiner Andreas 6206 ED" userId="e6377c33-a923-4f14-8587-531c474c7b48" providerId="ADAL" clId="{6ECD27E6-B224-41CD-B4E0-E297462320DD}" dt="2023-11-24T11:35:37.606" v="123853"/>
          <ac:spMkLst>
            <pc:docMk/>
            <pc:sldMk cId="3591700787" sldId="2147478562"/>
            <ac:spMk id="817" creationId="{1C5A30C9-0DDC-D924-CD5E-0B34C007C992}"/>
          </ac:spMkLst>
        </pc:spChg>
        <pc:spChg chg="add del mod">
          <ac:chgData name="Steiner Andreas 6206 ED" userId="e6377c33-a923-4f14-8587-531c474c7b48" providerId="ADAL" clId="{6ECD27E6-B224-41CD-B4E0-E297462320DD}" dt="2023-11-24T11:35:39.239" v="124008"/>
          <ac:spMkLst>
            <pc:docMk/>
            <pc:sldMk cId="3591700787" sldId="2147478562"/>
            <ac:spMk id="818" creationId="{0FC962A6-63EC-0F35-89CB-098457F7088F}"/>
          </ac:spMkLst>
        </pc:spChg>
        <pc:spChg chg="add del mod">
          <ac:chgData name="Steiner Andreas 6206 ED" userId="e6377c33-a923-4f14-8587-531c474c7b48" providerId="ADAL" clId="{6ECD27E6-B224-41CD-B4E0-E297462320DD}" dt="2023-11-24T11:35:40.942" v="124163"/>
          <ac:spMkLst>
            <pc:docMk/>
            <pc:sldMk cId="3591700787" sldId="2147478562"/>
            <ac:spMk id="819" creationId="{3C0EE9E2-C486-37B7-AECE-0965770775F9}"/>
          </ac:spMkLst>
        </pc:spChg>
        <pc:spChg chg="add del mod">
          <ac:chgData name="Steiner Andreas 6206 ED" userId="e6377c33-a923-4f14-8587-531c474c7b48" providerId="ADAL" clId="{6ECD27E6-B224-41CD-B4E0-E297462320DD}" dt="2023-11-24T11:35:42.533" v="124318"/>
          <ac:spMkLst>
            <pc:docMk/>
            <pc:sldMk cId="3591700787" sldId="2147478562"/>
            <ac:spMk id="820" creationId="{90831109-A790-1978-49A4-B2AAAEC361B0}"/>
          </ac:spMkLst>
        </pc:spChg>
        <pc:spChg chg="add del mod">
          <ac:chgData name="Steiner Andreas 6206 ED" userId="e6377c33-a923-4f14-8587-531c474c7b48" providerId="ADAL" clId="{6ECD27E6-B224-41CD-B4E0-E297462320DD}" dt="2023-11-24T11:35:44.241" v="124473"/>
          <ac:spMkLst>
            <pc:docMk/>
            <pc:sldMk cId="3591700787" sldId="2147478562"/>
            <ac:spMk id="821" creationId="{7B1C22B5-AFAD-C2C7-41C8-64E8628F17EB}"/>
          </ac:spMkLst>
        </pc:spChg>
        <pc:spChg chg="add del mod">
          <ac:chgData name="Steiner Andreas 6206 ED" userId="e6377c33-a923-4f14-8587-531c474c7b48" providerId="ADAL" clId="{6ECD27E6-B224-41CD-B4E0-E297462320DD}" dt="2023-11-24T11:35:45.872" v="124628"/>
          <ac:spMkLst>
            <pc:docMk/>
            <pc:sldMk cId="3591700787" sldId="2147478562"/>
            <ac:spMk id="822" creationId="{3C5952DB-A788-687E-A916-85B116CFF5AB}"/>
          </ac:spMkLst>
        </pc:spChg>
        <pc:spChg chg="add del mod">
          <ac:chgData name="Steiner Andreas 6206 ED" userId="e6377c33-a923-4f14-8587-531c474c7b48" providerId="ADAL" clId="{6ECD27E6-B224-41CD-B4E0-E297462320DD}" dt="2023-11-24T11:35:47.570" v="124783"/>
          <ac:spMkLst>
            <pc:docMk/>
            <pc:sldMk cId="3591700787" sldId="2147478562"/>
            <ac:spMk id="823" creationId="{EEF0EAF7-082D-1117-F1F3-23AD7F6CD8BC}"/>
          </ac:spMkLst>
        </pc:spChg>
        <pc:spChg chg="add del mod">
          <ac:chgData name="Steiner Andreas 6206 ED" userId="e6377c33-a923-4f14-8587-531c474c7b48" providerId="ADAL" clId="{6ECD27E6-B224-41CD-B4E0-E297462320DD}" dt="2023-11-24T11:35:49.389" v="124938"/>
          <ac:spMkLst>
            <pc:docMk/>
            <pc:sldMk cId="3591700787" sldId="2147478562"/>
            <ac:spMk id="824" creationId="{0BCC294D-2A0C-2A0A-7C14-E4FD05A50B91}"/>
          </ac:spMkLst>
        </pc:spChg>
        <pc:spChg chg="add del mod">
          <ac:chgData name="Steiner Andreas 6206 ED" userId="e6377c33-a923-4f14-8587-531c474c7b48" providerId="ADAL" clId="{6ECD27E6-B224-41CD-B4E0-E297462320DD}" dt="2023-11-24T11:35:51.321" v="125093"/>
          <ac:spMkLst>
            <pc:docMk/>
            <pc:sldMk cId="3591700787" sldId="2147478562"/>
            <ac:spMk id="825" creationId="{F3026695-6CC9-3BAA-A94D-6B7E7B941AE6}"/>
          </ac:spMkLst>
        </pc:spChg>
        <pc:spChg chg="add del mod">
          <ac:chgData name="Steiner Andreas 6206 ED" userId="e6377c33-a923-4f14-8587-531c474c7b48" providerId="ADAL" clId="{6ECD27E6-B224-41CD-B4E0-E297462320DD}" dt="2023-11-24T11:35:53.003" v="125248"/>
          <ac:spMkLst>
            <pc:docMk/>
            <pc:sldMk cId="3591700787" sldId="2147478562"/>
            <ac:spMk id="826" creationId="{6F56D218-2ACD-0D38-5AB9-3999AB3C4D34}"/>
          </ac:spMkLst>
        </pc:spChg>
        <pc:spChg chg="add del mod">
          <ac:chgData name="Steiner Andreas 6206 ED" userId="e6377c33-a923-4f14-8587-531c474c7b48" providerId="ADAL" clId="{6ECD27E6-B224-41CD-B4E0-E297462320DD}" dt="2023-11-24T11:35:55.039" v="125403"/>
          <ac:spMkLst>
            <pc:docMk/>
            <pc:sldMk cId="3591700787" sldId="2147478562"/>
            <ac:spMk id="827" creationId="{9BFE056F-3CF7-8060-6DBE-A77F6120D2D0}"/>
          </ac:spMkLst>
        </pc:spChg>
        <pc:spChg chg="add del mod">
          <ac:chgData name="Steiner Andreas 6206 ED" userId="e6377c33-a923-4f14-8587-531c474c7b48" providerId="ADAL" clId="{6ECD27E6-B224-41CD-B4E0-E297462320DD}" dt="2023-11-24T11:35:57.260" v="125558"/>
          <ac:spMkLst>
            <pc:docMk/>
            <pc:sldMk cId="3591700787" sldId="2147478562"/>
            <ac:spMk id="828" creationId="{6AAA49F9-4B1B-FEDB-2AC3-12395BECBF01}"/>
          </ac:spMkLst>
        </pc:spChg>
        <pc:spChg chg="add del mod">
          <ac:chgData name="Steiner Andreas 6206 ED" userId="e6377c33-a923-4f14-8587-531c474c7b48" providerId="ADAL" clId="{6ECD27E6-B224-41CD-B4E0-E297462320DD}" dt="2023-11-24T11:35:58.980" v="125713"/>
          <ac:spMkLst>
            <pc:docMk/>
            <pc:sldMk cId="3591700787" sldId="2147478562"/>
            <ac:spMk id="829" creationId="{393643CD-157F-E8AF-6B1C-44377C1AA2EF}"/>
          </ac:spMkLst>
        </pc:spChg>
        <pc:spChg chg="add del mod">
          <ac:chgData name="Steiner Andreas 6206 ED" userId="e6377c33-a923-4f14-8587-531c474c7b48" providerId="ADAL" clId="{6ECD27E6-B224-41CD-B4E0-E297462320DD}" dt="2023-11-24T11:36:00.729" v="125868"/>
          <ac:spMkLst>
            <pc:docMk/>
            <pc:sldMk cId="3591700787" sldId="2147478562"/>
            <ac:spMk id="830" creationId="{ACED10B9-C9E5-C94F-B950-E44E9994B4AC}"/>
          </ac:spMkLst>
        </pc:spChg>
        <pc:spChg chg="add del mod">
          <ac:chgData name="Steiner Andreas 6206 ED" userId="e6377c33-a923-4f14-8587-531c474c7b48" providerId="ADAL" clId="{6ECD27E6-B224-41CD-B4E0-E297462320DD}" dt="2023-11-24T11:36:02.454" v="126023"/>
          <ac:spMkLst>
            <pc:docMk/>
            <pc:sldMk cId="3591700787" sldId="2147478562"/>
            <ac:spMk id="831" creationId="{DB1BD4ED-9A12-C6EB-1B05-445F8D000F63}"/>
          </ac:spMkLst>
        </pc:spChg>
        <pc:spChg chg="add del mod">
          <ac:chgData name="Steiner Andreas 6206 ED" userId="e6377c33-a923-4f14-8587-531c474c7b48" providerId="ADAL" clId="{6ECD27E6-B224-41CD-B4E0-E297462320DD}" dt="2023-11-24T11:36:04.221" v="126178"/>
          <ac:spMkLst>
            <pc:docMk/>
            <pc:sldMk cId="3591700787" sldId="2147478562"/>
            <ac:spMk id="832" creationId="{2A780444-817B-4F7B-87F0-69B0B3D135C9}"/>
          </ac:spMkLst>
        </pc:spChg>
        <pc:spChg chg="add del mod">
          <ac:chgData name="Steiner Andreas 6206 ED" userId="e6377c33-a923-4f14-8587-531c474c7b48" providerId="ADAL" clId="{6ECD27E6-B224-41CD-B4E0-E297462320DD}" dt="2023-11-24T11:36:05.974" v="126333"/>
          <ac:spMkLst>
            <pc:docMk/>
            <pc:sldMk cId="3591700787" sldId="2147478562"/>
            <ac:spMk id="833" creationId="{074D941F-C67F-DA60-AE5E-5BC1B365E67F}"/>
          </ac:spMkLst>
        </pc:spChg>
        <pc:spChg chg="add del mod">
          <ac:chgData name="Steiner Andreas 6206 ED" userId="e6377c33-a923-4f14-8587-531c474c7b48" providerId="ADAL" clId="{6ECD27E6-B224-41CD-B4E0-E297462320DD}" dt="2023-11-24T11:36:07.701" v="126488"/>
          <ac:spMkLst>
            <pc:docMk/>
            <pc:sldMk cId="3591700787" sldId="2147478562"/>
            <ac:spMk id="834" creationId="{68BD19AE-9932-C3E2-5E0A-2D9DC006EB7F}"/>
          </ac:spMkLst>
        </pc:spChg>
        <pc:spChg chg="add del mod">
          <ac:chgData name="Steiner Andreas 6206 ED" userId="e6377c33-a923-4f14-8587-531c474c7b48" providerId="ADAL" clId="{6ECD27E6-B224-41CD-B4E0-E297462320DD}" dt="2023-11-24T11:36:09.515" v="126643"/>
          <ac:spMkLst>
            <pc:docMk/>
            <pc:sldMk cId="3591700787" sldId="2147478562"/>
            <ac:spMk id="835" creationId="{5B330BEF-8632-BE49-348C-F5EC4EF1601B}"/>
          </ac:spMkLst>
        </pc:spChg>
        <pc:spChg chg="add del mod">
          <ac:chgData name="Steiner Andreas 6206 ED" userId="e6377c33-a923-4f14-8587-531c474c7b48" providerId="ADAL" clId="{6ECD27E6-B224-41CD-B4E0-E297462320DD}" dt="2023-11-24T11:36:11.406" v="126798"/>
          <ac:spMkLst>
            <pc:docMk/>
            <pc:sldMk cId="3591700787" sldId="2147478562"/>
            <ac:spMk id="836" creationId="{ABA6DE30-F05F-21EB-AF84-5EDD4E3827A0}"/>
          </ac:spMkLst>
        </pc:spChg>
        <pc:spChg chg="add del mod">
          <ac:chgData name="Steiner Andreas 6206 ED" userId="e6377c33-a923-4f14-8587-531c474c7b48" providerId="ADAL" clId="{6ECD27E6-B224-41CD-B4E0-E297462320DD}" dt="2023-11-24T11:36:13.234" v="126953"/>
          <ac:spMkLst>
            <pc:docMk/>
            <pc:sldMk cId="3591700787" sldId="2147478562"/>
            <ac:spMk id="837" creationId="{23228AFD-4472-5A86-E84E-0F3BA29E1128}"/>
          </ac:spMkLst>
        </pc:spChg>
        <pc:spChg chg="add del mod">
          <ac:chgData name="Steiner Andreas 6206 ED" userId="e6377c33-a923-4f14-8587-531c474c7b48" providerId="ADAL" clId="{6ECD27E6-B224-41CD-B4E0-E297462320DD}" dt="2023-11-24T11:36:15.118" v="127108"/>
          <ac:spMkLst>
            <pc:docMk/>
            <pc:sldMk cId="3591700787" sldId="2147478562"/>
            <ac:spMk id="838" creationId="{9DFD7DB2-116D-A813-BF6D-D15756D5D9E1}"/>
          </ac:spMkLst>
        </pc:spChg>
        <pc:spChg chg="add del mod">
          <ac:chgData name="Steiner Andreas 6206 ED" userId="e6377c33-a923-4f14-8587-531c474c7b48" providerId="ADAL" clId="{6ECD27E6-B224-41CD-B4E0-E297462320DD}" dt="2023-11-24T11:36:17.818" v="127263"/>
          <ac:spMkLst>
            <pc:docMk/>
            <pc:sldMk cId="3591700787" sldId="2147478562"/>
            <ac:spMk id="839" creationId="{55DBF557-E2C0-CD4B-4412-E92C7D79A11B}"/>
          </ac:spMkLst>
        </pc:spChg>
        <pc:spChg chg="add del mod">
          <ac:chgData name="Steiner Andreas 6206 ED" userId="e6377c33-a923-4f14-8587-531c474c7b48" providerId="ADAL" clId="{6ECD27E6-B224-41CD-B4E0-E297462320DD}" dt="2023-11-24T11:36:20.344" v="127418"/>
          <ac:spMkLst>
            <pc:docMk/>
            <pc:sldMk cId="3591700787" sldId="2147478562"/>
            <ac:spMk id="840" creationId="{2063FA5F-7ECB-B98F-A77F-795C9B4C68CD}"/>
          </ac:spMkLst>
        </pc:spChg>
        <pc:spChg chg="add del mod">
          <ac:chgData name="Steiner Andreas 6206 ED" userId="e6377c33-a923-4f14-8587-531c474c7b48" providerId="ADAL" clId="{6ECD27E6-B224-41CD-B4E0-E297462320DD}" dt="2023-11-24T11:36:22.677" v="127573"/>
          <ac:spMkLst>
            <pc:docMk/>
            <pc:sldMk cId="3591700787" sldId="2147478562"/>
            <ac:spMk id="841" creationId="{44CA84ED-5514-6CA8-AC08-20FF3BE892D8}"/>
          </ac:spMkLst>
        </pc:spChg>
        <pc:spChg chg="add del mod">
          <ac:chgData name="Steiner Andreas 6206 ED" userId="e6377c33-a923-4f14-8587-531c474c7b48" providerId="ADAL" clId="{6ECD27E6-B224-41CD-B4E0-E297462320DD}" dt="2023-11-24T11:36:25.926" v="127728"/>
          <ac:spMkLst>
            <pc:docMk/>
            <pc:sldMk cId="3591700787" sldId="2147478562"/>
            <ac:spMk id="842" creationId="{5138E099-0639-6B20-CEC8-793762D24D97}"/>
          </ac:spMkLst>
        </pc:spChg>
        <pc:spChg chg="add del mod">
          <ac:chgData name="Steiner Andreas 6206 ED" userId="e6377c33-a923-4f14-8587-531c474c7b48" providerId="ADAL" clId="{6ECD27E6-B224-41CD-B4E0-E297462320DD}" dt="2023-11-24T11:36:28.613" v="127883"/>
          <ac:spMkLst>
            <pc:docMk/>
            <pc:sldMk cId="3591700787" sldId="2147478562"/>
            <ac:spMk id="843" creationId="{3AA361A7-DB37-FB70-6391-CE62DE9DD93D}"/>
          </ac:spMkLst>
        </pc:spChg>
        <pc:spChg chg="add del mod">
          <ac:chgData name="Steiner Andreas 6206 ED" userId="e6377c33-a923-4f14-8587-531c474c7b48" providerId="ADAL" clId="{6ECD27E6-B224-41CD-B4E0-E297462320DD}" dt="2023-11-24T11:36:31.298" v="128038"/>
          <ac:spMkLst>
            <pc:docMk/>
            <pc:sldMk cId="3591700787" sldId="2147478562"/>
            <ac:spMk id="844" creationId="{B47BA519-83CC-FFA1-FC38-FD4782C675B7}"/>
          </ac:spMkLst>
        </pc:spChg>
        <pc:spChg chg="add del mod">
          <ac:chgData name="Steiner Andreas 6206 ED" userId="e6377c33-a923-4f14-8587-531c474c7b48" providerId="ADAL" clId="{6ECD27E6-B224-41CD-B4E0-E297462320DD}" dt="2023-11-24T11:36:33.536" v="128193"/>
          <ac:spMkLst>
            <pc:docMk/>
            <pc:sldMk cId="3591700787" sldId="2147478562"/>
            <ac:spMk id="845" creationId="{6E5D4F49-CED6-9916-B6A7-1762EB2242F4}"/>
          </ac:spMkLst>
        </pc:spChg>
        <pc:spChg chg="add del mod">
          <ac:chgData name="Steiner Andreas 6206 ED" userId="e6377c33-a923-4f14-8587-531c474c7b48" providerId="ADAL" clId="{6ECD27E6-B224-41CD-B4E0-E297462320DD}" dt="2023-11-24T11:36:35.580" v="128348"/>
          <ac:spMkLst>
            <pc:docMk/>
            <pc:sldMk cId="3591700787" sldId="2147478562"/>
            <ac:spMk id="846" creationId="{AA29D77B-45C0-6646-663F-6B656D1A261F}"/>
          </ac:spMkLst>
        </pc:spChg>
        <pc:spChg chg="add del mod">
          <ac:chgData name="Steiner Andreas 6206 ED" userId="e6377c33-a923-4f14-8587-531c474c7b48" providerId="ADAL" clId="{6ECD27E6-B224-41CD-B4E0-E297462320DD}" dt="2023-11-24T11:36:37.755" v="128503"/>
          <ac:spMkLst>
            <pc:docMk/>
            <pc:sldMk cId="3591700787" sldId="2147478562"/>
            <ac:spMk id="847" creationId="{5C80DD04-457F-6D31-98D2-1E1BEBC14D3C}"/>
          </ac:spMkLst>
        </pc:spChg>
        <pc:spChg chg="add del mod">
          <ac:chgData name="Steiner Andreas 6206 ED" userId="e6377c33-a923-4f14-8587-531c474c7b48" providerId="ADAL" clId="{6ECD27E6-B224-41CD-B4E0-E297462320DD}" dt="2023-11-24T11:36:39.942" v="128658"/>
          <ac:spMkLst>
            <pc:docMk/>
            <pc:sldMk cId="3591700787" sldId="2147478562"/>
            <ac:spMk id="848" creationId="{85261D4C-8867-F1BD-E975-B62B85F9F0F7}"/>
          </ac:spMkLst>
        </pc:spChg>
        <pc:spChg chg="add del mod">
          <ac:chgData name="Steiner Andreas 6206 ED" userId="e6377c33-a923-4f14-8587-531c474c7b48" providerId="ADAL" clId="{6ECD27E6-B224-41CD-B4E0-E297462320DD}" dt="2023-11-24T11:36:42.510" v="128813"/>
          <ac:spMkLst>
            <pc:docMk/>
            <pc:sldMk cId="3591700787" sldId="2147478562"/>
            <ac:spMk id="849" creationId="{BB8C8F0A-8D7D-BAD1-F433-BB30FCF2DB06}"/>
          </ac:spMkLst>
        </pc:spChg>
        <pc:spChg chg="add del mod">
          <ac:chgData name="Steiner Andreas 6206 ED" userId="e6377c33-a923-4f14-8587-531c474c7b48" providerId="ADAL" clId="{6ECD27E6-B224-41CD-B4E0-E297462320DD}" dt="2023-11-24T11:36:44.792" v="128968"/>
          <ac:spMkLst>
            <pc:docMk/>
            <pc:sldMk cId="3591700787" sldId="2147478562"/>
            <ac:spMk id="850" creationId="{F396DC33-8AC5-202F-ECE1-24CCD160ED42}"/>
          </ac:spMkLst>
        </pc:spChg>
        <pc:spChg chg="add del mod">
          <ac:chgData name="Steiner Andreas 6206 ED" userId="e6377c33-a923-4f14-8587-531c474c7b48" providerId="ADAL" clId="{6ECD27E6-B224-41CD-B4E0-E297462320DD}" dt="2023-11-24T11:36:46.726" v="129123"/>
          <ac:spMkLst>
            <pc:docMk/>
            <pc:sldMk cId="3591700787" sldId="2147478562"/>
            <ac:spMk id="851" creationId="{909264EB-2DEC-6DC4-4C55-6A8929571C90}"/>
          </ac:spMkLst>
        </pc:spChg>
        <pc:spChg chg="add del mod">
          <ac:chgData name="Steiner Andreas 6206 ED" userId="e6377c33-a923-4f14-8587-531c474c7b48" providerId="ADAL" clId="{6ECD27E6-B224-41CD-B4E0-E297462320DD}" dt="2023-11-24T11:36:48.711" v="129278"/>
          <ac:spMkLst>
            <pc:docMk/>
            <pc:sldMk cId="3591700787" sldId="2147478562"/>
            <ac:spMk id="852" creationId="{C9E7C541-BE1E-E3D7-CC71-8B3B6C87B900}"/>
          </ac:spMkLst>
        </pc:spChg>
        <pc:spChg chg="add del mod">
          <ac:chgData name="Steiner Andreas 6206 ED" userId="e6377c33-a923-4f14-8587-531c474c7b48" providerId="ADAL" clId="{6ECD27E6-B224-41CD-B4E0-E297462320DD}" dt="2023-11-24T11:36:50.682" v="129433"/>
          <ac:spMkLst>
            <pc:docMk/>
            <pc:sldMk cId="3591700787" sldId="2147478562"/>
            <ac:spMk id="853" creationId="{05093EDB-10DA-3D6B-4C4D-9FF5B5009767}"/>
          </ac:spMkLst>
        </pc:spChg>
        <pc:spChg chg="add del mod">
          <ac:chgData name="Steiner Andreas 6206 ED" userId="e6377c33-a923-4f14-8587-531c474c7b48" providerId="ADAL" clId="{6ECD27E6-B224-41CD-B4E0-E297462320DD}" dt="2023-11-24T11:36:52.837" v="129588"/>
          <ac:spMkLst>
            <pc:docMk/>
            <pc:sldMk cId="3591700787" sldId="2147478562"/>
            <ac:spMk id="854" creationId="{266A5171-80FF-05B9-2B6A-41BCD03719FC}"/>
          </ac:spMkLst>
        </pc:spChg>
        <pc:spChg chg="add del mod">
          <ac:chgData name="Steiner Andreas 6206 ED" userId="e6377c33-a923-4f14-8587-531c474c7b48" providerId="ADAL" clId="{6ECD27E6-B224-41CD-B4E0-E297462320DD}" dt="2023-11-24T11:36:55.747" v="129743"/>
          <ac:spMkLst>
            <pc:docMk/>
            <pc:sldMk cId="3591700787" sldId="2147478562"/>
            <ac:spMk id="855" creationId="{467FF1FF-0E8D-0C72-5FAC-9C249671CEEF}"/>
          </ac:spMkLst>
        </pc:spChg>
        <pc:spChg chg="add del mod">
          <ac:chgData name="Steiner Andreas 6206 ED" userId="e6377c33-a923-4f14-8587-531c474c7b48" providerId="ADAL" clId="{6ECD27E6-B224-41CD-B4E0-E297462320DD}" dt="2023-11-24T11:36:57.975" v="129898"/>
          <ac:spMkLst>
            <pc:docMk/>
            <pc:sldMk cId="3591700787" sldId="2147478562"/>
            <ac:spMk id="856" creationId="{00CE5C89-BD96-AD57-93FA-4C3F0AD899E6}"/>
          </ac:spMkLst>
        </pc:spChg>
        <pc:spChg chg="add del mod">
          <ac:chgData name="Steiner Andreas 6206 ED" userId="e6377c33-a923-4f14-8587-531c474c7b48" providerId="ADAL" clId="{6ECD27E6-B224-41CD-B4E0-E297462320DD}" dt="2023-11-24T11:37:00.283" v="130053"/>
          <ac:spMkLst>
            <pc:docMk/>
            <pc:sldMk cId="3591700787" sldId="2147478562"/>
            <ac:spMk id="857" creationId="{F0DAD669-0434-4143-A28D-91ACBAF67CAD}"/>
          </ac:spMkLst>
        </pc:spChg>
        <pc:spChg chg="add del mod">
          <ac:chgData name="Steiner Andreas 6206 ED" userId="e6377c33-a923-4f14-8587-531c474c7b48" providerId="ADAL" clId="{6ECD27E6-B224-41CD-B4E0-E297462320DD}" dt="2023-11-24T11:37:02.079" v="130208"/>
          <ac:spMkLst>
            <pc:docMk/>
            <pc:sldMk cId="3591700787" sldId="2147478562"/>
            <ac:spMk id="858" creationId="{97598DBB-D4BA-88C5-607B-51028AC63485}"/>
          </ac:spMkLst>
        </pc:spChg>
        <pc:spChg chg="add del mod">
          <ac:chgData name="Steiner Andreas 6206 ED" userId="e6377c33-a923-4f14-8587-531c474c7b48" providerId="ADAL" clId="{6ECD27E6-B224-41CD-B4E0-E297462320DD}" dt="2023-11-24T11:37:03.822" v="130363"/>
          <ac:spMkLst>
            <pc:docMk/>
            <pc:sldMk cId="3591700787" sldId="2147478562"/>
            <ac:spMk id="859" creationId="{4F3A3720-00F7-187C-274D-59C7E1BD5022}"/>
          </ac:spMkLst>
        </pc:spChg>
        <pc:spChg chg="add del mod">
          <ac:chgData name="Steiner Andreas 6206 ED" userId="e6377c33-a923-4f14-8587-531c474c7b48" providerId="ADAL" clId="{6ECD27E6-B224-41CD-B4E0-E297462320DD}" dt="2023-11-24T11:37:05.696" v="130518"/>
          <ac:spMkLst>
            <pc:docMk/>
            <pc:sldMk cId="3591700787" sldId="2147478562"/>
            <ac:spMk id="860" creationId="{38049C9C-F2F3-331F-524F-38F349975CF4}"/>
          </ac:spMkLst>
        </pc:spChg>
        <pc:spChg chg="add del mod">
          <ac:chgData name="Steiner Andreas 6206 ED" userId="e6377c33-a923-4f14-8587-531c474c7b48" providerId="ADAL" clId="{6ECD27E6-B224-41CD-B4E0-E297462320DD}" dt="2023-11-24T11:37:07.469" v="130673"/>
          <ac:spMkLst>
            <pc:docMk/>
            <pc:sldMk cId="3591700787" sldId="2147478562"/>
            <ac:spMk id="861" creationId="{E0AD39F5-E1F0-8E12-E675-4C2C79750DE5}"/>
          </ac:spMkLst>
        </pc:spChg>
        <pc:spChg chg="add del mod">
          <ac:chgData name="Steiner Andreas 6206 ED" userId="e6377c33-a923-4f14-8587-531c474c7b48" providerId="ADAL" clId="{6ECD27E6-B224-41CD-B4E0-E297462320DD}" dt="2023-11-24T11:37:09.169" v="130828"/>
          <ac:spMkLst>
            <pc:docMk/>
            <pc:sldMk cId="3591700787" sldId="2147478562"/>
            <ac:spMk id="862" creationId="{97997C0A-9978-4047-2346-53C116494F19}"/>
          </ac:spMkLst>
        </pc:spChg>
        <pc:spChg chg="add del mod">
          <ac:chgData name="Steiner Andreas 6206 ED" userId="e6377c33-a923-4f14-8587-531c474c7b48" providerId="ADAL" clId="{6ECD27E6-B224-41CD-B4E0-E297462320DD}" dt="2023-11-24T11:37:10.846" v="130983"/>
          <ac:spMkLst>
            <pc:docMk/>
            <pc:sldMk cId="3591700787" sldId="2147478562"/>
            <ac:spMk id="863" creationId="{99844068-E6DB-75B0-00AF-5E5D93F9F272}"/>
          </ac:spMkLst>
        </pc:spChg>
        <pc:spChg chg="add del mod">
          <ac:chgData name="Steiner Andreas 6206 ED" userId="e6377c33-a923-4f14-8587-531c474c7b48" providerId="ADAL" clId="{6ECD27E6-B224-41CD-B4E0-E297462320DD}" dt="2023-11-24T11:37:12.523" v="131138"/>
          <ac:spMkLst>
            <pc:docMk/>
            <pc:sldMk cId="3591700787" sldId="2147478562"/>
            <ac:spMk id="864" creationId="{9BB38FD0-5F01-AC05-719D-3A997AA132A5}"/>
          </ac:spMkLst>
        </pc:spChg>
        <pc:spChg chg="add del mod">
          <ac:chgData name="Steiner Andreas 6206 ED" userId="e6377c33-a923-4f14-8587-531c474c7b48" providerId="ADAL" clId="{6ECD27E6-B224-41CD-B4E0-E297462320DD}" dt="2023-11-24T11:37:14.206" v="131293"/>
          <ac:spMkLst>
            <pc:docMk/>
            <pc:sldMk cId="3591700787" sldId="2147478562"/>
            <ac:spMk id="865" creationId="{76FB8F79-F642-0A45-FD29-0D8409B5DF77}"/>
          </ac:spMkLst>
        </pc:spChg>
        <pc:spChg chg="add del mod">
          <ac:chgData name="Steiner Andreas 6206 ED" userId="e6377c33-a923-4f14-8587-531c474c7b48" providerId="ADAL" clId="{6ECD27E6-B224-41CD-B4E0-E297462320DD}" dt="2023-11-24T11:37:16.313" v="131448"/>
          <ac:spMkLst>
            <pc:docMk/>
            <pc:sldMk cId="3591700787" sldId="2147478562"/>
            <ac:spMk id="866" creationId="{8E3FD391-87CB-F168-CA11-96CA9A142296}"/>
          </ac:spMkLst>
        </pc:spChg>
        <pc:spChg chg="add del mod">
          <ac:chgData name="Steiner Andreas 6206 ED" userId="e6377c33-a923-4f14-8587-531c474c7b48" providerId="ADAL" clId="{6ECD27E6-B224-41CD-B4E0-E297462320DD}" dt="2023-11-24T11:37:18.274" v="131603"/>
          <ac:spMkLst>
            <pc:docMk/>
            <pc:sldMk cId="3591700787" sldId="2147478562"/>
            <ac:spMk id="867" creationId="{504B9C99-90D9-D81E-0F18-B5FF61079B2F}"/>
          </ac:spMkLst>
        </pc:spChg>
        <pc:spChg chg="add del mod">
          <ac:chgData name="Steiner Andreas 6206 ED" userId="e6377c33-a923-4f14-8587-531c474c7b48" providerId="ADAL" clId="{6ECD27E6-B224-41CD-B4E0-E297462320DD}" dt="2023-11-24T11:37:20.148" v="131758"/>
          <ac:spMkLst>
            <pc:docMk/>
            <pc:sldMk cId="3591700787" sldId="2147478562"/>
            <ac:spMk id="868" creationId="{1DB393E4-B342-1885-4451-0D0B9137E390}"/>
          </ac:spMkLst>
        </pc:spChg>
        <pc:spChg chg="add del mod">
          <ac:chgData name="Steiner Andreas 6206 ED" userId="e6377c33-a923-4f14-8587-531c474c7b48" providerId="ADAL" clId="{6ECD27E6-B224-41CD-B4E0-E297462320DD}" dt="2023-11-24T11:37:22.057" v="131913"/>
          <ac:spMkLst>
            <pc:docMk/>
            <pc:sldMk cId="3591700787" sldId="2147478562"/>
            <ac:spMk id="869" creationId="{8829E05C-6331-6EEC-F984-E926F0871848}"/>
          </ac:spMkLst>
        </pc:spChg>
        <pc:spChg chg="add del mod">
          <ac:chgData name="Steiner Andreas 6206 ED" userId="e6377c33-a923-4f14-8587-531c474c7b48" providerId="ADAL" clId="{6ECD27E6-B224-41CD-B4E0-E297462320DD}" dt="2023-11-24T11:37:23.810" v="132068"/>
          <ac:spMkLst>
            <pc:docMk/>
            <pc:sldMk cId="3591700787" sldId="2147478562"/>
            <ac:spMk id="870" creationId="{B30BFA58-542A-F52C-EAA6-CB81E4F6BD02}"/>
          </ac:spMkLst>
        </pc:spChg>
        <pc:spChg chg="add del mod">
          <ac:chgData name="Steiner Andreas 6206 ED" userId="e6377c33-a923-4f14-8587-531c474c7b48" providerId="ADAL" clId="{6ECD27E6-B224-41CD-B4E0-E297462320DD}" dt="2023-11-24T11:37:25.518" v="132223"/>
          <ac:spMkLst>
            <pc:docMk/>
            <pc:sldMk cId="3591700787" sldId="2147478562"/>
            <ac:spMk id="871" creationId="{7D5727E7-86C2-EDD4-0812-F0D7F6F5027D}"/>
          </ac:spMkLst>
        </pc:spChg>
        <pc:spChg chg="add del mod">
          <ac:chgData name="Steiner Andreas 6206 ED" userId="e6377c33-a923-4f14-8587-531c474c7b48" providerId="ADAL" clId="{6ECD27E6-B224-41CD-B4E0-E297462320DD}" dt="2023-11-24T11:37:27.548" v="132378"/>
          <ac:spMkLst>
            <pc:docMk/>
            <pc:sldMk cId="3591700787" sldId="2147478562"/>
            <ac:spMk id="872" creationId="{B2C9C863-1873-3E9B-9D0B-926FAF08CEEF}"/>
          </ac:spMkLst>
        </pc:spChg>
        <pc:spChg chg="add del mod">
          <ac:chgData name="Steiner Andreas 6206 ED" userId="e6377c33-a923-4f14-8587-531c474c7b48" providerId="ADAL" clId="{6ECD27E6-B224-41CD-B4E0-E297462320DD}" dt="2023-11-24T11:37:30.261" v="132533"/>
          <ac:spMkLst>
            <pc:docMk/>
            <pc:sldMk cId="3591700787" sldId="2147478562"/>
            <ac:spMk id="873" creationId="{B4F1053F-9D40-CAD1-3624-2CB81111551C}"/>
          </ac:spMkLst>
        </pc:spChg>
        <pc:spChg chg="add del mod">
          <ac:chgData name="Steiner Andreas 6206 ED" userId="e6377c33-a923-4f14-8587-531c474c7b48" providerId="ADAL" clId="{6ECD27E6-B224-41CD-B4E0-E297462320DD}" dt="2023-11-24T11:37:32.907" v="132688"/>
          <ac:spMkLst>
            <pc:docMk/>
            <pc:sldMk cId="3591700787" sldId="2147478562"/>
            <ac:spMk id="874" creationId="{AB481BD2-29CF-61A4-741F-61D1D516A6AA}"/>
          </ac:spMkLst>
        </pc:spChg>
        <pc:spChg chg="add del mod">
          <ac:chgData name="Steiner Andreas 6206 ED" userId="e6377c33-a923-4f14-8587-531c474c7b48" providerId="ADAL" clId="{6ECD27E6-B224-41CD-B4E0-E297462320DD}" dt="2023-11-24T11:37:35.792" v="132843"/>
          <ac:spMkLst>
            <pc:docMk/>
            <pc:sldMk cId="3591700787" sldId="2147478562"/>
            <ac:spMk id="875" creationId="{0187B1B2-984A-771D-4BF0-D439944CAC30}"/>
          </ac:spMkLst>
        </pc:spChg>
        <pc:spChg chg="add del mod">
          <ac:chgData name="Steiner Andreas 6206 ED" userId="e6377c33-a923-4f14-8587-531c474c7b48" providerId="ADAL" clId="{6ECD27E6-B224-41CD-B4E0-E297462320DD}" dt="2023-11-24T11:37:38.525" v="132998"/>
          <ac:spMkLst>
            <pc:docMk/>
            <pc:sldMk cId="3591700787" sldId="2147478562"/>
            <ac:spMk id="876" creationId="{5D7BCAB8-EAAE-2056-D69A-C7010D0425F1}"/>
          </ac:spMkLst>
        </pc:spChg>
        <pc:spChg chg="add del mod">
          <ac:chgData name="Steiner Andreas 6206 ED" userId="e6377c33-a923-4f14-8587-531c474c7b48" providerId="ADAL" clId="{6ECD27E6-B224-41CD-B4E0-E297462320DD}" dt="2023-11-24T11:37:41.022" v="133153"/>
          <ac:spMkLst>
            <pc:docMk/>
            <pc:sldMk cId="3591700787" sldId="2147478562"/>
            <ac:spMk id="877" creationId="{52C4E447-E524-4573-9C9A-41ADD6AD0644}"/>
          </ac:spMkLst>
        </pc:spChg>
        <pc:spChg chg="add del mod">
          <ac:chgData name="Steiner Andreas 6206 ED" userId="e6377c33-a923-4f14-8587-531c474c7b48" providerId="ADAL" clId="{6ECD27E6-B224-41CD-B4E0-E297462320DD}" dt="2023-11-24T11:37:44.203" v="133308"/>
          <ac:spMkLst>
            <pc:docMk/>
            <pc:sldMk cId="3591700787" sldId="2147478562"/>
            <ac:spMk id="878" creationId="{6D9C76E9-97A6-DCC8-01C3-B096D5BC83EB}"/>
          </ac:spMkLst>
        </pc:spChg>
        <pc:spChg chg="add del mod">
          <ac:chgData name="Steiner Andreas 6206 ED" userId="e6377c33-a923-4f14-8587-531c474c7b48" providerId="ADAL" clId="{6ECD27E6-B224-41CD-B4E0-E297462320DD}" dt="2023-11-24T11:37:48.253" v="133463"/>
          <ac:spMkLst>
            <pc:docMk/>
            <pc:sldMk cId="3591700787" sldId="2147478562"/>
            <ac:spMk id="879" creationId="{0DBADFB7-4960-F371-63E6-651345B623F3}"/>
          </ac:spMkLst>
        </pc:spChg>
        <pc:spChg chg="add del mod">
          <ac:chgData name="Steiner Andreas 6206 ED" userId="e6377c33-a923-4f14-8587-531c474c7b48" providerId="ADAL" clId="{6ECD27E6-B224-41CD-B4E0-E297462320DD}" dt="2023-11-24T11:37:51.491" v="133618"/>
          <ac:spMkLst>
            <pc:docMk/>
            <pc:sldMk cId="3591700787" sldId="2147478562"/>
            <ac:spMk id="880" creationId="{8A68526C-2C8A-4064-9A68-058563CD6664}"/>
          </ac:spMkLst>
        </pc:spChg>
        <pc:spChg chg="add del mod">
          <ac:chgData name="Steiner Andreas 6206 ED" userId="e6377c33-a923-4f14-8587-531c474c7b48" providerId="ADAL" clId="{6ECD27E6-B224-41CD-B4E0-E297462320DD}" dt="2023-11-24T11:37:54.211" v="133773"/>
          <ac:spMkLst>
            <pc:docMk/>
            <pc:sldMk cId="3591700787" sldId="2147478562"/>
            <ac:spMk id="881" creationId="{ABA81856-7867-CEDD-D48A-E91C78A1871A}"/>
          </ac:spMkLst>
        </pc:spChg>
        <pc:spChg chg="add del mod">
          <ac:chgData name="Steiner Andreas 6206 ED" userId="e6377c33-a923-4f14-8587-531c474c7b48" providerId="ADAL" clId="{6ECD27E6-B224-41CD-B4E0-E297462320DD}" dt="2023-11-24T11:37:56.605" v="133928"/>
          <ac:spMkLst>
            <pc:docMk/>
            <pc:sldMk cId="3591700787" sldId="2147478562"/>
            <ac:spMk id="882" creationId="{17A0150E-30A0-C4A0-6DF7-169F351DB016}"/>
          </ac:spMkLst>
        </pc:spChg>
        <pc:spChg chg="add del mod">
          <ac:chgData name="Steiner Andreas 6206 ED" userId="e6377c33-a923-4f14-8587-531c474c7b48" providerId="ADAL" clId="{6ECD27E6-B224-41CD-B4E0-E297462320DD}" dt="2023-11-24T11:37:59.195" v="134083"/>
          <ac:spMkLst>
            <pc:docMk/>
            <pc:sldMk cId="3591700787" sldId="2147478562"/>
            <ac:spMk id="883" creationId="{8ADFA285-07FF-7C00-ABFE-CFE245640AE1}"/>
          </ac:spMkLst>
        </pc:spChg>
        <pc:spChg chg="add del mod">
          <ac:chgData name="Steiner Andreas 6206 ED" userId="e6377c33-a923-4f14-8587-531c474c7b48" providerId="ADAL" clId="{6ECD27E6-B224-41CD-B4E0-E297462320DD}" dt="2023-11-24T11:38:01.432" v="134238"/>
          <ac:spMkLst>
            <pc:docMk/>
            <pc:sldMk cId="3591700787" sldId="2147478562"/>
            <ac:spMk id="884" creationId="{4E5EBBC0-8A7E-63D0-DEF0-0496DECF7996}"/>
          </ac:spMkLst>
        </pc:spChg>
        <pc:spChg chg="add del mod">
          <ac:chgData name="Steiner Andreas 6206 ED" userId="e6377c33-a923-4f14-8587-531c474c7b48" providerId="ADAL" clId="{6ECD27E6-B224-41CD-B4E0-E297462320DD}" dt="2023-11-24T11:38:04.014" v="134393"/>
          <ac:spMkLst>
            <pc:docMk/>
            <pc:sldMk cId="3591700787" sldId="2147478562"/>
            <ac:spMk id="885" creationId="{3214B779-33E3-26DA-0BBD-9602FAA1345E}"/>
          </ac:spMkLst>
        </pc:spChg>
        <pc:spChg chg="add del mod">
          <ac:chgData name="Steiner Andreas 6206 ED" userId="e6377c33-a923-4f14-8587-531c474c7b48" providerId="ADAL" clId="{6ECD27E6-B224-41CD-B4E0-E297462320DD}" dt="2023-11-24T11:38:06.422" v="134548"/>
          <ac:spMkLst>
            <pc:docMk/>
            <pc:sldMk cId="3591700787" sldId="2147478562"/>
            <ac:spMk id="886" creationId="{F927D3F0-EA8D-734E-433D-E2EB126AE3EB}"/>
          </ac:spMkLst>
        </pc:spChg>
        <pc:spChg chg="add del mod">
          <ac:chgData name="Steiner Andreas 6206 ED" userId="e6377c33-a923-4f14-8587-531c474c7b48" providerId="ADAL" clId="{6ECD27E6-B224-41CD-B4E0-E297462320DD}" dt="2023-11-24T11:38:09.368" v="134703"/>
          <ac:spMkLst>
            <pc:docMk/>
            <pc:sldMk cId="3591700787" sldId="2147478562"/>
            <ac:spMk id="887" creationId="{DB783A96-8D05-2901-7EAC-930914777675}"/>
          </ac:spMkLst>
        </pc:spChg>
        <pc:spChg chg="add del mod">
          <ac:chgData name="Steiner Andreas 6206 ED" userId="e6377c33-a923-4f14-8587-531c474c7b48" providerId="ADAL" clId="{6ECD27E6-B224-41CD-B4E0-E297462320DD}" dt="2023-11-24T11:38:12.074" v="134858"/>
          <ac:spMkLst>
            <pc:docMk/>
            <pc:sldMk cId="3591700787" sldId="2147478562"/>
            <ac:spMk id="888" creationId="{6448A2A8-5966-1E94-1B0C-BD9DA89575B6}"/>
          </ac:spMkLst>
        </pc:spChg>
        <pc:spChg chg="add del mod">
          <ac:chgData name="Steiner Andreas 6206 ED" userId="e6377c33-a923-4f14-8587-531c474c7b48" providerId="ADAL" clId="{6ECD27E6-B224-41CD-B4E0-E297462320DD}" dt="2023-11-24T11:38:14.382" v="135013"/>
          <ac:spMkLst>
            <pc:docMk/>
            <pc:sldMk cId="3591700787" sldId="2147478562"/>
            <ac:spMk id="889" creationId="{A097C5E9-9AF9-6CD3-85C3-51157CF20198}"/>
          </ac:spMkLst>
        </pc:spChg>
        <pc:spChg chg="add del mod">
          <ac:chgData name="Steiner Andreas 6206 ED" userId="e6377c33-a923-4f14-8587-531c474c7b48" providerId="ADAL" clId="{6ECD27E6-B224-41CD-B4E0-E297462320DD}" dt="2023-11-24T11:38:16.793" v="135168"/>
          <ac:spMkLst>
            <pc:docMk/>
            <pc:sldMk cId="3591700787" sldId="2147478562"/>
            <ac:spMk id="890" creationId="{7039A440-D287-9B9A-C3F0-7B8C6B4E52D2}"/>
          </ac:spMkLst>
        </pc:spChg>
        <pc:spChg chg="add del mod">
          <ac:chgData name="Steiner Andreas 6206 ED" userId="e6377c33-a923-4f14-8587-531c474c7b48" providerId="ADAL" clId="{6ECD27E6-B224-41CD-B4E0-E297462320DD}" dt="2023-11-24T11:38:19.752" v="135323"/>
          <ac:spMkLst>
            <pc:docMk/>
            <pc:sldMk cId="3591700787" sldId="2147478562"/>
            <ac:spMk id="891" creationId="{A4585C79-3FB9-6857-F8E3-7CEFEB23FBC2}"/>
          </ac:spMkLst>
        </pc:spChg>
        <pc:spChg chg="add del mod">
          <ac:chgData name="Steiner Andreas 6206 ED" userId="e6377c33-a923-4f14-8587-531c474c7b48" providerId="ADAL" clId="{6ECD27E6-B224-41CD-B4E0-E297462320DD}" dt="2023-11-24T11:38:22.383" v="135478"/>
          <ac:spMkLst>
            <pc:docMk/>
            <pc:sldMk cId="3591700787" sldId="2147478562"/>
            <ac:spMk id="892" creationId="{EBA407BC-E4D4-75D1-22D2-2A557884146E}"/>
          </ac:spMkLst>
        </pc:spChg>
        <pc:spChg chg="add del mod">
          <ac:chgData name="Steiner Andreas 6206 ED" userId="e6377c33-a923-4f14-8587-531c474c7b48" providerId="ADAL" clId="{6ECD27E6-B224-41CD-B4E0-E297462320DD}" dt="2023-11-24T11:38:25.031" v="135633"/>
          <ac:spMkLst>
            <pc:docMk/>
            <pc:sldMk cId="3591700787" sldId="2147478562"/>
            <ac:spMk id="893" creationId="{6BDCA6E6-0E16-2900-C84E-8624A4D1FB9F}"/>
          </ac:spMkLst>
        </pc:spChg>
        <pc:spChg chg="add del mod">
          <ac:chgData name="Steiner Andreas 6206 ED" userId="e6377c33-a923-4f14-8587-531c474c7b48" providerId="ADAL" clId="{6ECD27E6-B224-41CD-B4E0-E297462320DD}" dt="2023-11-24T11:38:27.783" v="135788"/>
          <ac:spMkLst>
            <pc:docMk/>
            <pc:sldMk cId="3591700787" sldId="2147478562"/>
            <ac:spMk id="894" creationId="{32F35993-A0AD-E92E-84D7-C3460D98C10D}"/>
          </ac:spMkLst>
        </pc:spChg>
        <pc:spChg chg="add del mod">
          <ac:chgData name="Steiner Andreas 6206 ED" userId="e6377c33-a923-4f14-8587-531c474c7b48" providerId="ADAL" clId="{6ECD27E6-B224-41CD-B4E0-E297462320DD}" dt="2023-11-24T11:38:30.470" v="135943"/>
          <ac:spMkLst>
            <pc:docMk/>
            <pc:sldMk cId="3591700787" sldId="2147478562"/>
            <ac:spMk id="895" creationId="{4200F2C6-EBF3-965D-050A-17934040A8DF}"/>
          </ac:spMkLst>
        </pc:spChg>
        <pc:spChg chg="add del mod">
          <ac:chgData name="Steiner Andreas 6206 ED" userId="e6377c33-a923-4f14-8587-531c474c7b48" providerId="ADAL" clId="{6ECD27E6-B224-41CD-B4E0-E297462320DD}" dt="2023-11-24T11:38:32.792" v="136098"/>
          <ac:spMkLst>
            <pc:docMk/>
            <pc:sldMk cId="3591700787" sldId="2147478562"/>
            <ac:spMk id="896" creationId="{41CAC020-93D6-7CC6-51B9-AB300D4E73F2}"/>
          </ac:spMkLst>
        </pc:spChg>
        <pc:spChg chg="add del mod">
          <ac:chgData name="Steiner Andreas 6206 ED" userId="e6377c33-a923-4f14-8587-531c474c7b48" providerId="ADAL" clId="{6ECD27E6-B224-41CD-B4E0-E297462320DD}" dt="2023-11-24T11:38:35.268" v="136253"/>
          <ac:spMkLst>
            <pc:docMk/>
            <pc:sldMk cId="3591700787" sldId="2147478562"/>
            <ac:spMk id="897" creationId="{4763C8ED-96BD-F15B-23A1-16F2C04B7064}"/>
          </ac:spMkLst>
        </pc:spChg>
        <pc:spChg chg="add del mod">
          <ac:chgData name="Steiner Andreas 6206 ED" userId="e6377c33-a923-4f14-8587-531c474c7b48" providerId="ADAL" clId="{6ECD27E6-B224-41CD-B4E0-E297462320DD}" dt="2023-11-24T11:38:38.141" v="136408"/>
          <ac:spMkLst>
            <pc:docMk/>
            <pc:sldMk cId="3591700787" sldId="2147478562"/>
            <ac:spMk id="898" creationId="{FB40F4EE-786F-5A93-E2A9-DA1DB2FBEFE2}"/>
          </ac:spMkLst>
        </pc:spChg>
        <pc:spChg chg="add del mod">
          <ac:chgData name="Steiner Andreas 6206 ED" userId="e6377c33-a923-4f14-8587-531c474c7b48" providerId="ADAL" clId="{6ECD27E6-B224-41CD-B4E0-E297462320DD}" dt="2023-11-24T11:38:40.704" v="136563"/>
          <ac:spMkLst>
            <pc:docMk/>
            <pc:sldMk cId="3591700787" sldId="2147478562"/>
            <ac:spMk id="899" creationId="{C65FDFA6-B938-08F4-617D-B35ACB97DF41}"/>
          </ac:spMkLst>
        </pc:spChg>
        <pc:spChg chg="add del mod">
          <ac:chgData name="Steiner Andreas 6206 ED" userId="e6377c33-a923-4f14-8587-531c474c7b48" providerId="ADAL" clId="{6ECD27E6-B224-41CD-B4E0-E297462320DD}" dt="2023-11-24T11:38:43.091" v="136718"/>
          <ac:spMkLst>
            <pc:docMk/>
            <pc:sldMk cId="3591700787" sldId="2147478562"/>
            <ac:spMk id="900" creationId="{C10C7052-CB58-A997-954F-E51AB2620AA9}"/>
          </ac:spMkLst>
        </pc:spChg>
        <pc:spChg chg="add del mod">
          <ac:chgData name="Steiner Andreas 6206 ED" userId="e6377c33-a923-4f14-8587-531c474c7b48" providerId="ADAL" clId="{6ECD27E6-B224-41CD-B4E0-E297462320DD}" dt="2023-11-24T11:38:45.521" v="136873"/>
          <ac:spMkLst>
            <pc:docMk/>
            <pc:sldMk cId="3591700787" sldId="2147478562"/>
            <ac:spMk id="901" creationId="{0D604188-79C7-BF8C-78B5-4491A2FA3BF2}"/>
          </ac:spMkLst>
        </pc:spChg>
        <pc:spChg chg="add del mod">
          <ac:chgData name="Steiner Andreas 6206 ED" userId="e6377c33-a923-4f14-8587-531c474c7b48" providerId="ADAL" clId="{6ECD27E6-B224-41CD-B4E0-E297462320DD}" dt="2023-11-24T11:38:47.841" v="137028"/>
          <ac:spMkLst>
            <pc:docMk/>
            <pc:sldMk cId="3591700787" sldId="2147478562"/>
            <ac:spMk id="902" creationId="{3C9DFC84-9EAB-BD05-9771-F8136E083FB0}"/>
          </ac:spMkLst>
        </pc:spChg>
        <pc:spChg chg="add del mod">
          <ac:chgData name="Steiner Andreas 6206 ED" userId="e6377c33-a923-4f14-8587-531c474c7b48" providerId="ADAL" clId="{6ECD27E6-B224-41CD-B4E0-E297462320DD}" dt="2023-11-24T11:38:50.951" v="137183"/>
          <ac:spMkLst>
            <pc:docMk/>
            <pc:sldMk cId="3591700787" sldId="2147478562"/>
            <ac:spMk id="903" creationId="{C33E0224-E1C8-E15D-3D3C-114459E4537E}"/>
          </ac:spMkLst>
        </pc:spChg>
        <pc:spChg chg="add del mod">
          <ac:chgData name="Steiner Andreas 6206 ED" userId="e6377c33-a923-4f14-8587-531c474c7b48" providerId="ADAL" clId="{6ECD27E6-B224-41CD-B4E0-E297462320DD}" dt="2023-11-24T11:38:53.298" v="137338"/>
          <ac:spMkLst>
            <pc:docMk/>
            <pc:sldMk cId="3591700787" sldId="2147478562"/>
            <ac:spMk id="904" creationId="{2F1E9F75-0A04-D895-7323-21F83B98C9E7}"/>
          </ac:spMkLst>
        </pc:spChg>
        <pc:spChg chg="add del mod">
          <ac:chgData name="Steiner Andreas 6206 ED" userId="e6377c33-a923-4f14-8587-531c474c7b48" providerId="ADAL" clId="{6ECD27E6-B224-41CD-B4E0-E297462320DD}" dt="2023-11-24T11:38:55.793" v="137493"/>
          <ac:spMkLst>
            <pc:docMk/>
            <pc:sldMk cId="3591700787" sldId="2147478562"/>
            <ac:spMk id="905" creationId="{FA79363E-F84E-B838-AE40-CC6EBFB37971}"/>
          </ac:spMkLst>
        </pc:spChg>
        <pc:spChg chg="add del mod">
          <ac:chgData name="Steiner Andreas 6206 ED" userId="e6377c33-a923-4f14-8587-531c474c7b48" providerId="ADAL" clId="{6ECD27E6-B224-41CD-B4E0-E297462320DD}" dt="2023-11-24T11:38:58.355" v="137648"/>
          <ac:spMkLst>
            <pc:docMk/>
            <pc:sldMk cId="3591700787" sldId="2147478562"/>
            <ac:spMk id="906" creationId="{13E202D2-8215-8B54-8757-5A263A0DD31A}"/>
          </ac:spMkLst>
        </pc:spChg>
        <pc:spChg chg="add del mod">
          <ac:chgData name="Steiner Andreas 6206 ED" userId="e6377c33-a923-4f14-8587-531c474c7b48" providerId="ADAL" clId="{6ECD27E6-B224-41CD-B4E0-E297462320DD}" dt="2023-11-24T11:39:00.639" v="137803"/>
          <ac:spMkLst>
            <pc:docMk/>
            <pc:sldMk cId="3591700787" sldId="2147478562"/>
            <ac:spMk id="907" creationId="{38BCAE1E-20EE-F7AC-8CC6-2D491D61C9A1}"/>
          </ac:spMkLst>
        </pc:spChg>
        <pc:spChg chg="add del mod">
          <ac:chgData name="Steiner Andreas 6206 ED" userId="e6377c33-a923-4f14-8587-531c474c7b48" providerId="ADAL" clId="{6ECD27E6-B224-41CD-B4E0-E297462320DD}" dt="2023-11-24T11:39:03.691" v="137958"/>
          <ac:spMkLst>
            <pc:docMk/>
            <pc:sldMk cId="3591700787" sldId="2147478562"/>
            <ac:spMk id="908" creationId="{97E712A1-199A-9065-3E34-EA9A2DC761D7}"/>
          </ac:spMkLst>
        </pc:spChg>
        <pc:spChg chg="add del mod">
          <ac:chgData name="Steiner Andreas 6206 ED" userId="e6377c33-a923-4f14-8587-531c474c7b48" providerId="ADAL" clId="{6ECD27E6-B224-41CD-B4E0-E297462320DD}" dt="2023-11-24T11:39:06.341" v="138113"/>
          <ac:spMkLst>
            <pc:docMk/>
            <pc:sldMk cId="3591700787" sldId="2147478562"/>
            <ac:spMk id="909" creationId="{210576E2-1215-E6EA-CABC-9D5698EA9375}"/>
          </ac:spMkLst>
        </pc:spChg>
        <pc:spChg chg="add del mod">
          <ac:chgData name="Steiner Andreas 6206 ED" userId="e6377c33-a923-4f14-8587-531c474c7b48" providerId="ADAL" clId="{6ECD27E6-B224-41CD-B4E0-E297462320DD}" dt="2023-11-24T11:39:08.815" v="138268"/>
          <ac:spMkLst>
            <pc:docMk/>
            <pc:sldMk cId="3591700787" sldId="2147478562"/>
            <ac:spMk id="910" creationId="{317B6F02-2118-F33D-B3A4-7418B30451D6}"/>
          </ac:spMkLst>
        </pc:spChg>
        <pc:spChg chg="add del mod">
          <ac:chgData name="Steiner Andreas 6206 ED" userId="e6377c33-a923-4f14-8587-531c474c7b48" providerId="ADAL" clId="{6ECD27E6-B224-41CD-B4E0-E297462320DD}" dt="2023-11-24T11:39:11.173" v="138423"/>
          <ac:spMkLst>
            <pc:docMk/>
            <pc:sldMk cId="3591700787" sldId="2147478562"/>
            <ac:spMk id="911" creationId="{1AA1E428-4940-E8C8-42FF-B928987FA2E9}"/>
          </ac:spMkLst>
        </pc:spChg>
        <pc:spChg chg="add del mod">
          <ac:chgData name="Steiner Andreas 6206 ED" userId="e6377c33-a923-4f14-8587-531c474c7b48" providerId="ADAL" clId="{6ECD27E6-B224-41CD-B4E0-E297462320DD}" dt="2023-11-24T11:39:13.678" v="138578"/>
          <ac:spMkLst>
            <pc:docMk/>
            <pc:sldMk cId="3591700787" sldId="2147478562"/>
            <ac:spMk id="912" creationId="{2EB7DEC4-C9A3-8323-2C07-6E282A6333A6}"/>
          </ac:spMkLst>
        </pc:spChg>
        <pc:spChg chg="add del mod">
          <ac:chgData name="Steiner Andreas 6206 ED" userId="e6377c33-a923-4f14-8587-531c474c7b48" providerId="ADAL" clId="{6ECD27E6-B224-41CD-B4E0-E297462320DD}" dt="2023-11-24T11:39:16.385" v="138733"/>
          <ac:spMkLst>
            <pc:docMk/>
            <pc:sldMk cId="3591700787" sldId="2147478562"/>
            <ac:spMk id="913" creationId="{02C6A0AB-15C7-017E-8F34-3DB0F066F53D}"/>
          </ac:spMkLst>
        </pc:spChg>
        <pc:spChg chg="add del mod">
          <ac:chgData name="Steiner Andreas 6206 ED" userId="e6377c33-a923-4f14-8587-531c474c7b48" providerId="ADAL" clId="{6ECD27E6-B224-41CD-B4E0-E297462320DD}" dt="2023-11-24T11:39:19.173" v="138888"/>
          <ac:spMkLst>
            <pc:docMk/>
            <pc:sldMk cId="3591700787" sldId="2147478562"/>
            <ac:spMk id="914" creationId="{AC948DD8-E60D-8BD5-9850-7BBD7884F9B8}"/>
          </ac:spMkLst>
        </pc:spChg>
        <pc:spChg chg="add del mod">
          <ac:chgData name="Steiner Andreas 6206 ED" userId="e6377c33-a923-4f14-8587-531c474c7b48" providerId="ADAL" clId="{6ECD27E6-B224-41CD-B4E0-E297462320DD}" dt="2023-11-24T11:39:21.862" v="139043"/>
          <ac:spMkLst>
            <pc:docMk/>
            <pc:sldMk cId="3591700787" sldId="2147478562"/>
            <ac:spMk id="915" creationId="{2F84A0AD-5E37-08F2-59F6-E262B4FB0A59}"/>
          </ac:spMkLst>
        </pc:spChg>
        <pc:spChg chg="add del mod">
          <ac:chgData name="Steiner Andreas 6206 ED" userId="e6377c33-a923-4f14-8587-531c474c7b48" providerId="ADAL" clId="{6ECD27E6-B224-41CD-B4E0-E297462320DD}" dt="2023-11-24T11:39:24.466" v="139198"/>
          <ac:spMkLst>
            <pc:docMk/>
            <pc:sldMk cId="3591700787" sldId="2147478562"/>
            <ac:spMk id="916" creationId="{6CD27BB8-B5C0-D8F2-53D5-7123E9F8D12C}"/>
          </ac:spMkLst>
        </pc:spChg>
        <pc:spChg chg="add del mod">
          <ac:chgData name="Steiner Andreas 6206 ED" userId="e6377c33-a923-4f14-8587-531c474c7b48" providerId="ADAL" clId="{6ECD27E6-B224-41CD-B4E0-E297462320DD}" dt="2023-11-24T11:39:27.182" v="139353"/>
          <ac:spMkLst>
            <pc:docMk/>
            <pc:sldMk cId="3591700787" sldId="2147478562"/>
            <ac:spMk id="917" creationId="{458CDE96-105B-E22E-0320-8EF3874670DD}"/>
          </ac:spMkLst>
        </pc:spChg>
        <pc:spChg chg="add del mod">
          <ac:chgData name="Steiner Andreas 6206 ED" userId="e6377c33-a923-4f14-8587-531c474c7b48" providerId="ADAL" clId="{6ECD27E6-B224-41CD-B4E0-E297462320DD}" dt="2023-11-24T11:39:29.822" v="139508"/>
          <ac:spMkLst>
            <pc:docMk/>
            <pc:sldMk cId="3591700787" sldId="2147478562"/>
            <ac:spMk id="918" creationId="{47F2F8DB-CD0B-1106-6764-5FC218D995E8}"/>
          </ac:spMkLst>
        </pc:spChg>
        <pc:spChg chg="add del mod">
          <ac:chgData name="Steiner Andreas 6206 ED" userId="e6377c33-a923-4f14-8587-531c474c7b48" providerId="ADAL" clId="{6ECD27E6-B224-41CD-B4E0-E297462320DD}" dt="2023-11-24T11:39:32.943" v="139663"/>
          <ac:spMkLst>
            <pc:docMk/>
            <pc:sldMk cId="3591700787" sldId="2147478562"/>
            <ac:spMk id="919" creationId="{ABF684E5-7E4D-49C0-60B8-7BD4BAF803AA}"/>
          </ac:spMkLst>
        </pc:spChg>
        <pc:spChg chg="add del mod">
          <ac:chgData name="Steiner Andreas 6206 ED" userId="e6377c33-a923-4f14-8587-531c474c7b48" providerId="ADAL" clId="{6ECD27E6-B224-41CD-B4E0-E297462320DD}" dt="2023-11-24T11:39:35.557" v="139818"/>
          <ac:spMkLst>
            <pc:docMk/>
            <pc:sldMk cId="3591700787" sldId="2147478562"/>
            <ac:spMk id="920" creationId="{4DE90384-0B6C-5CC8-030B-53F18F3CCF55}"/>
          </ac:spMkLst>
        </pc:spChg>
        <pc:spChg chg="add del mod">
          <ac:chgData name="Steiner Andreas 6206 ED" userId="e6377c33-a923-4f14-8587-531c474c7b48" providerId="ADAL" clId="{6ECD27E6-B224-41CD-B4E0-E297462320DD}" dt="2023-11-24T11:39:38.520" v="139973"/>
          <ac:spMkLst>
            <pc:docMk/>
            <pc:sldMk cId="3591700787" sldId="2147478562"/>
            <ac:spMk id="921" creationId="{2D5446FD-29DF-5AE0-741D-C17F10D40BBD}"/>
          </ac:spMkLst>
        </pc:spChg>
        <pc:spChg chg="add del mod">
          <ac:chgData name="Steiner Andreas 6206 ED" userId="e6377c33-a923-4f14-8587-531c474c7b48" providerId="ADAL" clId="{6ECD27E6-B224-41CD-B4E0-E297462320DD}" dt="2023-11-24T11:39:41.167" v="140128"/>
          <ac:spMkLst>
            <pc:docMk/>
            <pc:sldMk cId="3591700787" sldId="2147478562"/>
            <ac:spMk id="922" creationId="{953D3B32-D34F-FE3C-3F65-B5D3F71F3E3F}"/>
          </ac:spMkLst>
        </pc:spChg>
        <pc:spChg chg="add del mod">
          <ac:chgData name="Steiner Andreas 6206 ED" userId="e6377c33-a923-4f14-8587-531c474c7b48" providerId="ADAL" clId="{6ECD27E6-B224-41CD-B4E0-E297462320DD}" dt="2023-11-24T11:39:43.827" v="140283"/>
          <ac:spMkLst>
            <pc:docMk/>
            <pc:sldMk cId="3591700787" sldId="2147478562"/>
            <ac:spMk id="923" creationId="{7B8FA8B1-6D9F-1EE8-D5A0-A131E9408B37}"/>
          </ac:spMkLst>
        </pc:spChg>
        <pc:spChg chg="add del mod">
          <ac:chgData name="Steiner Andreas 6206 ED" userId="e6377c33-a923-4f14-8587-531c474c7b48" providerId="ADAL" clId="{6ECD27E6-B224-41CD-B4E0-E297462320DD}" dt="2023-11-24T11:39:46.355" v="140438"/>
          <ac:spMkLst>
            <pc:docMk/>
            <pc:sldMk cId="3591700787" sldId="2147478562"/>
            <ac:spMk id="924" creationId="{50667F5D-F9ED-3745-ED99-27E7BD65F2F9}"/>
          </ac:spMkLst>
        </pc:spChg>
        <pc:spChg chg="add del mod">
          <ac:chgData name="Steiner Andreas 6206 ED" userId="e6377c33-a923-4f14-8587-531c474c7b48" providerId="ADAL" clId="{6ECD27E6-B224-41CD-B4E0-E297462320DD}" dt="2023-11-24T11:39:48.784" v="140593"/>
          <ac:spMkLst>
            <pc:docMk/>
            <pc:sldMk cId="3591700787" sldId="2147478562"/>
            <ac:spMk id="925" creationId="{1F2A9864-5D02-7103-1FF5-624F6405961F}"/>
          </ac:spMkLst>
        </pc:spChg>
        <pc:spChg chg="add del mod">
          <ac:chgData name="Steiner Andreas 6206 ED" userId="e6377c33-a923-4f14-8587-531c474c7b48" providerId="ADAL" clId="{6ECD27E6-B224-41CD-B4E0-E297462320DD}" dt="2023-11-24T11:39:51.755" v="140748"/>
          <ac:spMkLst>
            <pc:docMk/>
            <pc:sldMk cId="3591700787" sldId="2147478562"/>
            <ac:spMk id="926" creationId="{E34DCD4C-0159-41D6-0CFB-84314F8330EA}"/>
          </ac:spMkLst>
        </pc:spChg>
        <pc:spChg chg="add del mod">
          <ac:chgData name="Steiner Andreas 6206 ED" userId="e6377c33-a923-4f14-8587-531c474c7b48" providerId="ADAL" clId="{6ECD27E6-B224-41CD-B4E0-E297462320DD}" dt="2023-11-24T11:39:54.694" v="140903"/>
          <ac:spMkLst>
            <pc:docMk/>
            <pc:sldMk cId="3591700787" sldId="2147478562"/>
            <ac:spMk id="927" creationId="{D78CE208-9510-45DB-76D0-0B2EB31659C5}"/>
          </ac:spMkLst>
        </pc:spChg>
        <pc:spChg chg="add del mod">
          <ac:chgData name="Steiner Andreas 6206 ED" userId="e6377c33-a923-4f14-8587-531c474c7b48" providerId="ADAL" clId="{6ECD27E6-B224-41CD-B4E0-E297462320DD}" dt="2023-11-24T11:39:57.159" v="141058"/>
          <ac:spMkLst>
            <pc:docMk/>
            <pc:sldMk cId="3591700787" sldId="2147478562"/>
            <ac:spMk id="928" creationId="{74193A1D-898E-FBF9-A893-43CD07A1F626}"/>
          </ac:spMkLst>
        </pc:spChg>
        <pc:spChg chg="add del mod">
          <ac:chgData name="Steiner Andreas 6206 ED" userId="e6377c33-a923-4f14-8587-531c474c7b48" providerId="ADAL" clId="{6ECD27E6-B224-41CD-B4E0-E297462320DD}" dt="2023-11-24T11:39:59.527" v="141213"/>
          <ac:spMkLst>
            <pc:docMk/>
            <pc:sldMk cId="3591700787" sldId="2147478562"/>
            <ac:spMk id="929" creationId="{4C54FF22-E9E7-F45B-98F8-2723F92DDCFF}"/>
          </ac:spMkLst>
        </pc:spChg>
        <pc:spChg chg="add del mod">
          <ac:chgData name="Steiner Andreas 6206 ED" userId="e6377c33-a923-4f14-8587-531c474c7b48" providerId="ADAL" clId="{6ECD27E6-B224-41CD-B4E0-E297462320DD}" dt="2023-11-24T11:40:02.350" v="141368"/>
          <ac:spMkLst>
            <pc:docMk/>
            <pc:sldMk cId="3591700787" sldId="2147478562"/>
            <ac:spMk id="930" creationId="{8E740925-13D6-038A-3EFE-8F1B840725D8}"/>
          </ac:spMkLst>
        </pc:spChg>
        <pc:spChg chg="add del mod">
          <ac:chgData name="Steiner Andreas 6206 ED" userId="e6377c33-a923-4f14-8587-531c474c7b48" providerId="ADAL" clId="{6ECD27E6-B224-41CD-B4E0-E297462320DD}" dt="2023-11-24T11:40:05.135" v="141523"/>
          <ac:spMkLst>
            <pc:docMk/>
            <pc:sldMk cId="3591700787" sldId="2147478562"/>
            <ac:spMk id="931" creationId="{B47CF3C1-3BA0-F443-5F03-7C247CCF30FD}"/>
          </ac:spMkLst>
        </pc:spChg>
        <pc:spChg chg="add del mod">
          <ac:chgData name="Steiner Andreas 6206 ED" userId="e6377c33-a923-4f14-8587-531c474c7b48" providerId="ADAL" clId="{6ECD27E6-B224-41CD-B4E0-E297462320DD}" dt="2023-11-24T11:40:07.890" v="141678"/>
          <ac:spMkLst>
            <pc:docMk/>
            <pc:sldMk cId="3591700787" sldId="2147478562"/>
            <ac:spMk id="932" creationId="{8BFF81F1-BAD7-4ED4-9E9F-105C9F59B314}"/>
          </ac:spMkLst>
        </pc:spChg>
        <pc:spChg chg="add del mod">
          <ac:chgData name="Steiner Andreas 6206 ED" userId="e6377c33-a923-4f14-8587-531c474c7b48" providerId="ADAL" clId="{6ECD27E6-B224-41CD-B4E0-E297462320DD}" dt="2023-11-24T11:40:10.337" v="141833"/>
          <ac:spMkLst>
            <pc:docMk/>
            <pc:sldMk cId="3591700787" sldId="2147478562"/>
            <ac:spMk id="933" creationId="{DEF773F0-5E6F-4AF5-B04D-29618029FD0B}"/>
          </ac:spMkLst>
        </pc:spChg>
        <pc:spChg chg="add del mod">
          <ac:chgData name="Steiner Andreas 6206 ED" userId="e6377c33-a923-4f14-8587-531c474c7b48" providerId="ADAL" clId="{6ECD27E6-B224-41CD-B4E0-E297462320DD}" dt="2023-11-24T11:40:12.793" v="141988"/>
          <ac:spMkLst>
            <pc:docMk/>
            <pc:sldMk cId="3591700787" sldId="2147478562"/>
            <ac:spMk id="934" creationId="{6ED034FB-DEE3-403E-2BDC-CB9EE9A5336B}"/>
          </ac:spMkLst>
        </pc:spChg>
        <pc:spChg chg="add del mod">
          <ac:chgData name="Steiner Andreas 6206 ED" userId="e6377c33-a923-4f14-8587-531c474c7b48" providerId="ADAL" clId="{6ECD27E6-B224-41CD-B4E0-E297462320DD}" dt="2023-11-24T11:40:16.783" v="142143"/>
          <ac:spMkLst>
            <pc:docMk/>
            <pc:sldMk cId="3591700787" sldId="2147478562"/>
            <ac:spMk id="935" creationId="{AAE8C8F0-2F3D-8770-8171-35E43E6E4284}"/>
          </ac:spMkLst>
        </pc:spChg>
        <pc:spChg chg="add del mod">
          <ac:chgData name="Steiner Andreas 6206 ED" userId="e6377c33-a923-4f14-8587-531c474c7b48" providerId="ADAL" clId="{6ECD27E6-B224-41CD-B4E0-E297462320DD}" dt="2023-11-24T11:40:20.013" v="142298"/>
          <ac:spMkLst>
            <pc:docMk/>
            <pc:sldMk cId="3591700787" sldId="2147478562"/>
            <ac:spMk id="936" creationId="{B0822BAC-DE06-A703-BF06-C0CF4279D496}"/>
          </ac:spMkLst>
        </pc:spChg>
        <pc:spChg chg="add del mod">
          <ac:chgData name="Steiner Andreas 6206 ED" userId="e6377c33-a923-4f14-8587-531c474c7b48" providerId="ADAL" clId="{6ECD27E6-B224-41CD-B4E0-E297462320DD}" dt="2023-11-24T11:40:22.766" v="142453"/>
          <ac:spMkLst>
            <pc:docMk/>
            <pc:sldMk cId="3591700787" sldId="2147478562"/>
            <ac:spMk id="937" creationId="{A59843B9-856D-EEBC-D221-07E8D86BDBCB}"/>
          </ac:spMkLst>
        </pc:spChg>
        <pc:spChg chg="add del mod">
          <ac:chgData name="Steiner Andreas 6206 ED" userId="e6377c33-a923-4f14-8587-531c474c7b48" providerId="ADAL" clId="{6ECD27E6-B224-41CD-B4E0-E297462320DD}" dt="2023-11-24T11:40:25.478" v="142608"/>
          <ac:spMkLst>
            <pc:docMk/>
            <pc:sldMk cId="3591700787" sldId="2147478562"/>
            <ac:spMk id="938" creationId="{6EC9B1A4-928B-846F-8FA7-3CC442A00973}"/>
          </ac:spMkLst>
        </pc:spChg>
        <pc:spChg chg="add del mod">
          <ac:chgData name="Steiner Andreas 6206 ED" userId="e6377c33-a923-4f14-8587-531c474c7b48" providerId="ADAL" clId="{6ECD27E6-B224-41CD-B4E0-E297462320DD}" dt="2023-11-24T11:40:28.577" v="142763"/>
          <ac:spMkLst>
            <pc:docMk/>
            <pc:sldMk cId="3591700787" sldId="2147478562"/>
            <ac:spMk id="939" creationId="{21A51A6C-B5FA-FB12-9B73-4F77C33452E3}"/>
          </ac:spMkLst>
        </pc:spChg>
        <pc:spChg chg="add del mod">
          <ac:chgData name="Steiner Andreas 6206 ED" userId="e6377c33-a923-4f14-8587-531c474c7b48" providerId="ADAL" clId="{6ECD27E6-B224-41CD-B4E0-E297462320DD}" dt="2023-11-24T11:40:31.206" v="142918"/>
          <ac:spMkLst>
            <pc:docMk/>
            <pc:sldMk cId="3591700787" sldId="2147478562"/>
            <ac:spMk id="940" creationId="{47DEC9A0-54A1-B801-34FD-EA1D6F0C49EA}"/>
          </ac:spMkLst>
        </pc:spChg>
        <pc:spChg chg="add del mod">
          <ac:chgData name="Steiner Andreas 6206 ED" userId="e6377c33-a923-4f14-8587-531c474c7b48" providerId="ADAL" clId="{6ECD27E6-B224-41CD-B4E0-E297462320DD}" dt="2023-11-24T11:40:33.745" v="143073"/>
          <ac:spMkLst>
            <pc:docMk/>
            <pc:sldMk cId="3591700787" sldId="2147478562"/>
            <ac:spMk id="941" creationId="{DA612418-678D-1943-1575-EF2B71C83822}"/>
          </ac:spMkLst>
        </pc:spChg>
        <pc:spChg chg="add del mod">
          <ac:chgData name="Steiner Andreas 6206 ED" userId="e6377c33-a923-4f14-8587-531c474c7b48" providerId="ADAL" clId="{6ECD27E6-B224-41CD-B4E0-E297462320DD}" dt="2023-11-24T11:40:36.590" v="143228"/>
          <ac:spMkLst>
            <pc:docMk/>
            <pc:sldMk cId="3591700787" sldId="2147478562"/>
            <ac:spMk id="942" creationId="{44A9D453-80CC-0A26-56B7-CE8BAD9554C1}"/>
          </ac:spMkLst>
        </pc:spChg>
        <pc:spChg chg="add del mod">
          <ac:chgData name="Steiner Andreas 6206 ED" userId="e6377c33-a923-4f14-8587-531c474c7b48" providerId="ADAL" clId="{6ECD27E6-B224-41CD-B4E0-E297462320DD}" dt="2023-11-24T11:40:39.610" v="143383"/>
          <ac:spMkLst>
            <pc:docMk/>
            <pc:sldMk cId="3591700787" sldId="2147478562"/>
            <ac:spMk id="943" creationId="{A1F1412C-F6DE-4C4A-7E0E-B897EB4B2397}"/>
          </ac:spMkLst>
        </pc:spChg>
        <pc:spChg chg="add del mod">
          <ac:chgData name="Steiner Andreas 6206 ED" userId="e6377c33-a923-4f14-8587-531c474c7b48" providerId="ADAL" clId="{6ECD27E6-B224-41CD-B4E0-E297462320DD}" dt="2023-11-24T11:40:42.480" v="143538"/>
          <ac:spMkLst>
            <pc:docMk/>
            <pc:sldMk cId="3591700787" sldId="2147478562"/>
            <ac:spMk id="944" creationId="{3A0B9864-7764-35F7-BE6B-C350DCBB49F2}"/>
          </ac:spMkLst>
        </pc:spChg>
        <pc:spChg chg="add del mod">
          <ac:chgData name="Steiner Andreas 6206 ED" userId="e6377c33-a923-4f14-8587-531c474c7b48" providerId="ADAL" clId="{6ECD27E6-B224-41CD-B4E0-E297462320DD}" dt="2023-11-24T11:40:45.128" v="143693"/>
          <ac:spMkLst>
            <pc:docMk/>
            <pc:sldMk cId="3591700787" sldId="2147478562"/>
            <ac:spMk id="945" creationId="{D7C58BA8-9C33-8CFD-B003-9AB2C1C8ADCB}"/>
          </ac:spMkLst>
        </pc:spChg>
        <pc:spChg chg="add del mod">
          <ac:chgData name="Steiner Andreas 6206 ED" userId="e6377c33-a923-4f14-8587-531c474c7b48" providerId="ADAL" clId="{6ECD27E6-B224-41CD-B4E0-E297462320DD}" dt="2023-11-24T11:40:47.928" v="143848"/>
          <ac:spMkLst>
            <pc:docMk/>
            <pc:sldMk cId="3591700787" sldId="2147478562"/>
            <ac:spMk id="946" creationId="{4552A97D-07CA-07C5-410C-036B860F429D}"/>
          </ac:spMkLst>
        </pc:spChg>
        <pc:spChg chg="add del mod">
          <ac:chgData name="Steiner Andreas 6206 ED" userId="e6377c33-a923-4f14-8587-531c474c7b48" providerId="ADAL" clId="{6ECD27E6-B224-41CD-B4E0-E297462320DD}" dt="2023-11-24T11:40:50.704" v="144003"/>
          <ac:spMkLst>
            <pc:docMk/>
            <pc:sldMk cId="3591700787" sldId="2147478562"/>
            <ac:spMk id="947" creationId="{F7AD68E7-1E89-6BA7-4322-DE7E20FC9FC0}"/>
          </ac:spMkLst>
        </pc:spChg>
        <pc:spChg chg="add del mod">
          <ac:chgData name="Steiner Andreas 6206 ED" userId="e6377c33-a923-4f14-8587-531c474c7b48" providerId="ADAL" clId="{6ECD27E6-B224-41CD-B4E0-E297462320DD}" dt="2023-11-24T11:40:53.579" v="144158"/>
          <ac:spMkLst>
            <pc:docMk/>
            <pc:sldMk cId="3591700787" sldId="2147478562"/>
            <ac:spMk id="948" creationId="{3734EAF9-2DA4-5B12-B021-E7E9D059F04A}"/>
          </ac:spMkLst>
        </pc:spChg>
        <pc:spChg chg="add del mod">
          <ac:chgData name="Steiner Andreas 6206 ED" userId="e6377c33-a923-4f14-8587-531c474c7b48" providerId="ADAL" clId="{6ECD27E6-B224-41CD-B4E0-E297462320DD}" dt="2023-11-24T11:40:56.305" v="144313"/>
          <ac:spMkLst>
            <pc:docMk/>
            <pc:sldMk cId="3591700787" sldId="2147478562"/>
            <ac:spMk id="949" creationId="{DAE88D03-DBF4-14CA-68CC-DE5CCC284D89}"/>
          </ac:spMkLst>
        </pc:spChg>
        <pc:spChg chg="add del mod">
          <ac:chgData name="Steiner Andreas 6206 ED" userId="e6377c33-a923-4f14-8587-531c474c7b48" providerId="ADAL" clId="{6ECD27E6-B224-41CD-B4E0-E297462320DD}" dt="2023-11-24T11:40:58.823" v="144468"/>
          <ac:spMkLst>
            <pc:docMk/>
            <pc:sldMk cId="3591700787" sldId="2147478562"/>
            <ac:spMk id="950" creationId="{9B0EE112-24F7-D8F5-BE3F-4A5ADC1285E9}"/>
          </ac:spMkLst>
        </pc:spChg>
        <pc:spChg chg="add del mod">
          <ac:chgData name="Steiner Andreas 6206 ED" userId="e6377c33-a923-4f14-8587-531c474c7b48" providerId="ADAL" clId="{6ECD27E6-B224-41CD-B4E0-E297462320DD}" dt="2023-11-24T11:41:01.419" v="144623"/>
          <ac:spMkLst>
            <pc:docMk/>
            <pc:sldMk cId="3591700787" sldId="2147478562"/>
            <ac:spMk id="951" creationId="{85DA2BF7-3956-94EF-B239-96C9556E63A0}"/>
          </ac:spMkLst>
        </pc:spChg>
        <pc:spChg chg="add del mod">
          <ac:chgData name="Steiner Andreas 6206 ED" userId="e6377c33-a923-4f14-8587-531c474c7b48" providerId="ADAL" clId="{6ECD27E6-B224-41CD-B4E0-E297462320DD}" dt="2023-11-24T11:41:04.135" v="144778"/>
          <ac:spMkLst>
            <pc:docMk/>
            <pc:sldMk cId="3591700787" sldId="2147478562"/>
            <ac:spMk id="952" creationId="{B34CF125-7615-071F-9209-1F3CED56C9BD}"/>
          </ac:spMkLst>
        </pc:spChg>
        <pc:spChg chg="add del mod">
          <ac:chgData name="Steiner Andreas 6206 ED" userId="e6377c33-a923-4f14-8587-531c474c7b48" providerId="ADAL" clId="{6ECD27E6-B224-41CD-B4E0-E297462320DD}" dt="2023-11-24T11:41:07.210" v="144933"/>
          <ac:spMkLst>
            <pc:docMk/>
            <pc:sldMk cId="3591700787" sldId="2147478562"/>
            <ac:spMk id="953" creationId="{AEF4FAFB-7488-CAE2-3CA1-60FA8EBB1AD5}"/>
          </ac:spMkLst>
        </pc:spChg>
        <pc:spChg chg="add del mod">
          <ac:chgData name="Steiner Andreas 6206 ED" userId="e6377c33-a923-4f14-8587-531c474c7b48" providerId="ADAL" clId="{6ECD27E6-B224-41CD-B4E0-E297462320DD}" dt="2023-11-24T11:41:10.297" v="145088"/>
          <ac:spMkLst>
            <pc:docMk/>
            <pc:sldMk cId="3591700787" sldId="2147478562"/>
            <ac:spMk id="954" creationId="{7CDD5490-C2B8-43F1-CB88-E126E4CE5F56}"/>
          </ac:spMkLst>
        </pc:spChg>
        <pc:spChg chg="add del mod">
          <ac:chgData name="Steiner Andreas 6206 ED" userId="e6377c33-a923-4f14-8587-531c474c7b48" providerId="ADAL" clId="{6ECD27E6-B224-41CD-B4E0-E297462320DD}" dt="2023-11-24T11:41:13.225" v="145243"/>
          <ac:spMkLst>
            <pc:docMk/>
            <pc:sldMk cId="3591700787" sldId="2147478562"/>
            <ac:spMk id="955" creationId="{0AA17559-8A4F-0768-625E-E431E54062EE}"/>
          </ac:spMkLst>
        </pc:spChg>
        <pc:spChg chg="add del mod">
          <ac:chgData name="Steiner Andreas 6206 ED" userId="e6377c33-a923-4f14-8587-531c474c7b48" providerId="ADAL" clId="{6ECD27E6-B224-41CD-B4E0-E297462320DD}" dt="2023-11-24T11:41:16.251" v="145398"/>
          <ac:spMkLst>
            <pc:docMk/>
            <pc:sldMk cId="3591700787" sldId="2147478562"/>
            <ac:spMk id="956" creationId="{6850F13E-24DD-A486-AA53-94C0181E16E0}"/>
          </ac:spMkLst>
        </pc:spChg>
        <pc:spChg chg="add del mod">
          <ac:chgData name="Steiner Andreas 6206 ED" userId="e6377c33-a923-4f14-8587-531c474c7b48" providerId="ADAL" clId="{6ECD27E6-B224-41CD-B4E0-E297462320DD}" dt="2023-11-24T11:41:19.477" v="145553"/>
          <ac:spMkLst>
            <pc:docMk/>
            <pc:sldMk cId="3591700787" sldId="2147478562"/>
            <ac:spMk id="957" creationId="{90448A55-78DA-9B04-B2DD-64B0A39B7D0E}"/>
          </ac:spMkLst>
        </pc:spChg>
        <pc:spChg chg="add del mod">
          <ac:chgData name="Steiner Andreas 6206 ED" userId="e6377c33-a923-4f14-8587-531c474c7b48" providerId="ADAL" clId="{6ECD27E6-B224-41CD-B4E0-E297462320DD}" dt="2023-11-24T11:41:22.005" v="145708"/>
          <ac:spMkLst>
            <pc:docMk/>
            <pc:sldMk cId="3591700787" sldId="2147478562"/>
            <ac:spMk id="958" creationId="{B48EB47E-56A4-B436-23E6-0BC51F2AFCFB}"/>
          </ac:spMkLst>
        </pc:spChg>
        <pc:spChg chg="add del mod">
          <ac:chgData name="Steiner Andreas 6206 ED" userId="e6377c33-a923-4f14-8587-531c474c7b48" providerId="ADAL" clId="{6ECD27E6-B224-41CD-B4E0-E297462320DD}" dt="2023-11-24T11:41:25.869" v="145863"/>
          <ac:spMkLst>
            <pc:docMk/>
            <pc:sldMk cId="3591700787" sldId="2147478562"/>
            <ac:spMk id="959" creationId="{1CD442DC-1B42-9FB3-8B01-8FFF366076C1}"/>
          </ac:spMkLst>
        </pc:spChg>
        <pc:spChg chg="add del mod">
          <ac:chgData name="Steiner Andreas 6206 ED" userId="e6377c33-a923-4f14-8587-531c474c7b48" providerId="ADAL" clId="{6ECD27E6-B224-41CD-B4E0-E297462320DD}" dt="2023-11-24T11:41:28.954" v="146018"/>
          <ac:spMkLst>
            <pc:docMk/>
            <pc:sldMk cId="3591700787" sldId="2147478562"/>
            <ac:spMk id="960" creationId="{A4A5BAE5-818F-5414-300C-960AE3D73EF7}"/>
          </ac:spMkLst>
        </pc:spChg>
        <pc:spChg chg="add del mod">
          <ac:chgData name="Steiner Andreas 6206 ED" userId="e6377c33-a923-4f14-8587-531c474c7b48" providerId="ADAL" clId="{6ECD27E6-B224-41CD-B4E0-E297462320DD}" dt="2023-11-24T11:41:31.528" v="146173"/>
          <ac:spMkLst>
            <pc:docMk/>
            <pc:sldMk cId="3591700787" sldId="2147478562"/>
            <ac:spMk id="961" creationId="{D77450AF-B6E2-1A95-031E-1B799CE58F5B}"/>
          </ac:spMkLst>
        </pc:spChg>
        <pc:spChg chg="add del mod">
          <ac:chgData name="Steiner Andreas 6206 ED" userId="e6377c33-a923-4f14-8587-531c474c7b48" providerId="ADAL" clId="{6ECD27E6-B224-41CD-B4E0-E297462320DD}" dt="2023-11-24T11:41:33.662" v="146328"/>
          <ac:spMkLst>
            <pc:docMk/>
            <pc:sldMk cId="3591700787" sldId="2147478562"/>
            <ac:spMk id="962" creationId="{0CA4BCB2-DF12-7EB2-F943-74C4B98C1D10}"/>
          </ac:spMkLst>
        </pc:spChg>
        <pc:spChg chg="add del mod">
          <ac:chgData name="Steiner Andreas 6206 ED" userId="e6377c33-a923-4f14-8587-531c474c7b48" providerId="ADAL" clId="{6ECD27E6-B224-41CD-B4E0-E297462320DD}" dt="2023-11-24T11:41:35.783" v="146483"/>
          <ac:spMkLst>
            <pc:docMk/>
            <pc:sldMk cId="3591700787" sldId="2147478562"/>
            <ac:spMk id="963" creationId="{E0475D50-E63C-2B1E-6FBF-0618B7F3A40E}"/>
          </ac:spMkLst>
        </pc:spChg>
        <pc:spChg chg="add del mod">
          <ac:chgData name="Steiner Andreas 6206 ED" userId="e6377c33-a923-4f14-8587-531c474c7b48" providerId="ADAL" clId="{6ECD27E6-B224-41CD-B4E0-E297462320DD}" dt="2023-11-24T11:41:38.007" v="146638"/>
          <ac:spMkLst>
            <pc:docMk/>
            <pc:sldMk cId="3591700787" sldId="2147478562"/>
            <ac:spMk id="964" creationId="{C1A6AF18-4BA4-FDD9-5601-0011F066AAAC}"/>
          </ac:spMkLst>
        </pc:spChg>
        <pc:spChg chg="add del mod">
          <ac:chgData name="Steiner Andreas 6206 ED" userId="e6377c33-a923-4f14-8587-531c474c7b48" providerId="ADAL" clId="{6ECD27E6-B224-41CD-B4E0-E297462320DD}" dt="2023-11-24T11:41:40.825" v="146793"/>
          <ac:spMkLst>
            <pc:docMk/>
            <pc:sldMk cId="3591700787" sldId="2147478562"/>
            <ac:spMk id="965" creationId="{F4D0A0CB-332A-FBA5-2CAA-4CFF0AF6B4BC}"/>
          </ac:spMkLst>
        </pc:spChg>
        <pc:spChg chg="add del mod">
          <ac:chgData name="Steiner Andreas 6206 ED" userId="e6377c33-a923-4f14-8587-531c474c7b48" providerId="ADAL" clId="{6ECD27E6-B224-41CD-B4E0-E297462320DD}" dt="2023-11-24T11:41:42.910" v="146948"/>
          <ac:spMkLst>
            <pc:docMk/>
            <pc:sldMk cId="3591700787" sldId="2147478562"/>
            <ac:spMk id="966" creationId="{DC35785E-211E-089B-98AE-88A67E365A6A}"/>
          </ac:spMkLst>
        </pc:spChg>
        <pc:spChg chg="add del mod">
          <ac:chgData name="Steiner Andreas 6206 ED" userId="e6377c33-a923-4f14-8587-531c474c7b48" providerId="ADAL" clId="{6ECD27E6-B224-41CD-B4E0-E297462320DD}" dt="2023-11-24T11:41:44.975" v="147103"/>
          <ac:spMkLst>
            <pc:docMk/>
            <pc:sldMk cId="3591700787" sldId="2147478562"/>
            <ac:spMk id="967" creationId="{F2DCFFC2-AA6F-171C-D760-C6D4E0B875C4}"/>
          </ac:spMkLst>
        </pc:spChg>
        <pc:spChg chg="add del mod">
          <ac:chgData name="Steiner Andreas 6206 ED" userId="e6377c33-a923-4f14-8587-531c474c7b48" providerId="ADAL" clId="{6ECD27E6-B224-41CD-B4E0-E297462320DD}" dt="2023-11-24T11:41:47.528" v="147258"/>
          <ac:spMkLst>
            <pc:docMk/>
            <pc:sldMk cId="3591700787" sldId="2147478562"/>
            <ac:spMk id="968" creationId="{E7514365-D127-A58E-3DA9-5FB11D161A25}"/>
          </ac:spMkLst>
        </pc:spChg>
        <pc:spChg chg="add del mod">
          <ac:chgData name="Steiner Andreas 6206 ED" userId="e6377c33-a923-4f14-8587-531c474c7b48" providerId="ADAL" clId="{6ECD27E6-B224-41CD-B4E0-E297462320DD}" dt="2023-11-24T11:41:49.659" v="147413"/>
          <ac:spMkLst>
            <pc:docMk/>
            <pc:sldMk cId="3591700787" sldId="2147478562"/>
            <ac:spMk id="969" creationId="{D4ECF8C0-11E6-6B8D-7547-393162A87555}"/>
          </ac:spMkLst>
        </pc:spChg>
        <pc:spChg chg="add del mod">
          <ac:chgData name="Steiner Andreas 6206 ED" userId="e6377c33-a923-4f14-8587-531c474c7b48" providerId="ADAL" clId="{6ECD27E6-B224-41CD-B4E0-E297462320DD}" dt="2023-11-24T11:41:51.997" v="147568"/>
          <ac:spMkLst>
            <pc:docMk/>
            <pc:sldMk cId="3591700787" sldId="2147478562"/>
            <ac:spMk id="970" creationId="{9449356C-EF19-5F14-CF21-7255794D354A}"/>
          </ac:spMkLst>
        </pc:spChg>
        <pc:spChg chg="add del mod">
          <ac:chgData name="Steiner Andreas 6206 ED" userId="e6377c33-a923-4f14-8587-531c474c7b48" providerId="ADAL" clId="{6ECD27E6-B224-41CD-B4E0-E297462320DD}" dt="2023-11-24T11:41:54.366" v="147723"/>
          <ac:spMkLst>
            <pc:docMk/>
            <pc:sldMk cId="3591700787" sldId="2147478562"/>
            <ac:spMk id="971" creationId="{A5D3FEDF-F778-A801-503A-28E2B6301037}"/>
          </ac:spMkLst>
        </pc:spChg>
        <pc:spChg chg="add del mod">
          <ac:chgData name="Steiner Andreas 6206 ED" userId="e6377c33-a923-4f14-8587-531c474c7b48" providerId="ADAL" clId="{6ECD27E6-B224-41CD-B4E0-E297462320DD}" dt="2023-11-24T11:41:57.623" v="147878"/>
          <ac:spMkLst>
            <pc:docMk/>
            <pc:sldMk cId="3591700787" sldId="2147478562"/>
            <ac:spMk id="972" creationId="{A3A7314B-5E31-2E1B-8EA3-9AFEBC22ABB9}"/>
          </ac:spMkLst>
        </pc:spChg>
        <pc:spChg chg="add del mod">
          <ac:chgData name="Steiner Andreas 6206 ED" userId="e6377c33-a923-4f14-8587-531c474c7b48" providerId="ADAL" clId="{6ECD27E6-B224-41CD-B4E0-E297462320DD}" dt="2023-11-24T11:42:01.022" v="148033"/>
          <ac:spMkLst>
            <pc:docMk/>
            <pc:sldMk cId="3591700787" sldId="2147478562"/>
            <ac:spMk id="973" creationId="{A671A6EE-613A-1AE8-AB46-3C72FA68E39C}"/>
          </ac:spMkLst>
        </pc:spChg>
        <pc:spChg chg="add del mod">
          <ac:chgData name="Steiner Andreas 6206 ED" userId="e6377c33-a923-4f14-8587-531c474c7b48" providerId="ADAL" clId="{6ECD27E6-B224-41CD-B4E0-E297462320DD}" dt="2023-11-24T11:42:04.203" v="148188"/>
          <ac:spMkLst>
            <pc:docMk/>
            <pc:sldMk cId="3591700787" sldId="2147478562"/>
            <ac:spMk id="974" creationId="{D943D5C9-F400-2E08-23F9-A64432E8D7B7}"/>
          </ac:spMkLst>
        </pc:spChg>
        <pc:spChg chg="add del mod">
          <ac:chgData name="Steiner Andreas 6206 ED" userId="e6377c33-a923-4f14-8587-531c474c7b48" providerId="ADAL" clId="{6ECD27E6-B224-41CD-B4E0-E297462320DD}" dt="2023-11-24T11:42:06.696" v="148343"/>
          <ac:spMkLst>
            <pc:docMk/>
            <pc:sldMk cId="3591700787" sldId="2147478562"/>
            <ac:spMk id="975" creationId="{22CE1193-560C-D5BB-D8BB-1C09EEB4D78B}"/>
          </ac:spMkLst>
        </pc:spChg>
        <pc:spChg chg="add del mod">
          <ac:chgData name="Steiner Andreas 6206 ED" userId="e6377c33-a923-4f14-8587-531c474c7b48" providerId="ADAL" clId="{6ECD27E6-B224-41CD-B4E0-E297462320DD}" dt="2023-11-24T11:42:08.975" v="148498"/>
          <ac:spMkLst>
            <pc:docMk/>
            <pc:sldMk cId="3591700787" sldId="2147478562"/>
            <ac:spMk id="976" creationId="{2A6CAE77-68FC-31E0-411F-158FED109E8E}"/>
          </ac:spMkLst>
        </pc:spChg>
        <pc:spChg chg="add del mod">
          <ac:chgData name="Steiner Andreas 6206 ED" userId="e6377c33-a923-4f14-8587-531c474c7b48" providerId="ADAL" clId="{6ECD27E6-B224-41CD-B4E0-E297462320DD}" dt="2023-11-24T11:42:11.565" v="148653"/>
          <ac:spMkLst>
            <pc:docMk/>
            <pc:sldMk cId="3591700787" sldId="2147478562"/>
            <ac:spMk id="977" creationId="{D63E8E5E-A05F-6DF6-8CA2-04378BDAEB5B}"/>
          </ac:spMkLst>
        </pc:spChg>
        <pc:spChg chg="add del mod">
          <ac:chgData name="Steiner Andreas 6206 ED" userId="e6377c33-a923-4f14-8587-531c474c7b48" providerId="ADAL" clId="{6ECD27E6-B224-41CD-B4E0-E297462320DD}" dt="2023-11-24T11:42:14.179" v="148808"/>
          <ac:spMkLst>
            <pc:docMk/>
            <pc:sldMk cId="3591700787" sldId="2147478562"/>
            <ac:spMk id="978" creationId="{CCDF42DA-A0C4-5627-D05C-AF95A259A93C}"/>
          </ac:spMkLst>
        </pc:spChg>
        <pc:spChg chg="add del mod">
          <ac:chgData name="Steiner Andreas 6206 ED" userId="e6377c33-a923-4f14-8587-531c474c7b48" providerId="ADAL" clId="{6ECD27E6-B224-41CD-B4E0-E297462320DD}" dt="2023-11-24T11:42:16.395" v="148963"/>
          <ac:spMkLst>
            <pc:docMk/>
            <pc:sldMk cId="3591700787" sldId="2147478562"/>
            <ac:spMk id="979" creationId="{974830A2-D287-01B5-4E19-4417B7B54972}"/>
          </ac:spMkLst>
        </pc:spChg>
        <pc:spChg chg="add del mod">
          <ac:chgData name="Steiner Andreas 6206 ED" userId="e6377c33-a923-4f14-8587-531c474c7b48" providerId="ADAL" clId="{6ECD27E6-B224-41CD-B4E0-E297462320DD}" dt="2023-11-24T11:42:18.529" v="149118"/>
          <ac:spMkLst>
            <pc:docMk/>
            <pc:sldMk cId="3591700787" sldId="2147478562"/>
            <ac:spMk id="980" creationId="{B14B99B4-88B7-3137-DD98-DFB87E192760}"/>
          </ac:spMkLst>
        </pc:spChg>
        <pc:spChg chg="add del mod">
          <ac:chgData name="Steiner Andreas 6206 ED" userId="e6377c33-a923-4f14-8587-531c474c7b48" providerId="ADAL" clId="{6ECD27E6-B224-41CD-B4E0-E297462320DD}" dt="2023-11-24T11:42:20.576" v="149273"/>
          <ac:spMkLst>
            <pc:docMk/>
            <pc:sldMk cId="3591700787" sldId="2147478562"/>
            <ac:spMk id="981" creationId="{4F5B31B7-21DA-1546-E568-D6D2994D0C0C}"/>
          </ac:spMkLst>
        </pc:spChg>
        <pc:spChg chg="add del mod">
          <ac:chgData name="Steiner Andreas 6206 ED" userId="e6377c33-a923-4f14-8587-531c474c7b48" providerId="ADAL" clId="{6ECD27E6-B224-41CD-B4E0-E297462320DD}" dt="2023-11-24T11:42:22.634" v="149428"/>
          <ac:spMkLst>
            <pc:docMk/>
            <pc:sldMk cId="3591700787" sldId="2147478562"/>
            <ac:spMk id="982" creationId="{4CA61A3F-6399-1822-32F9-709FDF04E1FB}"/>
          </ac:spMkLst>
        </pc:spChg>
        <pc:spChg chg="add del mod">
          <ac:chgData name="Steiner Andreas 6206 ED" userId="e6377c33-a923-4f14-8587-531c474c7b48" providerId="ADAL" clId="{6ECD27E6-B224-41CD-B4E0-E297462320DD}" dt="2023-11-24T11:42:24.582" v="149583"/>
          <ac:spMkLst>
            <pc:docMk/>
            <pc:sldMk cId="3591700787" sldId="2147478562"/>
            <ac:spMk id="983" creationId="{E76EBF15-729B-332E-57C1-2C48AC74948F}"/>
          </ac:spMkLst>
        </pc:spChg>
        <pc:spChg chg="add del mod">
          <ac:chgData name="Steiner Andreas 6206 ED" userId="e6377c33-a923-4f14-8587-531c474c7b48" providerId="ADAL" clId="{6ECD27E6-B224-41CD-B4E0-E297462320DD}" dt="2023-11-24T11:42:26.495" v="149738"/>
          <ac:spMkLst>
            <pc:docMk/>
            <pc:sldMk cId="3591700787" sldId="2147478562"/>
            <ac:spMk id="984" creationId="{F0EE97BE-B4C2-E689-1AE7-1957CCEC3975}"/>
          </ac:spMkLst>
        </pc:spChg>
        <pc:spChg chg="add del mod">
          <ac:chgData name="Steiner Andreas 6206 ED" userId="e6377c33-a923-4f14-8587-531c474c7b48" providerId="ADAL" clId="{6ECD27E6-B224-41CD-B4E0-E297462320DD}" dt="2023-11-24T11:42:29.728" v="149893"/>
          <ac:spMkLst>
            <pc:docMk/>
            <pc:sldMk cId="3591700787" sldId="2147478562"/>
            <ac:spMk id="985" creationId="{E7B745F1-1D8D-2168-B017-9E5F92C52BAE}"/>
          </ac:spMkLst>
        </pc:spChg>
        <pc:spChg chg="add del mod">
          <ac:chgData name="Steiner Andreas 6206 ED" userId="e6377c33-a923-4f14-8587-531c474c7b48" providerId="ADAL" clId="{6ECD27E6-B224-41CD-B4E0-E297462320DD}" dt="2023-11-24T11:42:32.724" v="150048"/>
          <ac:spMkLst>
            <pc:docMk/>
            <pc:sldMk cId="3591700787" sldId="2147478562"/>
            <ac:spMk id="986" creationId="{B1E31736-C239-FB02-88B7-1644FE97AC66}"/>
          </ac:spMkLst>
        </pc:spChg>
        <pc:spChg chg="add del mod">
          <ac:chgData name="Steiner Andreas 6206 ED" userId="e6377c33-a923-4f14-8587-531c474c7b48" providerId="ADAL" clId="{6ECD27E6-B224-41CD-B4E0-E297462320DD}" dt="2023-11-24T11:42:35.903" v="150203"/>
          <ac:spMkLst>
            <pc:docMk/>
            <pc:sldMk cId="3591700787" sldId="2147478562"/>
            <ac:spMk id="987" creationId="{004808BE-9F16-F9E0-4C4A-310D628F4F2E}"/>
          </ac:spMkLst>
        </pc:spChg>
        <pc:spChg chg="add del mod">
          <ac:chgData name="Steiner Andreas 6206 ED" userId="e6377c33-a923-4f14-8587-531c474c7b48" providerId="ADAL" clId="{6ECD27E6-B224-41CD-B4E0-E297462320DD}" dt="2023-11-24T11:42:38.234" v="150358"/>
          <ac:spMkLst>
            <pc:docMk/>
            <pc:sldMk cId="3591700787" sldId="2147478562"/>
            <ac:spMk id="988" creationId="{A7734634-8F5D-095A-F6C7-1E3762739B4D}"/>
          </ac:spMkLst>
        </pc:spChg>
        <pc:spChg chg="add del mod">
          <ac:chgData name="Steiner Andreas 6206 ED" userId="e6377c33-a923-4f14-8587-531c474c7b48" providerId="ADAL" clId="{6ECD27E6-B224-41CD-B4E0-E297462320DD}" dt="2023-11-24T11:42:40.297" v="150513"/>
          <ac:spMkLst>
            <pc:docMk/>
            <pc:sldMk cId="3591700787" sldId="2147478562"/>
            <ac:spMk id="989" creationId="{7D96A750-1076-5A36-9AAA-59EC84625F87}"/>
          </ac:spMkLst>
        </pc:spChg>
        <pc:spChg chg="add del mod">
          <ac:chgData name="Steiner Andreas 6206 ED" userId="e6377c33-a923-4f14-8587-531c474c7b48" providerId="ADAL" clId="{6ECD27E6-B224-41CD-B4E0-E297462320DD}" dt="2023-11-24T11:42:42.326" v="150668"/>
          <ac:spMkLst>
            <pc:docMk/>
            <pc:sldMk cId="3591700787" sldId="2147478562"/>
            <ac:spMk id="990" creationId="{8EDB559C-15EE-4CF8-44E3-AEE652552AE1}"/>
          </ac:spMkLst>
        </pc:spChg>
        <pc:spChg chg="add del mod">
          <ac:chgData name="Steiner Andreas 6206 ED" userId="e6377c33-a923-4f14-8587-531c474c7b48" providerId="ADAL" clId="{6ECD27E6-B224-41CD-B4E0-E297462320DD}" dt="2023-11-24T11:42:44.432" v="150823"/>
          <ac:spMkLst>
            <pc:docMk/>
            <pc:sldMk cId="3591700787" sldId="2147478562"/>
            <ac:spMk id="991" creationId="{F50B3775-0734-6667-AB7B-17360D895711}"/>
          </ac:spMkLst>
        </pc:spChg>
        <pc:spChg chg="add del mod">
          <ac:chgData name="Steiner Andreas 6206 ED" userId="e6377c33-a923-4f14-8587-531c474c7b48" providerId="ADAL" clId="{6ECD27E6-B224-41CD-B4E0-E297462320DD}" dt="2023-11-24T11:42:46.732" v="150978"/>
          <ac:spMkLst>
            <pc:docMk/>
            <pc:sldMk cId="3591700787" sldId="2147478562"/>
            <ac:spMk id="992" creationId="{7A77057E-979A-C3CC-D924-D4511A9639B6}"/>
          </ac:spMkLst>
        </pc:spChg>
        <pc:spChg chg="add del mod">
          <ac:chgData name="Steiner Andreas 6206 ED" userId="e6377c33-a923-4f14-8587-531c474c7b48" providerId="ADAL" clId="{6ECD27E6-B224-41CD-B4E0-E297462320DD}" dt="2023-11-24T11:42:48.920" v="151133"/>
          <ac:spMkLst>
            <pc:docMk/>
            <pc:sldMk cId="3591700787" sldId="2147478562"/>
            <ac:spMk id="993" creationId="{D3B7A72C-EF05-CE5D-2761-290CE23CFA35}"/>
          </ac:spMkLst>
        </pc:spChg>
        <pc:spChg chg="add del mod">
          <ac:chgData name="Steiner Andreas 6206 ED" userId="e6377c33-a923-4f14-8587-531c474c7b48" providerId="ADAL" clId="{6ECD27E6-B224-41CD-B4E0-E297462320DD}" dt="2023-11-24T11:42:51.225" v="151288"/>
          <ac:spMkLst>
            <pc:docMk/>
            <pc:sldMk cId="3591700787" sldId="2147478562"/>
            <ac:spMk id="994" creationId="{D7209D5A-FF19-9D75-6BA3-F8590791FE4A}"/>
          </ac:spMkLst>
        </pc:spChg>
        <pc:spChg chg="add del mod">
          <ac:chgData name="Steiner Andreas 6206 ED" userId="e6377c33-a923-4f14-8587-531c474c7b48" providerId="ADAL" clId="{6ECD27E6-B224-41CD-B4E0-E297462320DD}" dt="2023-11-24T11:42:53.510" v="151443"/>
          <ac:spMkLst>
            <pc:docMk/>
            <pc:sldMk cId="3591700787" sldId="2147478562"/>
            <ac:spMk id="995" creationId="{E9F913CA-9AE9-76BA-CAA4-86A8E5783D09}"/>
          </ac:spMkLst>
        </pc:spChg>
        <pc:spChg chg="add del mod">
          <ac:chgData name="Steiner Andreas 6206 ED" userId="e6377c33-a923-4f14-8587-531c474c7b48" providerId="ADAL" clId="{6ECD27E6-B224-41CD-B4E0-E297462320DD}" dt="2023-11-24T11:42:55.745" v="151598"/>
          <ac:spMkLst>
            <pc:docMk/>
            <pc:sldMk cId="3591700787" sldId="2147478562"/>
            <ac:spMk id="996" creationId="{2E849AF3-7C70-9A88-2D0B-FB888CE745D8}"/>
          </ac:spMkLst>
        </pc:spChg>
        <pc:spChg chg="add del mod">
          <ac:chgData name="Steiner Andreas 6206 ED" userId="e6377c33-a923-4f14-8587-531c474c7b48" providerId="ADAL" clId="{6ECD27E6-B224-41CD-B4E0-E297462320DD}" dt="2023-11-24T11:42:58.234" v="151753"/>
          <ac:spMkLst>
            <pc:docMk/>
            <pc:sldMk cId="3591700787" sldId="2147478562"/>
            <ac:spMk id="997" creationId="{C32B80EC-A382-72FB-8044-9F9036602F58}"/>
          </ac:spMkLst>
        </pc:spChg>
        <pc:spChg chg="add del mod">
          <ac:chgData name="Steiner Andreas 6206 ED" userId="e6377c33-a923-4f14-8587-531c474c7b48" providerId="ADAL" clId="{6ECD27E6-B224-41CD-B4E0-E297462320DD}" dt="2023-11-24T11:43:01.945" v="151908"/>
          <ac:spMkLst>
            <pc:docMk/>
            <pc:sldMk cId="3591700787" sldId="2147478562"/>
            <ac:spMk id="998" creationId="{6264DFDB-7BCA-55E2-0758-9EF95ED54464}"/>
          </ac:spMkLst>
        </pc:spChg>
        <pc:spChg chg="add del mod">
          <ac:chgData name="Steiner Andreas 6206 ED" userId="e6377c33-a923-4f14-8587-531c474c7b48" providerId="ADAL" clId="{6ECD27E6-B224-41CD-B4E0-E297462320DD}" dt="2023-11-24T11:43:04.324" v="152063"/>
          <ac:spMkLst>
            <pc:docMk/>
            <pc:sldMk cId="3591700787" sldId="2147478562"/>
            <ac:spMk id="999" creationId="{2B4AF8B6-C8FE-B3F2-2A22-DB82B558B2B8}"/>
          </ac:spMkLst>
        </pc:spChg>
        <pc:spChg chg="add del mod">
          <ac:chgData name="Steiner Andreas 6206 ED" userId="e6377c33-a923-4f14-8587-531c474c7b48" providerId="ADAL" clId="{6ECD27E6-B224-41CD-B4E0-E297462320DD}" dt="2023-11-24T11:43:06.450" v="152218"/>
          <ac:spMkLst>
            <pc:docMk/>
            <pc:sldMk cId="3591700787" sldId="2147478562"/>
            <ac:spMk id="1000" creationId="{BFD6775C-F7A4-F134-DABC-88B464741021}"/>
          </ac:spMkLst>
        </pc:spChg>
        <pc:spChg chg="add del mod">
          <ac:chgData name="Steiner Andreas 6206 ED" userId="e6377c33-a923-4f14-8587-531c474c7b48" providerId="ADAL" clId="{6ECD27E6-B224-41CD-B4E0-E297462320DD}" dt="2023-11-24T11:43:08.580" v="152373"/>
          <ac:spMkLst>
            <pc:docMk/>
            <pc:sldMk cId="3591700787" sldId="2147478562"/>
            <ac:spMk id="1001" creationId="{C851F26D-0328-9778-D94D-26A963EC5E9C}"/>
          </ac:spMkLst>
        </pc:spChg>
        <pc:spChg chg="add del mod">
          <ac:chgData name="Steiner Andreas 6206 ED" userId="e6377c33-a923-4f14-8587-531c474c7b48" providerId="ADAL" clId="{6ECD27E6-B224-41CD-B4E0-E297462320DD}" dt="2023-11-24T11:43:10.731" v="152528"/>
          <ac:spMkLst>
            <pc:docMk/>
            <pc:sldMk cId="3591700787" sldId="2147478562"/>
            <ac:spMk id="1002" creationId="{47FDF57E-CA37-A15F-814F-D95932E07463}"/>
          </ac:spMkLst>
        </pc:spChg>
        <pc:spChg chg="add del mod">
          <ac:chgData name="Steiner Andreas 6206 ED" userId="e6377c33-a923-4f14-8587-531c474c7b48" providerId="ADAL" clId="{6ECD27E6-B224-41CD-B4E0-E297462320DD}" dt="2023-11-24T11:43:12.977" v="152683"/>
          <ac:spMkLst>
            <pc:docMk/>
            <pc:sldMk cId="3591700787" sldId="2147478562"/>
            <ac:spMk id="1003" creationId="{7EA66862-F1C2-C2EF-8B19-523CEA4F655D}"/>
          </ac:spMkLst>
        </pc:spChg>
        <pc:spChg chg="add del mod">
          <ac:chgData name="Steiner Andreas 6206 ED" userId="e6377c33-a923-4f14-8587-531c474c7b48" providerId="ADAL" clId="{6ECD27E6-B224-41CD-B4E0-E297462320DD}" dt="2023-11-24T11:43:15.328" v="152838"/>
          <ac:spMkLst>
            <pc:docMk/>
            <pc:sldMk cId="3591700787" sldId="2147478562"/>
            <ac:spMk id="1004" creationId="{4E314B2D-F47B-7B2F-69ED-AD8A3E299C48}"/>
          </ac:spMkLst>
        </pc:spChg>
        <pc:spChg chg="add del mod">
          <ac:chgData name="Steiner Andreas 6206 ED" userId="e6377c33-a923-4f14-8587-531c474c7b48" providerId="ADAL" clId="{6ECD27E6-B224-41CD-B4E0-E297462320DD}" dt="2023-11-24T11:43:18.472" v="152993"/>
          <ac:spMkLst>
            <pc:docMk/>
            <pc:sldMk cId="3591700787" sldId="2147478562"/>
            <ac:spMk id="1005" creationId="{6872A2B2-B830-292A-A960-B3BCBA78685F}"/>
          </ac:spMkLst>
        </pc:spChg>
        <pc:spChg chg="add del mod">
          <ac:chgData name="Steiner Andreas 6206 ED" userId="e6377c33-a923-4f14-8587-531c474c7b48" providerId="ADAL" clId="{6ECD27E6-B224-41CD-B4E0-E297462320DD}" dt="2023-11-24T11:43:22.559" v="153148"/>
          <ac:spMkLst>
            <pc:docMk/>
            <pc:sldMk cId="3591700787" sldId="2147478562"/>
            <ac:spMk id="1006" creationId="{574B0CB6-5A8B-4B63-5719-2B615A2CBEB9}"/>
          </ac:spMkLst>
        </pc:spChg>
        <pc:spChg chg="add del mod">
          <ac:chgData name="Steiner Andreas 6206 ED" userId="e6377c33-a923-4f14-8587-531c474c7b48" providerId="ADAL" clId="{6ECD27E6-B224-41CD-B4E0-E297462320DD}" dt="2023-11-24T11:43:24.977" v="153303"/>
          <ac:spMkLst>
            <pc:docMk/>
            <pc:sldMk cId="3591700787" sldId="2147478562"/>
            <ac:spMk id="1007" creationId="{8C5828CA-CB73-1290-FB2C-04DC295F1AF9}"/>
          </ac:spMkLst>
        </pc:spChg>
        <pc:spChg chg="add del mod">
          <ac:chgData name="Steiner Andreas 6206 ED" userId="e6377c33-a923-4f14-8587-531c474c7b48" providerId="ADAL" clId="{6ECD27E6-B224-41CD-B4E0-E297462320DD}" dt="2023-11-24T11:43:27.221" v="153458"/>
          <ac:spMkLst>
            <pc:docMk/>
            <pc:sldMk cId="3591700787" sldId="2147478562"/>
            <ac:spMk id="1008" creationId="{0F1E3D9B-8229-E4EF-3E18-FB946F2C3D4A}"/>
          </ac:spMkLst>
        </pc:spChg>
        <pc:spChg chg="add del mod">
          <ac:chgData name="Steiner Andreas 6206 ED" userId="e6377c33-a923-4f14-8587-531c474c7b48" providerId="ADAL" clId="{6ECD27E6-B224-41CD-B4E0-E297462320DD}" dt="2023-11-24T11:43:29.506" v="153613"/>
          <ac:spMkLst>
            <pc:docMk/>
            <pc:sldMk cId="3591700787" sldId="2147478562"/>
            <ac:spMk id="1009" creationId="{B8FBA62C-0EE4-51B2-CB55-E4AFA2B0120E}"/>
          </ac:spMkLst>
        </pc:spChg>
        <pc:spChg chg="add del mod">
          <ac:chgData name="Steiner Andreas 6206 ED" userId="e6377c33-a923-4f14-8587-531c474c7b48" providerId="ADAL" clId="{6ECD27E6-B224-41CD-B4E0-E297462320DD}" dt="2023-11-24T11:43:31.749" v="153768"/>
          <ac:spMkLst>
            <pc:docMk/>
            <pc:sldMk cId="3591700787" sldId="2147478562"/>
            <ac:spMk id="1010" creationId="{75A92B77-4F27-BC10-E7AB-20EBA294400D}"/>
          </ac:spMkLst>
        </pc:spChg>
        <pc:spChg chg="add del mod">
          <ac:chgData name="Steiner Andreas 6206 ED" userId="e6377c33-a923-4f14-8587-531c474c7b48" providerId="ADAL" clId="{6ECD27E6-B224-41CD-B4E0-E297462320DD}" dt="2023-11-24T11:43:34.511" v="153923"/>
          <ac:spMkLst>
            <pc:docMk/>
            <pc:sldMk cId="3591700787" sldId="2147478562"/>
            <ac:spMk id="1011" creationId="{4D9CEE77-1BDC-B648-6DB9-D9DD47ADFDA9}"/>
          </ac:spMkLst>
        </pc:spChg>
        <pc:spChg chg="add del mod">
          <ac:chgData name="Steiner Andreas 6206 ED" userId="e6377c33-a923-4f14-8587-531c474c7b48" providerId="ADAL" clId="{6ECD27E6-B224-41CD-B4E0-E297462320DD}" dt="2023-11-24T11:43:36.644" v="154078"/>
          <ac:spMkLst>
            <pc:docMk/>
            <pc:sldMk cId="3591700787" sldId="2147478562"/>
            <ac:spMk id="1012" creationId="{6DAE87D7-2B7F-E890-F540-D6F4DBFC7858}"/>
          </ac:spMkLst>
        </pc:spChg>
        <pc:spChg chg="add del mod">
          <ac:chgData name="Steiner Andreas 6206 ED" userId="e6377c33-a923-4f14-8587-531c474c7b48" providerId="ADAL" clId="{6ECD27E6-B224-41CD-B4E0-E297462320DD}" dt="2023-11-24T11:43:38.816" v="154233"/>
          <ac:spMkLst>
            <pc:docMk/>
            <pc:sldMk cId="3591700787" sldId="2147478562"/>
            <ac:spMk id="1013" creationId="{EDF29541-B331-E1CC-503E-3266278EB12E}"/>
          </ac:spMkLst>
        </pc:spChg>
        <pc:spChg chg="add del mod">
          <ac:chgData name="Steiner Andreas 6206 ED" userId="e6377c33-a923-4f14-8587-531c474c7b48" providerId="ADAL" clId="{6ECD27E6-B224-41CD-B4E0-E297462320DD}" dt="2023-11-24T11:43:41.263" v="154388"/>
          <ac:spMkLst>
            <pc:docMk/>
            <pc:sldMk cId="3591700787" sldId="2147478562"/>
            <ac:spMk id="1014" creationId="{636DB281-F41E-1E53-BE6D-388DDBD71EF2}"/>
          </ac:spMkLst>
        </pc:spChg>
        <pc:spChg chg="add del mod">
          <ac:chgData name="Steiner Andreas 6206 ED" userId="e6377c33-a923-4f14-8587-531c474c7b48" providerId="ADAL" clId="{6ECD27E6-B224-41CD-B4E0-E297462320DD}" dt="2023-11-24T11:43:44.135" v="154543"/>
          <ac:spMkLst>
            <pc:docMk/>
            <pc:sldMk cId="3591700787" sldId="2147478562"/>
            <ac:spMk id="1015" creationId="{B066FBB7-FB79-CA8C-A291-EDFA4E058A4D}"/>
          </ac:spMkLst>
        </pc:spChg>
        <pc:spChg chg="add del mod">
          <ac:chgData name="Steiner Andreas 6206 ED" userId="e6377c33-a923-4f14-8587-531c474c7b48" providerId="ADAL" clId="{6ECD27E6-B224-41CD-B4E0-E297462320DD}" dt="2023-11-24T11:43:46.446" v="154698"/>
          <ac:spMkLst>
            <pc:docMk/>
            <pc:sldMk cId="3591700787" sldId="2147478562"/>
            <ac:spMk id="1016" creationId="{39E22AFC-A9BF-FDA7-4AA5-CBD34B623C6D}"/>
          </ac:spMkLst>
        </pc:spChg>
        <pc:spChg chg="add del mod">
          <ac:chgData name="Steiner Andreas 6206 ED" userId="e6377c33-a923-4f14-8587-531c474c7b48" providerId="ADAL" clId="{6ECD27E6-B224-41CD-B4E0-E297462320DD}" dt="2023-11-24T11:43:48.772" v="154853"/>
          <ac:spMkLst>
            <pc:docMk/>
            <pc:sldMk cId="3591700787" sldId="2147478562"/>
            <ac:spMk id="1017" creationId="{24035701-FCBF-BA9F-E0B0-D35762DEC1A8}"/>
          </ac:spMkLst>
        </pc:spChg>
        <pc:spChg chg="add del mod">
          <ac:chgData name="Steiner Andreas 6206 ED" userId="e6377c33-a923-4f14-8587-531c474c7b48" providerId="ADAL" clId="{6ECD27E6-B224-41CD-B4E0-E297462320DD}" dt="2023-11-24T11:43:50.792" v="155008"/>
          <ac:spMkLst>
            <pc:docMk/>
            <pc:sldMk cId="3591700787" sldId="2147478562"/>
            <ac:spMk id="1018" creationId="{D3841DEB-72CF-5EBB-698A-E180844E3425}"/>
          </ac:spMkLst>
        </pc:spChg>
        <pc:spChg chg="add del mod">
          <ac:chgData name="Steiner Andreas 6206 ED" userId="e6377c33-a923-4f14-8587-531c474c7b48" providerId="ADAL" clId="{6ECD27E6-B224-41CD-B4E0-E297462320DD}" dt="2023-11-24T11:43:52.981" v="155163"/>
          <ac:spMkLst>
            <pc:docMk/>
            <pc:sldMk cId="3591700787" sldId="2147478562"/>
            <ac:spMk id="1019" creationId="{40FC0336-58D3-4A41-192F-3640306BB9DA}"/>
          </ac:spMkLst>
        </pc:spChg>
        <pc:spChg chg="add del mod">
          <ac:chgData name="Steiner Andreas 6206 ED" userId="e6377c33-a923-4f14-8587-531c474c7b48" providerId="ADAL" clId="{6ECD27E6-B224-41CD-B4E0-E297462320DD}" dt="2023-11-24T11:43:56.055" v="155318"/>
          <ac:spMkLst>
            <pc:docMk/>
            <pc:sldMk cId="3591700787" sldId="2147478562"/>
            <ac:spMk id="1020" creationId="{07EF8B9A-3686-B3DD-1C82-F1E6B63B30E4}"/>
          </ac:spMkLst>
        </pc:spChg>
        <pc:spChg chg="add del mod">
          <ac:chgData name="Steiner Andreas 6206 ED" userId="e6377c33-a923-4f14-8587-531c474c7b48" providerId="ADAL" clId="{6ECD27E6-B224-41CD-B4E0-E297462320DD}" dt="2023-11-24T11:43:58.368" v="155473"/>
          <ac:spMkLst>
            <pc:docMk/>
            <pc:sldMk cId="3591700787" sldId="2147478562"/>
            <ac:spMk id="1021" creationId="{718E6286-6263-3B63-246B-12C95E29432E}"/>
          </ac:spMkLst>
        </pc:spChg>
        <pc:spChg chg="add del mod">
          <ac:chgData name="Steiner Andreas 6206 ED" userId="e6377c33-a923-4f14-8587-531c474c7b48" providerId="ADAL" clId="{6ECD27E6-B224-41CD-B4E0-E297462320DD}" dt="2023-11-24T11:44:00.424" v="155628"/>
          <ac:spMkLst>
            <pc:docMk/>
            <pc:sldMk cId="3591700787" sldId="2147478562"/>
            <ac:spMk id="1022" creationId="{EF2E709E-F485-706D-617C-8A756245BD5B}"/>
          </ac:spMkLst>
        </pc:spChg>
        <pc:spChg chg="add del mod">
          <ac:chgData name="Steiner Andreas 6206 ED" userId="e6377c33-a923-4f14-8587-531c474c7b48" providerId="ADAL" clId="{6ECD27E6-B224-41CD-B4E0-E297462320DD}" dt="2023-11-24T11:44:02.428" v="155783"/>
          <ac:spMkLst>
            <pc:docMk/>
            <pc:sldMk cId="3591700787" sldId="2147478562"/>
            <ac:spMk id="1023" creationId="{52F398C5-6BB0-2DA2-BE28-8D3FA47DD355}"/>
          </ac:spMkLst>
        </pc:spChg>
        <pc:spChg chg="add del mod">
          <ac:chgData name="Steiner Andreas 6206 ED" userId="e6377c33-a923-4f14-8587-531c474c7b48" providerId="ADAL" clId="{6ECD27E6-B224-41CD-B4E0-E297462320DD}" dt="2023-11-24T11:44:04.488" v="155938"/>
          <ac:spMkLst>
            <pc:docMk/>
            <pc:sldMk cId="3591700787" sldId="2147478562"/>
            <ac:spMk id="1024" creationId="{C6DD6A62-5102-72B1-BF47-1327D12A74B8}"/>
          </ac:spMkLst>
        </pc:spChg>
        <pc:spChg chg="add del mod">
          <ac:chgData name="Steiner Andreas 6206 ED" userId="e6377c33-a923-4f14-8587-531c474c7b48" providerId="ADAL" clId="{6ECD27E6-B224-41CD-B4E0-E297462320DD}" dt="2023-11-24T11:44:06.494" v="156093"/>
          <ac:spMkLst>
            <pc:docMk/>
            <pc:sldMk cId="3591700787" sldId="2147478562"/>
            <ac:spMk id="1025" creationId="{35BF6914-F75D-F4EA-3DA8-5FF24B2D505C}"/>
          </ac:spMkLst>
        </pc:spChg>
        <pc:spChg chg="add del mod">
          <ac:chgData name="Steiner Andreas 6206 ED" userId="e6377c33-a923-4f14-8587-531c474c7b48" providerId="ADAL" clId="{6ECD27E6-B224-41CD-B4E0-E297462320DD}" dt="2023-11-24T11:44:08.673" v="156248"/>
          <ac:spMkLst>
            <pc:docMk/>
            <pc:sldMk cId="3591700787" sldId="2147478562"/>
            <ac:spMk id="1026" creationId="{83131376-036A-0BE9-0930-BDDA2DC1CDBC}"/>
          </ac:spMkLst>
        </pc:spChg>
        <pc:spChg chg="add del mod">
          <ac:chgData name="Steiner Andreas 6206 ED" userId="e6377c33-a923-4f14-8587-531c474c7b48" providerId="ADAL" clId="{6ECD27E6-B224-41CD-B4E0-E297462320DD}" dt="2023-11-24T11:44:10.739" v="156403"/>
          <ac:spMkLst>
            <pc:docMk/>
            <pc:sldMk cId="3591700787" sldId="2147478562"/>
            <ac:spMk id="1027" creationId="{6D7D54B3-C367-E93B-841D-BB9E3F23C847}"/>
          </ac:spMkLst>
        </pc:spChg>
        <pc:spChg chg="add del mod">
          <ac:chgData name="Steiner Andreas 6206 ED" userId="e6377c33-a923-4f14-8587-531c474c7b48" providerId="ADAL" clId="{6ECD27E6-B224-41CD-B4E0-E297462320DD}" dt="2023-11-24T11:44:12.750" v="156558"/>
          <ac:spMkLst>
            <pc:docMk/>
            <pc:sldMk cId="3591700787" sldId="2147478562"/>
            <ac:spMk id="1028" creationId="{643808CE-008A-084A-4918-79A49BA4CF11}"/>
          </ac:spMkLst>
        </pc:spChg>
        <pc:spChg chg="add del mod">
          <ac:chgData name="Steiner Andreas 6206 ED" userId="e6377c33-a923-4f14-8587-531c474c7b48" providerId="ADAL" clId="{6ECD27E6-B224-41CD-B4E0-E297462320DD}" dt="2023-11-24T11:44:14.728" v="156713"/>
          <ac:spMkLst>
            <pc:docMk/>
            <pc:sldMk cId="3591700787" sldId="2147478562"/>
            <ac:spMk id="1029" creationId="{FF943E0D-3D0E-D32F-18E1-ECEC7CCBC2A3}"/>
          </ac:spMkLst>
        </pc:spChg>
        <pc:spChg chg="add del mod">
          <ac:chgData name="Steiner Andreas 6206 ED" userId="e6377c33-a923-4f14-8587-531c474c7b48" providerId="ADAL" clId="{6ECD27E6-B224-41CD-B4E0-E297462320DD}" dt="2023-11-24T11:44:16.733" v="156868"/>
          <ac:spMkLst>
            <pc:docMk/>
            <pc:sldMk cId="3591700787" sldId="2147478562"/>
            <ac:spMk id="1030" creationId="{74169929-8C3A-A05C-4299-3B323F4DD468}"/>
          </ac:spMkLst>
        </pc:spChg>
        <pc:spChg chg="add del mod">
          <ac:chgData name="Steiner Andreas 6206 ED" userId="e6377c33-a923-4f14-8587-531c474c7b48" providerId="ADAL" clId="{6ECD27E6-B224-41CD-B4E0-E297462320DD}" dt="2023-11-24T11:44:18.841" v="157023"/>
          <ac:spMkLst>
            <pc:docMk/>
            <pc:sldMk cId="3591700787" sldId="2147478562"/>
            <ac:spMk id="1031" creationId="{634E6311-2EB5-D720-E7D5-315B7D6F9B98}"/>
          </ac:spMkLst>
        </pc:spChg>
        <pc:spChg chg="add del mod">
          <ac:chgData name="Steiner Andreas 6206 ED" userId="e6377c33-a923-4f14-8587-531c474c7b48" providerId="ADAL" clId="{6ECD27E6-B224-41CD-B4E0-E297462320DD}" dt="2023-11-24T11:44:20.937" v="157178"/>
          <ac:spMkLst>
            <pc:docMk/>
            <pc:sldMk cId="3591700787" sldId="2147478562"/>
            <ac:spMk id="1032" creationId="{3DC59388-37EE-726E-DD14-35261EB49052}"/>
          </ac:spMkLst>
        </pc:spChg>
        <pc:spChg chg="add del mod">
          <ac:chgData name="Steiner Andreas 6206 ED" userId="e6377c33-a923-4f14-8587-531c474c7b48" providerId="ADAL" clId="{6ECD27E6-B224-41CD-B4E0-E297462320DD}" dt="2023-11-24T11:44:23.277" v="157333"/>
          <ac:spMkLst>
            <pc:docMk/>
            <pc:sldMk cId="3591700787" sldId="2147478562"/>
            <ac:spMk id="1033" creationId="{64F64439-2E44-83B3-49BB-E6A98B976A97}"/>
          </ac:spMkLst>
        </pc:spChg>
        <pc:spChg chg="add del mod">
          <ac:chgData name="Steiner Andreas 6206 ED" userId="e6377c33-a923-4f14-8587-531c474c7b48" providerId="ADAL" clId="{6ECD27E6-B224-41CD-B4E0-E297462320DD}" dt="2023-11-24T11:44:25.417" v="157488"/>
          <ac:spMkLst>
            <pc:docMk/>
            <pc:sldMk cId="3591700787" sldId="2147478562"/>
            <ac:spMk id="1034" creationId="{DC7F849D-BC9D-45A3-D92E-34C81D35D7A7}"/>
          </ac:spMkLst>
        </pc:spChg>
        <pc:spChg chg="add del mod">
          <ac:chgData name="Steiner Andreas 6206 ED" userId="e6377c33-a923-4f14-8587-531c474c7b48" providerId="ADAL" clId="{6ECD27E6-B224-41CD-B4E0-E297462320DD}" dt="2023-11-24T11:44:30.852" v="157643"/>
          <ac:spMkLst>
            <pc:docMk/>
            <pc:sldMk cId="3591700787" sldId="2147478562"/>
            <ac:spMk id="1035" creationId="{32C5C774-FCDD-D3A2-CFE2-A152A0B05DEC}"/>
          </ac:spMkLst>
        </pc:spChg>
        <pc:spChg chg="add mod">
          <ac:chgData name="Steiner Andreas 6206 ED" userId="e6377c33-a923-4f14-8587-531c474c7b48" providerId="ADAL" clId="{6ECD27E6-B224-41CD-B4E0-E297462320DD}" dt="2023-11-24T11:44:30.854" v="157644"/>
          <ac:spMkLst>
            <pc:docMk/>
            <pc:sldMk cId="3591700787" sldId="2147478562"/>
            <ac:spMk id="1036" creationId="{FB5D598E-30EC-256E-1FD5-A7952D11B782}"/>
          </ac:spMkLst>
        </pc:spChg>
      </pc:sldChg>
      <pc:sldChg chg="addSp delSp modSp mod">
        <pc:chgData name="Steiner Andreas 6206 ED" userId="e6377c33-a923-4f14-8587-531c474c7b48" providerId="ADAL" clId="{6ECD27E6-B224-41CD-B4E0-E297462320DD}" dt="2023-11-24T11:44:30.868" v="157649"/>
        <pc:sldMkLst>
          <pc:docMk/>
          <pc:sldMk cId="2428257732" sldId="2147478563"/>
        </pc:sldMkLst>
        <pc:spChg chg="mod">
          <ac:chgData name="Steiner Andreas 6206 ED" userId="e6377c33-a923-4f14-8587-531c474c7b48" providerId="ADAL" clId="{6ECD27E6-B224-41CD-B4E0-E297462320DD}" dt="2023-11-24T11:44:30.867" v="157645" actId="20577"/>
          <ac:spMkLst>
            <pc:docMk/>
            <pc:sldMk cId="2428257732" sldId="2147478563"/>
            <ac:spMk id="3" creationId="{4E8CC9C0-365F-2AE2-45F2-482F3CE5F5BC}"/>
          </ac:spMkLst>
        </pc:spChg>
        <pc:spChg chg="del">
          <ac:chgData name="Steiner Andreas 6206 ED" userId="e6377c33-a923-4f14-8587-531c474c7b48" providerId="ADAL" clId="{6ECD27E6-B224-41CD-B4E0-E297462320DD}" dt="2023-11-23T19:49:53.675" v="191"/>
          <ac:spMkLst>
            <pc:docMk/>
            <pc:sldMk cId="2428257732" sldId="2147478563"/>
            <ac:spMk id="5" creationId="{64E93222-32B7-20A4-715C-D9A68AE48A8A}"/>
          </ac:spMkLst>
        </pc:spChg>
        <pc:spChg chg="add del mod">
          <ac:chgData name="Steiner Andreas 6206 ED" userId="e6377c33-a923-4f14-8587-531c474c7b48" providerId="ADAL" clId="{6ECD27E6-B224-41CD-B4E0-E297462320DD}" dt="2023-11-23T19:49:53.678" v="194"/>
          <ac:spMkLst>
            <pc:docMk/>
            <pc:sldMk cId="2428257732" sldId="2147478563"/>
            <ac:spMk id="7" creationId="{8935AF60-95C8-EFC3-D17A-C68F4286627C}"/>
          </ac:spMkLst>
        </pc:spChg>
        <pc:spChg chg="add del mod">
          <ac:chgData name="Steiner Andreas 6206 ED" userId="e6377c33-a923-4f14-8587-531c474c7b48" providerId="ADAL" clId="{6ECD27E6-B224-41CD-B4E0-E297462320DD}" dt="2023-11-23T19:49:54.555" v="323"/>
          <ac:spMkLst>
            <pc:docMk/>
            <pc:sldMk cId="2428257732" sldId="2147478563"/>
            <ac:spMk id="8" creationId="{9AC5E712-1E90-0EAC-E849-97A636AF4AA4}"/>
          </ac:spMkLst>
        </pc:spChg>
        <pc:spChg chg="add del mod">
          <ac:chgData name="Steiner Andreas 6206 ED" userId="e6377c33-a923-4f14-8587-531c474c7b48" providerId="ADAL" clId="{6ECD27E6-B224-41CD-B4E0-E297462320DD}" dt="2023-11-23T19:50:25.431" v="478"/>
          <ac:spMkLst>
            <pc:docMk/>
            <pc:sldMk cId="2428257732" sldId="2147478563"/>
            <ac:spMk id="9" creationId="{6B50417D-00E3-D4B1-DA70-105B3CF25F9F}"/>
          </ac:spMkLst>
        </pc:spChg>
        <pc:spChg chg="add del mod">
          <ac:chgData name="Steiner Andreas 6206 ED" userId="e6377c33-a923-4f14-8587-531c474c7b48" providerId="ADAL" clId="{6ECD27E6-B224-41CD-B4E0-E297462320DD}" dt="2023-11-23T19:50:35.219" v="633"/>
          <ac:spMkLst>
            <pc:docMk/>
            <pc:sldMk cId="2428257732" sldId="2147478563"/>
            <ac:spMk id="10" creationId="{E900CF5D-E574-5C7F-FF5C-B68DD6F91E68}"/>
          </ac:spMkLst>
        </pc:spChg>
        <pc:spChg chg="add del mod">
          <ac:chgData name="Steiner Andreas 6206 ED" userId="e6377c33-a923-4f14-8587-531c474c7b48" providerId="ADAL" clId="{6ECD27E6-B224-41CD-B4E0-E297462320DD}" dt="2023-11-23T19:50:46.883" v="788"/>
          <ac:spMkLst>
            <pc:docMk/>
            <pc:sldMk cId="2428257732" sldId="2147478563"/>
            <ac:spMk id="11" creationId="{AF87366B-98A9-12BF-0C38-81F27CFEF29F}"/>
          </ac:spMkLst>
        </pc:spChg>
        <pc:spChg chg="add del mod">
          <ac:chgData name="Steiner Andreas 6206 ED" userId="e6377c33-a923-4f14-8587-531c474c7b48" providerId="ADAL" clId="{6ECD27E6-B224-41CD-B4E0-E297462320DD}" dt="2023-11-23T19:50:58.592" v="943"/>
          <ac:spMkLst>
            <pc:docMk/>
            <pc:sldMk cId="2428257732" sldId="2147478563"/>
            <ac:spMk id="12" creationId="{F6885D29-616D-5CC4-95ED-2E536C07DB30}"/>
          </ac:spMkLst>
        </pc:spChg>
        <pc:spChg chg="add del mod">
          <ac:chgData name="Steiner Andreas 6206 ED" userId="e6377c33-a923-4f14-8587-531c474c7b48" providerId="ADAL" clId="{6ECD27E6-B224-41CD-B4E0-E297462320DD}" dt="2023-11-23T19:51:09.273" v="1098"/>
          <ac:spMkLst>
            <pc:docMk/>
            <pc:sldMk cId="2428257732" sldId="2147478563"/>
            <ac:spMk id="14" creationId="{CFCFEE7D-F15B-E0FA-92F6-D2BE6792339A}"/>
          </ac:spMkLst>
        </pc:spChg>
        <pc:spChg chg="add del mod">
          <ac:chgData name="Steiner Andreas 6206 ED" userId="e6377c33-a923-4f14-8587-531c474c7b48" providerId="ADAL" clId="{6ECD27E6-B224-41CD-B4E0-E297462320DD}" dt="2023-11-23T19:51:20.298" v="1253"/>
          <ac:spMkLst>
            <pc:docMk/>
            <pc:sldMk cId="2428257732" sldId="2147478563"/>
            <ac:spMk id="15" creationId="{4EC6A24E-6EAC-6F9E-A8EA-74C9647B6AAC}"/>
          </ac:spMkLst>
        </pc:spChg>
        <pc:spChg chg="add del mod">
          <ac:chgData name="Steiner Andreas 6206 ED" userId="e6377c33-a923-4f14-8587-531c474c7b48" providerId="ADAL" clId="{6ECD27E6-B224-41CD-B4E0-E297462320DD}" dt="2023-11-23T19:51:31.717" v="1408"/>
          <ac:spMkLst>
            <pc:docMk/>
            <pc:sldMk cId="2428257732" sldId="2147478563"/>
            <ac:spMk id="16" creationId="{94CB7C32-F7A6-DF25-ECA8-FA9DC895E5F0}"/>
          </ac:spMkLst>
        </pc:spChg>
        <pc:spChg chg="add del mod">
          <ac:chgData name="Steiner Andreas 6206 ED" userId="e6377c33-a923-4f14-8587-531c474c7b48" providerId="ADAL" clId="{6ECD27E6-B224-41CD-B4E0-E297462320DD}" dt="2023-11-23T19:51:42.399" v="1563"/>
          <ac:spMkLst>
            <pc:docMk/>
            <pc:sldMk cId="2428257732" sldId="2147478563"/>
            <ac:spMk id="17" creationId="{2C498706-DDAB-0CB0-B7F9-B45082676B9F}"/>
          </ac:spMkLst>
        </pc:spChg>
        <pc:spChg chg="add del mod">
          <ac:chgData name="Steiner Andreas 6206 ED" userId="e6377c33-a923-4f14-8587-531c474c7b48" providerId="ADAL" clId="{6ECD27E6-B224-41CD-B4E0-E297462320DD}" dt="2023-11-23T19:51:53.680" v="1718"/>
          <ac:spMkLst>
            <pc:docMk/>
            <pc:sldMk cId="2428257732" sldId="2147478563"/>
            <ac:spMk id="18" creationId="{70A0883D-9F2E-B087-4A3B-FADA839BDC85}"/>
          </ac:spMkLst>
        </pc:spChg>
        <pc:spChg chg="add del mod">
          <ac:chgData name="Steiner Andreas 6206 ED" userId="e6377c33-a923-4f14-8587-531c474c7b48" providerId="ADAL" clId="{6ECD27E6-B224-41CD-B4E0-E297462320DD}" dt="2023-11-23T19:52:05.383" v="1873"/>
          <ac:spMkLst>
            <pc:docMk/>
            <pc:sldMk cId="2428257732" sldId="2147478563"/>
            <ac:spMk id="19" creationId="{9678686A-34E6-F7DE-9A20-95A818CE9031}"/>
          </ac:spMkLst>
        </pc:spChg>
        <pc:spChg chg="add del mod">
          <ac:chgData name="Steiner Andreas 6206 ED" userId="e6377c33-a923-4f14-8587-531c474c7b48" providerId="ADAL" clId="{6ECD27E6-B224-41CD-B4E0-E297462320DD}" dt="2023-11-23T19:52:17.106" v="2028"/>
          <ac:spMkLst>
            <pc:docMk/>
            <pc:sldMk cId="2428257732" sldId="2147478563"/>
            <ac:spMk id="20" creationId="{C360F7D6-3770-C721-D146-A639518FA264}"/>
          </ac:spMkLst>
        </pc:spChg>
        <pc:spChg chg="add del mod">
          <ac:chgData name="Steiner Andreas 6206 ED" userId="e6377c33-a923-4f14-8587-531c474c7b48" providerId="ADAL" clId="{6ECD27E6-B224-41CD-B4E0-E297462320DD}" dt="2023-11-23T19:52:28.785" v="2183"/>
          <ac:spMkLst>
            <pc:docMk/>
            <pc:sldMk cId="2428257732" sldId="2147478563"/>
            <ac:spMk id="21" creationId="{CFF79501-A66C-5514-BAA3-BB5295EC8E91}"/>
          </ac:spMkLst>
        </pc:spChg>
        <pc:spChg chg="add del mod">
          <ac:chgData name="Steiner Andreas 6206 ED" userId="e6377c33-a923-4f14-8587-531c474c7b48" providerId="ADAL" clId="{6ECD27E6-B224-41CD-B4E0-E297462320DD}" dt="2023-11-23T19:52:40.472" v="2338"/>
          <ac:spMkLst>
            <pc:docMk/>
            <pc:sldMk cId="2428257732" sldId="2147478563"/>
            <ac:spMk id="22" creationId="{09DE1092-ABEA-5C7C-375C-A93EBCF300B0}"/>
          </ac:spMkLst>
        </pc:spChg>
        <pc:spChg chg="add del mod">
          <ac:chgData name="Steiner Andreas 6206 ED" userId="e6377c33-a923-4f14-8587-531c474c7b48" providerId="ADAL" clId="{6ECD27E6-B224-41CD-B4E0-E297462320DD}" dt="2023-11-23T19:52:51.815" v="2493"/>
          <ac:spMkLst>
            <pc:docMk/>
            <pc:sldMk cId="2428257732" sldId="2147478563"/>
            <ac:spMk id="23" creationId="{54E602A0-F47D-49D3-6E5B-0590873DE37C}"/>
          </ac:spMkLst>
        </pc:spChg>
        <pc:spChg chg="add del mod">
          <ac:chgData name="Steiner Andreas 6206 ED" userId="e6377c33-a923-4f14-8587-531c474c7b48" providerId="ADAL" clId="{6ECD27E6-B224-41CD-B4E0-E297462320DD}" dt="2023-11-23T19:53:03.537" v="2648"/>
          <ac:spMkLst>
            <pc:docMk/>
            <pc:sldMk cId="2428257732" sldId="2147478563"/>
            <ac:spMk id="24" creationId="{F12DEEEB-C622-E3E5-07A7-B7DAF722A58F}"/>
          </ac:spMkLst>
        </pc:spChg>
        <pc:spChg chg="add del mod">
          <ac:chgData name="Steiner Andreas 6206 ED" userId="e6377c33-a923-4f14-8587-531c474c7b48" providerId="ADAL" clId="{6ECD27E6-B224-41CD-B4E0-E297462320DD}" dt="2023-11-23T19:53:15.266" v="2803"/>
          <ac:spMkLst>
            <pc:docMk/>
            <pc:sldMk cId="2428257732" sldId="2147478563"/>
            <ac:spMk id="25" creationId="{CCCC12C0-4913-72A0-FDBB-2D780A10F53A}"/>
          </ac:spMkLst>
        </pc:spChg>
        <pc:spChg chg="add del mod">
          <ac:chgData name="Steiner Andreas 6206 ED" userId="e6377c33-a923-4f14-8587-531c474c7b48" providerId="ADAL" clId="{6ECD27E6-B224-41CD-B4E0-E297462320DD}" dt="2023-11-23T19:53:26.946" v="2958"/>
          <ac:spMkLst>
            <pc:docMk/>
            <pc:sldMk cId="2428257732" sldId="2147478563"/>
            <ac:spMk id="26" creationId="{E7270DB7-3BF6-9595-4393-9F58FE91D169}"/>
          </ac:spMkLst>
        </pc:spChg>
        <pc:spChg chg="add del mod">
          <ac:chgData name="Steiner Andreas 6206 ED" userId="e6377c33-a923-4f14-8587-531c474c7b48" providerId="ADAL" clId="{6ECD27E6-B224-41CD-B4E0-E297462320DD}" dt="2023-11-23T19:53:38.604" v="3113"/>
          <ac:spMkLst>
            <pc:docMk/>
            <pc:sldMk cId="2428257732" sldId="2147478563"/>
            <ac:spMk id="27" creationId="{FCDA7A55-364F-D53D-A7EA-12BF4B35049E}"/>
          </ac:spMkLst>
        </pc:spChg>
        <pc:spChg chg="add del mod">
          <ac:chgData name="Steiner Andreas 6206 ED" userId="e6377c33-a923-4f14-8587-531c474c7b48" providerId="ADAL" clId="{6ECD27E6-B224-41CD-B4E0-E297462320DD}" dt="2023-11-23T19:53:50.267" v="3268"/>
          <ac:spMkLst>
            <pc:docMk/>
            <pc:sldMk cId="2428257732" sldId="2147478563"/>
            <ac:spMk id="28" creationId="{C404DB2E-15FD-9E83-86D7-1B896B794193}"/>
          </ac:spMkLst>
        </pc:spChg>
        <pc:spChg chg="add del mod">
          <ac:chgData name="Steiner Andreas 6206 ED" userId="e6377c33-a923-4f14-8587-531c474c7b48" providerId="ADAL" clId="{6ECD27E6-B224-41CD-B4E0-E297462320DD}" dt="2023-11-23T19:54:01.940" v="3423"/>
          <ac:spMkLst>
            <pc:docMk/>
            <pc:sldMk cId="2428257732" sldId="2147478563"/>
            <ac:spMk id="29" creationId="{D10F8433-CE2C-4E7F-60E0-2EBF6087F324}"/>
          </ac:spMkLst>
        </pc:spChg>
        <pc:spChg chg="add del mod">
          <ac:chgData name="Steiner Andreas 6206 ED" userId="e6377c33-a923-4f14-8587-531c474c7b48" providerId="ADAL" clId="{6ECD27E6-B224-41CD-B4E0-E297462320DD}" dt="2023-11-23T19:54:13.633" v="3578"/>
          <ac:spMkLst>
            <pc:docMk/>
            <pc:sldMk cId="2428257732" sldId="2147478563"/>
            <ac:spMk id="30" creationId="{11B69116-5BB4-735A-E828-9E36D80B1CA9}"/>
          </ac:spMkLst>
        </pc:spChg>
        <pc:spChg chg="add del mod">
          <ac:chgData name="Steiner Andreas 6206 ED" userId="e6377c33-a923-4f14-8587-531c474c7b48" providerId="ADAL" clId="{6ECD27E6-B224-41CD-B4E0-E297462320DD}" dt="2023-11-23T19:54:25.291" v="3733"/>
          <ac:spMkLst>
            <pc:docMk/>
            <pc:sldMk cId="2428257732" sldId="2147478563"/>
            <ac:spMk id="31" creationId="{40CA6681-2F1B-0C24-08B6-5A3847E4F68E}"/>
          </ac:spMkLst>
        </pc:spChg>
        <pc:spChg chg="add del mod">
          <ac:chgData name="Steiner Andreas 6206 ED" userId="e6377c33-a923-4f14-8587-531c474c7b48" providerId="ADAL" clId="{6ECD27E6-B224-41CD-B4E0-E297462320DD}" dt="2023-11-23T19:54:37.014" v="3888"/>
          <ac:spMkLst>
            <pc:docMk/>
            <pc:sldMk cId="2428257732" sldId="2147478563"/>
            <ac:spMk id="32" creationId="{B4794FD5-B0A1-62E5-1780-DF8364B8A8F1}"/>
          </ac:spMkLst>
        </pc:spChg>
        <pc:spChg chg="add del mod">
          <ac:chgData name="Steiner Andreas 6206 ED" userId="e6377c33-a923-4f14-8587-531c474c7b48" providerId="ADAL" clId="{6ECD27E6-B224-41CD-B4E0-E297462320DD}" dt="2023-11-23T19:54:48.299" v="4043"/>
          <ac:spMkLst>
            <pc:docMk/>
            <pc:sldMk cId="2428257732" sldId="2147478563"/>
            <ac:spMk id="33" creationId="{75CBE6AF-2233-E10D-0A00-D173E9FEA5BB}"/>
          </ac:spMkLst>
        </pc:spChg>
        <pc:spChg chg="add del mod">
          <ac:chgData name="Steiner Andreas 6206 ED" userId="e6377c33-a923-4f14-8587-531c474c7b48" providerId="ADAL" clId="{6ECD27E6-B224-41CD-B4E0-E297462320DD}" dt="2023-11-23T19:54:59.997" v="4198"/>
          <ac:spMkLst>
            <pc:docMk/>
            <pc:sldMk cId="2428257732" sldId="2147478563"/>
            <ac:spMk id="34" creationId="{465BBAD6-0853-CE31-8B7E-A348DA5BDFFD}"/>
          </ac:spMkLst>
        </pc:spChg>
        <pc:spChg chg="add del mod">
          <ac:chgData name="Steiner Andreas 6206 ED" userId="e6377c33-a923-4f14-8587-531c474c7b48" providerId="ADAL" clId="{6ECD27E6-B224-41CD-B4E0-E297462320DD}" dt="2023-11-23T19:55:11.725" v="4353"/>
          <ac:spMkLst>
            <pc:docMk/>
            <pc:sldMk cId="2428257732" sldId="2147478563"/>
            <ac:spMk id="35" creationId="{ECDADEE9-7128-48DB-EDF0-240D68BA0AEA}"/>
          </ac:spMkLst>
        </pc:spChg>
        <pc:spChg chg="add del mod">
          <ac:chgData name="Steiner Andreas 6206 ED" userId="e6377c33-a923-4f14-8587-531c474c7b48" providerId="ADAL" clId="{6ECD27E6-B224-41CD-B4E0-E297462320DD}" dt="2023-11-23T19:55:23.398" v="4508"/>
          <ac:spMkLst>
            <pc:docMk/>
            <pc:sldMk cId="2428257732" sldId="2147478563"/>
            <ac:spMk id="36" creationId="{A63710C0-07BF-2B48-03E8-6020BED9B0A1}"/>
          </ac:spMkLst>
        </pc:spChg>
        <pc:spChg chg="add del mod">
          <ac:chgData name="Steiner Andreas 6206 ED" userId="e6377c33-a923-4f14-8587-531c474c7b48" providerId="ADAL" clId="{6ECD27E6-B224-41CD-B4E0-E297462320DD}" dt="2023-11-23T19:55:35.064" v="4663"/>
          <ac:spMkLst>
            <pc:docMk/>
            <pc:sldMk cId="2428257732" sldId="2147478563"/>
            <ac:spMk id="37" creationId="{B53C87E2-BBD1-7D42-926A-D83386CAAB02}"/>
          </ac:spMkLst>
        </pc:spChg>
        <pc:spChg chg="add del mod">
          <ac:chgData name="Steiner Andreas 6206 ED" userId="e6377c33-a923-4f14-8587-531c474c7b48" providerId="ADAL" clId="{6ECD27E6-B224-41CD-B4E0-E297462320DD}" dt="2023-11-23T19:55:46.331" v="4818"/>
          <ac:spMkLst>
            <pc:docMk/>
            <pc:sldMk cId="2428257732" sldId="2147478563"/>
            <ac:spMk id="38" creationId="{036FD315-DF59-DD86-42D7-CF77A65AFE68}"/>
          </ac:spMkLst>
        </pc:spChg>
        <pc:spChg chg="add del mod">
          <ac:chgData name="Steiner Andreas 6206 ED" userId="e6377c33-a923-4f14-8587-531c474c7b48" providerId="ADAL" clId="{6ECD27E6-B224-41CD-B4E0-E297462320DD}" dt="2023-11-23T19:55:58.039" v="4973"/>
          <ac:spMkLst>
            <pc:docMk/>
            <pc:sldMk cId="2428257732" sldId="2147478563"/>
            <ac:spMk id="39" creationId="{67628E08-FD54-80FA-DBAA-AE7A17B2B461}"/>
          </ac:spMkLst>
        </pc:spChg>
        <pc:spChg chg="add del mod">
          <ac:chgData name="Steiner Andreas 6206 ED" userId="e6377c33-a923-4f14-8587-531c474c7b48" providerId="ADAL" clId="{6ECD27E6-B224-41CD-B4E0-E297462320DD}" dt="2023-11-23T19:56:09.719" v="5128"/>
          <ac:spMkLst>
            <pc:docMk/>
            <pc:sldMk cId="2428257732" sldId="2147478563"/>
            <ac:spMk id="40" creationId="{672B2E86-D7E3-93CD-D86A-CC840E8E3E9F}"/>
          </ac:spMkLst>
        </pc:spChg>
        <pc:spChg chg="add del mod">
          <ac:chgData name="Steiner Andreas 6206 ED" userId="e6377c33-a923-4f14-8587-531c474c7b48" providerId="ADAL" clId="{6ECD27E6-B224-41CD-B4E0-E297462320DD}" dt="2023-11-23T19:56:21.407" v="5283"/>
          <ac:spMkLst>
            <pc:docMk/>
            <pc:sldMk cId="2428257732" sldId="2147478563"/>
            <ac:spMk id="41" creationId="{CBC05005-6AB9-DFDC-7160-8E546128FE5C}"/>
          </ac:spMkLst>
        </pc:spChg>
        <pc:spChg chg="add del mod">
          <ac:chgData name="Steiner Andreas 6206 ED" userId="e6377c33-a923-4f14-8587-531c474c7b48" providerId="ADAL" clId="{6ECD27E6-B224-41CD-B4E0-E297462320DD}" dt="2023-11-23T19:56:33.089" v="5438"/>
          <ac:spMkLst>
            <pc:docMk/>
            <pc:sldMk cId="2428257732" sldId="2147478563"/>
            <ac:spMk id="42" creationId="{1E6EBBAA-AF23-B733-6D8D-6B57FA345EBD}"/>
          </ac:spMkLst>
        </pc:spChg>
        <pc:spChg chg="add del mod">
          <ac:chgData name="Steiner Andreas 6206 ED" userId="e6377c33-a923-4f14-8587-531c474c7b48" providerId="ADAL" clId="{6ECD27E6-B224-41CD-B4E0-E297462320DD}" dt="2023-11-23T19:56:44.412" v="5593"/>
          <ac:spMkLst>
            <pc:docMk/>
            <pc:sldMk cId="2428257732" sldId="2147478563"/>
            <ac:spMk id="43" creationId="{0B1B3799-8BCA-F54C-3254-54C8DE400E05}"/>
          </ac:spMkLst>
        </pc:spChg>
        <pc:spChg chg="add del mod">
          <ac:chgData name="Steiner Andreas 6206 ED" userId="e6377c33-a923-4f14-8587-531c474c7b48" providerId="ADAL" clId="{6ECD27E6-B224-41CD-B4E0-E297462320DD}" dt="2023-11-23T19:56:54.828" v="5748"/>
          <ac:spMkLst>
            <pc:docMk/>
            <pc:sldMk cId="2428257732" sldId="2147478563"/>
            <ac:spMk id="44" creationId="{4F62EA82-31C8-D3CE-B96E-922036162004}"/>
          </ac:spMkLst>
        </pc:spChg>
        <pc:spChg chg="add del mod">
          <ac:chgData name="Steiner Andreas 6206 ED" userId="e6377c33-a923-4f14-8587-531c474c7b48" providerId="ADAL" clId="{6ECD27E6-B224-41CD-B4E0-E297462320DD}" dt="2023-11-23T19:57:06.290" v="5903"/>
          <ac:spMkLst>
            <pc:docMk/>
            <pc:sldMk cId="2428257732" sldId="2147478563"/>
            <ac:spMk id="45" creationId="{24F46EF3-6BEC-7E49-BF8A-93A7F18FDC17}"/>
          </ac:spMkLst>
        </pc:spChg>
        <pc:spChg chg="add del mod">
          <ac:chgData name="Steiner Andreas 6206 ED" userId="e6377c33-a923-4f14-8587-531c474c7b48" providerId="ADAL" clId="{6ECD27E6-B224-41CD-B4E0-E297462320DD}" dt="2023-11-23T19:57:17.995" v="6058"/>
          <ac:spMkLst>
            <pc:docMk/>
            <pc:sldMk cId="2428257732" sldId="2147478563"/>
            <ac:spMk id="46" creationId="{312DDD29-17B5-4CD0-3D22-11084F85B7C0}"/>
          </ac:spMkLst>
        </pc:spChg>
        <pc:spChg chg="add del mod">
          <ac:chgData name="Steiner Andreas 6206 ED" userId="e6377c33-a923-4f14-8587-531c474c7b48" providerId="ADAL" clId="{6ECD27E6-B224-41CD-B4E0-E297462320DD}" dt="2023-11-23T19:57:29.393" v="6213"/>
          <ac:spMkLst>
            <pc:docMk/>
            <pc:sldMk cId="2428257732" sldId="2147478563"/>
            <ac:spMk id="47" creationId="{3392B0CC-B727-38FB-0E26-693BEDED77FB}"/>
          </ac:spMkLst>
        </pc:spChg>
        <pc:spChg chg="add del mod">
          <ac:chgData name="Steiner Andreas 6206 ED" userId="e6377c33-a923-4f14-8587-531c474c7b48" providerId="ADAL" clId="{6ECD27E6-B224-41CD-B4E0-E297462320DD}" dt="2023-11-23T19:57:41.060" v="6368"/>
          <ac:spMkLst>
            <pc:docMk/>
            <pc:sldMk cId="2428257732" sldId="2147478563"/>
            <ac:spMk id="48" creationId="{C8DAD53D-D537-C4E3-3506-76FAF5441443}"/>
          </ac:spMkLst>
        </pc:spChg>
        <pc:spChg chg="add del mod">
          <ac:chgData name="Steiner Andreas 6206 ED" userId="e6377c33-a923-4f14-8587-531c474c7b48" providerId="ADAL" clId="{6ECD27E6-B224-41CD-B4E0-E297462320DD}" dt="2023-11-23T19:57:52.725" v="6523"/>
          <ac:spMkLst>
            <pc:docMk/>
            <pc:sldMk cId="2428257732" sldId="2147478563"/>
            <ac:spMk id="49" creationId="{04CE4536-0FB7-83FF-2A05-0C09E34D377E}"/>
          </ac:spMkLst>
        </pc:spChg>
        <pc:spChg chg="add del mod">
          <ac:chgData name="Steiner Andreas 6206 ED" userId="e6377c33-a923-4f14-8587-531c474c7b48" providerId="ADAL" clId="{6ECD27E6-B224-41CD-B4E0-E297462320DD}" dt="2023-11-23T19:58:04.439" v="6678"/>
          <ac:spMkLst>
            <pc:docMk/>
            <pc:sldMk cId="2428257732" sldId="2147478563"/>
            <ac:spMk id="50" creationId="{DBA083D6-3F6E-FC19-7642-EFF580EF73EE}"/>
          </ac:spMkLst>
        </pc:spChg>
        <pc:spChg chg="add del mod">
          <ac:chgData name="Steiner Andreas 6206 ED" userId="e6377c33-a923-4f14-8587-531c474c7b48" providerId="ADAL" clId="{6ECD27E6-B224-41CD-B4E0-E297462320DD}" dt="2023-11-23T19:58:15.789" v="6833"/>
          <ac:spMkLst>
            <pc:docMk/>
            <pc:sldMk cId="2428257732" sldId="2147478563"/>
            <ac:spMk id="51" creationId="{CA1B088D-5244-7DAC-E38B-763D71F3F1C2}"/>
          </ac:spMkLst>
        </pc:spChg>
        <pc:spChg chg="add del mod">
          <ac:chgData name="Steiner Andreas 6206 ED" userId="e6377c33-a923-4f14-8587-531c474c7b48" providerId="ADAL" clId="{6ECD27E6-B224-41CD-B4E0-E297462320DD}" dt="2023-11-23T19:58:27.958" v="6988"/>
          <ac:spMkLst>
            <pc:docMk/>
            <pc:sldMk cId="2428257732" sldId="2147478563"/>
            <ac:spMk id="52" creationId="{B3BE897B-F122-8EF6-BAA5-DF12803F2052}"/>
          </ac:spMkLst>
        </pc:spChg>
        <pc:spChg chg="add del mod">
          <ac:chgData name="Steiner Andreas 6206 ED" userId="e6377c33-a923-4f14-8587-531c474c7b48" providerId="ADAL" clId="{6ECD27E6-B224-41CD-B4E0-E297462320DD}" dt="2023-11-23T19:58:39.689" v="7143"/>
          <ac:spMkLst>
            <pc:docMk/>
            <pc:sldMk cId="2428257732" sldId="2147478563"/>
            <ac:spMk id="53" creationId="{FDCC4FB7-09EF-C1F3-EF1B-68AC3ED91A57}"/>
          </ac:spMkLst>
        </pc:spChg>
        <pc:spChg chg="add del mod">
          <ac:chgData name="Steiner Andreas 6206 ED" userId="e6377c33-a923-4f14-8587-531c474c7b48" providerId="ADAL" clId="{6ECD27E6-B224-41CD-B4E0-E297462320DD}" dt="2023-11-23T19:58:51.380" v="7298"/>
          <ac:spMkLst>
            <pc:docMk/>
            <pc:sldMk cId="2428257732" sldId="2147478563"/>
            <ac:spMk id="54" creationId="{6C47DEEB-18E7-5179-5F19-94714AD3A747}"/>
          </ac:spMkLst>
        </pc:spChg>
        <pc:spChg chg="add del mod">
          <ac:chgData name="Steiner Andreas 6206 ED" userId="e6377c33-a923-4f14-8587-531c474c7b48" providerId="ADAL" clId="{6ECD27E6-B224-41CD-B4E0-E297462320DD}" dt="2023-11-23T19:59:02.704" v="7453"/>
          <ac:spMkLst>
            <pc:docMk/>
            <pc:sldMk cId="2428257732" sldId="2147478563"/>
            <ac:spMk id="55" creationId="{1A330A9D-0AB0-D061-2EAB-12C88F782949}"/>
          </ac:spMkLst>
        </pc:spChg>
        <pc:spChg chg="add del mod">
          <ac:chgData name="Steiner Andreas 6206 ED" userId="e6377c33-a923-4f14-8587-531c474c7b48" providerId="ADAL" clId="{6ECD27E6-B224-41CD-B4E0-E297462320DD}" dt="2023-11-24T08:31:41.611" v="7608"/>
          <ac:spMkLst>
            <pc:docMk/>
            <pc:sldMk cId="2428257732" sldId="2147478563"/>
            <ac:spMk id="56" creationId="{75561F00-3A51-7630-525F-8E11DAECF138}"/>
          </ac:spMkLst>
        </pc:spChg>
        <pc:spChg chg="add del mod">
          <ac:chgData name="Steiner Andreas 6206 ED" userId="e6377c33-a923-4f14-8587-531c474c7b48" providerId="ADAL" clId="{6ECD27E6-B224-41CD-B4E0-E297462320DD}" dt="2023-11-24T08:31:45.294" v="7763"/>
          <ac:spMkLst>
            <pc:docMk/>
            <pc:sldMk cId="2428257732" sldId="2147478563"/>
            <ac:spMk id="57" creationId="{27540F0F-FAF3-A81D-A141-7515BB3D9F2A}"/>
          </ac:spMkLst>
        </pc:spChg>
        <pc:spChg chg="add del mod">
          <ac:chgData name="Steiner Andreas 6206 ED" userId="e6377c33-a923-4f14-8587-531c474c7b48" providerId="ADAL" clId="{6ECD27E6-B224-41CD-B4E0-E297462320DD}" dt="2023-11-24T08:31:47.127" v="7918"/>
          <ac:spMkLst>
            <pc:docMk/>
            <pc:sldMk cId="2428257732" sldId="2147478563"/>
            <ac:spMk id="58" creationId="{DA57F9B2-E77D-FE77-CA0D-CBE2AC5A41EB}"/>
          </ac:spMkLst>
        </pc:spChg>
        <pc:spChg chg="add del mod">
          <ac:chgData name="Steiner Andreas 6206 ED" userId="e6377c33-a923-4f14-8587-531c474c7b48" providerId="ADAL" clId="{6ECD27E6-B224-41CD-B4E0-E297462320DD}" dt="2023-11-24T08:31:49.019" v="8073"/>
          <ac:spMkLst>
            <pc:docMk/>
            <pc:sldMk cId="2428257732" sldId="2147478563"/>
            <ac:spMk id="59" creationId="{5F6B59C0-4AAD-D77F-C397-21D8476E40C8}"/>
          </ac:spMkLst>
        </pc:spChg>
        <pc:spChg chg="add del mod">
          <ac:chgData name="Steiner Andreas 6206 ED" userId="e6377c33-a923-4f14-8587-531c474c7b48" providerId="ADAL" clId="{6ECD27E6-B224-41CD-B4E0-E297462320DD}" dt="2023-11-24T08:31:50.852" v="8228"/>
          <ac:spMkLst>
            <pc:docMk/>
            <pc:sldMk cId="2428257732" sldId="2147478563"/>
            <ac:spMk id="60" creationId="{044897D5-9A9E-2AD9-74F8-E9D9CE1E6A34}"/>
          </ac:spMkLst>
        </pc:spChg>
        <pc:spChg chg="add del mod">
          <ac:chgData name="Steiner Andreas 6206 ED" userId="e6377c33-a923-4f14-8587-531c474c7b48" providerId="ADAL" clId="{6ECD27E6-B224-41CD-B4E0-E297462320DD}" dt="2023-11-24T08:31:52.668" v="8383"/>
          <ac:spMkLst>
            <pc:docMk/>
            <pc:sldMk cId="2428257732" sldId="2147478563"/>
            <ac:spMk id="61" creationId="{9B64C908-A141-8985-35C4-B718E8F5EDB9}"/>
          </ac:spMkLst>
        </pc:spChg>
        <pc:spChg chg="add del mod">
          <ac:chgData name="Steiner Andreas 6206 ED" userId="e6377c33-a923-4f14-8587-531c474c7b48" providerId="ADAL" clId="{6ECD27E6-B224-41CD-B4E0-E297462320DD}" dt="2023-11-24T08:31:54.458" v="8538"/>
          <ac:spMkLst>
            <pc:docMk/>
            <pc:sldMk cId="2428257732" sldId="2147478563"/>
            <ac:spMk id="62" creationId="{35D2703D-2286-0E90-F5D4-9986A4EB2E8B}"/>
          </ac:spMkLst>
        </pc:spChg>
        <pc:spChg chg="add del mod">
          <ac:chgData name="Steiner Andreas 6206 ED" userId="e6377c33-a923-4f14-8587-531c474c7b48" providerId="ADAL" clId="{6ECD27E6-B224-41CD-B4E0-E297462320DD}" dt="2023-11-24T08:31:56.302" v="8693"/>
          <ac:spMkLst>
            <pc:docMk/>
            <pc:sldMk cId="2428257732" sldId="2147478563"/>
            <ac:spMk id="63" creationId="{4D712566-1215-9653-380A-F2B4A7323006}"/>
          </ac:spMkLst>
        </pc:spChg>
        <pc:spChg chg="add del mod">
          <ac:chgData name="Steiner Andreas 6206 ED" userId="e6377c33-a923-4f14-8587-531c474c7b48" providerId="ADAL" clId="{6ECD27E6-B224-41CD-B4E0-E297462320DD}" dt="2023-11-24T08:31:58.199" v="8848"/>
          <ac:spMkLst>
            <pc:docMk/>
            <pc:sldMk cId="2428257732" sldId="2147478563"/>
            <ac:spMk id="64" creationId="{E465B874-2A52-19F4-9EF4-43B1BB56E409}"/>
          </ac:spMkLst>
        </pc:spChg>
        <pc:spChg chg="add del mod">
          <ac:chgData name="Steiner Andreas 6206 ED" userId="e6377c33-a923-4f14-8587-531c474c7b48" providerId="ADAL" clId="{6ECD27E6-B224-41CD-B4E0-E297462320DD}" dt="2023-11-24T08:32:01.004" v="9003"/>
          <ac:spMkLst>
            <pc:docMk/>
            <pc:sldMk cId="2428257732" sldId="2147478563"/>
            <ac:spMk id="65" creationId="{184FB9BD-6683-9FB4-5683-717D5D708FCA}"/>
          </ac:spMkLst>
        </pc:spChg>
        <pc:spChg chg="add del mod">
          <ac:chgData name="Steiner Andreas 6206 ED" userId="e6377c33-a923-4f14-8587-531c474c7b48" providerId="ADAL" clId="{6ECD27E6-B224-41CD-B4E0-E297462320DD}" dt="2023-11-24T08:32:03.287" v="9158"/>
          <ac:spMkLst>
            <pc:docMk/>
            <pc:sldMk cId="2428257732" sldId="2147478563"/>
            <ac:spMk id="66" creationId="{97545A90-6AA3-1B1B-EE95-3D8354BA6256}"/>
          </ac:spMkLst>
        </pc:spChg>
        <pc:spChg chg="add del mod">
          <ac:chgData name="Steiner Andreas 6206 ED" userId="e6377c33-a923-4f14-8587-531c474c7b48" providerId="ADAL" clId="{6ECD27E6-B224-41CD-B4E0-E297462320DD}" dt="2023-11-24T08:32:05.300" v="9313"/>
          <ac:spMkLst>
            <pc:docMk/>
            <pc:sldMk cId="2428257732" sldId="2147478563"/>
            <ac:spMk id="67" creationId="{FCFEABA5-18FB-8712-2D13-CA96804AFDD1}"/>
          </ac:spMkLst>
        </pc:spChg>
        <pc:spChg chg="add del mod">
          <ac:chgData name="Steiner Andreas 6206 ED" userId="e6377c33-a923-4f14-8587-531c474c7b48" providerId="ADAL" clId="{6ECD27E6-B224-41CD-B4E0-E297462320DD}" dt="2023-11-24T08:32:07.255" v="9468"/>
          <ac:spMkLst>
            <pc:docMk/>
            <pc:sldMk cId="2428257732" sldId="2147478563"/>
            <ac:spMk id="68" creationId="{4817CA35-4D0E-D2A5-838D-CDED46430E86}"/>
          </ac:spMkLst>
        </pc:spChg>
        <pc:spChg chg="add del mod">
          <ac:chgData name="Steiner Andreas 6206 ED" userId="e6377c33-a923-4f14-8587-531c474c7b48" providerId="ADAL" clId="{6ECD27E6-B224-41CD-B4E0-E297462320DD}" dt="2023-11-24T08:32:09.592" v="9623"/>
          <ac:spMkLst>
            <pc:docMk/>
            <pc:sldMk cId="2428257732" sldId="2147478563"/>
            <ac:spMk id="69" creationId="{B6E075D2-996C-E9B4-1D7B-F76B4EE312A6}"/>
          </ac:spMkLst>
        </pc:spChg>
        <pc:spChg chg="add del mod">
          <ac:chgData name="Steiner Andreas 6206 ED" userId="e6377c33-a923-4f14-8587-531c474c7b48" providerId="ADAL" clId="{6ECD27E6-B224-41CD-B4E0-E297462320DD}" dt="2023-11-24T08:32:11.902" v="9778"/>
          <ac:spMkLst>
            <pc:docMk/>
            <pc:sldMk cId="2428257732" sldId="2147478563"/>
            <ac:spMk id="70" creationId="{EF232896-9C01-69FB-ADB3-59DC73C74B90}"/>
          </ac:spMkLst>
        </pc:spChg>
        <pc:spChg chg="add del mod">
          <ac:chgData name="Steiner Andreas 6206 ED" userId="e6377c33-a923-4f14-8587-531c474c7b48" providerId="ADAL" clId="{6ECD27E6-B224-41CD-B4E0-E297462320DD}" dt="2023-11-24T08:32:14.049" v="9933"/>
          <ac:spMkLst>
            <pc:docMk/>
            <pc:sldMk cId="2428257732" sldId="2147478563"/>
            <ac:spMk id="71" creationId="{FE9F4509-0BB0-F032-CC55-6390D8FCED03}"/>
          </ac:spMkLst>
        </pc:spChg>
        <pc:spChg chg="add del mod">
          <ac:chgData name="Steiner Andreas 6206 ED" userId="e6377c33-a923-4f14-8587-531c474c7b48" providerId="ADAL" clId="{6ECD27E6-B224-41CD-B4E0-E297462320DD}" dt="2023-11-24T08:32:15.989" v="10088"/>
          <ac:spMkLst>
            <pc:docMk/>
            <pc:sldMk cId="2428257732" sldId="2147478563"/>
            <ac:spMk id="72" creationId="{9818C634-74BA-D68B-5041-A9A66F294B66}"/>
          </ac:spMkLst>
        </pc:spChg>
        <pc:spChg chg="add del mod">
          <ac:chgData name="Steiner Andreas 6206 ED" userId="e6377c33-a923-4f14-8587-531c474c7b48" providerId="ADAL" clId="{6ECD27E6-B224-41CD-B4E0-E297462320DD}" dt="2023-11-24T08:32:17.979" v="10243"/>
          <ac:spMkLst>
            <pc:docMk/>
            <pc:sldMk cId="2428257732" sldId="2147478563"/>
            <ac:spMk id="73" creationId="{173AB52E-DBE7-36E6-DBD6-F0CE6212B2A1}"/>
          </ac:spMkLst>
        </pc:spChg>
        <pc:spChg chg="add del mod">
          <ac:chgData name="Steiner Andreas 6206 ED" userId="e6377c33-a923-4f14-8587-531c474c7b48" providerId="ADAL" clId="{6ECD27E6-B224-41CD-B4E0-E297462320DD}" dt="2023-11-24T08:32:19.958" v="10398"/>
          <ac:spMkLst>
            <pc:docMk/>
            <pc:sldMk cId="2428257732" sldId="2147478563"/>
            <ac:spMk id="74" creationId="{97B183C3-3E90-F07B-4776-A076FBE250BE}"/>
          </ac:spMkLst>
        </pc:spChg>
        <pc:spChg chg="add del mod">
          <ac:chgData name="Steiner Andreas 6206 ED" userId="e6377c33-a923-4f14-8587-531c474c7b48" providerId="ADAL" clId="{6ECD27E6-B224-41CD-B4E0-E297462320DD}" dt="2023-11-24T08:32:21.900" v="10553"/>
          <ac:spMkLst>
            <pc:docMk/>
            <pc:sldMk cId="2428257732" sldId="2147478563"/>
            <ac:spMk id="75" creationId="{6D0DD37C-99A8-467A-578D-61E9BB1B895A}"/>
          </ac:spMkLst>
        </pc:spChg>
        <pc:spChg chg="add del mod">
          <ac:chgData name="Steiner Andreas 6206 ED" userId="e6377c33-a923-4f14-8587-531c474c7b48" providerId="ADAL" clId="{6ECD27E6-B224-41CD-B4E0-E297462320DD}" dt="2023-11-24T08:32:24.092" v="10708"/>
          <ac:spMkLst>
            <pc:docMk/>
            <pc:sldMk cId="2428257732" sldId="2147478563"/>
            <ac:spMk id="76" creationId="{057069FB-E101-3309-6026-DC7E74270D20}"/>
          </ac:spMkLst>
        </pc:spChg>
        <pc:spChg chg="add del mod">
          <ac:chgData name="Steiner Andreas 6206 ED" userId="e6377c33-a923-4f14-8587-531c474c7b48" providerId="ADAL" clId="{6ECD27E6-B224-41CD-B4E0-E297462320DD}" dt="2023-11-24T08:32:26.029" v="10863"/>
          <ac:spMkLst>
            <pc:docMk/>
            <pc:sldMk cId="2428257732" sldId="2147478563"/>
            <ac:spMk id="77" creationId="{8851ECBA-FE07-6A2A-7011-1B0B88C690DA}"/>
          </ac:spMkLst>
        </pc:spChg>
        <pc:spChg chg="add del mod">
          <ac:chgData name="Steiner Andreas 6206 ED" userId="e6377c33-a923-4f14-8587-531c474c7b48" providerId="ADAL" clId="{6ECD27E6-B224-41CD-B4E0-E297462320DD}" dt="2023-11-24T08:32:28.027" v="11018"/>
          <ac:spMkLst>
            <pc:docMk/>
            <pc:sldMk cId="2428257732" sldId="2147478563"/>
            <ac:spMk id="78" creationId="{5DB3AEC3-587A-879F-D757-5C4B34FBD445}"/>
          </ac:spMkLst>
        </pc:spChg>
        <pc:spChg chg="add del mod">
          <ac:chgData name="Steiner Andreas 6206 ED" userId="e6377c33-a923-4f14-8587-531c474c7b48" providerId="ADAL" clId="{6ECD27E6-B224-41CD-B4E0-E297462320DD}" dt="2023-11-24T08:32:29.919" v="11173"/>
          <ac:spMkLst>
            <pc:docMk/>
            <pc:sldMk cId="2428257732" sldId="2147478563"/>
            <ac:spMk id="79" creationId="{113AC389-6945-64E6-06D8-F3E70BAE8B3A}"/>
          </ac:spMkLst>
        </pc:spChg>
        <pc:spChg chg="add del mod">
          <ac:chgData name="Steiner Andreas 6206 ED" userId="e6377c33-a923-4f14-8587-531c474c7b48" providerId="ADAL" clId="{6ECD27E6-B224-41CD-B4E0-E297462320DD}" dt="2023-11-24T08:32:32.064" v="11328"/>
          <ac:spMkLst>
            <pc:docMk/>
            <pc:sldMk cId="2428257732" sldId="2147478563"/>
            <ac:spMk id="80" creationId="{7F6FAAF5-E01D-1A8C-3BF6-00C9166BA7EA}"/>
          </ac:spMkLst>
        </pc:spChg>
        <pc:spChg chg="add del mod">
          <ac:chgData name="Steiner Andreas 6206 ED" userId="e6377c33-a923-4f14-8587-531c474c7b48" providerId="ADAL" clId="{6ECD27E6-B224-41CD-B4E0-E297462320DD}" dt="2023-11-24T08:32:34.484" v="11483"/>
          <ac:spMkLst>
            <pc:docMk/>
            <pc:sldMk cId="2428257732" sldId="2147478563"/>
            <ac:spMk id="81" creationId="{D98E4D3A-5407-7981-8D87-08457124876C}"/>
          </ac:spMkLst>
        </pc:spChg>
        <pc:spChg chg="add del mod">
          <ac:chgData name="Steiner Andreas 6206 ED" userId="e6377c33-a923-4f14-8587-531c474c7b48" providerId="ADAL" clId="{6ECD27E6-B224-41CD-B4E0-E297462320DD}" dt="2023-11-24T08:32:36.775" v="11638"/>
          <ac:spMkLst>
            <pc:docMk/>
            <pc:sldMk cId="2428257732" sldId="2147478563"/>
            <ac:spMk id="82" creationId="{14EBF37F-629B-54BE-EA12-0BA5C1DBEFFD}"/>
          </ac:spMkLst>
        </pc:spChg>
        <pc:spChg chg="add del mod">
          <ac:chgData name="Steiner Andreas 6206 ED" userId="e6377c33-a923-4f14-8587-531c474c7b48" providerId="ADAL" clId="{6ECD27E6-B224-41CD-B4E0-E297462320DD}" dt="2023-11-24T08:32:38.698" v="11793"/>
          <ac:spMkLst>
            <pc:docMk/>
            <pc:sldMk cId="2428257732" sldId="2147478563"/>
            <ac:spMk id="83" creationId="{6EA4EFC6-4007-83A1-E1FD-86E0355207A3}"/>
          </ac:spMkLst>
        </pc:spChg>
        <pc:spChg chg="add del mod">
          <ac:chgData name="Steiner Andreas 6206 ED" userId="e6377c33-a923-4f14-8587-531c474c7b48" providerId="ADAL" clId="{6ECD27E6-B224-41CD-B4E0-E297462320DD}" dt="2023-11-24T08:32:40.816" v="11948"/>
          <ac:spMkLst>
            <pc:docMk/>
            <pc:sldMk cId="2428257732" sldId="2147478563"/>
            <ac:spMk id="84" creationId="{432AFFDB-10D7-38F6-634E-F61831703BBB}"/>
          </ac:spMkLst>
        </pc:spChg>
        <pc:spChg chg="add del mod">
          <ac:chgData name="Steiner Andreas 6206 ED" userId="e6377c33-a923-4f14-8587-531c474c7b48" providerId="ADAL" clId="{6ECD27E6-B224-41CD-B4E0-E297462320DD}" dt="2023-11-24T08:32:42.977" v="12103"/>
          <ac:spMkLst>
            <pc:docMk/>
            <pc:sldMk cId="2428257732" sldId="2147478563"/>
            <ac:spMk id="85" creationId="{0D735133-47F2-DD85-7599-B15357380FDB}"/>
          </ac:spMkLst>
        </pc:spChg>
        <pc:spChg chg="add del mod">
          <ac:chgData name="Steiner Andreas 6206 ED" userId="e6377c33-a923-4f14-8587-531c474c7b48" providerId="ADAL" clId="{6ECD27E6-B224-41CD-B4E0-E297462320DD}" dt="2023-11-24T08:32:45.105" v="12258"/>
          <ac:spMkLst>
            <pc:docMk/>
            <pc:sldMk cId="2428257732" sldId="2147478563"/>
            <ac:spMk id="86" creationId="{45B66545-7C93-23DF-75F5-B2334268C32F}"/>
          </ac:spMkLst>
        </pc:spChg>
        <pc:spChg chg="add del mod">
          <ac:chgData name="Steiner Andreas 6206 ED" userId="e6377c33-a923-4f14-8587-531c474c7b48" providerId="ADAL" clId="{6ECD27E6-B224-41CD-B4E0-E297462320DD}" dt="2023-11-24T08:32:47.299" v="12413"/>
          <ac:spMkLst>
            <pc:docMk/>
            <pc:sldMk cId="2428257732" sldId="2147478563"/>
            <ac:spMk id="87" creationId="{B36E619A-31E7-A39D-AA01-4FFD0E8F492E}"/>
          </ac:spMkLst>
        </pc:spChg>
        <pc:spChg chg="add del mod">
          <ac:chgData name="Steiner Andreas 6206 ED" userId="e6377c33-a923-4f14-8587-531c474c7b48" providerId="ADAL" clId="{6ECD27E6-B224-41CD-B4E0-E297462320DD}" dt="2023-11-24T08:32:49.353" v="12568"/>
          <ac:spMkLst>
            <pc:docMk/>
            <pc:sldMk cId="2428257732" sldId="2147478563"/>
            <ac:spMk id="88" creationId="{46CBF56C-822B-C122-23D1-45C4F725A82F}"/>
          </ac:spMkLst>
        </pc:spChg>
        <pc:spChg chg="add del mod">
          <ac:chgData name="Steiner Andreas 6206 ED" userId="e6377c33-a923-4f14-8587-531c474c7b48" providerId="ADAL" clId="{6ECD27E6-B224-41CD-B4E0-E297462320DD}" dt="2023-11-24T08:32:51.291" v="12723"/>
          <ac:spMkLst>
            <pc:docMk/>
            <pc:sldMk cId="2428257732" sldId="2147478563"/>
            <ac:spMk id="89" creationId="{9A4890CA-E992-DACE-24F2-9F7FF05658B6}"/>
          </ac:spMkLst>
        </pc:spChg>
        <pc:spChg chg="add del mod">
          <ac:chgData name="Steiner Andreas 6206 ED" userId="e6377c33-a923-4f14-8587-531c474c7b48" providerId="ADAL" clId="{6ECD27E6-B224-41CD-B4E0-E297462320DD}" dt="2023-11-24T08:32:53.297" v="12878"/>
          <ac:spMkLst>
            <pc:docMk/>
            <pc:sldMk cId="2428257732" sldId="2147478563"/>
            <ac:spMk id="90" creationId="{396E2B51-8AA6-EE17-3ABE-18FC9B7E8EAC}"/>
          </ac:spMkLst>
        </pc:spChg>
        <pc:spChg chg="add del mod">
          <ac:chgData name="Steiner Andreas 6206 ED" userId="e6377c33-a923-4f14-8587-531c474c7b48" providerId="ADAL" clId="{6ECD27E6-B224-41CD-B4E0-E297462320DD}" dt="2023-11-24T08:32:55.291" v="13033"/>
          <ac:spMkLst>
            <pc:docMk/>
            <pc:sldMk cId="2428257732" sldId="2147478563"/>
            <ac:spMk id="91" creationId="{62C4728C-1A1F-4AD5-7B1E-2EEF252B64FF}"/>
          </ac:spMkLst>
        </pc:spChg>
        <pc:spChg chg="add del mod">
          <ac:chgData name="Steiner Andreas 6206 ED" userId="e6377c33-a923-4f14-8587-531c474c7b48" providerId="ADAL" clId="{6ECD27E6-B224-41CD-B4E0-E297462320DD}" dt="2023-11-24T08:32:57.218" v="13188"/>
          <ac:spMkLst>
            <pc:docMk/>
            <pc:sldMk cId="2428257732" sldId="2147478563"/>
            <ac:spMk id="92" creationId="{12554A4D-BA60-54CF-9976-800E2DF3295C}"/>
          </ac:spMkLst>
        </pc:spChg>
        <pc:spChg chg="add del mod">
          <ac:chgData name="Steiner Andreas 6206 ED" userId="e6377c33-a923-4f14-8587-531c474c7b48" providerId="ADAL" clId="{6ECD27E6-B224-41CD-B4E0-E297462320DD}" dt="2023-11-24T08:32:59.322" v="13343"/>
          <ac:spMkLst>
            <pc:docMk/>
            <pc:sldMk cId="2428257732" sldId="2147478563"/>
            <ac:spMk id="93" creationId="{DDA89626-D701-8ACF-1550-53CC65A6B813}"/>
          </ac:spMkLst>
        </pc:spChg>
        <pc:spChg chg="add del mod">
          <ac:chgData name="Steiner Andreas 6206 ED" userId="e6377c33-a923-4f14-8587-531c474c7b48" providerId="ADAL" clId="{6ECD27E6-B224-41CD-B4E0-E297462320DD}" dt="2023-11-24T08:33:01.474" v="13498"/>
          <ac:spMkLst>
            <pc:docMk/>
            <pc:sldMk cId="2428257732" sldId="2147478563"/>
            <ac:spMk id="94" creationId="{56F902D2-C281-3B5A-85C7-BEDC19552D56}"/>
          </ac:spMkLst>
        </pc:spChg>
        <pc:spChg chg="add del mod">
          <ac:chgData name="Steiner Andreas 6206 ED" userId="e6377c33-a923-4f14-8587-531c474c7b48" providerId="ADAL" clId="{6ECD27E6-B224-41CD-B4E0-E297462320DD}" dt="2023-11-24T08:33:03.812" v="13653"/>
          <ac:spMkLst>
            <pc:docMk/>
            <pc:sldMk cId="2428257732" sldId="2147478563"/>
            <ac:spMk id="95" creationId="{3FF01745-5AA7-4A7D-CC5E-81A6644FF42B}"/>
          </ac:spMkLst>
        </pc:spChg>
        <pc:spChg chg="add del mod">
          <ac:chgData name="Steiner Andreas 6206 ED" userId="e6377c33-a923-4f14-8587-531c474c7b48" providerId="ADAL" clId="{6ECD27E6-B224-41CD-B4E0-E297462320DD}" dt="2023-11-24T08:33:06.193" v="13808"/>
          <ac:spMkLst>
            <pc:docMk/>
            <pc:sldMk cId="2428257732" sldId="2147478563"/>
            <ac:spMk id="96" creationId="{03D252A8-41EE-882D-B4EE-A1EE8C709955}"/>
          </ac:spMkLst>
        </pc:spChg>
        <pc:spChg chg="add del mod">
          <ac:chgData name="Steiner Andreas 6206 ED" userId="e6377c33-a923-4f14-8587-531c474c7b48" providerId="ADAL" clId="{6ECD27E6-B224-41CD-B4E0-E297462320DD}" dt="2023-11-24T08:33:08.425" v="13963"/>
          <ac:spMkLst>
            <pc:docMk/>
            <pc:sldMk cId="2428257732" sldId="2147478563"/>
            <ac:spMk id="97" creationId="{D76A0C76-2BAB-7A3A-8FC0-B22728426EB2}"/>
          </ac:spMkLst>
        </pc:spChg>
        <pc:spChg chg="add del mod">
          <ac:chgData name="Steiner Andreas 6206 ED" userId="e6377c33-a923-4f14-8587-531c474c7b48" providerId="ADAL" clId="{6ECD27E6-B224-41CD-B4E0-E297462320DD}" dt="2023-11-24T08:33:10.840" v="14118"/>
          <ac:spMkLst>
            <pc:docMk/>
            <pc:sldMk cId="2428257732" sldId="2147478563"/>
            <ac:spMk id="98" creationId="{CA260B98-04B7-FEB1-DB47-A0DAFEC0877C}"/>
          </ac:spMkLst>
        </pc:spChg>
        <pc:spChg chg="add del mod">
          <ac:chgData name="Steiner Andreas 6206 ED" userId="e6377c33-a923-4f14-8587-531c474c7b48" providerId="ADAL" clId="{6ECD27E6-B224-41CD-B4E0-E297462320DD}" dt="2023-11-24T08:33:12.784" v="14273"/>
          <ac:spMkLst>
            <pc:docMk/>
            <pc:sldMk cId="2428257732" sldId="2147478563"/>
            <ac:spMk id="99" creationId="{8954E680-4D59-679B-C847-6ABC13D4B1E7}"/>
          </ac:spMkLst>
        </pc:spChg>
        <pc:spChg chg="add del mod">
          <ac:chgData name="Steiner Andreas 6206 ED" userId="e6377c33-a923-4f14-8587-531c474c7b48" providerId="ADAL" clId="{6ECD27E6-B224-41CD-B4E0-E297462320DD}" dt="2023-11-24T08:33:14.671" v="14428"/>
          <ac:spMkLst>
            <pc:docMk/>
            <pc:sldMk cId="2428257732" sldId="2147478563"/>
            <ac:spMk id="100" creationId="{9D26A1E9-2F66-C853-AFF9-F2BBA4D3AB24}"/>
          </ac:spMkLst>
        </pc:spChg>
        <pc:spChg chg="add del mod">
          <ac:chgData name="Steiner Andreas 6206 ED" userId="e6377c33-a923-4f14-8587-531c474c7b48" providerId="ADAL" clId="{6ECD27E6-B224-41CD-B4E0-E297462320DD}" dt="2023-11-24T08:33:16.706" v="14583"/>
          <ac:spMkLst>
            <pc:docMk/>
            <pc:sldMk cId="2428257732" sldId="2147478563"/>
            <ac:spMk id="101" creationId="{5AE146C4-B2D8-E3FB-C693-6B2D0499F424}"/>
          </ac:spMkLst>
        </pc:spChg>
        <pc:spChg chg="add del mod">
          <ac:chgData name="Steiner Andreas 6206 ED" userId="e6377c33-a923-4f14-8587-531c474c7b48" providerId="ADAL" clId="{6ECD27E6-B224-41CD-B4E0-E297462320DD}" dt="2023-11-24T08:33:19.018" v="14738"/>
          <ac:spMkLst>
            <pc:docMk/>
            <pc:sldMk cId="2428257732" sldId="2147478563"/>
            <ac:spMk id="102" creationId="{2051E28F-FD21-E35C-AF5E-B169570F273A}"/>
          </ac:spMkLst>
        </pc:spChg>
        <pc:spChg chg="add del mod">
          <ac:chgData name="Steiner Andreas 6206 ED" userId="e6377c33-a923-4f14-8587-531c474c7b48" providerId="ADAL" clId="{6ECD27E6-B224-41CD-B4E0-E297462320DD}" dt="2023-11-24T08:33:21.509" v="14893"/>
          <ac:spMkLst>
            <pc:docMk/>
            <pc:sldMk cId="2428257732" sldId="2147478563"/>
            <ac:spMk id="103" creationId="{64C4F16E-12FB-8187-B2C1-C9ED73427ED8}"/>
          </ac:spMkLst>
        </pc:spChg>
        <pc:spChg chg="add del mod">
          <ac:chgData name="Steiner Andreas 6206 ED" userId="e6377c33-a923-4f14-8587-531c474c7b48" providerId="ADAL" clId="{6ECD27E6-B224-41CD-B4E0-E297462320DD}" dt="2023-11-24T08:33:23.822" v="15048"/>
          <ac:spMkLst>
            <pc:docMk/>
            <pc:sldMk cId="2428257732" sldId="2147478563"/>
            <ac:spMk id="104" creationId="{343BF2B5-156C-86CB-91F8-33512C4571D0}"/>
          </ac:spMkLst>
        </pc:spChg>
        <pc:spChg chg="add del mod">
          <ac:chgData name="Steiner Andreas 6206 ED" userId="e6377c33-a923-4f14-8587-531c474c7b48" providerId="ADAL" clId="{6ECD27E6-B224-41CD-B4E0-E297462320DD}" dt="2023-11-24T08:33:26.161" v="15203"/>
          <ac:spMkLst>
            <pc:docMk/>
            <pc:sldMk cId="2428257732" sldId="2147478563"/>
            <ac:spMk id="105" creationId="{5E980FC9-5E54-6BE0-A2FE-949EAA68A798}"/>
          </ac:spMkLst>
        </pc:spChg>
        <pc:spChg chg="add del mod">
          <ac:chgData name="Steiner Andreas 6206 ED" userId="e6377c33-a923-4f14-8587-531c474c7b48" providerId="ADAL" clId="{6ECD27E6-B224-41CD-B4E0-E297462320DD}" dt="2023-11-24T08:33:28.510" v="15358"/>
          <ac:spMkLst>
            <pc:docMk/>
            <pc:sldMk cId="2428257732" sldId="2147478563"/>
            <ac:spMk id="106" creationId="{1104642D-090D-8367-5888-88E0D4CCEBDD}"/>
          </ac:spMkLst>
        </pc:spChg>
        <pc:spChg chg="add del mod">
          <ac:chgData name="Steiner Andreas 6206 ED" userId="e6377c33-a923-4f14-8587-531c474c7b48" providerId="ADAL" clId="{6ECD27E6-B224-41CD-B4E0-E297462320DD}" dt="2023-11-24T08:33:30.963" v="15513"/>
          <ac:spMkLst>
            <pc:docMk/>
            <pc:sldMk cId="2428257732" sldId="2147478563"/>
            <ac:spMk id="107" creationId="{56A23398-F566-FFC6-D377-3E105552F1D3}"/>
          </ac:spMkLst>
        </pc:spChg>
        <pc:spChg chg="add del mod">
          <ac:chgData name="Steiner Andreas 6206 ED" userId="e6377c33-a923-4f14-8587-531c474c7b48" providerId="ADAL" clId="{6ECD27E6-B224-41CD-B4E0-E297462320DD}" dt="2023-11-24T08:33:33.703" v="15668"/>
          <ac:spMkLst>
            <pc:docMk/>
            <pc:sldMk cId="2428257732" sldId="2147478563"/>
            <ac:spMk id="108" creationId="{ADE3284D-A7F6-A6DC-42A1-3F6FA20C0B82}"/>
          </ac:spMkLst>
        </pc:spChg>
        <pc:spChg chg="add del mod">
          <ac:chgData name="Steiner Andreas 6206 ED" userId="e6377c33-a923-4f14-8587-531c474c7b48" providerId="ADAL" clId="{6ECD27E6-B224-41CD-B4E0-E297462320DD}" dt="2023-11-24T08:33:35.993" v="15823"/>
          <ac:spMkLst>
            <pc:docMk/>
            <pc:sldMk cId="2428257732" sldId="2147478563"/>
            <ac:spMk id="109" creationId="{5BD025FD-F5F8-68C2-351B-45F90AAD1973}"/>
          </ac:spMkLst>
        </pc:spChg>
        <pc:spChg chg="add del mod">
          <ac:chgData name="Steiner Andreas 6206 ED" userId="e6377c33-a923-4f14-8587-531c474c7b48" providerId="ADAL" clId="{6ECD27E6-B224-41CD-B4E0-E297462320DD}" dt="2023-11-24T08:33:38.103" v="15978"/>
          <ac:spMkLst>
            <pc:docMk/>
            <pc:sldMk cId="2428257732" sldId="2147478563"/>
            <ac:spMk id="110" creationId="{A4D90A7C-5B30-780A-D97F-F998D4EE03A3}"/>
          </ac:spMkLst>
        </pc:spChg>
        <pc:spChg chg="add del mod">
          <ac:chgData name="Steiner Andreas 6206 ED" userId="e6377c33-a923-4f14-8587-531c474c7b48" providerId="ADAL" clId="{6ECD27E6-B224-41CD-B4E0-E297462320DD}" dt="2023-11-24T08:33:40.550" v="16133"/>
          <ac:spMkLst>
            <pc:docMk/>
            <pc:sldMk cId="2428257732" sldId="2147478563"/>
            <ac:spMk id="111" creationId="{FE8C440D-3FB1-77C6-6A34-43D3D81F6F27}"/>
          </ac:spMkLst>
        </pc:spChg>
        <pc:spChg chg="add del mod">
          <ac:chgData name="Steiner Andreas 6206 ED" userId="e6377c33-a923-4f14-8587-531c474c7b48" providerId="ADAL" clId="{6ECD27E6-B224-41CD-B4E0-E297462320DD}" dt="2023-11-24T08:33:43.229" v="16288"/>
          <ac:spMkLst>
            <pc:docMk/>
            <pc:sldMk cId="2428257732" sldId="2147478563"/>
            <ac:spMk id="112" creationId="{10FC18C0-79A7-1043-E819-E13E5224DBF4}"/>
          </ac:spMkLst>
        </pc:spChg>
        <pc:spChg chg="add del mod">
          <ac:chgData name="Steiner Andreas 6206 ED" userId="e6377c33-a923-4f14-8587-531c474c7b48" providerId="ADAL" clId="{6ECD27E6-B224-41CD-B4E0-E297462320DD}" dt="2023-11-24T08:33:45.635" v="16443"/>
          <ac:spMkLst>
            <pc:docMk/>
            <pc:sldMk cId="2428257732" sldId="2147478563"/>
            <ac:spMk id="113" creationId="{458EB77D-CF6E-2F15-6403-AF6E4F95FC2A}"/>
          </ac:spMkLst>
        </pc:spChg>
        <pc:spChg chg="add del mod">
          <ac:chgData name="Steiner Andreas 6206 ED" userId="e6377c33-a923-4f14-8587-531c474c7b48" providerId="ADAL" clId="{6ECD27E6-B224-41CD-B4E0-E297462320DD}" dt="2023-11-24T08:33:47.824" v="16598"/>
          <ac:spMkLst>
            <pc:docMk/>
            <pc:sldMk cId="2428257732" sldId="2147478563"/>
            <ac:spMk id="114" creationId="{9517711B-681D-1B50-79A5-889991142147}"/>
          </ac:spMkLst>
        </pc:spChg>
        <pc:spChg chg="add del mod">
          <ac:chgData name="Steiner Andreas 6206 ED" userId="e6377c33-a923-4f14-8587-531c474c7b48" providerId="ADAL" clId="{6ECD27E6-B224-41CD-B4E0-E297462320DD}" dt="2023-11-24T08:33:50.632" v="16753"/>
          <ac:spMkLst>
            <pc:docMk/>
            <pc:sldMk cId="2428257732" sldId="2147478563"/>
            <ac:spMk id="115" creationId="{D04E6129-1D34-59BD-4DEA-B8DE6D1E5BD3}"/>
          </ac:spMkLst>
        </pc:spChg>
        <pc:spChg chg="add del mod">
          <ac:chgData name="Steiner Andreas 6206 ED" userId="e6377c33-a923-4f14-8587-531c474c7b48" providerId="ADAL" clId="{6ECD27E6-B224-41CD-B4E0-E297462320DD}" dt="2023-11-24T08:33:52.963" v="16908"/>
          <ac:spMkLst>
            <pc:docMk/>
            <pc:sldMk cId="2428257732" sldId="2147478563"/>
            <ac:spMk id="116" creationId="{492FC8DA-7462-D13E-DA45-C306E47B743B}"/>
          </ac:spMkLst>
        </pc:spChg>
        <pc:spChg chg="add del mod">
          <ac:chgData name="Steiner Andreas 6206 ED" userId="e6377c33-a923-4f14-8587-531c474c7b48" providerId="ADAL" clId="{6ECD27E6-B224-41CD-B4E0-E297462320DD}" dt="2023-11-24T08:33:55.127" v="17063"/>
          <ac:spMkLst>
            <pc:docMk/>
            <pc:sldMk cId="2428257732" sldId="2147478563"/>
            <ac:spMk id="117" creationId="{454CBB47-6FF3-6544-A71F-065C34A1B972}"/>
          </ac:spMkLst>
        </pc:spChg>
        <pc:spChg chg="add del mod">
          <ac:chgData name="Steiner Andreas 6206 ED" userId="e6377c33-a923-4f14-8587-531c474c7b48" providerId="ADAL" clId="{6ECD27E6-B224-41CD-B4E0-E297462320DD}" dt="2023-11-24T08:33:57.510" v="17218"/>
          <ac:spMkLst>
            <pc:docMk/>
            <pc:sldMk cId="2428257732" sldId="2147478563"/>
            <ac:spMk id="118" creationId="{3B607031-D569-6ED5-8579-06C1919AA2F5}"/>
          </ac:spMkLst>
        </pc:spChg>
        <pc:spChg chg="add del mod">
          <ac:chgData name="Steiner Andreas 6206 ED" userId="e6377c33-a923-4f14-8587-531c474c7b48" providerId="ADAL" clId="{6ECD27E6-B224-41CD-B4E0-E297462320DD}" dt="2023-11-24T08:33:59.941" v="17373"/>
          <ac:spMkLst>
            <pc:docMk/>
            <pc:sldMk cId="2428257732" sldId="2147478563"/>
            <ac:spMk id="119" creationId="{FC5E65A8-88B0-4AC3-5D94-9ED996033826}"/>
          </ac:spMkLst>
        </pc:spChg>
        <pc:spChg chg="add del mod">
          <ac:chgData name="Steiner Andreas 6206 ED" userId="e6377c33-a923-4f14-8587-531c474c7b48" providerId="ADAL" clId="{6ECD27E6-B224-41CD-B4E0-E297462320DD}" dt="2023-11-24T08:34:02.026" v="17528"/>
          <ac:spMkLst>
            <pc:docMk/>
            <pc:sldMk cId="2428257732" sldId="2147478563"/>
            <ac:spMk id="120" creationId="{E3D760AA-AAE9-C64B-18B2-4D41453E9AD4}"/>
          </ac:spMkLst>
        </pc:spChg>
        <pc:spChg chg="add del mod">
          <ac:chgData name="Steiner Andreas 6206 ED" userId="e6377c33-a923-4f14-8587-531c474c7b48" providerId="ADAL" clId="{6ECD27E6-B224-41CD-B4E0-E297462320DD}" dt="2023-11-24T08:34:04.289" v="17683"/>
          <ac:spMkLst>
            <pc:docMk/>
            <pc:sldMk cId="2428257732" sldId="2147478563"/>
            <ac:spMk id="121" creationId="{EB28BF2F-033B-EA92-CA1C-F4B5B0206EDE}"/>
          </ac:spMkLst>
        </pc:spChg>
        <pc:spChg chg="add del mod">
          <ac:chgData name="Steiner Andreas 6206 ED" userId="e6377c33-a923-4f14-8587-531c474c7b48" providerId="ADAL" clId="{6ECD27E6-B224-41CD-B4E0-E297462320DD}" dt="2023-11-24T08:34:06.177" v="17838"/>
          <ac:spMkLst>
            <pc:docMk/>
            <pc:sldMk cId="2428257732" sldId="2147478563"/>
            <ac:spMk id="122" creationId="{063476C9-FD4A-8499-E725-4A6DD6E51D37}"/>
          </ac:spMkLst>
        </pc:spChg>
        <pc:spChg chg="add del mod">
          <ac:chgData name="Steiner Andreas 6206 ED" userId="e6377c33-a923-4f14-8587-531c474c7b48" providerId="ADAL" clId="{6ECD27E6-B224-41CD-B4E0-E297462320DD}" dt="2023-11-24T08:34:08.260" v="17993"/>
          <ac:spMkLst>
            <pc:docMk/>
            <pc:sldMk cId="2428257732" sldId="2147478563"/>
            <ac:spMk id="123" creationId="{898853C4-C017-E8FB-58CE-456809CC6858}"/>
          </ac:spMkLst>
        </pc:spChg>
        <pc:spChg chg="add del mod">
          <ac:chgData name="Steiner Andreas 6206 ED" userId="e6377c33-a923-4f14-8587-531c474c7b48" providerId="ADAL" clId="{6ECD27E6-B224-41CD-B4E0-E297462320DD}" dt="2023-11-24T08:34:10.203" v="18148"/>
          <ac:spMkLst>
            <pc:docMk/>
            <pc:sldMk cId="2428257732" sldId="2147478563"/>
            <ac:spMk id="124" creationId="{B904112E-34F3-FF46-F7AC-B6D97D43F762}"/>
          </ac:spMkLst>
        </pc:spChg>
        <pc:spChg chg="add del mod">
          <ac:chgData name="Steiner Andreas 6206 ED" userId="e6377c33-a923-4f14-8587-531c474c7b48" providerId="ADAL" clId="{6ECD27E6-B224-41CD-B4E0-E297462320DD}" dt="2023-11-24T08:34:12.344" v="18303"/>
          <ac:spMkLst>
            <pc:docMk/>
            <pc:sldMk cId="2428257732" sldId="2147478563"/>
            <ac:spMk id="125" creationId="{3C08A014-CAA6-321C-5856-C5D8025CE8FF}"/>
          </ac:spMkLst>
        </pc:spChg>
        <pc:spChg chg="add del mod">
          <ac:chgData name="Steiner Andreas 6206 ED" userId="e6377c33-a923-4f14-8587-531c474c7b48" providerId="ADAL" clId="{6ECD27E6-B224-41CD-B4E0-E297462320DD}" dt="2023-11-24T08:34:14.659" v="18458"/>
          <ac:spMkLst>
            <pc:docMk/>
            <pc:sldMk cId="2428257732" sldId="2147478563"/>
            <ac:spMk id="126" creationId="{1E187EB1-D344-90B4-5537-BB56233C2457}"/>
          </ac:spMkLst>
        </pc:spChg>
        <pc:spChg chg="add del mod">
          <ac:chgData name="Steiner Andreas 6206 ED" userId="e6377c33-a923-4f14-8587-531c474c7b48" providerId="ADAL" clId="{6ECD27E6-B224-41CD-B4E0-E297462320DD}" dt="2023-11-24T08:34:16.662" v="18613"/>
          <ac:spMkLst>
            <pc:docMk/>
            <pc:sldMk cId="2428257732" sldId="2147478563"/>
            <ac:spMk id="127" creationId="{6C4CB426-192A-1B14-BB2F-29BC85EE71D9}"/>
          </ac:spMkLst>
        </pc:spChg>
        <pc:spChg chg="add del mod">
          <ac:chgData name="Steiner Andreas 6206 ED" userId="e6377c33-a923-4f14-8587-531c474c7b48" providerId="ADAL" clId="{6ECD27E6-B224-41CD-B4E0-E297462320DD}" dt="2023-11-24T08:34:18.936" v="18768"/>
          <ac:spMkLst>
            <pc:docMk/>
            <pc:sldMk cId="2428257732" sldId="2147478563"/>
            <ac:spMk id="128" creationId="{1873B43A-227B-5693-B566-0693C60ECDF5}"/>
          </ac:spMkLst>
        </pc:spChg>
        <pc:spChg chg="add del mod">
          <ac:chgData name="Steiner Andreas 6206 ED" userId="e6377c33-a923-4f14-8587-531c474c7b48" providerId="ADAL" clId="{6ECD27E6-B224-41CD-B4E0-E297462320DD}" dt="2023-11-24T08:34:20.972" v="18923"/>
          <ac:spMkLst>
            <pc:docMk/>
            <pc:sldMk cId="2428257732" sldId="2147478563"/>
            <ac:spMk id="129" creationId="{A14F803A-DF9A-9D00-AF43-5D47ABA6ECC1}"/>
          </ac:spMkLst>
        </pc:spChg>
        <pc:spChg chg="add del mod">
          <ac:chgData name="Steiner Andreas 6206 ED" userId="e6377c33-a923-4f14-8587-531c474c7b48" providerId="ADAL" clId="{6ECD27E6-B224-41CD-B4E0-E297462320DD}" dt="2023-11-24T08:34:23.102" v="19078"/>
          <ac:spMkLst>
            <pc:docMk/>
            <pc:sldMk cId="2428257732" sldId="2147478563"/>
            <ac:spMk id="130" creationId="{803FA25D-EE6C-AFD7-8A17-3C81E9115B9F}"/>
          </ac:spMkLst>
        </pc:spChg>
        <pc:spChg chg="add del mod">
          <ac:chgData name="Steiner Andreas 6206 ED" userId="e6377c33-a923-4f14-8587-531c474c7b48" providerId="ADAL" clId="{6ECD27E6-B224-41CD-B4E0-E297462320DD}" dt="2023-11-24T08:34:26.424" v="19233"/>
          <ac:spMkLst>
            <pc:docMk/>
            <pc:sldMk cId="2428257732" sldId="2147478563"/>
            <ac:spMk id="131" creationId="{D9061EED-99ED-6602-1B84-165D90D9801F}"/>
          </ac:spMkLst>
        </pc:spChg>
        <pc:spChg chg="add del mod">
          <ac:chgData name="Steiner Andreas 6206 ED" userId="e6377c33-a923-4f14-8587-531c474c7b48" providerId="ADAL" clId="{6ECD27E6-B224-41CD-B4E0-E297462320DD}" dt="2023-11-24T08:34:29.075" v="19388"/>
          <ac:spMkLst>
            <pc:docMk/>
            <pc:sldMk cId="2428257732" sldId="2147478563"/>
            <ac:spMk id="132" creationId="{E0DA39AF-FC24-48E2-9B52-F79B503902B5}"/>
          </ac:spMkLst>
        </pc:spChg>
        <pc:spChg chg="add del mod">
          <ac:chgData name="Steiner Andreas 6206 ED" userId="e6377c33-a923-4f14-8587-531c474c7b48" providerId="ADAL" clId="{6ECD27E6-B224-41CD-B4E0-E297462320DD}" dt="2023-11-24T08:34:31.675" v="19543"/>
          <ac:spMkLst>
            <pc:docMk/>
            <pc:sldMk cId="2428257732" sldId="2147478563"/>
            <ac:spMk id="133" creationId="{EAFA066F-2967-2010-D49C-439433CF2284}"/>
          </ac:spMkLst>
        </pc:spChg>
        <pc:spChg chg="add del mod">
          <ac:chgData name="Steiner Andreas 6206 ED" userId="e6377c33-a923-4f14-8587-531c474c7b48" providerId="ADAL" clId="{6ECD27E6-B224-41CD-B4E0-E297462320DD}" dt="2023-11-24T08:34:33.886" v="19698"/>
          <ac:spMkLst>
            <pc:docMk/>
            <pc:sldMk cId="2428257732" sldId="2147478563"/>
            <ac:spMk id="134" creationId="{739E1635-57F4-1D76-7AC8-F07944BFAFBB}"/>
          </ac:spMkLst>
        </pc:spChg>
        <pc:spChg chg="add del mod">
          <ac:chgData name="Steiner Andreas 6206 ED" userId="e6377c33-a923-4f14-8587-531c474c7b48" providerId="ADAL" clId="{6ECD27E6-B224-41CD-B4E0-E297462320DD}" dt="2023-11-24T08:34:36.138" v="19853"/>
          <ac:spMkLst>
            <pc:docMk/>
            <pc:sldMk cId="2428257732" sldId="2147478563"/>
            <ac:spMk id="135" creationId="{B0173FFA-EF4C-B5C1-AB1F-CB47304290B7}"/>
          </ac:spMkLst>
        </pc:spChg>
        <pc:spChg chg="add del mod">
          <ac:chgData name="Steiner Andreas 6206 ED" userId="e6377c33-a923-4f14-8587-531c474c7b48" providerId="ADAL" clId="{6ECD27E6-B224-41CD-B4E0-E297462320DD}" dt="2023-11-24T08:34:38.369" v="20008"/>
          <ac:spMkLst>
            <pc:docMk/>
            <pc:sldMk cId="2428257732" sldId="2147478563"/>
            <ac:spMk id="136" creationId="{684A3B45-8316-5E32-A915-36B674607CEA}"/>
          </ac:spMkLst>
        </pc:spChg>
        <pc:spChg chg="add del mod">
          <ac:chgData name="Steiner Andreas 6206 ED" userId="e6377c33-a923-4f14-8587-531c474c7b48" providerId="ADAL" clId="{6ECD27E6-B224-41CD-B4E0-E297462320DD}" dt="2023-11-24T08:34:40.754" v="20163"/>
          <ac:spMkLst>
            <pc:docMk/>
            <pc:sldMk cId="2428257732" sldId="2147478563"/>
            <ac:spMk id="137" creationId="{01F9DA12-D010-3ABD-51FB-271A1613B523}"/>
          </ac:spMkLst>
        </pc:spChg>
        <pc:spChg chg="add del mod">
          <ac:chgData name="Steiner Andreas 6206 ED" userId="e6377c33-a923-4f14-8587-531c474c7b48" providerId="ADAL" clId="{6ECD27E6-B224-41CD-B4E0-E297462320DD}" dt="2023-11-24T08:34:43.425" v="20318"/>
          <ac:spMkLst>
            <pc:docMk/>
            <pc:sldMk cId="2428257732" sldId="2147478563"/>
            <ac:spMk id="138" creationId="{94669921-61CE-5B0E-15D5-4F4380FF6A4C}"/>
          </ac:spMkLst>
        </pc:spChg>
        <pc:spChg chg="add del mod">
          <ac:chgData name="Steiner Andreas 6206 ED" userId="e6377c33-a923-4f14-8587-531c474c7b48" providerId="ADAL" clId="{6ECD27E6-B224-41CD-B4E0-E297462320DD}" dt="2023-11-24T08:34:45.787" v="20473"/>
          <ac:spMkLst>
            <pc:docMk/>
            <pc:sldMk cId="2428257732" sldId="2147478563"/>
            <ac:spMk id="139" creationId="{89B6B0CD-CDD3-7295-7B04-CBCF9DB96976}"/>
          </ac:spMkLst>
        </pc:spChg>
        <pc:spChg chg="add del mod">
          <ac:chgData name="Steiner Andreas 6206 ED" userId="e6377c33-a923-4f14-8587-531c474c7b48" providerId="ADAL" clId="{6ECD27E6-B224-41CD-B4E0-E297462320DD}" dt="2023-11-24T08:34:47.994" v="20628"/>
          <ac:spMkLst>
            <pc:docMk/>
            <pc:sldMk cId="2428257732" sldId="2147478563"/>
            <ac:spMk id="140" creationId="{B561EEA0-3693-C8B3-1466-0292AC92D426}"/>
          </ac:spMkLst>
        </pc:spChg>
        <pc:spChg chg="add del mod">
          <ac:chgData name="Steiner Andreas 6206 ED" userId="e6377c33-a923-4f14-8587-531c474c7b48" providerId="ADAL" clId="{6ECD27E6-B224-41CD-B4E0-E297462320DD}" dt="2023-11-24T08:34:50.459" v="20783"/>
          <ac:spMkLst>
            <pc:docMk/>
            <pc:sldMk cId="2428257732" sldId="2147478563"/>
            <ac:spMk id="141" creationId="{51B8A966-8CB8-6EAB-A771-AAD679B53000}"/>
          </ac:spMkLst>
        </pc:spChg>
        <pc:spChg chg="add del mod">
          <ac:chgData name="Steiner Andreas 6206 ED" userId="e6377c33-a923-4f14-8587-531c474c7b48" providerId="ADAL" clId="{6ECD27E6-B224-41CD-B4E0-E297462320DD}" dt="2023-11-24T08:34:53.057" v="20938"/>
          <ac:spMkLst>
            <pc:docMk/>
            <pc:sldMk cId="2428257732" sldId="2147478563"/>
            <ac:spMk id="142" creationId="{38517523-3409-8877-C343-A75358CD2380}"/>
          </ac:spMkLst>
        </pc:spChg>
        <pc:spChg chg="add del mod">
          <ac:chgData name="Steiner Andreas 6206 ED" userId="e6377c33-a923-4f14-8587-531c474c7b48" providerId="ADAL" clId="{6ECD27E6-B224-41CD-B4E0-E297462320DD}" dt="2023-11-24T08:34:55.460" v="21093"/>
          <ac:spMkLst>
            <pc:docMk/>
            <pc:sldMk cId="2428257732" sldId="2147478563"/>
            <ac:spMk id="143" creationId="{0CB0FAEC-B6DE-EFDA-812B-758CB643CCF0}"/>
          </ac:spMkLst>
        </pc:spChg>
        <pc:spChg chg="add del mod">
          <ac:chgData name="Steiner Andreas 6206 ED" userId="e6377c33-a923-4f14-8587-531c474c7b48" providerId="ADAL" clId="{6ECD27E6-B224-41CD-B4E0-E297462320DD}" dt="2023-11-24T08:34:57.865" v="21248"/>
          <ac:spMkLst>
            <pc:docMk/>
            <pc:sldMk cId="2428257732" sldId="2147478563"/>
            <ac:spMk id="144" creationId="{6C74B043-F0C8-6764-4E86-AE8A26D85130}"/>
          </ac:spMkLst>
        </pc:spChg>
        <pc:spChg chg="add del mod">
          <ac:chgData name="Steiner Andreas 6206 ED" userId="e6377c33-a923-4f14-8587-531c474c7b48" providerId="ADAL" clId="{6ECD27E6-B224-41CD-B4E0-E297462320DD}" dt="2023-11-24T08:35:00.446" v="21403"/>
          <ac:spMkLst>
            <pc:docMk/>
            <pc:sldMk cId="2428257732" sldId="2147478563"/>
            <ac:spMk id="145" creationId="{791B0A8C-E625-0E4C-989D-430D94C8A063}"/>
          </ac:spMkLst>
        </pc:spChg>
        <pc:spChg chg="add del mod">
          <ac:chgData name="Steiner Andreas 6206 ED" userId="e6377c33-a923-4f14-8587-531c474c7b48" providerId="ADAL" clId="{6ECD27E6-B224-41CD-B4E0-E297462320DD}" dt="2023-11-24T08:35:02.935" v="21558"/>
          <ac:spMkLst>
            <pc:docMk/>
            <pc:sldMk cId="2428257732" sldId="2147478563"/>
            <ac:spMk id="146" creationId="{1ABB3DDA-B07B-82C9-F783-87383DC6903F}"/>
          </ac:spMkLst>
        </pc:spChg>
        <pc:spChg chg="add del mod">
          <ac:chgData name="Steiner Andreas 6206 ED" userId="e6377c33-a923-4f14-8587-531c474c7b48" providerId="ADAL" clId="{6ECD27E6-B224-41CD-B4E0-E297462320DD}" dt="2023-11-24T08:35:05.438" v="21713"/>
          <ac:spMkLst>
            <pc:docMk/>
            <pc:sldMk cId="2428257732" sldId="2147478563"/>
            <ac:spMk id="147" creationId="{8D9F1E43-D3E4-1198-7C36-A0A8936AA9F9}"/>
          </ac:spMkLst>
        </pc:spChg>
        <pc:spChg chg="add del mod">
          <ac:chgData name="Steiner Andreas 6206 ED" userId="e6377c33-a923-4f14-8587-531c474c7b48" providerId="ADAL" clId="{6ECD27E6-B224-41CD-B4E0-E297462320DD}" dt="2023-11-24T08:35:07.965" v="21868"/>
          <ac:spMkLst>
            <pc:docMk/>
            <pc:sldMk cId="2428257732" sldId="2147478563"/>
            <ac:spMk id="148" creationId="{5BEB5DAF-0A50-C82E-AA70-390C140E6F08}"/>
          </ac:spMkLst>
        </pc:spChg>
        <pc:spChg chg="add del mod">
          <ac:chgData name="Steiner Andreas 6206 ED" userId="e6377c33-a923-4f14-8587-531c474c7b48" providerId="ADAL" clId="{6ECD27E6-B224-41CD-B4E0-E297462320DD}" dt="2023-11-24T08:35:10.432" v="22023"/>
          <ac:spMkLst>
            <pc:docMk/>
            <pc:sldMk cId="2428257732" sldId="2147478563"/>
            <ac:spMk id="149" creationId="{B49C59F2-DDFD-7210-1B80-CC297D75DD14}"/>
          </ac:spMkLst>
        </pc:spChg>
        <pc:spChg chg="add del mod">
          <ac:chgData name="Steiner Andreas 6206 ED" userId="e6377c33-a923-4f14-8587-531c474c7b48" providerId="ADAL" clId="{6ECD27E6-B224-41CD-B4E0-E297462320DD}" dt="2023-11-24T08:35:12.891" v="22178"/>
          <ac:spMkLst>
            <pc:docMk/>
            <pc:sldMk cId="2428257732" sldId="2147478563"/>
            <ac:spMk id="150" creationId="{A0B57838-4272-2802-331C-070489329CAE}"/>
          </ac:spMkLst>
        </pc:spChg>
        <pc:spChg chg="add del mod">
          <ac:chgData name="Steiner Andreas 6206 ED" userId="e6377c33-a923-4f14-8587-531c474c7b48" providerId="ADAL" clId="{6ECD27E6-B224-41CD-B4E0-E297462320DD}" dt="2023-11-24T08:35:15.003" v="22333"/>
          <ac:spMkLst>
            <pc:docMk/>
            <pc:sldMk cId="2428257732" sldId="2147478563"/>
            <ac:spMk id="151" creationId="{322AECD0-A6D9-3860-EE81-5B15FE5A8656}"/>
          </ac:spMkLst>
        </pc:spChg>
        <pc:spChg chg="add del mod">
          <ac:chgData name="Steiner Andreas 6206 ED" userId="e6377c33-a923-4f14-8587-531c474c7b48" providerId="ADAL" clId="{6ECD27E6-B224-41CD-B4E0-E297462320DD}" dt="2023-11-24T08:35:17.454" v="22488"/>
          <ac:spMkLst>
            <pc:docMk/>
            <pc:sldMk cId="2428257732" sldId="2147478563"/>
            <ac:spMk id="152" creationId="{240B2EC8-A220-B012-D99C-AFBFE61DB05B}"/>
          </ac:spMkLst>
        </pc:spChg>
        <pc:spChg chg="add del mod">
          <ac:chgData name="Steiner Andreas 6206 ED" userId="e6377c33-a923-4f14-8587-531c474c7b48" providerId="ADAL" clId="{6ECD27E6-B224-41CD-B4E0-E297462320DD}" dt="2023-11-24T08:35:19.842" v="22643"/>
          <ac:spMkLst>
            <pc:docMk/>
            <pc:sldMk cId="2428257732" sldId="2147478563"/>
            <ac:spMk id="153" creationId="{43F60699-F5F3-CEEB-B5CB-06EA012A1700}"/>
          </ac:spMkLst>
        </pc:spChg>
        <pc:spChg chg="add del mod">
          <ac:chgData name="Steiner Andreas 6206 ED" userId="e6377c33-a923-4f14-8587-531c474c7b48" providerId="ADAL" clId="{6ECD27E6-B224-41CD-B4E0-E297462320DD}" dt="2023-11-24T08:35:22.247" v="22798"/>
          <ac:spMkLst>
            <pc:docMk/>
            <pc:sldMk cId="2428257732" sldId="2147478563"/>
            <ac:spMk id="154" creationId="{BA515D1C-258D-E24B-9884-BFCA9102EAE8}"/>
          </ac:spMkLst>
        </pc:spChg>
        <pc:spChg chg="add del mod">
          <ac:chgData name="Steiner Andreas 6206 ED" userId="e6377c33-a923-4f14-8587-531c474c7b48" providerId="ADAL" clId="{6ECD27E6-B224-41CD-B4E0-E297462320DD}" dt="2023-11-24T08:35:24.648" v="22953"/>
          <ac:spMkLst>
            <pc:docMk/>
            <pc:sldMk cId="2428257732" sldId="2147478563"/>
            <ac:spMk id="155" creationId="{251D67B6-3F42-741F-742C-9785906B9E59}"/>
          </ac:spMkLst>
        </pc:spChg>
        <pc:spChg chg="add del mod">
          <ac:chgData name="Steiner Andreas 6206 ED" userId="e6377c33-a923-4f14-8587-531c474c7b48" providerId="ADAL" clId="{6ECD27E6-B224-41CD-B4E0-E297462320DD}" dt="2023-11-24T08:35:27.237" v="23108"/>
          <ac:spMkLst>
            <pc:docMk/>
            <pc:sldMk cId="2428257732" sldId="2147478563"/>
            <ac:spMk id="156" creationId="{AC4DFFAF-D969-5CC0-8246-D72BA880CC08}"/>
          </ac:spMkLst>
        </pc:spChg>
        <pc:spChg chg="add del mod">
          <ac:chgData name="Steiner Andreas 6206 ED" userId="e6377c33-a923-4f14-8587-531c474c7b48" providerId="ADAL" clId="{6ECD27E6-B224-41CD-B4E0-E297462320DD}" dt="2023-11-24T08:35:29.947" v="23263"/>
          <ac:spMkLst>
            <pc:docMk/>
            <pc:sldMk cId="2428257732" sldId="2147478563"/>
            <ac:spMk id="157" creationId="{4879680F-B069-244F-172E-508A6B054C86}"/>
          </ac:spMkLst>
        </pc:spChg>
        <pc:spChg chg="add del mod">
          <ac:chgData name="Steiner Andreas 6206 ED" userId="e6377c33-a923-4f14-8587-531c474c7b48" providerId="ADAL" clId="{6ECD27E6-B224-41CD-B4E0-E297462320DD}" dt="2023-11-24T08:35:32.303" v="23418"/>
          <ac:spMkLst>
            <pc:docMk/>
            <pc:sldMk cId="2428257732" sldId="2147478563"/>
            <ac:spMk id="158" creationId="{84761475-2004-56F8-9010-AB676A802BE7}"/>
          </ac:spMkLst>
        </pc:spChg>
        <pc:spChg chg="add del mod">
          <ac:chgData name="Steiner Andreas 6206 ED" userId="e6377c33-a923-4f14-8587-531c474c7b48" providerId="ADAL" clId="{6ECD27E6-B224-41CD-B4E0-E297462320DD}" dt="2023-11-24T08:35:34.697" v="23573"/>
          <ac:spMkLst>
            <pc:docMk/>
            <pc:sldMk cId="2428257732" sldId="2147478563"/>
            <ac:spMk id="159" creationId="{02B0A413-F597-2C4C-4101-76CA28AEB39B}"/>
          </ac:spMkLst>
        </pc:spChg>
        <pc:spChg chg="add del mod">
          <ac:chgData name="Steiner Andreas 6206 ED" userId="e6377c33-a923-4f14-8587-531c474c7b48" providerId="ADAL" clId="{6ECD27E6-B224-41CD-B4E0-E297462320DD}" dt="2023-11-24T08:35:37.021" v="23728"/>
          <ac:spMkLst>
            <pc:docMk/>
            <pc:sldMk cId="2428257732" sldId="2147478563"/>
            <ac:spMk id="160" creationId="{8A9A2E18-59C9-FBE8-A3E6-D3EC1B89283A}"/>
          </ac:spMkLst>
        </pc:spChg>
        <pc:spChg chg="add del mod">
          <ac:chgData name="Steiner Andreas 6206 ED" userId="e6377c33-a923-4f14-8587-531c474c7b48" providerId="ADAL" clId="{6ECD27E6-B224-41CD-B4E0-E297462320DD}" dt="2023-11-24T08:35:39.427" v="23883"/>
          <ac:spMkLst>
            <pc:docMk/>
            <pc:sldMk cId="2428257732" sldId="2147478563"/>
            <ac:spMk id="161" creationId="{F66D791E-04EE-4374-B5EB-1D2D515D512B}"/>
          </ac:spMkLst>
        </pc:spChg>
        <pc:spChg chg="add del mod">
          <ac:chgData name="Steiner Andreas 6206 ED" userId="e6377c33-a923-4f14-8587-531c474c7b48" providerId="ADAL" clId="{6ECD27E6-B224-41CD-B4E0-E297462320DD}" dt="2023-11-24T08:35:42.097" v="24038"/>
          <ac:spMkLst>
            <pc:docMk/>
            <pc:sldMk cId="2428257732" sldId="2147478563"/>
            <ac:spMk id="162" creationId="{21979D26-BEDB-BD78-1DDF-3D716C1B7B4D}"/>
          </ac:spMkLst>
        </pc:spChg>
        <pc:spChg chg="add del mod">
          <ac:chgData name="Steiner Andreas 6206 ED" userId="e6377c33-a923-4f14-8587-531c474c7b48" providerId="ADAL" clId="{6ECD27E6-B224-41CD-B4E0-E297462320DD}" dt="2023-11-24T08:35:44.568" v="24193"/>
          <ac:spMkLst>
            <pc:docMk/>
            <pc:sldMk cId="2428257732" sldId="2147478563"/>
            <ac:spMk id="163" creationId="{D892E24D-E6ED-C4E4-A07A-790DADBDE45E}"/>
          </ac:spMkLst>
        </pc:spChg>
        <pc:spChg chg="add del mod">
          <ac:chgData name="Steiner Andreas 6206 ED" userId="e6377c33-a923-4f14-8587-531c474c7b48" providerId="ADAL" clId="{6ECD27E6-B224-41CD-B4E0-E297462320DD}" dt="2023-11-24T08:35:46.839" v="24348"/>
          <ac:spMkLst>
            <pc:docMk/>
            <pc:sldMk cId="2428257732" sldId="2147478563"/>
            <ac:spMk id="164" creationId="{EDDFA9B9-A00C-774A-A9C4-C1F7A6B0E55A}"/>
          </ac:spMkLst>
        </pc:spChg>
        <pc:spChg chg="add del mod">
          <ac:chgData name="Steiner Andreas 6206 ED" userId="e6377c33-a923-4f14-8587-531c474c7b48" providerId="ADAL" clId="{6ECD27E6-B224-41CD-B4E0-E297462320DD}" dt="2023-11-24T08:35:49.098" v="24503"/>
          <ac:spMkLst>
            <pc:docMk/>
            <pc:sldMk cId="2428257732" sldId="2147478563"/>
            <ac:spMk id="165" creationId="{5B83F81A-FA7C-E808-568A-C15CF00936B3}"/>
          </ac:spMkLst>
        </pc:spChg>
        <pc:spChg chg="add del mod">
          <ac:chgData name="Steiner Andreas 6206 ED" userId="e6377c33-a923-4f14-8587-531c474c7b48" providerId="ADAL" clId="{6ECD27E6-B224-41CD-B4E0-E297462320DD}" dt="2023-11-24T08:35:51.381" v="24658"/>
          <ac:spMkLst>
            <pc:docMk/>
            <pc:sldMk cId="2428257732" sldId="2147478563"/>
            <ac:spMk id="166" creationId="{A9A9D316-5A57-89B4-5B13-A1D426FDB977}"/>
          </ac:spMkLst>
        </pc:spChg>
        <pc:spChg chg="add del mod">
          <ac:chgData name="Steiner Andreas 6206 ED" userId="e6377c33-a923-4f14-8587-531c474c7b48" providerId="ADAL" clId="{6ECD27E6-B224-41CD-B4E0-E297462320DD}" dt="2023-11-24T08:35:54.325" v="24813"/>
          <ac:spMkLst>
            <pc:docMk/>
            <pc:sldMk cId="2428257732" sldId="2147478563"/>
            <ac:spMk id="167" creationId="{2AC6DC61-604F-A381-2DE8-CE9922A6C04A}"/>
          </ac:spMkLst>
        </pc:spChg>
        <pc:spChg chg="add del mod">
          <ac:chgData name="Steiner Andreas 6206 ED" userId="e6377c33-a923-4f14-8587-531c474c7b48" providerId="ADAL" clId="{6ECD27E6-B224-41CD-B4E0-E297462320DD}" dt="2023-11-24T08:35:56.785" v="24968"/>
          <ac:spMkLst>
            <pc:docMk/>
            <pc:sldMk cId="2428257732" sldId="2147478563"/>
            <ac:spMk id="168" creationId="{369DFEF0-9C58-135F-7848-E56CD735A680}"/>
          </ac:spMkLst>
        </pc:spChg>
        <pc:spChg chg="add del mod">
          <ac:chgData name="Steiner Andreas 6206 ED" userId="e6377c33-a923-4f14-8587-531c474c7b48" providerId="ADAL" clId="{6ECD27E6-B224-41CD-B4E0-E297462320DD}" dt="2023-11-24T08:35:59.326" v="25123"/>
          <ac:spMkLst>
            <pc:docMk/>
            <pc:sldMk cId="2428257732" sldId="2147478563"/>
            <ac:spMk id="169" creationId="{C34B4F14-DA0E-B843-85DB-3B2F9B18BB15}"/>
          </ac:spMkLst>
        </pc:spChg>
        <pc:spChg chg="add del mod">
          <ac:chgData name="Steiner Andreas 6206 ED" userId="e6377c33-a923-4f14-8587-531c474c7b48" providerId="ADAL" clId="{6ECD27E6-B224-41CD-B4E0-E297462320DD}" dt="2023-11-24T08:36:01.832" v="25278"/>
          <ac:spMkLst>
            <pc:docMk/>
            <pc:sldMk cId="2428257732" sldId="2147478563"/>
            <ac:spMk id="170" creationId="{345CB913-A97A-2FCE-2B4B-137BA6B1FFCB}"/>
          </ac:spMkLst>
        </pc:spChg>
        <pc:spChg chg="add del mod">
          <ac:chgData name="Steiner Andreas 6206 ED" userId="e6377c33-a923-4f14-8587-531c474c7b48" providerId="ADAL" clId="{6ECD27E6-B224-41CD-B4E0-E297462320DD}" dt="2023-11-24T08:36:04.437" v="25433"/>
          <ac:spMkLst>
            <pc:docMk/>
            <pc:sldMk cId="2428257732" sldId="2147478563"/>
            <ac:spMk id="171" creationId="{6451E5CF-0D53-D91A-5BB4-3AF798816A65}"/>
          </ac:spMkLst>
        </pc:spChg>
        <pc:spChg chg="add del mod">
          <ac:chgData name="Steiner Andreas 6206 ED" userId="e6377c33-a923-4f14-8587-531c474c7b48" providerId="ADAL" clId="{6ECD27E6-B224-41CD-B4E0-E297462320DD}" dt="2023-11-24T08:36:06.934" v="25588"/>
          <ac:spMkLst>
            <pc:docMk/>
            <pc:sldMk cId="2428257732" sldId="2147478563"/>
            <ac:spMk id="172" creationId="{70468F8C-5C0F-C402-242D-E3B8263087EC}"/>
          </ac:spMkLst>
        </pc:spChg>
        <pc:spChg chg="add del mod">
          <ac:chgData name="Steiner Andreas 6206 ED" userId="e6377c33-a923-4f14-8587-531c474c7b48" providerId="ADAL" clId="{6ECD27E6-B224-41CD-B4E0-E297462320DD}" dt="2023-11-24T08:36:09.436" v="25743"/>
          <ac:spMkLst>
            <pc:docMk/>
            <pc:sldMk cId="2428257732" sldId="2147478563"/>
            <ac:spMk id="173" creationId="{E66A5CF6-D832-808C-A59D-E4A512EA9FA6}"/>
          </ac:spMkLst>
        </pc:spChg>
        <pc:spChg chg="add del mod">
          <ac:chgData name="Steiner Andreas 6206 ED" userId="e6377c33-a923-4f14-8587-531c474c7b48" providerId="ADAL" clId="{6ECD27E6-B224-41CD-B4E0-E297462320DD}" dt="2023-11-24T08:36:11.950" v="25898"/>
          <ac:spMkLst>
            <pc:docMk/>
            <pc:sldMk cId="2428257732" sldId="2147478563"/>
            <ac:spMk id="174" creationId="{B014A462-7DF0-6636-E09B-D0F6A96329A4}"/>
          </ac:spMkLst>
        </pc:spChg>
        <pc:spChg chg="add del mod">
          <ac:chgData name="Steiner Andreas 6206 ED" userId="e6377c33-a923-4f14-8587-531c474c7b48" providerId="ADAL" clId="{6ECD27E6-B224-41CD-B4E0-E297462320DD}" dt="2023-11-24T08:36:14.336" v="26053"/>
          <ac:spMkLst>
            <pc:docMk/>
            <pc:sldMk cId="2428257732" sldId="2147478563"/>
            <ac:spMk id="175" creationId="{193A42CF-5339-97A2-6852-FD0B676B3647}"/>
          </ac:spMkLst>
        </pc:spChg>
        <pc:spChg chg="add del mod">
          <ac:chgData name="Steiner Andreas 6206 ED" userId="e6377c33-a923-4f14-8587-531c474c7b48" providerId="ADAL" clId="{6ECD27E6-B224-41CD-B4E0-E297462320DD}" dt="2023-11-24T08:36:17.195" v="26208"/>
          <ac:spMkLst>
            <pc:docMk/>
            <pc:sldMk cId="2428257732" sldId="2147478563"/>
            <ac:spMk id="176" creationId="{014A8268-EB63-53A0-A28D-7EA852D2BA92}"/>
          </ac:spMkLst>
        </pc:spChg>
        <pc:spChg chg="add del mod">
          <ac:chgData name="Steiner Andreas 6206 ED" userId="e6377c33-a923-4f14-8587-531c474c7b48" providerId="ADAL" clId="{6ECD27E6-B224-41CD-B4E0-E297462320DD}" dt="2023-11-24T08:36:19.562" v="26363"/>
          <ac:spMkLst>
            <pc:docMk/>
            <pc:sldMk cId="2428257732" sldId="2147478563"/>
            <ac:spMk id="177" creationId="{5C1C4CAE-FC5A-04AB-4DF1-C1F950C26A0D}"/>
          </ac:spMkLst>
        </pc:spChg>
        <pc:spChg chg="add del mod">
          <ac:chgData name="Steiner Andreas 6206 ED" userId="e6377c33-a923-4f14-8587-531c474c7b48" providerId="ADAL" clId="{6ECD27E6-B224-41CD-B4E0-E297462320DD}" dt="2023-11-24T08:36:21.849" v="26518"/>
          <ac:spMkLst>
            <pc:docMk/>
            <pc:sldMk cId="2428257732" sldId="2147478563"/>
            <ac:spMk id="178" creationId="{89012703-3D62-8F61-AD87-2DA18D8A62BC}"/>
          </ac:spMkLst>
        </pc:spChg>
        <pc:spChg chg="add del mod">
          <ac:chgData name="Steiner Andreas 6206 ED" userId="e6377c33-a923-4f14-8587-531c474c7b48" providerId="ADAL" clId="{6ECD27E6-B224-41CD-B4E0-E297462320DD}" dt="2023-11-24T08:36:24.341" v="26673"/>
          <ac:spMkLst>
            <pc:docMk/>
            <pc:sldMk cId="2428257732" sldId="2147478563"/>
            <ac:spMk id="179" creationId="{340655F5-B55E-3932-6482-95286A047E53}"/>
          </ac:spMkLst>
        </pc:spChg>
        <pc:spChg chg="add del mod">
          <ac:chgData name="Steiner Andreas 6206 ED" userId="e6377c33-a923-4f14-8587-531c474c7b48" providerId="ADAL" clId="{6ECD27E6-B224-41CD-B4E0-E297462320DD}" dt="2023-11-24T08:36:26.899" v="26828"/>
          <ac:spMkLst>
            <pc:docMk/>
            <pc:sldMk cId="2428257732" sldId="2147478563"/>
            <ac:spMk id="180" creationId="{E7D8B042-2879-2D83-2943-0706A1819161}"/>
          </ac:spMkLst>
        </pc:spChg>
        <pc:spChg chg="add del mod">
          <ac:chgData name="Steiner Andreas 6206 ED" userId="e6377c33-a923-4f14-8587-531c474c7b48" providerId="ADAL" clId="{6ECD27E6-B224-41CD-B4E0-E297462320DD}" dt="2023-11-24T08:36:29.756" v="26983"/>
          <ac:spMkLst>
            <pc:docMk/>
            <pc:sldMk cId="2428257732" sldId="2147478563"/>
            <ac:spMk id="181" creationId="{D4187275-6E31-CA04-FB85-4D6F44B76D00}"/>
          </ac:spMkLst>
        </pc:spChg>
        <pc:spChg chg="add del mod">
          <ac:chgData name="Steiner Andreas 6206 ED" userId="e6377c33-a923-4f14-8587-531c474c7b48" providerId="ADAL" clId="{6ECD27E6-B224-41CD-B4E0-E297462320DD}" dt="2023-11-24T08:36:32.507" v="27138"/>
          <ac:spMkLst>
            <pc:docMk/>
            <pc:sldMk cId="2428257732" sldId="2147478563"/>
            <ac:spMk id="182" creationId="{F8C7485A-280B-A2FE-945A-556944C8127D}"/>
          </ac:spMkLst>
        </pc:spChg>
        <pc:spChg chg="add del mod">
          <ac:chgData name="Steiner Andreas 6206 ED" userId="e6377c33-a923-4f14-8587-531c474c7b48" providerId="ADAL" clId="{6ECD27E6-B224-41CD-B4E0-E297462320DD}" dt="2023-11-24T08:36:35.030" v="27293"/>
          <ac:spMkLst>
            <pc:docMk/>
            <pc:sldMk cId="2428257732" sldId="2147478563"/>
            <ac:spMk id="183" creationId="{9C148DC9-11B7-F0BD-EEA3-593352527EB6}"/>
          </ac:spMkLst>
        </pc:spChg>
        <pc:spChg chg="add del mod">
          <ac:chgData name="Steiner Andreas 6206 ED" userId="e6377c33-a923-4f14-8587-531c474c7b48" providerId="ADAL" clId="{6ECD27E6-B224-41CD-B4E0-E297462320DD}" dt="2023-11-24T08:36:37.578" v="27448"/>
          <ac:spMkLst>
            <pc:docMk/>
            <pc:sldMk cId="2428257732" sldId="2147478563"/>
            <ac:spMk id="184" creationId="{8D0B31A9-2142-3578-A3C0-94442C7C6E3B}"/>
          </ac:spMkLst>
        </pc:spChg>
        <pc:spChg chg="add del mod">
          <ac:chgData name="Steiner Andreas 6206 ED" userId="e6377c33-a923-4f14-8587-531c474c7b48" providerId="ADAL" clId="{6ECD27E6-B224-41CD-B4E0-E297462320DD}" dt="2023-11-24T08:36:40.227" v="27603"/>
          <ac:spMkLst>
            <pc:docMk/>
            <pc:sldMk cId="2428257732" sldId="2147478563"/>
            <ac:spMk id="185" creationId="{EB138F53-A601-1568-4224-C5C280B9CA94}"/>
          </ac:spMkLst>
        </pc:spChg>
        <pc:spChg chg="add del mod">
          <ac:chgData name="Steiner Andreas 6206 ED" userId="e6377c33-a923-4f14-8587-531c474c7b48" providerId="ADAL" clId="{6ECD27E6-B224-41CD-B4E0-E297462320DD}" dt="2023-11-24T08:36:42.919" v="27758"/>
          <ac:spMkLst>
            <pc:docMk/>
            <pc:sldMk cId="2428257732" sldId="2147478563"/>
            <ac:spMk id="186" creationId="{9980AF4D-019A-8BAD-917E-1E6BFF45865D}"/>
          </ac:spMkLst>
        </pc:spChg>
        <pc:spChg chg="add del mod">
          <ac:chgData name="Steiner Andreas 6206 ED" userId="e6377c33-a923-4f14-8587-531c474c7b48" providerId="ADAL" clId="{6ECD27E6-B224-41CD-B4E0-E297462320DD}" dt="2023-11-24T08:36:45.408" v="27913"/>
          <ac:spMkLst>
            <pc:docMk/>
            <pc:sldMk cId="2428257732" sldId="2147478563"/>
            <ac:spMk id="187" creationId="{895A856D-6FCF-29EA-BD8F-58C47D8EFD6C}"/>
          </ac:spMkLst>
        </pc:spChg>
        <pc:spChg chg="add del mod">
          <ac:chgData name="Steiner Andreas 6206 ED" userId="e6377c33-a923-4f14-8587-531c474c7b48" providerId="ADAL" clId="{6ECD27E6-B224-41CD-B4E0-E297462320DD}" dt="2023-11-24T08:36:47.833" v="28068"/>
          <ac:spMkLst>
            <pc:docMk/>
            <pc:sldMk cId="2428257732" sldId="2147478563"/>
            <ac:spMk id="188" creationId="{0E6C315F-DC8F-61B5-4C43-2EA869EDF082}"/>
          </ac:spMkLst>
        </pc:spChg>
        <pc:spChg chg="add del mod">
          <ac:chgData name="Steiner Andreas 6206 ED" userId="e6377c33-a923-4f14-8587-531c474c7b48" providerId="ADAL" clId="{6ECD27E6-B224-41CD-B4E0-E297462320DD}" dt="2023-11-24T08:36:50.341" v="28223"/>
          <ac:spMkLst>
            <pc:docMk/>
            <pc:sldMk cId="2428257732" sldId="2147478563"/>
            <ac:spMk id="189" creationId="{8C051056-9844-A55F-5BD0-E8688A42A524}"/>
          </ac:spMkLst>
        </pc:spChg>
        <pc:spChg chg="add del mod">
          <ac:chgData name="Steiner Andreas 6206 ED" userId="e6377c33-a923-4f14-8587-531c474c7b48" providerId="ADAL" clId="{6ECD27E6-B224-41CD-B4E0-E297462320DD}" dt="2023-11-24T08:36:53.403" v="28378"/>
          <ac:spMkLst>
            <pc:docMk/>
            <pc:sldMk cId="2428257732" sldId="2147478563"/>
            <ac:spMk id="190" creationId="{4DD15C3B-AF0F-B288-A835-8E8274765BC9}"/>
          </ac:spMkLst>
        </pc:spChg>
        <pc:spChg chg="add del mod">
          <ac:chgData name="Steiner Andreas 6206 ED" userId="e6377c33-a923-4f14-8587-531c474c7b48" providerId="ADAL" clId="{6ECD27E6-B224-41CD-B4E0-E297462320DD}" dt="2023-11-24T08:36:56.473" v="28533"/>
          <ac:spMkLst>
            <pc:docMk/>
            <pc:sldMk cId="2428257732" sldId="2147478563"/>
            <ac:spMk id="191" creationId="{297008B6-C32F-8742-CE5A-341443BB08DC}"/>
          </ac:spMkLst>
        </pc:spChg>
        <pc:spChg chg="add del mod">
          <ac:chgData name="Steiner Andreas 6206 ED" userId="e6377c33-a923-4f14-8587-531c474c7b48" providerId="ADAL" clId="{6ECD27E6-B224-41CD-B4E0-E297462320DD}" dt="2023-11-24T08:36:59.377" v="28688"/>
          <ac:spMkLst>
            <pc:docMk/>
            <pc:sldMk cId="2428257732" sldId="2147478563"/>
            <ac:spMk id="192" creationId="{D959CBEF-9957-5E43-1DBF-2F8A0DB4B367}"/>
          </ac:spMkLst>
        </pc:spChg>
        <pc:spChg chg="add del mod">
          <ac:chgData name="Steiner Andreas 6206 ED" userId="e6377c33-a923-4f14-8587-531c474c7b48" providerId="ADAL" clId="{6ECD27E6-B224-41CD-B4E0-E297462320DD}" dt="2023-11-24T08:37:02.019" v="28843"/>
          <ac:spMkLst>
            <pc:docMk/>
            <pc:sldMk cId="2428257732" sldId="2147478563"/>
            <ac:spMk id="193" creationId="{44C9FE0F-7518-A5A9-1ECC-A42970BE2225}"/>
          </ac:spMkLst>
        </pc:spChg>
        <pc:spChg chg="add del mod">
          <ac:chgData name="Steiner Andreas 6206 ED" userId="e6377c33-a923-4f14-8587-531c474c7b48" providerId="ADAL" clId="{6ECD27E6-B224-41CD-B4E0-E297462320DD}" dt="2023-11-24T08:37:04.770" v="28998"/>
          <ac:spMkLst>
            <pc:docMk/>
            <pc:sldMk cId="2428257732" sldId="2147478563"/>
            <ac:spMk id="194" creationId="{BEB61FF1-DAB8-A3A6-9434-BDF1F1D7A9F6}"/>
          </ac:spMkLst>
        </pc:spChg>
        <pc:spChg chg="add del mod">
          <ac:chgData name="Steiner Andreas 6206 ED" userId="e6377c33-a923-4f14-8587-531c474c7b48" providerId="ADAL" clId="{6ECD27E6-B224-41CD-B4E0-E297462320DD}" dt="2023-11-24T08:37:07.575" v="29153"/>
          <ac:spMkLst>
            <pc:docMk/>
            <pc:sldMk cId="2428257732" sldId="2147478563"/>
            <ac:spMk id="195" creationId="{AFD0702D-C409-35D7-A19F-8A8153EBAA8C}"/>
          </ac:spMkLst>
        </pc:spChg>
        <pc:spChg chg="add del mod">
          <ac:chgData name="Steiner Andreas 6206 ED" userId="e6377c33-a923-4f14-8587-531c474c7b48" providerId="ADAL" clId="{6ECD27E6-B224-41CD-B4E0-E297462320DD}" dt="2023-11-24T08:37:10.235" v="29308"/>
          <ac:spMkLst>
            <pc:docMk/>
            <pc:sldMk cId="2428257732" sldId="2147478563"/>
            <ac:spMk id="196" creationId="{14457802-77D9-9730-FE70-9262E45AA048}"/>
          </ac:spMkLst>
        </pc:spChg>
        <pc:spChg chg="add del mod">
          <ac:chgData name="Steiner Andreas 6206 ED" userId="e6377c33-a923-4f14-8587-531c474c7b48" providerId="ADAL" clId="{6ECD27E6-B224-41CD-B4E0-E297462320DD}" dt="2023-11-24T08:37:12.915" v="29463"/>
          <ac:spMkLst>
            <pc:docMk/>
            <pc:sldMk cId="2428257732" sldId="2147478563"/>
            <ac:spMk id="197" creationId="{8C919911-2D95-F1B1-3862-43A4F93D881D}"/>
          </ac:spMkLst>
        </pc:spChg>
        <pc:spChg chg="add del mod">
          <ac:chgData name="Steiner Andreas 6206 ED" userId="e6377c33-a923-4f14-8587-531c474c7b48" providerId="ADAL" clId="{6ECD27E6-B224-41CD-B4E0-E297462320DD}" dt="2023-11-24T08:37:16.257" v="29618"/>
          <ac:spMkLst>
            <pc:docMk/>
            <pc:sldMk cId="2428257732" sldId="2147478563"/>
            <ac:spMk id="198" creationId="{450E9241-AC58-4ECC-D278-ED2A73E3F992}"/>
          </ac:spMkLst>
        </pc:spChg>
        <pc:spChg chg="add del mod">
          <ac:chgData name="Steiner Andreas 6206 ED" userId="e6377c33-a923-4f14-8587-531c474c7b48" providerId="ADAL" clId="{6ECD27E6-B224-41CD-B4E0-E297462320DD}" dt="2023-11-24T08:37:19" v="29773"/>
          <ac:spMkLst>
            <pc:docMk/>
            <pc:sldMk cId="2428257732" sldId="2147478563"/>
            <ac:spMk id="199" creationId="{255C2484-6892-1DF5-AC75-70AD4F585A15}"/>
          </ac:spMkLst>
        </pc:spChg>
        <pc:spChg chg="add del mod">
          <ac:chgData name="Steiner Andreas 6206 ED" userId="e6377c33-a923-4f14-8587-531c474c7b48" providerId="ADAL" clId="{6ECD27E6-B224-41CD-B4E0-E297462320DD}" dt="2023-11-24T08:37:21.439" v="29928"/>
          <ac:spMkLst>
            <pc:docMk/>
            <pc:sldMk cId="2428257732" sldId="2147478563"/>
            <ac:spMk id="200" creationId="{B67CFA2C-465D-376B-57AA-BF80F5D38D55}"/>
          </ac:spMkLst>
        </pc:spChg>
        <pc:spChg chg="add del mod">
          <ac:chgData name="Steiner Andreas 6206 ED" userId="e6377c33-a923-4f14-8587-531c474c7b48" providerId="ADAL" clId="{6ECD27E6-B224-41CD-B4E0-E297462320DD}" dt="2023-11-24T08:37:24.293" v="30083"/>
          <ac:spMkLst>
            <pc:docMk/>
            <pc:sldMk cId="2428257732" sldId="2147478563"/>
            <ac:spMk id="201" creationId="{71CE0880-EE8B-81A9-E28C-94BFEB4026BA}"/>
          </ac:spMkLst>
        </pc:spChg>
        <pc:spChg chg="add del mod">
          <ac:chgData name="Steiner Andreas 6206 ED" userId="e6377c33-a923-4f14-8587-531c474c7b48" providerId="ADAL" clId="{6ECD27E6-B224-41CD-B4E0-E297462320DD}" dt="2023-11-24T08:37:26.858" v="30238"/>
          <ac:spMkLst>
            <pc:docMk/>
            <pc:sldMk cId="2428257732" sldId="2147478563"/>
            <ac:spMk id="202" creationId="{C8994404-8F40-4BFC-CA34-2A6418FD77D6}"/>
          </ac:spMkLst>
        </pc:spChg>
        <pc:spChg chg="add del mod">
          <ac:chgData name="Steiner Andreas 6206 ED" userId="e6377c33-a923-4f14-8587-531c474c7b48" providerId="ADAL" clId="{6ECD27E6-B224-41CD-B4E0-E297462320DD}" dt="2023-11-24T08:37:30.196" v="30393"/>
          <ac:spMkLst>
            <pc:docMk/>
            <pc:sldMk cId="2428257732" sldId="2147478563"/>
            <ac:spMk id="203" creationId="{C0E59F3A-34B0-DDF1-C50C-79CB4211481D}"/>
          </ac:spMkLst>
        </pc:spChg>
        <pc:spChg chg="add del mod">
          <ac:chgData name="Steiner Andreas 6206 ED" userId="e6377c33-a923-4f14-8587-531c474c7b48" providerId="ADAL" clId="{6ECD27E6-B224-41CD-B4E0-E297462320DD}" dt="2023-11-24T08:37:33.015" v="30548"/>
          <ac:spMkLst>
            <pc:docMk/>
            <pc:sldMk cId="2428257732" sldId="2147478563"/>
            <ac:spMk id="204" creationId="{93E6A21E-7D66-9D34-6F96-7F60A85691FB}"/>
          </ac:spMkLst>
        </pc:spChg>
        <pc:spChg chg="add del mod">
          <ac:chgData name="Steiner Andreas 6206 ED" userId="e6377c33-a923-4f14-8587-531c474c7b48" providerId="ADAL" clId="{6ECD27E6-B224-41CD-B4E0-E297462320DD}" dt="2023-11-24T08:37:35.679" v="30703"/>
          <ac:spMkLst>
            <pc:docMk/>
            <pc:sldMk cId="2428257732" sldId="2147478563"/>
            <ac:spMk id="205" creationId="{F1A4DFD3-554F-75B5-D1EA-84971DD0B964}"/>
          </ac:spMkLst>
        </pc:spChg>
        <pc:spChg chg="add del mod">
          <ac:chgData name="Steiner Andreas 6206 ED" userId="e6377c33-a923-4f14-8587-531c474c7b48" providerId="ADAL" clId="{6ECD27E6-B224-41CD-B4E0-E297462320DD}" dt="2023-11-24T08:37:38.277" v="30858"/>
          <ac:spMkLst>
            <pc:docMk/>
            <pc:sldMk cId="2428257732" sldId="2147478563"/>
            <ac:spMk id="206" creationId="{271B9C1E-7FFA-9256-8315-381C91328CD2}"/>
          </ac:spMkLst>
        </pc:spChg>
        <pc:spChg chg="add del mod">
          <ac:chgData name="Steiner Andreas 6206 ED" userId="e6377c33-a923-4f14-8587-531c474c7b48" providerId="ADAL" clId="{6ECD27E6-B224-41CD-B4E0-E297462320DD}" dt="2023-11-24T08:37:42.380" v="31013"/>
          <ac:spMkLst>
            <pc:docMk/>
            <pc:sldMk cId="2428257732" sldId="2147478563"/>
            <ac:spMk id="207" creationId="{5888D227-E216-D314-EA99-4EB7E1944874}"/>
          </ac:spMkLst>
        </pc:spChg>
        <pc:spChg chg="add del mod">
          <ac:chgData name="Steiner Andreas 6206 ED" userId="e6377c33-a923-4f14-8587-531c474c7b48" providerId="ADAL" clId="{6ECD27E6-B224-41CD-B4E0-E297462320DD}" dt="2023-11-24T08:37:45.221" v="31168"/>
          <ac:spMkLst>
            <pc:docMk/>
            <pc:sldMk cId="2428257732" sldId="2147478563"/>
            <ac:spMk id="208" creationId="{F4CC8940-5F87-1E4F-DB2D-2C3C986ADFD2}"/>
          </ac:spMkLst>
        </pc:spChg>
        <pc:spChg chg="add del mod">
          <ac:chgData name="Steiner Andreas 6206 ED" userId="e6377c33-a923-4f14-8587-531c474c7b48" providerId="ADAL" clId="{6ECD27E6-B224-41CD-B4E0-E297462320DD}" dt="2023-11-24T08:37:48.082" v="31323"/>
          <ac:spMkLst>
            <pc:docMk/>
            <pc:sldMk cId="2428257732" sldId="2147478563"/>
            <ac:spMk id="209" creationId="{21612076-C69E-94A4-749E-17C2D8F03290}"/>
          </ac:spMkLst>
        </pc:spChg>
        <pc:spChg chg="add del mod">
          <ac:chgData name="Steiner Andreas 6206 ED" userId="e6377c33-a923-4f14-8587-531c474c7b48" providerId="ADAL" clId="{6ECD27E6-B224-41CD-B4E0-E297462320DD}" dt="2023-11-24T08:37:50.767" v="31478"/>
          <ac:spMkLst>
            <pc:docMk/>
            <pc:sldMk cId="2428257732" sldId="2147478563"/>
            <ac:spMk id="210" creationId="{4450B5BA-3978-9891-818C-A866FFADC624}"/>
          </ac:spMkLst>
        </pc:spChg>
        <pc:spChg chg="add del mod">
          <ac:chgData name="Steiner Andreas 6206 ED" userId="e6377c33-a923-4f14-8587-531c474c7b48" providerId="ADAL" clId="{6ECD27E6-B224-41CD-B4E0-E297462320DD}" dt="2023-11-24T08:37:53.458" v="31633"/>
          <ac:spMkLst>
            <pc:docMk/>
            <pc:sldMk cId="2428257732" sldId="2147478563"/>
            <ac:spMk id="211" creationId="{D2E4A126-B8A7-D2D5-70C5-D1613F444D73}"/>
          </ac:spMkLst>
        </pc:spChg>
        <pc:spChg chg="add del mod">
          <ac:chgData name="Steiner Andreas 6206 ED" userId="e6377c33-a923-4f14-8587-531c474c7b48" providerId="ADAL" clId="{6ECD27E6-B224-41CD-B4E0-E297462320DD}" dt="2023-11-24T08:37:57.512" v="31788"/>
          <ac:spMkLst>
            <pc:docMk/>
            <pc:sldMk cId="2428257732" sldId="2147478563"/>
            <ac:spMk id="212" creationId="{767FE8B3-926D-4782-0360-00849AC97EC8}"/>
          </ac:spMkLst>
        </pc:spChg>
        <pc:spChg chg="add del mod">
          <ac:chgData name="Steiner Andreas 6206 ED" userId="e6377c33-a923-4f14-8587-531c474c7b48" providerId="ADAL" clId="{6ECD27E6-B224-41CD-B4E0-E297462320DD}" dt="2023-11-24T08:38:00.266" v="31943"/>
          <ac:spMkLst>
            <pc:docMk/>
            <pc:sldMk cId="2428257732" sldId="2147478563"/>
            <ac:spMk id="213" creationId="{E79110A4-EB9A-91A9-C892-B0B0BC105ED7}"/>
          </ac:spMkLst>
        </pc:spChg>
        <pc:spChg chg="add del mod">
          <ac:chgData name="Steiner Andreas 6206 ED" userId="e6377c33-a923-4f14-8587-531c474c7b48" providerId="ADAL" clId="{6ECD27E6-B224-41CD-B4E0-E297462320DD}" dt="2023-11-24T08:38:03.204" v="32098"/>
          <ac:spMkLst>
            <pc:docMk/>
            <pc:sldMk cId="2428257732" sldId="2147478563"/>
            <ac:spMk id="214" creationId="{D1755C9E-87D1-3D06-FC47-C48B8623471C}"/>
          </ac:spMkLst>
        </pc:spChg>
        <pc:spChg chg="add del mod">
          <ac:chgData name="Steiner Andreas 6206 ED" userId="e6377c33-a923-4f14-8587-531c474c7b48" providerId="ADAL" clId="{6ECD27E6-B224-41CD-B4E0-E297462320DD}" dt="2023-11-24T08:38:06.114" v="32253"/>
          <ac:spMkLst>
            <pc:docMk/>
            <pc:sldMk cId="2428257732" sldId="2147478563"/>
            <ac:spMk id="215" creationId="{2CAC6EF6-C95C-EDD5-4211-1F400159E190}"/>
          </ac:spMkLst>
        </pc:spChg>
        <pc:spChg chg="add del mod">
          <ac:chgData name="Steiner Andreas 6206 ED" userId="e6377c33-a923-4f14-8587-531c474c7b48" providerId="ADAL" clId="{6ECD27E6-B224-41CD-B4E0-E297462320DD}" dt="2023-11-24T08:38:09.331" v="32408"/>
          <ac:spMkLst>
            <pc:docMk/>
            <pc:sldMk cId="2428257732" sldId="2147478563"/>
            <ac:spMk id="216" creationId="{D7F086C1-5DB4-FD7A-B645-E765D7045562}"/>
          </ac:spMkLst>
        </pc:spChg>
        <pc:spChg chg="add del mod">
          <ac:chgData name="Steiner Andreas 6206 ED" userId="e6377c33-a923-4f14-8587-531c474c7b48" providerId="ADAL" clId="{6ECD27E6-B224-41CD-B4E0-E297462320DD}" dt="2023-11-24T08:38:12.031" v="32563"/>
          <ac:spMkLst>
            <pc:docMk/>
            <pc:sldMk cId="2428257732" sldId="2147478563"/>
            <ac:spMk id="217" creationId="{A1DB00D8-86C6-E7BA-B1DA-156F3963EC24}"/>
          </ac:spMkLst>
        </pc:spChg>
        <pc:spChg chg="add del mod">
          <ac:chgData name="Steiner Andreas 6206 ED" userId="e6377c33-a923-4f14-8587-531c474c7b48" providerId="ADAL" clId="{6ECD27E6-B224-41CD-B4E0-E297462320DD}" dt="2023-11-24T08:38:14.627" v="32718"/>
          <ac:spMkLst>
            <pc:docMk/>
            <pc:sldMk cId="2428257732" sldId="2147478563"/>
            <ac:spMk id="218" creationId="{0FC01F90-4586-90CE-8278-24BC9255FE92}"/>
          </ac:spMkLst>
        </pc:spChg>
        <pc:spChg chg="add del mod">
          <ac:chgData name="Steiner Andreas 6206 ED" userId="e6377c33-a923-4f14-8587-531c474c7b48" providerId="ADAL" clId="{6ECD27E6-B224-41CD-B4E0-E297462320DD}" dt="2023-11-24T08:38:17.346" v="32873"/>
          <ac:spMkLst>
            <pc:docMk/>
            <pc:sldMk cId="2428257732" sldId="2147478563"/>
            <ac:spMk id="219" creationId="{98C045F5-0391-83C1-BB1B-8A001F58B7F2}"/>
          </ac:spMkLst>
        </pc:spChg>
        <pc:spChg chg="add del mod">
          <ac:chgData name="Steiner Andreas 6206 ED" userId="e6377c33-a923-4f14-8587-531c474c7b48" providerId="ADAL" clId="{6ECD27E6-B224-41CD-B4E0-E297462320DD}" dt="2023-11-24T08:38:20.350" v="33028"/>
          <ac:spMkLst>
            <pc:docMk/>
            <pc:sldMk cId="2428257732" sldId="2147478563"/>
            <ac:spMk id="220" creationId="{34D2BD16-5252-65DE-5D5E-D1C9C1ACEF87}"/>
          </ac:spMkLst>
        </pc:spChg>
        <pc:spChg chg="add del mod">
          <ac:chgData name="Steiner Andreas 6206 ED" userId="e6377c33-a923-4f14-8587-531c474c7b48" providerId="ADAL" clId="{6ECD27E6-B224-41CD-B4E0-E297462320DD}" dt="2023-11-24T08:38:23.196" v="33183"/>
          <ac:spMkLst>
            <pc:docMk/>
            <pc:sldMk cId="2428257732" sldId="2147478563"/>
            <ac:spMk id="221" creationId="{13872EB4-575C-42FC-382B-6911EE55C5AA}"/>
          </ac:spMkLst>
        </pc:spChg>
        <pc:spChg chg="add del mod">
          <ac:chgData name="Steiner Andreas 6206 ED" userId="e6377c33-a923-4f14-8587-531c474c7b48" providerId="ADAL" clId="{6ECD27E6-B224-41CD-B4E0-E297462320DD}" dt="2023-11-24T08:38:26.085" v="33338"/>
          <ac:spMkLst>
            <pc:docMk/>
            <pc:sldMk cId="2428257732" sldId="2147478563"/>
            <ac:spMk id="222" creationId="{FB6B7528-8A0B-EABF-1A3A-5825398096AD}"/>
          </ac:spMkLst>
        </pc:spChg>
        <pc:spChg chg="add del mod">
          <ac:chgData name="Steiner Andreas 6206 ED" userId="e6377c33-a923-4f14-8587-531c474c7b48" providerId="ADAL" clId="{6ECD27E6-B224-41CD-B4E0-E297462320DD}" dt="2023-11-24T08:38:29.699" v="33493"/>
          <ac:spMkLst>
            <pc:docMk/>
            <pc:sldMk cId="2428257732" sldId="2147478563"/>
            <ac:spMk id="223" creationId="{7222B6A9-C145-BBB5-033D-5649A8A1CFE3}"/>
          </ac:spMkLst>
        </pc:spChg>
        <pc:spChg chg="add del mod">
          <ac:chgData name="Steiner Andreas 6206 ED" userId="e6377c33-a923-4f14-8587-531c474c7b48" providerId="ADAL" clId="{6ECD27E6-B224-41CD-B4E0-E297462320DD}" dt="2023-11-24T08:38:32.784" v="33648"/>
          <ac:spMkLst>
            <pc:docMk/>
            <pc:sldMk cId="2428257732" sldId="2147478563"/>
            <ac:spMk id="224" creationId="{4427F797-16A0-9024-8BAB-B524813B1291}"/>
          </ac:spMkLst>
        </pc:spChg>
        <pc:spChg chg="add del mod">
          <ac:chgData name="Steiner Andreas 6206 ED" userId="e6377c33-a923-4f14-8587-531c474c7b48" providerId="ADAL" clId="{6ECD27E6-B224-41CD-B4E0-E297462320DD}" dt="2023-11-24T08:38:35.399" v="33803"/>
          <ac:spMkLst>
            <pc:docMk/>
            <pc:sldMk cId="2428257732" sldId="2147478563"/>
            <ac:spMk id="225" creationId="{13AD2A05-F202-4EC2-79CA-666BC54D6C49}"/>
          </ac:spMkLst>
        </pc:spChg>
        <pc:spChg chg="add del mod">
          <ac:chgData name="Steiner Andreas 6206 ED" userId="e6377c33-a923-4f14-8587-531c474c7b48" providerId="ADAL" clId="{6ECD27E6-B224-41CD-B4E0-E297462320DD}" dt="2023-11-24T08:38:38.037" v="33958"/>
          <ac:spMkLst>
            <pc:docMk/>
            <pc:sldMk cId="2428257732" sldId="2147478563"/>
            <ac:spMk id="226" creationId="{8715B03D-AFE9-35EB-7856-4134D24A4111}"/>
          </ac:spMkLst>
        </pc:spChg>
        <pc:spChg chg="add del mod">
          <ac:chgData name="Steiner Andreas 6206 ED" userId="e6377c33-a923-4f14-8587-531c474c7b48" providerId="ADAL" clId="{6ECD27E6-B224-41CD-B4E0-E297462320DD}" dt="2023-11-24T08:38:40.588" v="34113"/>
          <ac:spMkLst>
            <pc:docMk/>
            <pc:sldMk cId="2428257732" sldId="2147478563"/>
            <ac:spMk id="227" creationId="{E8B2715A-3EA5-950D-89AB-FABCCB7C12F9}"/>
          </ac:spMkLst>
        </pc:spChg>
        <pc:spChg chg="add del mod">
          <ac:chgData name="Steiner Andreas 6206 ED" userId="e6377c33-a923-4f14-8587-531c474c7b48" providerId="ADAL" clId="{6ECD27E6-B224-41CD-B4E0-E297462320DD}" dt="2023-11-24T08:38:43.216" v="34268"/>
          <ac:spMkLst>
            <pc:docMk/>
            <pc:sldMk cId="2428257732" sldId="2147478563"/>
            <ac:spMk id="228" creationId="{A5A4AFB9-3AAB-BB9D-7CD0-603772E668B9}"/>
          </ac:spMkLst>
        </pc:spChg>
        <pc:spChg chg="add del mod">
          <ac:chgData name="Steiner Andreas 6206 ED" userId="e6377c33-a923-4f14-8587-531c474c7b48" providerId="ADAL" clId="{6ECD27E6-B224-41CD-B4E0-E297462320DD}" dt="2023-11-24T08:38:47.118" v="34423"/>
          <ac:spMkLst>
            <pc:docMk/>
            <pc:sldMk cId="2428257732" sldId="2147478563"/>
            <ac:spMk id="229" creationId="{CFF42782-0883-FFA0-5248-7431D2AD580E}"/>
          </ac:spMkLst>
        </pc:spChg>
        <pc:spChg chg="add del mod">
          <ac:chgData name="Steiner Andreas 6206 ED" userId="e6377c33-a923-4f14-8587-531c474c7b48" providerId="ADAL" clId="{6ECD27E6-B224-41CD-B4E0-E297462320DD}" dt="2023-11-24T08:38:49.819" v="34578"/>
          <ac:spMkLst>
            <pc:docMk/>
            <pc:sldMk cId="2428257732" sldId="2147478563"/>
            <ac:spMk id="230" creationId="{EDCFCDE6-2D01-A943-45F2-9A3272D6A134}"/>
          </ac:spMkLst>
        </pc:spChg>
        <pc:spChg chg="add del mod">
          <ac:chgData name="Steiner Andreas 6206 ED" userId="e6377c33-a923-4f14-8587-531c474c7b48" providerId="ADAL" clId="{6ECD27E6-B224-41CD-B4E0-E297462320DD}" dt="2023-11-24T08:38:52.646" v="34733"/>
          <ac:spMkLst>
            <pc:docMk/>
            <pc:sldMk cId="2428257732" sldId="2147478563"/>
            <ac:spMk id="231" creationId="{55F8888B-EF57-85A7-7A45-4B6CC918F4AF}"/>
          </ac:spMkLst>
        </pc:spChg>
        <pc:spChg chg="add del mod">
          <ac:chgData name="Steiner Andreas 6206 ED" userId="e6377c33-a923-4f14-8587-531c474c7b48" providerId="ADAL" clId="{6ECD27E6-B224-41CD-B4E0-E297462320DD}" dt="2023-11-24T08:38:55.593" v="34888"/>
          <ac:spMkLst>
            <pc:docMk/>
            <pc:sldMk cId="2428257732" sldId="2147478563"/>
            <ac:spMk id="232" creationId="{D0D2FF5C-4E97-7620-720B-2D796099F10C}"/>
          </ac:spMkLst>
        </pc:spChg>
        <pc:spChg chg="add del mod">
          <ac:chgData name="Steiner Andreas 6206 ED" userId="e6377c33-a923-4f14-8587-531c474c7b48" providerId="ADAL" clId="{6ECD27E6-B224-41CD-B4E0-E297462320DD}" dt="2023-11-24T08:38:58.846" v="35043"/>
          <ac:spMkLst>
            <pc:docMk/>
            <pc:sldMk cId="2428257732" sldId="2147478563"/>
            <ac:spMk id="233" creationId="{F6907082-DCED-954F-545A-A35EADF298CA}"/>
          </ac:spMkLst>
        </pc:spChg>
        <pc:spChg chg="add del mod">
          <ac:chgData name="Steiner Andreas 6206 ED" userId="e6377c33-a923-4f14-8587-531c474c7b48" providerId="ADAL" clId="{6ECD27E6-B224-41CD-B4E0-E297462320DD}" dt="2023-11-24T08:39:02.506" v="35198"/>
          <ac:spMkLst>
            <pc:docMk/>
            <pc:sldMk cId="2428257732" sldId="2147478563"/>
            <ac:spMk id="234" creationId="{9F7C0980-8D02-EF5B-BF42-6C0993394E20}"/>
          </ac:spMkLst>
        </pc:spChg>
        <pc:spChg chg="add del mod">
          <ac:chgData name="Steiner Andreas 6206 ED" userId="e6377c33-a923-4f14-8587-531c474c7b48" providerId="ADAL" clId="{6ECD27E6-B224-41CD-B4E0-E297462320DD}" dt="2023-11-24T08:39:05.512" v="35353"/>
          <ac:spMkLst>
            <pc:docMk/>
            <pc:sldMk cId="2428257732" sldId="2147478563"/>
            <ac:spMk id="235" creationId="{705F6F83-E555-019E-2C3C-82591806FDF3}"/>
          </ac:spMkLst>
        </pc:spChg>
        <pc:spChg chg="add del mod">
          <ac:chgData name="Steiner Andreas 6206 ED" userId="e6377c33-a923-4f14-8587-531c474c7b48" providerId="ADAL" clId="{6ECD27E6-B224-41CD-B4E0-E297462320DD}" dt="2023-11-24T08:39:08.435" v="35508"/>
          <ac:spMkLst>
            <pc:docMk/>
            <pc:sldMk cId="2428257732" sldId="2147478563"/>
            <ac:spMk id="236" creationId="{064AA5E6-72B7-8040-4C01-28AAA88EA905}"/>
          </ac:spMkLst>
        </pc:spChg>
        <pc:spChg chg="add del mod">
          <ac:chgData name="Steiner Andreas 6206 ED" userId="e6377c33-a923-4f14-8587-531c474c7b48" providerId="ADAL" clId="{6ECD27E6-B224-41CD-B4E0-E297462320DD}" dt="2023-11-24T08:39:12.970" v="35663"/>
          <ac:spMkLst>
            <pc:docMk/>
            <pc:sldMk cId="2428257732" sldId="2147478563"/>
            <ac:spMk id="237" creationId="{A96E74C5-6AFA-0DDA-2842-26DC9FAF5404}"/>
          </ac:spMkLst>
        </pc:spChg>
        <pc:spChg chg="add del mod">
          <ac:chgData name="Steiner Andreas 6206 ED" userId="e6377c33-a923-4f14-8587-531c474c7b48" providerId="ADAL" clId="{6ECD27E6-B224-41CD-B4E0-E297462320DD}" dt="2023-11-24T08:39:15.626" v="35818"/>
          <ac:spMkLst>
            <pc:docMk/>
            <pc:sldMk cId="2428257732" sldId="2147478563"/>
            <ac:spMk id="238" creationId="{C8DC02B6-5F5C-60D4-68BB-EB24C75A158F}"/>
          </ac:spMkLst>
        </pc:spChg>
        <pc:spChg chg="add del mod">
          <ac:chgData name="Steiner Andreas 6206 ED" userId="e6377c33-a923-4f14-8587-531c474c7b48" providerId="ADAL" clId="{6ECD27E6-B224-41CD-B4E0-E297462320DD}" dt="2023-11-24T08:39:18.301" v="35973"/>
          <ac:spMkLst>
            <pc:docMk/>
            <pc:sldMk cId="2428257732" sldId="2147478563"/>
            <ac:spMk id="239" creationId="{C6EA521E-63BB-00AE-F3CB-362E1CE31059}"/>
          </ac:spMkLst>
        </pc:spChg>
        <pc:spChg chg="add del mod">
          <ac:chgData name="Steiner Andreas 6206 ED" userId="e6377c33-a923-4f14-8587-531c474c7b48" providerId="ADAL" clId="{6ECD27E6-B224-41CD-B4E0-E297462320DD}" dt="2023-11-24T08:39:20.955" v="36128"/>
          <ac:spMkLst>
            <pc:docMk/>
            <pc:sldMk cId="2428257732" sldId="2147478563"/>
            <ac:spMk id="240" creationId="{4504D71E-B328-DD9C-C6DB-8E2463F5C513}"/>
          </ac:spMkLst>
        </pc:spChg>
        <pc:spChg chg="add del mod">
          <ac:chgData name="Steiner Andreas 6206 ED" userId="e6377c33-a923-4f14-8587-531c474c7b48" providerId="ADAL" clId="{6ECD27E6-B224-41CD-B4E0-E297462320DD}" dt="2023-11-24T08:39:24.113" v="36283"/>
          <ac:spMkLst>
            <pc:docMk/>
            <pc:sldMk cId="2428257732" sldId="2147478563"/>
            <ac:spMk id="241" creationId="{1BF24987-C862-DFD4-F4E2-9B68A955FBB3}"/>
          </ac:spMkLst>
        </pc:spChg>
        <pc:spChg chg="add del mod">
          <ac:chgData name="Steiner Andreas 6206 ED" userId="e6377c33-a923-4f14-8587-531c474c7b48" providerId="ADAL" clId="{6ECD27E6-B224-41CD-B4E0-E297462320DD}" dt="2023-11-24T08:39:26.818" v="36438"/>
          <ac:spMkLst>
            <pc:docMk/>
            <pc:sldMk cId="2428257732" sldId="2147478563"/>
            <ac:spMk id="242" creationId="{01F82F73-85E6-E54F-5338-EA6116F41F6D}"/>
          </ac:spMkLst>
        </pc:spChg>
        <pc:spChg chg="add del mod">
          <ac:chgData name="Steiner Andreas 6206 ED" userId="e6377c33-a923-4f14-8587-531c474c7b48" providerId="ADAL" clId="{6ECD27E6-B224-41CD-B4E0-E297462320DD}" dt="2023-11-24T08:39:29.566" v="36593"/>
          <ac:spMkLst>
            <pc:docMk/>
            <pc:sldMk cId="2428257732" sldId="2147478563"/>
            <ac:spMk id="243" creationId="{B2F5891C-E797-1D25-CD69-1AB960C8A1C1}"/>
          </ac:spMkLst>
        </pc:spChg>
        <pc:spChg chg="add del mod">
          <ac:chgData name="Steiner Andreas 6206 ED" userId="e6377c33-a923-4f14-8587-531c474c7b48" providerId="ADAL" clId="{6ECD27E6-B224-41CD-B4E0-E297462320DD}" dt="2023-11-24T08:39:32.140" v="36748"/>
          <ac:spMkLst>
            <pc:docMk/>
            <pc:sldMk cId="2428257732" sldId="2147478563"/>
            <ac:spMk id="244" creationId="{7E876656-6532-E47F-58CE-48B20098D336}"/>
          </ac:spMkLst>
        </pc:spChg>
        <pc:spChg chg="add del mod">
          <ac:chgData name="Steiner Andreas 6206 ED" userId="e6377c33-a923-4f14-8587-531c474c7b48" providerId="ADAL" clId="{6ECD27E6-B224-41CD-B4E0-E297462320DD}" dt="2023-11-24T08:39:34.653" v="36903"/>
          <ac:spMkLst>
            <pc:docMk/>
            <pc:sldMk cId="2428257732" sldId="2147478563"/>
            <ac:spMk id="245" creationId="{BC15BC80-CCE7-FFFB-23B0-2714067EC370}"/>
          </ac:spMkLst>
        </pc:spChg>
        <pc:spChg chg="add del mod">
          <ac:chgData name="Steiner Andreas 6206 ED" userId="e6377c33-a923-4f14-8587-531c474c7b48" providerId="ADAL" clId="{6ECD27E6-B224-41CD-B4E0-E297462320DD}" dt="2023-11-24T08:39:37.567" v="37058"/>
          <ac:spMkLst>
            <pc:docMk/>
            <pc:sldMk cId="2428257732" sldId="2147478563"/>
            <ac:spMk id="246" creationId="{06E0F56F-DA68-218C-D2F3-44626D0DC1AE}"/>
          </ac:spMkLst>
        </pc:spChg>
        <pc:spChg chg="add del mod">
          <ac:chgData name="Steiner Andreas 6206 ED" userId="e6377c33-a923-4f14-8587-531c474c7b48" providerId="ADAL" clId="{6ECD27E6-B224-41CD-B4E0-E297462320DD}" dt="2023-11-24T08:39:40.210" v="37213"/>
          <ac:spMkLst>
            <pc:docMk/>
            <pc:sldMk cId="2428257732" sldId="2147478563"/>
            <ac:spMk id="247" creationId="{C426ED71-1B01-C6EB-99EE-88BFDB79195D}"/>
          </ac:spMkLst>
        </pc:spChg>
        <pc:spChg chg="add del mod">
          <ac:chgData name="Steiner Andreas 6206 ED" userId="e6377c33-a923-4f14-8587-531c474c7b48" providerId="ADAL" clId="{6ECD27E6-B224-41CD-B4E0-E297462320DD}" dt="2023-11-24T08:39:42.649" v="37368"/>
          <ac:spMkLst>
            <pc:docMk/>
            <pc:sldMk cId="2428257732" sldId="2147478563"/>
            <ac:spMk id="248" creationId="{017EDA33-54E5-35EC-3F8C-E8F82D85B0C1}"/>
          </ac:spMkLst>
        </pc:spChg>
        <pc:spChg chg="add del mod">
          <ac:chgData name="Steiner Andreas 6206 ED" userId="e6377c33-a923-4f14-8587-531c474c7b48" providerId="ADAL" clId="{6ECD27E6-B224-41CD-B4E0-E297462320DD}" dt="2023-11-24T08:39:45.214" v="37523"/>
          <ac:spMkLst>
            <pc:docMk/>
            <pc:sldMk cId="2428257732" sldId="2147478563"/>
            <ac:spMk id="249" creationId="{B04B85F9-3E1C-AB2E-77C7-D9E5FE750BAA}"/>
          </ac:spMkLst>
        </pc:spChg>
        <pc:spChg chg="add del mod">
          <ac:chgData name="Steiner Andreas 6206 ED" userId="e6377c33-a923-4f14-8587-531c474c7b48" providerId="ADAL" clId="{6ECD27E6-B224-41CD-B4E0-E297462320DD}" dt="2023-11-24T08:39:48.279" v="37678"/>
          <ac:spMkLst>
            <pc:docMk/>
            <pc:sldMk cId="2428257732" sldId="2147478563"/>
            <ac:spMk id="250" creationId="{FC712705-CDBE-462F-99B0-B327E891723F}"/>
          </ac:spMkLst>
        </pc:spChg>
        <pc:spChg chg="add del mod">
          <ac:chgData name="Steiner Andreas 6206 ED" userId="e6377c33-a923-4f14-8587-531c474c7b48" providerId="ADAL" clId="{6ECD27E6-B224-41CD-B4E0-E297462320DD}" dt="2023-11-24T08:39:50.933" v="37833"/>
          <ac:spMkLst>
            <pc:docMk/>
            <pc:sldMk cId="2428257732" sldId="2147478563"/>
            <ac:spMk id="251" creationId="{A2DB5BAD-680F-EA18-B246-C9BEA8AC82FE}"/>
          </ac:spMkLst>
        </pc:spChg>
        <pc:spChg chg="add del mod">
          <ac:chgData name="Steiner Andreas 6206 ED" userId="e6377c33-a923-4f14-8587-531c474c7b48" providerId="ADAL" clId="{6ECD27E6-B224-41CD-B4E0-E297462320DD}" dt="2023-11-24T08:39:53.585" v="37988"/>
          <ac:spMkLst>
            <pc:docMk/>
            <pc:sldMk cId="2428257732" sldId="2147478563"/>
            <ac:spMk id="252" creationId="{CB7EFFF8-62ED-56D8-F2B5-46A6A7EDAF66}"/>
          </ac:spMkLst>
        </pc:spChg>
        <pc:spChg chg="add del mod">
          <ac:chgData name="Steiner Andreas 6206 ED" userId="e6377c33-a923-4f14-8587-531c474c7b48" providerId="ADAL" clId="{6ECD27E6-B224-41CD-B4E0-E297462320DD}" dt="2023-11-24T08:39:56.545" v="38143"/>
          <ac:spMkLst>
            <pc:docMk/>
            <pc:sldMk cId="2428257732" sldId="2147478563"/>
            <ac:spMk id="253" creationId="{03AA9887-F505-0808-6A2B-B4D5FD6A403D}"/>
          </ac:spMkLst>
        </pc:spChg>
        <pc:spChg chg="add del mod">
          <ac:chgData name="Steiner Andreas 6206 ED" userId="e6377c33-a923-4f14-8587-531c474c7b48" providerId="ADAL" clId="{6ECD27E6-B224-41CD-B4E0-E297462320DD}" dt="2023-11-24T08:39:59.939" v="38298"/>
          <ac:spMkLst>
            <pc:docMk/>
            <pc:sldMk cId="2428257732" sldId="2147478563"/>
            <ac:spMk id="254" creationId="{904F31B5-401C-558F-5BD9-91C766C287A1}"/>
          </ac:spMkLst>
        </pc:spChg>
        <pc:spChg chg="add del mod">
          <ac:chgData name="Steiner Andreas 6206 ED" userId="e6377c33-a923-4f14-8587-531c474c7b48" providerId="ADAL" clId="{6ECD27E6-B224-41CD-B4E0-E297462320DD}" dt="2023-11-24T08:40:02.976" v="38453"/>
          <ac:spMkLst>
            <pc:docMk/>
            <pc:sldMk cId="2428257732" sldId="2147478563"/>
            <ac:spMk id="255" creationId="{CE23FCC0-B024-A35F-4D30-0D66209C125F}"/>
          </ac:spMkLst>
        </pc:spChg>
        <pc:spChg chg="add del mod">
          <ac:chgData name="Steiner Andreas 6206 ED" userId="e6377c33-a923-4f14-8587-531c474c7b48" providerId="ADAL" clId="{6ECD27E6-B224-41CD-B4E0-E297462320DD}" dt="2023-11-24T08:40:05.716" v="38608"/>
          <ac:spMkLst>
            <pc:docMk/>
            <pc:sldMk cId="2428257732" sldId="2147478563"/>
            <ac:spMk id="256" creationId="{BBEE7CFF-3ACC-01B8-6CAE-9B2760C69A79}"/>
          </ac:spMkLst>
        </pc:spChg>
        <pc:spChg chg="add del mod">
          <ac:chgData name="Steiner Andreas 6206 ED" userId="e6377c33-a923-4f14-8587-531c474c7b48" providerId="ADAL" clId="{6ECD27E6-B224-41CD-B4E0-E297462320DD}" dt="2023-11-24T08:40:08.284" v="38763"/>
          <ac:spMkLst>
            <pc:docMk/>
            <pc:sldMk cId="2428257732" sldId="2147478563"/>
            <ac:spMk id="257" creationId="{8798F2DA-7AD2-AF26-F2D3-C1386AF5E0A6}"/>
          </ac:spMkLst>
        </pc:spChg>
        <pc:spChg chg="add del mod">
          <ac:chgData name="Steiner Andreas 6206 ED" userId="e6377c33-a923-4f14-8587-531c474c7b48" providerId="ADAL" clId="{6ECD27E6-B224-41CD-B4E0-E297462320DD}" dt="2023-11-24T08:40:11.024" v="38918"/>
          <ac:spMkLst>
            <pc:docMk/>
            <pc:sldMk cId="2428257732" sldId="2147478563"/>
            <ac:spMk id="258" creationId="{B54E7094-4499-5B06-A4BF-1DDB19D779C9}"/>
          </ac:spMkLst>
        </pc:spChg>
        <pc:spChg chg="add del mod">
          <ac:chgData name="Steiner Andreas 6206 ED" userId="e6377c33-a923-4f14-8587-531c474c7b48" providerId="ADAL" clId="{6ECD27E6-B224-41CD-B4E0-E297462320DD}" dt="2023-11-24T08:40:14.201" v="39073"/>
          <ac:spMkLst>
            <pc:docMk/>
            <pc:sldMk cId="2428257732" sldId="2147478563"/>
            <ac:spMk id="259" creationId="{E3F01F66-3B90-D812-6D5D-69DFCD411C77}"/>
          </ac:spMkLst>
        </pc:spChg>
        <pc:spChg chg="add del mod">
          <ac:chgData name="Steiner Andreas 6206 ED" userId="e6377c33-a923-4f14-8587-531c474c7b48" providerId="ADAL" clId="{6ECD27E6-B224-41CD-B4E0-E297462320DD}" dt="2023-11-24T08:40:16.857" v="39228"/>
          <ac:spMkLst>
            <pc:docMk/>
            <pc:sldMk cId="2428257732" sldId="2147478563"/>
            <ac:spMk id="260" creationId="{7F244604-BB63-9361-89D8-9B724BC1AED4}"/>
          </ac:spMkLst>
        </pc:spChg>
        <pc:spChg chg="add del mod">
          <ac:chgData name="Steiner Andreas 6206 ED" userId="e6377c33-a923-4f14-8587-531c474c7b48" providerId="ADAL" clId="{6ECD27E6-B224-41CD-B4E0-E297462320DD}" dt="2023-11-24T08:40:19.367" v="39383"/>
          <ac:spMkLst>
            <pc:docMk/>
            <pc:sldMk cId="2428257732" sldId="2147478563"/>
            <ac:spMk id="261" creationId="{A759FC32-E3C9-6488-E94B-1D9EEFD29C4C}"/>
          </ac:spMkLst>
        </pc:spChg>
        <pc:spChg chg="add del mod">
          <ac:chgData name="Steiner Andreas 6206 ED" userId="e6377c33-a923-4f14-8587-531c474c7b48" providerId="ADAL" clId="{6ECD27E6-B224-41CD-B4E0-E297462320DD}" dt="2023-11-24T08:40:21.799" v="39538"/>
          <ac:spMkLst>
            <pc:docMk/>
            <pc:sldMk cId="2428257732" sldId="2147478563"/>
            <ac:spMk id="262" creationId="{86971985-20EF-9D1C-7D4D-2036DE424DA0}"/>
          </ac:spMkLst>
        </pc:spChg>
        <pc:spChg chg="add del mod">
          <ac:chgData name="Steiner Andreas 6206 ED" userId="e6377c33-a923-4f14-8587-531c474c7b48" providerId="ADAL" clId="{6ECD27E6-B224-41CD-B4E0-E297462320DD}" dt="2023-11-24T08:40:24.578" v="39693"/>
          <ac:spMkLst>
            <pc:docMk/>
            <pc:sldMk cId="2428257732" sldId="2147478563"/>
            <ac:spMk id="263" creationId="{15736883-1619-F7A2-F3FA-BC7B25566DB9}"/>
          </ac:spMkLst>
        </pc:spChg>
        <pc:spChg chg="add del mod">
          <ac:chgData name="Steiner Andreas 6206 ED" userId="e6377c33-a923-4f14-8587-531c474c7b48" providerId="ADAL" clId="{6ECD27E6-B224-41CD-B4E0-E297462320DD}" dt="2023-11-24T08:40:27.507" v="39848"/>
          <ac:spMkLst>
            <pc:docMk/>
            <pc:sldMk cId="2428257732" sldId="2147478563"/>
            <ac:spMk id="264" creationId="{E9D21FE0-CB12-ED54-937B-271E47D1E372}"/>
          </ac:spMkLst>
        </pc:spChg>
        <pc:spChg chg="add del mod">
          <ac:chgData name="Steiner Andreas 6206 ED" userId="e6377c33-a923-4f14-8587-531c474c7b48" providerId="ADAL" clId="{6ECD27E6-B224-41CD-B4E0-E297462320DD}" dt="2023-11-24T08:40:30.051" v="40003"/>
          <ac:spMkLst>
            <pc:docMk/>
            <pc:sldMk cId="2428257732" sldId="2147478563"/>
            <ac:spMk id="265" creationId="{69D68D6E-D8BE-613F-6948-601C57375240}"/>
          </ac:spMkLst>
        </pc:spChg>
        <pc:spChg chg="add del mod">
          <ac:chgData name="Steiner Andreas 6206 ED" userId="e6377c33-a923-4f14-8587-531c474c7b48" providerId="ADAL" clId="{6ECD27E6-B224-41CD-B4E0-E297462320DD}" dt="2023-11-24T08:40:32.696" v="40158"/>
          <ac:spMkLst>
            <pc:docMk/>
            <pc:sldMk cId="2428257732" sldId="2147478563"/>
            <ac:spMk id="266" creationId="{178941B5-8920-617B-393D-779617AB8895}"/>
          </ac:spMkLst>
        </pc:spChg>
        <pc:spChg chg="add del mod">
          <ac:chgData name="Steiner Andreas 6206 ED" userId="e6377c33-a923-4f14-8587-531c474c7b48" providerId="ADAL" clId="{6ECD27E6-B224-41CD-B4E0-E297462320DD}" dt="2023-11-24T08:40:35.179" v="40313"/>
          <ac:spMkLst>
            <pc:docMk/>
            <pc:sldMk cId="2428257732" sldId="2147478563"/>
            <ac:spMk id="267" creationId="{B641191B-80F4-D9C2-4189-44B0B10AEABF}"/>
          </ac:spMkLst>
        </pc:spChg>
        <pc:spChg chg="add del mod">
          <ac:chgData name="Steiner Andreas 6206 ED" userId="e6377c33-a923-4f14-8587-531c474c7b48" providerId="ADAL" clId="{6ECD27E6-B224-41CD-B4E0-E297462320DD}" dt="2023-11-24T08:40:38.597" v="40468"/>
          <ac:spMkLst>
            <pc:docMk/>
            <pc:sldMk cId="2428257732" sldId="2147478563"/>
            <ac:spMk id="268" creationId="{D70ACA8C-0F2D-2043-062E-D1F460943135}"/>
          </ac:spMkLst>
        </pc:spChg>
        <pc:spChg chg="add del mod">
          <ac:chgData name="Steiner Andreas 6206 ED" userId="e6377c33-a923-4f14-8587-531c474c7b48" providerId="ADAL" clId="{6ECD27E6-B224-41CD-B4E0-E297462320DD}" dt="2023-11-24T08:40:41.379" v="40623"/>
          <ac:spMkLst>
            <pc:docMk/>
            <pc:sldMk cId="2428257732" sldId="2147478563"/>
            <ac:spMk id="269" creationId="{F64CF796-17C6-ABF3-E37A-38C1F7AC7EA1}"/>
          </ac:spMkLst>
        </pc:spChg>
        <pc:spChg chg="add del mod">
          <ac:chgData name="Steiner Andreas 6206 ED" userId="e6377c33-a923-4f14-8587-531c474c7b48" providerId="ADAL" clId="{6ECD27E6-B224-41CD-B4E0-E297462320DD}" dt="2023-11-24T08:40:44.087" v="40778"/>
          <ac:spMkLst>
            <pc:docMk/>
            <pc:sldMk cId="2428257732" sldId="2147478563"/>
            <ac:spMk id="270" creationId="{32788EF5-31FD-9B70-3E5E-D7D6CD0DF8B9}"/>
          </ac:spMkLst>
        </pc:spChg>
        <pc:spChg chg="add del mod">
          <ac:chgData name="Steiner Andreas 6206 ED" userId="e6377c33-a923-4f14-8587-531c474c7b48" providerId="ADAL" clId="{6ECD27E6-B224-41CD-B4E0-E297462320DD}" dt="2023-11-24T08:40:46.540" v="40933"/>
          <ac:spMkLst>
            <pc:docMk/>
            <pc:sldMk cId="2428257732" sldId="2147478563"/>
            <ac:spMk id="271" creationId="{2BF0848C-0839-EC49-0726-31AC7CA40F54}"/>
          </ac:spMkLst>
        </pc:spChg>
        <pc:spChg chg="add del mod">
          <ac:chgData name="Steiner Andreas 6206 ED" userId="e6377c33-a923-4f14-8587-531c474c7b48" providerId="ADAL" clId="{6ECD27E6-B224-41CD-B4E0-E297462320DD}" dt="2023-11-24T08:40:49.518" v="41088"/>
          <ac:spMkLst>
            <pc:docMk/>
            <pc:sldMk cId="2428257732" sldId="2147478563"/>
            <ac:spMk id="272" creationId="{7B5A86A5-7880-61AA-E0B7-3CC8D9355275}"/>
          </ac:spMkLst>
        </pc:spChg>
        <pc:spChg chg="add del mod">
          <ac:chgData name="Steiner Andreas 6206 ED" userId="e6377c33-a923-4f14-8587-531c474c7b48" providerId="ADAL" clId="{6ECD27E6-B224-41CD-B4E0-E297462320DD}" dt="2023-11-24T08:40:52.190" v="41243"/>
          <ac:spMkLst>
            <pc:docMk/>
            <pc:sldMk cId="2428257732" sldId="2147478563"/>
            <ac:spMk id="273" creationId="{F9B8F6CF-F407-B011-4150-E249279EF2A0}"/>
          </ac:spMkLst>
        </pc:spChg>
        <pc:spChg chg="add del mod">
          <ac:chgData name="Steiner Andreas 6206 ED" userId="e6377c33-a923-4f14-8587-531c474c7b48" providerId="ADAL" clId="{6ECD27E6-B224-41CD-B4E0-E297462320DD}" dt="2023-11-24T08:40:54.707" v="41398"/>
          <ac:spMkLst>
            <pc:docMk/>
            <pc:sldMk cId="2428257732" sldId="2147478563"/>
            <ac:spMk id="274" creationId="{B86426BE-DEB1-88C6-331D-0A86F7E67F63}"/>
          </ac:spMkLst>
        </pc:spChg>
        <pc:spChg chg="add del mod">
          <ac:chgData name="Steiner Andreas 6206 ED" userId="e6377c33-a923-4f14-8587-531c474c7b48" providerId="ADAL" clId="{6ECD27E6-B224-41CD-B4E0-E297462320DD}" dt="2023-11-24T08:40:57.175" v="41553"/>
          <ac:spMkLst>
            <pc:docMk/>
            <pc:sldMk cId="2428257732" sldId="2147478563"/>
            <ac:spMk id="275" creationId="{07E20B2C-950A-836F-28C7-E3934516DA6A}"/>
          </ac:spMkLst>
        </pc:spChg>
        <pc:spChg chg="add del mod">
          <ac:chgData name="Steiner Andreas 6206 ED" userId="e6377c33-a923-4f14-8587-531c474c7b48" providerId="ADAL" clId="{6ECD27E6-B224-41CD-B4E0-E297462320DD}" dt="2023-11-24T08:40:59.877" v="41708"/>
          <ac:spMkLst>
            <pc:docMk/>
            <pc:sldMk cId="2428257732" sldId="2147478563"/>
            <ac:spMk id="276" creationId="{14E08EC6-CDB0-1D8B-E749-B109CE2358A9}"/>
          </ac:spMkLst>
        </pc:spChg>
        <pc:spChg chg="add del mod">
          <ac:chgData name="Steiner Andreas 6206 ED" userId="e6377c33-a923-4f14-8587-531c474c7b48" providerId="ADAL" clId="{6ECD27E6-B224-41CD-B4E0-E297462320DD}" dt="2023-11-24T08:41:02.898" v="41863"/>
          <ac:spMkLst>
            <pc:docMk/>
            <pc:sldMk cId="2428257732" sldId="2147478563"/>
            <ac:spMk id="277" creationId="{D0FE4261-3DC5-3A35-922E-0A4544FDF33C}"/>
          </ac:spMkLst>
        </pc:spChg>
        <pc:spChg chg="add del mod">
          <ac:chgData name="Steiner Andreas 6206 ED" userId="e6377c33-a923-4f14-8587-531c474c7b48" providerId="ADAL" clId="{6ECD27E6-B224-41CD-B4E0-E297462320DD}" dt="2023-11-24T08:41:05.660" v="42018"/>
          <ac:spMkLst>
            <pc:docMk/>
            <pc:sldMk cId="2428257732" sldId="2147478563"/>
            <ac:spMk id="278" creationId="{8048F0E1-6F9B-6C3A-C5D0-BBE0F062DC95}"/>
          </ac:spMkLst>
        </pc:spChg>
        <pc:spChg chg="add del mod">
          <ac:chgData name="Steiner Andreas 6206 ED" userId="e6377c33-a923-4f14-8587-531c474c7b48" providerId="ADAL" clId="{6ECD27E6-B224-41CD-B4E0-E297462320DD}" dt="2023-11-24T08:41:09.301" v="42173"/>
          <ac:spMkLst>
            <pc:docMk/>
            <pc:sldMk cId="2428257732" sldId="2147478563"/>
            <ac:spMk id="279" creationId="{438746B6-E8F2-C005-18BA-85E6F15D52ED}"/>
          </ac:spMkLst>
        </pc:spChg>
        <pc:spChg chg="add del mod">
          <ac:chgData name="Steiner Andreas 6206 ED" userId="e6377c33-a923-4f14-8587-531c474c7b48" providerId="ADAL" clId="{6ECD27E6-B224-41CD-B4E0-E297462320DD}" dt="2023-11-24T08:41:12.812" v="42328"/>
          <ac:spMkLst>
            <pc:docMk/>
            <pc:sldMk cId="2428257732" sldId="2147478563"/>
            <ac:spMk id="280" creationId="{DFE1E3FD-4020-9D23-E66D-B5F396BF8A5E}"/>
          </ac:spMkLst>
        </pc:spChg>
        <pc:spChg chg="add del mod">
          <ac:chgData name="Steiner Andreas 6206 ED" userId="e6377c33-a923-4f14-8587-531c474c7b48" providerId="ADAL" clId="{6ECD27E6-B224-41CD-B4E0-E297462320DD}" dt="2023-11-24T08:41:15.548" v="42483"/>
          <ac:spMkLst>
            <pc:docMk/>
            <pc:sldMk cId="2428257732" sldId="2147478563"/>
            <ac:spMk id="281" creationId="{1B176BCA-A4EB-F11B-5D99-2781BA9E381E}"/>
          </ac:spMkLst>
        </pc:spChg>
        <pc:spChg chg="add del mod">
          <ac:chgData name="Steiner Andreas 6206 ED" userId="e6377c33-a923-4f14-8587-531c474c7b48" providerId="ADAL" clId="{6ECD27E6-B224-41CD-B4E0-E297462320DD}" dt="2023-11-24T08:41:17.728" v="42638"/>
          <ac:spMkLst>
            <pc:docMk/>
            <pc:sldMk cId="2428257732" sldId="2147478563"/>
            <ac:spMk id="282" creationId="{E36EEBD3-4062-0D8E-0CA6-8C9C020FB561}"/>
          </ac:spMkLst>
        </pc:spChg>
        <pc:spChg chg="add del mod">
          <ac:chgData name="Steiner Andreas 6206 ED" userId="e6377c33-a923-4f14-8587-531c474c7b48" providerId="ADAL" clId="{6ECD27E6-B224-41CD-B4E0-E297462320DD}" dt="2023-11-24T08:41:20.061" v="42793"/>
          <ac:spMkLst>
            <pc:docMk/>
            <pc:sldMk cId="2428257732" sldId="2147478563"/>
            <ac:spMk id="283" creationId="{01F4BF0E-F72F-5061-FA43-A684A384948C}"/>
          </ac:spMkLst>
        </pc:spChg>
        <pc:spChg chg="add del mod">
          <ac:chgData name="Steiner Andreas 6206 ED" userId="e6377c33-a923-4f14-8587-531c474c7b48" providerId="ADAL" clId="{6ECD27E6-B224-41CD-B4E0-E297462320DD}" dt="2023-11-24T08:41:22.413" v="42948"/>
          <ac:spMkLst>
            <pc:docMk/>
            <pc:sldMk cId="2428257732" sldId="2147478563"/>
            <ac:spMk id="284" creationId="{53D6599D-C5B5-F311-1E0F-1441E70A1294}"/>
          </ac:spMkLst>
        </pc:spChg>
        <pc:spChg chg="add del mod">
          <ac:chgData name="Steiner Andreas 6206 ED" userId="e6377c33-a923-4f14-8587-531c474c7b48" providerId="ADAL" clId="{6ECD27E6-B224-41CD-B4E0-E297462320DD}" dt="2023-11-24T08:41:24.519" v="43103"/>
          <ac:spMkLst>
            <pc:docMk/>
            <pc:sldMk cId="2428257732" sldId="2147478563"/>
            <ac:spMk id="285" creationId="{B65EB74E-D108-B6EF-E789-D7A6DA87F087}"/>
          </ac:spMkLst>
        </pc:spChg>
        <pc:spChg chg="add del mod">
          <ac:chgData name="Steiner Andreas 6206 ED" userId="e6377c33-a923-4f14-8587-531c474c7b48" providerId="ADAL" clId="{6ECD27E6-B224-41CD-B4E0-E297462320DD}" dt="2023-11-24T08:41:27.088" v="43258"/>
          <ac:spMkLst>
            <pc:docMk/>
            <pc:sldMk cId="2428257732" sldId="2147478563"/>
            <ac:spMk id="286" creationId="{C2E3D0C4-15D2-716E-5158-7373852C3DF2}"/>
          </ac:spMkLst>
        </pc:spChg>
        <pc:spChg chg="add del mod">
          <ac:chgData name="Steiner Andreas 6206 ED" userId="e6377c33-a923-4f14-8587-531c474c7b48" providerId="ADAL" clId="{6ECD27E6-B224-41CD-B4E0-E297462320DD}" dt="2023-11-24T08:41:29.147" v="43413"/>
          <ac:spMkLst>
            <pc:docMk/>
            <pc:sldMk cId="2428257732" sldId="2147478563"/>
            <ac:spMk id="287" creationId="{CFDD3C08-ADCE-29F1-2BFA-1A7A8104D687}"/>
          </ac:spMkLst>
        </pc:spChg>
        <pc:spChg chg="add del mod">
          <ac:chgData name="Steiner Andreas 6206 ED" userId="e6377c33-a923-4f14-8587-531c474c7b48" providerId="ADAL" clId="{6ECD27E6-B224-41CD-B4E0-E297462320DD}" dt="2023-11-24T08:41:31.534" v="43568"/>
          <ac:spMkLst>
            <pc:docMk/>
            <pc:sldMk cId="2428257732" sldId="2147478563"/>
            <ac:spMk id="288" creationId="{389DE54E-9C19-1FB7-ECBB-7FBA9275676F}"/>
          </ac:spMkLst>
        </pc:spChg>
        <pc:spChg chg="add del mod">
          <ac:chgData name="Steiner Andreas 6206 ED" userId="e6377c33-a923-4f14-8587-531c474c7b48" providerId="ADAL" clId="{6ECD27E6-B224-41CD-B4E0-E297462320DD}" dt="2023-11-24T08:41:35.819" v="43723"/>
          <ac:spMkLst>
            <pc:docMk/>
            <pc:sldMk cId="2428257732" sldId="2147478563"/>
            <ac:spMk id="289" creationId="{5238D913-F044-8B09-AF89-9B4769092043}"/>
          </ac:spMkLst>
        </pc:spChg>
        <pc:spChg chg="add del mod">
          <ac:chgData name="Steiner Andreas 6206 ED" userId="e6377c33-a923-4f14-8587-531c474c7b48" providerId="ADAL" clId="{6ECD27E6-B224-41CD-B4E0-E297462320DD}" dt="2023-11-24T08:41:38.851" v="43878"/>
          <ac:spMkLst>
            <pc:docMk/>
            <pc:sldMk cId="2428257732" sldId="2147478563"/>
            <ac:spMk id="290" creationId="{BEAD6618-070C-C853-6B65-69984152D02D}"/>
          </ac:spMkLst>
        </pc:spChg>
        <pc:spChg chg="add del mod">
          <ac:chgData name="Steiner Andreas 6206 ED" userId="e6377c33-a923-4f14-8587-531c474c7b48" providerId="ADAL" clId="{6ECD27E6-B224-41CD-B4E0-E297462320DD}" dt="2023-11-24T08:41:41.014" v="44033"/>
          <ac:spMkLst>
            <pc:docMk/>
            <pc:sldMk cId="2428257732" sldId="2147478563"/>
            <ac:spMk id="291" creationId="{006ABD74-6443-FC43-A0B0-78D04E46D8CD}"/>
          </ac:spMkLst>
        </pc:spChg>
        <pc:spChg chg="add del mod">
          <ac:chgData name="Steiner Andreas 6206 ED" userId="e6377c33-a923-4f14-8587-531c474c7b48" providerId="ADAL" clId="{6ECD27E6-B224-41CD-B4E0-E297462320DD}" dt="2023-11-24T08:41:43.398" v="44188"/>
          <ac:spMkLst>
            <pc:docMk/>
            <pc:sldMk cId="2428257732" sldId="2147478563"/>
            <ac:spMk id="292" creationId="{0701883E-0830-A962-219F-C36B8ECE3F6E}"/>
          </ac:spMkLst>
        </pc:spChg>
        <pc:spChg chg="add del mod">
          <ac:chgData name="Steiner Andreas 6206 ED" userId="e6377c33-a923-4f14-8587-531c474c7b48" providerId="ADAL" clId="{6ECD27E6-B224-41CD-B4E0-E297462320DD}" dt="2023-11-24T08:41:45.302" v="44343"/>
          <ac:spMkLst>
            <pc:docMk/>
            <pc:sldMk cId="2428257732" sldId="2147478563"/>
            <ac:spMk id="293" creationId="{0C4723C5-DE02-A315-3D92-1179A6AC33ED}"/>
          </ac:spMkLst>
        </pc:spChg>
        <pc:spChg chg="add del mod">
          <ac:chgData name="Steiner Andreas 6206 ED" userId="e6377c33-a923-4f14-8587-531c474c7b48" providerId="ADAL" clId="{6ECD27E6-B224-41CD-B4E0-E297462320DD}" dt="2023-11-24T08:41:47.238" v="44498"/>
          <ac:spMkLst>
            <pc:docMk/>
            <pc:sldMk cId="2428257732" sldId="2147478563"/>
            <ac:spMk id="294" creationId="{D1EBDF2F-E3AB-9D03-BCB3-CFCD93E89845}"/>
          </ac:spMkLst>
        </pc:spChg>
        <pc:spChg chg="add del mod">
          <ac:chgData name="Steiner Andreas 6206 ED" userId="e6377c33-a923-4f14-8587-531c474c7b48" providerId="ADAL" clId="{6ECD27E6-B224-41CD-B4E0-E297462320DD}" dt="2023-11-24T08:41:49.251" v="44653"/>
          <ac:spMkLst>
            <pc:docMk/>
            <pc:sldMk cId="2428257732" sldId="2147478563"/>
            <ac:spMk id="295" creationId="{56FC8027-EDC4-DF90-0412-65F205BA80DC}"/>
          </ac:spMkLst>
        </pc:spChg>
        <pc:spChg chg="add del mod">
          <ac:chgData name="Steiner Andreas 6206 ED" userId="e6377c33-a923-4f14-8587-531c474c7b48" providerId="ADAL" clId="{6ECD27E6-B224-41CD-B4E0-E297462320DD}" dt="2023-11-24T08:41:51.111" v="44808"/>
          <ac:spMkLst>
            <pc:docMk/>
            <pc:sldMk cId="2428257732" sldId="2147478563"/>
            <ac:spMk id="296" creationId="{01EF2AAA-7DD9-90E8-77D5-475C787B24C0}"/>
          </ac:spMkLst>
        </pc:spChg>
        <pc:spChg chg="add del mod">
          <ac:chgData name="Steiner Andreas 6206 ED" userId="e6377c33-a923-4f14-8587-531c474c7b48" providerId="ADAL" clId="{6ECD27E6-B224-41CD-B4E0-E297462320DD}" dt="2023-11-24T08:41:53.460" v="44963"/>
          <ac:spMkLst>
            <pc:docMk/>
            <pc:sldMk cId="2428257732" sldId="2147478563"/>
            <ac:spMk id="297" creationId="{42692C9A-79D2-94FA-3307-798A0A5CAB8A}"/>
          </ac:spMkLst>
        </pc:spChg>
        <pc:spChg chg="add del mod">
          <ac:chgData name="Steiner Andreas 6206 ED" userId="e6377c33-a923-4f14-8587-531c474c7b48" providerId="ADAL" clId="{6ECD27E6-B224-41CD-B4E0-E297462320DD}" dt="2023-11-24T08:41:55.436" v="45118"/>
          <ac:spMkLst>
            <pc:docMk/>
            <pc:sldMk cId="2428257732" sldId="2147478563"/>
            <ac:spMk id="298" creationId="{F57F8C86-3A94-4EB4-D013-CE9AF8BB51F9}"/>
          </ac:spMkLst>
        </pc:spChg>
        <pc:spChg chg="add del mod">
          <ac:chgData name="Steiner Andreas 6206 ED" userId="e6377c33-a923-4f14-8587-531c474c7b48" providerId="ADAL" clId="{6ECD27E6-B224-41CD-B4E0-E297462320DD}" dt="2023-11-24T08:41:57.687" v="45273"/>
          <ac:spMkLst>
            <pc:docMk/>
            <pc:sldMk cId="2428257732" sldId="2147478563"/>
            <ac:spMk id="299" creationId="{B36E1119-A1B7-B0FB-C94A-0AB2D656326C}"/>
          </ac:spMkLst>
        </pc:spChg>
        <pc:spChg chg="add del mod">
          <ac:chgData name="Steiner Andreas 6206 ED" userId="e6377c33-a923-4f14-8587-531c474c7b48" providerId="ADAL" clId="{6ECD27E6-B224-41CD-B4E0-E297462320DD}" dt="2023-11-24T08:41:59.916" v="45428"/>
          <ac:spMkLst>
            <pc:docMk/>
            <pc:sldMk cId="2428257732" sldId="2147478563"/>
            <ac:spMk id="300" creationId="{D04F1BF9-CF1E-8669-57A0-5BB9FE12D09D}"/>
          </ac:spMkLst>
        </pc:spChg>
        <pc:spChg chg="add del mod">
          <ac:chgData name="Steiner Andreas 6206 ED" userId="e6377c33-a923-4f14-8587-531c474c7b48" providerId="ADAL" clId="{6ECD27E6-B224-41CD-B4E0-E297462320DD}" dt="2023-11-24T08:42:02.054" v="45583"/>
          <ac:spMkLst>
            <pc:docMk/>
            <pc:sldMk cId="2428257732" sldId="2147478563"/>
            <ac:spMk id="301" creationId="{52AD4C89-EED8-BEB3-AAB0-985A6F98E140}"/>
          </ac:spMkLst>
        </pc:spChg>
        <pc:spChg chg="add del mod">
          <ac:chgData name="Steiner Andreas 6206 ED" userId="e6377c33-a923-4f14-8587-531c474c7b48" providerId="ADAL" clId="{6ECD27E6-B224-41CD-B4E0-E297462320DD}" dt="2023-11-24T08:42:04.075" v="45738"/>
          <ac:spMkLst>
            <pc:docMk/>
            <pc:sldMk cId="2428257732" sldId="2147478563"/>
            <ac:spMk id="302" creationId="{38260894-89C7-E5B8-FCEC-31919B404B18}"/>
          </ac:spMkLst>
        </pc:spChg>
        <pc:spChg chg="add del mod">
          <ac:chgData name="Steiner Andreas 6206 ED" userId="e6377c33-a923-4f14-8587-531c474c7b48" providerId="ADAL" clId="{6ECD27E6-B224-41CD-B4E0-E297462320DD}" dt="2023-11-24T08:42:06.017" v="45893"/>
          <ac:spMkLst>
            <pc:docMk/>
            <pc:sldMk cId="2428257732" sldId="2147478563"/>
            <ac:spMk id="303" creationId="{5682255D-6270-62ED-9387-D066C178DAAC}"/>
          </ac:spMkLst>
        </pc:spChg>
        <pc:spChg chg="add del mod">
          <ac:chgData name="Steiner Andreas 6206 ED" userId="e6377c33-a923-4f14-8587-531c474c7b48" providerId="ADAL" clId="{6ECD27E6-B224-41CD-B4E0-E297462320DD}" dt="2023-11-24T08:42:07.893" v="46048"/>
          <ac:spMkLst>
            <pc:docMk/>
            <pc:sldMk cId="2428257732" sldId="2147478563"/>
            <ac:spMk id="304" creationId="{0DD14192-12C9-6E9B-CABA-ED00991B0272}"/>
          </ac:spMkLst>
        </pc:spChg>
        <pc:spChg chg="add del mod">
          <ac:chgData name="Steiner Andreas 6206 ED" userId="e6377c33-a923-4f14-8587-531c474c7b48" providerId="ADAL" clId="{6ECD27E6-B224-41CD-B4E0-E297462320DD}" dt="2023-11-24T08:42:09.801" v="46203"/>
          <ac:spMkLst>
            <pc:docMk/>
            <pc:sldMk cId="2428257732" sldId="2147478563"/>
            <ac:spMk id="305" creationId="{FFDE2094-5101-FB60-399D-16EDBB00F57A}"/>
          </ac:spMkLst>
        </pc:spChg>
        <pc:spChg chg="add del mod">
          <ac:chgData name="Steiner Andreas 6206 ED" userId="e6377c33-a923-4f14-8587-531c474c7b48" providerId="ADAL" clId="{6ECD27E6-B224-41CD-B4E0-E297462320DD}" dt="2023-11-24T08:42:12.184" v="46358"/>
          <ac:spMkLst>
            <pc:docMk/>
            <pc:sldMk cId="2428257732" sldId="2147478563"/>
            <ac:spMk id="306" creationId="{248B4727-F2E1-0CD3-7C9D-B96F82515DF0}"/>
          </ac:spMkLst>
        </pc:spChg>
        <pc:spChg chg="add del mod">
          <ac:chgData name="Steiner Andreas 6206 ED" userId="e6377c33-a923-4f14-8587-531c474c7b48" providerId="ADAL" clId="{6ECD27E6-B224-41CD-B4E0-E297462320DD}" dt="2023-11-24T08:42:14.762" v="46513"/>
          <ac:spMkLst>
            <pc:docMk/>
            <pc:sldMk cId="2428257732" sldId="2147478563"/>
            <ac:spMk id="307" creationId="{3EEE7C41-5DB1-F215-CDBE-11364EB1CDE2}"/>
          </ac:spMkLst>
        </pc:spChg>
        <pc:spChg chg="add del mod">
          <ac:chgData name="Steiner Andreas 6206 ED" userId="e6377c33-a923-4f14-8587-531c474c7b48" providerId="ADAL" clId="{6ECD27E6-B224-41CD-B4E0-E297462320DD}" dt="2023-11-24T08:42:17.071" v="46668"/>
          <ac:spMkLst>
            <pc:docMk/>
            <pc:sldMk cId="2428257732" sldId="2147478563"/>
            <ac:spMk id="308" creationId="{D833C35D-C120-756F-AC54-FCF84A1BCA30}"/>
          </ac:spMkLst>
        </pc:spChg>
        <pc:spChg chg="add del mod">
          <ac:chgData name="Steiner Andreas 6206 ED" userId="e6377c33-a923-4f14-8587-531c474c7b48" providerId="ADAL" clId="{6ECD27E6-B224-41CD-B4E0-E297462320DD}" dt="2023-11-24T08:42:19.245" v="46823"/>
          <ac:spMkLst>
            <pc:docMk/>
            <pc:sldMk cId="2428257732" sldId="2147478563"/>
            <ac:spMk id="309" creationId="{776313EA-8277-029B-0476-07B4419623DF}"/>
          </ac:spMkLst>
        </pc:spChg>
        <pc:spChg chg="add del mod">
          <ac:chgData name="Steiner Andreas 6206 ED" userId="e6377c33-a923-4f14-8587-531c474c7b48" providerId="ADAL" clId="{6ECD27E6-B224-41CD-B4E0-E297462320DD}" dt="2023-11-24T08:42:21.605" v="46978"/>
          <ac:spMkLst>
            <pc:docMk/>
            <pc:sldMk cId="2428257732" sldId="2147478563"/>
            <ac:spMk id="310" creationId="{7C27D681-FFB5-737D-B403-DE9DE6575546}"/>
          </ac:spMkLst>
        </pc:spChg>
        <pc:spChg chg="add del mod">
          <ac:chgData name="Steiner Andreas 6206 ED" userId="e6377c33-a923-4f14-8587-531c474c7b48" providerId="ADAL" clId="{6ECD27E6-B224-41CD-B4E0-E297462320DD}" dt="2023-11-24T08:42:24.168" v="47133"/>
          <ac:spMkLst>
            <pc:docMk/>
            <pc:sldMk cId="2428257732" sldId="2147478563"/>
            <ac:spMk id="311" creationId="{6DC5E56F-B9C2-7B2A-0E2E-128C01DBEDE2}"/>
          </ac:spMkLst>
        </pc:spChg>
        <pc:spChg chg="add del mod">
          <ac:chgData name="Steiner Andreas 6206 ED" userId="e6377c33-a923-4f14-8587-531c474c7b48" providerId="ADAL" clId="{6ECD27E6-B224-41CD-B4E0-E297462320DD}" dt="2023-11-24T08:42:26.118" v="47288"/>
          <ac:spMkLst>
            <pc:docMk/>
            <pc:sldMk cId="2428257732" sldId="2147478563"/>
            <ac:spMk id="312" creationId="{4F7B6562-F279-3F12-2100-252D2F18EFAB}"/>
          </ac:spMkLst>
        </pc:spChg>
        <pc:spChg chg="add del mod">
          <ac:chgData name="Steiner Andreas 6206 ED" userId="e6377c33-a923-4f14-8587-531c474c7b48" providerId="ADAL" clId="{6ECD27E6-B224-41CD-B4E0-E297462320DD}" dt="2023-11-24T08:42:28.016" v="47443"/>
          <ac:spMkLst>
            <pc:docMk/>
            <pc:sldMk cId="2428257732" sldId="2147478563"/>
            <ac:spMk id="313" creationId="{D415C242-BD59-EB14-421A-AC9CF2F647AF}"/>
          </ac:spMkLst>
        </pc:spChg>
        <pc:spChg chg="add del mod">
          <ac:chgData name="Steiner Andreas 6206 ED" userId="e6377c33-a923-4f14-8587-531c474c7b48" providerId="ADAL" clId="{6ECD27E6-B224-41CD-B4E0-E297462320DD}" dt="2023-11-24T08:42:29.795" v="47598"/>
          <ac:spMkLst>
            <pc:docMk/>
            <pc:sldMk cId="2428257732" sldId="2147478563"/>
            <ac:spMk id="314" creationId="{CE425F79-F708-DA5A-576E-7298495E3FCA}"/>
          </ac:spMkLst>
        </pc:spChg>
        <pc:spChg chg="add del mod">
          <ac:chgData name="Steiner Andreas 6206 ED" userId="e6377c33-a923-4f14-8587-531c474c7b48" providerId="ADAL" clId="{6ECD27E6-B224-41CD-B4E0-E297462320DD}" dt="2023-11-24T08:42:31.716" v="47753"/>
          <ac:spMkLst>
            <pc:docMk/>
            <pc:sldMk cId="2428257732" sldId="2147478563"/>
            <ac:spMk id="315" creationId="{4DAD563F-A5AF-D8DD-8567-268C06E306A1}"/>
          </ac:spMkLst>
        </pc:spChg>
        <pc:spChg chg="add del mod">
          <ac:chgData name="Steiner Andreas 6206 ED" userId="e6377c33-a923-4f14-8587-531c474c7b48" providerId="ADAL" clId="{6ECD27E6-B224-41CD-B4E0-E297462320DD}" dt="2023-11-24T08:42:33.725" v="47908"/>
          <ac:spMkLst>
            <pc:docMk/>
            <pc:sldMk cId="2428257732" sldId="2147478563"/>
            <ac:spMk id="316" creationId="{CCD71F45-C5A0-1C2F-53F1-36E0C25225BC}"/>
          </ac:spMkLst>
        </pc:spChg>
        <pc:spChg chg="add del mod">
          <ac:chgData name="Steiner Andreas 6206 ED" userId="e6377c33-a923-4f14-8587-531c474c7b48" providerId="ADAL" clId="{6ECD27E6-B224-41CD-B4E0-E297462320DD}" dt="2023-11-24T08:42:35.750" v="48063"/>
          <ac:spMkLst>
            <pc:docMk/>
            <pc:sldMk cId="2428257732" sldId="2147478563"/>
            <ac:spMk id="317" creationId="{D9AECFFC-B839-B36E-AC15-3CBA1FD50B60}"/>
          </ac:spMkLst>
        </pc:spChg>
        <pc:spChg chg="add del mod">
          <ac:chgData name="Steiner Andreas 6206 ED" userId="e6377c33-a923-4f14-8587-531c474c7b48" providerId="ADAL" clId="{6ECD27E6-B224-41CD-B4E0-E297462320DD}" dt="2023-11-24T08:42:37.627" v="48218"/>
          <ac:spMkLst>
            <pc:docMk/>
            <pc:sldMk cId="2428257732" sldId="2147478563"/>
            <ac:spMk id="318" creationId="{F4C7393C-440E-E941-A824-355987D47610}"/>
          </ac:spMkLst>
        </pc:spChg>
        <pc:spChg chg="add del mod">
          <ac:chgData name="Steiner Andreas 6206 ED" userId="e6377c33-a923-4f14-8587-531c474c7b48" providerId="ADAL" clId="{6ECD27E6-B224-41CD-B4E0-E297462320DD}" dt="2023-11-24T08:42:39.491" v="48373"/>
          <ac:spMkLst>
            <pc:docMk/>
            <pc:sldMk cId="2428257732" sldId="2147478563"/>
            <ac:spMk id="319" creationId="{8246569F-58EA-E8B5-E676-8491A591A08A}"/>
          </ac:spMkLst>
        </pc:spChg>
        <pc:spChg chg="add del mod">
          <ac:chgData name="Steiner Andreas 6206 ED" userId="e6377c33-a923-4f14-8587-531c474c7b48" providerId="ADAL" clId="{6ECD27E6-B224-41CD-B4E0-E297462320DD}" dt="2023-11-24T08:42:41.636" v="48528"/>
          <ac:spMkLst>
            <pc:docMk/>
            <pc:sldMk cId="2428257732" sldId="2147478563"/>
            <ac:spMk id="320" creationId="{F4F5A210-C21E-497B-203E-82B135E2ECEB}"/>
          </ac:spMkLst>
        </pc:spChg>
        <pc:spChg chg="add del mod">
          <ac:chgData name="Steiner Andreas 6206 ED" userId="e6377c33-a923-4f14-8587-531c474c7b48" providerId="ADAL" clId="{6ECD27E6-B224-41CD-B4E0-E297462320DD}" dt="2023-11-24T08:42:43.737" v="48683"/>
          <ac:spMkLst>
            <pc:docMk/>
            <pc:sldMk cId="2428257732" sldId="2147478563"/>
            <ac:spMk id="321" creationId="{1D60E743-9562-4FFE-A6B1-A90D89FC44DE}"/>
          </ac:spMkLst>
        </pc:spChg>
        <pc:spChg chg="add del mod">
          <ac:chgData name="Steiner Andreas 6206 ED" userId="e6377c33-a923-4f14-8587-531c474c7b48" providerId="ADAL" clId="{6ECD27E6-B224-41CD-B4E0-E297462320DD}" dt="2023-11-24T08:42:45.773" v="48838"/>
          <ac:spMkLst>
            <pc:docMk/>
            <pc:sldMk cId="2428257732" sldId="2147478563"/>
            <ac:spMk id="322" creationId="{731A5E4C-C954-1D4B-2742-55BC7B4FCA33}"/>
          </ac:spMkLst>
        </pc:spChg>
        <pc:spChg chg="add del mod">
          <ac:chgData name="Steiner Andreas 6206 ED" userId="e6377c33-a923-4f14-8587-531c474c7b48" providerId="ADAL" clId="{6ECD27E6-B224-41CD-B4E0-E297462320DD}" dt="2023-11-24T08:42:47.621" v="48993"/>
          <ac:spMkLst>
            <pc:docMk/>
            <pc:sldMk cId="2428257732" sldId="2147478563"/>
            <ac:spMk id="323" creationId="{18942386-E2F5-53A9-F399-64670A08C7F4}"/>
          </ac:spMkLst>
        </pc:spChg>
        <pc:spChg chg="add del mod">
          <ac:chgData name="Steiner Andreas 6206 ED" userId="e6377c33-a923-4f14-8587-531c474c7b48" providerId="ADAL" clId="{6ECD27E6-B224-41CD-B4E0-E297462320DD}" dt="2023-11-24T08:42:49.439" v="49148"/>
          <ac:spMkLst>
            <pc:docMk/>
            <pc:sldMk cId="2428257732" sldId="2147478563"/>
            <ac:spMk id="324" creationId="{7F8A88A5-674E-4C5B-2BB3-96D38BA339FE}"/>
          </ac:spMkLst>
        </pc:spChg>
        <pc:spChg chg="add del mod">
          <ac:chgData name="Steiner Andreas 6206 ED" userId="e6377c33-a923-4f14-8587-531c474c7b48" providerId="ADAL" clId="{6ECD27E6-B224-41CD-B4E0-E297462320DD}" dt="2023-11-24T08:42:51.318" v="49303"/>
          <ac:spMkLst>
            <pc:docMk/>
            <pc:sldMk cId="2428257732" sldId="2147478563"/>
            <ac:spMk id="325" creationId="{6D08FE82-E3FA-C0BA-5334-118706F5B047}"/>
          </ac:spMkLst>
        </pc:spChg>
        <pc:spChg chg="add del mod">
          <ac:chgData name="Steiner Andreas 6206 ED" userId="e6377c33-a923-4f14-8587-531c474c7b48" providerId="ADAL" clId="{6ECD27E6-B224-41CD-B4E0-E297462320DD}" dt="2023-11-24T08:42:53.432" v="49458"/>
          <ac:spMkLst>
            <pc:docMk/>
            <pc:sldMk cId="2428257732" sldId="2147478563"/>
            <ac:spMk id="326" creationId="{79199628-02F8-568B-9FE8-204B7835BB59}"/>
          </ac:spMkLst>
        </pc:spChg>
        <pc:spChg chg="add del mod">
          <ac:chgData name="Steiner Andreas 6206 ED" userId="e6377c33-a923-4f14-8587-531c474c7b48" providerId="ADAL" clId="{6ECD27E6-B224-41CD-B4E0-E297462320DD}" dt="2023-11-24T08:42:56.081" v="49613"/>
          <ac:spMkLst>
            <pc:docMk/>
            <pc:sldMk cId="2428257732" sldId="2147478563"/>
            <ac:spMk id="327" creationId="{AC56C1E3-38BF-B275-2622-EB7F3B763E22}"/>
          </ac:spMkLst>
        </pc:spChg>
        <pc:spChg chg="add del mod">
          <ac:chgData name="Steiner Andreas 6206 ED" userId="e6377c33-a923-4f14-8587-531c474c7b48" providerId="ADAL" clId="{6ECD27E6-B224-41CD-B4E0-E297462320DD}" dt="2023-11-24T08:42:58.127" v="49768"/>
          <ac:spMkLst>
            <pc:docMk/>
            <pc:sldMk cId="2428257732" sldId="2147478563"/>
            <ac:spMk id="328" creationId="{1CCBF7B3-216E-2C24-5338-F5A099AA3018}"/>
          </ac:spMkLst>
        </pc:spChg>
        <pc:spChg chg="add del mod">
          <ac:chgData name="Steiner Andreas 6206 ED" userId="e6377c33-a923-4f14-8587-531c474c7b48" providerId="ADAL" clId="{6ECD27E6-B224-41CD-B4E0-E297462320DD}" dt="2023-11-24T08:43:00.037" v="49923"/>
          <ac:spMkLst>
            <pc:docMk/>
            <pc:sldMk cId="2428257732" sldId="2147478563"/>
            <ac:spMk id="329" creationId="{5E7BE17F-88B3-858C-912E-BC389662F851}"/>
          </ac:spMkLst>
        </pc:spChg>
        <pc:spChg chg="add del mod">
          <ac:chgData name="Steiner Andreas 6206 ED" userId="e6377c33-a923-4f14-8587-531c474c7b48" providerId="ADAL" clId="{6ECD27E6-B224-41CD-B4E0-E297462320DD}" dt="2023-11-24T08:43:02.037" v="50078"/>
          <ac:spMkLst>
            <pc:docMk/>
            <pc:sldMk cId="2428257732" sldId="2147478563"/>
            <ac:spMk id="330" creationId="{BF05318B-0F7B-5C83-5B48-467567D20FD9}"/>
          </ac:spMkLst>
        </pc:spChg>
        <pc:spChg chg="add del mod">
          <ac:chgData name="Steiner Andreas 6206 ED" userId="e6377c33-a923-4f14-8587-531c474c7b48" providerId="ADAL" clId="{6ECD27E6-B224-41CD-B4E0-E297462320DD}" dt="2023-11-24T08:43:04.010" v="50233"/>
          <ac:spMkLst>
            <pc:docMk/>
            <pc:sldMk cId="2428257732" sldId="2147478563"/>
            <ac:spMk id="331" creationId="{9FBECC28-E576-15A6-7F78-AB054C51EAB2}"/>
          </ac:spMkLst>
        </pc:spChg>
        <pc:spChg chg="add del mod">
          <ac:chgData name="Steiner Andreas 6206 ED" userId="e6377c33-a923-4f14-8587-531c474c7b48" providerId="ADAL" clId="{6ECD27E6-B224-41CD-B4E0-E297462320DD}" dt="2023-11-24T08:43:05.920" v="50388"/>
          <ac:spMkLst>
            <pc:docMk/>
            <pc:sldMk cId="2428257732" sldId="2147478563"/>
            <ac:spMk id="332" creationId="{46EA8E60-F14E-A3E5-ED84-F958FE2CF1F9}"/>
          </ac:spMkLst>
        </pc:spChg>
        <pc:spChg chg="add del mod">
          <ac:chgData name="Steiner Andreas 6206 ED" userId="e6377c33-a923-4f14-8587-531c474c7b48" providerId="ADAL" clId="{6ECD27E6-B224-41CD-B4E0-E297462320DD}" dt="2023-11-24T08:43:08.204" v="50543"/>
          <ac:spMkLst>
            <pc:docMk/>
            <pc:sldMk cId="2428257732" sldId="2147478563"/>
            <ac:spMk id="333" creationId="{29EC3828-1FA7-82AA-5091-D3F962727731}"/>
          </ac:spMkLst>
        </pc:spChg>
        <pc:spChg chg="add del mod">
          <ac:chgData name="Steiner Andreas 6206 ED" userId="e6377c33-a923-4f14-8587-531c474c7b48" providerId="ADAL" clId="{6ECD27E6-B224-41CD-B4E0-E297462320DD}" dt="2023-11-24T08:43:10.154" v="50698"/>
          <ac:spMkLst>
            <pc:docMk/>
            <pc:sldMk cId="2428257732" sldId="2147478563"/>
            <ac:spMk id="334" creationId="{202849AA-8DB2-3ACC-E622-F341FF5ED40A}"/>
          </ac:spMkLst>
        </pc:spChg>
        <pc:spChg chg="add del mod">
          <ac:chgData name="Steiner Andreas 6206 ED" userId="e6377c33-a923-4f14-8587-531c474c7b48" providerId="ADAL" clId="{6ECD27E6-B224-41CD-B4E0-E297462320DD}" dt="2023-11-24T08:43:12.036" v="50853"/>
          <ac:spMkLst>
            <pc:docMk/>
            <pc:sldMk cId="2428257732" sldId="2147478563"/>
            <ac:spMk id="335" creationId="{3C04E532-8FF3-3289-F150-83A2A07F6CE7}"/>
          </ac:spMkLst>
        </pc:spChg>
        <pc:spChg chg="add del mod">
          <ac:chgData name="Steiner Andreas 6206 ED" userId="e6377c33-a923-4f14-8587-531c474c7b48" providerId="ADAL" clId="{6ECD27E6-B224-41CD-B4E0-E297462320DD}" dt="2023-11-24T08:43:14.072" v="51008"/>
          <ac:spMkLst>
            <pc:docMk/>
            <pc:sldMk cId="2428257732" sldId="2147478563"/>
            <ac:spMk id="336" creationId="{A1970087-14B9-9DE4-121E-F061F17CF724}"/>
          </ac:spMkLst>
        </pc:spChg>
        <pc:spChg chg="add del mod">
          <ac:chgData name="Steiner Andreas 6206 ED" userId="e6377c33-a923-4f14-8587-531c474c7b48" providerId="ADAL" clId="{6ECD27E6-B224-41CD-B4E0-E297462320DD}" dt="2023-11-24T08:43:16.069" v="51163"/>
          <ac:spMkLst>
            <pc:docMk/>
            <pc:sldMk cId="2428257732" sldId="2147478563"/>
            <ac:spMk id="337" creationId="{442E3830-A543-2D6F-252B-6431C61C76DF}"/>
          </ac:spMkLst>
        </pc:spChg>
        <pc:spChg chg="add del mod">
          <ac:chgData name="Steiner Andreas 6206 ED" userId="e6377c33-a923-4f14-8587-531c474c7b48" providerId="ADAL" clId="{6ECD27E6-B224-41CD-B4E0-E297462320DD}" dt="2023-11-24T08:43:18.113" v="51318"/>
          <ac:spMkLst>
            <pc:docMk/>
            <pc:sldMk cId="2428257732" sldId="2147478563"/>
            <ac:spMk id="338" creationId="{09DC023F-33B5-8028-9359-F8DEF4D2686A}"/>
          </ac:spMkLst>
        </pc:spChg>
        <pc:spChg chg="add del mod">
          <ac:chgData name="Steiner Andreas 6206 ED" userId="e6377c33-a923-4f14-8587-531c474c7b48" providerId="ADAL" clId="{6ECD27E6-B224-41CD-B4E0-E297462320DD}" dt="2023-11-24T08:43:20.105" v="51473"/>
          <ac:spMkLst>
            <pc:docMk/>
            <pc:sldMk cId="2428257732" sldId="2147478563"/>
            <ac:spMk id="339" creationId="{BA4F12AC-D46C-A872-67CA-FD51877DD0BA}"/>
          </ac:spMkLst>
        </pc:spChg>
        <pc:spChg chg="add del mod">
          <ac:chgData name="Steiner Andreas 6206 ED" userId="e6377c33-a923-4f14-8587-531c474c7b48" providerId="ADAL" clId="{6ECD27E6-B224-41CD-B4E0-E297462320DD}" dt="2023-11-24T08:43:22.009" v="51628"/>
          <ac:spMkLst>
            <pc:docMk/>
            <pc:sldMk cId="2428257732" sldId="2147478563"/>
            <ac:spMk id="340" creationId="{7CE20EA2-DECA-5FA6-472E-0B599AC3AB49}"/>
          </ac:spMkLst>
        </pc:spChg>
        <pc:spChg chg="add del mod">
          <ac:chgData name="Steiner Andreas 6206 ED" userId="e6377c33-a923-4f14-8587-531c474c7b48" providerId="ADAL" clId="{6ECD27E6-B224-41CD-B4E0-E297462320DD}" dt="2023-11-24T08:43:23.957" v="51783"/>
          <ac:spMkLst>
            <pc:docMk/>
            <pc:sldMk cId="2428257732" sldId="2147478563"/>
            <ac:spMk id="341" creationId="{BB8D5A72-E80E-736B-53D8-FDC9CE1DBF39}"/>
          </ac:spMkLst>
        </pc:spChg>
        <pc:spChg chg="add del mod">
          <ac:chgData name="Steiner Andreas 6206 ED" userId="e6377c33-a923-4f14-8587-531c474c7b48" providerId="ADAL" clId="{6ECD27E6-B224-41CD-B4E0-E297462320DD}" dt="2023-11-24T08:43:25.840" v="51938"/>
          <ac:spMkLst>
            <pc:docMk/>
            <pc:sldMk cId="2428257732" sldId="2147478563"/>
            <ac:spMk id="342" creationId="{3883A8B1-651B-21C0-B013-A21CBCCA0E34}"/>
          </ac:spMkLst>
        </pc:spChg>
        <pc:spChg chg="add del mod">
          <ac:chgData name="Steiner Andreas 6206 ED" userId="e6377c33-a923-4f14-8587-531c474c7b48" providerId="ADAL" clId="{6ECD27E6-B224-41CD-B4E0-E297462320DD}" dt="2023-11-24T08:43:27.654" v="52093"/>
          <ac:spMkLst>
            <pc:docMk/>
            <pc:sldMk cId="2428257732" sldId="2147478563"/>
            <ac:spMk id="343" creationId="{ACC052C3-2153-87F8-E70C-71F12FEF01CC}"/>
          </ac:spMkLst>
        </pc:spChg>
        <pc:spChg chg="add del mod">
          <ac:chgData name="Steiner Andreas 6206 ED" userId="e6377c33-a923-4f14-8587-531c474c7b48" providerId="ADAL" clId="{6ECD27E6-B224-41CD-B4E0-E297462320DD}" dt="2023-11-24T08:43:29.447" v="52248"/>
          <ac:spMkLst>
            <pc:docMk/>
            <pc:sldMk cId="2428257732" sldId="2147478563"/>
            <ac:spMk id="344" creationId="{BDD5FBEF-A226-ADDC-5E62-BCDBFA13C5E4}"/>
          </ac:spMkLst>
        </pc:spChg>
        <pc:spChg chg="add del mod">
          <ac:chgData name="Steiner Andreas 6206 ED" userId="e6377c33-a923-4f14-8587-531c474c7b48" providerId="ADAL" clId="{6ECD27E6-B224-41CD-B4E0-E297462320DD}" dt="2023-11-24T08:43:32.241" v="52403"/>
          <ac:spMkLst>
            <pc:docMk/>
            <pc:sldMk cId="2428257732" sldId="2147478563"/>
            <ac:spMk id="345" creationId="{EAFF174E-3551-4BC9-0BA2-DA4643FDFB6E}"/>
          </ac:spMkLst>
        </pc:spChg>
        <pc:spChg chg="add del mod">
          <ac:chgData name="Steiner Andreas 6206 ED" userId="e6377c33-a923-4f14-8587-531c474c7b48" providerId="ADAL" clId="{6ECD27E6-B224-41CD-B4E0-E297462320DD}" dt="2023-11-24T08:43:34.695" v="52558"/>
          <ac:spMkLst>
            <pc:docMk/>
            <pc:sldMk cId="2428257732" sldId="2147478563"/>
            <ac:spMk id="346" creationId="{FE2E459B-56FB-ED77-7165-FA64C094BC5C}"/>
          </ac:spMkLst>
        </pc:spChg>
        <pc:spChg chg="add del mod">
          <ac:chgData name="Steiner Andreas 6206 ED" userId="e6377c33-a923-4f14-8587-531c474c7b48" providerId="ADAL" clId="{6ECD27E6-B224-41CD-B4E0-E297462320DD}" dt="2023-11-24T08:43:36.776" v="52713"/>
          <ac:spMkLst>
            <pc:docMk/>
            <pc:sldMk cId="2428257732" sldId="2147478563"/>
            <ac:spMk id="347" creationId="{37C8F5B3-EE98-27F4-A34D-A13CC8C552EA}"/>
          </ac:spMkLst>
        </pc:spChg>
        <pc:spChg chg="add del mod">
          <ac:chgData name="Steiner Andreas 6206 ED" userId="e6377c33-a923-4f14-8587-531c474c7b48" providerId="ADAL" clId="{6ECD27E6-B224-41CD-B4E0-E297462320DD}" dt="2023-11-24T08:43:38.902" v="52868"/>
          <ac:spMkLst>
            <pc:docMk/>
            <pc:sldMk cId="2428257732" sldId="2147478563"/>
            <ac:spMk id="348" creationId="{CDD33F19-CA19-3EFD-59F5-C54E33429D60}"/>
          </ac:spMkLst>
        </pc:spChg>
        <pc:spChg chg="add del mod">
          <ac:chgData name="Steiner Andreas 6206 ED" userId="e6377c33-a923-4f14-8587-531c474c7b48" providerId="ADAL" clId="{6ECD27E6-B224-41CD-B4E0-E297462320DD}" dt="2023-11-24T08:43:41.020" v="53023"/>
          <ac:spMkLst>
            <pc:docMk/>
            <pc:sldMk cId="2428257732" sldId="2147478563"/>
            <ac:spMk id="349" creationId="{9903B86F-4BD9-FBA7-AF75-3AFB8A87FE8E}"/>
          </ac:spMkLst>
        </pc:spChg>
        <pc:spChg chg="add del mod">
          <ac:chgData name="Steiner Andreas 6206 ED" userId="e6377c33-a923-4f14-8587-531c474c7b48" providerId="ADAL" clId="{6ECD27E6-B224-41CD-B4E0-E297462320DD}" dt="2023-11-24T08:43:42.960" v="53178"/>
          <ac:spMkLst>
            <pc:docMk/>
            <pc:sldMk cId="2428257732" sldId="2147478563"/>
            <ac:spMk id="350" creationId="{73A22978-A347-3232-5DD7-3C2FB16EF145}"/>
          </ac:spMkLst>
        </pc:spChg>
        <pc:spChg chg="add del mod">
          <ac:chgData name="Steiner Andreas 6206 ED" userId="e6377c33-a923-4f14-8587-531c474c7b48" providerId="ADAL" clId="{6ECD27E6-B224-41CD-B4E0-E297462320DD}" dt="2023-11-24T08:43:44.776" v="53333"/>
          <ac:spMkLst>
            <pc:docMk/>
            <pc:sldMk cId="2428257732" sldId="2147478563"/>
            <ac:spMk id="351" creationId="{017BB3E5-CF73-2163-BBE7-381DF39251F7}"/>
          </ac:spMkLst>
        </pc:spChg>
        <pc:spChg chg="add del mod">
          <ac:chgData name="Steiner Andreas 6206 ED" userId="e6377c33-a923-4f14-8587-531c474c7b48" providerId="ADAL" clId="{6ECD27E6-B224-41CD-B4E0-E297462320DD}" dt="2023-11-24T08:43:46.562" v="53488"/>
          <ac:spMkLst>
            <pc:docMk/>
            <pc:sldMk cId="2428257732" sldId="2147478563"/>
            <ac:spMk id="352" creationId="{C690263C-B38C-A208-DA2B-9A81F707BC80}"/>
          </ac:spMkLst>
        </pc:spChg>
        <pc:spChg chg="add del mod">
          <ac:chgData name="Steiner Andreas 6206 ED" userId="e6377c33-a923-4f14-8587-531c474c7b48" providerId="ADAL" clId="{6ECD27E6-B224-41CD-B4E0-E297462320DD}" dt="2023-11-24T08:43:48.540" v="53643"/>
          <ac:spMkLst>
            <pc:docMk/>
            <pc:sldMk cId="2428257732" sldId="2147478563"/>
            <ac:spMk id="353" creationId="{A47BF05B-5895-B7CC-3EAA-0DE3980A0105}"/>
          </ac:spMkLst>
        </pc:spChg>
        <pc:spChg chg="add del mod">
          <ac:chgData name="Steiner Andreas 6206 ED" userId="e6377c33-a923-4f14-8587-531c474c7b48" providerId="ADAL" clId="{6ECD27E6-B224-41CD-B4E0-E297462320DD}" dt="2023-11-24T08:43:50.468" v="53798"/>
          <ac:spMkLst>
            <pc:docMk/>
            <pc:sldMk cId="2428257732" sldId="2147478563"/>
            <ac:spMk id="354" creationId="{F4D8C346-EDEB-D5FF-2F1D-5A2BBAC261C6}"/>
          </ac:spMkLst>
        </pc:spChg>
        <pc:spChg chg="add del mod">
          <ac:chgData name="Steiner Andreas 6206 ED" userId="e6377c33-a923-4f14-8587-531c474c7b48" providerId="ADAL" clId="{6ECD27E6-B224-41CD-B4E0-E297462320DD}" dt="2023-11-24T08:43:52.748" v="53953"/>
          <ac:spMkLst>
            <pc:docMk/>
            <pc:sldMk cId="2428257732" sldId="2147478563"/>
            <ac:spMk id="355" creationId="{DA33615F-691A-41AD-682E-4BAED44DD49E}"/>
          </ac:spMkLst>
        </pc:spChg>
        <pc:spChg chg="add del mod">
          <ac:chgData name="Steiner Andreas 6206 ED" userId="e6377c33-a923-4f14-8587-531c474c7b48" providerId="ADAL" clId="{6ECD27E6-B224-41CD-B4E0-E297462320DD}" dt="2023-11-24T08:43:55.308" v="54108"/>
          <ac:spMkLst>
            <pc:docMk/>
            <pc:sldMk cId="2428257732" sldId="2147478563"/>
            <ac:spMk id="356" creationId="{38E9D889-62A6-4879-1ACA-4EA1A71A0A98}"/>
          </ac:spMkLst>
        </pc:spChg>
        <pc:spChg chg="add del mod">
          <ac:chgData name="Steiner Andreas 6206 ED" userId="e6377c33-a923-4f14-8587-531c474c7b48" providerId="ADAL" clId="{6ECD27E6-B224-41CD-B4E0-E297462320DD}" dt="2023-11-24T08:43:57.336" v="54263"/>
          <ac:spMkLst>
            <pc:docMk/>
            <pc:sldMk cId="2428257732" sldId="2147478563"/>
            <ac:spMk id="357" creationId="{77F16455-BB13-938A-7576-E05A2EC3ACE8}"/>
          </ac:spMkLst>
        </pc:spChg>
        <pc:spChg chg="add del mod">
          <ac:chgData name="Steiner Andreas 6206 ED" userId="e6377c33-a923-4f14-8587-531c474c7b48" providerId="ADAL" clId="{6ECD27E6-B224-41CD-B4E0-E297462320DD}" dt="2023-11-24T08:43:59.648" v="54418"/>
          <ac:spMkLst>
            <pc:docMk/>
            <pc:sldMk cId="2428257732" sldId="2147478563"/>
            <ac:spMk id="358" creationId="{C4F02D17-CD14-323C-B852-326BD843DAEA}"/>
          </ac:spMkLst>
        </pc:spChg>
        <pc:spChg chg="add del mod">
          <ac:chgData name="Steiner Andreas 6206 ED" userId="e6377c33-a923-4f14-8587-531c474c7b48" providerId="ADAL" clId="{6ECD27E6-B224-41CD-B4E0-E297462320DD}" dt="2023-11-24T08:44:01.805" v="54573"/>
          <ac:spMkLst>
            <pc:docMk/>
            <pc:sldMk cId="2428257732" sldId="2147478563"/>
            <ac:spMk id="359" creationId="{B2DE8F4C-CFBF-3D53-91CA-E8081713A4C2}"/>
          </ac:spMkLst>
        </pc:spChg>
        <pc:spChg chg="add del mod">
          <ac:chgData name="Steiner Andreas 6206 ED" userId="e6377c33-a923-4f14-8587-531c474c7b48" providerId="ADAL" clId="{6ECD27E6-B224-41CD-B4E0-E297462320DD}" dt="2023-11-24T08:44:04.018" v="54728"/>
          <ac:spMkLst>
            <pc:docMk/>
            <pc:sldMk cId="2428257732" sldId="2147478563"/>
            <ac:spMk id="360" creationId="{17ED8C81-B87F-02D7-8FD3-7FDE75266D03}"/>
          </ac:spMkLst>
        </pc:spChg>
        <pc:spChg chg="add del mod">
          <ac:chgData name="Steiner Andreas 6206 ED" userId="e6377c33-a923-4f14-8587-531c474c7b48" providerId="ADAL" clId="{6ECD27E6-B224-41CD-B4E0-E297462320DD}" dt="2023-11-24T08:44:06.042" v="54883"/>
          <ac:spMkLst>
            <pc:docMk/>
            <pc:sldMk cId="2428257732" sldId="2147478563"/>
            <ac:spMk id="361" creationId="{DF42C211-F86A-2602-EF61-FD85B721DCF9}"/>
          </ac:spMkLst>
        </pc:spChg>
        <pc:spChg chg="add del mod">
          <ac:chgData name="Steiner Andreas 6206 ED" userId="e6377c33-a923-4f14-8587-531c474c7b48" providerId="ADAL" clId="{6ECD27E6-B224-41CD-B4E0-E297462320DD}" dt="2023-11-24T08:44:08.012" v="55038"/>
          <ac:spMkLst>
            <pc:docMk/>
            <pc:sldMk cId="2428257732" sldId="2147478563"/>
            <ac:spMk id="362" creationId="{59BF54A8-F076-DE08-F4DF-6CDBB730ED83}"/>
          </ac:spMkLst>
        </pc:spChg>
        <pc:spChg chg="add del mod">
          <ac:chgData name="Steiner Andreas 6206 ED" userId="e6377c33-a923-4f14-8587-531c474c7b48" providerId="ADAL" clId="{6ECD27E6-B224-41CD-B4E0-E297462320DD}" dt="2023-11-24T08:44:09.977" v="55193"/>
          <ac:spMkLst>
            <pc:docMk/>
            <pc:sldMk cId="2428257732" sldId="2147478563"/>
            <ac:spMk id="363" creationId="{09F1701F-1E9A-627F-AB5A-8E55C0D7469A}"/>
          </ac:spMkLst>
        </pc:spChg>
        <pc:spChg chg="add del mod">
          <ac:chgData name="Steiner Andreas 6206 ED" userId="e6377c33-a923-4f14-8587-531c474c7b48" providerId="ADAL" clId="{6ECD27E6-B224-41CD-B4E0-E297462320DD}" dt="2023-11-24T08:44:12.009" v="55348"/>
          <ac:spMkLst>
            <pc:docMk/>
            <pc:sldMk cId="2428257732" sldId="2147478563"/>
            <ac:spMk id="364" creationId="{7D079AA1-CEEB-81F9-1A97-7E489F581224}"/>
          </ac:spMkLst>
        </pc:spChg>
        <pc:spChg chg="add del mod">
          <ac:chgData name="Steiner Andreas 6206 ED" userId="e6377c33-a923-4f14-8587-531c474c7b48" providerId="ADAL" clId="{6ECD27E6-B224-41CD-B4E0-E297462320DD}" dt="2023-11-24T08:44:14.136" v="55503"/>
          <ac:spMkLst>
            <pc:docMk/>
            <pc:sldMk cId="2428257732" sldId="2147478563"/>
            <ac:spMk id="365" creationId="{87806ACF-C4C9-1307-E9E2-A68A5FD11CB1}"/>
          </ac:spMkLst>
        </pc:spChg>
        <pc:spChg chg="add del mod">
          <ac:chgData name="Steiner Andreas 6206 ED" userId="e6377c33-a923-4f14-8587-531c474c7b48" providerId="ADAL" clId="{6ECD27E6-B224-41CD-B4E0-E297462320DD}" dt="2023-11-24T08:44:16.240" v="55658"/>
          <ac:spMkLst>
            <pc:docMk/>
            <pc:sldMk cId="2428257732" sldId="2147478563"/>
            <ac:spMk id="366" creationId="{02010D9B-1F70-DF30-ADAB-3A205560E860}"/>
          </ac:spMkLst>
        </pc:spChg>
        <pc:spChg chg="add del mod">
          <ac:chgData name="Steiner Andreas 6206 ED" userId="e6377c33-a923-4f14-8587-531c474c7b48" providerId="ADAL" clId="{6ECD27E6-B224-41CD-B4E0-E297462320DD}" dt="2023-11-24T08:44:18.733" v="55813"/>
          <ac:spMkLst>
            <pc:docMk/>
            <pc:sldMk cId="2428257732" sldId="2147478563"/>
            <ac:spMk id="367" creationId="{49B91226-32A9-1B1A-EC88-765681A3DE28}"/>
          </ac:spMkLst>
        </pc:spChg>
        <pc:spChg chg="add del mod">
          <ac:chgData name="Steiner Andreas 6206 ED" userId="e6377c33-a923-4f14-8587-531c474c7b48" providerId="ADAL" clId="{6ECD27E6-B224-41CD-B4E0-E297462320DD}" dt="2023-11-24T08:44:21.599" v="55968"/>
          <ac:spMkLst>
            <pc:docMk/>
            <pc:sldMk cId="2428257732" sldId="2147478563"/>
            <ac:spMk id="368" creationId="{F0850851-A9A4-44B4-EC5B-9561BFA4C3B9}"/>
          </ac:spMkLst>
        </pc:spChg>
        <pc:spChg chg="add del mod">
          <ac:chgData name="Steiner Andreas 6206 ED" userId="e6377c33-a923-4f14-8587-531c474c7b48" providerId="ADAL" clId="{6ECD27E6-B224-41CD-B4E0-E297462320DD}" dt="2023-11-24T08:44:23.945" v="56123"/>
          <ac:spMkLst>
            <pc:docMk/>
            <pc:sldMk cId="2428257732" sldId="2147478563"/>
            <ac:spMk id="369" creationId="{9096B919-AFD8-5742-A45E-1A98EFC4F93C}"/>
          </ac:spMkLst>
        </pc:spChg>
        <pc:spChg chg="add del mod">
          <ac:chgData name="Steiner Andreas 6206 ED" userId="e6377c33-a923-4f14-8587-531c474c7b48" providerId="ADAL" clId="{6ECD27E6-B224-41CD-B4E0-E297462320DD}" dt="2023-11-24T08:44:25.878" v="56278"/>
          <ac:spMkLst>
            <pc:docMk/>
            <pc:sldMk cId="2428257732" sldId="2147478563"/>
            <ac:spMk id="370" creationId="{B77738BE-AF0A-4EEC-A9A4-9E2F25CC24A6}"/>
          </ac:spMkLst>
        </pc:spChg>
        <pc:spChg chg="add del mod">
          <ac:chgData name="Steiner Andreas 6206 ED" userId="e6377c33-a923-4f14-8587-531c474c7b48" providerId="ADAL" clId="{6ECD27E6-B224-41CD-B4E0-E297462320DD}" dt="2023-11-24T08:44:28.062" v="56433"/>
          <ac:spMkLst>
            <pc:docMk/>
            <pc:sldMk cId="2428257732" sldId="2147478563"/>
            <ac:spMk id="371" creationId="{65D47FAD-0C56-7952-08FB-4BDD108DDBE2}"/>
          </ac:spMkLst>
        </pc:spChg>
        <pc:spChg chg="add del mod">
          <ac:chgData name="Steiner Andreas 6206 ED" userId="e6377c33-a923-4f14-8587-531c474c7b48" providerId="ADAL" clId="{6ECD27E6-B224-41CD-B4E0-E297462320DD}" dt="2023-11-24T08:44:30.081" v="56588"/>
          <ac:spMkLst>
            <pc:docMk/>
            <pc:sldMk cId="2428257732" sldId="2147478563"/>
            <ac:spMk id="372" creationId="{5BF67420-E8D8-AE62-6699-03B2BB5742F3}"/>
          </ac:spMkLst>
        </pc:spChg>
        <pc:spChg chg="add del mod">
          <ac:chgData name="Steiner Andreas 6206 ED" userId="e6377c33-a923-4f14-8587-531c474c7b48" providerId="ADAL" clId="{6ECD27E6-B224-41CD-B4E0-E297462320DD}" dt="2023-11-24T08:44:32.029" v="56743"/>
          <ac:spMkLst>
            <pc:docMk/>
            <pc:sldMk cId="2428257732" sldId="2147478563"/>
            <ac:spMk id="373" creationId="{05CF022A-2C9D-33C2-86E8-47FFA7F1F14D}"/>
          </ac:spMkLst>
        </pc:spChg>
        <pc:spChg chg="add del mod">
          <ac:chgData name="Steiner Andreas 6206 ED" userId="e6377c33-a923-4f14-8587-531c474c7b48" providerId="ADAL" clId="{6ECD27E6-B224-41CD-B4E0-E297462320DD}" dt="2023-11-24T08:44:33.994" v="56898"/>
          <ac:spMkLst>
            <pc:docMk/>
            <pc:sldMk cId="2428257732" sldId="2147478563"/>
            <ac:spMk id="374" creationId="{D40A011A-9565-DD13-DA08-CB707B751046}"/>
          </ac:spMkLst>
        </pc:spChg>
        <pc:spChg chg="add del mod">
          <ac:chgData name="Steiner Andreas 6206 ED" userId="e6377c33-a923-4f14-8587-531c474c7b48" providerId="ADAL" clId="{6ECD27E6-B224-41CD-B4E0-E297462320DD}" dt="2023-11-24T08:44:36.523" v="57053"/>
          <ac:spMkLst>
            <pc:docMk/>
            <pc:sldMk cId="2428257732" sldId="2147478563"/>
            <ac:spMk id="375" creationId="{688009CB-540F-7EB0-BCA5-0C4199F5B5DD}"/>
          </ac:spMkLst>
        </pc:spChg>
        <pc:spChg chg="add del mod">
          <ac:chgData name="Steiner Andreas 6206 ED" userId="e6377c33-a923-4f14-8587-531c474c7b48" providerId="ADAL" clId="{6ECD27E6-B224-41CD-B4E0-E297462320DD}" dt="2023-11-24T08:44:39.149" v="57208"/>
          <ac:spMkLst>
            <pc:docMk/>
            <pc:sldMk cId="2428257732" sldId="2147478563"/>
            <ac:spMk id="376" creationId="{4210F59C-54DB-A48B-0855-FA1A0B6763FF}"/>
          </ac:spMkLst>
        </pc:spChg>
        <pc:spChg chg="add del mod">
          <ac:chgData name="Steiner Andreas 6206 ED" userId="e6377c33-a923-4f14-8587-531c474c7b48" providerId="ADAL" clId="{6ECD27E6-B224-41CD-B4E0-E297462320DD}" dt="2023-11-24T08:44:41.399" v="57363"/>
          <ac:spMkLst>
            <pc:docMk/>
            <pc:sldMk cId="2428257732" sldId="2147478563"/>
            <ac:spMk id="377" creationId="{DCFCB31B-D85B-6DB2-D3B6-52602B27EA44}"/>
          </ac:spMkLst>
        </pc:spChg>
        <pc:spChg chg="add del mod">
          <ac:chgData name="Steiner Andreas 6206 ED" userId="e6377c33-a923-4f14-8587-531c474c7b48" providerId="ADAL" clId="{6ECD27E6-B224-41CD-B4E0-E297462320DD}" dt="2023-11-24T08:44:43.540" v="57518"/>
          <ac:spMkLst>
            <pc:docMk/>
            <pc:sldMk cId="2428257732" sldId="2147478563"/>
            <ac:spMk id="378" creationId="{F13E0134-4399-09F4-43F8-7BC161043C79}"/>
          </ac:spMkLst>
        </pc:spChg>
        <pc:spChg chg="add del mod">
          <ac:chgData name="Steiner Andreas 6206 ED" userId="e6377c33-a923-4f14-8587-531c474c7b48" providerId="ADAL" clId="{6ECD27E6-B224-41CD-B4E0-E297462320DD}" dt="2023-11-24T08:44:45.715" v="57673"/>
          <ac:spMkLst>
            <pc:docMk/>
            <pc:sldMk cId="2428257732" sldId="2147478563"/>
            <ac:spMk id="379" creationId="{AE9AE4AF-331F-2BDA-69FE-D065C660C871}"/>
          </ac:spMkLst>
        </pc:spChg>
        <pc:spChg chg="add del mod">
          <ac:chgData name="Steiner Andreas 6206 ED" userId="e6377c33-a923-4f14-8587-531c474c7b48" providerId="ADAL" clId="{6ECD27E6-B224-41CD-B4E0-E297462320DD}" dt="2023-11-24T08:44:48.486" v="57828"/>
          <ac:spMkLst>
            <pc:docMk/>
            <pc:sldMk cId="2428257732" sldId="2147478563"/>
            <ac:spMk id="380" creationId="{9184D255-F852-BA2B-870D-DA590FFF30C9}"/>
          </ac:spMkLst>
        </pc:spChg>
        <pc:spChg chg="add del mod">
          <ac:chgData name="Steiner Andreas 6206 ED" userId="e6377c33-a923-4f14-8587-531c474c7b48" providerId="ADAL" clId="{6ECD27E6-B224-41CD-B4E0-E297462320DD}" dt="2023-11-24T08:44:50.689" v="57983"/>
          <ac:spMkLst>
            <pc:docMk/>
            <pc:sldMk cId="2428257732" sldId="2147478563"/>
            <ac:spMk id="381" creationId="{DD70044A-C830-67AC-7C0D-339A4CCD1546}"/>
          </ac:spMkLst>
        </pc:spChg>
        <pc:spChg chg="add del mod">
          <ac:chgData name="Steiner Andreas 6206 ED" userId="e6377c33-a923-4f14-8587-531c474c7b48" providerId="ADAL" clId="{6ECD27E6-B224-41CD-B4E0-E297462320DD}" dt="2023-11-24T08:44:52.853" v="58138"/>
          <ac:spMkLst>
            <pc:docMk/>
            <pc:sldMk cId="2428257732" sldId="2147478563"/>
            <ac:spMk id="382" creationId="{4C41A8AF-E7A1-F210-801D-8E12713C31B5}"/>
          </ac:spMkLst>
        </pc:spChg>
        <pc:spChg chg="add del mod">
          <ac:chgData name="Steiner Andreas 6206 ED" userId="e6377c33-a923-4f14-8587-531c474c7b48" providerId="ADAL" clId="{6ECD27E6-B224-41CD-B4E0-E297462320DD}" dt="2023-11-24T08:44:55.045" v="58293"/>
          <ac:spMkLst>
            <pc:docMk/>
            <pc:sldMk cId="2428257732" sldId="2147478563"/>
            <ac:spMk id="383" creationId="{135ADED0-18C7-B5BC-1C7E-67BD81D3D6D9}"/>
          </ac:spMkLst>
        </pc:spChg>
        <pc:spChg chg="add del mod">
          <ac:chgData name="Steiner Andreas 6206 ED" userId="e6377c33-a923-4f14-8587-531c474c7b48" providerId="ADAL" clId="{6ECD27E6-B224-41CD-B4E0-E297462320DD}" dt="2023-11-24T08:44:57.035" v="58448"/>
          <ac:spMkLst>
            <pc:docMk/>
            <pc:sldMk cId="2428257732" sldId="2147478563"/>
            <ac:spMk id="384" creationId="{91335C1C-569E-0C8E-739B-95DA46C56146}"/>
          </ac:spMkLst>
        </pc:spChg>
        <pc:spChg chg="add del mod">
          <ac:chgData name="Steiner Andreas 6206 ED" userId="e6377c33-a923-4f14-8587-531c474c7b48" providerId="ADAL" clId="{6ECD27E6-B224-41CD-B4E0-E297462320DD}" dt="2023-11-24T08:44:58.977" v="58603"/>
          <ac:spMkLst>
            <pc:docMk/>
            <pc:sldMk cId="2428257732" sldId="2147478563"/>
            <ac:spMk id="385" creationId="{9F3CE8AA-D2B9-FC14-1FD7-1BC46BA1EA2B}"/>
          </ac:spMkLst>
        </pc:spChg>
        <pc:spChg chg="add del mod">
          <ac:chgData name="Steiner Andreas 6206 ED" userId="e6377c33-a923-4f14-8587-531c474c7b48" providerId="ADAL" clId="{6ECD27E6-B224-41CD-B4E0-E297462320DD}" dt="2023-11-24T08:45:01.140" v="58758"/>
          <ac:spMkLst>
            <pc:docMk/>
            <pc:sldMk cId="2428257732" sldId="2147478563"/>
            <ac:spMk id="386" creationId="{09774591-F095-2875-DD4B-021BD217E830}"/>
          </ac:spMkLst>
        </pc:spChg>
        <pc:spChg chg="add del mod">
          <ac:chgData name="Steiner Andreas 6206 ED" userId="e6377c33-a923-4f14-8587-531c474c7b48" providerId="ADAL" clId="{6ECD27E6-B224-41CD-B4E0-E297462320DD}" dt="2023-11-24T08:45:03.051" v="58913"/>
          <ac:spMkLst>
            <pc:docMk/>
            <pc:sldMk cId="2428257732" sldId="2147478563"/>
            <ac:spMk id="387" creationId="{A4A18AB8-FB7C-F355-44AD-CAE6B4DB0D16}"/>
          </ac:spMkLst>
        </pc:spChg>
        <pc:spChg chg="add del mod">
          <ac:chgData name="Steiner Andreas 6206 ED" userId="e6377c33-a923-4f14-8587-531c474c7b48" providerId="ADAL" clId="{6ECD27E6-B224-41CD-B4E0-E297462320DD}" dt="2023-11-24T08:45:04.897" v="59068"/>
          <ac:spMkLst>
            <pc:docMk/>
            <pc:sldMk cId="2428257732" sldId="2147478563"/>
            <ac:spMk id="388" creationId="{0B47726C-EF91-ACA6-0793-E62AD251379F}"/>
          </ac:spMkLst>
        </pc:spChg>
        <pc:spChg chg="add del mod">
          <ac:chgData name="Steiner Andreas 6206 ED" userId="e6377c33-a923-4f14-8587-531c474c7b48" providerId="ADAL" clId="{6ECD27E6-B224-41CD-B4E0-E297462320DD}" dt="2023-11-24T08:45:06.739" v="59223"/>
          <ac:spMkLst>
            <pc:docMk/>
            <pc:sldMk cId="2428257732" sldId="2147478563"/>
            <ac:spMk id="389" creationId="{3AF6DE93-750A-B67B-0B1B-9D3C754D8647}"/>
          </ac:spMkLst>
        </pc:spChg>
        <pc:spChg chg="add del mod">
          <ac:chgData name="Steiner Andreas 6206 ED" userId="e6377c33-a923-4f14-8587-531c474c7b48" providerId="ADAL" clId="{6ECD27E6-B224-41CD-B4E0-E297462320DD}" dt="2023-11-24T08:45:08.564" v="59378"/>
          <ac:spMkLst>
            <pc:docMk/>
            <pc:sldMk cId="2428257732" sldId="2147478563"/>
            <ac:spMk id="390" creationId="{84528886-203C-FF88-1083-D4753D36CDC7}"/>
          </ac:spMkLst>
        </pc:spChg>
        <pc:spChg chg="add del mod">
          <ac:chgData name="Steiner Andreas 6206 ED" userId="e6377c33-a923-4f14-8587-531c474c7b48" providerId="ADAL" clId="{6ECD27E6-B224-41CD-B4E0-E297462320DD}" dt="2023-11-24T08:45:10.433" v="59533"/>
          <ac:spMkLst>
            <pc:docMk/>
            <pc:sldMk cId="2428257732" sldId="2147478563"/>
            <ac:spMk id="391" creationId="{34D2E806-D918-EE27-35A8-FD8CC31D61A1}"/>
          </ac:spMkLst>
        </pc:spChg>
        <pc:spChg chg="add del mod">
          <ac:chgData name="Steiner Andreas 6206 ED" userId="e6377c33-a923-4f14-8587-531c474c7b48" providerId="ADAL" clId="{6ECD27E6-B224-41CD-B4E0-E297462320DD}" dt="2023-11-24T08:45:12.481" v="59688"/>
          <ac:spMkLst>
            <pc:docMk/>
            <pc:sldMk cId="2428257732" sldId="2147478563"/>
            <ac:spMk id="392" creationId="{6D2AB7B1-C798-7BE2-1855-4E38E7218EF1}"/>
          </ac:spMkLst>
        </pc:spChg>
        <pc:spChg chg="add del mod">
          <ac:chgData name="Steiner Andreas 6206 ED" userId="e6377c33-a923-4f14-8587-531c474c7b48" providerId="ADAL" clId="{6ECD27E6-B224-41CD-B4E0-E297462320DD}" dt="2023-11-24T08:45:14.433" v="59843"/>
          <ac:spMkLst>
            <pc:docMk/>
            <pc:sldMk cId="2428257732" sldId="2147478563"/>
            <ac:spMk id="393" creationId="{E2D09B6D-7342-F979-4BB0-B102130A97C5}"/>
          </ac:spMkLst>
        </pc:spChg>
        <pc:spChg chg="add del mod">
          <ac:chgData name="Steiner Andreas 6206 ED" userId="e6377c33-a923-4f14-8587-531c474c7b48" providerId="ADAL" clId="{6ECD27E6-B224-41CD-B4E0-E297462320DD}" dt="2023-11-24T08:45:16.483" v="59998"/>
          <ac:spMkLst>
            <pc:docMk/>
            <pc:sldMk cId="2428257732" sldId="2147478563"/>
            <ac:spMk id="394" creationId="{3B022E1F-3F38-9A93-8A03-94515096D396}"/>
          </ac:spMkLst>
        </pc:spChg>
        <pc:spChg chg="add del mod">
          <ac:chgData name="Steiner Andreas 6206 ED" userId="e6377c33-a923-4f14-8587-531c474c7b48" providerId="ADAL" clId="{6ECD27E6-B224-41CD-B4E0-E297462320DD}" dt="2023-11-24T08:45:18.431" v="60153"/>
          <ac:spMkLst>
            <pc:docMk/>
            <pc:sldMk cId="2428257732" sldId="2147478563"/>
            <ac:spMk id="395" creationId="{F1E7886D-0889-86AA-20D5-48DDABC46C2C}"/>
          </ac:spMkLst>
        </pc:spChg>
        <pc:spChg chg="add del mod">
          <ac:chgData name="Steiner Andreas 6206 ED" userId="e6377c33-a923-4f14-8587-531c474c7b48" providerId="ADAL" clId="{6ECD27E6-B224-41CD-B4E0-E297462320DD}" dt="2023-11-24T08:45:20.322" v="60308"/>
          <ac:spMkLst>
            <pc:docMk/>
            <pc:sldMk cId="2428257732" sldId="2147478563"/>
            <ac:spMk id="396" creationId="{A72DEBFC-7057-4E72-DB79-0DC3A07AAAAE}"/>
          </ac:spMkLst>
        </pc:spChg>
        <pc:spChg chg="add del mod">
          <ac:chgData name="Steiner Andreas 6206 ED" userId="e6377c33-a923-4f14-8587-531c474c7b48" providerId="ADAL" clId="{6ECD27E6-B224-41CD-B4E0-E297462320DD}" dt="2023-11-24T08:45:22.540" v="60463"/>
          <ac:spMkLst>
            <pc:docMk/>
            <pc:sldMk cId="2428257732" sldId="2147478563"/>
            <ac:spMk id="397" creationId="{532CDA90-CA13-7DC3-DBF0-567316BD4C7C}"/>
          </ac:spMkLst>
        </pc:spChg>
        <pc:spChg chg="add del mod">
          <ac:chgData name="Steiner Andreas 6206 ED" userId="e6377c33-a923-4f14-8587-531c474c7b48" providerId="ADAL" clId="{6ECD27E6-B224-41CD-B4E0-E297462320DD}" dt="2023-11-24T08:45:24.713" v="60618"/>
          <ac:spMkLst>
            <pc:docMk/>
            <pc:sldMk cId="2428257732" sldId="2147478563"/>
            <ac:spMk id="398" creationId="{256DA0B9-BF59-A62C-9EF7-FF0B75A47E64}"/>
          </ac:spMkLst>
        </pc:spChg>
        <pc:spChg chg="add del mod">
          <ac:chgData name="Steiner Andreas 6206 ED" userId="e6377c33-a923-4f14-8587-531c474c7b48" providerId="ADAL" clId="{6ECD27E6-B224-41CD-B4E0-E297462320DD}" dt="2023-11-24T08:45:26.641" v="60773"/>
          <ac:spMkLst>
            <pc:docMk/>
            <pc:sldMk cId="2428257732" sldId="2147478563"/>
            <ac:spMk id="399" creationId="{9DDAD876-76A6-55F8-96CB-C64C13156136}"/>
          </ac:spMkLst>
        </pc:spChg>
        <pc:spChg chg="add del mod">
          <ac:chgData name="Steiner Andreas 6206 ED" userId="e6377c33-a923-4f14-8587-531c474c7b48" providerId="ADAL" clId="{6ECD27E6-B224-41CD-B4E0-E297462320DD}" dt="2023-11-24T08:45:28.519" v="60928"/>
          <ac:spMkLst>
            <pc:docMk/>
            <pc:sldMk cId="2428257732" sldId="2147478563"/>
            <ac:spMk id="400" creationId="{3B82C88C-25E7-5A74-90DA-9F8C38F5E4DE}"/>
          </ac:spMkLst>
        </pc:spChg>
        <pc:spChg chg="add del mod">
          <ac:chgData name="Steiner Andreas 6206 ED" userId="e6377c33-a923-4f14-8587-531c474c7b48" providerId="ADAL" clId="{6ECD27E6-B224-41CD-B4E0-E297462320DD}" dt="2023-11-24T08:45:30.369" v="61083"/>
          <ac:spMkLst>
            <pc:docMk/>
            <pc:sldMk cId="2428257732" sldId="2147478563"/>
            <ac:spMk id="401" creationId="{45DD789E-B94B-66F1-9356-34B631C89F07}"/>
          </ac:spMkLst>
        </pc:spChg>
        <pc:spChg chg="add del mod">
          <ac:chgData name="Steiner Andreas 6206 ED" userId="e6377c33-a923-4f14-8587-531c474c7b48" providerId="ADAL" clId="{6ECD27E6-B224-41CD-B4E0-E297462320DD}" dt="2023-11-24T08:45:32.201" v="61238"/>
          <ac:spMkLst>
            <pc:docMk/>
            <pc:sldMk cId="2428257732" sldId="2147478563"/>
            <ac:spMk id="402" creationId="{593E4F5A-516B-5A9E-9B42-A374A3953988}"/>
          </ac:spMkLst>
        </pc:spChg>
        <pc:spChg chg="add del mod">
          <ac:chgData name="Steiner Andreas 6206 ED" userId="e6377c33-a923-4f14-8587-531c474c7b48" providerId="ADAL" clId="{6ECD27E6-B224-41CD-B4E0-E297462320DD}" dt="2023-11-24T08:45:34.390" v="61393"/>
          <ac:spMkLst>
            <pc:docMk/>
            <pc:sldMk cId="2428257732" sldId="2147478563"/>
            <ac:spMk id="403" creationId="{02258346-68D5-56C2-EB42-E70FB763BAFC}"/>
          </ac:spMkLst>
        </pc:spChg>
        <pc:spChg chg="add del mod">
          <ac:chgData name="Steiner Andreas 6206 ED" userId="e6377c33-a923-4f14-8587-531c474c7b48" providerId="ADAL" clId="{6ECD27E6-B224-41CD-B4E0-E297462320DD}" dt="2023-11-24T08:45:36.426" v="61548"/>
          <ac:spMkLst>
            <pc:docMk/>
            <pc:sldMk cId="2428257732" sldId="2147478563"/>
            <ac:spMk id="404" creationId="{A84427CF-EB63-D378-CE3C-60014B6AEF64}"/>
          </ac:spMkLst>
        </pc:spChg>
        <pc:spChg chg="add del mod">
          <ac:chgData name="Steiner Andreas 6206 ED" userId="e6377c33-a923-4f14-8587-531c474c7b48" providerId="ADAL" clId="{6ECD27E6-B224-41CD-B4E0-E297462320DD}" dt="2023-11-24T08:45:38.272" v="61703"/>
          <ac:spMkLst>
            <pc:docMk/>
            <pc:sldMk cId="2428257732" sldId="2147478563"/>
            <ac:spMk id="405" creationId="{630C4130-106B-31F7-4F28-87B6EDA7FE5F}"/>
          </ac:spMkLst>
        </pc:spChg>
        <pc:spChg chg="add del mod">
          <ac:chgData name="Steiner Andreas 6206 ED" userId="e6377c33-a923-4f14-8587-531c474c7b48" providerId="ADAL" clId="{6ECD27E6-B224-41CD-B4E0-E297462320DD}" dt="2023-11-24T08:45:40.170" v="61858"/>
          <ac:spMkLst>
            <pc:docMk/>
            <pc:sldMk cId="2428257732" sldId="2147478563"/>
            <ac:spMk id="406" creationId="{2B865F41-9127-8DDC-C837-6003D39F29A6}"/>
          </ac:spMkLst>
        </pc:spChg>
        <pc:spChg chg="add del mod">
          <ac:chgData name="Steiner Andreas 6206 ED" userId="e6377c33-a923-4f14-8587-531c474c7b48" providerId="ADAL" clId="{6ECD27E6-B224-41CD-B4E0-E297462320DD}" dt="2023-11-24T08:45:42.202" v="62013"/>
          <ac:spMkLst>
            <pc:docMk/>
            <pc:sldMk cId="2428257732" sldId="2147478563"/>
            <ac:spMk id="407" creationId="{61A407A9-7B8D-1219-66D3-6B405B51CDA6}"/>
          </ac:spMkLst>
        </pc:spChg>
        <pc:spChg chg="add del mod">
          <ac:chgData name="Steiner Andreas 6206 ED" userId="e6377c33-a923-4f14-8587-531c474c7b48" providerId="ADAL" clId="{6ECD27E6-B224-41CD-B4E0-E297462320DD}" dt="2023-11-24T08:45:44.170" v="62168"/>
          <ac:spMkLst>
            <pc:docMk/>
            <pc:sldMk cId="2428257732" sldId="2147478563"/>
            <ac:spMk id="408" creationId="{FFBC7E82-2667-A745-4CB9-D1DA7568F2D9}"/>
          </ac:spMkLst>
        </pc:spChg>
        <pc:spChg chg="add del mod">
          <ac:chgData name="Steiner Andreas 6206 ED" userId="e6377c33-a923-4f14-8587-531c474c7b48" providerId="ADAL" clId="{6ECD27E6-B224-41CD-B4E0-E297462320DD}" dt="2023-11-24T08:45:46.284" v="62323"/>
          <ac:spMkLst>
            <pc:docMk/>
            <pc:sldMk cId="2428257732" sldId="2147478563"/>
            <ac:spMk id="409" creationId="{AE7FC52F-1EB2-64EB-1C7D-7885FAC55AB9}"/>
          </ac:spMkLst>
        </pc:spChg>
        <pc:spChg chg="add del mod">
          <ac:chgData name="Steiner Andreas 6206 ED" userId="e6377c33-a923-4f14-8587-531c474c7b48" providerId="ADAL" clId="{6ECD27E6-B224-41CD-B4E0-E297462320DD}" dt="2023-11-24T08:45:48.187" v="62478"/>
          <ac:spMkLst>
            <pc:docMk/>
            <pc:sldMk cId="2428257732" sldId="2147478563"/>
            <ac:spMk id="410" creationId="{11095E34-C372-0B3A-262F-0F8BA646A0FD}"/>
          </ac:spMkLst>
        </pc:spChg>
        <pc:spChg chg="add del mod">
          <ac:chgData name="Steiner Andreas 6206 ED" userId="e6377c33-a923-4f14-8587-531c474c7b48" providerId="ADAL" clId="{6ECD27E6-B224-41CD-B4E0-E297462320DD}" dt="2023-11-24T08:45:50.540" v="62633"/>
          <ac:spMkLst>
            <pc:docMk/>
            <pc:sldMk cId="2428257732" sldId="2147478563"/>
            <ac:spMk id="411" creationId="{6D9F4F14-55EF-0BF8-3BFF-688029DC52F9}"/>
          </ac:spMkLst>
        </pc:spChg>
        <pc:spChg chg="add del mod">
          <ac:chgData name="Steiner Andreas 6206 ED" userId="e6377c33-a923-4f14-8587-531c474c7b48" providerId="ADAL" clId="{6ECD27E6-B224-41CD-B4E0-E297462320DD}" dt="2023-11-24T08:45:52.547" v="62788"/>
          <ac:spMkLst>
            <pc:docMk/>
            <pc:sldMk cId="2428257732" sldId="2147478563"/>
            <ac:spMk id="412" creationId="{DBFE5DF3-51D7-1785-8E89-EB9B69067B10}"/>
          </ac:spMkLst>
        </pc:spChg>
        <pc:spChg chg="add del mod">
          <ac:chgData name="Steiner Andreas 6206 ED" userId="e6377c33-a923-4f14-8587-531c474c7b48" providerId="ADAL" clId="{6ECD27E6-B224-41CD-B4E0-E297462320DD}" dt="2023-11-24T08:45:54.560" v="62943"/>
          <ac:spMkLst>
            <pc:docMk/>
            <pc:sldMk cId="2428257732" sldId="2147478563"/>
            <ac:spMk id="413" creationId="{E78B8F69-7D64-9DF5-04D8-49B61824ACC5}"/>
          </ac:spMkLst>
        </pc:spChg>
        <pc:spChg chg="add del mod">
          <ac:chgData name="Steiner Andreas 6206 ED" userId="e6377c33-a923-4f14-8587-531c474c7b48" providerId="ADAL" clId="{6ECD27E6-B224-41CD-B4E0-E297462320DD}" dt="2023-11-24T08:45:56.768" v="63098"/>
          <ac:spMkLst>
            <pc:docMk/>
            <pc:sldMk cId="2428257732" sldId="2147478563"/>
            <ac:spMk id="414" creationId="{A7CD5D15-F49F-F0A6-A336-31E6BD6EB74B}"/>
          </ac:spMkLst>
        </pc:spChg>
        <pc:spChg chg="add del mod">
          <ac:chgData name="Steiner Andreas 6206 ED" userId="e6377c33-a923-4f14-8587-531c474c7b48" providerId="ADAL" clId="{6ECD27E6-B224-41CD-B4E0-E297462320DD}" dt="2023-11-24T08:45:58.788" v="63253"/>
          <ac:spMkLst>
            <pc:docMk/>
            <pc:sldMk cId="2428257732" sldId="2147478563"/>
            <ac:spMk id="415" creationId="{E90D8417-8F8C-1D3C-3BFB-283B5E2A59EB}"/>
          </ac:spMkLst>
        </pc:spChg>
        <pc:spChg chg="add del mod">
          <ac:chgData name="Steiner Andreas 6206 ED" userId="e6377c33-a923-4f14-8587-531c474c7b48" providerId="ADAL" clId="{6ECD27E6-B224-41CD-B4E0-E297462320DD}" dt="2023-11-24T08:46:00.881" v="63408"/>
          <ac:spMkLst>
            <pc:docMk/>
            <pc:sldMk cId="2428257732" sldId="2147478563"/>
            <ac:spMk id="416" creationId="{2A283A6A-D71B-9A8E-AD8F-50E3C53D89B5}"/>
          </ac:spMkLst>
        </pc:spChg>
        <pc:spChg chg="add del mod">
          <ac:chgData name="Steiner Andreas 6206 ED" userId="e6377c33-a923-4f14-8587-531c474c7b48" providerId="ADAL" clId="{6ECD27E6-B224-41CD-B4E0-E297462320DD}" dt="2023-11-24T08:46:02.951" v="63563"/>
          <ac:spMkLst>
            <pc:docMk/>
            <pc:sldMk cId="2428257732" sldId="2147478563"/>
            <ac:spMk id="417" creationId="{04FBE7BA-73C3-32C9-0B5B-18F4A6CE31F1}"/>
          </ac:spMkLst>
        </pc:spChg>
        <pc:spChg chg="add del mod">
          <ac:chgData name="Steiner Andreas 6206 ED" userId="e6377c33-a923-4f14-8587-531c474c7b48" providerId="ADAL" clId="{6ECD27E6-B224-41CD-B4E0-E297462320DD}" dt="2023-11-24T08:46:05.411" v="63718"/>
          <ac:spMkLst>
            <pc:docMk/>
            <pc:sldMk cId="2428257732" sldId="2147478563"/>
            <ac:spMk id="418" creationId="{6C06285E-94A3-FADB-522B-90201D93BBD5}"/>
          </ac:spMkLst>
        </pc:spChg>
        <pc:spChg chg="add del mod">
          <ac:chgData name="Steiner Andreas 6206 ED" userId="e6377c33-a923-4f14-8587-531c474c7b48" providerId="ADAL" clId="{6ECD27E6-B224-41CD-B4E0-E297462320DD}" dt="2023-11-24T08:46:07.923" v="63873"/>
          <ac:spMkLst>
            <pc:docMk/>
            <pc:sldMk cId="2428257732" sldId="2147478563"/>
            <ac:spMk id="419" creationId="{E7C5ABC2-B7D5-E5E1-73C6-F13F046A0CEE}"/>
          </ac:spMkLst>
        </pc:spChg>
        <pc:spChg chg="add del mod">
          <ac:chgData name="Steiner Andreas 6206 ED" userId="e6377c33-a923-4f14-8587-531c474c7b48" providerId="ADAL" clId="{6ECD27E6-B224-41CD-B4E0-E297462320DD}" dt="2023-11-24T08:46:10.043" v="64028"/>
          <ac:spMkLst>
            <pc:docMk/>
            <pc:sldMk cId="2428257732" sldId="2147478563"/>
            <ac:spMk id="420" creationId="{191E554E-B3ED-07F3-1020-D381A0441917}"/>
          </ac:spMkLst>
        </pc:spChg>
        <pc:spChg chg="add del mod">
          <ac:chgData name="Steiner Andreas 6206 ED" userId="e6377c33-a923-4f14-8587-531c474c7b48" providerId="ADAL" clId="{6ECD27E6-B224-41CD-B4E0-E297462320DD}" dt="2023-11-24T08:46:12.258" v="64183"/>
          <ac:spMkLst>
            <pc:docMk/>
            <pc:sldMk cId="2428257732" sldId="2147478563"/>
            <ac:spMk id="421" creationId="{C41E6FA8-D645-889C-445A-9190735D5306}"/>
          </ac:spMkLst>
        </pc:spChg>
        <pc:spChg chg="add del mod">
          <ac:chgData name="Steiner Andreas 6206 ED" userId="e6377c33-a923-4f14-8587-531c474c7b48" providerId="ADAL" clId="{6ECD27E6-B224-41CD-B4E0-E297462320DD}" dt="2023-11-24T08:46:14.440" v="64338"/>
          <ac:spMkLst>
            <pc:docMk/>
            <pc:sldMk cId="2428257732" sldId="2147478563"/>
            <ac:spMk id="422" creationId="{D1546D60-2CA6-2243-047E-685C7173F5AE}"/>
          </ac:spMkLst>
        </pc:spChg>
        <pc:spChg chg="add del mod">
          <ac:chgData name="Steiner Andreas 6206 ED" userId="e6377c33-a923-4f14-8587-531c474c7b48" providerId="ADAL" clId="{6ECD27E6-B224-41CD-B4E0-E297462320DD}" dt="2023-11-24T08:46:16.610" v="64493"/>
          <ac:spMkLst>
            <pc:docMk/>
            <pc:sldMk cId="2428257732" sldId="2147478563"/>
            <ac:spMk id="423" creationId="{E11D90F8-E73A-B4BA-2FB7-F58049710900}"/>
          </ac:spMkLst>
        </pc:spChg>
        <pc:spChg chg="add del mod">
          <ac:chgData name="Steiner Andreas 6206 ED" userId="e6377c33-a923-4f14-8587-531c474c7b48" providerId="ADAL" clId="{6ECD27E6-B224-41CD-B4E0-E297462320DD}" dt="2023-11-24T08:46:18.509" v="64648"/>
          <ac:spMkLst>
            <pc:docMk/>
            <pc:sldMk cId="2428257732" sldId="2147478563"/>
            <ac:spMk id="424" creationId="{483DF143-5155-BA75-18CF-327345A9D77B}"/>
          </ac:spMkLst>
        </pc:spChg>
        <pc:spChg chg="add del mod">
          <ac:chgData name="Steiner Andreas 6206 ED" userId="e6377c33-a923-4f14-8587-531c474c7b48" providerId="ADAL" clId="{6ECD27E6-B224-41CD-B4E0-E297462320DD}" dt="2023-11-24T08:46:21.048" v="64803"/>
          <ac:spMkLst>
            <pc:docMk/>
            <pc:sldMk cId="2428257732" sldId="2147478563"/>
            <ac:spMk id="425" creationId="{2C147174-BFDC-1A3B-9D53-CAFE519DBCB6}"/>
          </ac:spMkLst>
        </pc:spChg>
        <pc:spChg chg="add del mod">
          <ac:chgData name="Steiner Andreas 6206 ED" userId="e6377c33-a923-4f14-8587-531c474c7b48" providerId="ADAL" clId="{6ECD27E6-B224-41CD-B4E0-E297462320DD}" dt="2023-11-24T08:46:23.391" v="64958"/>
          <ac:spMkLst>
            <pc:docMk/>
            <pc:sldMk cId="2428257732" sldId="2147478563"/>
            <ac:spMk id="426" creationId="{BFF25AE7-166C-488D-9503-EA730D8FC4F2}"/>
          </ac:spMkLst>
        </pc:spChg>
        <pc:spChg chg="add del mod">
          <ac:chgData name="Steiner Andreas 6206 ED" userId="e6377c33-a923-4f14-8587-531c474c7b48" providerId="ADAL" clId="{6ECD27E6-B224-41CD-B4E0-E297462320DD}" dt="2023-11-24T08:46:25.521" v="65113"/>
          <ac:spMkLst>
            <pc:docMk/>
            <pc:sldMk cId="2428257732" sldId="2147478563"/>
            <ac:spMk id="427" creationId="{594B7875-B790-6947-7368-ADA7677FA390}"/>
          </ac:spMkLst>
        </pc:spChg>
        <pc:spChg chg="add del mod">
          <ac:chgData name="Steiner Andreas 6206 ED" userId="e6377c33-a923-4f14-8587-531c474c7b48" providerId="ADAL" clId="{6ECD27E6-B224-41CD-B4E0-E297462320DD}" dt="2023-11-24T08:46:27.843" v="65268"/>
          <ac:spMkLst>
            <pc:docMk/>
            <pc:sldMk cId="2428257732" sldId="2147478563"/>
            <ac:spMk id="428" creationId="{B5B1FD8B-E811-EF01-AD8D-5EE9E35454BA}"/>
          </ac:spMkLst>
        </pc:spChg>
        <pc:spChg chg="add del mod">
          <ac:chgData name="Steiner Andreas 6206 ED" userId="e6377c33-a923-4f14-8587-531c474c7b48" providerId="ADAL" clId="{6ECD27E6-B224-41CD-B4E0-E297462320DD}" dt="2023-11-24T08:46:29.938" v="65423"/>
          <ac:spMkLst>
            <pc:docMk/>
            <pc:sldMk cId="2428257732" sldId="2147478563"/>
            <ac:spMk id="429" creationId="{E88B3602-45F9-195F-44E7-65529A9548B0}"/>
          </ac:spMkLst>
        </pc:spChg>
        <pc:spChg chg="add del mod">
          <ac:chgData name="Steiner Andreas 6206 ED" userId="e6377c33-a923-4f14-8587-531c474c7b48" providerId="ADAL" clId="{6ECD27E6-B224-41CD-B4E0-E297462320DD}" dt="2023-11-24T08:46:32.393" v="65578"/>
          <ac:spMkLst>
            <pc:docMk/>
            <pc:sldMk cId="2428257732" sldId="2147478563"/>
            <ac:spMk id="430" creationId="{72AE1CC9-A9B3-1964-D637-D2F7FBD2893D}"/>
          </ac:spMkLst>
        </pc:spChg>
        <pc:spChg chg="add del mod">
          <ac:chgData name="Steiner Andreas 6206 ED" userId="e6377c33-a923-4f14-8587-531c474c7b48" providerId="ADAL" clId="{6ECD27E6-B224-41CD-B4E0-E297462320DD}" dt="2023-11-24T08:46:34.408" v="65733"/>
          <ac:spMkLst>
            <pc:docMk/>
            <pc:sldMk cId="2428257732" sldId="2147478563"/>
            <ac:spMk id="431" creationId="{F89095A7-A0D5-F5C7-4F10-8E2CBD37F911}"/>
          </ac:spMkLst>
        </pc:spChg>
        <pc:spChg chg="add del mod">
          <ac:chgData name="Steiner Andreas 6206 ED" userId="e6377c33-a923-4f14-8587-531c474c7b48" providerId="ADAL" clId="{6ECD27E6-B224-41CD-B4E0-E297462320DD}" dt="2023-11-24T08:46:36.325" v="65888"/>
          <ac:spMkLst>
            <pc:docMk/>
            <pc:sldMk cId="2428257732" sldId="2147478563"/>
            <ac:spMk id="432" creationId="{828D8ABC-BEBB-3F80-1611-2810F9D82671}"/>
          </ac:spMkLst>
        </pc:spChg>
        <pc:spChg chg="add del mod">
          <ac:chgData name="Steiner Andreas 6206 ED" userId="e6377c33-a923-4f14-8587-531c474c7b48" providerId="ADAL" clId="{6ECD27E6-B224-41CD-B4E0-E297462320DD}" dt="2023-11-24T08:46:38.429" v="66043"/>
          <ac:spMkLst>
            <pc:docMk/>
            <pc:sldMk cId="2428257732" sldId="2147478563"/>
            <ac:spMk id="433" creationId="{AFDC51D7-13D6-6E61-31CE-389C1EBAEF85}"/>
          </ac:spMkLst>
        </pc:spChg>
        <pc:spChg chg="add del mod">
          <ac:chgData name="Steiner Andreas 6206 ED" userId="e6377c33-a923-4f14-8587-531c474c7b48" providerId="ADAL" clId="{6ECD27E6-B224-41CD-B4E0-E297462320DD}" dt="2023-11-24T08:46:40.563" v="66198"/>
          <ac:spMkLst>
            <pc:docMk/>
            <pc:sldMk cId="2428257732" sldId="2147478563"/>
            <ac:spMk id="434" creationId="{848213D1-4DD7-4B29-704C-59FCB99A226E}"/>
          </ac:spMkLst>
        </pc:spChg>
        <pc:spChg chg="add del mod">
          <ac:chgData name="Steiner Andreas 6206 ED" userId="e6377c33-a923-4f14-8587-531c474c7b48" providerId="ADAL" clId="{6ECD27E6-B224-41CD-B4E0-E297462320DD}" dt="2023-11-24T08:46:42.806" v="66353"/>
          <ac:spMkLst>
            <pc:docMk/>
            <pc:sldMk cId="2428257732" sldId="2147478563"/>
            <ac:spMk id="435" creationId="{99E3BCEA-8D7A-5948-646F-B6CAA0792647}"/>
          </ac:spMkLst>
        </pc:spChg>
        <pc:spChg chg="add del mod">
          <ac:chgData name="Steiner Andreas 6206 ED" userId="e6377c33-a923-4f14-8587-531c474c7b48" providerId="ADAL" clId="{6ECD27E6-B224-41CD-B4E0-E297462320DD}" dt="2023-11-24T08:46:44.908" v="66508"/>
          <ac:spMkLst>
            <pc:docMk/>
            <pc:sldMk cId="2428257732" sldId="2147478563"/>
            <ac:spMk id="436" creationId="{B2D2C107-90EC-EA85-DA43-94B4A51573A5}"/>
          </ac:spMkLst>
        </pc:spChg>
        <pc:spChg chg="add del mod">
          <ac:chgData name="Steiner Andreas 6206 ED" userId="e6377c33-a923-4f14-8587-531c474c7b48" providerId="ADAL" clId="{6ECD27E6-B224-41CD-B4E0-E297462320DD}" dt="2023-11-24T08:46:46.977" v="66663"/>
          <ac:spMkLst>
            <pc:docMk/>
            <pc:sldMk cId="2428257732" sldId="2147478563"/>
            <ac:spMk id="437" creationId="{49AAA29E-A2FA-A73A-2D46-D93361FEF0B7}"/>
          </ac:spMkLst>
        </pc:spChg>
        <pc:spChg chg="add del mod">
          <ac:chgData name="Steiner Andreas 6206 ED" userId="e6377c33-a923-4f14-8587-531c474c7b48" providerId="ADAL" clId="{6ECD27E6-B224-41CD-B4E0-E297462320DD}" dt="2023-11-24T08:46:49.109" v="66818"/>
          <ac:spMkLst>
            <pc:docMk/>
            <pc:sldMk cId="2428257732" sldId="2147478563"/>
            <ac:spMk id="438" creationId="{EEE18BDD-8F94-86A3-4ED0-3D19A7D364FA}"/>
          </ac:spMkLst>
        </pc:spChg>
        <pc:spChg chg="add del mod">
          <ac:chgData name="Steiner Andreas 6206 ED" userId="e6377c33-a923-4f14-8587-531c474c7b48" providerId="ADAL" clId="{6ECD27E6-B224-41CD-B4E0-E297462320DD}" dt="2023-11-24T08:46:51.166" v="66973"/>
          <ac:spMkLst>
            <pc:docMk/>
            <pc:sldMk cId="2428257732" sldId="2147478563"/>
            <ac:spMk id="439" creationId="{813CF256-C458-DA2C-DEB8-47C374B2429A}"/>
          </ac:spMkLst>
        </pc:spChg>
        <pc:spChg chg="add del mod">
          <ac:chgData name="Steiner Andreas 6206 ED" userId="e6377c33-a923-4f14-8587-531c474c7b48" providerId="ADAL" clId="{6ECD27E6-B224-41CD-B4E0-E297462320DD}" dt="2023-11-24T08:46:53.191" v="67128"/>
          <ac:spMkLst>
            <pc:docMk/>
            <pc:sldMk cId="2428257732" sldId="2147478563"/>
            <ac:spMk id="440" creationId="{4B41A60C-D777-4272-448B-C166B98A72AD}"/>
          </ac:spMkLst>
        </pc:spChg>
        <pc:spChg chg="add del mod">
          <ac:chgData name="Steiner Andreas 6206 ED" userId="e6377c33-a923-4f14-8587-531c474c7b48" providerId="ADAL" clId="{6ECD27E6-B224-41CD-B4E0-E297462320DD}" dt="2023-11-24T08:46:55.200" v="67283"/>
          <ac:spMkLst>
            <pc:docMk/>
            <pc:sldMk cId="2428257732" sldId="2147478563"/>
            <ac:spMk id="441" creationId="{E72ED679-E574-6A5B-2DCF-4F5F9403F867}"/>
          </ac:spMkLst>
        </pc:spChg>
        <pc:spChg chg="add del mod">
          <ac:chgData name="Steiner Andreas 6206 ED" userId="e6377c33-a923-4f14-8587-531c474c7b48" providerId="ADAL" clId="{6ECD27E6-B224-41CD-B4E0-E297462320DD}" dt="2023-11-24T08:46:57.128" v="67438"/>
          <ac:spMkLst>
            <pc:docMk/>
            <pc:sldMk cId="2428257732" sldId="2147478563"/>
            <ac:spMk id="442" creationId="{9024B900-2DF4-1C7D-F437-D859C648CE70}"/>
          </ac:spMkLst>
        </pc:spChg>
        <pc:spChg chg="add del mod">
          <ac:chgData name="Steiner Andreas 6206 ED" userId="e6377c33-a923-4f14-8587-531c474c7b48" providerId="ADAL" clId="{6ECD27E6-B224-41CD-B4E0-E297462320DD}" dt="2023-11-24T08:46:59.006" v="67593"/>
          <ac:spMkLst>
            <pc:docMk/>
            <pc:sldMk cId="2428257732" sldId="2147478563"/>
            <ac:spMk id="443" creationId="{879FC250-311B-E5E0-F8BE-359CEB330F68}"/>
          </ac:spMkLst>
        </pc:spChg>
        <pc:spChg chg="add del mod">
          <ac:chgData name="Steiner Andreas 6206 ED" userId="e6377c33-a923-4f14-8587-531c474c7b48" providerId="ADAL" clId="{6ECD27E6-B224-41CD-B4E0-E297462320DD}" dt="2023-11-24T08:47:01.116" v="67748"/>
          <ac:spMkLst>
            <pc:docMk/>
            <pc:sldMk cId="2428257732" sldId="2147478563"/>
            <ac:spMk id="444" creationId="{B3795D2A-245A-3CE6-D9AE-A2940D8A1B1C}"/>
          </ac:spMkLst>
        </pc:spChg>
        <pc:spChg chg="add del mod">
          <ac:chgData name="Steiner Andreas 6206 ED" userId="e6377c33-a923-4f14-8587-531c474c7b48" providerId="ADAL" clId="{6ECD27E6-B224-41CD-B4E0-E297462320DD}" dt="2023-11-24T08:47:03.327" v="67903"/>
          <ac:spMkLst>
            <pc:docMk/>
            <pc:sldMk cId="2428257732" sldId="2147478563"/>
            <ac:spMk id="445" creationId="{2400EAEB-004F-4D9F-05FB-29C7A32DE93F}"/>
          </ac:spMkLst>
        </pc:spChg>
        <pc:spChg chg="add del mod">
          <ac:chgData name="Steiner Andreas 6206 ED" userId="e6377c33-a923-4f14-8587-531c474c7b48" providerId="ADAL" clId="{6ECD27E6-B224-41CD-B4E0-E297462320DD}" dt="2023-11-24T08:47:05.252" v="68058"/>
          <ac:spMkLst>
            <pc:docMk/>
            <pc:sldMk cId="2428257732" sldId="2147478563"/>
            <ac:spMk id="446" creationId="{4358315C-7861-4802-41A9-8A37229EFCEA}"/>
          </ac:spMkLst>
        </pc:spChg>
        <pc:spChg chg="add del mod">
          <ac:chgData name="Steiner Andreas 6206 ED" userId="e6377c33-a923-4f14-8587-531c474c7b48" providerId="ADAL" clId="{6ECD27E6-B224-41CD-B4E0-E297462320DD}" dt="2023-11-24T08:47:07.027" v="68213"/>
          <ac:spMkLst>
            <pc:docMk/>
            <pc:sldMk cId="2428257732" sldId="2147478563"/>
            <ac:spMk id="447" creationId="{5D43FB95-2938-B96D-B528-8FBA21AAA28D}"/>
          </ac:spMkLst>
        </pc:spChg>
        <pc:spChg chg="add del mod">
          <ac:chgData name="Steiner Andreas 6206 ED" userId="e6377c33-a923-4f14-8587-531c474c7b48" providerId="ADAL" clId="{6ECD27E6-B224-41CD-B4E0-E297462320DD}" dt="2023-11-24T08:47:08.938" v="68368"/>
          <ac:spMkLst>
            <pc:docMk/>
            <pc:sldMk cId="2428257732" sldId="2147478563"/>
            <ac:spMk id="448" creationId="{0FFBF5F5-0087-B375-7BF6-BCFBDBCADFE2}"/>
          </ac:spMkLst>
        </pc:spChg>
        <pc:spChg chg="add del mod">
          <ac:chgData name="Steiner Andreas 6206 ED" userId="e6377c33-a923-4f14-8587-531c474c7b48" providerId="ADAL" clId="{6ECD27E6-B224-41CD-B4E0-E297462320DD}" dt="2023-11-24T08:47:10.811" v="68523"/>
          <ac:spMkLst>
            <pc:docMk/>
            <pc:sldMk cId="2428257732" sldId="2147478563"/>
            <ac:spMk id="449" creationId="{D509A23C-BA9B-33E6-04D2-80020F02438C}"/>
          </ac:spMkLst>
        </pc:spChg>
        <pc:spChg chg="add del mod">
          <ac:chgData name="Steiner Andreas 6206 ED" userId="e6377c33-a923-4f14-8587-531c474c7b48" providerId="ADAL" clId="{6ECD27E6-B224-41CD-B4E0-E297462320DD}" dt="2023-11-24T08:47:12.695" v="68678"/>
          <ac:spMkLst>
            <pc:docMk/>
            <pc:sldMk cId="2428257732" sldId="2147478563"/>
            <ac:spMk id="450" creationId="{EBF36B24-0163-ACE3-74EC-D30B6F812D5A}"/>
          </ac:spMkLst>
        </pc:spChg>
        <pc:spChg chg="add del mod">
          <ac:chgData name="Steiner Andreas 6206 ED" userId="e6377c33-a923-4f14-8587-531c474c7b48" providerId="ADAL" clId="{6ECD27E6-B224-41CD-B4E0-E297462320DD}" dt="2023-11-24T08:47:14.866" v="68833"/>
          <ac:spMkLst>
            <pc:docMk/>
            <pc:sldMk cId="2428257732" sldId="2147478563"/>
            <ac:spMk id="451" creationId="{2F0B4284-5861-CE4F-E2E8-F1D5FB4719C1}"/>
          </ac:spMkLst>
        </pc:spChg>
        <pc:spChg chg="add del mod">
          <ac:chgData name="Steiner Andreas 6206 ED" userId="e6377c33-a923-4f14-8587-531c474c7b48" providerId="ADAL" clId="{6ECD27E6-B224-41CD-B4E0-E297462320DD}" dt="2023-11-24T08:47:16.806" v="68988"/>
          <ac:spMkLst>
            <pc:docMk/>
            <pc:sldMk cId="2428257732" sldId="2147478563"/>
            <ac:spMk id="452" creationId="{FE197CAF-E5BA-5556-1C47-2A57DD7812E0}"/>
          </ac:spMkLst>
        </pc:spChg>
        <pc:spChg chg="add del mod">
          <ac:chgData name="Steiner Andreas 6206 ED" userId="e6377c33-a923-4f14-8587-531c474c7b48" providerId="ADAL" clId="{6ECD27E6-B224-41CD-B4E0-E297462320DD}" dt="2023-11-24T08:47:18.765" v="69143"/>
          <ac:spMkLst>
            <pc:docMk/>
            <pc:sldMk cId="2428257732" sldId="2147478563"/>
            <ac:spMk id="453" creationId="{94462561-0DEE-B106-E4F2-4139DA3B77E8}"/>
          </ac:spMkLst>
        </pc:spChg>
        <pc:spChg chg="add del mod">
          <ac:chgData name="Steiner Andreas 6206 ED" userId="e6377c33-a923-4f14-8587-531c474c7b48" providerId="ADAL" clId="{6ECD27E6-B224-41CD-B4E0-E297462320DD}" dt="2023-11-24T08:47:20.712" v="69298"/>
          <ac:spMkLst>
            <pc:docMk/>
            <pc:sldMk cId="2428257732" sldId="2147478563"/>
            <ac:spMk id="454" creationId="{09D20F67-AE4A-FA10-4A53-530FC8CF2B21}"/>
          </ac:spMkLst>
        </pc:spChg>
        <pc:spChg chg="add del mod">
          <ac:chgData name="Steiner Andreas 6206 ED" userId="e6377c33-a923-4f14-8587-531c474c7b48" providerId="ADAL" clId="{6ECD27E6-B224-41CD-B4E0-E297462320DD}" dt="2023-11-24T08:47:23.204" v="69453"/>
          <ac:spMkLst>
            <pc:docMk/>
            <pc:sldMk cId="2428257732" sldId="2147478563"/>
            <ac:spMk id="455" creationId="{119D9602-6916-4520-92C0-AB6C276D0213}"/>
          </ac:spMkLst>
        </pc:spChg>
        <pc:spChg chg="add del mod">
          <ac:chgData name="Steiner Andreas 6206 ED" userId="e6377c33-a923-4f14-8587-531c474c7b48" providerId="ADAL" clId="{6ECD27E6-B224-41CD-B4E0-E297462320DD}" dt="2023-11-24T08:47:25.847" v="69608"/>
          <ac:spMkLst>
            <pc:docMk/>
            <pc:sldMk cId="2428257732" sldId="2147478563"/>
            <ac:spMk id="456" creationId="{745A60A1-DEEA-7BA8-2337-65112323E5EC}"/>
          </ac:spMkLst>
        </pc:spChg>
        <pc:spChg chg="add del mod">
          <ac:chgData name="Steiner Andreas 6206 ED" userId="e6377c33-a923-4f14-8587-531c474c7b48" providerId="ADAL" clId="{6ECD27E6-B224-41CD-B4E0-E297462320DD}" dt="2023-11-24T08:47:28.009" v="69763"/>
          <ac:spMkLst>
            <pc:docMk/>
            <pc:sldMk cId="2428257732" sldId="2147478563"/>
            <ac:spMk id="457" creationId="{05897BC8-995E-4472-64E4-619F3249A5BF}"/>
          </ac:spMkLst>
        </pc:spChg>
        <pc:spChg chg="add del mod">
          <ac:chgData name="Steiner Andreas 6206 ED" userId="e6377c33-a923-4f14-8587-531c474c7b48" providerId="ADAL" clId="{6ECD27E6-B224-41CD-B4E0-E297462320DD}" dt="2023-11-24T08:47:30.041" v="69918"/>
          <ac:spMkLst>
            <pc:docMk/>
            <pc:sldMk cId="2428257732" sldId="2147478563"/>
            <ac:spMk id="458" creationId="{382BAEA3-55B7-670F-A7CE-6B70908E297B}"/>
          </ac:spMkLst>
        </pc:spChg>
        <pc:spChg chg="add del mod">
          <ac:chgData name="Steiner Andreas 6206 ED" userId="e6377c33-a923-4f14-8587-531c474c7b48" providerId="ADAL" clId="{6ECD27E6-B224-41CD-B4E0-E297462320DD}" dt="2023-11-24T08:47:32.034" v="70073"/>
          <ac:spMkLst>
            <pc:docMk/>
            <pc:sldMk cId="2428257732" sldId="2147478563"/>
            <ac:spMk id="459" creationId="{CA5F05A1-4503-DFEE-AFD7-125E8D60801C}"/>
          </ac:spMkLst>
        </pc:spChg>
        <pc:spChg chg="add del mod">
          <ac:chgData name="Steiner Andreas 6206 ED" userId="e6377c33-a923-4f14-8587-531c474c7b48" providerId="ADAL" clId="{6ECD27E6-B224-41CD-B4E0-E297462320DD}" dt="2023-11-24T08:47:33.991" v="70228"/>
          <ac:spMkLst>
            <pc:docMk/>
            <pc:sldMk cId="2428257732" sldId="2147478563"/>
            <ac:spMk id="460" creationId="{33CAC294-847A-7370-2C60-0F0026B3B74F}"/>
          </ac:spMkLst>
        </pc:spChg>
        <pc:spChg chg="add del mod">
          <ac:chgData name="Steiner Andreas 6206 ED" userId="e6377c33-a923-4f14-8587-531c474c7b48" providerId="ADAL" clId="{6ECD27E6-B224-41CD-B4E0-E297462320DD}" dt="2023-11-24T08:47:36.163" v="70383"/>
          <ac:spMkLst>
            <pc:docMk/>
            <pc:sldMk cId="2428257732" sldId="2147478563"/>
            <ac:spMk id="461" creationId="{7DB79F2E-D503-30C4-EF19-79A490BA693D}"/>
          </ac:spMkLst>
        </pc:spChg>
        <pc:spChg chg="add del mod">
          <ac:chgData name="Steiner Andreas 6206 ED" userId="e6377c33-a923-4f14-8587-531c474c7b48" providerId="ADAL" clId="{6ECD27E6-B224-41CD-B4E0-E297462320DD}" dt="2023-11-24T08:47:38.258" v="70538"/>
          <ac:spMkLst>
            <pc:docMk/>
            <pc:sldMk cId="2428257732" sldId="2147478563"/>
            <ac:spMk id="462" creationId="{AA56FE2A-E177-0223-023A-85A6469381D4}"/>
          </ac:spMkLst>
        </pc:spChg>
        <pc:spChg chg="add del mod">
          <ac:chgData name="Steiner Andreas 6206 ED" userId="e6377c33-a923-4f14-8587-531c474c7b48" providerId="ADAL" clId="{6ECD27E6-B224-41CD-B4E0-E297462320DD}" dt="2023-11-24T08:47:40.350" v="70693"/>
          <ac:spMkLst>
            <pc:docMk/>
            <pc:sldMk cId="2428257732" sldId="2147478563"/>
            <ac:spMk id="463" creationId="{8652D807-3796-4D59-D106-19BD237D3CFE}"/>
          </ac:spMkLst>
        </pc:spChg>
        <pc:spChg chg="add del mod">
          <ac:chgData name="Steiner Andreas 6206 ED" userId="e6377c33-a923-4f14-8587-531c474c7b48" providerId="ADAL" clId="{6ECD27E6-B224-41CD-B4E0-E297462320DD}" dt="2023-11-24T08:47:42.245" v="70848"/>
          <ac:spMkLst>
            <pc:docMk/>
            <pc:sldMk cId="2428257732" sldId="2147478563"/>
            <ac:spMk id="464" creationId="{C3CF856C-1971-97F7-EBEE-ADA765FD93FD}"/>
          </ac:spMkLst>
        </pc:spChg>
        <pc:spChg chg="add del mod">
          <ac:chgData name="Steiner Andreas 6206 ED" userId="e6377c33-a923-4f14-8587-531c474c7b48" providerId="ADAL" clId="{6ECD27E6-B224-41CD-B4E0-E297462320DD}" dt="2023-11-24T08:47:44.177" v="71003"/>
          <ac:spMkLst>
            <pc:docMk/>
            <pc:sldMk cId="2428257732" sldId="2147478563"/>
            <ac:spMk id="465" creationId="{D590D04C-738A-8E54-B3BD-FABD1E2A2F7D}"/>
          </ac:spMkLst>
        </pc:spChg>
        <pc:spChg chg="add del mod">
          <ac:chgData name="Steiner Andreas 6206 ED" userId="e6377c33-a923-4f14-8587-531c474c7b48" providerId="ADAL" clId="{6ECD27E6-B224-41CD-B4E0-E297462320DD}" dt="2023-11-24T08:47:46.129" v="71158"/>
          <ac:spMkLst>
            <pc:docMk/>
            <pc:sldMk cId="2428257732" sldId="2147478563"/>
            <ac:spMk id="466" creationId="{6EB9F901-344B-5232-7F0D-41D1476D22BF}"/>
          </ac:spMkLst>
        </pc:spChg>
        <pc:spChg chg="add del mod">
          <ac:chgData name="Steiner Andreas 6206 ED" userId="e6377c33-a923-4f14-8587-531c474c7b48" providerId="ADAL" clId="{6ECD27E6-B224-41CD-B4E0-E297462320DD}" dt="2023-11-24T08:47:48.256" v="71313"/>
          <ac:spMkLst>
            <pc:docMk/>
            <pc:sldMk cId="2428257732" sldId="2147478563"/>
            <ac:spMk id="467" creationId="{53A34EF4-7433-749F-3E42-90BCAB018D39}"/>
          </ac:spMkLst>
        </pc:spChg>
        <pc:spChg chg="add del mod">
          <ac:chgData name="Steiner Andreas 6206 ED" userId="e6377c33-a923-4f14-8587-531c474c7b48" providerId="ADAL" clId="{6ECD27E6-B224-41CD-B4E0-E297462320DD}" dt="2023-11-24T08:47:50.317" v="71468"/>
          <ac:spMkLst>
            <pc:docMk/>
            <pc:sldMk cId="2428257732" sldId="2147478563"/>
            <ac:spMk id="468" creationId="{87FB9AE6-8A71-3D90-292A-EDB896F73869}"/>
          </ac:spMkLst>
        </pc:spChg>
        <pc:spChg chg="add del mod">
          <ac:chgData name="Steiner Andreas 6206 ED" userId="e6377c33-a923-4f14-8587-531c474c7b48" providerId="ADAL" clId="{6ECD27E6-B224-41CD-B4E0-E297462320DD}" dt="2023-11-24T08:47:52.210" v="71623"/>
          <ac:spMkLst>
            <pc:docMk/>
            <pc:sldMk cId="2428257732" sldId="2147478563"/>
            <ac:spMk id="469" creationId="{3BF146EA-9D41-6D9E-0A3F-4759EE47A2A2}"/>
          </ac:spMkLst>
        </pc:spChg>
        <pc:spChg chg="add del mod">
          <ac:chgData name="Steiner Andreas 6206 ED" userId="e6377c33-a923-4f14-8587-531c474c7b48" providerId="ADAL" clId="{6ECD27E6-B224-41CD-B4E0-E297462320DD}" dt="2023-11-24T08:47:54.141" v="71778"/>
          <ac:spMkLst>
            <pc:docMk/>
            <pc:sldMk cId="2428257732" sldId="2147478563"/>
            <ac:spMk id="470" creationId="{58408580-54C5-8B55-C570-212269C75941}"/>
          </ac:spMkLst>
        </pc:spChg>
        <pc:spChg chg="add del mod">
          <ac:chgData name="Steiner Andreas 6206 ED" userId="e6377c33-a923-4f14-8587-531c474c7b48" providerId="ADAL" clId="{6ECD27E6-B224-41CD-B4E0-E297462320DD}" dt="2023-11-24T08:47:56.014" v="71933"/>
          <ac:spMkLst>
            <pc:docMk/>
            <pc:sldMk cId="2428257732" sldId="2147478563"/>
            <ac:spMk id="471" creationId="{239FFF86-3CD1-66A7-87AF-B76C6F83A487}"/>
          </ac:spMkLst>
        </pc:spChg>
        <pc:spChg chg="add del mod">
          <ac:chgData name="Steiner Andreas 6206 ED" userId="e6377c33-a923-4f14-8587-531c474c7b48" providerId="ADAL" clId="{6ECD27E6-B224-41CD-B4E0-E297462320DD}" dt="2023-11-24T08:47:58.001" v="72088"/>
          <ac:spMkLst>
            <pc:docMk/>
            <pc:sldMk cId="2428257732" sldId="2147478563"/>
            <ac:spMk id="472" creationId="{1F21BEAA-29D9-6E2C-F364-22FE2D4E00CF}"/>
          </ac:spMkLst>
        </pc:spChg>
        <pc:spChg chg="add del mod">
          <ac:chgData name="Steiner Andreas 6206 ED" userId="e6377c33-a923-4f14-8587-531c474c7b48" providerId="ADAL" clId="{6ECD27E6-B224-41CD-B4E0-E297462320DD}" dt="2023-11-24T08:48:00.152" v="72243"/>
          <ac:spMkLst>
            <pc:docMk/>
            <pc:sldMk cId="2428257732" sldId="2147478563"/>
            <ac:spMk id="473" creationId="{ED05DCF6-7D11-2163-10A5-485081172282}"/>
          </ac:spMkLst>
        </pc:spChg>
        <pc:spChg chg="add del mod">
          <ac:chgData name="Steiner Andreas 6206 ED" userId="e6377c33-a923-4f14-8587-531c474c7b48" providerId="ADAL" clId="{6ECD27E6-B224-41CD-B4E0-E297462320DD}" dt="2023-11-24T08:48:02.275" v="72398"/>
          <ac:spMkLst>
            <pc:docMk/>
            <pc:sldMk cId="2428257732" sldId="2147478563"/>
            <ac:spMk id="474" creationId="{69C76119-1E62-B66E-F01A-2EC6A652FF68}"/>
          </ac:spMkLst>
        </pc:spChg>
        <pc:spChg chg="add del mod">
          <ac:chgData name="Steiner Andreas 6206 ED" userId="e6377c33-a923-4f14-8587-531c474c7b48" providerId="ADAL" clId="{6ECD27E6-B224-41CD-B4E0-E297462320DD}" dt="2023-11-24T08:48:04.291" v="72553"/>
          <ac:spMkLst>
            <pc:docMk/>
            <pc:sldMk cId="2428257732" sldId="2147478563"/>
            <ac:spMk id="475" creationId="{3848EF21-6027-8660-398F-BBAD1E534D74}"/>
          </ac:spMkLst>
        </pc:spChg>
        <pc:spChg chg="add del mod">
          <ac:chgData name="Steiner Andreas 6206 ED" userId="e6377c33-a923-4f14-8587-531c474c7b48" providerId="ADAL" clId="{6ECD27E6-B224-41CD-B4E0-E297462320DD}" dt="2023-11-24T08:48:06.550" v="72708"/>
          <ac:spMkLst>
            <pc:docMk/>
            <pc:sldMk cId="2428257732" sldId="2147478563"/>
            <ac:spMk id="476" creationId="{C7179AC1-EA82-7260-B57E-AC5DBC594889}"/>
          </ac:spMkLst>
        </pc:spChg>
        <pc:spChg chg="add del mod">
          <ac:chgData name="Steiner Andreas 6206 ED" userId="e6377c33-a923-4f14-8587-531c474c7b48" providerId="ADAL" clId="{6ECD27E6-B224-41CD-B4E0-E297462320DD}" dt="2023-11-24T08:48:08.643" v="72863"/>
          <ac:spMkLst>
            <pc:docMk/>
            <pc:sldMk cId="2428257732" sldId="2147478563"/>
            <ac:spMk id="477" creationId="{39E07F5C-2A70-FA23-6F46-7195654AE61B}"/>
          </ac:spMkLst>
        </pc:spChg>
        <pc:spChg chg="add del mod">
          <ac:chgData name="Steiner Andreas 6206 ED" userId="e6377c33-a923-4f14-8587-531c474c7b48" providerId="ADAL" clId="{6ECD27E6-B224-41CD-B4E0-E297462320DD}" dt="2023-11-24T08:48:10.776" v="73018"/>
          <ac:spMkLst>
            <pc:docMk/>
            <pc:sldMk cId="2428257732" sldId="2147478563"/>
            <ac:spMk id="478" creationId="{5A6B8C24-CD24-3319-50E9-4A17B1E2206A}"/>
          </ac:spMkLst>
        </pc:spChg>
        <pc:spChg chg="add del mod">
          <ac:chgData name="Steiner Andreas 6206 ED" userId="e6377c33-a923-4f14-8587-531c474c7b48" providerId="ADAL" clId="{6ECD27E6-B224-41CD-B4E0-E297462320DD}" dt="2023-11-24T08:48:12.680" v="73173"/>
          <ac:spMkLst>
            <pc:docMk/>
            <pc:sldMk cId="2428257732" sldId="2147478563"/>
            <ac:spMk id="479" creationId="{00009B9F-9B7F-B95C-CA18-09913F24C079}"/>
          </ac:spMkLst>
        </pc:spChg>
        <pc:spChg chg="add del mod">
          <ac:chgData name="Steiner Andreas 6206 ED" userId="e6377c33-a923-4f14-8587-531c474c7b48" providerId="ADAL" clId="{6ECD27E6-B224-41CD-B4E0-E297462320DD}" dt="2023-11-24T08:48:15.338" v="73328"/>
          <ac:spMkLst>
            <pc:docMk/>
            <pc:sldMk cId="2428257732" sldId="2147478563"/>
            <ac:spMk id="480" creationId="{61C0DAC8-C7F5-62E0-0CDB-E35AD4AB2354}"/>
          </ac:spMkLst>
        </pc:spChg>
        <pc:spChg chg="add del mod">
          <ac:chgData name="Steiner Andreas 6206 ED" userId="e6377c33-a923-4f14-8587-531c474c7b48" providerId="ADAL" clId="{6ECD27E6-B224-41CD-B4E0-E297462320DD}" dt="2023-11-24T08:48:18.115" v="73483"/>
          <ac:spMkLst>
            <pc:docMk/>
            <pc:sldMk cId="2428257732" sldId="2147478563"/>
            <ac:spMk id="481" creationId="{C61D2010-3DC6-3B54-79CB-51F4A0486C4B}"/>
          </ac:spMkLst>
        </pc:spChg>
        <pc:spChg chg="add del mod">
          <ac:chgData name="Steiner Andreas 6206 ED" userId="e6377c33-a923-4f14-8587-531c474c7b48" providerId="ADAL" clId="{6ECD27E6-B224-41CD-B4E0-E297462320DD}" dt="2023-11-24T08:48:20.510" v="73638"/>
          <ac:spMkLst>
            <pc:docMk/>
            <pc:sldMk cId="2428257732" sldId="2147478563"/>
            <ac:spMk id="482" creationId="{187B7E05-A049-73A6-2FC3-500F44B64EA3}"/>
          </ac:spMkLst>
        </pc:spChg>
        <pc:spChg chg="add del mod">
          <ac:chgData name="Steiner Andreas 6206 ED" userId="e6377c33-a923-4f14-8587-531c474c7b48" providerId="ADAL" clId="{6ECD27E6-B224-41CD-B4E0-E297462320DD}" dt="2023-11-24T08:48:22.661" v="73793"/>
          <ac:spMkLst>
            <pc:docMk/>
            <pc:sldMk cId="2428257732" sldId="2147478563"/>
            <ac:spMk id="483" creationId="{C18B4BAB-D125-97C1-FF5A-268F22BCB483}"/>
          </ac:spMkLst>
        </pc:spChg>
        <pc:spChg chg="add del mod">
          <ac:chgData name="Steiner Andreas 6206 ED" userId="e6377c33-a923-4f14-8587-531c474c7b48" providerId="ADAL" clId="{6ECD27E6-B224-41CD-B4E0-E297462320DD}" dt="2023-11-24T08:48:24.736" v="73948"/>
          <ac:spMkLst>
            <pc:docMk/>
            <pc:sldMk cId="2428257732" sldId="2147478563"/>
            <ac:spMk id="484" creationId="{1CAF00C8-7C75-D08E-DC7E-C6EE39B5FF07}"/>
          </ac:spMkLst>
        </pc:spChg>
        <pc:spChg chg="add del mod">
          <ac:chgData name="Steiner Andreas 6206 ED" userId="e6377c33-a923-4f14-8587-531c474c7b48" providerId="ADAL" clId="{6ECD27E6-B224-41CD-B4E0-E297462320DD}" dt="2023-11-24T08:48:26.826" v="74103"/>
          <ac:spMkLst>
            <pc:docMk/>
            <pc:sldMk cId="2428257732" sldId="2147478563"/>
            <ac:spMk id="485" creationId="{DA3AA18F-D4D4-22DA-EF1E-F3C92806AA9C}"/>
          </ac:spMkLst>
        </pc:spChg>
        <pc:spChg chg="add del mod">
          <ac:chgData name="Steiner Andreas 6206 ED" userId="e6377c33-a923-4f14-8587-531c474c7b48" providerId="ADAL" clId="{6ECD27E6-B224-41CD-B4E0-E297462320DD}" dt="2023-11-24T08:48:28.816" v="74258"/>
          <ac:spMkLst>
            <pc:docMk/>
            <pc:sldMk cId="2428257732" sldId="2147478563"/>
            <ac:spMk id="486" creationId="{75A20894-5F74-9D0F-61BD-7B99311A2D93}"/>
          </ac:spMkLst>
        </pc:spChg>
        <pc:spChg chg="add del mod">
          <ac:chgData name="Steiner Andreas 6206 ED" userId="e6377c33-a923-4f14-8587-531c474c7b48" providerId="ADAL" clId="{6ECD27E6-B224-41CD-B4E0-E297462320DD}" dt="2023-11-24T08:48:30.687" v="74413"/>
          <ac:spMkLst>
            <pc:docMk/>
            <pc:sldMk cId="2428257732" sldId="2147478563"/>
            <ac:spMk id="487" creationId="{0E3BC79E-EAF7-6A76-42D6-9F59B73EF38F}"/>
          </ac:spMkLst>
        </pc:spChg>
        <pc:spChg chg="add del mod">
          <ac:chgData name="Steiner Andreas 6206 ED" userId="e6377c33-a923-4f14-8587-531c474c7b48" providerId="ADAL" clId="{6ECD27E6-B224-41CD-B4E0-E297462320DD}" dt="2023-11-24T08:48:32.693" v="74568"/>
          <ac:spMkLst>
            <pc:docMk/>
            <pc:sldMk cId="2428257732" sldId="2147478563"/>
            <ac:spMk id="488" creationId="{84282ABF-AB6C-35D4-513F-1990133DBBA1}"/>
          </ac:spMkLst>
        </pc:spChg>
        <pc:spChg chg="add del mod">
          <ac:chgData name="Steiner Andreas 6206 ED" userId="e6377c33-a923-4f14-8587-531c474c7b48" providerId="ADAL" clId="{6ECD27E6-B224-41CD-B4E0-E297462320DD}" dt="2023-11-24T08:48:34.962" v="74723"/>
          <ac:spMkLst>
            <pc:docMk/>
            <pc:sldMk cId="2428257732" sldId="2147478563"/>
            <ac:spMk id="489" creationId="{6E3B2ED5-EA75-52AF-922D-44A378CD741D}"/>
          </ac:spMkLst>
        </pc:spChg>
        <pc:spChg chg="add del mod">
          <ac:chgData name="Steiner Andreas 6206 ED" userId="e6377c33-a923-4f14-8587-531c474c7b48" providerId="ADAL" clId="{6ECD27E6-B224-41CD-B4E0-E297462320DD}" dt="2023-11-24T08:48:37.098" v="74878"/>
          <ac:spMkLst>
            <pc:docMk/>
            <pc:sldMk cId="2428257732" sldId="2147478563"/>
            <ac:spMk id="490" creationId="{91377D9F-4BCB-5ECA-9AB6-8E40BCD221F3}"/>
          </ac:spMkLst>
        </pc:spChg>
        <pc:spChg chg="add del mod">
          <ac:chgData name="Steiner Andreas 6206 ED" userId="e6377c33-a923-4f14-8587-531c474c7b48" providerId="ADAL" clId="{6ECD27E6-B224-41CD-B4E0-E297462320DD}" dt="2023-11-24T08:48:39.149" v="75033"/>
          <ac:spMkLst>
            <pc:docMk/>
            <pc:sldMk cId="2428257732" sldId="2147478563"/>
            <ac:spMk id="491" creationId="{375FAA1D-2CA7-F32C-C25E-51525DBDEC43}"/>
          </ac:spMkLst>
        </pc:spChg>
        <pc:spChg chg="add del mod">
          <ac:chgData name="Steiner Andreas 6206 ED" userId="e6377c33-a923-4f14-8587-531c474c7b48" providerId="ADAL" clId="{6ECD27E6-B224-41CD-B4E0-E297462320DD}" dt="2023-11-24T08:48:41.399" v="75188"/>
          <ac:spMkLst>
            <pc:docMk/>
            <pc:sldMk cId="2428257732" sldId="2147478563"/>
            <ac:spMk id="492" creationId="{9B46C1AE-9960-E01F-23C1-5B47F1D33E11}"/>
          </ac:spMkLst>
        </pc:spChg>
        <pc:spChg chg="add del mod">
          <ac:chgData name="Steiner Andreas 6206 ED" userId="e6377c33-a923-4f14-8587-531c474c7b48" providerId="ADAL" clId="{6ECD27E6-B224-41CD-B4E0-E297462320DD}" dt="2023-11-24T08:48:43.772" v="75343"/>
          <ac:spMkLst>
            <pc:docMk/>
            <pc:sldMk cId="2428257732" sldId="2147478563"/>
            <ac:spMk id="493" creationId="{DF96EC7F-D9D6-58F2-0C8C-D8DA197AA20C}"/>
          </ac:spMkLst>
        </pc:spChg>
        <pc:spChg chg="add del mod">
          <ac:chgData name="Steiner Andreas 6206 ED" userId="e6377c33-a923-4f14-8587-531c474c7b48" providerId="ADAL" clId="{6ECD27E6-B224-41CD-B4E0-E297462320DD}" dt="2023-11-24T08:48:46.075" v="75498"/>
          <ac:spMkLst>
            <pc:docMk/>
            <pc:sldMk cId="2428257732" sldId="2147478563"/>
            <ac:spMk id="494" creationId="{4A913960-6808-4705-924A-52B564616177}"/>
          </ac:spMkLst>
        </pc:spChg>
        <pc:spChg chg="add del mod">
          <ac:chgData name="Steiner Andreas 6206 ED" userId="e6377c33-a923-4f14-8587-531c474c7b48" providerId="ADAL" clId="{6ECD27E6-B224-41CD-B4E0-E297462320DD}" dt="2023-11-24T08:48:48.055" v="75653"/>
          <ac:spMkLst>
            <pc:docMk/>
            <pc:sldMk cId="2428257732" sldId="2147478563"/>
            <ac:spMk id="495" creationId="{AD7A17A0-14CA-C4BB-A489-C41477833646}"/>
          </ac:spMkLst>
        </pc:spChg>
        <pc:spChg chg="add del mod">
          <ac:chgData name="Steiner Andreas 6206 ED" userId="e6377c33-a923-4f14-8587-531c474c7b48" providerId="ADAL" clId="{6ECD27E6-B224-41CD-B4E0-E297462320DD}" dt="2023-11-24T08:48:50.141" v="75808"/>
          <ac:spMkLst>
            <pc:docMk/>
            <pc:sldMk cId="2428257732" sldId="2147478563"/>
            <ac:spMk id="496" creationId="{9EAE8078-C45C-C7C5-9FFB-A46C73B3A360}"/>
          </ac:spMkLst>
        </pc:spChg>
        <pc:spChg chg="add del mod">
          <ac:chgData name="Steiner Andreas 6206 ED" userId="e6377c33-a923-4f14-8587-531c474c7b48" providerId="ADAL" clId="{6ECD27E6-B224-41CD-B4E0-E297462320DD}" dt="2023-11-24T08:48:52.294" v="75963"/>
          <ac:spMkLst>
            <pc:docMk/>
            <pc:sldMk cId="2428257732" sldId="2147478563"/>
            <ac:spMk id="497" creationId="{425CEE93-FDA2-EC31-7FE8-57C0E46C03EB}"/>
          </ac:spMkLst>
        </pc:spChg>
        <pc:spChg chg="add del mod">
          <ac:chgData name="Steiner Andreas 6206 ED" userId="e6377c33-a923-4f14-8587-531c474c7b48" providerId="ADAL" clId="{6ECD27E6-B224-41CD-B4E0-E297462320DD}" dt="2023-11-24T08:48:54.148" v="76118"/>
          <ac:spMkLst>
            <pc:docMk/>
            <pc:sldMk cId="2428257732" sldId="2147478563"/>
            <ac:spMk id="498" creationId="{0E9CDE83-20C2-BD13-232A-4C0769CA5702}"/>
          </ac:spMkLst>
        </pc:spChg>
        <pc:spChg chg="add del mod">
          <ac:chgData name="Steiner Andreas 6206 ED" userId="e6377c33-a923-4f14-8587-531c474c7b48" providerId="ADAL" clId="{6ECD27E6-B224-41CD-B4E0-E297462320DD}" dt="2023-11-24T08:48:56.186" v="76273"/>
          <ac:spMkLst>
            <pc:docMk/>
            <pc:sldMk cId="2428257732" sldId="2147478563"/>
            <ac:spMk id="499" creationId="{2F6E864F-1543-C5D2-E12A-FCF96E257FF2}"/>
          </ac:spMkLst>
        </pc:spChg>
        <pc:spChg chg="add del mod">
          <ac:chgData name="Steiner Andreas 6206 ED" userId="e6377c33-a923-4f14-8587-531c474c7b48" providerId="ADAL" clId="{6ECD27E6-B224-41CD-B4E0-E297462320DD}" dt="2023-11-24T08:48:58.102" v="76428"/>
          <ac:spMkLst>
            <pc:docMk/>
            <pc:sldMk cId="2428257732" sldId="2147478563"/>
            <ac:spMk id="500" creationId="{F7BE8091-DFE2-A181-0B07-527DD15B295D}"/>
          </ac:spMkLst>
        </pc:spChg>
        <pc:spChg chg="add del mod">
          <ac:chgData name="Steiner Andreas 6206 ED" userId="e6377c33-a923-4f14-8587-531c474c7b48" providerId="ADAL" clId="{6ECD27E6-B224-41CD-B4E0-E297462320DD}" dt="2023-11-24T08:49:00.184" v="76583"/>
          <ac:spMkLst>
            <pc:docMk/>
            <pc:sldMk cId="2428257732" sldId="2147478563"/>
            <ac:spMk id="501" creationId="{0E41D205-954E-BEB9-D99B-4D30F126B904}"/>
          </ac:spMkLst>
        </pc:spChg>
        <pc:spChg chg="add del mod">
          <ac:chgData name="Steiner Andreas 6206 ED" userId="e6377c33-a923-4f14-8587-531c474c7b48" providerId="ADAL" clId="{6ECD27E6-B224-41CD-B4E0-E297462320DD}" dt="2023-11-24T08:49:02.132" v="76738"/>
          <ac:spMkLst>
            <pc:docMk/>
            <pc:sldMk cId="2428257732" sldId="2147478563"/>
            <ac:spMk id="502" creationId="{A900581E-26D7-E3D9-8832-258D3BB08F42}"/>
          </ac:spMkLst>
        </pc:spChg>
        <pc:spChg chg="add del mod">
          <ac:chgData name="Steiner Andreas 6206 ED" userId="e6377c33-a923-4f14-8587-531c474c7b48" providerId="ADAL" clId="{6ECD27E6-B224-41CD-B4E0-E297462320DD}" dt="2023-11-24T08:49:04.098" v="76893"/>
          <ac:spMkLst>
            <pc:docMk/>
            <pc:sldMk cId="2428257732" sldId="2147478563"/>
            <ac:spMk id="503" creationId="{59B84A60-9DA8-DF63-4AC5-3E8A521D9EF9}"/>
          </ac:spMkLst>
        </pc:spChg>
        <pc:spChg chg="add del mod">
          <ac:chgData name="Steiner Andreas 6206 ED" userId="e6377c33-a923-4f14-8587-531c474c7b48" providerId="ADAL" clId="{6ECD27E6-B224-41CD-B4E0-E297462320DD}" dt="2023-11-24T08:49:06.014" v="77048"/>
          <ac:spMkLst>
            <pc:docMk/>
            <pc:sldMk cId="2428257732" sldId="2147478563"/>
            <ac:spMk id="504" creationId="{6AC0F155-DE8F-3445-319C-AE4C4F3A5784}"/>
          </ac:spMkLst>
        </pc:spChg>
        <pc:spChg chg="add del mod">
          <ac:chgData name="Steiner Andreas 6206 ED" userId="e6377c33-a923-4f14-8587-531c474c7b48" providerId="ADAL" clId="{6ECD27E6-B224-41CD-B4E0-E297462320DD}" dt="2023-11-24T08:49:08.111" v="77203"/>
          <ac:spMkLst>
            <pc:docMk/>
            <pc:sldMk cId="2428257732" sldId="2147478563"/>
            <ac:spMk id="505" creationId="{EE54BB68-CBBB-F09D-0AA8-5804EAD159AB}"/>
          </ac:spMkLst>
        </pc:spChg>
        <pc:spChg chg="add del mod">
          <ac:chgData name="Steiner Andreas 6206 ED" userId="e6377c33-a923-4f14-8587-531c474c7b48" providerId="ADAL" clId="{6ECD27E6-B224-41CD-B4E0-E297462320DD}" dt="2023-11-24T08:49:09.994" v="77358"/>
          <ac:spMkLst>
            <pc:docMk/>
            <pc:sldMk cId="2428257732" sldId="2147478563"/>
            <ac:spMk id="506" creationId="{AE5974EB-85A0-0764-B21E-8407E123CF4A}"/>
          </ac:spMkLst>
        </pc:spChg>
        <pc:spChg chg="add del mod">
          <ac:chgData name="Steiner Andreas 6206 ED" userId="e6377c33-a923-4f14-8587-531c474c7b48" providerId="ADAL" clId="{6ECD27E6-B224-41CD-B4E0-E297462320DD}" dt="2023-11-24T08:49:11.764" v="77513"/>
          <ac:spMkLst>
            <pc:docMk/>
            <pc:sldMk cId="2428257732" sldId="2147478563"/>
            <ac:spMk id="507" creationId="{196E825D-6F18-02FA-D775-54D0153BB04F}"/>
          </ac:spMkLst>
        </pc:spChg>
        <pc:spChg chg="add del mod">
          <ac:chgData name="Steiner Andreas 6206 ED" userId="e6377c33-a923-4f14-8587-531c474c7b48" providerId="ADAL" clId="{6ECD27E6-B224-41CD-B4E0-E297462320DD}" dt="2023-11-24T08:49:13.895" v="77668"/>
          <ac:spMkLst>
            <pc:docMk/>
            <pc:sldMk cId="2428257732" sldId="2147478563"/>
            <ac:spMk id="508" creationId="{FA79C456-AC4A-E991-E83B-CAEFDB0C9CD5}"/>
          </ac:spMkLst>
        </pc:spChg>
        <pc:spChg chg="add del mod">
          <ac:chgData name="Steiner Andreas 6206 ED" userId="e6377c33-a923-4f14-8587-531c474c7b48" providerId="ADAL" clId="{6ECD27E6-B224-41CD-B4E0-E297462320DD}" dt="2023-11-24T08:49:15.858" v="77823"/>
          <ac:spMkLst>
            <pc:docMk/>
            <pc:sldMk cId="2428257732" sldId="2147478563"/>
            <ac:spMk id="509" creationId="{E6BB6DBE-B28A-B5A4-1254-6475BC2F4555}"/>
          </ac:spMkLst>
        </pc:spChg>
        <pc:spChg chg="add del mod">
          <ac:chgData name="Steiner Andreas 6206 ED" userId="e6377c33-a923-4f14-8587-531c474c7b48" providerId="ADAL" clId="{6ECD27E6-B224-41CD-B4E0-E297462320DD}" dt="2023-11-24T08:49:17.935" v="77978"/>
          <ac:spMkLst>
            <pc:docMk/>
            <pc:sldMk cId="2428257732" sldId="2147478563"/>
            <ac:spMk id="510" creationId="{E36F8C5D-2D40-6AB3-6E48-3A33C533497F}"/>
          </ac:spMkLst>
        </pc:spChg>
        <pc:spChg chg="add del mod">
          <ac:chgData name="Steiner Andreas 6206 ED" userId="e6377c33-a923-4f14-8587-531c474c7b48" providerId="ADAL" clId="{6ECD27E6-B224-41CD-B4E0-E297462320DD}" dt="2023-11-24T08:49:19.943" v="78133"/>
          <ac:spMkLst>
            <pc:docMk/>
            <pc:sldMk cId="2428257732" sldId="2147478563"/>
            <ac:spMk id="511" creationId="{A492C301-0CE7-20FE-F4EE-A78BD4DCB4D5}"/>
          </ac:spMkLst>
        </pc:spChg>
        <pc:spChg chg="add del mod">
          <ac:chgData name="Steiner Andreas 6206 ED" userId="e6377c33-a923-4f14-8587-531c474c7b48" providerId="ADAL" clId="{6ECD27E6-B224-41CD-B4E0-E297462320DD}" dt="2023-11-24T08:49:21.813" v="78288"/>
          <ac:spMkLst>
            <pc:docMk/>
            <pc:sldMk cId="2428257732" sldId="2147478563"/>
            <ac:spMk id="512" creationId="{F2BF76D5-5AB4-944A-EF40-7EABCEFDCB42}"/>
          </ac:spMkLst>
        </pc:spChg>
        <pc:spChg chg="add del mod">
          <ac:chgData name="Steiner Andreas 6206 ED" userId="e6377c33-a923-4f14-8587-531c474c7b48" providerId="ADAL" clId="{6ECD27E6-B224-41CD-B4E0-E297462320DD}" dt="2023-11-24T08:49:23.750" v="78443"/>
          <ac:spMkLst>
            <pc:docMk/>
            <pc:sldMk cId="2428257732" sldId="2147478563"/>
            <ac:spMk id="513" creationId="{9ED4CAE8-0F21-EA52-3B64-29421B723EC9}"/>
          </ac:spMkLst>
        </pc:spChg>
        <pc:spChg chg="add del mod">
          <ac:chgData name="Steiner Andreas 6206 ED" userId="e6377c33-a923-4f14-8587-531c474c7b48" providerId="ADAL" clId="{6ECD27E6-B224-41CD-B4E0-E297462320DD}" dt="2023-11-24T08:49:25.627" v="78598"/>
          <ac:spMkLst>
            <pc:docMk/>
            <pc:sldMk cId="2428257732" sldId="2147478563"/>
            <ac:spMk id="514" creationId="{B6218680-15BF-2A8D-2659-AAEF0FB97451}"/>
          </ac:spMkLst>
        </pc:spChg>
        <pc:spChg chg="add del mod">
          <ac:chgData name="Steiner Andreas 6206 ED" userId="e6377c33-a923-4f14-8587-531c474c7b48" providerId="ADAL" clId="{6ECD27E6-B224-41CD-B4E0-E297462320DD}" dt="2023-11-24T08:49:27.708" v="78753"/>
          <ac:spMkLst>
            <pc:docMk/>
            <pc:sldMk cId="2428257732" sldId="2147478563"/>
            <ac:spMk id="515" creationId="{726FE5CB-D2FA-CF44-8FA8-F14CB0213AE7}"/>
          </ac:spMkLst>
        </pc:spChg>
        <pc:spChg chg="add del mod">
          <ac:chgData name="Steiner Andreas 6206 ED" userId="e6377c33-a923-4f14-8587-531c474c7b48" providerId="ADAL" clId="{6ECD27E6-B224-41CD-B4E0-E297462320DD}" dt="2023-11-24T08:49:29.760" v="78908"/>
          <ac:spMkLst>
            <pc:docMk/>
            <pc:sldMk cId="2428257732" sldId="2147478563"/>
            <ac:spMk id="516" creationId="{A4187DAC-E25A-C8CD-B22E-897DD9D79282}"/>
          </ac:spMkLst>
        </pc:spChg>
        <pc:spChg chg="add del mod">
          <ac:chgData name="Steiner Andreas 6206 ED" userId="e6377c33-a923-4f14-8587-531c474c7b48" providerId="ADAL" clId="{6ECD27E6-B224-41CD-B4E0-E297462320DD}" dt="2023-11-24T08:49:31.633" v="79063"/>
          <ac:spMkLst>
            <pc:docMk/>
            <pc:sldMk cId="2428257732" sldId="2147478563"/>
            <ac:spMk id="517" creationId="{541D3F12-1644-8226-B440-F8B058B21BB2}"/>
          </ac:spMkLst>
        </pc:spChg>
        <pc:spChg chg="add del mod">
          <ac:chgData name="Steiner Andreas 6206 ED" userId="e6377c33-a923-4f14-8587-531c474c7b48" providerId="ADAL" clId="{6ECD27E6-B224-41CD-B4E0-E297462320DD}" dt="2023-11-24T08:49:33.554" v="79218"/>
          <ac:spMkLst>
            <pc:docMk/>
            <pc:sldMk cId="2428257732" sldId="2147478563"/>
            <ac:spMk id="518" creationId="{AC8FA5D3-7395-513F-9C3B-C2B1A8AAD9EA}"/>
          </ac:spMkLst>
        </pc:spChg>
        <pc:spChg chg="add del mod">
          <ac:chgData name="Steiner Andreas 6206 ED" userId="e6377c33-a923-4f14-8587-531c474c7b48" providerId="ADAL" clId="{6ECD27E6-B224-41CD-B4E0-E297462320DD}" dt="2023-11-24T08:49:35.440" v="79373"/>
          <ac:spMkLst>
            <pc:docMk/>
            <pc:sldMk cId="2428257732" sldId="2147478563"/>
            <ac:spMk id="519" creationId="{77C3722C-A9D8-EC59-55AE-06501A3AEC57}"/>
          </ac:spMkLst>
        </pc:spChg>
        <pc:spChg chg="add del mod">
          <ac:chgData name="Steiner Andreas 6206 ED" userId="e6377c33-a923-4f14-8587-531c474c7b48" providerId="ADAL" clId="{6ECD27E6-B224-41CD-B4E0-E297462320DD}" dt="2023-11-24T08:49:37.290" v="79528"/>
          <ac:spMkLst>
            <pc:docMk/>
            <pc:sldMk cId="2428257732" sldId="2147478563"/>
            <ac:spMk id="520" creationId="{3092733E-7619-5811-E50D-45119ACC7169}"/>
          </ac:spMkLst>
        </pc:spChg>
        <pc:spChg chg="add del mod">
          <ac:chgData name="Steiner Andreas 6206 ED" userId="e6377c33-a923-4f14-8587-531c474c7b48" providerId="ADAL" clId="{6ECD27E6-B224-41CD-B4E0-E297462320DD}" dt="2023-11-24T08:49:39.238" v="79683"/>
          <ac:spMkLst>
            <pc:docMk/>
            <pc:sldMk cId="2428257732" sldId="2147478563"/>
            <ac:spMk id="521" creationId="{C2439E17-F95E-A301-43C0-109AE9CA54FA}"/>
          </ac:spMkLst>
        </pc:spChg>
        <pc:spChg chg="add del mod">
          <ac:chgData name="Steiner Andreas 6206 ED" userId="e6377c33-a923-4f14-8587-531c474c7b48" providerId="ADAL" clId="{6ECD27E6-B224-41CD-B4E0-E297462320DD}" dt="2023-11-24T08:49:41.361" v="79838"/>
          <ac:spMkLst>
            <pc:docMk/>
            <pc:sldMk cId="2428257732" sldId="2147478563"/>
            <ac:spMk id="522" creationId="{D1C940CC-9A73-CF08-7C6F-B894AE418509}"/>
          </ac:spMkLst>
        </pc:spChg>
        <pc:spChg chg="add del mod">
          <ac:chgData name="Steiner Andreas 6206 ED" userId="e6377c33-a923-4f14-8587-531c474c7b48" providerId="ADAL" clId="{6ECD27E6-B224-41CD-B4E0-E297462320DD}" dt="2023-11-24T08:49:43.247" v="79993"/>
          <ac:spMkLst>
            <pc:docMk/>
            <pc:sldMk cId="2428257732" sldId="2147478563"/>
            <ac:spMk id="523" creationId="{E6A6A48C-F5A2-FB94-BF77-E7D1E951E7D0}"/>
          </ac:spMkLst>
        </pc:spChg>
        <pc:spChg chg="add del mod">
          <ac:chgData name="Steiner Andreas 6206 ED" userId="e6377c33-a923-4f14-8587-531c474c7b48" providerId="ADAL" clId="{6ECD27E6-B224-41CD-B4E0-E297462320DD}" dt="2023-11-24T08:49:45.189" v="80148"/>
          <ac:spMkLst>
            <pc:docMk/>
            <pc:sldMk cId="2428257732" sldId="2147478563"/>
            <ac:spMk id="524" creationId="{C6C85CF2-0AF1-836B-EBB0-5E8A720ACFDC}"/>
          </ac:spMkLst>
        </pc:spChg>
        <pc:spChg chg="add del mod">
          <ac:chgData name="Steiner Andreas 6206 ED" userId="e6377c33-a923-4f14-8587-531c474c7b48" providerId="ADAL" clId="{6ECD27E6-B224-41CD-B4E0-E297462320DD}" dt="2023-11-24T08:49:47.155" v="80303"/>
          <ac:spMkLst>
            <pc:docMk/>
            <pc:sldMk cId="2428257732" sldId="2147478563"/>
            <ac:spMk id="525" creationId="{974585C9-E7E9-4E04-4CC3-F37A86F81E5F}"/>
          </ac:spMkLst>
        </pc:spChg>
        <pc:spChg chg="add del mod">
          <ac:chgData name="Steiner Andreas 6206 ED" userId="e6377c33-a923-4f14-8587-531c474c7b48" providerId="ADAL" clId="{6ECD27E6-B224-41CD-B4E0-E297462320DD}" dt="2023-11-24T08:49:49.051" v="80458"/>
          <ac:spMkLst>
            <pc:docMk/>
            <pc:sldMk cId="2428257732" sldId="2147478563"/>
            <ac:spMk id="526" creationId="{9A3411F2-6698-BC2C-EAAD-83E03DE1FD78}"/>
          </ac:spMkLst>
        </pc:spChg>
        <pc:spChg chg="add del mod">
          <ac:chgData name="Steiner Andreas 6206 ED" userId="e6377c33-a923-4f14-8587-531c474c7b48" providerId="ADAL" clId="{6ECD27E6-B224-41CD-B4E0-E297462320DD}" dt="2023-11-24T08:49:50.921" v="80613"/>
          <ac:spMkLst>
            <pc:docMk/>
            <pc:sldMk cId="2428257732" sldId="2147478563"/>
            <ac:spMk id="527" creationId="{1A0CC2FD-1F21-B1C5-8F66-A491050F4F13}"/>
          </ac:spMkLst>
        </pc:spChg>
        <pc:spChg chg="add del mod">
          <ac:chgData name="Steiner Andreas 6206 ED" userId="e6377c33-a923-4f14-8587-531c474c7b48" providerId="ADAL" clId="{6ECD27E6-B224-41CD-B4E0-E297462320DD}" dt="2023-11-24T08:49:52.841" v="80768"/>
          <ac:spMkLst>
            <pc:docMk/>
            <pc:sldMk cId="2428257732" sldId="2147478563"/>
            <ac:spMk id="528" creationId="{947ECF9A-0496-3412-BB67-F09F2FDDA8C3}"/>
          </ac:spMkLst>
        </pc:spChg>
        <pc:spChg chg="add del mod">
          <ac:chgData name="Steiner Andreas 6206 ED" userId="e6377c33-a923-4f14-8587-531c474c7b48" providerId="ADAL" clId="{6ECD27E6-B224-41CD-B4E0-E297462320DD}" dt="2023-11-24T08:49:54.772" v="80923"/>
          <ac:spMkLst>
            <pc:docMk/>
            <pc:sldMk cId="2428257732" sldId="2147478563"/>
            <ac:spMk id="529" creationId="{9F72DE18-F359-2524-24BC-F05462796E64}"/>
          </ac:spMkLst>
        </pc:spChg>
        <pc:spChg chg="add del mod">
          <ac:chgData name="Steiner Andreas 6206 ED" userId="e6377c33-a923-4f14-8587-531c474c7b48" providerId="ADAL" clId="{6ECD27E6-B224-41CD-B4E0-E297462320DD}" dt="2023-11-24T08:49:56.638" v="81078"/>
          <ac:spMkLst>
            <pc:docMk/>
            <pc:sldMk cId="2428257732" sldId="2147478563"/>
            <ac:spMk id="530" creationId="{45FFF0B4-1F2E-E4A1-ABCA-62054061ADE7}"/>
          </ac:spMkLst>
        </pc:spChg>
        <pc:spChg chg="add del mod">
          <ac:chgData name="Steiner Andreas 6206 ED" userId="e6377c33-a923-4f14-8587-531c474c7b48" providerId="ADAL" clId="{6ECD27E6-B224-41CD-B4E0-E297462320DD}" dt="2023-11-24T08:49:58.549" v="81233"/>
          <ac:spMkLst>
            <pc:docMk/>
            <pc:sldMk cId="2428257732" sldId="2147478563"/>
            <ac:spMk id="531" creationId="{55BC1A76-3B3D-9626-E381-01826AD55121}"/>
          </ac:spMkLst>
        </pc:spChg>
        <pc:spChg chg="add del mod">
          <ac:chgData name="Steiner Andreas 6206 ED" userId="e6377c33-a923-4f14-8587-531c474c7b48" providerId="ADAL" clId="{6ECD27E6-B224-41CD-B4E0-E297462320DD}" dt="2023-11-24T08:50:00.469" v="81388"/>
          <ac:spMkLst>
            <pc:docMk/>
            <pc:sldMk cId="2428257732" sldId="2147478563"/>
            <ac:spMk id="532" creationId="{99692D20-0431-420A-B5E5-9854DEE57823}"/>
          </ac:spMkLst>
        </pc:spChg>
        <pc:spChg chg="add del mod">
          <ac:chgData name="Steiner Andreas 6206 ED" userId="e6377c33-a923-4f14-8587-531c474c7b48" providerId="ADAL" clId="{6ECD27E6-B224-41CD-B4E0-E297462320DD}" dt="2023-11-24T08:50:02.562" v="81543"/>
          <ac:spMkLst>
            <pc:docMk/>
            <pc:sldMk cId="2428257732" sldId="2147478563"/>
            <ac:spMk id="533" creationId="{8BEDC001-641F-31D4-DDA9-46E4B1F7B53B}"/>
          </ac:spMkLst>
        </pc:spChg>
        <pc:spChg chg="add del mod">
          <ac:chgData name="Steiner Andreas 6206 ED" userId="e6377c33-a923-4f14-8587-531c474c7b48" providerId="ADAL" clId="{6ECD27E6-B224-41CD-B4E0-E297462320DD}" dt="2023-11-24T08:50:04.628" v="81698"/>
          <ac:spMkLst>
            <pc:docMk/>
            <pc:sldMk cId="2428257732" sldId="2147478563"/>
            <ac:spMk id="534" creationId="{E032D06B-9A6A-210B-43D3-F9AB8940CBFF}"/>
          </ac:spMkLst>
        </pc:spChg>
        <pc:spChg chg="add del mod">
          <ac:chgData name="Steiner Andreas 6206 ED" userId="e6377c33-a923-4f14-8587-531c474c7b48" providerId="ADAL" clId="{6ECD27E6-B224-41CD-B4E0-E297462320DD}" dt="2023-11-24T08:50:06.560" v="81853"/>
          <ac:spMkLst>
            <pc:docMk/>
            <pc:sldMk cId="2428257732" sldId="2147478563"/>
            <ac:spMk id="535" creationId="{29240A17-69C5-C099-3AEF-25F30E158F55}"/>
          </ac:spMkLst>
        </pc:spChg>
        <pc:spChg chg="add del mod">
          <ac:chgData name="Steiner Andreas 6206 ED" userId="e6377c33-a923-4f14-8587-531c474c7b48" providerId="ADAL" clId="{6ECD27E6-B224-41CD-B4E0-E297462320DD}" dt="2023-11-24T08:50:08.422" v="82008"/>
          <ac:spMkLst>
            <pc:docMk/>
            <pc:sldMk cId="2428257732" sldId="2147478563"/>
            <ac:spMk id="536" creationId="{FD818D19-1195-2FA2-E485-7CC397AA9C93}"/>
          </ac:spMkLst>
        </pc:spChg>
        <pc:spChg chg="add del mod">
          <ac:chgData name="Steiner Andreas 6206 ED" userId="e6377c33-a923-4f14-8587-531c474c7b48" providerId="ADAL" clId="{6ECD27E6-B224-41CD-B4E0-E297462320DD}" dt="2023-11-24T08:50:10.336" v="82163"/>
          <ac:spMkLst>
            <pc:docMk/>
            <pc:sldMk cId="2428257732" sldId="2147478563"/>
            <ac:spMk id="537" creationId="{7012A0CC-512C-B748-F289-B42A1E8EE437}"/>
          </ac:spMkLst>
        </pc:spChg>
        <pc:spChg chg="add del mod">
          <ac:chgData name="Steiner Andreas 6206 ED" userId="e6377c33-a923-4f14-8587-531c474c7b48" providerId="ADAL" clId="{6ECD27E6-B224-41CD-B4E0-E297462320DD}" dt="2023-11-24T08:50:12.258" v="82318"/>
          <ac:spMkLst>
            <pc:docMk/>
            <pc:sldMk cId="2428257732" sldId="2147478563"/>
            <ac:spMk id="538" creationId="{9BCF220F-D770-A6D0-23EC-9722139608AC}"/>
          </ac:spMkLst>
        </pc:spChg>
        <pc:spChg chg="add del mod">
          <ac:chgData name="Steiner Andreas 6206 ED" userId="e6377c33-a923-4f14-8587-531c474c7b48" providerId="ADAL" clId="{6ECD27E6-B224-41CD-B4E0-E297462320DD}" dt="2023-11-24T08:50:14.315" v="82473"/>
          <ac:spMkLst>
            <pc:docMk/>
            <pc:sldMk cId="2428257732" sldId="2147478563"/>
            <ac:spMk id="539" creationId="{F7D240CF-6EC2-CE14-E530-7C76271CE2CE}"/>
          </ac:spMkLst>
        </pc:spChg>
        <pc:spChg chg="add del mod">
          <ac:chgData name="Steiner Andreas 6206 ED" userId="e6377c33-a923-4f14-8587-531c474c7b48" providerId="ADAL" clId="{6ECD27E6-B224-41CD-B4E0-E297462320DD}" dt="2023-11-24T08:50:16.250" v="82628"/>
          <ac:spMkLst>
            <pc:docMk/>
            <pc:sldMk cId="2428257732" sldId="2147478563"/>
            <ac:spMk id="540" creationId="{D36E4ADE-5876-CFDE-4490-DF96C6740E30}"/>
          </ac:spMkLst>
        </pc:spChg>
        <pc:spChg chg="add del mod">
          <ac:chgData name="Steiner Andreas 6206 ED" userId="e6377c33-a923-4f14-8587-531c474c7b48" providerId="ADAL" clId="{6ECD27E6-B224-41CD-B4E0-E297462320DD}" dt="2023-11-24T08:50:18.252" v="82783"/>
          <ac:spMkLst>
            <pc:docMk/>
            <pc:sldMk cId="2428257732" sldId="2147478563"/>
            <ac:spMk id="541" creationId="{7E9B57F1-E5E7-C912-AA5A-CF56C6A37E72}"/>
          </ac:spMkLst>
        </pc:spChg>
        <pc:spChg chg="add del mod">
          <ac:chgData name="Steiner Andreas 6206 ED" userId="e6377c33-a923-4f14-8587-531c474c7b48" providerId="ADAL" clId="{6ECD27E6-B224-41CD-B4E0-E297462320DD}" dt="2023-11-24T08:50:20.506" v="82938"/>
          <ac:spMkLst>
            <pc:docMk/>
            <pc:sldMk cId="2428257732" sldId="2147478563"/>
            <ac:spMk id="542" creationId="{BC10DFE7-F803-CCBA-2D70-4A6009844DCD}"/>
          </ac:spMkLst>
        </pc:spChg>
        <pc:spChg chg="add del mod">
          <ac:chgData name="Steiner Andreas 6206 ED" userId="e6377c33-a923-4f14-8587-531c474c7b48" providerId="ADAL" clId="{6ECD27E6-B224-41CD-B4E0-E297462320DD}" dt="2023-11-24T08:50:22.388" v="83093"/>
          <ac:spMkLst>
            <pc:docMk/>
            <pc:sldMk cId="2428257732" sldId="2147478563"/>
            <ac:spMk id="543" creationId="{276B27D3-ED3B-1624-CC57-21C085FFD1F5}"/>
          </ac:spMkLst>
        </pc:spChg>
        <pc:spChg chg="add del mod">
          <ac:chgData name="Steiner Andreas 6206 ED" userId="e6377c33-a923-4f14-8587-531c474c7b48" providerId="ADAL" clId="{6ECD27E6-B224-41CD-B4E0-E297462320DD}" dt="2023-11-24T08:50:24.538" v="83248"/>
          <ac:spMkLst>
            <pc:docMk/>
            <pc:sldMk cId="2428257732" sldId="2147478563"/>
            <ac:spMk id="544" creationId="{9C5CBA5B-7C0B-B81E-ECEE-36B02271E614}"/>
          </ac:spMkLst>
        </pc:spChg>
        <pc:spChg chg="add del mod">
          <ac:chgData name="Steiner Andreas 6206 ED" userId="e6377c33-a923-4f14-8587-531c474c7b48" providerId="ADAL" clId="{6ECD27E6-B224-41CD-B4E0-E297462320DD}" dt="2023-11-24T08:50:26.499" v="83403"/>
          <ac:spMkLst>
            <pc:docMk/>
            <pc:sldMk cId="2428257732" sldId="2147478563"/>
            <ac:spMk id="545" creationId="{EB0503F4-A376-9371-3607-03C488DB03F4}"/>
          </ac:spMkLst>
        </pc:spChg>
        <pc:spChg chg="add del mod">
          <ac:chgData name="Steiner Andreas 6206 ED" userId="e6377c33-a923-4f14-8587-531c474c7b48" providerId="ADAL" clId="{6ECD27E6-B224-41CD-B4E0-E297462320DD}" dt="2023-11-24T08:50:28.416" v="83558"/>
          <ac:spMkLst>
            <pc:docMk/>
            <pc:sldMk cId="2428257732" sldId="2147478563"/>
            <ac:spMk id="546" creationId="{C32F5FC1-6056-A003-4CFD-1DEC56DF18C0}"/>
          </ac:spMkLst>
        </pc:spChg>
        <pc:spChg chg="add del mod">
          <ac:chgData name="Steiner Andreas 6206 ED" userId="e6377c33-a923-4f14-8587-531c474c7b48" providerId="ADAL" clId="{6ECD27E6-B224-41CD-B4E0-E297462320DD}" dt="2023-11-24T08:50:30.337" v="83713"/>
          <ac:spMkLst>
            <pc:docMk/>
            <pc:sldMk cId="2428257732" sldId="2147478563"/>
            <ac:spMk id="547" creationId="{E83F27D4-7F04-B4C9-9986-4B42A4EA55D6}"/>
          </ac:spMkLst>
        </pc:spChg>
        <pc:spChg chg="add del mod">
          <ac:chgData name="Steiner Andreas 6206 ED" userId="e6377c33-a923-4f14-8587-531c474c7b48" providerId="ADAL" clId="{6ECD27E6-B224-41CD-B4E0-E297462320DD}" dt="2023-11-24T08:50:32.426" v="83868"/>
          <ac:spMkLst>
            <pc:docMk/>
            <pc:sldMk cId="2428257732" sldId="2147478563"/>
            <ac:spMk id="548" creationId="{942B47FD-E6E8-8927-20AF-75A0CC29A860}"/>
          </ac:spMkLst>
        </pc:spChg>
        <pc:spChg chg="add del mod">
          <ac:chgData name="Steiner Andreas 6206 ED" userId="e6377c33-a923-4f14-8587-531c474c7b48" providerId="ADAL" clId="{6ECD27E6-B224-41CD-B4E0-E297462320DD}" dt="2023-11-24T08:50:34.445" v="84023"/>
          <ac:spMkLst>
            <pc:docMk/>
            <pc:sldMk cId="2428257732" sldId="2147478563"/>
            <ac:spMk id="549" creationId="{F9A85928-8F65-E101-0BB9-9D228EC8131F}"/>
          </ac:spMkLst>
        </pc:spChg>
        <pc:spChg chg="add del mod">
          <ac:chgData name="Steiner Andreas 6206 ED" userId="e6377c33-a923-4f14-8587-531c474c7b48" providerId="ADAL" clId="{6ECD27E6-B224-41CD-B4E0-E297462320DD}" dt="2023-11-24T08:50:36.651" v="84178"/>
          <ac:spMkLst>
            <pc:docMk/>
            <pc:sldMk cId="2428257732" sldId="2147478563"/>
            <ac:spMk id="550" creationId="{CBE38289-BB1D-137E-F541-DD323FFA17D7}"/>
          </ac:spMkLst>
        </pc:spChg>
        <pc:spChg chg="add del mod">
          <ac:chgData name="Steiner Andreas 6206 ED" userId="e6377c33-a923-4f14-8587-531c474c7b48" providerId="ADAL" clId="{6ECD27E6-B224-41CD-B4E0-E297462320DD}" dt="2023-11-24T08:50:38.609" v="84333"/>
          <ac:spMkLst>
            <pc:docMk/>
            <pc:sldMk cId="2428257732" sldId="2147478563"/>
            <ac:spMk id="551" creationId="{29ECF7AC-8FBD-3AA8-3A58-39289C96A607}"/>
          </ac:spMkLst>
        </pc:spChg>
        <pc:spChg chg="add del mod">
          <ac:chgData name="Steiner Andreas 6206 ED" userId="e6377c33-a923-4f14-8587-531c474c7b48" providerId="ADAL" clId="{6ECD27E6-B224-41CD-B4E0-E297462320DD}" dt="2023-11-24T08:50:40.599" v="84488"/>
          <ac:spMkLst>
            <pc:docMk/>
            <pc:sldMk cId="2428257732" sldId="2147478563"/>
            <ac:spMk id="552" creationId="{5F32390B-E966-16EF-B778-32EAAE774B86}"/>
          </ac:spMkLst>
        </pc:spChg>
        <pc:spChg chg="add del mod">
          <ac:chgData name="Steiner Andreas 6206 ED" userId="e6377c33-a923-4f14-8587-531c474c7b48" providerId="ADAL" clId="{6ECD27E6-B224-41CD-B4E0-E297462320DD}" dt="2023-11-24T08:50:42.597" v="84643"/>
          <ac:spMkLst>
            <pc:docMk/>
            <pc:sldMk cId="2428257732" sldId="2147478563"/>
            <ac:spMk id="553" creationId="{E535168E-615E-F787-4505-3C7A9A95522B}"/>
          </ac:spMkLst>
        </pc:spChg>
        <pc:spChg chg="add del mod">
          <ac:chgData name="Steiner Andreas 6206 ED" userId="e6377c33-a923-4f14-8587-531c474c7b48" providerId="ADAL" clId="{6ECD27E6-B224-41CD-B4E0-E297462320DD}" dt="2023-11-24T08:50:44.796" v="84798"/>
          <ac:spMkLst>
            <pc:docMk/>
            <pc:sldMk cId="2428257732" sldId="2147478563"/>
            <ac:spMk id="554" creationId="{D5C19C07-93C9-A0AC-5328-CCC06176CB03}"/>
          </ac:spMkLst>
        </pc:spChg>
        <pc:spChg chg="add del mod">
          <ac:chgData name="Steiner Andreas 6206 ED" userId="e6377c33-a923-4f14-8587-531c474c7b48" providerId="ADAL" clId="{6ECD27E6-B224-41CD-B4E0-E297462320DD}" dt="2023-11-24T08:50:46.898" v="84953"/>
          <ac:spMkLst>
            <pc:docMk/>
            <pc:sldMk cId="2428257732" sldId="2147478563"/>
            <ac:spMk id="555" creationId="{87774249-93A1-E26E-0EB2-9F63921B1596}"/>
          </ac:spMkLst>
        </pc:spChg>
        <pc:spChg chg="add del mod">
          <ac:chgData name="Steiner Andreas 6206 ED" userId="e6377c33-a923-4f14-8587-531c474c7b48" providerId="ADAL" clId="{6ECD27E6-B224-41CD-B4E0-E297462320DD}" dt="2023-11-24T08:50:48.986" v="85108"/>
          <ac:spMkLst>
            <pc:docMk/>
            <pc:sldMk cId="2428257732" sldId="2147478563"/>
            <ac:spMk id="556" creationId="{EDC7FCC4-E62D-3B46-586D-0D67CC3B4B7A}"/>
          </ac:spMkLst>
        </pc:spChg>
        <pc:spChg chg="add del mod">
          <ac:chgData name="Steiner Andreas 6206 ED" userId="e6377c33-a923-4f14-8587-531c474c7b48" providerId="ADAL" clId="{6ECD27E6-B224-41CD-B4E0-E297462320DD}" dt="2023-11-24T08:50:51.094" v="85263"/>
          <ac:spMkLst>
            <pc:docMk/>
            <pc:sldMk cId="2428257732" sldId="2147478563"/>
            <ac:spMk id="557" creationId="{6143B7AC-176F-1441-E6D0-1B4F102E02DE}"/>
          </ac:spMkLst>
        </pc:spChg>
        <pc:spChg chg="add del mod">
          <ac:chgData name="Steiner Andreas 6206 ED" userId="e6377c33-a923-4f14-8587-531c474c7b48" providerId="ADAL" clId="{6ECD27E6-B224-41CD-B4E0-E297462320DD}" dt="2023-11-24T08:50:53.198" v="85418"/>
          <ac:spMkLst>
            <pc:docMk/>
            <pc:sldMk cId="2428257732" sldId="2147478563"/>
            <ac:spMk id="558" creationId="{A193E227-D9E0-6ED5-0DC8-F4994D6FFC1A}"/>
          </ac:spMkLst>
        </pc:spChg>
        <pc:spChg chg="add del mod">
          <ac:chgData name="Steiner Andreas 6206 ED" userId="e6377c33-a923-4f14-8587-531c474c7b48" providerId="ADAL" clId="{6ECD27E6-B224-41CD-B4E0-E297462320DD}" dt="2023-11-24T08:50:55.102" v="85573"/>
          <ac:spMkLst>
            <pc:docMk/>
            <pc:sldMk cId="2428257732" sldId="2147478563"/>
            <ac:spMk id="559" creationId="{E671DCBA-74C0-A0F8-ED51-E46F57035151}"/>
          </ac:spMkLst>
        </pc:spChg>
        <pc:spChg chg="add del mod">
          <ac:chgData name="Steiner Andreas 6206 ED" userId="e6377c33-a923-4f14-8587-531c474c7b48" providerId="ADAL" clId="{6ECD27E6-B224-41CD-B4E0-E297462320DD}" dt="2023-11-24T08:50:57.014" v="85728"/>
          <ac:spMkLst>
            <pc:docMk/>
            <pc:sldMk cId="2428257732" sldId="2147478563"/>
            <ac:spMk id="560" creationId="{5997E7E9-C1AC-82AF-2418-1B6271C14F4C}"/>
          </ac:spMkLst>
        </pc:spChg>
        <pc:spChg chg="add del mod">
          <ac:chgData name="Steiner Andreas 6206 ED" userId="e6377c33-a923-4f14-8587-531c474c7b48" providerId="ADAL" clId="{6ECD27E6-B224-41CD-B4E0-E297462320DD}" dt="2023-11-24T08:50:59.223" v="85883"/>
          <ac:spMkLst>
            <pc:docMk/>
            <pc:sldMk cId="2428257732" sldId="2147478563"/>
            <ac:spMk id="561" creationId="{5D6909C3-563F-8B83-9706-1B18050CEBA0}"/>
          </ac:spMkLst>
        </pc:spChg>
        <pc:spChg chg="add del mod">
          <ac:chgData name="Steiner Andreas 6206 ED" userId="e6377c33-a923-4f14-8587-531c474c7b48" providerId="ADAL" clId="{6ECD27E6-B224-41CD-B4E0-E297462320DD}" dt="2023-11-24T08:51:01.161" v="86038"/>
          <ac:spMkLst>
            <pc:docMk/>
            <pc:sldMk cId="2428257732" sldId="2147478563"/>
            <ac:spMk id="562" creationId="{8B858A5D-A44E-0AF5-63EC-DBF6CC60CF2E}"/>
          </ac:spMkLst>
        </pc:spChg>
        <pc:spChg chg="add del mod">
          <ac:chgData name="Steiner Andreas 6206 ED" userId="e6377c33-a923-4f14-8587-531c474c7b48" providerId="ADAL" clId="{6ECD27E6-B224-41CD-B4E0-E297462320DD}" dt="2023-11-24T08:51:03.141" v="86193"/>
          <ac:spMkLst>
            <pc:docMk/>
            <pc:sldMk cId="2428257732" sldId="2147478563"/>
            <ac:spMk id="563" creationId="{CFEFEC74-E7A2-0290-064D-E575DAC678F3}"/>
          </ac:spMkLst>
        </pc:spChg>
        <pc:spChg chg="add del mod">
          <ac:chgData name="Steiner Andreas 6206 ED" userId="e6377c33-a923-4f14-8587-531c474c7b48" providerId="ADAL" clId="{6ECD27E6-B224-41CD-B4E0-E297462320DD}" dt="2023-11-24T08:51:05.006" v="86348"/>
          <ac:spMkLst>
            <pc:docMk/>
            <pc:sldMk cId="2428257732" sldId="2147478563"/>
            <ac:spMk id="564" creationId="{5C4D7339-41F2-91E7-8901-92F450D62603}"/>
          </ac:spMkLst>
        </pc:spChg>
        <pc:spChg chg="add del mod">
          <ac:chgData name="Steiner Andreas 6206 ED" userId="e6377c33-a923-4f14-8587-531c474c7b48" providerId="ADAL" clId="{6ECD27E6-B224-41CD-B4E0-E297462320DD}" dt="2023-11-24T08:51:06.898" v="86503"/>
          <ac:spMkLst>
            <pc:docMk/>
            <pc:sldMk cId="2428257732" sldId="2147478563"/>
            <ac:spMk id="565" creationId="{20272077-1288-F7A3-5B96-E24A7EEF6B17}"/>
          </ac:spMkLst>
        </pc:spChg>
        <pc:spChg chg="add del mod">
          <ac:chgData name="Steiner Andreas 6206 ED" userId="e6377c33-a923-4f14-8587-531c474c7b48" providerId="ADAL" clId="{6ECD27E6-B224-41CD-B4E0-E297462320DD}" dt="2023-11-24T08:51:08.901" v="86658"/>
          <ac:spMkLst>
            <pc:docMk/>
            <pc:sldMk cId="2428257732" sldId="2147478563"/>
            <ac:spMk id="566" creationId="{14D0D8FA-2083-0753-B0E7-58CCD088522F}"/>
          </ac:spMkLst>
        </pc:spChg>
        <pc:spChg chg="add del mod">
          <ac:chgData name="Steiner Andreas 6206 ED" userId="e6377c33-a923-4f14-8587-531c474c7b48" providerId="ADAL" clId="{6ECD27E6-B224-41CD-B4E0-E297462320DD}" dt="2023-11-24T08:51:10.913" v="86813"/>
          <ac:spMkLst>
            <pc:docMk/>
            <pc:sldMk cId="2428257732" sldId="2147478563"/>
            <ac:spMk id="567" creationId="{AF25F34E-DAF7-AF36-287B-86B28F3D8C8F}"/>
          </ac:spMkLst>
        </pc:spChg>
        <pc:spChg chg="add del mod">
          <ac:chgData name="Steiner Andreas 6206 ED" userId="e6377c33-a923-4f14-8587-531c474c7b48" providerId="ADAL" clId="{6ECD27E6-B224-41CD-B4E0-E297462320DD}" dt="2023-11-24T08:51:12.834" v="86968"/>
          <ac:spMkLst>
            <pc:docMk/>
            <pc:sldMk cId="2428257732" sldId="2147478563"/>
            <ac:spMk id="568" creationId="{C7F41D23-55C3-A2D5-6B5A-6C5B2A7DF187}"/>
          </ac:spMkLst>
        </pc:spChg>
        <pc:spChg chg="add del mod">
          <ac:chgData name="Steiner Andreas 6206 ED" userId="e6377c33-a923-4f14-8587-531c474c7b48" providerId="ADAL" clId="{6ECD27E6-B224-41CD-B4E0-E297462320DD}" dt="2023-11-24T08:51:15.035" v="87123"/>
          <ac:spMkLst>
            <pc:docMk/>
            <pc:sldMk cId="2428257732" sldId="2147478563"/>
            <ac:spMk id="569" creationId="{78B24831-93E4-0B04-8EAB-266C1E77FC74}"/>
          </ac:spMkLst>
        </pc:spChg>
        <pc:spChg chg="add del mod">
          <ac:chgData name="Steiner Andreas 6206 ED" userId="e6377c33-a923-4f14-8587-531c474c7b48" providerId="ADAL" clId="{6ECD27E6-B224-41CD-B4E0-E297462320DD}" dt="2023-11-24T08:51:17.091" v="87278"/>
          <ac:spMkLst>
            <pc:docMk/>
            <pc:sldMk cId="2428257732" sldId="2147478563"/>
            <ac:spMk id="570" creationId="{03E6165A-FF98-C456-15F1-2BB00939F38A}"/>
          </ac:spMkLst>
        </pc:spChg>
        <pc:spChg chg="add del mod">
          <ac:chgData name="Steiner Andreas 6206 ED" userId="e6377c33-a923-4f14-8587-531c474c7b48" providerId="ADAL" clId="{6ECD27E6-B224-41CD-B4E0-E297462320DD}" dt="2023-11-24T08:51:19.021" v="87433"/>
          <ac:spMkLst>
            <pc:docMk/>
            <pc:sldMk cId="2428257732" sldId="2147478563"/>
            <ac:spMk id="571" creationId="{09C7C84F-7D8C-AC2E-E5BD-F15E5B86485C}"/>
          </ac:spMkLst>
        </pc:spChg>
        <pc:spChg chg="add del mod">
          <ac:chgData name="Steiner Andreas 6206 ED" userId="e6377c33-a923-4f14-8587-531c474c7b48" providerId="ADAL" clId="{6ECD27E6-B224-41CD-B4E0-E297462320DD}" dt="2023-11-24T08:51:21.114" v="87588"/>
          <ac:spMkLst>
            <pc:docMk/>
            <pc:sldMk cId="2428257732" sldId="2147478563"/>
            <ac:spMk id="572" creationId="{924CD777-DA21-656C-4D35-747B9AD021F0}"/>
          </ac:spMkLst>
        </pc:spChg>
        <pc:spChg chg="add del mod">
          <ac:chgData name="Steiner Andreas 6206 ED" userId="e6377c33-a923-4f14-8587-531c474c7b48" providerId="ADAL" clId="{6ECD27E6-B224-41CD-B4E0-E297462320DD}" dt="2023-11-24T08:51:23.034" v="87743"/>
          <ac:spMkLst>
            <pc:docMk/>
            <pc:sldMk cId="2428257732" sldId="2147478563"/>
            <ac:spMk id="573" creationId="{07BF9442-5252-56E8-50EA-DCBCBE591BF0}"/>
          </ac:spMkLst>
        </pc:spChg>
        <pc:spChg chg="add del mod">
          <ac:chgData name="Steiner Andreas 6206 ED" userId="e6377c33-a923-4f14-8587-531c474c7b48" providerId="ADAL" clId="{6ECD27E6-B224-41CD-B4E0-E297462320DD}" dt="2023-11-24T08:51:24.936" v="87898"/>
          <ac:spMkLst>
            <pc:docMk/>
            <pc:sldMk cId="2428257732" sldId="2147478563"/>
            <ac:spMk id="574" creationId="{72E0EA1D-FE0F-7A36-D922-2E848AAF7E44}"/>
          </ac:spMkLst>
        </pc:spChg>
        <pc:spChg chg="add del mod">
          <ac:chgData name="Steiner Andreas 6206 ED" userId="e6377c33-a923-4f14-8587-531c474c7b48" providerId="ADAL" clId="{6ECD27E6-B224-41CD-B4E0-E297462320DD}" dt="2023-11-24T08:51:26.809" v="88053"/>
          <ac:spMkLst>
            <pc:docMk/>
            <pc:sldMk cId="2428257732" sldId="2147478563"/>
            <ac:spMk id="575" creationId="{57E43838-2213-B575-D294-D5DFB1C26B1C}"/>
          </ac:spMkLst>
        </pc:spChg>
        <pc:spChg chg="add del mod">
          <ac:chgData name="Steiner Andreas 6206 ED" userId="e6377c33-a923-4f14-8587-531c474c7b48" providerId="ADAL" clId="{6ECD27E6-B224-41CD-B4E0-E297462320DD}" dt="2023-11-24T08:51:28.714" v="88208"/>
          <ac:spMkLst>
            <pc:docMk/>
            <pc:sldMk cId="2428257732" sldId="2147478563"/>
            <ac:spMk id="576" creationId="{C6F9660A-7536-CE26-BD7B-E25ACAE6423E}"/>
          </ac:spMkLst>
        </pc:spChg>
        <pc:spChg chg="add del mod">
          <ac:chgData name="Steiner Andreas 6206 ED" userId="e6377c33-a923-4f14-8587-531c474c7b48" providerId="ADAL" clId="{6ECD27E6-B224-41CD-B4E0-E297462320DD}" dt="2023-11-24T08:51:30.728" v="88363"/>
          <ac:spMkLst>
            <pc:docMk/>
            <pc:sldMk cId="2428257732" sldId="2147478563"/>
            <ac:spMk id="577" creationId="{0E460D80-87A3-09E3-FE26-A0894829DA27}"/>
          </ac:spMkLst>
        </pc:spChg>
        <pc:spChg chg="add del mod">
          <ac:chgData name="Steiner Andreas 6206 ED" userId="e6377c33-a923-4f14-8587-531c474c7b48" providerId="ADAL" clId="{6ECD27E6-B224-41CD-B4E0-E297462320DD}" dt="2023-11-24T08:51:32.866" v="88518"/>
          <ac:spMkLst>
            <pc:docMk/>
            <pc:sldMk cId="2428257732" sldId="2147478563"/>
            <ac:spMk id="578" creationId="{C6B67DC3-306B-12AF-2B2B-6C3284AC989B}"/>
          </ac:spMkLst>
        </pc:spChg>
        <pc:spChg chg="add del mod">
          <ac:chgData name="Steiner Andreas 6206 ED" userId="e6377c33-a923-4f14-8587-531c474c7b48" providerId="ADAL" clId="{6ECD27E6-B224-41CD-B4E0-E297462320DD}" dt="2023-11-24T08:51:34.808" v="88673"/>
          <ac:spMkLst>
            <pc:docMk/>
            <pc:sldMk cId="2428257732" sldId="2147478563"/>
            <ac:spMk id="579" creationId="{07FFED40-56C7-B84B-1109-A8D72E695EF6}"/>
          </ac:spMkLst>
        </pc:spChg>
        <pc:spChg chg="add del mod">
          <ac:chgData name="Steiner Andreas 6206 ED" userId="e6377c33-a923-4f14-8587-531c474c7b48" providerId="ADAL" clId="{6ECD27E6-B224-41CD-B4E0-E297462320DD}" dt="2023-11-24T08:51:36.689" v="88828"/>
          <ac:spMkLst>
            <pc:docMk/>
            <pc:sldMk cId="2428257732" sldId="2147478563"/>
            <ac:spMk id="580" creationId="{16C298E6-9EC0-90FE-521D-75A08D8CD964}"/>
          </ac:spMkLst>
        </pc:spChg>
        <pc:spChg chg="add del mod">
          <ac:chgData name="Steiner Andreas 6206 ED" userId="e6377c33-a923-4f14-8587-531c474c7b48" providerId="ADAL" clId="{6ECD27E6-B224-41CD-B4E0-E297462320DD}" dt="2023-11-24T08:51:38.646" v="88983"/>
          <ac:spMkLst>
            <pc:docMk/>
            <pc:sldMk cId="2428257732" sldId="2147478563"/>
            <ac:spMk id="581" creationId="{0F923B46-9722-0C34-6AE5-8F2E4056C622}"/>
          </ac:spMkLst>
        </pc:spChg>
        <pc:spChg chg="add del mod">
          <ac:chgData name="Steiner Andreas 6206 ED" userId="e6377c33-a923-4f14-8587-531c474c7b48" providerId="ADAL" clId="{6ECD27E6-B224-41CD-B4E0-E297462320DD}" dt="2023-11-24T08:51:40.581" v="89138"/>
          <ac:spMkLst>
            <pc:docMk/>
            <pc:sldMk cId="2428257732" sldId="2147478563"/>
            <ac:spMk id="582" creationId="{54B48B40-2A05-8355-DF83-D17E5A63B478}"/>
          </ac:spMkLst>
        </pc:spChg>
        <pc:spChg chg="add del mod">
          <ac:chgData name="Steiner Andreas 6206 ED" userId="e6377c33-a923-4f14-8587-531c474c7b48" providerId="ADAL" clId="{6ECD27E6-B224-41CD-B4E0-E297462320DD}" dt="2023-11-24T08:51:42.590" v="89293"/>
          <ac:spMkLst>
            <pc:docMk/>
            <pc:sldMk cId="2428257732" sldId="2147478563"/>
            <ac:spMk id="583" creationId="{8CDE2859-9F8A-90A4-AFB3-DBE6D76821A1}"/>
          </ac:spMkLst>
        </pc:spChg>
        <pc:spChg chg="add del mod">
          <ac:chgData name="Steiner Andreas 6206 ED" userId="e6377c33-a923-4f14-8587-531c474c7b48" providerId="ADAL" clId="{6ECD27E6-B224-41CD-B4E0-E297462320DD}" dt="2023-11-24T08:51:44.695" v="89448"/>
          <ac:spMkLst>
            <pc:docMk/>
            <pc:sldMk cId="2428257732" sldId="2147478563"/>
            <ac:spMk id="584" creationId="{93F942C1-F9D7-D2B1-1053-71978025D861}"/>
          </ac:spMkLst>
        </pc:spChg>
        <pc:spChg chg="add del mod">
          <ac:chgData name="Steiner Andreas 6206 ED" userId="e6377c33-a923-4f14-8587-531c474c7b48" providerId="ADAL" clId="{6ECD27E6-B224-41CD-B4E0-E297462320DD}" dt="2023-11-24T08:51:46.636" v="89603"/>
          <ac:spMkLst>
            <pc:docMk/>
            <pc:sldMk cId="2428257732" sldId="2147478563"/>
            <ac:spMk id="585" creationId="{18461D61-0AD8-5170-21AB-C74CB5D1E0A5}"/>
          </ac:spMkLst>
        </pc:spChg>
        <pc:spChg chg="add del mod">
          <ac:chgData name="Steiner Andreas 6206 ED" userId="e6377c33-a923-4f14-8587-531c474c7b48" providerId="ADAL" clId="{6ECD27E6-B224-41CD-B4E0-E297462320DD}" dt="2023-11-24T08:51:48.519" v="89758"/>
          <ac:spMkLst>
            <pc:docMk/>
            <pc:sldMk cId="2428257732" sldId="2147478563"/>
            <ac:spMk id="586" creationId="{7BEA47B5-B1DC-A1FF-D5E4-35AC241179BB}"/>
          </ac:spMkLst>
        </pc:spChg>
        <pc:spChg chg="add del mod">
          <ac:chgData name="Steiner Andreas 6206 ED" userId="e6377c33-a923-4f14-8587-531c474c7b48" providerId="ADAL" clId="{6ECD27E6-B224-41CD-B4E0-E297462320DD}" dt="2023-11-24T08:51:50.465" v="89913"/>
          <ac:spMkLst>
            <pc:docMk/>
            <pc:sldMk cId="2428257732" sldId="2147478563"/>
            <ac:spMk id="587" creationId="{96AB522B-C99E-AA1A-A952-FF2CBA18235F}"/>
          </ac:spMkLst>
        </pc:spChg>
        <pc:spChg chg="add del mod">
          <ac:chgData name="Steiner Andreas 6206 ED" userId="e6377c33-a923-4f14-8587-531c474c7b48" providerId="ADAL" clId="{6ECD27E6-B224-41CD-B4E0-E297462320DD}" dt="2023-11-24T08:51:52.367" v="90068"/>
          <ac:spMkLst>
            <pc:docMk/>
            <pc:sldMk cId="2428257732" sldId="2147478563"/>
            <ac:spMk id="588" creationId="{E00C8D4F-63D5-CC6D-C7C9-F0171D310B18}"/>
          </ac:spMkLst>
        </pc:spChg>
        <pc:spChg chg="add del mod">
          <ac:chgData name="Steiner Andreas 6206 ED" userId="e6377c33-a923-4f14-8587-531c474c7b48" providerId="ADAL" clId="{6ECD27E6-B224-41CD-B4E0-E297462320DD}" dt="2023-11-24T08:51:54.370" v="90223"/>
          <ac:spMkLst>
            <pc:docMk/>
            <pc:sldMk cId="2428257732" sldId="2147478563"/>
            <ac:spMk id="589" creationId="{301E3A7A-35D7-FAA1-379E-DE9B0172CC4E}"/>
          </ac:spMkLst>
        </pc:spChg>
        <pc:spChg chg="add del mod">
          <ac:chgData name="Steiner Andreas 6206 ED" userId="e6377c33-a923-4f14-8587-531c474c7b48" providerId="ADAL" clId="{6ECD27E6-B224-41CD-B4E0-E297462320DD}" dt="2023-11-24T08:51:56.333" v="90378"/>
          <ac:spMkLst>
            <pc:docMk/>
            <pc:sldMk cId="2428257732" sldId="2147478563"/>
            <ac:spMk id="590" creationId="{EA20EBCF-8A14-A806-F6E8-2525F0B88400}"/>
          </ac:spMkLst>
        </pc:spChg>
        <pc:spChg chg="add del mod">
          <ac:chgData name="Steiner Andreas 6206 ED" userId="e6377c33-a923-4f14-8587-531c474c7b48" providerId="ADAL" clId="{6ECD27E6-B224-41CD-B4E0-E297462320DD}" dt="2023-11-24T08:51:58.270" v="90533"/>
          <ac:spMkLst>
            <pc:docMk/>
            <pc:sldMk cId="2428257732" sldId="2147478563"/>
            <ac:spMk id="591" creationId="{FD789BB8-FAE2-42D3-2974-A435AF2270B7}"/>
          </ac:spMkLst>
        </pc:spChg>
        <pc:spChg chg="add del mod">
          <ac:chgData name="Steiner Andreas 6206 ED" userId="e6377c33-a923-4f14-8587-531c474c7b48" providerId="ADAL" clId="{6ECD27E6-B224-41CD-B4E0-E297462320DD}" dt="2023-11-24T08:52:00.416" v="90688"/>
          <ac:spMkLst>
            <pc:docMk/>
            <pc:sldMk cId="2428257732" sldId="2147478563"/>
            <ac:spMk id="592" creationId="{DC57400A-6A86-019C-191A-933DE952A676}"/>
          </ac:spMkLst>
        </pc:spChg>
        <pc:spChg chg="add del mod">
          <ac:chgData name="Steiner Andreas 6206 ED" userId="e6377c33-a923-4f14-8587-531c474c7b48" providerId="ADAL" clId="{6ECD27E6-B224-41CD-B4E0-E297462320DD}" dt="2023-11-24T08:52:02.367" v="90843"/>
          <ac:spMkLst>
            <pc:docMk/>
            <pc:sldMk cId="2428257732" sldId="2147478563"/>
            <ac:spMk id="593" creationId="{19D49C5B-21F8-19AE-A7CC-B46B257BA7A8}"/>
          </ac:spMkLst>
        </pc:spChg>
        <pc:spChg chg="add del mod">
          <ac:chgData name="Steiner Andreas 6206 ED" userId="e6377c33-a923-4f14-8587-531c474c7b48" providerId="ADAL" clId="{6ECD27E6-B224-41CD-B4E0-E297462320DD}" dt="2023-11-24T08:52:04.275" v="90998"/>
          <ac:spMkLst>
            <pc:docMk/>
            <pc:sldMk cId="2428257732" sldId="2147478563"/>
            <ac:spMk id="594" creationId="{4E1E836E-8D17-F1F9-6403-94AD04B14AB6}"/>
          </ac:spMkLst>
        </pc:spChg>
        <pc:spChg chg="add del mod">
          <ac:chgData name="Steiner Andreas 6206 ED" userId="e6377c33-a923-4f14-8587-531c474c7b48" providerId="ADAL" clId="{6ECD27E6-B224-41CD-B4E0-E297462320DD}" dt="2023-11-24T08:52:06.511" v="91153"/>
          <ac:spMkLst>
            <pc:docMk/>
            <pc:sldMk cId="2428257732" sldId="2147478563"/>
            <ac:spMk id="595" creationId="{8E7D2CAB-FDB8-C004-DB61-69A1D1249E6E}"/>
          </ac:spMkLst>
        </pc:spChg>
        <pc:spChg chg="add del mod">
          <ac:chgData name="Steiner Andreas 6206 ED" userId="e6377c33-a923-4f14-8587-531c474c7b48" providerId="ADAL" clId="{6ECD27E6-B224-41CD-B4E0-E297462320DD}" dt="2023-11-24T08:52:08.430" v="91308"/>
          <ac:spMkLst>
            <pc:docMk/>
            <pc:sldMk cId="2428257732" sldId="2147478563"/>
            <ac:spMk id="596" creationId="{A79448EC-DB7E-BD44-3570-83B5665B26C6}"/>
          </ac:spMkLst>
        </pc:spChg>
        <pc:spChg chg="add del mod">
          <ac:chgData name="Steiner Andreas 6206 ED" userId="e6377c33-a923-4f14-8587-531c474c7b48" providerId="ADAL" clId="{6ECD27E6-B224-41CD-B4E0-E297462320DD}" dt="2023-11-24T08:52:10.316" v="91463"/>
          <ac:spMkLst>
            <pc:docMk/>
            <pc:sldMk cId="2428257732" sldId="2147478563"/>
            <ac:spMk id="597" creationId="{AE2E8D45-A805-2F1F-78A0-E42ED01B380A}"/>
          </ac:spMkLst>
        </pc:spChg>
        <pc:spChg chg="add del mod">
          <ac:chgData name="Steiner Andreas 6206 ED" userId="e6377c33-a923-4f14-8587-531c474c7b48" providerId="ADAL" clId="{6ECD27E6-B224-41CD-B4E0-E297462320DD}" dt="2023-11-24T08:52:12.163" v="91618"/>
          <ac:spMkLst>
            <pc:docMk/>
            <pc:sldMk cId="2428257732" sldId="2147478563"/>
            <ac:spMk id="598" creationId="{DC42F0E2-8A99-7317-9203-BA9C2F4D3135}"/>
          </ac:spMkLst>
        </pc:spChg>
        <pc:spChg chg="add del mod">
          <ac:chgData name="Steiner Andreas 6206 ED" userId="e6377c33-a923-4f14-8587-531c474c7b48" providerId="ADAL" clId="{6ECD27E6-B224-41CD-B4E0-E297462320DD}" dt="2023-11-24T08:52:14.107" v="91773"/>
          <ac:spMkLst>
            <pc:docMk/>
            <pc:sldMk cId="2428257732" sldId="2147478563"/>
            <ac:spMk id="599" creationId="{BE87FAB7-CC9B-DB54-1F0F-800E5205AACB}"/>
          </ac:spMkLst>
        </pc:spChg>
        <pc:spChg chg="add del mod">
          <ac:chgData name="Steiner Andreas 6206 ED" userId="e6377c33-a923-4f14-8587-531c474c7b48" providerId="ADAL" clId="{6ECD27E6-B224-41CD-B4E0-E297462320DD}" dt="2023-11-24T08:52:16.031" v="91928"/>
          <ac:spMkLst>
            <pc:docMk/>
            <pc:sldMk cId="2428257732" sldId="2147478563"/>
            <ac:spMk id="600" creationId="{A8AE931C-27A6-05AE-1E02-13938C33F1E7}"/>
          </ac:spMkLst>
        </pc:spChg>
        <pc:spChg chg="add del mod">
          <ac:chgData name="Steiner Andreas 6206 ED" userId="e6377c33-a923-4f14-8587-531c474c7b48" providerId="ADAL" clId="{6ECD27E6-B224-41CD-B4E0-E297462320DD}" dt="2023-11-24T08:52:18.183" v="92083"/>
          <ac:spMkLst>
            <pc:docMk/>
            <pc:sldMk cId="2428257732" sldId="2147478563"/>
            <ac:spMk id="601" creationId="{CBF7FC2C-D2F3-8CC7-80C0-11811034D3E1}"/>
          </ac:spMkLst>
        </pc:spChg>
        <pc:spChg chg="add del mod">
          <ac:chgData name="Steiner Andreas 6206 ED" userId="e6377c33-a923-4f14-8587-531c474c7b48" providerId="ADAL" clId="{6ECD27E6-B224-41CD-B4E0-E297462320DD}" dt="2023-11-24T08:52:20.140" v="92238"/>
          <ac:spMkLst>
            <pc:docMk/>
            <pc:sldMk cId="2428257732" sldId="2147478563"/>
            <ac:spMk id="602" creationId="{F46715E0-6F64-E016-46C9-B8B243929B6A}"/>
          </ac:spMkLst>
        </pc:spChg>
        <pc:spChg chg="add del mod">
          <ac:chgData name="Steiner Andreas 6206 ED" userId="e6377c33-a923-4f14-8587-531c474c7b48" providerId="ADAL" clId="{6ECD27E6-B224-41CD-B4E0-E297462320DD}" dt="2023-11-24T08:52:21.997" v="92393"/>
          <ac:spMkLst>
            <pc:docMk/>
            <pc:sldMk cId="2428257732" sldId="2147478563"/>
            <ac:spMk id="603" creationId="{FE4E9509-EE05-6D0E-D613-4A5C7480BF61}"/>
          </ac:spMkLst>
        </pc:spChg>
        <pc:spChg chg="add del mod">
          <ac:chgData name="Steiner Andreas 6206 ED" userId="e6377c33-a923-4f14-8587-531c474c7b48" providerId="ADAL" clId="{6ECD27E6-B224-41CD-B4E0-E297462320DD}" dt="2023-11-24T08:52:24.049" v="92548"/>
          <ac:spMkLst>
            <pc:docMk/>
            <pc:sldMk cId="2428257732" sldId="2147478563"/>
            <ac:spMk id="604" creationId="{57E9C841-7A5A-50EC-458F-741125252EE8}"/>
          </ac:spMkLst>
        </pc:spChg>
        <pc:spChg chg="add del mod">
          <ac:chgData name="Steiner Andreas 6206 ED" userId="e6377c33-a923-4f14-8587-531c474c7b48" providerId="ADAL" clId="{6ECD27E6-B224-41CD-B4E0-E297462320DD}" dt="2023-11-24T08:52:25.896" v="92703"/>
          <ac:spMkLst>
            <pc:docMk/>
            <pc:sldMk cId="2428257732" sldId="2147478563"/>
            <ac:spMk id="605" creationId="{74D55E3F-BC52-0FFE-3DB3-4A643D28C469}"/>
          </ac:spMkLst>
        </pc:spChg>
        <pc:spChg chg="add del mod">
          <ac:chgData name="Steiner Andreas 6206 ED" userId="e6377c33-a923-4f14-8587-531c474c7b48" providerId="ADAL" clId="{6ECD27E6-B224-41CD-B4E0-E297462320DD}" dt="2023-11-24T08:52:27.801" v="92858"/>
          <ac:spMkLst>
            <pc:docMk/>
            <pc:sldMk cId="2428257732" sldId="2147478563"/>
            <ac:spMk id="606" creationId="{B022DC78-D298-3B80-A18A-728614AC4223}"/>
          </ac:spMkLst>
        </pc:spChg>
        <pc:spChg chg="add del mod">
          <ac:chgData name="Steiner Andreas 6206 ED" userId="e6377c33-a923-4f14-8587-531c474c7b48" providerId="ADAL" clId="{6ECD27E6-B224-41CD-B4E0-E297462320DD}" dt="2023-11-24T08:52:29.899" v="93013"/>
          <ac:spMkLst>
            <pc:docMk/>
            <pc:sldMk cId="2428257732" sldId="2147478563"/>
            <ac:spMk id="607" creationId="{F7FD2874-8887-633E-BD40-4EC2AA033861}"/>
          </ac:spMkLst>
        </pc:spChg>
        <pc:spChg chg="add del mod">
          <ac:chgData name="Steiner Andreas 6206 ED" userId="e6377c33-a923-4f14-8587-531c474c7b48" providerId="ADAL" clId="{6ECD27E6-B224-41CD-B4E0-E297462320DD}" dt="2023-11-24T08:52:31.813" v="93168"/>
          <ac:spMkLst>
            <pc:docMk/>
            <pc:sldMk cId="2428257732" sldId="2147478563"/>
            <ac:spMk id="608" creationId="{FE360ADF-DADA-D36B-8B7C-CE96D77B6DF6}"/>
          </ac:spMkLst>
        </pc:spChg>
        <pc:spChg chg="add del mod">
          <ac:chgData name="Steiner Andreas 6206 ED" userId="e6377c33-a923-4f14-8587-531c474c7b48" providerId="ADAL" clId="{6ECD27E6-B224-41CD-B4E0-E297462320DD}" dt="2023-11-24T08:52:33.716" v="93323"/>
          <ac:spMkLst>
            <pc:docMk/>
            <pc:sldMk cId="2428257732" sldId="2147478563"/>
            <ac:spMk id="609" creationId="{89596FBE-7DAC-A992-9BB0-05C70E4F1D62}"/>
          </ac:spMkLst>
        </pc:spChg>
        <pc:spChg chg="add del mod">
          <ac:chgData name="Steiner Andreas 6206 ED" userId="e6377c33-a923-4f14-8587-531c474c7b48" providerId="ADAL" clId="{6ECD27E6-B224-41CD-B4E0-E297462320DD}" dt="2023-11-24T08:52:35.643" v="93478"/>
          <ac:spMkLst>
            <pc:docMk/>
            <pc:sldMk cId="2428257732" sldId="2147478563"/>
            <ac:spMk id="610" creationId="{3691E083-0176-66D3-2EF8-DED092FD4EA1}"/>
          </ac:spMkLst>
        </pc:spChg>
        <pc:spChg chg="add del mod">
          <ac:chgData name="Steiner Andreas 6206 ED" userId="e6377c33-a923-4f14-8587-531c474c7b48" providerId="ADAL" clId="{6ECD27E6-B224-41CD-B4E0-E297462320DD}" dt="2023-11-24T08:52:37.554" v="93633"/>
          <ac:spMkLst>
            <pc:docMk/>
            <pc:sldMk cId="2428257732" sldId="2147478563"/>
            <ac:spMk id="611" creationId="{053F355D-BF37-4536-EACF-49D30E231F0B}"/>
          </ac:spMkLst>
        </pc:spChg>
        <pc:spChg chg="add del mod">
          <ac:chgData name="Steiner Andreas 6206 ED" userId="e6377c33-a923-4f14-8587-531c474c7b48" providerId="ADAL" clId="{6ECD27E6-B224-41CD-B4E0-E297462320DD}" dt="2023-11-24T08:52:39.497" v="93788"/>
          <ac:spMkLst>
            <pc:docMk/>
            <pc:sldMk cId="2428257732" sldId="2147478563"/>
            <ac:spMk id="612" creationId="{CA184273-F0F1-68E4-70BE-C51C6A28B831}"/>
          </ac:spMkLst>
        </pc:spChg>
        <pc:spChg chg="add del mod">
          <ac:chgData name="Steiner Andreas 6206 ED" userId="e6377c33-a923-4f14-8587-531c474c7b48" providerId="ADAL" clId="{6ECD27E6-B224-41CD-B4E0-E297462320DD}" dt="2023-11-24T08:52:41.537" v="93943"/>
          <ac:spMkLst>
            <pc:docMk/>
            <pc:sldMk cId="2428257732" sldId="2147478563"/>
            <ac:spMk id="613" creationId="{A1D606D8-8D86-25F7-25B3-162B6D146B13}"/>
          </ac:spMkLst>
        </pc:spChg>
        <pc:spChg chg="add del mod">
          <ac:chgData name="Steiner Andreas 6206 ED" userId="e6377c33-a923-4f14-8587-531c474c7b48" providerId="ADAL" clId="{6ECD27E6-B224-41CD-B4E0-E297462320DD}" dt="2023-11-24T08:52:43.466" v="94098"/>
          <ac:spMkLst>
            <pc:docMk/>
            <pc:sldMk cId="2428257732" sldId="2147478563"/>
            <ac:spMk id="614" creationId="{E73C43F4-F37D-081D-CA87-56F25E3143F7}"/>
          </ac:spMkLst>
        </pc:spChg>
        <pc:spChg chg="add del mod">
          <ac:chgData name="Steiner Andreas 6206 ED" userId="e6377c33-a923-4f14-8587-531c474c7b48" providerId="ADAL" clId="{6ECD27E6-B224-41CD-B4E0-E297462320DD}" dt="2023-11-24T08:52:45.407" v="94253"/>
          <ac:spMkLst>
            <pc:docMk/>
            <pc:sldMk cId="2428257732" sldId="2147478563"/>
            <ac:spMk id="615" creationId="{30D4FC5A-94C5-F261-E5AB-3CEAF0A80CB9}"/>
          </ac:spMkLst>
        </pc:spChg>
        <pc:spChg chg="add del mod">
          <ac:chgData name="Steiner Andreas 6206 ED" userId="e6377c33-a923-4f14-8587-531c474c7b48" providerId="ADAL" clId="{6ECD27E6-B224-41CD-B4E0-E297462320DD}" dt="2023-11-24T08:52:47.371" v="94408"/>
          <ac:spMkLst>
            <pc:docMk/>
            <pc:sldMk cId="2428257732" sldId="2147478563"/>
            <ac:spMk id="616" creationId="{07069CDA-DE8C-EF9C-1A85-BEA3556AD5D0}"/>
          </ac:spMkLst>
        </pc:spChg>
        <pc:spChg chg="add del mod">
          <ac:chgData name="Steiner Andreas 6206 ED" userId="e6377c33-a923-4f14-8587-531c474c7b48" providerId="ADAL" clId="{6ECD27E6-B224-41CD-B4E0-E297462320DD}" dt="2023-11-24T08:52:49.478" v="94563"/>
          <ac:spMkLst>
            <pc:docMk/>
            <pc:sldMk cId="2428257732" sldId="2147478563"/>
            <ac:spMk id="617" creationId="{597FE2E2-0DCF-A308-6C93-DC874975C4B2}"/>
          </ac:spMkLst>
        </pc:spChg>
        <pc:spChg chg="add del mod">
          <ac:chgData name="Steiner Andreas 6206 ED" userId="e6377c33-a923-4f14-8587-531c474c7b48" providerId="ADAL" clId="{6ECD27E6-B224-41CD-B4E0-E297462320DD}" dt="2023-11-24T08:52:51.644" v="94718"/>
          <ac:spMkLst>
            <pc:docMk/>
            <pc:sldMk cId="2428257732" sldId="2147478563"/>
            <ac:spMk id="618" creationId="{4ECB3090-6448-CE39-440A-DD1BCD41F341}"/>
          </ac:spMkLst>
        </pc:spChg>
        <pc:spChg chg="add del mod">
          <ac:chgData name="Steiner Andreas 6206 ED" userId="e6377c33-a923-4f14-8587-531c474c7b48" providerId="ADAL" clId="{6ECD27E6-B224-41CD-B4E0-E297462320DD}" dt="2023-11-24T08:52:53.589" v="94873"/>
          <ac:spMkLst>
            <pc:docMk/>
            <pc:sldMk cId="2428257732" sldId="2147478563"/>
            <ac:spMk id="619" creationId="{498903D8-DE84-A0D3-F194-DAFFEDF78CBE}"/>
          </ac:spMkLst>
        </pc:spChg>
        <pc:spChg chg="add del mod">
          <ac:chgData name="Steiner Andreas 6206 ED" userId="e6377c33-a923-4f14-8587-531c474c7b48" providerId="ADAL" clId="{6ECD27E6-B224-41CD-B4E0-E297462320DD}" dt="2023-11-24T08:52:55.533" v="95028"/>
          <ac:spMkLst>
            <pc:docMk/>
            <pc:sldMk cId="2428257732" sldId="2147478563"/>
            <ac:spMk id="620" creationId="{E533C0A9-7A86-AD15-8468-1A7034D628F2}"/>
          </ac:spMkLst>
        </pc:spChg>
        <pc:spChg chg="add del mod">
          <ac:chgData name="Steiner Andreas 6206 ED" userId="e6377c33-a923-4f14-8587-531c474c7b48" providerId="ADAL" clId="{6ECD27E6-B224-41CD-B4E0-E297462320DD}" dt="2023-11-24T08:52:57.549" v="95183"/>
          <ac:spMkLst>
            <pc:docMk/>
            <pc:sldMk cId="2428257732" sldId="2147478563"/>
            <ac:spMk id="621" creationId="{948BC0C7-DE76-48A4-B68C-7B1ADE5AB128}"/>
          </ac:spMkLst>
        </pc:spChg>
        <pc:spChg chg="add del mod">
          <ac:chgData name="Steiner Andreas 6206 ED" userId="e6377c33-a923-4f14-8587-531c474c7b48" providerId="ADAL" clId="{6ECD27E6-B224-41CD-B4E0-E297462320DD}" dt="2023-11-24T08:52:59.526" v="95338"/>
          <ac:spMkLst>
            <pc:docMk/>
            <pc:sldMk cId="2428257732" sldId="2147478563"/>
            <ac:spMk id="622" creationId="{19956B42-D055-454A-F191-A76839293620}"/>
          </ac:spMkLst>
        </pc:spChg>
        <pc:spChg chg="add del mod">
          <ac:chgData name="Steiner Andreas 6206 ED" userId="e6377c33-a923-4f14-8587-531c474c7b48" providerId="ADAL" clId="{6ECD27E6-B224-41CD-B4E0-E297462320DD}" dt="2023-11-24T08:53:01.540" v="95493"/>
          <ac:spMkLst>
            <pc:docMk/>
            <pc:sldMk cId="2428257732" sldId="2147478563"/>
            <ac:spMk id="623" creationId="{445A0BB8-BF18-FC67-14CF-0D8DEE90E6F2}"/>
          </ac:spMkLst>
        </pc:spChg>
        <pc:spChg chg="add del mod">
          <ac:chgData name="Steiner Andreas 6206 ED" userId="e6377c33-a923-4f14-8587-531c474c7b48" providerId="ADAL" clId="{6ECD27E6-B224-41CD-B4E0-E297462320DD}" dt="2023-11-24T08:53:03.649" v="95648"/>
          <ac:spMkLst>
            <pc:docMk/>
            <pc:sldMk cId="2428257732" sldId="2147478563"/>
            <ac:spMk id="624" creationId="{3E295BE3-1A31-F7D8-8384-815DB753D462}"/>
          </ac:spMkLst>
        </pc:spChg>
        <pc:spChg chg="add del mod">
          <ac:chgData name="Steiner Andreas 6206 ED" userId="e6377c33-a923-4f14-8587-531c474c7b48" providerId="ADAL" clId="{6ECD27E6-B224-41CD-B4E0-E297462320DD}" dt="2023-11-24T08:53:05.579" v="95803"/>
          <ac:spMkLst>
            <pc:docMk/>
            <pc:sldMk cId="2428257732" sldId="2147478563"/>
            <ac:spMk id="625" creationId="{D3B6F715-D862-9046-0426-C9EBA4522998}"/>
          </ac:spMkLst>
        </pc:spChg>
        <pc:spChg chg="add del mod">
          <ac:chgData name="Steiner Andreas 6206 ED" userId="e6377c33-a923-4f14-8587-531c474c7b48" providerId="ADAL" clId="{6ECD27E6-B224-41CD-B4E0-E297462320DD}" dt="2023-11-24T08:53:07.466" v="95958"/>
          <ac:spMkLst>
            <pc:docMk/>
            <pc:sldMk cId="2428257732" sldId="2147478563"/>
            <ac:spMk id="626" creationId="{A01571DD-D483-CE16-6D84-DDC6282B9811}"/>
          </ac:spMkLst>
        </pc:spChg>
        <pc:spChg chg="add del mod">
          <ac:chgData name="Steiner Andreas 6206 ED" userId="e6377c33-a923-4f14-8587-531c474c7b48" providerId="ADAL" clId="{6ECD27E6-B224-41CD-B4E0-E297462320DD}" dt="2023-11-24T08:53:09.407" v="96113"/>
          <ac:spMkLst>
            <pc:docMk/>
            <pc:sldMk cId="2428257732" sldId="2147478563"/>
            <ac:spMk id="627" creationId="{8846E371-A730-B5AE-D713-7AE0E7221BE6}"/>
          </ac:spMkLst>
        </pc:spChg>
        <pc:spChg chg="add del mod">
          <ac:chgData name="Steiner Andreas 6206 ED" userId="e6377c33-a923-4f14-8587-531c474c7b48" providerId="ADAL" clId="{6ECD27E6-B224-41CD-B4E0-E297462320DD}" dt="2023-11-24T08:53:11.364" v="96268"/>
          <ac:spMkLst>
            <pc:docMk/>
            <pc:sldMk cId="2428257732" sldId="2147478563"/>
            <ac:spMk id="628" creationId="{7D42685C-D888-AC1D-6C19-751C1F049C94}"/>
          </ac:spMkLst>
        </pc:spChg>
        <pc:spChg chg="add del mod">
          <ac:chgData name="Steiner Andreas 6206 ED" userId="e6377c33-a923-4f14-8587-531c474c7b48" providerId="ADAL" clId="{6ECD27E6-B224-41CD-B4E0-E297462320DD}" dt="2023-11-24T08:53:13.410" v="96423"/>
          <ac:spMkLst>
            <pc:docMk/>
            <pc:sldMk cId="2428257732" sldId="2147478563"/>
            <ac:spMk id="629" creationId="{20D48305-F31C-61B7-347A-79B14C4B5161}"/>
          </ac:spMkLst>
        </pc:spChg>
        <pc:spChg chg="add del mod">
          <ac:chgData name="Steiner Andreas 6206 ED" userId="e6377c33-a923-4f14-8587-531c474c7b48" providerId="ADAL" clId="{6ECD27E6-B224-41CD-B4E0-E297462320DD}" dt="2023-11-24T08:53:15.450" v="96578"/>
          <ac:spMkLst>
            <pc:docMk/>
            <pc:sldMk cId="2428257732" sldId="2147478563"/>
            <ac:spMk id="630" creationId="{424CC247-2442-F965-D519-52D8A392E8F4}"/>
          </ac:spMkLst>
        </pc:spChg>
        <pc:spChg chg="add del mod">
          <ac:chgData name="Steiner Andreas 6206 ED" userId="e6377c33-a923-4f14-8587-531c474c7b48" providerId="ADAL" clId="{6ECD27E6-B224-41CD-B4E0-E297462320DD}" dt="2023-11-24T08:53:17.400" v="96733"/>
          <ac:spMkLst>
            <pc:docMk/>
            <pc:sldMk cId="2428257732" sldId="2147478563"/>
            <ac:spMk id="631" creationId="{0A39A3D2-51F5-A5AF-7804-226448AD2ECD}"/>
          </ac:spMkLst>
        </pc:spChg>
        <pc:spChg chg="add del mod">
          <ac:chgData name="Steiner Andreas 6206 ED" userId="e6377c33-a923-4f14-8587-531c474c7b48" providerId="ADAL" clId="{6ECD27E6-B224-41CD-B4E0-E297462320DD}" dt="2023-11-24T08:53:19.394" v="96888"/>
          <ac:spMkLst>
            <pc:docMk/>
            <pc:sldMk cId="2428257732" sldId="2147478563"/>
            <ac:spMk id="632" creationId="{68D38AE7-68B6-B772-C4AD-E7D73C70CF68}"/>
          </ac:spMkLst>
        </pc:spChg>
        <pc:spChg chg="add del mod">
          <ac:chgData name="Steiner Andreas 6206 ED" userId="e6377c33-a923-4f14-8587-531c474c7b48" providerId="ADAL" clId="{6ECD27E6-B224-41CD-B4E0-E297462320DD}" dt="2023-11-24T08:53:21.329" v="97043"/>
          <ac:spMkLst>
            <pc:docMk/>
            <pc:sldMk cId="2428257732" sldId="2147478563"/>
            <ac:spMk id="633" creationId="{82300121-2DE7-1AB7-AF8A-C4148D2E1C3E}"/>
          </ac:spMkLst>
        </pc:spChg>
        <pc:spChg chg="add del mod">
          <ac:chgData name="Steiner Andreas 6206 ED" userId="e6377c33-a923-4f14-8587-531c474c7b48" providerId="ADAL" clId="{6ECD27E6-B224-41CD-B4E0-E297462320DD}" dt="2023-11-24T08:53:23.286" v="97198"/>
          <ac:spMkLst>
            <pc:docMk/>
            <pc:sldMk cId="2428257732" sldId="2147478563"/>
            <ac:spMk id="634" creationId="{1692858A-C91F-8065-BFB5-BB482AF60951}"/>
          </ac:spMkLst>
        </pc:spChg>
        <pc:spChg chg="add del mod">
          <ac:chgData name="Steiner Andreas 6206 ED" userId="e6377c33-a923-4f14-8587-531c474c7b48" providerId="ADAL" clId="{6ECD27E6-B224-41CD-B4E0-E297462320DD}" dt="2023-11-24T08:53:25.418" v="97353"/>
          <ac:spMkLst>
            <pc:docMk/>
            <pc:sldMk cId="2428257732" sldId="2147478563"/>
            <ac:spMk id="635" creationId="{1F5D1669-5ED4-FCFB-706D-98699F5A561B}"/>
          </ac:spMkLst>
        </pc:spChg>
        <pc:spChg chg="add del mod">
          <ac:chgData name="Steiner Andreas 6206 ED" userId="e6377c33-a923-4f14-8587-531c474c7b48" providerId="ADAL" clId="{6ECD27E6-B224-41CD-B4E0-E297462320DD}" dt="2023-11-24T08:53:27.389" v="97508"/>
          <ac:spMkLst>
            <pc:docMk/>
            <pc:sldMk cId="2428257732" sldId="2147478563"/>
            <ac:spMk id="636" creationId="{A1B2A490-4774-0F92-84B6-79B5F1ACAB0C}"/>
          </ac:spMkLst>
        </pc:spChg>
        <pc:spChg chg="add del mod">
          <ac:chgData name="Steiner Andreas 6206 ED" userId="e6377c33-a923-4f14-8587-531c474c7b48" providerId="ADAL" clId="{6ECD27E6-B224-41CD-B4E0-E297462320DD}" dt="2023-11-24T08:53:29.284" v="97663"/>
          <ac:spMkLst>
            <pc:docMk/>
            <pc:sldMk cId="2428257732" sldId="2147478563"/>
            <ac:spMk id="637" creationId="{6E436D87-1CBD-1EB7-5FDF-BFBF5BC8ACF8}"/>
          </ac:spMkLst>
        </pc:spChg>
        <pc:spChg chg="add del mod">
          <ac:chgData name="Steiner Andreas 6206 ED" userId="e6377c33-a923-4f14-8587-531c474c7b48" providerId="ADAL" clId="{6ECD27E6-B224-41CD-B4E0-E297462320DD}" dt="2023-11-24T08:53:31.186" v="97818"/>
          <ac:spMkLst>
            <pc:docMk/>
            <pc:sldMk cId="2428257732" sldId="2147478563"/>
            <ac:spMk id="638" creationId="{4DF0DEC9-76B4-DE3D-9760-EC2A8346ACC4}"/>
          </ac:spMkLst>
        </pc:spChg>
        <pc:spChg chg="add del mod">
          <ac:chgData name="Steiner Andreas 6206 ED" userId="e6377c33-a923-4f14-8587-531c474c7b48" providerId="ADAL" clId="{6ECD27E6-B224-41CD-B4E0-E297462320DD}" dt="2023-11-24T08:53:33.126" v="97973"/>
          <ac:spMkLst>
            <pc:docMk/>
            <pc:sldMk cId="2428257732" sldId="2147478563"/>
            <ac:spMk id="639" creationId="{DDB274C8-A718-DDF0-F439-8521416A3659}"/>
          </ac:spMkLst>
        </pc:spChg>
        <pc:spChg chg="add del mod">
          <ac:chgData name="Steiner Andreas 6206 ED" userId="e6377c33-a923-4f14-8587-531c474c7b48" providerId="ADAL" clId="{6ECD27E6-B224-41CD-B4E0-E297462320DD}" dt="2023-11-24T08:53:35.040" v="98128"/>
          <ac:spMkLst>
            <pc:docMk/>
            <pc:sldMk cId="2428257732" sldId="2147478563"/>
            <ac:spMk id="640" creationId="{7F756507-FC60-B74A-A6F0-F9937EAA11BE}"/>
          </ac:spMkLst>
        </pc:spChg>
        <pc:spChg chg="add del mod">
          <ac:chgData name="Steiner Andreas 6206 ED" userId="e6377c33-a923-4f14-8587-531c474c7b48" providerId="ADAL" clId="{6ECD27E6-B224-41CD-B4E0-E297462320DD}" dt="2023-11-24T08:53:37.169" v="98283"/>
          <ac:spMkLst>
            <pc:docMk/>
            <pc:sldMk cId="2428257732" sldId="2147478563"/>
            <ac:spMk id="641" creationId="{4AE5F0F0-71DA-9D5B-F86E-7055FF02CD7C}"/>
          </ac:spMkLst>
        </pc:spChg>
        <pc:spChg chg="add del mod">
          <ac:chgData name="Steiner Andreas 6206 ED" userId="e6377c33-a923-4f14-8587-531c474c7b48" providerId="ADAL" clId="{6ECD27E6-B224-41CD-B4E0-E297462320DD}" dt="2023-11-24T08:53:39.053" v="98438"/>
          <ac:spMkLst>
            <pc:docMk/>
            <pc:sldMk cId="2428257732" sldId="2147478563"/>
            <ac:spMk id="642" creationId="{18C0C227-09C6-1809-A0ED-E68306094161}"/>
          </ac:spMkLst>
        </pc:spChg>
        <pc:spChg chg="add del mod">
          <ac:chgData name="Steiner Andreas 6206 ED" userId="e6377c33-a923-4f14-8587-531c474c7b48" providerId="ADAL" clId="{6ECD27E6-B224-41CD-B4E0-E297462320DD}" dt="2023-11-24T08:53:40.998" v="98593"/>
          <ac:spMkLst>
            <pc:docMk/>
            <pc:sldMk cId="2428257732" sldId="2147478563"/>
            <ac:spMk id="643" creationId="{7DBF8709-06E8-52D7-0FAD-881FA004FC66}"/>
          </ac:spMkLst>
        </pc:spChg>
        <pc:spChg chg="add del mod">
          <ac:chgData name="Steiner Andreas 6206 ED" userId="e6377c33-a923-4f14-8587-531c474c7b48" providerId="ADAL" clId="{6ECD27E6-B224-41CD-B4E0-E297462320DD}" dt="2023-11-24T08:53:42.968" v="98748"/>
          <ac:spMkLst>
            <pc:docMk/>
            <pc:sldMk cId="2428257732" sldId="2147478563"/>
            <ac:spMk id="644" creationId="{F2ACCC3F-AC61-0009-89DF-44A661D5A78B}"/>
          </ac:spMkLst>
        </pc:spChg>
        <pc:spChg chg="add del mod">
          <ac:chgData name="Steiner Andreas 6206 ED" userId="e6377c33-a923-4f14-8587-531c474c7b48" providerId="ADAL" clId="{6ECD27E6-B224-41CD-B4E0-E297462320DD}" dt="2023-11-24T08:53:44.896" v="98903"/>
          <ac:spMkLst>
            <pc:docMk/>
            <pc:sldMk cId="2428257732" sldId="2147478563"/>
            <ac:spMk id="645" creationId="{3582FCAF-368C-8EE8-E678-F4347D14D0E2}"/>
          </ac:spMkLst>
        </pc:spChg>
        <pc:spChg chg="add del mod">
          <ac:chgData name="Steiner Andreas 6206 ED" userId="e6377c33-a923-4f14-8587-531c474c7b48" providerId="ADAL" clId="{6ECD27E6-B224-41CD-B4E0-E297462320DD}" dt="2023-11-24T08:53:46.873" v="99058"/>
          <ac:spMkLst>
            <pc:docMk/>
            <pc:sldMk cId="2428257732" sldId="2147478563"/>
            <ac:spMk id="646" creationId="{3448A17D-FFF9-E969-435C-BE090E246D4F}"/>
          </ac:spMkLst>
        </pc:spChg>
        <pc:spChg chg="add del mod">
          <ac:chgData name="Steiner Andreas 6206 ED" userId="e6377c33-a923-4f14-8587-531c474c7b48" providerId="ADAL" clId="{6ECD27E6-B224-41CD-B4E0-E297462320DD}" dt="2023-11-24T08:53:48.906" v="99213"/>
          <ac:spMkLst>
            <pc:docMk/>
            <pc:sldMk cId="2428257732" sldId="2147478563"/>
            <ac:spMk id="647" creationId="{E026864C-7774-0B73-5758-407F2A0E52DB}"/>
          </ac:spMkLst>
        </pc:spChg>
        <pc:spChg chg="add del mod">
          <ac:chgData name="Steiner Andreas 6206 ED" userId="e6377c33-a923-4f14-8587-531c474c7b48" providerId="ADAL" clId="{6ECD27E6-B224-41CD-B4E0-E297462320DD}" dt="2023-11-24T08:53:50.844" v="99368"/>
          <ac:spMkLst>
            <pc:docMk/>
            <pc:sldMk cId="2428257732" sldId="2147478563"/>
            <ac:spMk id="648" creationId="{27AC1C1B-43DC-B838-2420-C2BF4CAAA2E1}"/>
          </ac:spMkLst>
        </pc:spChg>
        <pc:spChg chg="add del mod">
          <ac:chgData name="Steiner Andreas 6206 ED" userId="e6377c33-a923-4f14-8587-531c474c7b48" providerId="ADAL" clId="{6ECD27E6-B224-41CD-B4E0-E297462320DD}" dt="2023-11-24T08:53:52.855" v="99523"/>
          <ac:spMkLst>
            <pc:docMk/>
            <pc:sldMk cId="2428257732" sldId="2147478563"/>
            <ac:spMk id="649" creationId="{DB9842FE-3D64-F90E-7D68-71923E571B5D}"/>
          </ac:spMkLst>
        </pc:spChg>
        <pc:spChg chg="add del mod">
          <ac:chgData name="Steiner Andreas 6206 ED" userId="e6377c33-a923-4f14-8587-531c474c7b48" providerId="ADAL" clId="{6ECD27E6-B224-41CD-B4E0-E297462320DD}" dt="2023-11-24T08:53:54.813" v="99678"/>
          <ac:spMkLst>
            <pc:docMk/>
            <pc:sldMk cId="2428257732" sldId="2147478563"/>
            <ac:spMk id="650" creationId="{D184A1C2-7BD7-AD4A-2342-93E8DB15C3C9}"/>
          </ac:spMkLst>
        </pc:spChg>
        <pc:spChg chg="add del mod">
          <ac:chgData name="Steiner Andreas 6206 ED" userId="e6377c33-a923-4f14-8587-531c474c7b48" providerId="ADAL" clId="{6ECD27E6-B224-41CD-B4E0-E297462320DD}" dt="2023-11-24T08:53:56.763" v="99833"/>
          <ac:spMkLst>
            <pc:docMk/>
            <pc:sldMk cId="2428257732" sldId="2147478563"/>
            <ac:spMk id="651" creationId="{1E754111-D031-FF54-182E-4231EC0D1168}"/>
          </ac:spMkLst>
        </pc:spChg>
        <pc:spChg chg="add del mod">
          <ac:chgData name="Steiner Andreas 6206 ED" userId="e6377c33-a923-4f14-8587-531c474c7b48" providerId="ADAL" clId="{6ECD27E6-B224-41CD-B4E0-E297462320DD}" dt="2023-11-24T08:53:58.845" v="99988"/>
          <ac:spMkLst>
            <pc:docMk/>
            <pc:sldMk cId="2428257732" sldId="2147478563"/>
            <ac:spMk id="652" creationId="{B9985073-7C78-9DBC-A6F0-D07923844C3D}"/>
          </ac:spMkLst>
        </pc:spChg>
        <pc:spChg chg="add del mod">
          <ac:chgData name="Steiner Andreas 6206 ED" userId="e6377c33-a923-4f14-8587-531c474c7b48" providerId="ADAL" clId="{6ECD27E6-B224-41CD-B4E0-E297462320DD}" dt="2023-11-24T08:54:00.908" v="100143"/>
          <ac:spMkLst>
            <pc:docMk/>
            <pc:sldMk cId="2428257732" sldId="2147478563"/>
            <ac:spMk id="653" creationId="{281B2439-0A96-0CE7-681C-9F2E386A19D9}"/>
          </ac:spMkLst>
        </pc:spChg>
        <pc:spChg chg="add del mod">
          <ac:chgData name="Steiner Andreas 6206 ED" userId="e6377c33-a923-4f14-8587-531c474c7b48" providerId="ADAL" clId="{6ECD27E6-B224-41CD-B4E0-E297462320DD}" dt="2023-11-24T08:54:02.915" v="100298"/>
          <ac:spMkLst>
            <pc:docMk/>
            <pc:sldMk cId="2428257732" sldId="2147478563"/>
            <ac:spMk id="654" creationId="{934B15A8-7703-597A-EA12-C8F1D86A1917}"/>
          </ac:spMkLst>
        </pc:spChg>
        <pc:spChg chg="add del mod">
          <ac:chgData name="Steiner Andreas 6206 ED" userId="e6377c33-a923-4f14-8587-531c474c7b48" providerId="ADAL" clId="{6ECD27E6-B224-41CD-B4E0-E297462320DD}" dt="2023-11-24T08:54:04.855" v="100453"/>
          <ac:spMkLst>
            <pc:docMk/>
            <pc:sldMk cId="2428257732" sldId="2147478563"/>
            <ac:spMk id="655" creationId="{64F53A35-41E6-D1A7-2C7A-81387B8F73D7}"/>
          </ac:spMkLst>
        </pc:spChg>
        <pc:spChg chg="add del mod">
          <ac:chgData name="Steiner Andreas 6206 ED" userId="e6377c33-a923-4f14-8587-531c474c7b48" providerId="ADAL" clId="{6ECD27E6-B224-41CD-B4E0-E297462320DD}" dt="2023-11-24T08:54:06.829" v="100608"/>
          <ac:spMkLst>
            <pc:docMk/>
            <pc:sldMk cId="2428257732" sldId="2147478563"/>
            <ac:spMk id="656" creationId="{9A7FCD1D-1071-5720-CA4D-6ED5AA83B91D}"/>
          </ac:spMkLst>
        </pc:spChg>
        <pc:spChg chg="add del mod">
          <ac:chgData name="Steiner Andreas 6206 ED" userId="e6377c33-a923-4f14-8587-531c474c7b48" providerId="ADAL" clId="{6ECD27E6-B224-41CD-B4E0-E297462320DD}" dt="2023-11-24T08:54:08.850" v="100763"/>
          <ac:spMkLst>
            <pc:docMk/>
            <pc:sldMk cId="2428257732" sldId="2147478563"/>
            <ac:spMk id="657" creationId="{16B81B86-1FDB-7EA9-B625-0625DC59FEEB}"/>
          </ac:spMkLst>
        </pc:spChg>
        <pc:spChg chg="add del mod">
          <ac:chgData name="Steiner Andreas 6206 ED" userId="e6377c33-a923-4f14-8587-531c474c7b48" providerId="ADAL" clId="{6ECD27E6-B224-41CD-B4E0-E297462320DD}" dt="2023-11-24T08:54:10.949" v="100918"/>
          <ac:spMkLst>
            <pc:docMk/>
            <pc:sldMk cId="2428257732" sldId="2147478563"/>
            <ac:spMk id="658" creationId="{80B5BABB-364A-0E61-26A1-C1C070BE7B69}"/>
          </ac:spMkLst>
        </pc:spChg>
        <pc:spChg chg="add del mod">
          <ac:chgData name="Steiner Andreas 6206 ED" userId="e6377c33-a923-4f14-8587-531c474c7b48" providerId="ADAL" clId="{6ECD27E6-B224-41CD-B4E0-E297462320DD}" dt="2023-11-24T08:54:12.901" v="101073"/>
          <ac:spMkLst>
            <pc:docMk/>
            <pc:sldMk cId="2428257732" sldId="2147478563"/>
            <ac:spMk id="659" creationId="{4B5AB9DA-DC18-EDB0-D727-8D2B8BBB3A8A}"/>
          </ac:spMkLst>
        </pc:spChg>
        <pc:spChg chg="add del mod">
          <ac:chgData name="Steiner Andreas 6206 ED" userId="e6377c33-a923-4f14-8587-531c474c7b48" providerId="ADAL" clId="{6ECD27E6-B224-41CD-B4E0-E297462320DD}" dt="2023-11-24T08:54:14.837" v="101228"/>
          <ac:spMkLst>
            <pc:docMk/>
            <pc:sldMk cId="2428257732" sldId="2147478563"/>
            <ac:spMk id="660" creationId="{53ED0EC9-869C-5FC8-5021-0318479D4A8D}"/>
          </ac:spMkLst>
        </pc:spChg>
        <pc:spChg chg="add del mod">
          <ac:chgData name="Steiner Andreas 6206 ED" userId="e6377c33-a923-4f14-8587-531c474c7b48" providerId="ADAL" clId="{6ECD27E6-B224-41CD-B4E0-E297462320DD}" dt="2023-11-24T08:54:16.731" v="101383"/>
          <ac:spMkLst>
            <pc:docMk/>
            <pc:sldMk cId="2428257732" sldId="2147478563"/>
            <ac:spMk id="661" creationId="{4872A10D-5534-3B1E-7EDF-9080B0A3DB20}"/>
          </ac:spMkLst>
        </pc:spChg>
        <pc:spChg chg="add del mod">
          <ac:chgData name="Steiner Andreas 6206 ED" userId="e6377c33-a923-4f14-8587-531c474c7b48" providerId="ADAL" clId="{6ECD27E6-B224-41CD-B4E0-E297462320DD}" dt="2023-11-24T08:54:18.666" v="101538"/>
          <ac:spMkLst>
            <pc:docMk/>
            <pc:sldMk cId="2428257732" sldId="2147478563"/>
            <ac:spMk id="662" creationId="{EAA78768-CC40-CBBD-2A5B-EE8056A2920D}"/>
          </ac:spMkLst>
        </pc:spChg>
        <pc:spChg chg="add del mod">
          <ac:chgData name="Steiner Andreas 6206 ED" userId="e6377c33-a923-4f14-8587-531c474c7b48" providerId="ADAL" clId="{6ECD27E6-B224-41CD-B4E0-E297462320DD}" dt="2023-11-24T08:54:20.646" v="101693"/>
          <ac:spMkLst>
            <pc:docMk/>
            <pc:sldMk cId="2428257732" sldId="2147478563"/>
            <ac:spMk id="663" creationId="{99D9598C-009B-0C84-43DD-C53B6D5844F8}"/>
          </ac:spMkLst>
        </pc:spChg>
        <pc:spChg chg="add del mod">
          <ac:chgData name="Steiner Andreas 6206 ED" userId="e6377c33-a923-4f14-8587-531c474c7b48" providerId="ADAL" clId="{6ECD27E6-B224-41CD-B4E0-E297462320DD}" dt="2023-11-24T08:54:22.704" v="101848"/>
          <ac:spMkLst>
            <pc:docMk/>
            <pc:sldMk cId="2428257732" sldId="2147478563"/>
            <ac:spMk id="664" creationId="{6DB26648-DEC9-DC9B-18B1-8887E68C4345}"/>
          </ac:spMkLst>
        </pc:spChg>
        <pc:spChg chg="add del mod">
          <ac:chgData name="Steiner Andreas 6206 ED" userId="e6377c33-a923-4f14-8587-531c474c7b48" providerId="ADAL" clId="{6ECD27E6-B224-41CD-B4E0-E297462320DD}" dt="2023-11-24T08:54:24.685" v="102003"/>
          <ac:spMkLst>
            <pc:docMk/>
            <pc:sldMk cId="2428257732" sldId="2147478563"/>
            <ac:spMk id="665" creationId="{2C3E86B0-1F9C-13AB-7D03-97BA4370EF28}"/>
          </ac:spMkLst>
        </pc:spChg>
        <pc:spChg chg="add del mod">
          <ac:chgData name="Steiner Andreas 6206 ED" userId="e6377c33-a923-4f14-8587-531c474c7b48" providerId="ADAL" clId="{6ECD27E6-B224-41CD-B4E0-E297462320DD}" dt="2023-11-24T08:54:26.626" v="102158"/>
          <ac:spMkLst>
            <pc:docMk/>
            <pc:sldMk cId="2428257732" sldId="2147478563"/>
            <ac:spMk id="666" creationId="{D892BA38-2D9A-39D1-4B7E-0C6A24C4B349}"/>
          </ac:spMkLst>
        </pc:spChg>
        <pc:spChg chg="add del mod">
          <ac:chgData name="Steiner Andreas 6206 ED" userId="e6377c33-a923-4f14-8587-531c474c7b48" providerId="ADAL" clId="{6ECD27E6-B224-41CD-B4E0-E297462320DD}" dt="2023-11-24T08:54:28.585" v="102313"/>
          <ac:spMkLst>
            <pc:docMk/>
            <pc:sldMk cId="2428257732" sldId="2147478563"/>
            <ac:spMk id="667" creationId="{8B41928F-2DBA-BF13-E9B1-C1D4DABD5B26}"/>
          </ac:spMkLst>
        </pc:spChg>
        <pc:spChg chg="add del mod">
          <ac:chgData name="Steiner Andreas 6206 ED" userId="e6377c33-a923-4f14-8587-531c474c7b48" providerId="ADAL" clId="{6ECD27E6-B224-41CD-B4E0-E297462320DD}" dt="2023-11-24T08:54:30.509" v="102468"/>
          <ac:spMkLst>
            <pc:docMk/>
            <pc:sldMk cId="2428257732" sldId="2147478563"/>
            <ac:spMk id="668" creationId="{31422ABC-EDFD-3F44-C40E-D525B3BD4A55}"/>
          </ac:spMkLst>
        </pc:spChg>
        <pc:spChg chg="add del mod">
          <ac:chgData name="Steiner Andreas 6206 ED" userId="e6377c33-a923-4f14-8587-531c474c7b48" providerId="ADAL" clId="{6ECD27E6-B224-41CD-B4E0-E297462320DD}" dt="2023-11-24T08:54:32.698" v="102623"/>
          <ac:spMkLst>
            <pc:docMk/>
            <pc:sldMk cId="2428257732" sldId="2147478563"/>
            <ac:spMk id="669" creationId="{923EE5B8-92F3-A293-E13D-9872B69DAA1B}"/>
          </ac:spMkLst>
        </pc:spChg>
        <pc:spChg chg="add del mod">
          <ac:chgData name="Steiner Andreas 6206 ED" userId="e6377c33-a923-4f14-8587-531c474c7b48" providerId="ADAL" clId="{6ECD27E6-B224-41CD-B4E0-E297462320DD}" dt="2023-11-24T08:54:34.666" v="102778"/>
          <ac:spMkLst>
            <pc:docMk/>
            <pc:sldMk cId="2428257732" sldId="2147478563"/>
            <ac:spMk id="670" creationId="{3362D9A1-6F5B-143B-1692-0CDA8A15F1B1}"/>
          </ac:spMkLst>
        </pc:spChg>
        <pc:spChg chg="add del mod">
          <ac:chgData name="Steiner Andreas 6206 ED" userId="e6377c33-a923-4f14-8587-531c474c7b48" providerId="ADAL" clId="{6ECD27E6-B224-41CD-B4E0-E297462320DD}" dt="2023-11-24T08:54:36.562" v="102933"/>
          <ac:spMkLst>
            <pc:docMk/>
            <pc:sldMk cId="2428257732" sldId="2147478563"/>
            <ac:spMk id="671" creationId="{657504EE-9683-7FBD-D562-3F98EDC4C453}"/>
          </ac:spMkLst>
        </pc:spChg>
        <pc:spChg chg="add del mod">
          <ac:chgData name="Steiner Andreas 6206 ED" userId="e6377c33-a923-4f14-8587-531c474c7b48" providerId="ADAL" clId="{6ECD27E6-B224-41CD-B4E0-E297462320DD}" dt="2023-11-24T08:54:38.862" v="103088"/>
          <ac:spMkLst>
            <pc:docMk/>
            <pc:sldMk cId="2428257732" sldId="2147478563"/>
            <ac:spMk id="672" creationId="{89091205-4C94-669D-4DE5-64728AD302A4}"/>
          </ac:spMkLst>
        </pc:spChg>
        <pc:spChg chg="add del mod">
          <ac:chgData name="Steiner Andreas 6206 ED" userId="e6377c33-a923-4f14-8587-531c474c7b48" providerId="ADAL" clId="{6ECD27E6-B224-41CD-B4E0-E297462320DD}" dt="2023-11-24T08:54:40.944" v="103243"/>
          <ac:spMkLst>
            <pc:docMk/>
            <pc:sldMk cId="2428257732" sldId="2147478563"/>
            <ac:spMk id="673" creationId="{EA42A0E9-CDC6-2A73-A6BE-BEED1A27E98D}"/>
          </ac:spMkLst>
        </pc:spChg>
        <pc:spChg chg="add del mod">
          <ac:chgData name="Steiner Andreas 6206 ED" userId="e6377c33-a923-4f14-8587-531c474c7b48" providerId="ADAL" clId="{6ECD27E6-B224-41CD-B4E0-E297462320DD}" dt="2023-11-24T08:54:42.899" v="103398"/>
          <ac:spMkLst>
            <pc:docMk/>
            <pc:sldMk cId="2428257732" sldId="2147478563"/>
            <ac:spMk id="674" creationId="{50669728-7FCF-8475-2DC0-45D1FE2EB2C7}"/>
          </ac:spMkLst>
        </pc:spChg>
        <pc:spChg chg="add del mod">
          <ac:chgData name="Steiner Andreas 6206 ED" userId="e6377c33-a923-4f14-8587-531c474c7b48" providerId="ADAL" clId="{6ECD27E6-B224-41CD-B4E0-E297462320DD}" dt="2023-11-24T08:54:45.148" v="103553"/>
          <ac:spMkLst>
            <pc:docMk/>
            <pc:sldMk cId="2428257732" sldId="2147478563"/>
            <ac:spMk id="675" creationId="{219F1B55-B59A-5959-4D37-F2C67F3C3B72}"/>
          </ac:spMkLst>
        </pc:spChg>
        <pc:spChg chg="add del mod">
          <ac:chgData name="Steiner Andreas 6206 ED" userId="e6377c33-a923-4f14-8587-531c474c7b48" providerId="ADAL" clId="{6ECD27E6-B224-41CD-B4E0-E297462320DD}" dt="2023-11-24T08:54:47.397" v="103708"/>
          <ac:spMkLst>
            <pc:docMk/>
            <pc:sldMk cId="2428257732" sldId="2147478563"/>
            <ac:spMk id="676" creationId="{C48AB514-80FD-045C-B5DE-4E9823DF1978}"/>
          </ac:spMkLst>
        </pc:spChg>
        <pc:spChg chg="add del mod">
          <ac:chgData name="Steiner Andreas 6206 ED" userId="e6377c33-a923-4f14-8587-531c474c7b48" providerId="ADAL" clId="{6ECD27E6-B224-41CD-B4E0-E297462320DD}" dt="2023-11-24T08:54:49.493" v="103863"/>
          <ac:spMkLst>
            <pc:docMk/>
            <pc:sldMk cId="2428257732" sldId="2147478563"/>
            <ac:spMk id="677" creationId="{126F902E-20D7-174A-3F7F-C5D12BEDD7B5}"/>
          </ac:spMkLst>
        </pc:spChg>
        <pc:spChg chg="add del mod">
          <ac:chgData name="Steiner Andreas 6206 ED" userId="e6377c33-a923-4f14-8587-531c474c7b48" providerId="ADAL" clId="{6ECD27E6-B224-41CD-B4E0-E297462320DD}" dt="2023-11-24T08:54:51.877" v="104018"/>
          <ac:spMkLst>
            <pc:docMk/>
            <pc:sldMk cId="2428257732" sldId="2147478563"/>
            <ac:spMk id="678" creationId="{B624F4CF-E509-7E54-147B-4D00829DC354}"/>
          </ac:spMkLst>
        </pc:spChg>
        <pc:spChg chg="add del mod">
          <ac:chgData name="Steiner Andreas 6206 ED" userId="e6377c33-a923-4f14-8587-531c474c7b48" providerId="ADAL" clId="{6ECD27E6-B224-41CD-B4E0-E297462320DD}" dt="2023-11-24T08:54:53.908" v="104173"/>
          <ac:spMkLst>
            <pc:docMk/>
            <pc:sldMk cId="2428257732" sldId="2147478563"/>
            <ac:spMk id="679" creationId="{FF3B95D8-7FFB-8137-1249-083F3CABB27A}"/>
          </ac:spMkLst>
        </pc:spChg>
        <pc:spChg chg="add del mod">
          <ac:chgData name="Steiner Andreas 6206 ED" userId="e6377c33-a923-4f14-8587-531c474c7b48" providerId="ADAL" clId="{6ECD27E6-B224-41CD-B4E0-E297462320DD}" dt="2023-11-24T08:54:56.038" v="104328"/>
          <ac:spMkLst>
            <pc:docMk/>
            <pc:sldMk cId="2428257732" sldId="2147478563"/>
            <ac:spMk id="680" creationId="{53DBB0B3-BCA2-3C98-05AF-B878B348F83A}"/>
          </ac:spMkLst>
        </pc:spChg>
        <pc:spChg chg="add del mod">
          <ac:chgData name="Steiner Andreas 6206 ED" userId="e6377c33-a923-4f14-8587-531c474c7b48" providerId="ADAL" clId="{6ECD27E6-B224-41CD-B4E0-E297462320DD}" dt="2023-11-24T08:54:58.113" v="104483"/>
          <ac:spMkLst>
            <pc:docMk/>
            <pc:sldMk cId="2428257732" sldId="2147478563"/>
            <ac:spMk id="681" creationId="{B48A80F9-B229-9A69-EA28-F2526B938B7C}"/>
          </ac:spMkLst>
        </pc:spChg>
        <pc:spChg chg="add del mod">
          <ac:chgData name="Steiner Andreas 6206 ED" userId="e6377c33-a923-4f14-8587-531c474c7b48" providerId="ADAL" clId="{6ECD27E6-B224-41CD-B4E0-E297462320DD}" dt="2023-11-24T08:55:00.114" v="104638"/>
          <ac:spMkLst>
            <pc:docMk/>
            <pc:sldMk cId="2428257732" sldId="2147478563"/>
            <ac:spMk id="682" creationId="{B6218988-BBA9-C889-6DB6-F70F3113169B}"/>
          </ac:spMkLst>
        </pc:spChg>
        <pc:spChg chg="add del mod">
          <ac:chgData name="Steiner Andreas 6206 ED" userId="e6377c33-a923-4f14-8587-531c474c7b48" providerId="ADAL" clId="{6ECD27E6-B224-41CD-B4E0-E297462320DD}" dt="2023-11-24T08:55:02.068" v="104793"/>
          <ac:spMkLst>
            <pc:docMk/>
            <pc:sldMk cId="2428257732" sldId="2147478563"/>
            <ac:spMk id="683" creationId="{16A8F175-935C-CB7E-833E-4E7CC61703BF}"/>
          </ac:spMkLst>
        </pc:spChg>
        <pc:spChg chg="add del mod">
          <ac:chgData name="Steiner Andreas 6206 ED" userId="e6377c33-a923-4f14-8587-531c474c7b48" providerId="ADAL" clId="{6ECD27E6-B224-41CD-B4E0-E297462320DD}" dt="2023-11-24T08:55:04.052" v="104948"/>
          <ac:spMkLst>
            <pc:docMk/>
            <pc:sldMk cId="2428257732" sldId="2147478563"/>
            <ac:spMk id="684" creationId="{811B2008-F69E-D005-C78A-BF75A71387CE}"/>
          </ac:spMkLst>
        </pc:spChg>
        <pc:spChg chg="add del mod">
          <ac:chgData name="Steiner Andreas 6206 ED" userId="e6377c33-a923-4f14-8587-531c474c7b48" providerId="ADAL" clId="{6ECD27E6-B224-41CD-B4E0-E297462320DD}" dt="2023-11-24T08:55:06.191" v="105103"/>
          <ac:spMkLst>
            <pc:docMk/>
            <pc:sldMk cId="2428257732" sldId="2147478563"/>
            <ac:spMk id="685" creationId="{6211C3A7-3AAE-B3F5-558E-0F7CF096BE72}"/>
          </ac:spMkLst>
        </pc:spChg>
        <pc:spChg chg="add del mod">
          <ac:chgData name="Steiner Andreas 6206 ED" userId="e6377c33-a923-4f14-8587-531c474c7b48" providerId="ADAL" clId="{6ECD27E6-B224-41CD-B4E0-E297462320DD}" dt="2023-11-24T08:55:08.253" v="105258"/>
          <ac:spMkLst>
            <pc:docMk/>
            <pc:sldMk cId="2428257732" sldId="2147478563"/>
            <ac:spMk id="686" creationId="{2119E210-6690-EF93-D8F2-1211842739E4}"/>
          </ac:spMkLst>
        </pc:spChg>
        <pc:spChg chg="add del mod">
          <ac:chgData name="Steiner Andreas 6206 ED" userId="e6377c33-a923-4f14-8587-531c474c7b48" providerId="ADAL" clId="{6ECD27E6-B224-41CD-B4E0-E297462320DD}" dt="2023-11-24T08:55:10.248" v="105413"/>
          <ac:spMkLst>
            <pc:docMk/>
            <pc:sldMk cId="2428257732" sldId="2147478563"/>
            <ac:spMk id="687" creationId="{26CCEB66-A6D4-AF57-62BA-07D251F106CE}"/>
          </ac:spMkLst>
        </pc:spChg>
        <pc:spChg chg="add del mod">
          <ac:chgData name="Steiner Andreas 6206 ED" userId="e6377c33-a923-4f14-8587-531c474c7b48" providerId="ADAL" clId="{6ECD27E6-B224-41CD-B4E0-E297462320DD}" dt="2023-11-24T08:55:12.222" v="105568"/>
          <ac:spMkLst>
            <pc:docMk/>
            <pc:sldMk cId="2428257732" sldId="2147478563"/>
            <ac:spMk id="688" creationId="{F359B05F-C2BD-EA3B-097A-AEC213C1E69F}"/>
          </ac:spMkLst>
        </pc:spChg>
        <pc:spChg chg="add del mod">
          <ac:chgData name="Steiner Andreas 6206 ED" userId="e6377c33-a923-4f14-8587-531c474c7b48" providerId="ADAL" clId="{6ECD27E6-B224-41CD-B4E0-E297462320DD}" dt="2023-11-24T08:55:14.288" v="105723"/>
          <ac:spMkLst>
            <pc:docMk/>
            <pc:sldMk cId="2428257732" sldId="2147478563"/>
            <ac:spMk id="689" creationId="{1C44B613-8E05-75D7-B436-1C6493793DFC}"/>
          </ac:spMkLst>
        </pc:spChg>
        <pc:spChg chg="add del mod">
          <ac:chgData name="Steiner Andreas 6206 ED" userId="e6377c33-a923-4f14-8587-531c474c7b48" providerId="ADAL" clId="{6ECD27E6-B224-41CD-B4E0-E297462320DD}" dt="2023-11-24T08:55:16.349" v="105878"/>
          <ac:spMkLst>
            <pc:docMk/>
            <pc:sldMk cId="2428257732" sldId="2147478563"/>
            <ac:spMk id="690" creationId="{C7F84297-E600-AAD1-8358-4FE25B6B42A1}"/>
          </ac:spMkLst>
        </pc:spChg>
        <pc:spChg chg="add del mod">
          <ac:chgData name="Steiner Andreas 6206 ED" userId="e6377c33-a923-4f14-8587-531c474c7b48" providerId="ADAL" clId="{6ECD27E6-B224-41CD-B4E0-E297462320DD}" dt="2023-11-24T08:55:18.389" v="106033"/>
          <ac:spMkLst>
            <pc:docMk/>
            <pc:sldMk cId="2428257732" sldId="2147478563"/>
            <ac:spMk id="691" creationId="{CF25AAF1-43E3-9EB2-1AF2-E987DE6B58FC}"/>
          </ac:spMkLst>
        </pc:spChg>
        <pc:spChg chg="add del mod">
          <ac:chgData name="Steiner Andreas 6206 ED" userId="e6377c33-a923-4f14-8587-531c474c7b48" providerId="ADAL" clId="{6ECD27E6-B224-41CD-B4E0-E297462320DD}" dt="2023-11-24T08:55:20.398" v="106188"/>
          <ac:spMkLst>
            <pc:docMk/>
            <pc:sldMk cId="2428257732" sldId="2147478563"/>
            <ac:spMk id="692" creationId="{2104FA07-D7D0-84B4-CC62-102725032600}"/>
          </ac:spMkLst>
        </pc:spChg>
        <pc:spChg chg="add del mod">
          <ac:chgData name="Steiner Andreas 6206 ED" userId="e6377c33-a923-4f14-8587-531c474c7b48" providerId="ADAL" clId="{6ECD27E6-B224-41CD-B4E0-E297462320DD}" dt="2023-11-24T08:55:22.353" v="106343"/>
          <ac:spMkLst>
            <pc:docMk/>
            <pc:sldMk cId="2428257732" sldId="2147478563"/>
            <ac:spMk id="693" creationId="{481F065E-CBA7-8EB9-81F5-B0DB596529F1}"/>
          </ac:spMkLst>
        </pc:spChg>
        <pc:spChg chg="add del mod">
          <ac:chgData name="Steiner Andreas 6206 ED" userId="e6377c33-a923-4f14-8587-531c474c7b48" providerId="ADAL" clId="{6ECD27E6-B224-41CD-B4E0-E297462320DD}" dt="2023-11-24T08:55:24.357" v="106498"/>
          <ac:spMkLst>
            <pc:docMk/>
            <pc:sldMk cId="2428257732" sldId="2147478563"/>
            <ac:spMk id="694" creationId="{5021A115-3309-2E15-0D6F-32ABE22AFAC1}"/>
          </ac:spMkLst>
        </pc:spChg>
        <pc:spChg chg="add del mod">
          <ac:chgData name="Steiner Andreas 6206 ED" userId="e6377c33-a923-4f14-8587-531c474c7b48" providerId="ADAL" clId="{6ECD27E6-B224-41CD-B4E0-E297462320DD}" dt="2023-11-24T08:55:26.333" v="106653"/>
          <ac:spMkLst>
            <pc:docMk/>
            <pc:sldMk cId="2428257732" sldId="2147478563"/>
            <ac:spMk id="695" creationId="{2F801B70-E21E-8ADA-EFBF-7A4E83B8F156}"/>
          </ac:spMkLst>
        </pc:spChg>
        <pc:spChg chg="add del mod">
          <ac:chgData name="Steiner Andreas 6206 ED" userId="e6377c33-a923-4f14-8587-531c474c7b48" providerId="ADAL" clId="{6ECD27E6-B224-41CD-B4E0-E297462320DD}" dt="2023-11-24T08:55:28.477" v="106808"/>
          <ac:spMkLst>
            <pc:docMk/>
            <pc:sldMk cId="2428257732" sldId="2147478563"/>
            <ac:spMk id="696" creationId="{38778E81-772A-87E8-17D8-FF23A9460E19}"/>
          </ac:spMkLst>
        </pc:spChg>
        <pc:spChg chg="add del mod">
          <ac:chgData name="Steiner Andreas 6206 ED" userId="e6377c33-a923-4f14-8587-531c474c7b48" providerId="ADAL" clId="{6ECD27E6-B224-41CD-B4E0-E297462320DD}" dt="2023-11-24T08:55:30.526" v="106963"/>
          <ac:spMkLst>
            <pc:docMk/>
            <pc:sldMk cId="2428257732" sldId="2147478563"/>
            <ac:spMk id="697" creationId="{461F1D0F-4FED-38B1-BC27-F3D08ABA5B5D}"/>
          </ac:spMkLst>
        </pc:spChg>
        <pc:spChg chg="add del mod">
          <ac:chgData name="Steiner Andreas 6206 ED" userId="e6377c33-a923-4f14-8587-531c474c7b48" providerId="ADAL" clId="{6ECD27E6-B224-41CD-B4E0-E297462320DD}" dt="2023-11-24T08:55:32.647" v="107118"/>
          <ac:spMkLst>
            <pc:docMk/>
            <pc:sldMk cId="2428257732" sldId="2147478563"/>
            <ac:spMk id="698" creationId="{7DD2AE3D-0863-00B2-A946-BC394B9B28EE}"/>
          </ac:spMkLst>
        </pc:spChg>
        <pc:spChg chg="add del mod">
          <ac:chgData name="Steiner Andreas 6206 ED" userId="e6377c33-a923-4f14-8587-531c474c7b48" providerId="ADAL" clId="{6ECD27E6-B224-41CD-B4E0-E297462320DD}" dt="2023-11-24T08:55:34.559" v="107273"/>
          <ac:spMkLst>
            <pc:docMk/>
            <pc:sldMk cId="2428257732" sldId="2147478563"/>
            <ac:spMk id="699" creationId="{E824097B-9558-CFC7-F392-2C91E2D2EEC6}"/>
          </ac:spMkLst>
        </pc:spChg>
        <pc:spChg chg="add del mod">
          <ac:chgData name="Steiner Andreas 6206 ED" userId="e6377c33-a923-4f14-8587-531c474c7b48" providerId="ADAL" clId="{6ECD27E6-B224-41CD-B4E0-E297462320DD}" dt="2023-11-24T08:55:36.484" v="107428"/>
          <ac:spMkLst>
            <pc:docMk/>
            <pc:sldMk cId="2428257732" sldId="2147478563"/>
            <ac:spMk id="700" creationId="{4EA5B181-3F9A-7811-D79F-19A186D6A699}"/>
          </ac:spMkLst>
        </pc:spChg>
        <pc:spChg chg="add del mod">
          <ac:chgData name="Steiner Andreas 6206 ED" userId="e6377c33-a923-4f14-8587-531c474c7b48" providerId="ADAL" clId="{6ECD27E6-B224-41CD-B4E0-E297462320DD}" dt="2023-11-24T08:55:38.537" v="107583"/>
          <ac:spMkLst>
            <pc:docMk/>
            <pc:sldMk cId="2428257732" sldId="2147478563"/>
            <ac:spMk id="701" creationId="{C47CEA90-8551-973A-794B-989F1B9453F2}"/>
          </ac:spMkLst>
        </pc:spChg>
        <pc:spChg chg="add del mod">
          <ac:chgData name="Steiner Andreas 6206 ED" userId="e6377c33-a923-4f14-8587-531c474c7b48" providerId="ADAL" clId="{6ECD27E6-B224-41CD-B4E0-E297462320DD}" dt="2023-11-24T08:55:40.565" v="107738"/>
          <ac:spMkLst>
            <pc:docMk/>
            <pc:sldMk cId="2428257732" sldId="2147478563"/>
            <ac:spMk id="702" creationId="{50D70F23-0869-307B-949B-FBEFEA975D4E}"/>
          </ac:spMkLst>
        </pc:spChg>
        <pc:spChg chg="add del mod">
          <ac:chgData name="Steiner Andreas 6206 ED" userId="e6377c33-a923-4f14-8587-531c474c7b48" providerId="ADAL" clId="{6ECD27E6-B224-41CD-B4E0-E297462320DD}" dt="2023-11-24T08:55:42.434" v="107893"/>
          <ac:spMkLst>
            <pc:docMk/>
            <pc:sldMk cId="2428257732" sldId="2147478563"/>
            <ac:spMk id="703" creationId="{C0DAB2EA-F5F2-EAA9-B970-381036A74FD1}"/>
          </ac:spMkLst>
        </pc:spChg>
        <pc:spChg chg="add del mod">
          <ac:chgData name="Steiner Andreas 6206 ED" userId="e6377c33-a923-4f14-8587-531c474c7b48" providerId="ADAL" clId="{6ECD27E6-B224-41CD-B4E0-E297462320DD}" dt="2023-11-24T08:55:44.410" v="108048"/>
          <ac:spMkLst>
            <pc:docMk/>
            <pc:sldMk cId="2428257732" sldId="2147478563"/>
            <ac:spMk id="704" creationId="{D6ED80E3-B171-46FE-20EA-6F4433840EF1}"/>
          </ac:spMkLst>
        </pc:spChg>
        <pc:spChg chg="add del mod">
          <ac:chgData name="Steiner Andreas 6206 ED" userId="e6377c33-a923-4f14-8587-531c474c7b48" providerId="ADAL" clId="{6ECD27E6-B224-41CD-B4E0-E297462320DD}" dt="2023-11-24T08:55:46.818" v="108203"/>
          <ac:spMkLst>
            <pc:docMk/>
            <pc:sldMk cId="2428257732" sldId="2147478563"/>
            <ac:spMk id="705" creationId="{C60445E5-2BC4-2B32-6085-C7694A51CC0F}"/>
          </ac:spMkLst>
        </pc:spChg>
        <pc:spChg chg="add del mod">
          <ac:chgData name="Steiner Andreas 6206 ED" userId="e6377c33-a923-4f14-8587-531c474c7b48" providerId="ADAL" clId="{6ECD27E6-B224-41CD-B4E0-E297462320DD}" dt="2023-11-24T08:55:48.983" v="108358"/>
          <ac:spMkLst>
            <pc:docMk/>
            <pc:sldMk cId="2428257732" sldId="2147478563"/>
            <ac:spMk id="706" creationId="{A138F559-9FEC-C83A-B9F6-F07A4B96133E}"/>
          </ac:spMkLst>
        </pc:spChg>
        <pc:spChg chg="add del mod">
          <ac:chgData name="Steiner Andreas 6206 ED" userId="e6377c33-a923-4f14-8587-531c474c7b48" providerId="ADAL" clId="{6ECD27E6-B224-41CD-B4E0-E297462320DD}" dt="2023-11-24T08:55:51.381" v="108513"/>
          <ac:spMkLst>
            <pc:docMk/>
            <pc:sldMk cId="2428257732" sldId="2147478563"/>
            <ac:spMk id="707" creationId="{B5D783A5-F167-A126-937D-39A92DFFBE48}"/>
          </ac:spMkLst>
        </pc:spChg>
        <pc:spChg chg="add del mod">
          <ac:chgData name="Steiner Andreas 6206 ED" userId="e6377c33-a923-4f14-8587-531c474c7b48" providerId="ADAL" clId="{6ECD27E6-B224-41CD-B4E0-E297462320DD}" dt="2023-11-24T08:55:53.481" v="108668"/>
          <ac:spMkLst>
            <pc:docMk/>
            <pc:sldMk cId="2428257732" sldId="2147478563"/>
            <ac:spMk id="708" creationId="{79AC0C10-2B56-F5C9-ED91-C45DBEAF93AB}"/>
          </ac:spMkLst>
        </pc:spChg>
        <pc:spChg chg="add del mod">
          <ac:chgData name="Steiner Andreas 6206 ED" userId="e6377c33-a923-4f14-8587-531c474c7b48" providerId="ADAL" clId="{6ECD27E6-B224-41CD-B4E0-E297462320DD}" dt="2023-11-24T08:55:55.533" v="108823"/>
          <ac:spMkLst>
            <pc:docMk/>
            <pc:sldMk cId="2428257732" sldId="2147478563"/>
            <ac:spMk id="709" creationId="{64FC36B0-A011-58C9-10E8-C6F4E77C52B9}"/>
          </ac:spMkLst>
        </pc:spChg>
        <pc:spChg chg="add del mod">
          <ac:chgData name="Steiner Andreas 6206 ED" userId="e6377c33-a923-4f14-8587-531c474c7b48" providerId="ADAL" clId="{6ECD27E6-B224-41CD-B4E0-E297462320DD}" dt="2023-11-24T08:55:57.559" v="108978"/>
          <ac:spMkLst>
            <pc:docMk/>
            <pc:sldMk cId="2428257732" sldId="2147478563"/>
            <ac:spMk id="710" creationId="{FA46B15E-980C-235A-ACFD-D8ACCB7EC5AE}"/>
          </ac:spMkLst>
        </pc:spChg>
        <pc:spChg chg="add del mod">
          <ac:chgData name="Steiner Andreas 6206 ED" userId="e6377c33-a923-4f14-8587-531c474c7b48" providerId="ADAL" clId="{6ECD27E6-B224-41CD-B4E0-E297462320DD}" dt="2023-11-24T08:55:59.659" v="109133"/>
          <ac:spMkLst>
            <pc:docMk/>
            <pc:sldMk cId="2428257732" sldId="2147478563"/>
            <ac:spMk id="711" creationId="{9A8A4442-9467-47F2-2F0F-053DA1A49668}"/>
          </ac:spMkLst>
        </pc:spChg>
        <pc:spChg chg="add del mod">
          <ac:chgData name="Steiner Andreas 6206 ED" userId="e6377c33-a923-4f14-8587-531c474c7b48" providerId="ADAL" clId="{6ECD27E6-B224-41CD-B4E0-E297462320DD}" dt="2023-11-24T08:56:02.069" v="109288"/>
          <ac:spMkLst>
            <pc:docMk/>
            <pc:sldMk cId="2428257732" sldId="2147478563"/>
            <ac:spMk id="712" creationId="{45CFFB04-BDA0-B9ED-EA87-C491BBED1142}"/>
          </ac:spMkLst>
        </pc:spChg>
        <pc:spChg chg="add del mod">
          <ac:chgData name="Steiner Andreas 6206 ED" userId="e6377c33-a923-4f14-8587-531c474c7b48" providerId="ADAL" clId="{6ECD27E6-B224-41CD-B4E0-E297462320DD}" dt="2023-11-24T08:56:04.306" v="109443"/>
          <ac:spMkLst>
            <pc:docMk/>
            <pc:sldMk cId="2428257732" sldId="2147478563"/>
            <ac:spMk id="713" creationId="{7EE37407-AD30-0F20-B7B9-5EDBF1B5B124}"/>
          </ac:spMkLst>
        </pc:spChg>
        <pc:spChg chg="add del mod">
          <ac:chgData name="Steiner Andreas 6206 ED" userId="e6377c33-a923-4f14-8587-531c474c7b48" providerId="ADAL" clId="{6ECD27E6-B224-41CD-B4E0-E297462320DD}" dt="2023-11-24T08:56:06.601" v="109598"/>
          <ac:spMkLst>
            <pc:docMk/>
            <pc:sldMk cId="2428257732" sldId="2147478563"/>
            <ac:spMk id="714" creationId="{F991E14E-B078-20CC-8962-5B509650E12E}"/>
          </ac:spMkLst>
        </pc:spChg>
        <pc:spChg chg="add del mod">
          <ac:chgData name="Steiner Andreas 6206 ED" userId="e6377c33-a923-4f14-8587-531c474c7b48" providerId="ADAL" clId="{6ECD27E6-B224-41CD-B4E0-E297462320DD}" dt="2023-11-24T08:56:08.858" v="109753"/>
          <ac:spMkLst>
            <pc:docMk/>
            <pc:sldMk cId="2428257732" sldId="2147478563"/>
            <ac:spMk id="715" creationId="{362BF2D7-E69F-6739-7A0C-E6D87F71B730}"/>
          </ac:spMkLst>
        </pc:spChg>
        <pc:spChg chg="add del mod">
          <ac:chgData name="Steiner Andreas 6206 ED" userId="e6377c33-a923-4f14-8587-531c474c7b48" providerId="ADAL" clId="{6ECD27E6-B224-41CD-B4E0-E297462320DD}" dt="2023-11-24T08:56:10.907" v="109908"/>
          <ac:spMkLst>
            <pc:docMk/>
            <pc:sldMk cId="2428257732" sldId="2147478563"/>
            <ac:spMk id="716" creationId="{3F78400A-4E0F-0771-E4D0-28D20ACC9E61}"/>
          </ac:spMkLst>
        </pc:spChg>
        <pc:spChg chg="add del mod">
          <ac:chgData name="Steiner Andreas 6206 ED" userId="e6377c33-a923-4f14-8587-531c474c7b48" providerId="ADAL" clId="{6ECD27E6-B224-41CD-B4E0-E297462320DD}" dt="2023-11-24T08:56:13.034" v="110063"/>
          <ac:spMkLst>
            <pc:docMk/>
            <pc:sldMk cId="2428257732" sldId="2147478563"/>
            <ac:spMk id="717" creationId="{29277209-0083-561E-8B01-42CBCE50A8DF}"/>
          </ac:spMkLst>
        </pc:spChg>
        <pc:spChg chg="add del mod">
          <ac:chgData name="Steiner Andreas 6206 ED" userId="e6377c33-a923-4f14-8587-531c474c7b48" providerId="ADAL" clId="{6ECD27E6-B224-41CD-B4E0-E297462320DD}" dt="2023-11-24T08:56:15.157" v="110218"/>
          <ac:spMkLst>
            <pc:docMk/>
            <pc:sldMk cId="2428257732" sldId="2147478563"/>
            <ac:spMk id="718" creationId="{2178DE12-BB81-29BF-E75C-F67B6C9E5242}"/>
          </ac:spMkLst>
        </pc:spChg>
        <pc:spChg chg="add del mod">
          <ac:chgData name="Steiner Andreas 6206 ED" userId="e6377c33-a923-4f14-8587-531c474c7b48" providerId="ADAL" clId="{6ECD27E6-B224-41CD-B4E0-E297462320DD}" dt="2023-11-24T08:56:17.116" v="110373"/>
          <ac:spMkLst>
            <pc:docMk/>
            <pc:sldMk cId="2428257732" sldId="2147478563"/>
            <ac:spMk id="719" creationId="{6788C227-2346-BF69-5975-6CB0B227FF12}"/>
          </ac:spMkLst>
        </pc:spChg>
        <pc:spChg chg="add del mod">
          <ac:chgData name="Steiner Andreas 6206 ED" userId="e6377c33-a923-4f14-8587-531c474c7b48" providerId="ADAL" clId="{6ECD27E6-B224-41CD-B4E0-E297462320DD}" dt="2023-11-24T08:56:19.101" v="110528"/>
          <ac:spMkLst>
            <pc:docMk/>
            <pc:sldMk cId="2428257732" sldId="2147478563"/>
            <ac:spMk id="720" creationId="{C07CD8FE-E40A-E8C2-EC18-A7C5A9331B65}"/>
          </ac:spMkLst>
        </pc:spChg>
        <pc:spChg chg="add del mod">
          <ac:chgData name="Steiner Andreas 6206 ED" userId="e6377c33-a923-4f14-8587-531c474c7b48" providerId="ADAL" clId="{6ECD27E6-B224-41CD-B4E0-E297462320DD}" dt="2023-11-24T08:56:21.037" v="110683"/>
          <ac:spMkLst>
            <pc:docMk/>
            <pc:sldMk cId="2428257732" sldId="2147478563"/>
            <ac:spMk id="721" creationId="{F2C4E749-1AF4-8E9E-A64E-23000E708C86}"/>
          </ac:spMkLst>
        </pc:spChg>
        <pc:spChg chg="add del mod">
          <ac:chgData name="Steiner Andreas 6206 ED" userId="e6377c33-a923-4f14-8587-531c474c7b48" providerId="ADAL" clId="{6ECD27E6-B224-41CD-B4E0-E297462320DD}" dt="2023-11-24T08:56:23.195" v="110838"/>
          <ac:spMkLst>
            <pc:docMk/>
            <pc:sldMk cId="2428257732" sldId="2147478563"/>
            <ac:spMk id="722" creationId="{7B91DF15-80A2-A282-00AE-4BE17E1F83F4}"/>
          </ac:spMkLst>
        </pc:spChg>
        <pc:spChg chg="add del mod">
          <ac:chgData name="Steiner Andreas 6206 ED" userId="e6377c33-a923-4f14-8587-531c474c7b48" providerId="ADAL" clId="{6ECD27E6-B224-41CD-B4E0-E297462320DD}" dt="2023-11-24T08:56:25.390" v="110993"/>
          <ac:spMkLst>
            <pc:docMk/>
            <pc:sldMk cId="2428257732" sldId="2147478563"/>
            <ac:spMk id="723" creationId="{C9FA6F13-C128-511A-C693-1A9D1A43B6C6}"/>
          </ac:spMkLst>
        </pc:spChg>
        <pc:spChg chg="add del mod">
          <ac:chgData name="Steiner Andreas 6206 ED" userId="e6377c33-a923-4f14-8587-531c474c7b48" providerId="ADAL" clId="{6ECD27E6-B224-41CD-B4E0-E297462320DD}" dt="2023-11-24T08:56:27.435" v="111148"/>
          <ac:spMkLst>
            <pc:docMk/>
            <pc:sldMk cId="2428257732" sldId="2147478563"/>
            <ac:spMk id="724" creationId="{7B8DAAB8-635D-2309-02D7-5E7C0F2FE9E2}"/>
          </ac:spMkLst>
        </pc:spChg>
        <pc:spChg chg="add del mod">
          <ac:chgData name="Steiner Andreas 6206 ED" userId="e6377c33-a923-4f14-8587-531c474c7b48" providerId="ADAL" clId="{6ECD27E6-B224-41CD-B4E0-E297462320DD}" dt="2023-11-24T08:56:29.494" v="111303"/>
          <ac:spMkLst>
            <pc:docMk/>
            <pc:sldMk cId="2428257732" sldId="2147478563"/>
            <ac:spMk id="725" creationId="{8E19E602-FD6E-ED86-678E-5C0DA1E5D76E}"/>
          </ac:spMkLst>
        </pc:spChg>
        <pc:spChg chg="add del mod">
          <ac:chgData name="Steiner Andreas 6206 ED" userId="e6377c33-a923-4f14-8587-531c474c7b48" providerId="ADAL" clId="{6ECD27E6-B224-41CD-B4E0-E297462320DD}" dt="2023-11-24T08:56:31.558" v="111458"/>
          <ac:spMkLst>
            <pc:docMk/>
            <pc:sldMk cId="2428257732" sldId="2147478563"/>
            <ac:spMk id="726" creationId="{26FA19BA-832A-4DA1-6496-077FA26DA406}"/>
          </ac:spMkLst>
        </pc:spChg>
        <pc:spChg chg="add del mod">
          <ac:chgData name="Steiner Andreas 6206 ED" userId="e6377c33-a923-4f14-8587-531c474c7b48" providerId="ADAL" clId="{6ECD27E6-B224-41CD-B4E0-E297462320DD}" dt="2023-11-24T08:56:33.796" v="111613"/>
          <ac:spMkLst>
            <pc:docMk/>
            <pc:sldMk cId="2428257732" sldId="2147478563"/>
            <ac:spMk id="727" creationId="{C4E6D5E9-2640-5AF2-2163-4D7F3580EC74}"/>
          </ac:spMkLst>
        </pc:spChg>
        <pc:spChg chg="add del mod">
          <ac:chgData name="Steiner Andreas 6206 ED" userId="e6377c33-a923-4f14-8587-531c474c7b48" providerId="ADAL" clId="{6ECD27E6-B224-41CD-B4E0-E297462320DD}" dt="2023-11-24T08:56:36.012" v="111768"/>
          <ac:spMkLst>
            <pc:docMk/>
            <pc:sldMk cId="2428257732" sldId="2147478563"/>
            <ac:spMk id="728" creationId="{69BAD212-0ABD-33D6-24ED-4C0E7A166A28}"/>
          </ac:spMkLst>
        </pc:spChg>
        <pc:spChg chg="add del mod">
          <ac:chgData name="Steiner Andreas 6206 ED" userId="e6377c33-a923-4f14-8587-531c474c7b48" providerId="ADAL" clId="{6ECD27E6-B224-41CD-B4E0-E297462320DD}" dt="2023-11-24T08:56:38.048" v="111923"/>
          <ac:spMkLst>
            <pc:docMk/>
            <pc:sldMk cId="2428257732" sldId="2147478563"/>
            <ac:spMk id="729" creationId="{B07A29FB-C861-E752-1EBA-B99B11CA6F5B}"/>
          </ac:spMkLst>
        </pc:spChg>
        <pc:spChg chg="add del mod">
          <ac:chgData name="Steiner Andreas 6206 ED" userId="e6377c33-a923-4f14-8587-531c474c7b48" providerId="ADAL" clId="{6ECD27E6-B224-41CD-B4E0-E297462320DD}" dt="2023-11-24T08:56:40.176" v="112078"/>
          <ac:spMkLst>
            <pc:docMk/>
            <pc:sldMk cId="2428257732" sldId="2147478563"/>
            <ac:spMk id="730" creationId="{03103F0F-96D7-253A-09A9-098B9FB1E7F5}"/>
          </ac:spMkLst>
        </pc:spChg>
        <pc:spChg chg="add del mod">
          <ac:chgData name="Steiner Andreas 6206 ED" userId="e6377c33-a923-4f14-8587-531c474c7b48" providerId="ADAL" clId="{6ECD27E6-B224-41CD-B4E0-E297462320DD}" dt="2023-11-24T08:56:42.132" v="112233"/>
          <ac:spMkLst>
            <pc:docMk/>
            <pc:sldMk cId="2428257732" sldId="2147478563"/>
            <ac:spMk id="731" creationId="{FA020923-1539-4CF8-F9FF-48230D4D1E71}"/>
          </ac:spMkLst>
        </pc:spChg>
        <pc:spChg chg="add del mod">
          <ac:chgData name="Steiner Andreas 6206 ED" userId="e6377c33-a923-4f14-8587-531c474c7b48" providerId="ADAL" clId="{6ECD27E6-B224-41CD-B4E0-E297462320DD}" dt="2023-11-24T08:56:44.132" v="112388"/>
          <ac:spMkLst>
            <pc:docMk/>
            <pc:sldMk cId="2428257732" sldId="2147478563"/>
            <ac:spMk id="732" creationId="{E9BDC734-03C9-E8AE-1EFE-909E6F5160F8}"/>
          </ac:spMkLst>
        </pc:spChg>
        <pc:spChg chg="add del mod">
          <ac:chgData name="Steiner Andreas 6206 ED" userId="e6377c33-a923-4f14-8587-531c474c7b48" providerId="ADAL" clId="{6ECD27E6-B224-41CD-B4E0-E297462320DD}" dt="2023-11-24T08:56:46.157" v="112543"/>
          <ac:spMkLst>
            <pc:docMk/>
            <pc:sldMk cId="2428257732" sldId="2147478563"/>
            <ac:spMk id="733" creationId="{03961BD1-F34D-3980-07B5-EB0BA139D99C}"/>
          </ac:spMkLst>
        </pc:spChg>
        <pc:spChg chg="add del mod">
          <ac:chgData name="Steiner Andreas 6206 ED" userId="e6377c33-a923-4f14-8587-531c474c7b48" providerId="ADAL" clId="{6ECD27E6-B224-41CD-B4E0-E297462320DD}" dt="2023-11-24T08:56:48.378" v="112698"/>
          <ac:spMkLst>
            <pc:docMk/>
            <pc:sldMk cId="2428257732" sldId="2147478563"/>
            <ac:spMk id="734" creationId="{0BBE5344-A263-DAB7-A782-D1CC5221ABA1}"/>
          </ac:spMkLst>
        </pc:spChg>
        <pc:spChg chg="add del mod">
          <ac:chgData name="Steiner Andreas 6206 ED" userId="e6377c33-a923-4f14-8587-531c474c7b48" providerId="ADAL" clId="{6ECD27E6-B224-41CD-B4E0-E297462320DD}" dt="2023-11-24T08:56:50.427" v="112853"/>
          <ac:spMkLst>
            <pc:docMk/>
            <pc:sldMk cId="2428257732" sldId="2147478563"/>
            <ac:spMk id="735" creationId="{01F375F9-4E8C-6C1C-0144-7CEF0C09FB99}"/>
          </ac:spMkLst>
        </pc:spChg>
        <pc:spChg chg="add del mod">
          <ac:chgData name="Steiner Andreas 6206 ED" userId="e6377c33-a923-4f14-8587-531c474c7b48" providerId="ADAL" clId="{6ECD27E6-B224-41CD-B4E0-E297462320DD}" dt="2023-11-24T08:56:52.354" v="113008"/>
          <ac:spMkLst>
            <pc:docMk/>
            <pc:sldMk cId="2428257732" sldId="2147478563"/>
            <ac:spMk id="736" creationId="{48D1309A-35FF-83BA-F483-E27A61AB4C08}"/>
          </ac:spMkLst>
        </pc:spChg>
        <pc:spChg chg="add del mod">
          <ac:chgData name="Steiner Andreas 6206 ED" userId="e6377c33-a923-4f14-8587-531c474c7b48" providerId="ADAL" clId="{6ECD27E6-B224-41CD-B4E0-E297462320DD}" dt="2023-11-24T08:56:54.497" v="113163"/>
          <ac:spMkLst>
            <pc:docMk/>
            <pc:sldMk cId="2428257732" sldId="2147478563"/>
            <ac:spMk id="737" creationId="{50A807BE-7EA4-71CC-28C3-3C9F52D32B82}"/>
          </ac:spMkLst>
        </pc:spChg>
        <pc:spChg chg="add del mod">
          <ac:chgData name="Steiner Andreas 6206 ED" userId="e6377c33-a923-4f14-8587-531c474c7b48" providerId="ADAL" clId="{6ECD27E6-B224-41CD-B4E0-E297462320DD}" dt="2023-11-24T08:56:56.432" v="113318"/>
          <ac:spMkLst>
            <pc:docMk/>
            <pc:sldMk cId="2428257732" sldId="2147478563"/>
            <ac:spMk id="738" creationId="{AF904FD1-83B0-85A4-1C35-A85403BDD82E}"/>
          </ac:spMkLst>
        </pc:spChg>
        <pc:spChg chg="add del mod">
          <ac:chgData name="Steiner Andreas 6206 ED" userId="e6377c33-a923-4f14-8587-531c474c7b48" providerId="ADAL" clId="{6ECD27E6-B224-41CD-B4E0-E297462320DD}" dt="2023-11-24T08:56:58.597" v="113473"/>
          <ac:spMkLst>
            <pc:docMk/>
            <pc:sldMk cId="2428257732" sldId="2147478563"/>
            <ac:spMk id="739" creationId="{9E42A8D3-E5CD-BC9E-A6CB-16C6BEB66959}"/>
          </ac:spMkLst>
        </pc:spChg>
        <pc:spChg chg="add del mod">
          <ac:chgData name="Steiner Andreas 6206 ED" userId="e6377c33-a923-4f14-8587-531c474c7b48" providerId="ADAL" clId="{6ECD27E6-B224-41CD-B4E0-E297462320DD}" dt="2023-11-24T08:57:00.874" v="113628"/>
          <ac:spMkLst>
            <pc:docMk/>
            <pc:sldMk cId="2428257732" sldId="2147478563"/>
            <ac:spMk id="740" creationId="{16A485D7-86E4-9CE4-4266-83BFB1CA8D55}"/>
          </ac:spMkLst>
        </pc:spChg>
        <pc:spChg chg="add del mod">
          <ac:chgData name="Steiner Andreas 6206 ED" userId="e6377c33-a923-4f14-8587-531c474c7b48" providerId="ADAL" clId="{6ECD27E6-B224-41CD-B4E0-E297462320DD}" dt="2023-11-24T08:57:03.291" v="113783"/>
          <ac:spMkLst>
            <pc:docMk/>
            <pc:sldMk cId="2428257732" sldId="2147478563"/>
            <ac:spMk id="741" creationId="{86AE8896-A4C1-A751-BABF-E5388598A69B}"/>
          </ac:spMkLst>
        </pc:spChg>
        <pc:spChg chg="add del mod">
          <ac:chgData name="Steiner Andreas 6206 ED" userId="e6377c33-a923-4f14-8587-531c474c7b48" providerId="ADAL" clId="{6ECD27E6-B224-41CD-B4E0-E297462320DD}" dt="2023-11-24T09:02:21.924" v="113938"/>
          <ac:spMkLst>
            <pc:docMk/>
            <pc:sldMk cId="2428257732" sldId="2147478563"/>
            <ac:spMk id="742" creationId="{B912F70B-9842-84F3-FFA5-AA8E82243790}"/>
          </ac:spMkLst>
        </pc:spChg>
        <pc:spChg chg="add del mod">
          <ac:chgData name="Steiner Andreas 6206 ED" userId="e6377c33-a923-4f14-8587-531c474c7b48" providerId="ADAL" clId="{6ECD27E6-B224-41CD-B4E0-E297462320DD}" dt="2023-11-24T09:02:27.734" v="114093"/>
          <ac:spMkLst>
            <pc:docMk/>
            <pc:sldMk cId="2428257732" sldId="2147478563"/>
            <ac:spMk id="743" creationId="{7944125A-FBA4-A2DB-FF25-F86225CBDC1D}"/>
          </ac:spMkLst>
        </pc:spChg>
        <pc:spChg chg="add del mod">
          <ac:chgData name="Steiner Andreas 6206 ED" userId="e6377c33-a923-4f14-8587-531c474c7b48" providerId="ADAL" clId="{6ECD27E6-B224-41CD-B4E0-E297462320DD}" dt="2023-11-24T09:02:30.373" v="114248"/>
          <ac:spMkLst>
            <pc:docMk/>
            <pc:sldMk cId="2428257732" sldId="2147478563"/>
            <ac:spMk id="744" creationId="{1BF0961A-A735-0A9C-D61A-54D7D8E1CC42}"/>
          </ac:spMkLst>
        </pc:spChg>
        <pc:spChg chg="add del mod">
          <ac:chgData name="Steiner Andreas 6206 ED" userId="e6377c33-a923-4f14-8587-531c474c7b48" providerId="ADAL" clId="{6ECD27E6-B224-41CD-B4E0-E297462320DD}" dt="2023-11-24T09:02:33.693" v="114403"/>
          <ac:spMkLst>
            <pc:docMk/>
            <pc:sldMk cId="2428257732" sldId="2147478563"/>
            <ac:spMk id="745" creationId="{A426B87A-9D3A-A996-E2ED-4D3A8F5F9202}"/>
          </ac:spMkLst>
        </pc:spChg>
        <pc:spChg chg="add del mod">
          <ac:chgData name="Steiner Andreas 6206 ED" userId="e6377c33-a923-4f14-8587-531c474c7b48" providerId="ADAL" clId="{6ECD27E6-B224-41CD-B4E0-E297462320DD}" dt="2023-11-24T09:02:37.063" v="114558"/>
          <ac:spMkLst>
            <pc:docMk/>
            <pc:sldMk cId="2428257732" sldId="2147478563"/>
            <ac:spMk id="746" creationId="{6E7C52A1-FD68-6996-8D15-93BAE12B3974}"/>
          </ac:spMkLst>
        </pc:spChg>
        <pc:spChg chg="add del mod">
          <ac:chgData name="Steiner Andreas 6206 ED" userId="e6377c33-a923-4f14-8587-531c474c7b48" providerId="ADAL" clId="{6ECD27E6-B224-41CD-B4E0-E297462320DD}" dt="2023-11-24T11:31:22.880" v="114713"/>
          <ac:spMkLst>
            <pc:docMk/>
            <pc:sldMk cId="2428257732" sldId="2147478563"/>
            <ac:spMk id="747" creationId="{177D9EF1-DE7B-A6E1-2F84-2BA82DD191D9}"/>
          </ac:spMkLst>
        </pc:spChg>
        <pc:spChg chg="add del mod">
          <ac:chgData name="Steiner Andreas 6206 ED" userId="e6377c33-a923-4f14-8587-531c474c7b48" providerId="ADAL" clId="{6ECD27E6-B224-41CD-B4E0-E297462320DD}" dt="2023-11-24T11:33:30.162" v="114868"/>
          <ac:spMkLst>
            <pc:docMk/>
            <pc:sldMk cId="2428257732" sldId="2147478563"/>
            <ac:spMk id="748" creationId="{18C06651-8ED5-32C9-FDF3-3B06E6ED971B}"/>
          </ac:spMkLst>
        </pc:spChg>
        <pc:spChg chg="add del mod">
          <ac:chgData name="Steiner Andreas 6206 ED" userId="e6377c33-a923-4f14-8587-531c474c7b48" providerId="ADAL" clId="{6ECD27E6-B224-41CD-B4E0-E297462320DD}" dt="2023-11-24T11:33:36.626" v="115023"/>
          <ac:spMkLst>
            <pc:docMk/>
            <pc:sldMk cId="2428257732" sldId="2147478563"/>
            <ac:spMk id="749" creationId="{69F5EC10-E5FF-0A87-9E6A-32A03995731F}"/>
          </ac:spMkLst>
        </pc:spChg>
        <pc:spChg chg="add del mod">
          <ac:chgData name="Steiner Andreas 6206 ED" userId="e6377c33-a923-4f14-8587-531c474c7b48" providerId="ADAL" clId="{6ECD27E6-B224-41CD-B4E0-E297462320DD}" dt="2023-11-24T11:33:39.783" v="115178"/>
          <ac:spMkLst>
            <pc:docMk/>
            <pc:sldMk cId="2428257732" sldId="2147478563"/>
            <ac:spMk id="750" creationId="{2C0DFB99-3FE7-C719-D0B9-3BC93571BE6B}"/>
          </ac:spMkLst>
        </pc:spChg>
        <pc:spChg chg="add del mod">
          <ac:chgData name="Steiner Andreas 6206 ED" userId="e6377c33-a923-4f14-8587-531c474c7b48" providerId="ADAL" clId="{6ECD27E6-B224-41CD-B4E0-E297462320DD}" dt="2023-11-24T11:33:43.475" v="115333"/>
          <ac:spMkLst>
            <pc:docMk/>
            <pc:sldMk cId="2428257732" sldId="2147478563"/>
            <ac:spMk id="751" creationId="{4B7D6C1C-5A22-8E9B-53BC-22B04757C544}"/>
          </ac:spMkLst>
        </pc:spChg>
        <pc:spChg chg="add del mod">
          <ac:chgData name="Steiner Andreas 6206 ED" userId="e6377c33-a923-4f14-8587-531c474c7b48" providerId="ADAL" clId="{6ECD27E6-B224-41CD-B4E0-E297462320DD}" dt="2023-11-24T11:33:46.559" v="115488"/>
          <ac:spMkLst>
            <pc:docMk/>
            <pc:sldMk cId="2428257732" sldId="2147478563"/>
            <ac:spMk id="752" creationId="{59621AB6-2C2B-C82C-8001-B68B8E0E7F3D}"/>
          </ac:spMkLst>
        </pc:spChg>
        <pc:spChg chg="add del mod">
          <ac:chgData name="Steiner Andreas 6206 ED" userId="e6377c33-a923-4f14-8587-531c474c7b48" providerId="ADAL" clId="{6ECD27E6-B224-41CD-B4E0-E297462320DD}" dt="2023-11-24T11:33:49.593" v="115643"/>
          <ac:spMkLst>
            <pc:docMk/>
            <pc:sldMk cId="2428257732" sldId="2147478563"/>
            <ac:spMk id="753" creationId="{9E576983-8272-CEF1-272B-48A54883BC7B}"/>
          </ac:spMkLst>
        </pc:spChg>
        <pc:spChg chg="add del mod">
          <ac:chgData name="Steiner Andreas 6206 ED" userId="e6377c33-a923-4f14-8587-531c474c7b48" providerId="ADAL" clId="{6ECD27E6-B224-41CD-B4E0-E297462320DD}" dt="2023-11-24T11:33:52.262" v="115798"/>
          <ac:spMkLst>
            <pc:docMk/>
            <pc:sldMk cId="2428257732" sldId="2147478563"/>
            <ac:spMk id="754" creationId="{A5073E14-F784-7114-DC5D-71D16960F7EF}"/>
          </ac:spMkLst>
        </pc:spChg>
        <pc:spChg chg="add del mod">
          <ac:chgData name="Steiner Andreas 6206 ED" userId="e6377c33-a923-4f14-8587-531c474c7b48" providerId="ADAL" clId="{6ECD27E6-B224-41CD-B4E0-E297462320DD}" dt="2023-11-24T11:33:55.124" v="115953"/>
          <ac:spMkLst>
            <pc:docMk/>
            <pc:sldMk cId="2428257732" sldId="2147478563"/>
            <ac:spMk id="755" creationId="{5ECB7D3F-168B-B721-3151-AD8945BBD06C}"/>
          </ac:spMkLst>
        </pc:spChg>
        <pc:spChg chg="add del mod">
          <ac:chgData name="Steiner Andreas 6206 ED" userId="e6377c33-a923-4f14-8587-531c474c7b48" providerId="ADAL" clId="{6ECD27E6-B224-41CD-B4E0-E297462320DD}" dt="2023-11-24T11:33:57.550" v="116108"/>
          <ac:spMkLst>
            <pc:docMk/>
            <pc:sldMk cId="2428257732" sldId="2147478563"/>
            <ac:spMk id="756" creationId="{B7869DDB-9CBB-D605-713A-F738A4857DE5}"/>
          </ac:spMkLst>
        </pc:spChg>
        <pc:spChg chg="add del mod">
          <ac:chgData name="Steiner Andreas 6206 ED" userId="e6377c33-a923-4f14-8587-531c474c7b48" providerId="ADAL" clId="{6ECD27E6-B224-41CD-B4E0-E297462320DD}" dt="2023-11-24T11:33:59.887" v="116263"/>
          <ac:spMkLst>
            <pc:docMk/>
            <pc:sldMk cId="2428257732" sldId="2147478563"/>
            <ac:spMk id="757" creationId="{B7DFAFF5-024C-9DA8-8C8C-6E989E112909}"/>
          </ac:spMkLst>
        </pc:spChg>
        <pc:spChg chg="add del mod">
          <ac:chgData name="Steiner Andreas 6206 ED" userId="e6377c33-a923-4f14-8587-531c474c7b48" providerId="ADAL" clId="{6ECD27E6-B224-41CD-B4E0-E297462320DD}" dt="2023-11-24T11:34:02.264" v="116418"/>
          <ac:spMkLst>
            <pc:docMk/>
            <pc:sldMk cId="2428257732" sldId="2147478563"/>
            <ac:spMk id="758" creationId="{18BD7EA5-A132-76C2-F6E5-2823C6053BA7}"/>
          </ac:spMkLst>
        </pc:spChg>
        <pc:spChg chg="add del mod">
          <ac:chgData name="Steiner Andreas 6206 ED" userId="e6377c33-a923-4f14-8587-531c474c7b48" providerId="ADAL" clId="{6ECD27E6-B224-41CD-B4E0-E297462320DD}" dt="2023-11-24T11:34:04.533" v="116573"/>
          <ac:spMkLst>
            <pc:docMk/>
            <pc:sldMk cId="2428257732" sldId="2147478563"/>
            <ac:spMk id="759" creationId="{8A26CDF1-5AD3-AC71-740B-8E7B2E92A7B3}"/>
          </ac:spMkLst>
        </pc:spChg>
        <pc:spChg chg="add del mod">
          <ac:chgData name="Steiner Andreas 6206 ED" userId="e6377c33-a923-4f14-8587-531c474c7b48" providerId="ADAL" clId="{6ECD27E6-B224-41CD-B4E0-E297462320DD}" dt="2023-11-24T11:34:07.092" v="116728"/>
          <ac:spMkLst>
            <pc:docMk/>
            <pc:sldMk cId="2428257732" sldId="2147478563"/>
            <ac:spMk id="760" creationId="{1C63B09B-B400-339F-6760-FB3022C23BE9}"/>
          </ac:spMkLst>
        </pc:spChg>
        <pc:spChg chg="add del mod">
          <ac:chgData name="Steiner Andreas 6206 ED" userId="e6377c33-a923-4f14-8587-531c474c7b48" providerId="ADAL" clId="{6ECD27E6-B224-41CD-B4E0-E297462320DD}" dt="2023-11-24T11:34:09.707" v="116883"/>
          <ac:spMkLst>
            <pc:docMk/>
            <pc:sldMk cId="2428257732" sldId="2147478563"/>
            <ac:spMk id="761" creationId="{C8C19FE8-BFC2-0CE0-DC4B-14D2558DAE30}"/>
          </ac:spMkLst>
        </pc:spChg>
        <pc:spChg chg="add del mod">
          <ac:chgData name="Steiner Andreas 6206 ED" userId="e6377c33-a923-4f14-8587-531c474c7b48" providerId="ADAL" clId="{6ECD27E6-B224-41CD-B4E0-E297462320DD}" dt="2023-11-24T11:34:11.535" v="117038"/>
          <ac:spMkLst>
            <pc:docMk/>
            <pc:sldMk cId="2428257732" sldId="2147478563"/>
            <ac:spMk id="762" creationId="{EB467C62-B252-5AF1-0641-5E6836468E33}"/>
          </ac:spMkLst>
        </pc:spChg>
        <pc:spChg chg="add del mod">
          <ac:chgData name="Steiner Andreas 6206 ED" userId="e6377c33-a923-4f14-8587-531c474c7b48" providerId="ADAL" clId="{6ECD27E6-B224-41CD-B4E0-E297462320DD}" dt="2023-11-24T11:34:13.308" v="117193"/>
          <ac:spMkLst>
            <pc:docMk/>
            <pc:sldMk cId="2428257732" sldId="2147478563"/>
            <ac:spMk id="763" creationId="{A468CF0B-112A-501E-3226-0EA8D21C8A35}"/>
          </ac:spMkLst>
        </pc:spChg>
        <pc:spChg chg="add del mod">
          <ac:chgData name="Steiner Andreas 6206 ED" userId="e6377c33-a923-4f14-8587-531c474c7b48" providerId="ADAL" clId="{6ECD27E6-B224-41CD-B4E0-E297462320DD}" dt="2023-11-24T11:34:15.105" v="117348"/>
          <ac:spMkLst>
            <pc:docMk/>
            <pc:sldMk cId="2428257732" sldId="2147478563"/>
            <ac:spMk id="764" creationId="{3212F04D-10E9-A935-89EF-030D0F2F0340}"/>
          </ac:spMkLst>
        </pc:spChg>
        <pc:spChg chg="add del mod">
          <ac:chgData name="Steiner Andreas 6206 ED" userId="e6377c33-a923-4f14-8587-531c474c7b48" providerId="ADAL" clId="{6ECD27E6-B224-41CD-B4E0-E297462320DD}" dt="2023-11-24T11:34:16.881" v="117503"/>
          <ac:spMkLst>
            <pc:docMk/>
            <pc:sldMk cId="2428257732" sldId="2147478563"/>
            <ac:spMk id="765" creationId="{1085EB5E-48E5-BC5B-DE65-AEEA68E43074}"/>
          </ac:spMkLst>
        </pc:spChg>
        <pc:spChg chg="add del mod">
          <ac:chgData name="Steiner Andreas 6206 ED" userId="e6377c33-a923-4f14-8587-531c474c7b48" providerId="ADAL" clId="{6ECD27E6-B224-41CD-B4E0-E297462320DD}" dt="2023-11-24T11:34:18.707" v="117658"/>
          <ac:spMkLst>
            <pc:docMk/>
            <pc:sldMk cId="2428257732" sldId="2147478563"/>
            <ac:spMk id="766" creationId="{2D5AFAD6-3CCB-5EE6-CFD2-FC3BCBCD13D0}"/>
          </ac:spMkLst>
        </pc:spChg>
        <pc:spChg chg="add del mod">
          <ac:chgData name="Steiner Andreas 6206 ED" userId="e6377c33-a923-4f14-8587-531c474c7b48" providerId="ADAL" clId="{6ECD27E6-B224-41CD-B4E0-E297462320DD}" dt="2023-11-24T11:34:20.860" v="117813"/>
          <ac:spMkLst>
            <pc:docMk/>
            <pc:sldMk cId="2428257732" sldId="2147478563"/>
            <ac:spMk id="767" creationId="{C6D2A764-7665-A1F0-113F-EE04C548CCB8}"/>
          </ac:spMkLst>
        </pc:spChg>
        <pc:spChg chg="add del mod">
          <ac:chgData name="Steiner Andreas 6206 ED" userId="e6377c33-a923-4f14-8587-531c474c7b48" providerId="ADAL" clId="{6ECD27E6-B224-41CD-B4E0-E297462320DD}" dt="2023-11-24T11:34:22.823" v="117968"/>
          <ac:spMkLst>
            <pc:docMk/>
            <pc:sldMk cId="2428257732" sldId="2147478563"/>
            <ac:spMk id="768" creationId="{B4298BD4-ED3C-089E-C2FF-17670886A581}"/>
          </ac:spMkLst>
        </pc:spChg>
        <pc:spChg chg="add del mod">
          <ac:chgData name="Steiner Andreas 6206 ED" userId="e6377c33-a923-4f14-8587-531c474c7b48" providerId="ADAL" clId="{6ECD27E6-B224-41CD-B4E0-E297462320DD}" dt="2023-11-24T11:34:24.841" v="118123"/>
          <ac:spMkLst>
            <pc:docMk/>
            <pc:sldMk cId="2428257732" sldId="2147478563"/>
            <ac:spMk id="769" creationId="{05DF0CD6-C54F-FB5A-BD45-82B938D2B2DF}"/>
          </ac:spMkLst>
        </pc:spChg>
        <pc:spChg chg="add del mod">
          <ac:chgData name="Steiner Andreas 6206 ED" userId="e6377c33-a923-4f14-8587-531c474c7b48" providerId="ADAL" clId="{6ECD27E6-B224-41CD-B4E0-E297462320DD}" dt="2023-11-24T11:34:27.480" v="118278"/>
          <ac:spMkLst>
            <pc:docMk/>
            <pc:sldMk cId="2428257732" sldId="2147478563"/>
            <ac:spMk id="770" creationId="{94A9F4C4-0A3F-702B-D879-DE9A8CBA87E7}"/>
          </ac:spMkLst>
        </pc:spChg>
        <pc:spChg chg="add del mod">
          <ac:chgData name="Steiner Andreas 6206 ED" userId="e6377c33-a923-4f14-8587-531c474c7b48" providerId="ADAL" clId="{6ECD27E6-B224-41CD-B4E0-E297462320DD}" dt="2023-11-24T11:34:29.471" v="118433"/>
          <ac:spMkLst>
            <pc:docMk/>
            <pc:sldMk cId="2428257732" sldId="2147478563"/>
            <ac:spMk id="771" creationId="{1B088236-C648-2D52-9313-C49C10F162C0}"/>
          </ac:spMkLst>
        </pc:spChg>
        <pc:spChg chg="add del mod">
          <ac:chgData name="Steiner Andreas 6206 ED" userId="e6377c33-a923-4f14-8587-531c474c7b48" providerId="ADAL" clId="{6ECD27E6-B224-41CD-B4E0-E297462320DD}" dt="2023-11-24T11:34:31.762" v="118588"/>
          <ac:spMkLst>
            <pc:docMk/>
            <pc:sldMk cId="2428257732" sldId="2147478563"/>
            <ac:spMk id="772" creationId="{EE0A5B95-7336-8B17-F78C-20CDBE9C474D}"/>
          </ac:spMkLst>
        </pc:spChg>
        <pc:spChg chg="add del mod">
          <ac:chgData name="Steiner Andreas 6206 ED" userId="e6377c33-a923-4f14-8587-531c474c7b48" providerId="ADAL" clId="{6ECD27E6-B224-41CD-B4E0-E297462320DD}" dt="2023-11-24T11:34:33.706" v="118743"/>
          <ac:spMkLst>
            <pc:docMk/>
            <pc:sldMk cId="2428257732" sldId="2147478563"/>
            <ac:spMk id="773" creationId="{713C3DE4-463A-562C-79F6-9DF046DA06CA}"/>
          </ac:spMkLst>
        </pc:spChg>
        <pc:spChg chg="add del mod">
          <ac:chgData name="Steiner Andreas 6206 ED" userId="e6377c33-a923-4f14-8587-531c474c7b48" providerId="ADAL" clId="{6ECD27E6-B224-41CD-B4E0-E297462320DD}" dt="2023-11-24T11:34:35.723" v="118898"/>
          <ac:spMkLst>
            <pc:docMk/>
            <pc:sldMk cId="2428257732" sldId="2147478563"/>
            <ac:spMk id="774" creationId="{3170D7A8-9231-C9AC-2F4A-FFB3C012D697}"/>
          </ac:spMkLst>
        </pc:spChg>
        <pc:spChg chg="add del mod">
          <ac:chgData name="Steiner Andreas 6206 ED" userId="e6377c33-a923-4f14-8587-531c474c7b48" providerId="ADAL" clId="{6ECD27E6-B224-41CD-B4E0-E297462320DD}" dt="2023-11-24T11:34:37.799" v="119053"/>
          <ac:spMkLst>
            <pc:docMk/>
            <pc:sldMk cId="2428257732" sldId="2147478563"/>
            <ac:spMk id="775" creationId="{56D160F0-D740-6886-B2EE-CC8B4D4DC2AA}"/>
          </ac:spMkLst>
        </pc:spChg>
        <pc:spChg chg="add del mod">
          <ac:chgData name="Steiner Andreas 6206 ED" userId="e6377c33-a923-4f14-8587-531c474c7b48" providerId="ADAL" clId="{6ECD27E6-B224-41CD-B4E0-E297462320DD}" dt="2023-11-24T11:34:39.757" v="119208"/>
          <ac:spMkLst>
            <pc:docMk/>
            <pc:sldMk cId="2428257732" sldId="2147478563"/>
            <ac:spMk id="776" creationId="{6AAD20A2-D579-703C-5B24-28FB34DA1B10}"/>
          </ac:spMkLst>
        </pc:spChg>
        <pc:spChg chg="add del mod">
          <ac:chgData name="Steiner Andreas 6206 ED" userId="e6377c33-a923-4f14-8587-531c474c7b48" providerId="ADAL" clId="{6ECD27E6-B224-41CD-B4E0-E297462320DD}" dt="2023-11-24T11:34:41.962" v="119363"/>
          <ac:spMkLst>
            <pc:docMk/>
            <pc:sldMk cId="2428257732" sldId="2147478563"/>
            <ac:spMk id="777" creationId="{E25F0DB5-AA3F-F64D-68AD-184FB3B84B61}"/>
          </ac:spMkLst>
        </pc:spChg>
        <pc:spChg chg="add del mod">
          <ac:chgData name="Steiner Andreas 6206 ED" userId="e6377c33-a923-4f14-8587-531c474c7b48" providerId="ADAL" clId="{6ECD27E6-B224-41CD-B4E0-E297462320DD}" dt="2023-11-24T11:34:44.081" v="119518"/>
          <ac:spMkLst>
            <pc:docMk/>
            <pc:sldMk cId="2428257732" sldId="2147478563"/>
            <ac:spMk id="778" creationId="{6E6A4328-55B6-859B-C915-FA150E3CAB34}"/>
          </ac:spMkLst>
        </pc:spChg>
        <pc:spChg chg="add del mod">
          <ac:chgData name="Steiner Andreas 6206 ED" userId="e6377c33-a923-4f14-8587-531c474c7b48" providerId="ADAL" clId="{6ECD27E6-B224-41CD-B4E0-E297462320DD}" dt="2023-11-24T11:34:46.073" v="119673"/>
          <ac:spMkLst>
            <pc:docMk/>
            <pc:sldMk cId="2428257732" sldId="2147478563"/>
            <ac:spMk id="779" creationId="{56450190-BAA7-D476-AE3A-4FAC4B0DCE10}"/>
          </ac:spMkLst>
        </pc:spChg>
        <pc:spChg chg="add del mod">
          <ac:chgData name="Steiner Andreas 6206 ED" userId="e6377c33-a923-4f14-8587-531c474c7b48" providerId="ADAL" clId="{6ECD27E6-B224-41CD-B4E0-E297462320DD}" dt="2023-11-24T11:34:47.976" v="119828"/>
          <ac:spMkLst>
            <pc:docMk/>
            <pc:sldMk cId="2428257732" sldId="2147478563"/>
            <ac:spMk id="780" creationId="{0A9C9A13-508A-253D-65BC-561F5CF35C30}"/>
          </ac:spMkLst>
        </pc:spChg>
        <pc:spChg chg="add del mod">
          <ac:chgData name="Steiner Andreas 6206 ED" userId="e6377c33-a923-4f14-8587-531c474c7b48" providerId="ADAL" clId="{6ECD27E6-B224-41CD-B4E0-E297462320DD}" dt="2023-11-24T11:34:50.210" v="119983"/>
          <ac:spMkLst>
            <pc:docMk/>
            <pc:sldMk cId="2428257732" sldId="2147478563"/>
            <ac:spMk id="781" creationId="{6A20ABC0-84C1-8A11-0997-C2F4B6D764BD}"/>
          </ac:spMkLst>
        </pc:spChg>
        <pc:spChg chg="add del mod">
          <ac:chgData name="Steiner Andreas 6206 ED" userId="e6377c33-a923-4f14-8587-531c474c7b48" providerId="ADAL" clId="{6ECD27E6-B224-41CD-B4E0-E297462320DD}" dt="2023-11-24T11:34:52.322" v="120138"/>
          <ac:spMkLst>
            <pc:docMk/>
            <pc:sldMk cId="2428257732" sldId="2147478563"/>
            <ac:spMk id="782" creationId="{9B0583D7-AE05-5AB3-88FA-249229CC2144}"/>
          </ac:spMkLst>
        </pc:spChg>
        <pc:spChg chg="add del mod">
          <ac:chgData name="Steiner Andreas 6206 ED" userId="e6377c33-a923-4f14-8587-531c474c7b48" providerId="ADAL" clId="{6ECD27E6-B224-41CD-B4E0-E297462320DD}" dt="2023-11-24T11:34:54.237" v="120293"/>
          <ac:spMkLst>
            <pc:docMk/>
            <pc:sldMk cId="2428257732" sldId="2147478563"/>
            <ac:spMk id="783" creationId="{66D1BFAA-19F8-AD98-F3EB-5FBDAC0489DC}"/>
          </ac:spMkLst>
        </pc:spChg>
        <pc:spChg chg="add del mod">
          <ac:chgData name="Steiner Andreas 6206 ED" userId="e6377c33-a923-4f14-8587-531c474c7b48" providerId="ADAL" clId="{6ECD27E6-B224-41CD-B4E0-E297462320DD}" dt="2023-11-24T11:34:56.108" v="120448"/>
          <ac:spMkLst>
            <pc:docMk/>
            <pc:sldMk cId="2428257732" sldId="2147478563"/>
            <ac:spMk id="784" creationId="{7E9B17D9-EBDD-65F7-C897-EA3AD555A5DB}"/>
          </ac:spMkLst>
        </pc:spChg>
        <pc:spChg chg="add del mod">
          <ac:chgData name="Steiner Andreas 6206 ED" userId="e6377c33-a923-4f14-8587-531c474c7b48" providerId="ADAL" clId="{6ECD27E6-B224-41CD-B4E0-E297462320DD}" dt="2023-11-24T11:34:57.925" v="120603"/>
          <ac:spMkLst>
            <pc:docMk/>
            <pc:sldMk cId="2428257732" sldId="2147478563"/>
            <ac:spMk id="785" creationId="{A3EE7226-FFB0-080A-9AA9-A4FABCB836E7}"/>
          </ac:spMkLst>
        </pc:spChg>
        <pc:spChg chg="add del mod">
          <ac:chgData name="Steiner Andreas 6206 ED" userId="e6377c33-a923-4f14-8587-531c474c7b48" providerId="ADAL" clId="{6ECD27E6-B224-41CD-B4E0-E297462320DD}" dt="2023-11-24T11:34:59.786" v="120758"/>
          <ac:spMkLst>
            <pc:docMk/>
            <pc:sldMk cId="2428257732" sldId="2147478563"/>
            <ac:spMk id="786" creationId="{99B292B5-574A-ED22-3605-3D13D278EBEA}"/>
          </ac:spMkLst>
        </pc:spChg>
        <pc:spChg chg="add del mod">
          <ac:chgData name="Steiner Andreas 6206 ED" userId="e6377c33-a923-4f14-8587-531c474c7b48" providerId="ADAL" clId="{6ECD27E6-B224-41CD-B4E0-E297462320DD}" dt="2023-11-24T11:35:01.630" v="120913"/>
          <ac:spMkLst>
            <pc:docMk/>
            <pc:sldMk cId="2428257732" sldId="2147478563"/>
            <ac:spMk id="787" creationId="{1B8691B8-1EE7-2811-DB9B-85F9EE3A6947}"/>
          </ac:spMkLst>
        </pc:spChg>
        <pc:spChg chg="add del mod">
          <ac:chgData name="Steiner Andreas 6206 ED" userId="e6377c33-a923-4f14-8587-531c474c7b48" providerId="ADAL" clId="{6ECD27E6-B224-41CD-B4E0-E297462320DD}" dt="2023-11-24T11:35:03.497" v="121068"/>
          <ac:spMkLst>
            <pc:docMk/>
            <pc:sldMk cId="2428257732" sldId="2147478563"/>
            <ac:spMk id="788" creationId="{55A01A8C-7E0F-BAD0-628A-4D76A11CAB3E}"/>
          </ac:spMkLst>
        </pc:spChg>
        <pc:spChg chg="add del mod">
          <ac:chgData name="Steiner Andreas 6206 ED" userId="e6377c33-a923-4f14-8587-531c474c7b48" providerId="ADAL" clId="{6ECD27E6-B224-41CD-B4E0-E297462320DD}" dt="2023-11-24T11:35:05.406" v="121223"/>
          <ac:spMkLst>
            <pc:docMk/>
            <pc:sldMk cId="2428257732" sldId="2147478563"/>
            <ac:spMk id="789" creationId="{5A299438-FA04-A857-D5EF-185102C0B976}"/>
          </ac:spMkLst>
        </pc:spChg>
        <pc:spChg chg="add del mod">
          <ac:chgData name="Steiner Andreas 6206 ED" userId="e6377c33-a923-4f14-8587-531c474c7b48" providerId="ADAL" clId="{6ECD27E6-B224-41CD-B4E0-E297462320DD}" dt="2023-11-24T11:35:07.634" v="121378"/>
          <ac:spMkLst>
            <pc:docMk/>
            <pc:sldMk cId="2428257732" sldId="2147478563"/>
            <ac:spMk id="790" creationId="{8F6BEDD1-88B8-A5C0-CA9B-84326AE70E1B}"/>
          </ac:spMkLst>
        </pc:spChg>
        <pc:spChg chg="add del mod">
          <ac:chgData name="Steiner Andreas 6206 ED" userId="e6377c33-a923-4f14-8587-531c474c7b48" providerId="ADAL" clId="{6ECD27E6-B224-41CD-B4E0-E297462320DD}" dt="2023-11-24T11:35:09.545" v="121533"/>
          <ac:spMkLst>
            <pc:docMk/>
            <pc:sldMk cId="2428257732" sldId="2147478563"/>
            <ac:spMk id="791" creationId="{6684E451-1236-7F08-692D-E4DD4CCBC669}"/>
          </ac:spMkLst>
        </pc:spChg>
        <pc:spChg chg="add del mod">
          <ac:chgData name="Steiner Andreas 6206 ED" userId="e6377c33-a923-4f14-8587-531c474c7b48" providerId="ADAL" clId="{6ECD27E6-B224-41CD-B4E0-E297462320DD}" dt="2023-11-24T11:35:11.516" v="121688"/>
          <ac:spMkLst>
            <pc:docMk/>
            <pc:sldMk cId="2428257732" sldId="2147478563"/>
            <ac:spMk id="792" creationId="{76312E94-04D6-F1C0-D8C4-DD714A415DB9}"/>
          </ac:spMkLst>
        </pc:spChg>
        <pc:spChg chg="add del mod">
          <ac:chgData name="Steiner Andreas 6206 ED" userId="e6377c33-a923-4f14-8587-531c474c7b48" providerId="ADAL" clId="{6ECD27E6-B224-41CD-B4E0-E297462320DD}" dt="2023-11-24T11:35:13.226" v="121843"/>
          <ac:spMkLst>
            <pc:docMk/>
            <pc:sldMk cId="2428257732" sldId="2147478563"/>
            <ac:spMk id="793" creationId="{91243C70-1FA1-33C9-E9A6-9E7B3EE870FE}"/>
          </ac:spMkLst>
        </pc:spChg>
        <pc:spChg chg="add del mod">
          <ac:chgData name="Steiner Andreas 6206 ED" userId="e6377c33-a923-4f14-8587-531c474c7b48" providerId="ADAL" clId="{6ECD27E6-B224-41CD-B4E0-E297462320DD}" dt="2023-11-24T11:35:15.170" v="121998"/>
          <ac:spMkLst>
            <pc:docMk/>
            <pc:sldMk cId="2428257732" sldId="2147478563"/>
            <ac:spMk id="794" creationId="{BAA0A5AA-BF4C-A95C-24DA-2205BE740DF9}"/>
          </ac:spMkLst>
        </pc:spChg>
        <pc:spChg chg="add del mod">
          <ac:chgData name="Steiner Andreas 6206 ED" userId="e6377c33-a923-4f14-8587-531c474c7b48" providerId="ADAL" clId="{6ECD27E6-B224-41CD-B4E0-E297462320DD}" dt="2023-11-24T11:35:16.854" v="122153"/>
          <ac:spMkLst>
            <pc:docMk/>
            <pc:sldMk cId="2428257732" sldId="2147478563"/>
            <ac:spMk id="795" creationId="{89754447-C18B-19DA-83D6-8828B0F3E334}"/>
          </ac:spMkLst>
        </pc:spChg>
        <pc:spChg chg="add del mod">
          <ac:chgData name="Steiner Andreas 6206 ED" userId="e6377c33-a923-4f14-8587-531c474c7b48" providerId="ADAL" clId="{6ECD27E6-B224-41CD-B4E0-E297462320DD}" dt="2023-11-24T11:35:18.546" v="122308"/>
          <ac:spMkLst>
            <pc:docMk/>
            <pc:sldMk cId="2428257732" sldId="2147478563"/>
            <ac:spMk id="796" creationId="{8C06513F-1064-CA9B-30AD-46C96A558ECD}"/>
          </ac:spMkLst>
        </pc:spChg>
        <pc:spChg chg="add del mod">
          <ac:chgData name="Steiner Andreas 6206 ED" userId="e6377c33-a923-4f14-8587-531c474c7b48" providerId="ADAL" clId="{6ECD27E6-B224-41CD-B4E0-E297462320DD}" dt="2023-11-24T11:35:20.168" v="122463"/>
          <ac:spMkLst>
            <pc:docMk/>
            <pc:sldMk cId="2428257732" sldId="2147478563"/>
            <ac:spMk id="797" creationId="{6ED55755-A5AD-A3D5-007A-B974D62D2D91}"/>
          </ac:spMkLst>
        </pc:spChg>
        <pc:spChg chg="add del mod">
          <ac:chgData name="Steiner Andreas 6206 ED" userId="e6377c33-a923-4f14-8587-531c474c7b48" providerId="ADAL" clId="{6ECD27E6-B224-41CD-B4E0-E297462320DD}" dt="2023-11-24T11:35:21.810" v="122618"/>
          <ac:spMkLst>
            <pc:docMk/>
            <pc:sldMk cId="2428257732" sldId="2147478563"/>
            <ac:spMk id="798" creationId="{4CF40EEF-54D7-EE05-112E-5357201672FF}"/>
          </ac:spMkLst>
        </pc:spChg>
        <pc:spChg chg="add del mod">
          <ac:chgData name="Steiner Andreas 6206 ED" userId="e6377c33-a923-4f14-8587-531c474c7b48" providerId="ADAL" clId="{6ECD27E6-B224-41CD-B4E0-E297462320DD}" dt="2023-11-24T11:35:23.540" v="122773"/>
          <ac:spMkLst>
            <pc:docMk/>
            <pc:sldMk cId="2428257732" sldId="2147478563"/>
            <ac:spMk id="799" creationId="{15EEEF19-70BF-B809-3D17-CFD05660ECAB}"/>
          </ac:spMkLst>
        </pc:spChg>
        <pc:spChg chg="add del mod">
          <ac:chgData name="Steiner Andreas 6206 ED" userId="e6377c33-a923-4f14-8587-531c474c7b48" providerId="ADAL" clId="{6ECD27E6-B224-41CD-B4E0-E297462320DD}" dt="2023-11-24T11:35:25.651" v="122928"/>
          <ac:spMkLst>
            <pc:docMk/>
            <pc:sldMk cId="2428257732" sldId="2147478563"/>
            <ac:spMk id="800" creationId="{77ED5C6B-CB29-561D-C42A-B4C33EBC0885}"/>
          </ac:spMkLst>
        </pc:spChg>
        <pc:spChg chg="add del mod">
          <ac:chgData name="Steiner Andreas 6206 ED" userId="e6377c33-a923-4f14-8587-531c474c7b48" providerId="ADAL" clId="{6ECD27E6-B224-41CD-B4E0-E297462320DD}" dt="2023-11-24T11:35:27.649" v="123083"/>
          <ac:spMkLst>
            <pc:docMk/>
            <pc:sldMk cId="2428257732" sldId="2147478563"/>
            <ac:spMk id="801" creationId="{67AA97E6-CAA4-DBAE-6CD3-10C6994C4DDB}"/>
          </ac:spMkLst>
        </pc:spChg>
        <pc:spChg chg="add del mod">
          <ac:chgData name="Steiner Andreas 6206 ED" userId="e6377c33-a923-4f14-8587-531c474c7b48" providerId="ADAL" clId="{6ECD27E6-B224-41CD-B4E0-E297462320DD}" dt="2023-11-24T11:35:29.493" v="123238"/>
          <ac:spMkLst>
            <pc:docMk/>
            <pc:sldMk cId="2428257732" sldId="2147478563"/>
            <ac:spMk id="802" creationId="{39803F75-D19A-82E2-2E49-3B30E38A1678}"/>
          </ac:spMkLst>
        </pc:spChg>
        <pc:spChg chg="add del mod">
          <ac:chgData name="Steiner Andreas 6206 ED" userId="e6377c33-a923-4f14-8587-531c474c7b48" providerId="ADAL" clId="{6ECD27E6-B224-41CD-B4E0-E297462320DD}" dt="2023-11-24T11:35:31.197" v="123393"/>
          <ac:spMkLst>
            <pc:docMk/>
            <pc:sldMk cId="2428257732" sldId="2147478563"/>
            <ac:spMk id="803" creationId="{AB859350-C84C-7A21-BA5E-1F142BF1F9DE}"/>
          </ac:spMkLst>
        </pc:spChg>
        <pc:spChg chg="add del mod">
          <ac:chgData name="Steiner Andreas 6206 ED" userId="e6377c33-a923-4f14-8587-531c474c7b48" providerId="ADAL" clId="{6ECD27E6-B224-41CD-B4E0-E297462320DD}" dt="2023-11-24T11:35:34.192" v="123548"/>
          <ac:spMkLst>
            <pc:docMk/>
            <pc:sldMk cId="2428257732" sldId="2147478563"/>
            <ac:spMk id="804" creationId="{62784B4C-681F-F1D6-9864-7904CD5ACBDB}"/>
          </ac:spMkLst>
        </pc:spChg>
        <pc:spChg chg="add del mod">
          <ac:chgData name="Steiner Andreas 6206 ED" userId="e6377c33-a923-4f14-8587-531c474c7b48" providerId="ADAL" clId="{6ECD27E6-B224-41CD-B4E0-E297462320DD}" dt="2023-11-24T11:35:35.963" v="123703"/>
          <ac:spMkLst>
            <pc:docMk/>
            <pc:sldMk cId="2428257732" sldId="2147478563"/>
            <ac:spMk id="805" creationId="{AC7BB47A-115D-F3C9-E66B-D7D79A6CD2A2}"/>
          </ac:spMkLst>
        </pc:spChg>
        <pc:spChg chg="add del mod">
          <ac:chgData name="Steiner Andreas 6206 ED" userId="e6377c33-a923-4f14-8587-531c474c7b48" providerId="ADAL" clId="{6ECD27E6-B224-41CD-B4E0-E297462320DD}" dt="2023-11-24T11:35:37.613" v="123858"/>
          <ac:spMkLst>
            <pc:docMk/>
            <pc:sldMk cId="2428257732" sldId="2147478563"/>
            <ac:spMk id="806" creationId="{D13290E8-0642-913E-062C-AEE437EFDACB}"/>
          </ac:spMkLst>
        </pc:spChg>
        <pc:spChg chg="add del mod">
          <ac:chgData name="Steiner Andreas 6206 ED" userId="e6377c33-a923-4f14-8587-531c474c7b48" providerId="ADAL" clId="{6ECD27E6-B224-41CD-B4E0-E297462320DD}" dt="2023-11-24T11:35:39.250" v="124013"/>
          <ac:spMkLst>
            <pc:docMk/>
            <pc:sldMk cId="2428257732" sldId="2147478563"/>
            <ac:spMk id="807" creationId="{5F256363-D399-36A0-8692-728A9C354257}"/>
          </ac:spMkLst>
        </pc:spChg>
        <pc:spChg chg="add del mod">
          <ac:chgData name="Steiner Andreas 6206 ED" userId="e6377c33-a923-4f14-8587-531c474c7b48" providerId="ADAL" clId="{6ECD27E6-B224-41CD-B4E0-E297462320DD}" dt="2023-11-24T11:35:40.946" v="124168"/>
          <ac:spMkLst>
            <pc:docMk/>
            <pc:sldMk cId="2428257732" sldId="2147478563"/>
            <ac:spMk id="808" creationId="{E323AFAA-AEEB-51B8-C525-4AFA2B8E849A}"/>
          </ac:spMkLst>
        </pc:spChg>
        <pc:spChg chg="add del mod">
          <ac:chgData name="Steiner Andreas 6206 ED" userId="e6377c33-a923-4f14-8587-531c474c7b48" providerId="ADAL" clId="{6ECD27E6-B224-41CD-B4E0-E297462320DD}" dt="2023-11-24T11:35:42.543" v="124323"/>
          <ac:spMkLst>
            <pc:docMk/>
            <pc:sldMk cId="2428257732" sldId="2147478563"/>
            <ac:spMk id="809" creationId="{0250FEED-74B6-3454-0FD6-4ABA9DC318D8}"/>
          </ac:spMkLst>
        </pc:spChg>
        <pc:spChg chg="add del mod">
          <ac:chgData name="Steiner Andreas 6206 ED" userId="e6377c33-a923-4f14-8587-531c474c7b48" providerId="ADAL" clId="{6ECD27E6-B224-41CD-B4E0-E297462320DD}" dt="2023-11-24T11:35:44.256" v="124478"/>
          <ac:spMkLst>
            <pc:docMk/>
            <pc:sldMk cId="2428257732" sldId="2147478563"/>
            <ac:spMk id="810" creationId="{3E630D0B-C2CD-A87B-227B-260993DEDA8C}"/>
          </ac:spMkLst>
        </pc:spChg>
        <pc:spChg chg="add del mod">
          <ac:chgData name="Steiner Andreas 6206 ED" userId="e6377c33-a923-4f14-8587-531c474c7b48" providerId="ADAL" clId="{6ECD27E6-B224-41CD-B4E0-E297462320DD}" dt="2023-11-24T11:35:45.890" v="124633"/>
          <ac:spMkLst>
            <pc:docMk/>
            <pc:sldMk cId="2428257732" sldId="2147478563"/>
            <ac:spMk id="811" creationId="{224DB591-E603-26A6-E8BC-BDB5E241CE08}"/>
          </ac:spMkLst>
        </pc:spChg>
        <pc:spChg chg="add del mod">
          <ac:chgData name="Steiner Andreas 6206 ED" userId="e6377c33-a923-4f14-8587-531c474c7b48" providerId="ADAL" clId="{6ECD27E6-B224-41CD-B4E0-E297462320DD}" dt="2023-11-24T11:35:47.585" v="124788"/>
          <ac:spMkLst>
            <pc:docMk/>
            <pc:sldMk cId="2428257732" sldId="2147478563"/>
            <ac:spMk id="812" creationId="{0FDFBF3B-B7C1-39FE-175D-71C097A8E37D}"/>
          </ac:spMkLst>
        </pc:spChg>
        <pc:spChg chg="add del mod">
          <ac:chgData name="Steiner Andreas 6206 ED" userId="e6377c33-a923-4f14-8587-531c474c7b48" providerId="ADAL" clId="{6ECD27E6-B224-41CD-B4E0-E297462320DD}" dt="2023-11-24T11:35:49.401" v="124943"/>
          <ac:spMkLst>
            <pc:docMk/>
            <pc:sldMk cId="2428257732" sldId="2147478563"/>
            <ac:spMk id="813" creationId="{AC33A91C-6EA6-9DB8-3429-6613DC9284ED}"/>
          </ac:spMkLst>
        </pc:spChg>
        <pc:spChg chg="add del mod">
          <ac:chgData name="Steiner Andreas 6206 ED" userId="e6377c33-a923-4f14-8587-531c474c7b48" providerId="ADAL" clId="{6ECD27E6-B224-41CD-B4E0-E297462320DD}" dt="2023-11-24T11:35:51.334" v="125098"/>
          <ac:spMkLst>
            <pc:docMk/>
            <pc:sldMk cId="2428257732" sldId="2147478563"/>
            <ac:spMk id="814" creationId="{F0602BD2-4A8D-B400-DAD6-B28EF4E09A88}"/>
          </ac:spMkLst>
        </pc:spChg>
        <pc:spChg chg="add del mod">
          <ac:chgData name="Steiner Andreas 6206 ED" userId="e6377c33-a923-4f14-8587-531c474c7b48" providerId="ADAL" clId="{6ECD27E6-B224-41CD-B4E0-E297462320DD}" dt="2023-11-24T11:35:53.012" v="125253"/>
          <ac:spMkLst>
            <pc:docMk/>
            <pc:sldMk cId="2428257732" sldId="2147478563"/>
            <ac:spMk id="815" creationId="{5817C60B-9E4E-4C34-1FD6-E91C3B0C8034}"/>
          </ac:spMkLst>
        </pc:spChg>
        <pc:spChg chg="add del mod">
          <ac:chgData name="Steiner Andreas 6206 ED" userId="e6377c33-a923-4f14-8587-531c474c7b48" providerId="ADAL" clId="{6ECD27E6-B224-41CD-B4E0-E297462320DD}" dt="2023-11-24T11:35:55.052" v="125408"/>
          <ac:spMkLst>
            <pc:docMk/>
            <pc:sldMk cId="2428257732" sldId="2147478563"/>
            <ac:spMk id="816" creationId="{792E2D5D-CC4E-1C3D-22DE-C5DE39312F17}"/>
          </ac:spMkLst>
        </pc:spChg>
        <pc:spChg chg="add del mod">
          <ac:chgData name="Steiner Andreas 6206 ED" userId="e6377c33-a923-4f14-8587-531c474c7b48" providerId="ADAL" clId="{6ECD27E6-B224-41CD-B4E0-E297462320DD}" dt="2023-11-24T11:35:57.280" v="125563"/>
          <ac:spMkLst>
            <pc:docMk/>
            <pc:sldMk cId="2428257732" sldId="2147478563"/>
            <ac:spMk id="817" creationId="{11765DA9-31C9-BFA9-F023-4ADE0E087D7B}"/>
          </ac:spMkLst>
        </pc:spChg>
        <pc:spChg chg="add del mod">
          <ac:chgData name="Steiner Andreas 6206 ED" userId="e6377c33-a923-4f14-8587-531c474c7b48" providerId="ADAL" clId="{6ECD27E6-B224-41CD-B4E0-E297462320DD}" dt="2023-11-24T11:35:58.990" v="125718"/>
          <ac:spMkLst>
            <pc:docMk/>
            <pc:sldMk cId="2428257732" sldId="2147478563"/>
            <ac:spMk id="818" creationId="{9243B950-E7CF-7018-C610-0A530A5DF4CC}"/>
          </ac:spMkLst>
        </pc:spChg>
        <pc:spChg chg="add del mod">
          <ac:chgData name="Steiner Andreas 6206 ED" userId="e6377c33-a923-4f14-8587-531c474c7b48" providerId="ADAL" clId="{6ECD27E6-B224-41CD-B4E0-E297462320DD}" dt="2023-11-24T11:36:00.743" v="125873"/>
          <ac:spMkLst>
            <pc:docMk/>
            <pc:sldMk cId="2428257732" sldId="2147478563"/>
            <ac:spMk id="819" creationId="{1E545C9A-2EF6-844A-4018-E8E2F440A9A0}"/>
          </ac:spMkLst>
        </pc:spChg>
        <pc:spChg chg="add del mod">
          <ac:chgData name="Steiner Andreas 6206 ED" userId="e6377c33-a923-4f14-8587-531c474c7b48" providerId="ADAL" clId="{6ECD27E6-B224-41CD-B4E0-E297462320DD}" dt="2023-11-24T11:36:02.466" v="126028"/>
          <ac:spMkLst>
            <pc:docMk/>
            <pc:sldMk cId="2428257732" sldId="2147478563"/>
            <ac:spMk id="820" creationId="{76E002D4-0854-5AE4-96DD-6BD4661F2AC1}"/>
          </ac:spMkLst>
        </pc:spChg>
        <pc:spChg chg="add del mod">
          <ac:chgData name="Steiner Andreas 6206 ED" userId="e6377c33-a923-4f14-8587-531c474c7b48" providerId="ADAL" clId="{6ECD27E6-B224-41CD-B4E0-E297462320DD}" dt="2023-11-24T11:36:04.233" v="126183"/>
          <ac:spMkLst>
            <pc:docMk/>
            <pc:sldMk cId="2428257732" sldId="2147478563"/>
            <ac:spMk id="821" creationId="{619B0F85-136B-1611-1ED0-0036A7D9EB83}"/>
          </ac:spMkLst>
        </pc:spChg>
        <pc:spChg chg="add del mod">
          <ac:chgData name="Steiner Andreas 6206 ED" userId="e6377c33-a923-4f14-8587-531c474c7b48" providerId="ADAL" clId="{6ECD27E6-B224-41CD-B4E0-E297462320DD}" dt="2023-11-24T11:36:05.985" v="126338"/>
          <ac:spMkLst>
            <pc:docMk/>
            <pc:sldMk cId="2428257732" sldId="2147478563"/>
            <ac:spMk id="822" creationId="{C0BA5B77-6F90-762A-796C-B8ACE8650CF7}"/>
          </ac:spMkLst>
        </pc:spChg>
        <pc:spChg chg="add del mod">
          <ac:chgData name="Steiner Andreas 6206 ED" userId="e6377c33-a923-4f14-8587-531c474c7b48" providerId="ADAL" clId="{6ECD27E6-B224-41CD-B4E0-E297462320DD}" dt="2023-11-24T11:36:07.714" v="126493"/>
          <ac:spMkLst>
            <pc:docMk/>
            <pc:sldMk cId="2428257732" sldId="2147478563"/>
            <ac:spMk id="823" creationId="{939E2716-8FE2-2ED3-B84B-066B41CA6046}"/>
          </ac:spMkLst>
        </pc:spChg>
        <pc:spChg chg="add del mod">
          <ac:chgData name="Steiner Andreas 6206 ED" userId="e6377c33-a923-4f14-8587-531c474c7b48" providerId="ADAL" clId="{6ECD27E6-B224-41CD-B4E0-E297462320DD}" dt="2023-11-24T11:36:09.526" v="126648"/>
          <ac:spMkLst>
            <pc:docMk/>
            <pc:sldMk cId="2428257732" sldId="2147478563"/>
            <ac:spMk id="824" creationId="{31802E4D-651D-E523-4962-EBCB28023162}"/>
          </ac:spMkLst>
        </pc:spChg>
        <pc:spChg chg="add del mod">
          <ac:chgData name="Steiner Andreas 6206 ED" userId="e6377c33-a923-4f14-8587-531c474c7b48" providerId="ADAL" clId="{6ECD27E6-B224-41CD-B4E0-E297462320DD}" dt="2023-11-24T11:36:11.425" v="126803"/>
          <ac:spMkLst>
            <pc:docMk/>
            <pc:sldMk cId="2428257732" sldId="2147478563"/>
            <ac:spMk id="825" creationId="{E42DDCCA-FB16-B3CD-8B2B-5BE1447DCB08}"/>
          </ac:spMkLst>
        </pc:spChg>
        <pc:spChg chg="add del mod">
          <ac:chgData name="Steiner Andreas 6206 ED" userId="e6377c33-a923-4f14-8587-531c474c7b48" providerId="ADAL" clId="{6ECD27E6-B224-41CD-B4E0-E297462320DD}" dt="2023-11-24T11:36:13.253" v="126958"/>
          <ac:spMkLst>
            <pc:docMk/>
            <pc:sldMk cId="2428257732" sldId="2147478563"/>
            <ac:spMk id="826" creationId="{BF3CF0D8-8837-3147-BA15-EA56F6F5E65B}"/>
          </ac:spMkLst>
        </pc:spChg>
        <pc:spChg chg="add del mod">
          <ac:chgData name="Steiner Andreas 6206 ED" userId="e6377c33-a923-4f14-8587-531c474c7b48" providerId="ADAL" clId="{6ECD27E6-B224-41CD-B4E0-E297462320DD}" dt="2023-11-24T11:36:15.139" v="127113"/>
          <ac:spMkLst>
            <pc:docMk/>
            <pc:sldMk cId="2428257732" sldId="2147478563"/>
            <ac:spMk id="827" creationId="{B46F39DE-CBBA-141C-2A8E-CDE8497B9476}"/>
          </ac:spMkLst>
        </pc:spChg>
        <pc:spChg chg="add del mod">
          <ac:chgData name="Steiner Andreas 6206 ED" userId="e6377c33-a923-4f14-8587-531c474c7b48" providerId="ADAL" clId="{6ECD27E6-B224-41CD-B4E0-E297462320DD}" dt="2023-11-24T11:36:17.838" v="127268"/>
          <ac:spMkLst>
            <pc:docMk/>
            <pc:sldMk cId="2428257732" sldId="2147478563"/>
            <ac:spMk id="828" creationId="{95EE83B3-1F0B-7E81-F031-DDB47D4AF992}"/>
          </ac:spMkLst>
        </pc:spChg>
        <pc:spChg chg="add del mod">
          <ac:chgData name="Steiner Andreas 6206 ED" userId="e6377c33-a923-4f14-8587-531c474c7b48" providerId="ADAL" clId="{6ECD27E6-B224-41CD-B4E0-E297462320DD}" dt="2023-11-24T11:36:20.367" v="127423"/>
          <ac:spMkLst>
            <pc:docMk/>
            <pc:sldMk cId="2428257732" sldId="2147478563"/>
            <ac:spMk id="829" creationId="{4E2E0B85-22FC-91E5-89D0-544BBCFA9338}"/>
          </ac:spMkLst>
        </pc:spChg>
        <pc:spChg chg="add del mod">
          <ac:chgData name="Steiner Andreas 6206 ED" userId="e6377c33-a923-4f14-8587-531c474c7b48" providerId="ADAL" clId="{6ECD27E6-B224-41CD-B4E0-E297462320DD}" dt="2023-11-24T11:36:22.695" v="127578"/>
          <ac:spMkLst>
            <pc:docMk/>
            <pc:sldMk cId="2428257732" sldId="2147478563"/>
            <ac:spMk id="830" creationId="{CB3DF67A-B95F-CDD3-C18F-69FB87A8BF53}"/>
          </ac:spMkLst>
        </pc:spChg>
        <pc:spChg chg="add del mod">
          <ac:chgData name="Steiner Andreas 6206 ED" userId="e6377c33-a923-4f14-8587-531c474c7b48" providerId="ADAL" clId="{6ECD27E6-B224-41CD-B4E0-E297462320DD}" dt="2023-11-24T11:36:25.960" v="127733"/>
          <ac:spMkLst>
            <pc:docMk/>
            <pc:sldMk cId="2428257732" sldId="2147478563"/>
            <ac:spMk id="831" creationId="{C0D54BD9-E55E-934D-D904-6A5F397F67A5}"/>
          </ac:spMkLst>
        </pc:spChg>
        <pc:spChg chg="add del mod">
          <ac:chgData name="Steiner Andreas 6206 ED" userId="e6377c33-a923-4f14-8587-531c474c7b48" providerId="ADAL" clId="{6ECD27E6-B224-41CD-B4E0-E297462320DD}" dt="2023-11-24T11:36:28.633" v="127888"/>
          <ac:spMkLst>
            <pc:docMk/>
            <pc:sldMk cId="2428257732" sldId="2147478563"/>
            <ac:spMk id="832" creationId="{409D0055-6D23-76BC-2944-CD12C4BB1D78}"/>
          </ac:spMkLst>
        </pc:spChg>
        <pc:spChg chg="add del mod">
          <ac:chgData name="Steiner Andreas 6206 ED" userId="e6377c33-a923-4f14-8587-531c474c7b48" providerId="ADAL" clId="{6ECD27E6-B224-41CD-B4E0-E297462320DD}" dt="2023-11-24T11:36:31.322" v="128043"/>
          <ac:spMkLst>
            <pc:docMk/>
            <pc:sldMk cId="2428257732" sldId="2147478563"/>
            <ac:spMk id="833" creationId="{119663AC-6125-B4A2-DB0C-E092492EE8D6}"/>
          </ac:spMkLst>
        </pc:spChg>
        <pc:spChg chg="add del mod">
          <ac:chgData name="Steiner Andreas 6206 ED" userId="e6377c33-a923-4f14-8587-531c474c7b48" providerId="ADAL" clId="{6ECD27E6-B224-41CD-B4E0-E297462320DD}" dt="2023-11-24T11:36:33.552" v="128198"/>
          <ac:spMkLst>
            <pc:docMk/>
            <pc:sldMk cId="2428257732" sldId="2147478563"/>
            <ac:spMk id="834" creationId="{6CB5CDF8-08DE-BF21-ECE6-38B9CE1CE79D}"/>
          </ac:spMkLst>
        </pc:spChg>
        <pc:spChg chg="add del mod">
          <ac:chgData name="Steiner Andreas 6206 ED" userId="e6377c33-a923-4f14-8587-531c474c7b48" providerId="ADAL" clId="{6ECD27E6-B224-41CD-B4E0-E297462320DD}" dt="2023-11-24T11:36:35.594" v="128353"/>
          <ac:spMkLst>
            <pc:docMk/>
            <pc:sldMk cId="2428257732" sldId="2147478563"/>
            <ac:spMk id="835" creationId="{7D89058A-459D-067B-DD78-9CA9E9957E7B}"/>
          </ac:spMkLst>
        </pc:spChg>
        <pc:spChg chg="add del mod">
          <ac:chgData name="Steiner Andreas 6206 ED" userId="e6377c33-a923-4f14-8587-531c474c7b48" providerId="ADAL" clId="{6ECD27E6-B224-41CD-B4E0-E297462320DD}" dt="2023-11-24T11:36:37.780" v="128508"/>
          <ac:spMkLst>
            <pc:docMk/>
            <pc:sldMk cId="2428257732" sldId="2147478563"/>
            <ac:spMk id="836" creationId="{03991520-12B8-DF34-9FBC-EA5BBCC8DB9F}"/>
          </ac:spMkLst>
        </pc:spChg>
        <pc:spChg chg="add del mod">
          <ac:chgData name="Steiner Andreas 6206 ED" userId="e6377c33-a923-4f14-8587-531c474c7b48" providerId="ADAL" clId="{6ECD27E6-B224-41CD-B4E0-E297462320DD}" dt="2023-11-24T11:36:39.959" v="128663"/>
          <ac:spMkLst>
            <pc:docMk/>
            <pc:sldMk cId="2428257732" sldId="2147478563"/>
            <ac:spMk id="837" creationId="{88898825-17E2-0F36-5B5A-34D30B8DC2F0}"/>
          </ac:spMkLst>
        </pc:spChg>
        <pc:spChg chg="add del mod">
          <ac:chgData name="Steiner Andreas 6206 ED" userId="e6377c33-a923-4f14-8587-531c474c7b48" providerId="ADAL" clId="{6ECD27E6-B224-41CD-B4E0-E297462320DD}" dt="2023-11-24T11:36:42.578" v="128818"/>
          <ac:spMkLst>
            <pc:docMk/>
            <pc:sldMk cId="2428257732" sldId="2147478563"/>
            <ac:spMk id="838" creationId="{7DDB6447-85AD-1008-D23E-902544E0D0A2}"/>
          </ac:spMkLst>
        </pc:spChg>
        <pc:spChg chg="add del mod">
          <ac:chgData name="Steiner Andreas 6206 ED" userId="e6377c33-a923-4f14-8587-531c474c7b48" providerId="ADAL" clId="{6ECD27E6-B224-41CD-B4E0-E297462320DD}" dt="2023-11-24T11:36:44.812" v="128973"/>
          <ac:spMkLst>
            <pc:docMk/>
            <pc:sldMk cId="2428257732" sldId="2147478563"/>
            <ac:spMk id="839" creationId="{97CA9F8B-31B7-C678-C9AA-69DA8E07E484}"/>
          </ac:spMkLst>
        </pc:spChg>
        <pc:spChg chg="add del mod">
          <ac:chgData name="Steiner Andreas 6206 ED" userId="e6377c33-a923-4f14-8587-531c474c7b48" providerId="ADAL" clId="{6ECD27E6-B224-41CD-B4E0-E297462320DD}" dt="2023-11-24T11:36:46.744" v="129128"/>
          <ac:spMkLst>
            <pc:docMk/>
            <pc:sldMk cId="2428257732" sldId="2147478563"/>
            <ac:spMk id="840" creationId="{4F9C915D-FF9A-0947-5118-F0A69C834CDE}"/>
          </ac:spMkLst>
        </pc:spChg>
        <pc:spChg chg="add del mod">
          <ac:chgData name="Steiner Andreas 6206 ED" userId="e6377c33-a923-4f14-8587-531c474c7b48" providerId="ADAL" clId="{6ECD27E6-B224-41CD-B4E0-E297462320DD}" dt="2023-11-24T11:36:48.728" v="129283"/>
          <ac:spMkLst>
            <pc:docMk/>
            <pc:sldMk cId="2428257732" sldId="2147478563"/>
            <ac:spMk id="841" creationId="{1507D2FB-09EA-3E2B-3FD0-498203D46609}"/>
          </ac:spMkLst>
        </pc:spChg>
        <pc:spChg chg="add del mod">
          <ac:chgData name="Steiner Andreas 6206 ED" userId="e6377c33-a923-4f14-8587-531c474c7b48" providerId="ADAL" clId="{6ECD27E6-B224-41CD-B4E0-E297462320DD}" dt="2023-11-24T11:36:50.698" v="129438"/>
          <ac:spMkLst>
            <pc:docMk/>
            <pc:sldMk cId="2428257732" sldId="2147478563"/>
            <ac:spMk id="842" creationId="{54DD0C0B-143C-5A74-ED19-70C322AAD162}"/>
          </ac:spMkLst>
        </pc:spChg>
        <pc:spChg chg="add del mod">
          <ac:chgData name="Steiner Andreas 6206 ED" userId="e6377c33-a923-4f14-8587-531c474c7b48" providerId="ADAL" clId="{6ECD27E6-B224-41CD-B4E0-E297462320DD}" dt="2023-11-24T11:36:52.873" v="129593"/>
          <ac:spMkLst>
            <pc:docMk/>
            <pc:sldMk cId="2428257732" sldId="2147478563"/>
            <ac:spMk id="843" creationId="{00E42397-67F4-24D2-E1E7-16E2633C8211}"/>
          </ac:spMkLst>
        </pc:spChg>
        <pc:spChg chg="add del mod">
          <ac:chgData name="Steiner Andreas 6206 ED" userId="e6377c33-a923-4f14-8587-531c474c7b48" providerId="ADAL" clId="{6ECD27E6-B224-41CD-B4E0-E297462320DD}" dt="2023-11-24T11:36:55.765" v="129748"/>
          <ac:spMkLst>
            <pc:docMk/>
            <pc:sldMk cId="2428257732" sldId="2147478563"/>
            <ac:spMk id="844" creationId="{1A7AC59A-6365-B3A7-A4FA-712405F1DD3B}"/>
          </ac:spMkLst>
        </pc:spChg>
        <pc:spChg chg="add del mod">
          <ac:chgData name="Steiner Andreas 6206 ED" userId="e6377c33-a923-4f14-8587-531c474c7b48" providerId="ADAL" clId="{6ECD27E6-B224-41CD-B4E0-E297462320DD}" dt="2023-11-24T11:36:57.994" v="129903"/>
          <ac:spMkLst>
            <pc:docMk/>
            <pc:sldMk cId="2428257732" sldId="2147478563"/>
            <ac:spMk id="845" creationId="{71AFBE31-F088-F8AB-7214-8149B5588427}"/>
          </ac:spMkLst>
        </pc:spChg>
        <pc:spChg chg="add del mod">
          <ac:chgData name="Steiner Andreas 6206 ED" userId="e6377c33-a923-4f14-8587-531c474c7b48" providerId="ADAL" clId="{6ECD27E6-B224-41CD-B4E0-E297462320DD}" dt="2023-11-24T11:37:00.296" v="130058"/>
          <ac:spMkLst>
            <pc:docMk/>
            <pc:sldMk cId="2428257732" sldId="2147478563"/>
            <ac:spMk id="846" creationId="{A0D9F18C-886F-952D-13C7-D3081FE06493}"/>
          </ac:spMkLst>
        </pc:spChg>
        <pc:spChg chg="add del mod">
          <ac:chgData name="Steiner Andreas 6206 ED" userId="e6377c33-a923-4f14-8587-531c474c7b48" providerId="ADAL" clId="{6ECD27E6-B224-41CD-B4E0-E297462320DD}" dt="2023-11-24T11:37:02.092" v="130213"/>
          <ac:spMkLst>
            <pc:docMk/>
            <pc:sldMk cId="2428257732" sldId="2147478563"/>
            <ac:spMk id="847" creationId="{DBD810E5-632A-FF22-7E3D-450386BE64AB}"/>
          </ac:spMkLst>
        </pc:spChg>
        <pc:spChg chg="add del mod">
          <ac:chgData name="Steiner Andreas 6206 ED" userId="e6377c33-a923-4f14-8587-531c474c7b48" providerId="ADAL" clId="{6ECD27E6-B224-41CD-B4E0-E297462320DD}" dt="2023-11-24T11:37:03.834" v="130368"/>
          <ac:spMkLst>
            <pc:docMk/>
            <pc:sldMk cId="2428257732" sldId="2147478563"/>
            <ac:spMk id="848" creationId="{05F64345-85EF-7E8C-1683-490557C43B50}"/>
          </ac:spMkLst>
        </pc:spChg>
        <pc:spChg chg="add del mod">
          <ac:chgData name="Steiner Andreas 6206 ED" userId="e6377c33-a923-4f14-8587-531c474c7b48" providerId="ADAL" clId="{6ECD27E6-B224-41CD-B4E0-E297462320DD}" dt="2023-11-24T11:37:05.707" v="130523"/>
          <ac:spMkLst>
            <pc:docMk/>
            <pc:sldMk cId="2428257732" sldId="2147478563"/>
            <ac:spMk id="849" creationId="{E74A0C38-D8F3-09DE-07CB-B92860EA4C45}"/>
          </ac:spMkLst>
        </pc:spChg>
        <pc:spChg chg="add del mod">
          <ac:chgData name="Steiner Andreas 6206 ED" userId="e6377c33-a923-4f14-8587-531c474c7b48" providerId="ADAL" clId="{6ECD27E6-B224-41CD-B4E0-E297462320DD}" dt="2023-11-24T11:37:07.481" v="130678"/>
          <ac:spMkLst>
            <pc:docMk/>
            <pc:sldMk cId="2428257732" sldId="2147478563"/>
            <ac:spMk id="850" creationId="{7545ED06-19CB-389B-AF8E-5FC403AA94B3}"/>
          </ac:spMkLst>
        </pc:spChg>
        <pc:spChg chg="add del mod">
          <ac:chgData name="Steiner Andreas 6206 ED" userId="e6377c33-a923-4f14-8587-531c474c7b48" providerId="ADAL" clId="{6ECD27E6-B224-41CD-B4E0-E297462320DD}" dt="2023-11-24T11:37:09.174" v="130833"/>
          <ac:spMkLst>
            <pc:docMk/>
            <pc:sldMk cId="2428257732" sldId="2147478563"/>
            <ac:spMk id="851" creationId="{35A1BEF3-349A-C684-190F-E9C1B044F325}"/>
          </ac:spMkLst>
        </pc:spChg>
        <pc:spChg chg="add del mod">
          <ac:chgData name="Steiner Andreas 6206 ED" userId="e6377c33-a923-4f14-8587-531c474c7b48" providerId="ADAL" clId="{6ECD27E6-B224-41CD-B4E0-E297462320DD}" dt="2023-11-24T11:37:10.866" v="130988"/>
          <ac:spMkLst>
            <pc:docMk/>
            <pc:sldMk cId="2428257732" sldId="2147478563"/>
            <ac:spMk id="852" creationId="{E553068A-41E2-5804-6781-41D3687AFCA5}"/>
          </ac:spMkLst>
        </pc:spChg>
        <pc:spChg chg="add del mod">
          <ac:chgData name="Steiner Andreas 6206 ED" userId="e6377c33-a923-4f14-8587-531c474c7b48" providerId="ADAL" clId="{6ECD27E6-B224-41CD-B4E0-E297462320DD}" dt="2023-11-24T11:37:12.532" v="131143"/>
          <ac:spMkLst>
            <pc:docMk/>
            <pc:sldMk cId="2428257732" sldId="2147478563"/>
            <ac:spMk id="853" creationId="{66C50799-DFA0-84DD-7A25-B6283DB1DC19}"/>
          </ac:spMkLst>
        </pc:spChg>
        <pc:spChg chg="add del mod">
          <ac:chgData name="Steiner Andreas 6206 ED" userId="e6377c33-a923-4f14-8587-531c474c7b48" providerId="ADAL" clId="{6ECD27E6-B224-41CD-B4E0-E297462320DD}" dt="2023-11-24T11:37:14.215" v="131298"/>
          <ac:spMkLst>
            <pc:docMk/>
            <pc:sldMk cId="2428257732" sldId="2147478563"/>
            <ac:spMk id="854" creationId="{A1E382DA-2BAE-86DA-4224-52370B9412FB}"/>
          </ac:spMkLst>
        </pc:spChg>
        <pc:spChg chg="add del mod">
          <ac:chgData name="Steiner Andreas 6206 ED" userId="e6377c33-a923-4f14-8587-531c474c7b48" providerId="ADAL" clId="{6ECD27E6-B224-41CD-B4E0-E297462320DD}" dt="2023-11-24T11:37:16.329" v="131453"/>
          <ac:spMkLst>
            <pc:docMk/>
            <pc:sldMk cId="2428257732" sldId="2147478563"/>
            <ac:spMk id="855" creationId="{E6FF8098-54F1-4C6B-54C9-BEB417922039}"/>
          </ac:spMkLst>
        </pc:spChg>
        <pc:spChg chg="add del mod">
          <ac:chgData name="Steiner Andreas 6206 ED" userId="e6377c33-a923-4f14-8587-531c474c7b48" providerId="ADAL" clId="{6ECD27E6-B224-41CD-B4E0-E297462320DD}" dt="2023-11-24T11:37:18.292" v="131608"/>
          <ac:spMkLst>
            <pc:docMk/>
            <pc:sldMk cId="2428257732" sldId="2147478563"/>
            <ac:spMk id="856" creationId="{8289441C-034B-FA6F-1811-ECD1C0E5E581}"/>
          </ac:spMkLst>
        </pc:spChg>
        <pc:spChg chg="add del mod">
          <ac:chgData name="Steiner Andreas 6206 ED" userId="e6377c33-a923-4f14-8587-531c474c7b48" providerId="ADAL" clId="{6ECD27E6-B224-41CD-B4E0-E297462320DD}" dt="2023-11-24T11:37:20.160" v="131763"/>
          <ac:spMkLst>
            <pc:docMk/>
            <pc:sldMk cId="2428257732" sldId="2147478563"/>
            <ac:spMk id="857" creationId="{C60210EA-DC53-53DB-D2C6-F90F4C2FE020}"/>
          </ac:spMkLst>
        </pc:spChg>
        <pc:spChg chg="add del mod">
          <ac:chgData name="Steiner Andreas 6206 ED" userId="e6377c33-a923-4f14-8587-531c474c7b48" providerId="ADAL" clId="{6ECD27E6-B224-41CD-B4E0-E297462320DD}" dt="2023-11-24T11:37:22.070" v="131918"/>
          <ac:spMkLst>
            <pc:docMk/>
            <pc:sldMk cId="2428257732" sldId="2147478563"/>
            <ac:spMk id="858" creationId="{89C99E1C-6806-EBE8-7806-EC7B9CB1C878}"/>
          </ac:spMkLst>
        </pc:spChg>
        <pc:spChg chg="add del mod">
          <ac:chgData name="Steiner Andreas 6206 ED" userId="e6377c33-a923-4f14-8587-531c474c7b48" providerId="ADAL" clId="{6ECD27E6-B224-41CD-B4E0-E297462320DD}" dt="2023-11-24T11:37:23.810" v="132073"/>
          <ac:spMkLst>
            <pc:docMk/>
            <pc:sldMk cId="2428257732" sldId="2147478563"/>
            <ac:spMk id="859" creationId="{F7543353-DF30-3A07-BAAC-5B822DDF7E43}"/>
          </ac:spMkLst>
        </pc:spChg>
        <pc:spChg chg="add del mod">
          <ac:chgData name="Steiner Andreas 6206 ED" userId="e6377c33-a923-4f14-8587-531c474c7b48" providerId="ADAL" clId="{6ECD27E6-B224-41CD-B4E0-E297462320DD}" dt="2023-11-24T11:37:25.528" v="132228"/>
          <ac:spMkLst>
            <pc:docMk/>
            <pc:sldMk cId="2428257732" sldId="2147478563"/>
            <ac:spMk id="860" creationId="{FAF60998-BDBD-9CB2-C47A-E088B91E44EC}"/>
          </ac:spMkLst>
        </pc:spChg>
        <pc:spChg chg="add del mod">
          <ac:chgData name="Steiner Andreas 6206 ED" userId="e6377c33-a923-4f14-8587-531c474c7b48" providerId="ADAL" clId="{6ECD27E6-B224-41CD-B4E0-E297462320DD}" dt="2023-11-24T11:37:27.581" v="132383"/>
          <ac:spMkLst>
            <pc:docMk/>
            <pc:sldMk cId="2428257732" sldId="2147478563"/>
            <ac:spMk id="861" creationId="{3462C5A1-CC02-F098-41B5-3F365146D116}"/>
          </ac:spMkLst>
        </pc:spChg>
        <pc:spChg chg="add del mod">
          <ac:chgData name="Steiner Andreas 6206 ED" userId="e6377c33-a923-4f14-8587-531c474c7b48" providerId="ADAL" clId="{6ECD27E6-B224-41CD-B4E0-E297462320DD}" dt="2023-11-24T11:37:30.282" v="132538"/>
          <ac:spMkLst>
            <pc:docMk/>
            <pc:sldMk cId="2428257732" sldId="2147478563"/>
            <ac:spMk id="862" creationId="{193BC995-7903-494D-7E84-9DB3024703BC}"/>
          </ac:spMkLst>
        </pc:spChg>
        <pc:spChg chg="add del mod">
          <ac:chgData name="Steiner Andreas 6206 ED" userId="e6377c33-a923-4f14-8587-531c474c7b48" providerId="ADAL" clId="{6ECD27E6-B224-41CD-B4E0-E297462320DD}" dt="2023-11-24T11:37:32.930" v="132693"/>
          <ac:spMkLst>
            <pc:docMk/>
            <pc:sldMk cId="2428257732" sldId="2147478563"/>
            <ac:spMk id="863" creationId="{E6DE2C89-FC9F-34B9-35F3-3FAF9725EA0C}"/>
          </ac:spMkLst>
        </pc:spChg>
        <pc:spChg chg="add del mod">
          <ac:chgData name="Steiner Andreas 6206 ED" userId="e6377c33-a923-4f14-8587-531c474c7b48" providerId="ADAL" clId="{6ECD27E6-B224-41CD-B4E0-E297462320DD}" dt="2023-11-24T11:37:35.843" v="132848"/>
          <ac:spMkLst>
            <pc:docMk/>
            <pc:sldMk cId="2428257732" sldId="2147478563"/>
            <ac:spMk id="864" creationId="{A4C3898B-2AA4-78F7-4075-9CF6EB39B7AE}"/>
          </ac:spMkLst>
        </pc:spChg>
        <pc:spChg chg="add del mod">
          <ac:chgData name="Steiner Andreas 6206 ED" userId="e6377c33-a923-4f14-8587-531c474c7b48" providerId="ADAL" clId="{6ECD27E6-B224-41CD-B4E0-E297462320DD}" dt="2023-11-24T11:37:38.563" v="133003"/>
          <ac:spMkLst>
            <pc:docMk/>
            <pc:sldMk cId="2428257732" sldId="2147478563"/>
            <ac:spMk id="865" creationId="{C576DDD1-B42E-3D83-78BD-9DCE193C7908}"/>
          </ac:spMkLst>
        </pc:spChg>
        <pc:spChg chg="add del mod">
          <ac:chgData name="Steiner Andreas 6206 ED" userId="e6377c33-a923-4f14-8587-531c474c7b48" providerId="ADAL" clId="{6ECD27E6-B224-41CD-B4E0-E297462320DD}" dt="2023-11-24T11:37:41.041" v="133158"/>
          <ac:spMkLst>
            <pc:docMk/>
            <pc:sldMk cId="2428257732" sldId="2147478563"/>
            <ac:spMk id="866" creationId="{88AE52FF-EF34-E6CD-C199-FD668B6EC3D8}"/>
          </ac:spMkLst>
        </pc:spChg>
        <pc:spChg chg="add del mod">
          <ac:chgData name="Steiner Andreas 6206 ED" userId="e6377c33-a923-4f14-8587-531c474c7b48" providerId="ADAL" clId="{6ECD27E6-B224-41CD-B4E0-E297462320DD}" dt="2023-11-24T11:37:44.228" v="133313"/>
          <ac:spMkLst>
            <pc:docMk/>
            <pc:sldMk cId="2428257732" sldId="2147478563"/>
            <ac:spMk id="867" creationId="{74A1026F-C620-73E4-C6D2-293B38563436}"/>
          </ac:spMkLst>
        </pc:spChg>
        <pc:spChg chg="add del mod">
          <ac:chgData name="Steiner Andreas 6206 ED" userId="e6377c33-a923-4f14-8587-531c474c7b48" providerId="ADAL" clId="{6ECD27E6-B224-41CD-B4E0-E297462320DD}" dt="2023-11-24T11:37:48.275" v="133468"/>
          <ac:spMkLst>
            <pc:docMk/>
            <pc:sldMk cId="2428257732" sldId="2147478563"/>
            <ac:spMk id="868" creationId="{3F833DDB-1D41-AA18-AE92-7E14D4221D04}"/>
          </ac:spMkLst>
        </pc:spChg>
        <pc:spChg chg="add del mod">
          <ac:chgData name="Steiner Andreas 6206 ED" userId="e6377c33-a923-4f14-8587-531c474c7b48" providerId="ADAL" clId="{6ECD27E6-B224-41CD-B4E0-E297462320DD}" dt="2023-11-24T11:37:51.547" v="133623"/>
          <ac:spMkLst>
            <pc:docMk/>
            <pc:sldMk cId="2428257732" sldId="2147478563"/>
            <ac:spMk id="869" creationId="{B5F45244-C5B7-7506-F10D-6A86D57056C3}"/>
          </ac:spMkLst>
        </pc:spChg>
        <pc:spChg chg="add del mod">
          <ac:chgData name="Steiner Andreas 6206 ED" userId="e6377c33-a923-4f14-8587-531c474c7b48" providerId="ADAL" clId="{6ECD27E6-B224-41CD-B4E0-E297462320DD}" dt="2023-11-24T11:37:54.227" v="133778"/>
          <ac:spMkLst>
            <pc:docMk/>
            <pc:sldMk cId="2428257732" sldId="2147478563"/>
            <ac:spMk id="870" creationId="{386DBFAD-7BD7-3566-9B54-6345927279FC}"/>
          </ac:spMkLst>
        </pc:spChg>
        <pc:spChg chg="add del mod">
          <ac:chgData name="Steiner Andreas 6206 ED" userId="e6377c33-a923-4f14-8587-531c474c7b48" providerId="ADAL" clId="{6ECD27E6-B224-41CD-B4E0-E297462320DD}" dt="2023-11-24T11:37:56.626" v="133933"/>
          <ac:spMkLst>
            <pc:docMk/>
            <pc:sldMk cId="2428257732" sldId="2147478563"/>
            <ac:spMk id="871" creationId="{EA873AA3-3A76-270B-A342-140B53C8232B}"/>
          </ac:spMkLst>
        </pc:spChg>
        <pc:spChg chg="add del mod">
          <ac:chgData name="Steiner Andreas 6206 ED" userId="e6377c33-a923-4f14-8587-531c474c7b48" providerId="ADAL" clId="{6ECD27E6-B224-41CD-B4E0-E297462320DD}" dt="2023-11-24T11:37:59.210" v="134088"/>
          <ac:spMkLst>
            <pc:docMk/>
            <pc:sldMk cId="2428257732" sldId="2147478563"/>
            <ac:spMk id="872" creationId="{C9CF6F4D-001D-AB36-8651-C8997825D6CD}"/>
          </ac:spMkLst>
        </pc:spChg>
        <pc:spChg chg="add del mod">
          <ac:chgData name="Steiner Andreas 6206 ED" userId="e6377c33-a923-4f14-8587-531c474c7b48" providerId="ADAL" clId="{6ECD27E6-B224-41CD-B4E0-E297462320DD}" dt="2023-11-24T11:38:01.458" v="134243"/>
          <ac:spMkLst>
            <pc:docMk/>
            <pc:sldMk cId="2428257732" sldId="2147478563"/>
            <ac:spMk id="873" creationId="{08C5EF10-7B6A-D05F-5E44-BE03DBC2CB7C}"/>
          </ac:spMkLst>
        </pc:spChg>
        <pc:spChg chg="add del mod">
          <ac:chgData name="Steiner Andreas 6206 ED" userId="e6377c33-a923-4f14-8587-531c474c7b48" providerId="ADAL" clId="{6ECD27E6-B224-41CD-B4E0-E297462320DD}" dt="2023-11-24T11:38:04.031" v="134398"/>
          <ac:spMkLst>
            <pc:docMk/>
            <pc:sldMk cId="2428257732" sldId="2147478563"/>
            <ac:spMk id="874" creationId="{C383B225-96CD-E6C2-67EF-002C7AAE2505}"/>
          </ac:spMkLst>
        </pc:spChg>
        <pc:spChg chg="add del mod">
          <ac:chgData name="Steiner Andreas 6206 ED" userId="e6377c33-a923-4f14-8587-531c474c7b48" providerId="ADAL" clId="{6ECD27E6-B224-41CD-B4E0-E297462320DD}" dt="2023-11-24T11:38:06.441" v="134553"/>
          <ac:spMkLst>
            <pc:docMk/>
            <pc:sldMk cId="2428257732" sldId="2147478563"/>
            <ac:spMk id="875" creationId="{6FDEC2A6-237A-E631-94F0-FB14DDDD92AA}"/>
          </ac:spMkLst>
        </pc:spChg>
        <pc:spChg chg="add del mod">
          <ac:chgData name="Steiner Andreas 6206 ED" userId="e6377c33-a923-4f14-8587-531c474c7b48" providerId="ADAL" clId="{6ECD27E6-B224-41CD-B4E0-E297462320DD}" dt="2023-11-24T11:38:09.388" v="134708"/>
          <ac:spMkLst>
            <pc:docMk/>
            <pc:sldMk cId="2428257732" sldId="2147478563"/>
            <ac:spMk id="876" creationId="{19697CFA-F720-5F7C-4AB2-8F7DAE3A90AD}"/>
          </ac:spMkLst>
        </pc:spChg>
        <pc:spChg chg="add del mod">
          <ac:chgData name="Steiner Andreas 6206 ED" userId="e6377c33-a923-4f14-8587-531c474c7b48" providerId="ADAL" clId="{6ECD27E6-B224-41CD-B4E0-E297462320DD}" dt="2023-11-24T11:38:12.092" v="134863"/>
          <ac:spMkLst>
            <pc:docMk/>
            <pc:sldMk cId="2428257732" sldId="2147478563"/>
            <ac:spMk id="877" creationId="{FB95A72D-8560-DAB6-AE7B-221DAB01064B}"/>
          </ac:spMkLst>
        </pc:spChg>
        <pc:spChg chg="add del mod">
          <ac:chgData name="Steiner Andreas 6206 ED" userId="e6377c33-a923-4f14-8587-531c474c7b48" providerId="ADAL" clId="{6ECD27E6-B224-41CD-B4E0-E297462320DD}" dt="2023-11-24T11:38:14.403" v="135018"/>
          <ac:spMkLst>
            <pc:docMk/>
            <pc:sldMk cId="2428257732" sldId="2147478563"/>
            <ac:spMk id="878" creationId="{255101AD-74CB-9A18-FDC4-752C7A34FE1C}"/>
          </ac:spMkLst>
        </pc:spChg>
        <pc:spChg chg="add del mod">
          <ac:chgData name="Steiner Andreas 6206 ED" userId="e6377c33-a923-4f14-8587-531c474c7b48" providerId="ADAL" clId="{6ECD27E6-B224-41CD-B4E0-E297462320DD}" dt="2023-11-24T11:38:16.819" v="135173"/>
          <ac:spMkLst>
            <pc:docMk/>
            <pc:sldMk cId="2428257732" sldId="2147478563"/>
            <ac:spMk id="879" creationId="{450FB6E6-AA9E-B27B-3694-1C1B959FF6AE}"/>
          </ac:spMkLst>
        </pc:spChg>
        <pc:spChg chg="add del mod">
          <ac:chgData name="Steiner Andreas 6206 ED" userId="e6377c33-a923-4f14-8587-531c474c7b48" providerId="ADAL" clId="{6ECD27E6-B224-41CD-B4E0-E297462320DD}" dt="2023-11-24T11:38:19.788" v="135328"/>
          <ac:spMkLst>
            <pc:docMk/>
            <pc:sldMk cId="2428257732" sldId="2147478563"/>
            <ac:spMk id="880" creationId="{84241B0B-9781-7E9A-785D-CB6B17C3882A}"/>
          </ac:spMkLst>
        </pc:spChg>
        <pc:spChg chg="add del mod">
          <ac:chgData name="Steiner Andreas 6206 ED" userId="e6377c33-a923-4f14-8587-531c474c7b48" providerId="ADAL" clId="{6ECD27E6-B224-41CD-B4E0-E297462320DD}" dt="2023-11-24T11:38:22.421" v="135483"/>
          <ac:spMkLst>
            <pc:docMk/>
            <pc:sldMk cId="2428257732" sldId="2147478563"/>
            <ac:spMk id="881" creationId="{2547C4B0-2BFE-E3BE-9C6A-07233650EC2B}"/>
          </ac:spMkLst>
        </pc:spChg>
        <pc:spChg chg="add del mod">
          <ac:chgData name="Steiner Andreas 6206 ED" userId="e6377c33-a923-4f14-8587-531c474c7b48" providerId="ADAL" clId="{6ECD27E6-B224-41CD-B4E0-E297462320DD}" dt="2023-11-24T11:38:25.066" v="135638"/>
          <ac:spMkLst>
            <pc:docMk/>
            <pc:sldMk cId="2428257732" sldId="2147478563"/>
            <ac:spMk id="882" creationId="{39A0DD5F-81F3-9901-14BF-4001E395B41F}"/>
          </ac:spMkLst>
        </pc:spChg>
        <pc:spChg chg="add del mod">
          <ac:chgData name="Steiner Andreas 6206 ED" userId="e6377c33-a923-4f14-8587-531c474c7b48" providerId="ADAL" clId="{6ECD27E6-B224-41CD-B4E0-E297462320DD}" dt="2023-11-24T11:38:27.801" v="135793"/>
          <ac:spMkLst>
            <pc:docMk/>
            <pc:sldMk cId="2428257732" sldId="2147478563"/>
            <ac:spMk id="883" creationId="{E60ABE5F-16D4-DC31-1787-BD9139B570B2}"/>
          </ac:spMkLst>
        </pc:spChg>
        <pc:spChg chg="add del mod">
          <ac:chgData name="Steiner Andreas 6206 ED" userId="e6377c33-a923-4f14-8587-531c474c7b48" providerId="ADAL" clId="{6ECD27E6-B224-41CD-B4E0-E297462320DD}" dt="2023-11-24T11:38:30.488" v="135948"/>
          <ac:spMkLst>
            <pc:docMk/>
            <pc:sldMk cId="2428257732" sldId="2147478563"/>
            <ac:spMk id="884" creationId="{DC568F8F-32B4-F2A0-1B90-5C0CD9F9D261}"/>
          </ac:spMkLst>
        </pc:spChg>
        <pc:spChg chg="add del mod">
          <ac:chgData name="Steiner Andreas 6206 ED" userId="e6377c33-a923-4f14-8587-531c474c7b48" providerId="ADAL" clId="{6ECD27E6-B224-41CD-B4E0-E297462320DD}" dt="2023-11-24T11:38:32.813" v="136103"/>
          <ac:spMkLst>
            <pc:docMk/>
            <pc:sldMk cId="2428257732" sldId="2147478563"/>
            <ac:spMk id="885" creationId="{F4279604-6807-169D-71DD-6872011208CC}"/>
          </ac:spMkLst>
        </pc:spChg>
        <pc:spChg chg="add del mod">
          <ac:chgData name="Steiner Andreas 6206 ED" userId="e6377c33-a923-4f14-8587-531c474c7b48" providerId="ADAL" clId="{6ECD27E6-B224-41CD-B4E0-E297462320DD}" dt="2023-11-24T11:38:35.284" v="136258"/>
          <ac:spMkLst>
            <pc:docMk/>
            <pc:sldMk cId="2428257732" sldId="2147478563"/>
            <ac:spMk id="886" creationId="{3ECA33B4-DD1A-41B2-0041-0BF59E326A34}"/>
          </ac:spMkLst>
        </pc:spChg>
        <pc:spChg chg="add del mod">
          <ac:chgData name="Steiner Andreas 6206 ED" userId="e6377c33-a923-4f14-8587-531c474c7b48" providerId="ADAL" clId="{6ECD27E6-B224-41CD-B4E0-E297462320DD}" dt="2023-11-24T11:38:38.170" v="136413"/>
          <ac:spMkLst>
            <pc:docMk/>
            <pc:sldMk cId="2428257732" sldId="2147478563"/>
            <ac:spMk id="887" creationId="{E2DF0F40-87EC-86F2-8C53-61A20CB35720}"/>
          </ac:spMkLst>
        </pc:spChg>
        <pc:spChg chg="add del mod">
          <ac:chgData name="Steiner Andreas 6206 ED" userId="e6377c33-a923-4f14-8587-531c474c7b48" providerId="ADAL" clId="{6ECD27E6-B224-41CD-B4E0-E297462320DD}" dt="2023-11-24T11:38:40.719" v="136568"/>
          <ac:spMkLst>
            <pc:docMk/>
            <pc:sldMk cId="2428257732" sldId="2147478563"/>
            <ac:spMk id="888" creationId="{B2D0492A-D31E-1ED0-3811-8B99C4967171}"/>
          </ac:spMkLst>
        </pc:spChg>
        <pc:spChg chg="add del mod">
          <ac:chgData name="Steiner Andreas 6206 ED" userId="e6377c33-a923-4f14-8587-531c474c7b48" providerId="ADAL" clId="{6ECD27E6-B224-41CD-B4E0-E297462320DD}" dt="2023-11-24T11:38:43.112" v="136723"/>
          <ac:spMkLst>
            <pc:docMk/>
            <pc:sldMk cId="2428257732" sldId="2147478563"/>
            <ac:spMk id="889" creationId="{F0C9E7D7-4D72-9B0D-6957-096EF552A130}"/>
          </ac:spMkLst>
        </pc:spChg>
        <pc:spChg chg="add del mod">
          <ac:chgData name="Steiner Andreas 6206 ED" userId="e6377c33-a923-4f14-8587-531c474c7b48" providerId="ADAL" clId="{6ECD27E6-B224-41CD-B4E0-E297462320DD}" dt="2023-11-24T11:38:45.542" v="136878"/>
          <ac:spMkLst>
            <pc:docMk/>
            <pc:sldMk cId="2428257732" sldId="2147478563"/>
            <ac:spMk id="890" creationId="{71BB72A7-FED8-21BF-1F82-48A8C86F7955}"/>
          </ac:spMkLst>
        </pc:spChg>
        <pc:spChg chg="add del mod">
          <ac:chgData name="Steiner Andreas 6206 ED" userId="e6377c33-a923-4f14-8587-531c474c7b48" providerId="ADAL" clId="{6ECD27E6-B224-41CD-B4E0-E297462320DD}" dt="2023-11-24T11:38:47.857" v="137033"/>
          <ac:spMkLst>
            <pc:docMk/>
            <pc:sldMk cId="2428257732" sldId="2147478563"/>
            <ac:spMk id="891" creationId="{57A620CC-66BD-86BF-544D-187287E555F8}"/>
          </ac:spMkLst>
        </pc:spChg>
        <pc:spChg chg="add del mod">
          <ac:chgData name="Steiner Andreas 6206 ED" userId="e6377c33-a923-4f14-8587-531c474c7b48" providerId="ADAL" clId="{6ECD27E6-B224-41CD-B4E0-E297462320DD}" dt="2023-11-24T11:38:50.974" v="137188"/>
          <ac:spMkLst>
            <pc:docMk/>
            <pc:sldMk cId="2428257732" sldId="2147478563"/>
            <ac:spMk id="892" creationId="{07518B2E-EC77-449D-C603-6F1E0E4E2D9D}"/>
          </ac:spMkLst>
        </pc:spChg>
        <pc:spChg chg="add del mod">
          <ac:chgData name="Steiner Andreas 6206 ED" userId="e6377c33-a923-4f14-8587-531c474c7b48" providerId="ADAL" clId="{6ECD27E6-B224-41CD-B4E0-E297462320DD}" dt="2023-11-24T11:38:53.317" v="137343"/>
          <ac:spMkLst>
            <pc:docMk/>
            <pc:sldMk cId="2428257732" sldId="2147478563"/>
            <ac:spMk id="893" creationId="{747A58C0-1ABC-E2E4-032F-16117B262A43}"/>
          </ac:spMkLst>
        </pc:spChg>
        <pc:spChg chg="add del mod">
          <ac:chgData name="Steiner Andreas 6206 ED" userId="e6377c33-a923-4f14-8587-531c474c7b48" providerId="ADAL" clId="{6ECD27E6-B224-41CD-B4E0-E297462320DD}" dt="2023-11-24T11:38:55.821" v="137498"/>
          <ac:spMkLst>
            <pc:docMk/>
            <pc:sldMk cId="2428257732" sldId="2147478563"/>
            <ac:spMk id="894" creationId="{35EEE58F-C3E6-3294-4A14-2E437EED6A58}"/>
          </ac:spMkLst>
        </pc:spChg>
        <pc:spChg chg="add del mod">
          <ac:chgData name="Steiner Andreas 6206 ED" userId="e6377c33-a923-4f14-8587-531c474c7b48" providerId="ADAL" clId="{6ECD27E6-B224-41CD-B4E0-E297462320DD}" dt="2023-11-24T11:38:58.369" v="137653"/>
          <ac:spMkLst>
            <pc:docMk/>
            <pc:sldMk cId="2428257732" sldId="2147478563"/>
            <ac:spMk id="895" creationId="{56D2535A-7020-E6BF-2613-14D2FB97FF62}"/>
          </ac:spMkLst>
        </pc:spChg>
        <pc:spChg chg="add del mod">
          <ac:chgData name="Steiner Andreas 6206 ED" userId="e6377c33-a923-4f14-8587-531c474c7b48" providerId="ADAL" clId="{6ECD27E6-B224-41CD-B4E0-E297462320DD}" dt="2023-11-24T11:39:00.654" v="137808"/>
          <ac:spMkLst>
            <pc:docMk/>
            <pc:sldMk cId="2428257732" sldId="2147478563"/>
            <ac:spMk id="896" creationId="{A7B001C8-476D-823A-A757-FF255F202483}"/>
          </ac:spMkLst>
        </pc:spChg>
        <pc:spChg chg="add del mod">
          <ac:chgData name="Steiner Andreas 6206 ED" userId="e6377c33-a923-4f14-8587-531c474c7b48" providerId="ADAL" clId="{6ECD27E6-B224-41CD-B4E0-E297462320DD}" dt="2023-11-24T11:39:03.712" v="137963"/>
          <ac:spMkLst>
            <pc:docMk/>
            <pc:sldMk cId="2428257732" sldId="2147478563"/>
            <ac:spMk id="897" creationId="{39B1E4AF-B7A9-A508-4F08-1D3E826ABC33}"/>
          </ac:spMkLst>
        </pc:spChg>
        <pc:spChg chg="add del mod">
          <ac:chgData name="Steiner Andreas 6206 ED" userId="e6377c33-a923-4f14-8587-531c474c7b48" providerId="ADAL" clId="{6ECD27E6-B224-41CD-B4E0-E297462320DD}" dt="2023-11-24T11:39:06.372" v="138118"/>
          <ac:spMkLst>
            <pc:docMk/>
            <pc:sldMk cId="2428257732" sldId="2147478563"/>
            <ac:spMk id="898" creationId="{16E28BE8-03A9-8BC4-CD8B-43274804FBDB}"/>
          </ac:spMkLst>
        </pc:spChg>
        <pc:spChg chg="add del mod">
          <ac:chgData name="Steiner Andreas 6206 ED" userId="e6377c33-a923-4f14-8587-531c474c7b48" providerId="ADAL" clId="{6ECD27E6-B224-41CD-B4E0-E297462320DD}" dt="2023-11-24T11:39:08.832" v="138273"/>
          <ac:spMkLst>
            <pc:docMk/>
            <pc:sldMk cId="2428257732" sldId="2147478563"/>
            <ac:spMk id="899" creationId="{A614BF29-CB16-A949-A06D-5BCB754913D5}"/>
          </ac:spMkLst>
        </pc:spChg>
        <pc:spChg chg="add del mod">
          <ac:chgData name="Steiner Andreas 6206 ED" userId="e6377c33-a923-4f14-8587-531c474c7b48" providerId="ADAL" clId="{6ECD27E6-B224-41CD-B4E0-E297462320DD}" dt="2023-11-24T11:39:11.194" v="138428"/>
          <ac:spMkLst>
            <pc:docMk/>
            <pc:sldMk cId="2428257732" sldId="2147478563"/>
            <ac:spMk id="900" creationId="{F95D7BF4-96B7-F7CB-9C6C-7CA6F28FCAB5}"/>
          </ac:spMkLst>
        </pc:spChg>
        <pc:spChg chg="add del mod">
          <ac:chgData name="Steiner Andreas 6206 ED" userId="e6377c33-a923-4f14-8587-531c474c7b48" providerId="ADAL" clId="{6ECD27E6-B224-41CD-B4E0-E297462320DD}" dt="2023-11-24T11:39:13.701" v="138583"/>
          <ac:spMkLst>
            <pc:docMk/>
            <pc:sldMk cId="2428257732" sldId="2147478563"/>
            <ac:spMk id="901" creationId="{EB4F4006-E829-5FDA-EAA5-4A1356434759}"/>
          </ac:spMkLst>
        </pc:spChg>
        <pc:spChg chg="add del mod">
          <ac:chgData name="Steiner Andreas 6206 ED" userId="e6377c33-a923-4f14-8587-531c474c7b48" providerId="ADAL" clId="{6ECD27E6-B224-41CD-B4E0-E297462320DD}" dt="2023-11-24T11:39:16.417" v="138738"/>
          <ac:spMkLst>
            <pc:docMk/>
            <pc:sldMk cId="2428257732" sldId="2147478563"/>
            <ac:spMk id="902" creationId="{BDDF4737-9001-3E36-BECF-DD2AB88B81C4}"/>
          </ac:spMkLst>
        </pc:spChg>
        <pc:spChg chg="add del mod">
          <ac:chgData name="Steiner Andreas 6206 ED" userId="e6377c33-a923-4f14-8587-531c474c7b48" providerId="ADAL" clId="{6ECD27E6-B224-41CD-B4E0-E297462320DD}" dt="2023-11-24T11:39:19.189" v="138893"/>
          <ac:spMkLst>
            <pc:docMk/>
            <pc:sldMk cId="2428257732" sldId="2147478563"/>
            <ac:spMk id="903" creationId="{2B6DF469-21A3-125C-DB81-49FE008C6408}"/>
          </ac:spMkLst>
        </pc:spChg>
        <pc:spChg chg="add del mod">
          <ac:chgData name="Steiner Andreas 6206 ED" userId="e6377c33-a923-4f14-8587-531c474c7b48" providerId="ADAL" clId="{6ECD27E6-B224-41CD-B4E0-E297462320DD}" dt="2023-11-24T11:39:21.882" v="139048"/>
          <ac:spMkLst>
            <pc:docMk/>
            <pc:sldMk cId="2428257732" sldId="2147478563"/>
            <ac:spMk id="904" creationId="{F5BBC2BE-6D8C-839B-D406-7DF84BD73894}"/>
          </ac:spMkLst>
        </pc:spChg>
        <pc:spChg chg="add del mod">
          <ac:chgData name="Steiner Andreas 6206 ED" userId="e6377c33-a923-4f14-8587-531c474c7b48" providerId="ADAL" clId="{6ECD27E6-B224-41CD-B4E0-E297462320DD}" dt="2023-11-24T11:39:24.485" v="139203"/>
          <ac:spMkLst>
            <pc:docMk/>
            <pc:sldMk cId="2428257732" sldId="2147478563"/>
            <ac:spMk id="905" creationId="{46AA9B4C-7CE1-148D-43BF-1972EB42B927}"/>
          </ac:spMkLst>
        </pc:spChg>
        <pc:spChg chg="add del mod">
          <ac:chgData name="Steiner Andreas 6206 ED" userId="e6377c33-a923-4f14-8587-531c474c7b48" providerId="ADAL" clId="{6ECD27E6-B224-41CD-B4E0-E297462320DD}" dt="2023-11-24T11:39:27.199" v="139358"/>
          <ac:spMkLst>
            <pc:docMk/>
            <pc:sldMk cId="2428257732" sldId="2147478563"/>
            <ac:spMk id="906" creationId="{F632F47A-BC59-79C8-3B61-63EE992B2684}"/>
          </ac:spMkLst>
        </pc:spChg>
        <pc:spChg chg="add del mod">
          <ac:chgData name="Steiner Andreas 6206 ED" userId="e6377c33-a923-4f14-8587-531c474c7b48" providerId="ADAL" clId="{6ECD27E6-B224-41CD-B4E0-E297462320DD}" dt="2023-11-24T11:39:29.840" v="139513"/>
          <ac:spMkLst>
            <pc:docMk/>
            <pc:sldMk cId="2428257732" sldId="2147478563"/>
            <ac:spMk id="907" creationId="{C9D6B488-B3E3-B3BC-8099-FABB8237AA65}"/>
          </ac:spMkLst>
        </pc:spChg>
        <pc:spChg chg="add del mod">
          <ac:chgData name="Steiner Andreas 6206 ED" userId="e6377c33-a923-4f14-8587-531c474c7b48" providerId="ADAL" clId="{6ECD27E6-B224-41CD-B4E0-E297462320DD}" dt="2023-11-24T11:39:32.963" v="139668"/>
          <ac:spMkLst>
            <pc:docMk/>
            <pc:sldMk cId="2428257732" sldId="2147478563"/>
            <ac:spMk id="908" creationId="{4927201C-0EF2-FAE9-2862-5591D1BC344F}"/>
          </ac:spMkLst>
        </pc:spChg>
        <pc:spChg chg="add del mod">
          <ac:chgData name="Steiner Andreas 6206 ED" userId="e6377c33-a923-4f14-8587-531c474c7b48" providerId="ADAL" clId="{6ECD27E6-B224-41CD-B4E0-E297462320DD}" dt="2023-11-24T11:39:35.579" v="139823"/>
          <ac:spMkLst>
            <pc:docMk/>
            <pc:sldMk cId="2428257732" sldId="2147478563"/>
            <ac:spMk id="909" creationId="{9A558507-531E-47C2-8C12-395D3E6FB14E}"/>
          </ac:spMkLst>
        </pc:spChg>
        <pc:spChg chg="add del mod">
          <ac:chgData name="Steiner Andreas 6206 ED" userId="e6377c33-a923-4f14-8587-531c474c7b48" providerId="ADAL" clId="{6ECD27E6-B224-41CD-B4E0-E297462320DD}" dt="2023-11-24T11:39:38.548" v="139978"/>
          <ac:spMkLst>
            <pc:docMk/>
            <pc:sldMk cId="2428257732" sldId="2147478563"/>
            <ac:spMk id="910" creationId="{5559A3F0-7ACE-9CD6-9D3D-D6E4FE15C41C}"/>
          </ac:spMkLst>
        </pc:spChg>
        <pc:spChg chg="add del mod">
          <ac:chgData name="Steiner Andreas 6206 ED" userId="e6377c33-a923-4f14-8587-531c474c7b48" providerId="ADAL" clId="{6ECD27E6-B224-41CD-B4E0-E297462320DD}" dt="2023-11-24T11:39:41.199" v="140133"/>
          <ac:spMkLst>
            <pc:docMk/>
            <pc:sldMk cId="2428257732" sldId="2147478563"/>
            <ac:spMk id="911" creationId="{377EAB6C-AE0C-A55F-6D07-2FD68EAB1D0D}"/>
          </ac:spMkLst>
        </pc:spChg>
        <pc:spChg chg="add del mod">
          <ac:chgData name="Steiner Andreas 6206 ED" userId="e6377c33-a923-4f14-8587-531c474c7b48" providerId="ADAL" clId="{6ECD27E6-B224-41CD-B4E0-E297462320DD}" dt="2023-11-24T11:39:43.848" v="140288"/>
          <ac:spMkLst>
            <pc:docMk/>
            <pc:sldMk cId="2428257732" sldId="2147478563"/>
            <ac:spMk id="912" creationId="{D5D27546-BFDE-D36F-CD1B-A347A9EDC2A7}"/>
          </ac:spMkLst>
        </pc:spChg>
        <pc:spChg chg="add del mod">
          <ac:chgData name="Steiner Andreas 6206 ED" userId="e6377c33-a923-4f14-8587-531c474c7b48" providerId="ADAL" clId="{6ECD27E6-B224-41CD-B4E0-E297462320DD}" dt="2023-11-24T11:39:46.378" v="140443"/>
          <ac:spMkLst>
            <pc:docMk/>
            <pc:sldMk cId="2428257732" sldId="2147478563"/>
            <ac:spMk id="913" creationId="{65571019-4816-2219-C9ED-0490C8EB63B6}"/>
          </ac:spMkLst>
        </pc:spChg>
        <pc:spChg chg="add del mod">
          <ac:chgData name="Steiner Andreas 6206 ED" userId="e6377c33-a923-4f14-8587-531c474c7b48" providerId="ADAL" clId="{6ECD27E6-B224-41CD-B4E0-E297462320DD}" dt="2023-11-24T11:39:48.806" v="140598"/>
          <ac:spMkLst>
            <pc:docMk/>
            <pc:sldMk cId="2428257732" sldId="2147478563"/>
            <ac:spMk id="914" creationId="{DA97A85D-FA55-8BB3-DEF5-B69F170F2166}"/>
          </ac:spMkLst>
        </pc:spChg>
        <pc:spChg chg="add del mod">
          <ac:chgData name="Steiner Andreas 6206 ED" userId="e6377c33-a923-4f14-8587-531c474c7b48" providerId="ADAL" clId="{6ECD27E6-B224-41CD-B4E0-E297462320DD}" dt="2023-11-24T11:39:51.773" v="140753"/>
          <ac:spMkLst>
            <pc:docMk/>
            <pc:sldMk cId="2428257732" sldId="2147478563"/>
            <ac:spMk id="915" creationId="{20AD5D4A-EE8F-2D8E-3FDE-8752C86E797F}"/>
          </ac:spMkLst>
        </pc:spChg>
        <pc:spChg chg="add del mod">
          <ac:chgData name="Steiner Andreas 6206 ED" userId="e6377c33-a923-4f14-8587-531c474c7b48" providerId="ADAL" clId="{6ECD27E6-B224-41CD-B4E0-E297462320DD}" dt="2023-11-24T11:39:54.719" v="140908"/>
          <ac:spMkLst>
            <pc:docMk/>
            <pc:sldMk cId="2428257732" sldId="2147478563"/>
            <ac:spMk id="916" creationId="{8F93752B-34FD-3B25-F04E-7950176CDCFB}"/>
          </ac:spMkLst>
        </pc:spChg>
        <pc:spChg chg="add del mod">
          <ac:chgData name="Steiner Andreas 6206 ED" userId="e6377c33-a923-4f14-8587-531c474c7b48" providerId="ADAL" clId="{6ECD27E6-B224-41CD-B4E0-E297462320DD}" dt="2023-11-24T11:39:57.177" v="141063"/>
          <ac:spMkLst>
            <pc:docMk/>
            <pc:sldMk cId="2428257732" sldId="2147478563"/>
            <ac:spMk id="917" creationId="{D78BDDCB-91C3-6399-533E-0B0646A977B7}"/>
          </ac:spMkLst>
        </pc:spChg>
        <pc:spChg chg="add del mod">
          <ac:chgData name="Steiner Andreas 6206 ED" userId="e6377c33-a923-4f14-8587-531c474c7b48" providerId="ADAL" clId="{6ECD27E6-B224-41CD-B4E0-E297462320DD}" dt="2023-11-24T11:39:59.547" v="141218"/>
          <ac:spMkLst>
            <pc:docMk/>
            <pc:sldMk cId="2428257732" sldId="2147478563"/>
            <ac:spMk id="918" creationId="{47E0C69D-9EA3-5159-0C10-4214588B3540}"/>
          </ac:spMkLst>
        </pc:spChg>
        <pc:spChg chg="add del mod">
          <ac:chgData name="Steiner Andreas 6206 ED" userId="e6377c33-a923-4f14-8587-531c474c7b48" providerId="ADAL" clId="{6ECD27E6-B224-41CD-B4E0-E297462320DD}" dt="2023-11-24T11:40:02.371" v="141373"/>
          <ac:spMkLst>
            <pc:docMk/>
            <pc:sldMk cId="2428257732" sldId="2147478563"/>
            <ac:spMk id="919" creationId="{09C79728-FFBF-4D1A-A971-EA2DB5F3EC16}"/>
          </ac:spMkLst>
        </pc:spChg>
        <pc:spChg chg="add del mod">
          <ac:chgData name="Steiner Andreas 6206 ED" userId="e6377c33-a923-4f14-8587-531c474c7b48" providerId="ADAL" clId="{6ECD27E6-B224-41CD-B4E0-E297462320DD}" dt="2023-11-24T11:40:05.163" v="141528"/>
          <ac:spMkLst>
            <pc:docMk/>
            <pc:sldMk cId="2428257732" sldId="2147478563"/>
            <ac:spMk id="920" creationId="{0906F6E3-73CC-F63E-A4A5-CE00AD52BD33}"/>
          </ac:spMkLst>
        </pc:spChg>
        <pc:spChg chg="add del mod">
          <ac:chgData name="Steiner Andreas 6206 ED" userId="e6377c33-a923-4f14-8587-531c474c7b48" providerId="ADAL" clId="{6ECD27E6-B224-41CD-B4E0-E297462320DD}" dt="2023-11-24T11:40:07.908" v="141683"/>
          <ac:spMkLst>
            <pc:docMk/>
            <pc:sldMk cId="2428257732" sldId="2147478563"/>
            <ac:spMk id="921" creationId="{07AFFF18-2A17-8120-C562-C008FD6ADAF8}"/>
          </ac:spMkLst>
        </pc:spChg>
        <pc:spChg chg="add del mod">
          <ac:chgData name="Steiner Andreas 6206 ED" userId="e6377c33-a923-4f14-8587-531c474c7b48" providerId="ADAL" clId="{6ECD27E6-B224-41CD-B4E0-E297462320DD}" dt="2023-11-24T11:40:10.360" v="141838"/>
          <ac:spMkLst>
            <pc:docMk/>
            <pc:sldMk cId="2428257732" sldId="2147478563"/>
            <ac:spMk id="922" creationId="{9199D0FD-DC83-8450-C380-86DD90B684A3}"/>
          </ac:spMkLst>
        </pc:spChg>
        <pc:spChg chg="add del mod">
          <ac:chgData name="Steiner Andreas 6206 ED" userId="e6377c33-a923-4f14-8587-531c474c7b48" providerId="ADAL" clId="{6ECD27E6-B224-41CD-B4E0-E297462320DD}" dt="2023-11-24T11:40:12.819" v="141993"/>
          <ac:spMkLst>
            <pc:docMk/>
            <pc:sldMk cId="2428257732" sldId="2147478563"/>
            <ac:spMk id="923" creationId="{8378A28A-7C21-4230-F09E-ECD022AF172F}"/>
          </ac:spMkLst>
        </pc:spChg>
        <pc:spChg chg="add del mod">
          <ac:chgData name="Steiner Andreas 6206 ED" userId="e6377c33-a923-4f14-8587-531c474c7b48" providerId="ADAL" clId="{6ECD27E6-B224-41CD-B4E0-E297462320DD}" dt="2023-11-24T11:40:16.821" v="142148"/>
          <ac:spMkLst>
            <pc:docMk/>
            <pc:sldMk cId="2428257732" sldId="2147478563"/>
            <ac:spMk id="924" creationId="{B2C3F0FF-E437-D435-A35F-F2234C8BC0B7}"/>
          </ac:spMkLst>
        </pc:spChg>
        <pc:spChg chg="add del mod">
          <ac:chgData name="Steiner Andreas 6206 ED" userId="e6377c33-a923-4f14-8587-531c474c7b48" providerId="ADAL" clId="{6ECD27E6-B224-41CD-B4E0-E297462320DD}" dt="2023-11-24T11:40:20.043" v="142303"/>
          <ac:spMkLst>
            <pc:docMk/>
            <pc:sldMk cId="2428257732" sldId="2147478563"/>
            <ac:spMk id="925" creationId="{3C3CD179-C91E-E73C-EFA1-90FE70876DD6}"/>
          </ac:spMkLst>
        </pc:spChg>
        <pc:spChg chg="add del mod">
          <ac:chgData name="Steiner Andreas 6206 ED" userId="e6377c33-a923-4f14-8587-531c474c7b48" providerId="ADAL" clId="{6ECD27E6-B224-41CD-B4E0-E297462320DD}" dt="2023-11-24T11:40:22.794" v="142458"/>
          <ac:spMkLst>
            <pc:docMk/>
            <pc:sldMk cId="2428257732" sldId="2147478563"/>
            <ac:spMk id="926" creationId="{338904D7-8294-C29B-78CE-936A7173933C}"/>
          </ac:spMkLst>
        </pc:spChg>
        <pc:spChg chg="add del mod">
          <ac:chgData name="Steiner Andreas 6206 ED" userId="e6377c33-a923-4f14-8587-531c474c7b48" providerId="ADAL" clId="{6ECD27E6-B224-41CD-B4E0-E297462320DD}" dt="2023-11-24T11:40:25.506" v="142613"/>
          <ac:spMkLst>
            <pc:docMk/>
            <pc:sldMk cId="2428257732" sldId="2147478563"/>
            <ac:spMk id="927" creationId="{63D2E572-C33E-EDD2-5B60-1DF31EAB84E3}"/>
          </ac:spMkLst>
        </pc:spChg>
        <pc:spChg chg="add del mod">
          <ac:chgData name="Steiner Andreas 6206 ED" userId="e6377c33-a923-4f14-8587-531c474c7b48" providerId="ADAL" clId="{6ECD27E6-B224-41CD-B4E0-E297462320DD}" dt="2023-11-24T11:40:28.613" v="142768"/>
          <ac:spMkLst>
            <pc:docMk/>
            <pc:sldMk cId="2428257732" sldId="2147478563"/>
            <ac:spMk id="928" creationId="{AF95C1B8-9577-969D-3379-314804F15D8C}"/>
          </ac:spMkLst>
        </pc:spChg>
        <pc:spChg chg="add del mod">
          <ac:chgData name="Steiner Andreas 6206 ED" userId="e6377c33-a923-4f14-8587-531c474c7b48" providerId="ADAL" clId="{6ECD27E6-B224-41CD-B4E0-E297462320DD}" dt="2023-11-24T11:40:31.230" v="142923"/>
          <ac:spMkLst>
            <pc:docMk/>
            <pc:sldMk cId="2428257732" sldId="2147478563"/>
            <ac:spMk id="929" creationId="{A0FBFBAC-84EA-B27C-4A0D-365BBB4F4194}"/>
          </ac:spMkLst>
        </pc:spChg>
        <pc:spChg chg="add del mod">
          <ac:chgData name="Steiner Andreas 6206 ED" userId="e6377c33-a923-4f14-8587-531c474c7b48" providerId="ADAL" clId="{6ECD27E6-B224-41CD-B4E0-E297462320DD}" dt="2023-11-24T11:40:33.768" v="143078"/>
          <ac:spMkLst>
            <pc:docMk/>
            <pc:sldMk cId="2428257732" sldId="2147478563"/>
            <ac:spMk id="930" creationId="{E29F8C2C-73BC-60C3-FC5B-D58B3F1BA358}"/>
          </ac:spMkLst>
        </pc:spChg>
        <pc:spChg chg="add del mod">
          <ac:chgData name="Steiner Andreas 6206 ED" userId="e6377c33-a923-4f14-8587-531c474c7b48" providerId="ADAL" clId="{6ECD27E6-B224-41CD-B4E0-E297462320DD}" dt="2023-11-24T11:40:36.628" v="143233"/>
          <ac:spMkLst>
            <pc:docMk/>
            <pc:sldMk cId="2428257732" sldId="2147478563"/>
            <ac:spMk id="931" creationId="{9C4C481C-4F2F-B477-61D8-3239F489D468}"/>
          </ac:spMkLst>
        </pc:spChg>
        <pc:spChg chg="add del mod">
          <ac:chgData name="Steiner Andreas 6206 ED" userId="e6377c33-a923-4f14-8587-531c474c7b48" providerId="ADAL" clId="{6ECD27E6-B224-41CD-B4E0-E297462320DD}" dt="2023-11-24T11:40:39.629" v="143388"/>
          <ac:spMkLst>
            <pc:docMk/>
            <pc:sldMk cId="2428257732" sldId="2147478563"/>
            <ac:spMk id="932" creationId="{B3C0674D-D69C-0B98-EAB2-2560C820F2CD}"/>
          </ac:spMkLst>
        </pc:spChg>
        <pc:spChg chg="add del mod">
          <ac:chgData name="Steiner Andreas 6206 ED" userId="e6377c33-a923-4f14-8587-531c474c7b48" providerId="ADAL" clId="{6ECD27E6-B224-41CD-B4E0-E297462320DD}" dt="2023-11-24T11:40:42.500" v="143543"/>
          <ac:spMkLst>
            <pc:docMk/>
            <pc:sldMk cId="2428257732" sldId="2147478563"/>
            <ac:spMk id="933" creationId="{7F293C75-84F6-2F29-B563-075BDBE4AFD1}"/>
          </ac:spMkLst>
        </pc:spChg>
        <pc:spChg chg="add del mod">
          <ac:chgData name="Steiner Andreas 6206 ED" userId="e6377c33-a923-4f14-8587-531c474c7b48" providerId="ADAL" clId="{6ECD27E6-B224-41CD-B4E0-E297462320DD}" dt="2023-11-24T11:40:45.146" v="143698"/>
          <ac:spMkLst>
            <pc:docMk/>
            <pc:sldMk cId="2428257732" sldId="2147478563"/>
            <ac:spMk id="934" creationId="{F91E8472-D4FE-A422-C322-6097A5BFE34B}"/>
          </ac:spMkLst>
        </pc:spChg>
        <pc:spChg chg="add del mod">
          <ac:chgData name="Steiner Andreas 6206 ED" userId="e6377c33-a923-4f14-8587-531c474c7b48" providerId="ADAL" clId="{6ECD27E6-B224-41CD-B4E0-E297462320DD}" dt="2023-11-24T11:40:47.957" v="143853"/>
          <ac:spMkLst>
            <pc:docMk/>
            <pc:sldMk cId="2428257732" sldId="2147478563"/>
            <ac:spMk id="935" creationId="{D56029F9-3DEB-1EF1-079C-4E78EDA9260D}"/>
          </ac:spMkLst>
        </pc:spChg>
        <pc:spChg chg="add del mod">
          <ac:chgData name="Steiner Andreas 6206 ED" userId="e6377c33-a923-4f14-8587-531c474c7b48" providerId="ADAL" clId="{6ECD27E6-B224-41CD-B4E0-E297462320DD}" dt="2023-11-24T11:40:50.725" v="144008"/>
          <ac:spMkLst>
            <pc:docMk/>
            <pc:sldMk cId="2428257732" sldId="2147478563"/>
            <ac:spMk id="936" creationId="{B38E8D99-9CA0-2878-3EF0-8CF89114B6AB}"/>
          </ac:spMkLst>
        </pc:spChg>
        <pc:spChg chg="add del mod">
          <ac:chgData name="Steiner Andreas 6206 ED" userId="e6377c33-a923-4f14-8587-531c474c7b48" providerId="ADAL" clId="{6ECD27E6-B224-41CD-B4E0-E297462320DD}" dt="2023-11-24T11:40:53.602" v="144163"/>
          <ac:spMkLst>
            <pc:docMk/>
            <pc:sldMk cId="2428257732" sldId="2147478563"/>
            <ac:spMk id="937" creationId="{51D35AB2-6BA5-F144-A7CA-08AD00342436}"/>
          </ac:spMkLst>
        </pc:spChg>
        <pc:spChg chg="add del mod">
          <ac:chgData name="Steiner Andreas 6206 ED" userId="e6377c33-a923-4f14-8587-531c474c7b48" providerId="ADAL" clId="{6ECD27E6-B224-41CD-B4E0-E297462320DD}" dt="2023-11-24T11:40:56.324" v="144318"/>
          <ac:spMkLst>
            <pc:docMk/>
            <pc:sldMk cId="2428257732" sldId="2147478563"/>
            <ac:spMk id="938" creationId="{46D4CE5A-9736-2989-258C-822A059D62AF}"/>
          </ac:spMkLst>
        </pc:spChg>
        <pc:spChg chg="add del mod">
          <ac:chgData name="Steiner Andreas 6206 ED" userId="e6377c33-a923-4f14-8587-531c474c7b48" providerId="ADAL" clId="{6ECD27E6-B224-41CD-B4E0-E297462320DD}" dt="2023-11-24T11:40:58.846" v="144473"/>
          <ac:spMkLst>
            <pc:docMk/>
            <pc:sldMk cId="2428257732" sldId="2147478563"/>
            <ac:spMk id="939" creationId="{0693B137-6CA3-B91F-AAD3-7C536AB9882A}"/>
          </ac:spMkLst>
        </pc:spChg>
        <pc:spChg chg="add del mod">
          <ac:chgData name="Steiner Andreas 6206 ED" userId="e6377c33-a923-4f14-8587-531c474c7b48" providerId="ADAL" clId="{6ECD27E6-B224-41CD-B4E0-E297462320DD}" dt="2023-11-24T11:41:01.439" v="144628"/>
          <ac:spMkLst>
            <pc:docMk/>
            <pc:sldMk cId="2428257732" sldId="2147478563"/>
            <ac:spMk id="940" creationId="{6E427553-C70B-D204-4B77-B4E9758A6F03}"/>
          </ac:spMkLst>
        </pc:spChg>
        <pc:spChg chg="add del mod">
          <ac:chgData name="Steiner Andreas 6206 ED" userId="e6377c33-a923-4f14-8587-531c474c7b48" providerId="ADAL" clId="{6ECD27E6-B224-41CD-B4E0-E297462320DD}" dt="2023-11-24T11:41:04.168" v="144783"/>
          <ac:spMkLst>
            <pc:docMk/>
            <pc:sldMk cId="2428257732" sldId="2147478563"/>
            <ac:spMk id="941" creationId="{6854E42A-44AF-4DD4-62B4-7659E7D248C6}"/>
          </ac:spMkLst>
        </pc:spChg>
        <pc:spChg chg="add del mod">
          <ac:chgData name="Steiner Andreas 6206 ED" userId="e6377c33-a923-4f14-8587-531c474c7b48" providerId="ADAL" clId="{6ECD27E6-B224-41CD-B4E0-E297462320DD}" dt="2023-11-24T11:41:07.233" v="144938"/>
          <ac:spMkLst>
            <pc:docMk/>
            <pc:sldMk cId="2428257732" sldId="2147478563"/>
            <ac:spMk id="942" creationId="{2A57AB0C-AA82-4B7C-62F1-99905D65A8F6}"/>
          </ac:spMkLst>
        </pc:spChg>
        <pc:spChg chg="add del mod">
          <ac:chgData name="Steiner Andreas 6206 ED" userId="e6377c33-a923-4f14-8587-531c474c7b48" providerId="ADAL" clId="{6ECD27E6-B224-41CD-B4E0-E297462320DD}" dt="2023-11-24T11:41:10.314" v="145093"/>
          <ac:spMkLst>
            <pc:docMk/>
            <pc:sldMk cId="2428257732" sldId="2147478563"/>
            <ac:spMk id="943" creationId="{6D8735B5-6F1F-84DE-6701-A5C368897B6D}"/>
          </ac:spMkLst>
        </pc:spChg>
        <pc:spChg chg="add del mod">
          <ac:chgData name="Steiner Andreas 6206 ED" userId="e6377c33-a923-4f14-8587-531c474c7b48" providerId="ADAL" clId="{6ECD27E6-B224-41CD-B4E0-E297462320DD}" dt="2023-11-24T11:41:13.249" v="145248"/>
          <ac:spMkLst>
            <pc:docMk/>
            <pc:sldMk cId="2428257732" sldId="2147478563"/>
            <ac:spMk id="944" creationId="{66119129-162C-DA8E-4D29-1A9BE226BD45}"/>
          </ac:spMkLst>
        </pc:spChg>
        <pc:spChg chg="add del mod">
          <ac:chgData name="Steiner Andreas 6206 ED" userId="e6377c33-a923-4f14-8587-531c474c7b48" providerId="ADAL" clId="{6ECD27E6-B224-41CD-B4E0-E297462320DD}" dt="2023-11-24T11:41:16.281" v="145403"/>
          <ac:spMkLst>
            <pc:docMk/>
            <pc:sldMk cId="2428257732" sldId="2147478563"/>
            <ac:spMk id="945" creationId="{FF4010A5-CB3F-5CF3-49A0-4C90BB50C78D}"/>
          </ac:spMkLst>
        </pc:spChg>
        <pc:spChg chg="add del mod">
          <ac:chgData name="Steiner Andreas 6206 ED" userId="e6377c33-a923-4f14-8587-531c474c7b48" providerId="ADAL" clId="{6ECD27E6-B224-41CD-B4E0-E297462320DD}" dt="2023-11-24T11:41:19.505" v="145558"/>
          <ac:spMkLst>
            <pc:docMk/>
            <pc:sldMk cId="2428257732" sldId="2147478563"/>
            <ac:spMk id="946" creationId="{B8F24A94-D4DB-9C58-E9A0-ADDDEB276A1F}"/>
          </ac:spMkLst>
        </pc:spChg>
        <pc:spChg chg="add del mod">
          <ac:chgData name="Steiner Andreas 6206 ED" userId="e6377c33-a923-4f14-8587-531c474c7b48" providerId="ADAL" clId="{6ECD27E6-B224-41CD-B4E0-E297462320DD}" dt="2023-11-24T11:41:22.022" v="145713"/>
          <ac:spMkLst>
            <pc:docMk/>
            <pc:sldMk cId="2428257732" sldId="2147478563"/>
            <ac:spMk id="947" creationId="{61308EDB-CE34-E868-4C86-F6C0A85EBACD}"/>
          </ac:spMkLst>
        </pc:spChg>
        <pc:spChg chg="add del mod">
          <ac:chgData name="Steiner Andreas 6206 ED" userId="e6377c33-a923-4f14-8587-531c474c7b48" providerId="ADAL" clId="{6ECD27E6-B224-41CD-B4E0-E297462320DD}" dt="2023-11-24T11:41:25.901" v="145868"/>
          <ac:spMkLst>
            <pc:docMk/>
            <pc:sldMk cId="2428257732" sldId="2147478563"/>
            <ac:spMk id="948" creationId="{24A5BBEE-F7BE-AE07-5606-7D093D3CCA01}"/>
          </ac:spMkLst>
        </pc:spChg>
        <pc:spChg chg="add del mod">
          <ac:chgData name="Steiner Andreas 6206 ED" userId="e6377c33-a923-4f14-8587-531c474c7b48" providerId="ADAL" clId="{6ECD27E6-B224-41CD-B4E0-E297462320DD}" dt="2023-11-24T11:41:28.996" v="146023"/>
          <ac:spMkLst>
            <pc:docMk/>
            <pc:sldMk cId="2428257732" sldId="2147478563"/>
            <ac:spMk id="949" creationId="{8E6BB8C7-A9D5-704D-A9AC-FF4D3177F040}"/>
          </ac:spMkLst>
        </pc:spChg>
        <pc:spChg chg="add del mod">
          <ac:chgData name="Steiner Andreas 6206 ED" userId="e6377c33-a923-4f14-8587-531c474c7b48" providerId="ADAL" clId="{6ECD27E6-B224-41CD-B4E0-E297462320DD}" dt="2023-11-24T11:41:31.554" v="146178"/>
          <ac:spMkLst>
            <pc:docMk/>
            <pc:sldMk cId="2428257732" sldId="2147478563"/>
            <ac:spMk id="950" creationId="{17B88B5C-5B20-5578-0EA3-C6B7E1E01A89}"/>
          </ac:spMkLst>
        </pc:spChg>
        <pc:spChg chg="add del mod">
          <ac:chgData name="Steiner Andreas 6206 ED" userId="e6377c33-a923-4f14-8587-531c474c7b48" providerId="ADAL" clId="{6ECD27E6-B224-41CD-B4E0-E297462320DD}" dt="2023-11-24T11:41:33.674" v="146333"/>
          <ac:spMkLst>
            <pc:docMk/>
            <pc:sldMk cId="2428257732" sldId="2147478563"/>
            <ac:spMk id="951" creationId="{32563597-A50D-390F-2D0E-28EF24078448}"/>
          </ac:spMkLst>
        </pc:spChg>
        <pc:spChg chg="add del mod">
          <ac:chgData name="Steiner Andreas 6206 ED" userId="e6377c33-a923-4f14-8587-531c474c7b48" providerId="ADAL" clId="{6ECD27E6-B224-41CD-B4E0-E297462320DD}" dt="2023-11-24T11:41:35.803" v="146488"/>
          <ac:spMkLst>
            <pc:docMk/>
            <pc:sldMk cId="2428257732" sldId="2147478563"/>
            <ac:spMk id="952" creationId="{6A717D5B-9B56-6B0B-4696-E8A791871719}"/>
          </ac:spMkLst>
        </pc:spChg>
        <pc:spChg chg="add del mod">
          <ac:chgData name="Steiner Andreas 6206 ED" userId="e6377c33-a923-4f14-8587-531c474c7b48" providerId="ADAL" clId="{6ECD27E6-B224-41CD-B4E0-E297462320DD}" dt="2023-11-24T11:41:38.014" v="146643"/>
          <ac:spMkLst>
            <pc:docMk/>
            <pc:sldMk cId="2428257732" sldId="2147478563"/>
            <ac:spMk id="953" creationId="{A7C433EE-6673-EE2F-B8B4-CE60F8AEBAA9}"/>
          </ac:spMkLst>
        </pc:spChg>
        <pc:spChg chg="add del mod">
          <ac:chgData name="Steiner Andreas 6206 ED" userId="e6377c33-a923-4f14-8587-531c474c7b48" providerId="ADAL" clId="{6ECD27E6-B224-41CD-B4E0-E297462320DD}" dt="2023-11-24T11:41:40.847" v="146798"/>
          <ac:spMkLst>
            <pc:docMk/>
            <pc:sldMk cId="2428257732" sldId="2147478563"/>
            <ac:spMk id="954" creationId="{C635565F-FE0F-8F0E-A01E-85B8C00F9AF5}"/>
          </ac:spMkLst>
        </pc:spChg>
        <pc:spChg chg="add del mod">
          <ac:chgData name="Steiner Andreas 6206 ED" userId="e6377c33-a923-4f14-8587-531c474c7b48" providerId="ADAL" clId="{6ECD27E6-B224-41CD-B4E0-E297462320DD}" dt="2023-11-24T11:41:42.920" v="146953"/>
          <ac:spMkLst>
            <pc:docMk/>
            <pc:sldMk cId="2428257732" sldId="2147478563"/>
            <ac:spMk id="955" creationId="{2DB21E8B-03B7-5CB1-E62E-4901CF25E411}"/>
          </ac:spMkLst>
        </pc:spChg>
        <pc:spChg chg="add del mod">
          <ac:chgData name="Steiner Andreas 6206 ED" userId="e6377c33-a923-4f14-8587-531c474c7b48" providerId="ADAL" clId="{6ECD27E6-B224-41CD-B4E0-E297462320DD}" dt="2023-11-24T11:41:44.994" v="147108"/>
          <ac:spMkLst>
            <pc:docMk/>
            <pc:sldMk cId="2428257732" sldId="2147478563"/>
            <ac:spMk id="956" creationId="{E4333332-9FDC-36CF-C82F-E02739874A32}"/>
          </ac:spMkLst>
        </pc:spChg>
        <pc:spChg chg="add del mod">
          <ac:chgData name="Steiner Andreas 6206 ED" userId="e6377c33-a923-4f14-8587-531c474c7b48" providerId="ADAL" clId="{6ECD27E6-B224-41CD-B4E0-E297462320DD}" dt="2023-11-24T11:41:47.529" v="147263"/>
          <ac:spMkLst>
            <pc:docMk/>
            <pc:sldMk cId="2428257732" sldId="2147478563"/>
            <ac:spMk id="957" creationId="{10A53A06-0696-B9A6-DB6D-C52B011EFE3E}"/>
          </ac:spMkLst>
        </pc:spChg>
        <pc:spChg chg="add del mod">
          <ac:chgData name="Steiner Andreas 6206 ED" userId="e6377c33-a923-4f14-8587-531c474c7b48" providerId="ADAL" clId="{6ECD27E6-B224-41CD-B4E0-E297462320DD}" dt="2023-11-24T11:41:49.690" v="147418"/>
          <ac:spMkLst>
            <pc:docMk/>
            <pc:sldMk cId="2428257732" sldId="2147478563"/>
            <ac:spMk id="958" creationId="{5CAFAA61-964C-EC39-C5DA-3AB038FBF2A0}"/>
          </ac:spMkLst>
        </pc:spChg>
        <pc:spChg chg="add del mod">
          <ac:chgData name="Steiner Andreas 6206 ED" userId="e6377c33-a923-4f14-8587-531c474c7b48" providerId="ADAL" clId="{6ECD27E6-B224-41CD-B4E0-E297462320DD}" dt="2023-11-24T11:41:52.029" v="147573"/>
          <ac:spMkLst>
            <pc:docMk/>
            <pc:sldMk cId="2428257732" sldId="2147478563"/>
            <ac:spMk id="959" creationId="{1A53266F-0AA7-C8C2-4D3F-4D5629DE9425}"/>
          </ac:spMkLst>
        </pc:spChg>
        <pc:spChg chg="add del mod">
          <ac:chgData name="Steiner Andreas 6206 ED" userId="e6377c33-a923-4f14-8587-531c474c7b48" providerId="ADAL" clId="{6ECD27E6-B224-41CD-B4E0-E297462320DD}" dt="2023-11-24T11:41:54.370" v="147728"/>
          <ac:spMkLst>
            <pc:docMk/>
            <pc:sldMk cId="2428257732" sldId="2147478563"/>
            <ac:spMk id="960" creationId="{CD190ACA-75B5-0E30-B064-870551292F87}"/>
          </ac:spMkLst>
        </pc:spChg>
        <pc:spChg chg="add del mod">
          <ac:chgData name="Steiner Andreas 6206 ED" userId="e6377c33-a923-4f14-8587-531c474c7b48" providerId="ADAL" clId="{6ECD27E6-B224-41CD-B4E0-E297462320DD}" dt="2023-11-24T11:41:57.659" v="147883"/>
          <ac:spMkLst>
            <pc:docMk/>
            <pc:sldMk cId="2428257732" sldId="2147478563"/>
            <ac:spMk id="961" creationId="{2EE8A904-8B79-DAD8-8B8C-BC5E969DF79D}"/>
          </ac:spMkLst>
        </pc:spChg>
        <pc:spChg chg="add del mod">
          <ac:chgData name="Steiner Andreas 6206 ED" userId="e6377c33-a923-4f14-8587-531c474c7b48" providerId="ADAL" clId="{6ECD27E6-B224-41CD-B4E0-E297462320DD}" dt="2023-11-24T11:42:01.049" v="148038"/>
          <ac:spMkLst>
            <pc:docMk/>
            <pc:sldMk cId="2428257732" sldId="2147478563"/>
            <ac:spMk id="962" creationId="{CFE49F58-95D9-D32A-96A6-D219A8AB7DA0}"/>
          </ac:spMkLst>
        </pc:spChg>
        <pc:spChg chg="add del mod">
          <ac:chgData name="Steiner Andreas 6206 ED" userId="e6377c33-a923-4f14-8587-531c474c7b48" providerId="ADAL" clId="{6ECD27E6-B224-41CD-B4E0-E297462320DD}" dt="2023-11-24T11:42:04.232" v="148193"/>
          <ac:spMkLst>
            <pc:docMk/>
            <pc:sldMk cId="2428257732" sldId="2147478563"/>
            <ac:spMk id="963" creationId="{8FEC6CEF-9015-FFF4-8FA9-F4CDB8A67E6E}"/>
          </ac:spMkLst>
        </pc:spChg>
        <pc:spChg chg="add del mod">
          <ac:chgData name="Steiner Andreas 6206 ED" userId="e6377c33-a923-4f14-8587-531c474c7b48" providerId="ADAL" clId="{6ECD27E6-B224-41CD-B4E0-E297462320DD}" dt="2023-11-24T11:42:06.716" v="148348"/>
          <ac:spMkLst>
            <pc:docMk/>
            <pc:sldMk cId="2428257732" sldId="2147478563"/>
            <ac:spMk id="964" creationId="{BD2EF9F1-3948-9A7F-917E-F95C193C2180}"/>
          </ac:spMkLst>
        </pc:spChg>
        <pc:spChg chg="add del mod">
          <ac:chgData name="Steiner Andreas 6206 ED" userId="e6377c33-a923-4f14-8587-531c474c7b48" providerId="ADAL" clId="{6ECD27E6-B224-41CD-B4E0-E297462320DD}" dt="2023-11-24T11:42:08.999" v="148503"/>
          <ac:spMkLst>
            <pc:docMk/>
            <pc:sldMk cId="2428257732" sldId="2147478563"/>
            <ac:spMk id="965" creationId="{373846A7-21F7-345D-AA93-1E562B864049}"/>
          </ac:spMkLst>
        </pc:spChg>
        <pc:spChg chg="add del mod">
          <ac:chgData name="Steiner Andreas 6206 ED" userId="e6377c33-a923-4f14-8587-531c474c7b48" providerId="ADAL" clId="{6ECD27E6-B224-41CD-B4E0-E297462320DD}" dt="2023-11-24T11:42:11.599" v="148658"/>
          <ac:spMkLst>
            <pc:docMk/>
            <pc:sldMk cId="2428257732" sldId="2147478563"/>
            <ac:spMk id="966" creationId="{EB62A0A3-6A71-8B4E-5E1A-12A1567164B5}"/>
          </ac:spMkLst>
        </pc:spChg>
        <pc:spChg chg="add del mod">
          <ac:chgData name="Steiner Andreas 6206 ED" userId="e6377c33-a923-4f14-8587-531c474c7b48" providerId="ADAL" clId="{6ECD27E6-B224-41CD-B4E0-E297462320DD}" dt="2023-11-24T11:42:14.200" v="148813"/>
          <ac:spMkLst>
            <pc:docMk/>
            <pc:sldMk cId="2428257732" sldId="2147478563"/>
            <ac:spMk id="967" creationId="{158BDA72-5E0C-C368-E4E4-01AC9F91FBDD}"/>
          </ac:spMkLst>
        </pc:spChg>
        <pc:spChg chg="add del mod">
          <ac:chgData name="Steiner Andreas 6206 ED" userId="e6377c33-a923-4f14-8587-531c474c7b48" providerId="ADAL" clId="{6ECD27E6-B224-41CD-B4E0-E297462320DD}" dt="2023-11-24T11:42:16.417" v="148968"/>
          <ac:spMkLst>
            <pc:docMk/>
            <pc:sldMk cId="2428257732" sldId="2147478563"/>
            <ac:spMk id="968" creationId="{AAEEEF5A-7E15-D405-18AA-5C390C971AC9}"/>
          </ac:spMkLst>
        </pc:spChg>
        <pc:spChg chg="add del mod">
          <ac:chgData name="Steiner Andreas 6206 ED" userId="e6377c33-a923-4f14-8587-531c474c7b48" providerId="ADAL" clId="{6ECD27E6-B224-41CD-B4E0-E297462320DD}" dt="2023-11-24T11:42:18.554" v="149123"/>
          <ac:spMkLst>
            <pc:docMk/>
            <pc:sldMk cId="2428257732" sldId="2147478563"/>
            <ac:spMk id="969" creationId="{DB7957FF-F353-D637-3BDB-F503AB61512D}"/>
          </ac:spMkLst>
        </pc:spChg>
        <pc:spChg chg="add del mod">
          <ac:chgData name="Steiner Andreas 6206 ED" userId="e6377c33-a923-4f14-8587-531c474c7b48" providerId="ADAL" clId="{6ECD27E6-B224-41CD-B4E0-E297462320DD}" dt="2023-11-24T11:42:20.592" v="149278"/>
          <ac:spMkLst>
            <pc:docMk/>
            <pc:sldMk cId="2428257732" sldId="2147478563"/>
            <ac:spMk id="970" creationId="{77ADCE9A-725F-AE89-F405-CF766335D874}"/>
          </ac:spMkLst>
        </pc:spChg>
        <pc:spChg chg="add del mod">
          <ac:chgData name="Steiner Andreas 6206 ED" userId="e6377c33-a923-4f14-8587-531c474c7b48" providerId="ADAL" clId="{6ECD27E6-B224-41CD-B4E0-E297462320DD}" dt="2023-11-24T11:42:22.661" v="149433"/>
          <ac:spMkLst>
            <pc:docMk/>
            <pc:sldMk cId="2428257732" sldId="2147478563"/>
            <ac:spMk id="971" creationId="{902F595B-DFAD-5BCE-FF8E-1E3390ABEEF2}"/>
          </ac:spMkLst>
        </pc:spChg>
        <pc:spChg chg="add del mod">
          <ac:chgData name="Steiner Andreas 6206 ED" userId="e6377c33-a923-4f14-8587-531c474c7b48" providerId="ADAL" clId="{6ECD27E6-B224-41CD-B4E0-E297462320DD}" dt="2023-11-24T11:42:24.597" v="149588"/>
          <ac:spMkLst>
            <pc:docMk/>
            <pc:sldMk cId="2428257732" sldId="2147478563"/>
            <ac:spMk id="972" creationId="{16BF326C-A813-6829-C696-87297EF94A68}"/>
          </ac:spMkLst>
        </pc:spChg>
        <pc:spChg chg="add del mod">
          <ac:chgData name="Steiner Andreas 6206 ED" userId="e6377c33-a923-4f14-8587-531c474c7b48" providerId="ADAL" clId="{6ECD27E6-B224-41CD-B4E0-E297462320DD}" dt="2023-11-24T11:42:26.511" v="149743"/>
          <ac:spMkLst>
            <pc:docMk/>
            <pc:sldMk cId="2428257732" sldId="2147478563"/>
            <ac:spMk id="973" creationId="{34E97BF1-9B86-63DB-92B2-93065AEC2608}"/>
          </ac:spMkLst>
        </pc:spChg>
        <pc:spChg chg="add del mod">
          <ac:chgData name="Steiner Andreas 6206 ED" userId="e6377c33-a923-4f14-8587-531c474c7b48" providerId="ADAL" clId="{6ECD27E6-B224-41CD-B4E0-E297462320DD}" dt="2023-11-24T11:42:29.766" v="149898"/>
          <ac:spMkLst>
            <pc:docMk/>
            <pc:sldMk cId="2428257732" sldId="2147478563"/>
            <ac:spMk id="974" creationId="{EEA20D82-8BC7-7F34-B499-512217AD6666}"/>
          </ac:spMkLst>
        </pc:spChg>
        <pc:spChg chg="add del mod">
          <ac:chgData name="Steiner Andreas 6206 ED" userId="e6377c33-a923-4f14-8587-531c474c7b48" providerId="ADAL" clId="{6ECD27E6-B224-41CD-B4E0-E297462320DD}" dt="2023-11-24T11:42:32.760" v="150053"/>
          <ac:spMkLst>
            <pc:docMk/>
            <pc:sldMk cId="2428257732" sldId="2147478563"/>
            <ac:spMk id="975" creationId="{230872F8-85FE-F695-04D8-36CDACD58751}"/>
          </ac:spMkLst>
        </pc:spChg>
        <pc:spChg chg="add del mod">
          <ac:chgData name="Steiner Andreas 6206 ED" userId="e6377c33-a923-4f14-8587-531c474c7b48" providerId="ADAL" clId="{6ECD27E6-B224-41CD-B4E0-E297462320DD}" dt="2023-11-24T11:42:35.923" v="150208"/>
          <ac:spMkLst>
            <pc:docMk/>
            <pc:sldMk cId="2428257732" sldId="2147478563"/>
            <ac:spMk id="976" creationId="{55FDD185-0426-459B-2549-9764108E0E57}"/>
          </ac:spMkLst>
        </pc:spChg>
        <pc:spChg chg="add del mod">
          <ac:chgData name="Steiner Andreas 6206 ED" userId="e6377c33-a923-4f14-8587-531c474c7b48" providerId="ADAL" clId="{6ECD27E6-B224-41CD-B4E0-E297462320DD}" dt="2023-11-24T11:42:38.250" v="150363"/>
          <ac:spMkLst>
            <pc:docMk/>
            <pc:sldMk cId="2428257732" sldId="2147478563"/>
            <ac:spMk id="977" creationId="{7C9C765F-5AC3-1A0F-95B7-240861A73D26}"/>
          </ac:spMkLst>
        </pc:spChg>
        <pc:spChg chg="add del mod">
          <ac:chgData name="Steiner Andreas 6206 ED" userId="e6377c33-a923-4f14-8587-531c474c7b48" providerId="ADAL" clId="{6ECD27E6-B224-41CD-B4E0-E297462320DD}" dt="2023-11-24T11:42:40.313" v="150518"/>
          <ac:spMkLst>
            <pc:docMk/>
            <pc:sldMk cId="2428257732" sldId="2147478563"/>
            <ac:spMk id="978" creationId="{8E09218C-8310-0187-1A12-42EB5356AF38}"/>
          </ac:spMkLst>
        </pc:spChg>
        <pc:spChg chg="add del mod">
          <ac:chgData name="Steiner Andreas 6206 ED" userId="e6377c33-a923-4f14-8587-531c474c7b48" providerId="ADAL" clId="{6ECD27E6-B224-41CD-B4E0-E297462320DD}" dt="2023-11-24T11:42:42.341" v="150673"/>
          <ac:spMkLst>
            <pc:docMk/>
            <pc:sldMk cId="2428257732" sldId="2147478563"/>
            <ac:spMk id="979" creationId="{685D70AC-49F2-E4A5-2528-B53762304BFE}"/>
          </ac:spMkLst>
        </pc:spChg>
        <pc:spChg chg="add del mod">
          <ac:chgData name="Steiner Andreas 6206 ED" userId="e6377c33-a923-4f14-8587-531c474c7b48" providerId="ADAL" clId="{6ECD27E6-B224-41CD-B4E0-E297462320DD}" dt="2023-11-24T11:42:44.448" v="150828"/>
          <ac:spMkLst>
            <pc:docMk/>
            <pc:sldMk cId="2428257732" sldId="2147478563"/>
            <ac:spMk id="980" creationId="{24AD231D-28CB-7F39-1E12-DA7ED8A2C3C0}"/>
          </ac:spMkLst>
        </pc:spChg>
        <pc:spChg chg="add del mod">
          <ac:chgData name="Steiner Andreas 6206 ED" userId="e6377c33-a923-4f14-8587-531c474c7b48" providerId="ADAL" clId="{6ECD27E6-B224-41CD-B4E0-E297462320DD}" dt="2023-11-24T11:42:46.754" v="150983"/>
          <ac:spMkLst>
            <pc:docMk/>
            <pc:sldMk cId="2428257732" sldId="2147478563"/>
            <ac:spMk id="981" creationId="{C86AACF5-4B89-F29D-3152-F66F9A24EA98}"/>
          </ac:spMkLst>
        </pc:spChg>
        <pc:spChg chg="add del mod">
          <ac:chgData name="Steiner Andreas 6206 ED" userId="e6377c33-a923-4f14-8587-531c474c7b48" providerId="ADAL" clId="{6ECD27E6-B224-41CD-B4E0-E297462320DD}" dt="2023-11-24T11:42:48.938" v="151138"/>
          <ac:spMkLst>
            <pc:docMk/>
            <pc:sldMk cId="2428257732" sldId="2147478563"/>
            <ac:spMk id="982" creationId="{29FE465B-4969-87BF-FB16-5EE5B3743A57}"/>
          </ac:spMkLst>
        </pc:spChg>
        <pc:spChg chg="add del mod">
          <ac:chgData name="Steiner Andreas 6206 ED" userId="e6377c33-a923-4f14-8587-531c474c7b48" providerId="ADAL" clId="{6ECD27E6-B224-41CD-B4E0-E297462320DD}" dt="2023-11-24T11:42:51.245" v="151293"/>
          <ac:spMkLst>
            <pc:docMk/>
            <pc:sldMk cId="2428257732" sldId="2147478563"/>
            <ac:spMk id="983" creationId="{AA3B4C05-2889-C4C4-4E66-CCF17285AB2C}"/>
          </ac:spMkLst>
        </pc:spChg>
        <pc:spChg chg="add del mod">
          <ac:chgData name="Steiner Andreas 6206 ED" userId="e6377c33-a923-4f14-8587-531c474c7b48" providerId="ADAL" clId="{6ECD27E6-B224-41CD-B4E0-E297462320DD}" dt="2023-11-24T11:42:53.539" v="151448"/>
          <ac:spMkLst>
            <pc:docMk/>
            <pc:sldMk cId="2428257732" sldId="2147478563"/>
            <ac:spMk id="984" creationId="{7425EA94-9EE1-F8BE-3E56-A996AA86C72E}"/>
          </ac:spMkLst>
        </pc:spChg>
        <pc:spChg chg="add del mod">
          <ac:chgData name="Steiner Andreas 6206 ED" userId="e6377c33-a923-4f14-8587-531c474c7b48" providerId="ADAL" clId="{6ECD27E6-B224-41CD-B4E0-E297462320DD}" dt="2023-11-24T11:42:55.775" v="151603"/>
          <ac:spMkLst>
            <pc:docMk/>
            <pc:sldMk cId="2428257732" sldId="2147478563"/>
            <ac:spMk id="985" creationId="{A4D422C1-F7E8-CD63-3DAD-E0E2CD8B25CE}"/>
          </ac:spMkLst>
        </pc:spChg>
        <pc:spChg chg="add del mod">
          <ac:chgData name="Steiner Andreas 6206 ED" userId="e6377c33-a923-4f14-8587-531c474c7b48" providerId="ADAL" clId="{6ECD27E6-B224-41CD-B4E0-E297462320DD}" dt="2023-11-24T11:42:58.259" v="151758"/>
          <ac:spMkLst>
            <pc:docMk/>
            <pc:sldMk cId="2428257732" sldId="2147478563"/>
            <ac:spMk id="986" creationId="{02F5BD49-A752-CF14-0180-138099C7479E}"/>
          </ac:spMkLst>
        </pc:spChg>
        <pc:spChg chg="add del mod">
          <ac:chgData name="Steiner Andreas 6206 ED" userId="e6377c33-a923-4f14-8587-531c474c7b48" providerId="ADAL" clId="{6ECD27E6-B224-41CD-B4E0-E297462320DD}" dt="2023-11-24T11:43:01.966" v="151913"/>
          <ac:spMkLst>
            <pc:docMk/>
            <pc:sldMk cId="2428257732" sldId="2147478563"/>
            <ac:spMk id="987" creationId="{6C0CF16D-ECC9-1180-890A-1E0BAA6AAFB8}"/>
          </ac:spMkLst>
        </pc:spChg>
        <pc:spChg chg="add del mod">
          <ac:chgData name="Steiner Andreas 6206 ED" userId="e6377c33-a923-4f14-8587-531c474c7b48" providerId="ADAL" clId="{6ECD27E6-B224-41CD-B4E0-E297462320DD}" dt="2023-11-24T11:43:04.350" v="152068"/>
          <ac:spMkLst>
            <pc:docMk/>
            <pc:sldMk cId="2428257732" sldId="2147478563"/>
            <ac:spMk id="988" creationId="{F5CD7122-4F7F-FD9E-6921-08358E05C42E}"/>
          </ac:spMkLst>
        </pc:spChg>
        <pc:spChg chg="add del mod">
          <ac:chgData name="Steiner Andreas 6206 ED" userId="e6377c33-a923-4f14-8587-531c474c7b48" providerId="ADAL" clId="{6ECD27E6-B224-41CD-B4E0-E297462320DD}" dt="2023-11-24T11:43:06.467" v="152223"/>
          <ac:spMkLst>
            <pc:docMk/>
            <pc:sldMk cId="2428257732" sldId="2147478563"/>
            <ac:spMk id="989" creationId="{9A10500F-5232-5612-C047-E737E70EEC29}"/>
          </ac:spMkLst>
        </pc:spChg>
        <pc:spChg chg="add del mod">
          <ac:chgData name="Steiner Andreas 6206 ED" userId="e6377c33-a923-4f14-8587-531c474c7b48" providerId="ADAL" clId="{6ECD27E6-B224-41CD-B4E0-E297462320DD}" dt="2023-11-24T11:43:08.593" v="152378"/>
          <ac:spMkLst>
            <pc:docMk/>
            <pc:sldMk cId="2428257732" sldId="2147478563"/>
            <ac:spMk id="990" creationId="{C3357428-F08A-59C7-3D9C-BC2E83F7337A}"/>
          </ac:spMkLst>
        </pc:spChg>
        <pc:spChg chg="add del mod">
          <ac:chgData name="Steiner Andreas 6206 ED" userId="e6377c33-a923-4f14-8587-531c474c7b48" providerId="ADAL" clId="{6ECD27E6-B224-41CD-B4E0-E297462320DD}" dt="2023-11-24T11:43:10.740" v="152533"/>
          <ac:spMkLst>
            <pc:docMk/>
            <pc:sldMk cId="2428257732" sldId="2147478563"/>
            <ac:spMk id="991" creationId="{7AD75617-3568-A15D-3DFE-434B35512F40}"/>
          </ac:spMkLst>
        </pc:spChg>
        <pc:spChg chg="add del mod">
          <ac:chgData name="Steiner Andreas 6206 ED" userId="e6377c33-a923-4f14-8587-531c474c7b48" providerId="ADAL" clId="{6ECD27E6-B224-41CD-B4E0-E297462320DD}" dt="2023-11-24T11:43:12.998" v="152688"/>
          <ac:spMkLst>
            <pc:docMk/>
            <pc:sldMk cId="2428257732" sldId="2147478563"/>
            <ac:spMk id="992" creationId="{4C390492-94C0-A790-45B6-49651908E5C8}"/>
          </ac:spMkLst>
        </pc:spChg>
        <pc:spChg chg="add del mod">
          <ac:chgData name="Steiner Andreas 6206 ED" userId="e6377c33-a923-4f14-8587-531c474c7b48" providerId="ADAL" clId="{6ECD27E6-B224-41CD-B4E0-E297462320DD}" dt="2023-11-24T11:43:15.351" v="152843"/>
          <ac:spMkLst>
            <pc:docMk/>
            <pc:sldMk cId="2428257732" sldId="2147478563"/>
            <ac:spMk id="993" creationId="{4C69FA50-F8FD-6A0F-207E-F6F7C1056C18}"/>
          </ac:spMkLst>
        </pc:spChg>
        <pc:spChg chg="add del mod">
          <ac:chgData name="Steiner Andreas 6206 ED" userId="e6377c33-a923-4f14-8587-531c474c7b48" providerId="ADAL" clId="{6ECD27E6-B224-41CD-B4E0-E297462320DD}" dt="2023-11-24T11:43:18.501" v="152998"/>
          <ac:spMkLst>
            <pc:docMk/>
            <pc:sldMk cId="2428257732" sldId="2147478563"/>
            <ac:spMk id="994" creationId="{35B649F6-44E7-97F8-07A6-E65D2C2A662C}"/>
          </ac:spMkLst>
        </pc:spChg>
        <pc:spChg chg="add del mod">
          <ac:chgData name="Steiner Andreas 6206 ED" userId="e6377c33-a923-4f14-8587-531c474c7b48" providerId="ADAL" clId="{6ECD27E6-B224-41CD-B4E0-E297462320DD}" dt="2023-11-24T11:43:22.580" v="153153"/>
          <ac:spMkLst>
            <pc:docMk/>
            <pc:sldMk cId="2428257732" sldId="2147478563"/>
            <ac:spMk id="995" creationId="{2FAF5E9A-19B8-1A65-8868-A96260F4E1D3}"/>
          </ac:spMkLst>
        </pc:spChg>
        <pc:spChg chg="add del mod">
          <ac:chgData name="Steiner Andreas 6206 ED" userId="e6377c33-a923-4f14-8587-531c474c7b48" providerId="ADAL" clId="{6ECD27E6-B224-41CD-B4E0-E297462320DD}" dt="2023-11-24T11:43:24.995" v="153308"/>
          <ac:spMkLst>
            <pc:docMk/>
            <pc:sldMk cId="2428257732" sldId="2147478563"/>
            <ac:spMk id="996" creationId="{53F2FE94-0907-450E-6A1A-115C31AC4DF3}"/>
          </ac:spMkLst>
        </pc:spChg>
        <pc:spChg chg="add del mod">
          <ac:chgData name="Steiner Andreas 6206 ED" userId="e6377c33-a923-4f14-8587-531c474c7b48" providerId="ADAL" clId="{6ECD27E6-B224-41CD-B4E0-E297462320DD}" dt="2023-11-24T11:43:27.236" v="153463"/>
          <ac:spMkLst>
            <pc:docMk/>
            <pc:sldMk cId="2428257732" sldId="2147478563"/>
            <ac:spMk id="997" creationId="{3C6824FC-FCA0-3696-146F-77D3C37F9AB6}"/>
          </ac:spMkLst>
        </pc:spChg>
        <pc:spChg chg="add del mod">
          <ac:chgData name="Steiner Andreas 6206 ED" userId="e6377c33-a923-4f14-8587-531c474c7b48" providerId="ADAL" clId="{6ECD27E6-B224-41CD-B4E0-E297462320DD}" dt="2023-11-24T11:43:29.522" v="153618"/>
          <ac:spMkLst>
            <pc:docMk/>
            <pc:sldMk cId="2428257732" sldId="2147478563"/>
            <ac:spMk id="998" creationId="{D60C637B-0BD3-EFF3-DF1B-FD1B3035B99E}"/>
          </ac:spMkLst>
        </pc:spChg>
        <pc:spChg chg="add del mod">
          <ac:chgData name="Steiner Andreas 6206 ED" userId="e6377c33-a923-4f14-8587-531c474c7b48" providerId="ADAL" clId="{6ECD27E6-B224-41CD-B4E0-E297462320DD}" dt="2023-11-24T11:43:31.764" v="153773"/>
          <ac:spMkLst>
            <pc:docMk/>
            <pc:sldMk cId="2428257732" sldId="2147478563"/>
            <ac:spMk id="999" creationId="{55104CAD-46EF-2795-A6A4-019846E96085}"/>
          </ac:spMkLst>
        </pc:spChg>
        <pc:spChg chg="add del mod">
          <ac:chgData name="Steiner Andreas 6206 ED" userId="e6377c33-a923-4f14-8587-531c474c7b48" providerId="ADAL" clId="{6ECD27E6-B224-41CD-B4E0-E297462320DD}" dt="2023-11-24T11:43:34.531" v="153928"/>
          <ac:spMkLst>
            <pc:docMk/>
            <pc:sldMk cId="2428257732" sldId="2147478563"/>
            <ac:spMk id="1000" creationId="{1A815F13-9AE8-93BC-50D0-B476C0691592}"/>
          </ac:spMkLst>
        </pc:spChg>
        <pc:spChg chg="add del mod">
          <ac:chgData name="Steiner Andreas 6206 ED" userId="e6377c33-a923-4f14-8587-531c474c7b48" providerId="ADAL" clId="{6ECD27E6-B224-41CD-B4E0-E297462320DD}" dt="2023-11-24T11:43:36.667" v="154083"/>
          <ac:spMkLst>
            <pc:docMk/>
            <pc:sldMk cId="2428257732" sldId="2147478563"/>
            <ac:spMk id="1001" creationId="{74C56797-8CD2-A80A-4132-383FDBAADCF1}"/>
          </ac:spMkLst>
        </pc:spChg>
        <pc:spChg chg="add del mod">
          <ac:chgData name="Steiner Andreas 6206 ED" userId="e6377c33-a923-4f14-8587-531c474c7b48" providerId="ADAL" clId="{6ECD27E6-B224-41CD-B4E0-E297462320DD}" dt="2023-11-24T11:43:38.830" v="154238"/>
          <ac:spMkLst>
            <pc:docMk/>
            <pc:sldMk cId="2428257732" sldId="2147478563"/>
            <ac:spMk id="1002" creationId="{11FF5325-B939-DAAD-37B9-4730AE67DE23}"/>
          </ac:spMkLst>
        </pc:spChg>
        <pc:spChg chg="add del mod">
          <ac:chgData name="Steiner Andreas 6206 ED" userId="e6377c33-a923-4f14-8587-531c474c7b48" providerId="ADAL" clId="{6ECD27E6-B224-41CD-B4E0-E297462320DD}" dt="2023-11-24T11:43:41.302" v="154393"/>
          <ac:spMkLst>
            <pc:docMk/>
            <pc:sldMk cId="2428257732" sldId="2147478563"/>
            <ac:spMk id="1003" creationId="{C4BAA5DD-37E1-8C99-D115-7CC0EF58E5A7}"/>
          </ac:spMkLst>
        </pc:spChg>
        <pc:spChg chg="add del mod">
          <ac:chgData name="Steiner Andreas 6206 ED" userId="e6377c33-a923-4f14-8587-531c474c7b48" providerId="ADAL" clId="{6ECD27E6-B224-41CD-B4E0-E297462320DD}" dt="2023-11-24T11:43:44.161" v="154548"/>
          <ac:spMkLst>
            <pc:docMk/>
            <pc:sldMk cId="2428257732" sldId="2147478563"/>
            <ac:spMk id="1004" creationId="{7C011BB9-3EEC-AA23-6CDE-AA05DE364B26}"/>
          </ac:spMkLst>
        </pc:spChg>
        <pc:spChg chg="add del mod">
          <ac:chgData name="Steiner Andreas 6206 ED" userId="e6377c33-a923-4f14-8587-531c474c7b48" providerId="ADAL" clId="{6ECD27E6-B224-41CD-B4E0-E297462320DD}" dt="2023-11-24T11:43:46.456" v="154703"/>
          <ac:spMkLst>
            <pc:docMk/>
            <pc:sldMk cId="2428257732" sldId="2147478563"/>
            <ac:spMk id="1005" creationId="{6FD9FC61-A06C-A47B-91D4-7FAF4662E8DF}"/>
          </ac:spMkLst>
        </pc:spChg>
        <pc:spChg chg="add del mod">
          <ac:chgData name="Steiner Andreas 6206 ED" userId="e6377c33-a923-4f14-8587-531c474c7b48" providerId="ADAL" clId="{6ECD27E6-B224-41CD-B4E0-E297462320DD}" dt="2023-11-24T11:43:48.787" v="154858"/>
          <ac:spMkLst>
            <pc:docMk/>
            <pc:sldMk cId="2428257732" sldId="2147478563"/>
            <ac:spMk id="1006" creationId="{3F035FEB-2CB3-2E6D-9AEE-5CF59BAB4D85}"/>
          </ac:spMkLst>
        </pc:spChg>
        <pc:spChg chg="add del mod">
          <ac:chgData name="Steiner Andreas 6206 ED" userId="e6377c33-a923-4f14-8587-531c474c7b48" providerId="ADAL" clId="{6ECD27E6-B224-41CD-B4E0-E297462320DD}" dt="2023-11-24T11:43:50.798" v="155013"/>
          <ac:spMkLst>
            <pc:docMk/>
            <pc:sldMk cId="2428257732" sldId="2147478563"/>
            <ac:spMk id="1007" creationId="{AFE54B92-C3CF-ABC7-6F62-D4372427EB47}"/>
          </ac:spMkLst>
        </pc:spChg>
        <pc:spChg chg="add del mod">
          <ac:chgData name="Steiner Andreas 6206 ED" userId="e6377c33-a923-4f14-8587-531c474c7b48" providerId="ADAL" clId="{6ECD27E6-B224-41CD-B4E0-E297462320DD}" dt="2023-11-24T11:43:52.998" v="155168"/>
          <ac:spMkLst>
            <pc:docMk/>
            <pc:sldMk cId="2428257732" sldId="2147478563"/>
            <ac:spMk id="1008" creationId="{63E6FE1E-E328-02F5-EF6D-78CC3FEE7EBC}"/>
          </ac:spMkLst>
        </pc:spChg>
        <pc:spChg chg="add del mod">
          <ac:chgData name="Steiner Andreas 6206 ED" userId="e6377c33-a923-4f14-8587-531c474c7b48" providerId="ADAL" clId="{6ECD27E6-B224-41CD-B4E0-E297462320DD}" dt="2023-11-24T11:43:56.061" v="155323"/>
          <ac:spMkLst>
            <pc:docMk/>
            <pc:sldMk cId="2428257732" sldId="2147478563"/>
            <ac:spMk id="1009" creationId="{B937981A-C29A-76A3-422D-ECDBE5A83DD3}"/>
          </ac:spMkLst>
        </pc:spChg>
        <pc:spChg chg="add del mod">
          <ac:chgData name="Steiner Andreas 6206 ED" userId="e6377c33-a923-4f14-8587-531c474c7b48" providerId="ADAL" clId="{6ECD27E6-B224-41CD-B4E0-E297462320DD}" dt="2023-11-24T11:43:58.380" v="155478"/>
          <ac:spMkLst>
            <pc:docMk/>
            <pc:sldMk cId="2428257732" sldId="2147478563"/>
            <ac:spMk id="1010" creationId="{24A9FF71-C178-BA8B-92ED-BA25730F6818}"/>
          </ac:spMkLst>
        </pc:spChg>
        <pc:spChg chg="add del mod">
          <ac:chgData name="Steiner Andreas 6206 ED" userId="e6377c33-a923-4f14-8587-531c474c7b48" providerId="ADAL" clId="{6ECD27E6-B224-41CD-B4E0-E297462320DD}" dt="2023-11-24T11:44:00.445" v="155633"/>
          <ac:spMkLst>
            <pc:docMk/>
            <pc:sldMk cId="2428257732" sldId="2147478563"/>
            <ac:spMk id="1011" creationId="{D98854BA-5B32-F0D9-23AD-C69BFA9B54F1}"/>
          </ac:spMkLst>
        </pc:spChg>
        <pc:spChg chg="add del mod">
          <ac:chgData name="Steiner Andreas 6206 ED" userId="e6377c33-a923-4f14-8587-531c474c7b48" providerId="ADAL" clId="{6ECD27E6-B224-41CD-B4E0-E297462320DD}" dt="2023-11-24T11:44:02.428" v="155788"/>
          <ac:spMkLst>
            <pc:docMk/>
            <pc:sldMk cId="2428257732" sldId="2147478563"/>
            <ac:spMk id="1012" creationId="{598F89DE-D8B9-9451-AF15-BD58554D66AA}"/>
          </ac:spMkLst>
        </pc:spChg>
        <pc:spChg chg="add del mod">
          <ac:chgData name="Steiner Andreas 6206 ED" userId="e6377c33-a923-4f14-8587-531c474c7b48" providerId="ADAL" clId="{6ECD27E6-B224-41CD-B4E0-E297462320DD}" dt="2023-11-24T11:44:04.508" v="155943"/>
          <ac:spMkLst>
            <pc:docMk/>
            <pc:sldMk cId="2428257732" sldId="2147478563"/>
            <ac:spMk id="1013" creationId="{DBC9E267-9B35-9CF3-19D2-E05BBAA37618}"/>
          </ac:spMkLst>
        </pc:spChg>
        <pc:spChg chg="add del mod">
          <ac:chgData name="Steiner Andreas 6206 ED" userId="e6377c33-a923-4f14-8587-531c474c7b48" providerId="ADAL" clId="{6ECD27E6-B224-41CD-B4E0-E297462320DD}" dt="2023-11-24T11:44:06.505" v="156098"/>
          <ac:spMkLst>
            <pc:docMk/>
            <pc:sldMk cId="2428257732" sldId="2147478563"/>
            <ac:spMk id="1014" creationId="{5445F596-8D34-6779-7B30-6A807E4B739D}"/>
          </ac:spMkLst>
        </pc:spChg>
        <pc:spChg chg="add del mod">
          <ac:chgData name="Steiner Andreas 6206 ED" userId="e6377c33-a923-4f14-8587-531c474c7b48" providerId="ADAL" clId="{6ECD27E6-B224-41CD-B4E0-E297462320DD}" dt="2023-11-24T11:44:08.695" v="156253"/>
          <ac:spMkLst>
            <pc:docMk/>
            <pc:sldMk cId="2428257732" sldId="2147478563"/>
            <ac:spMk id="1015" creationId="{21C56A35-0B65-7D16-A81C-72A4E738DF32}"/>
          </ac:spMkLst>
        </pc:spChg>
        <pc:spChg chg="add del mod">
          <ac:chgData name="Steiner Andreas 6206 ED" userId="e6377c33-a923-4f14-8587-531c474c7b48" providerId="ADAL" clId="{6ECD27E6-B224-41CD-B4E0-E297462320DD}" dt="2023-11-24T11:44:10.739" v="156408"/>
          <ac:spMkLst>
            <pc:docMk/>
            <pc:sldMk cId="2428257732" sldId="2147478563"/>
            <ac:spMk id="1016" creationId="{C170EC0E-E64C-90EB-6AA4-2BC9879372A9}"/>
          </ac:spMkLst>
        </pc:spChg>
        <pc:spChg chg="add del mod">
          <ac:chgData name="Steiner Andreas 6206 ED" userId="e6377c33-a923-4f14-8587-531c474c7b48" providerId="ADAL" clId="{6ECD27E6-B224-41CD-B4E0-E297462320DD}" dt="2023-11-24T11:44:12.762" v="156563"/>
          <ac:spMkLst>
            <pc:docMk/>
            <pc:sldMk cId="2428257732" sldId="2147478563"/>
            <ac:spMk id="1017" creationId="{55079CC2-DA51-6DC3-FF1F-3A794DF6950F}"/>
          </ac:spMkLst>
        </pc:spChg>
        <pc:spChg chg="add del mod">
          <ac:chgData name="Steiner Andreas 6206 ED" userId="e6377c33-a923-4f14-8587-531c474c7b48" providerId="ADAL" clId="{6ECD27E6-B224-41CD-B4E0-E297462320DD}" dt="2023-11-24T11:44:14.756" v="156718"/>
          <ac:spMkLst>
            <pc:docMk/>
            <pc:sldMk cId="2428257732" sldId="2147478563"/>
            <ac:spMk id="1018" creationId="{6D979F87-8A23-89E6-EBB0-C159BB5E052E}"/>
          </ac:spMkLst>
        </pc:spChg>
        <pc:spChg chg="add del mod">
          <ac:chgData name="Steiner Andreas 6206 ED" userId="e6377c33-a923-4f14-8587-531c474c7b48" providerId="ADAL" clId="{6ECD27E6-B224-41CD-B4E0-E297462320DD}" dt="2023-11-24T11:44:16.739" v="156873"/>
          <ac:spMkLst>
            <pc:docMk/>
            <pc:sldMk cId="2428257732" sldId="2147478563"/>
            <ac:spMk id="1019" creationId="{4B3CE93A-2507-1AD0-EB1D-A045E1FB6F58}"/>
          </ac:spMkLst>
        </pc:spChg>
        <pc:spChg chg="add del mod">
          <ac:chgData name="Steiner Andreas 6206 ED" userId="e6377c33-a923-4f14-8587-531c474c7b48" providerId="ADAL" clId="{6ECD27E6-B224-41CD-B4E0-E297462320DD}" dt="2023-11-24T11:44:18.857" v="157028"/>
          <ac:spMkLst>
            <pc:docMk/>
            <pc:sldMk cId="2428257732" sldId="2147478563"/>
            <ac:spMk id="1020" creationId="{6462CD3C-D678-BAC8-ED0F-FFD007455BE4}"/>
          </ac:spMkLst>
        </pc:spChg>
        <pc:spChg chg="add del mod">
          <ac:chgData name="Steiner Andreas 6206 ED" userId="e6377c33-a923-4f14-8587-531c474c7b48" providerId="ADAL" clId="{6ECD27E6-B224-41CD-B4E0-E297462320DD}" dt="2023-11-24T11:44:20.952" v="157183"/>
          <ac:spMkLst>
            <pc:docMk/>
            <pc:sldMk cId="2428257732" sldId="2147478563"/>
            <ac:spMk id="1021" creationId="{6FE88561-1D07-37DF-6858-BE45B351F7A2}"/>
          </ac:spMkLst>
        </pc:spChg>
        <pc:spChg chg="add del mod">
          <ac:chgData name="Steiner Andreas 6206 ED" userId="e6377c33-a923-4f14-8587-531c474c7b48" providerId="ADAL" clId="{6ECD27E6-B224-41CD-B4E0-E297462320DD}" dt="2023-11-24T11:44:23.305" v="157338"/>
          <ac:spMkLst>
            <pc:docMk/>
            <pc:sldMk cId="2428257732" sldId="2147478563"/>
            <ac:spMk id="1022" creationId="{B8FE1F0C-CCA6-F433-D31C-742442CB9C45}"/>
          </ac:spMkLst>
        </pc:spChg>
        <pc:spChg chg="add del mod">
          <ac:chgData name="Steiner Andreas 6206 ED" userId="e6377c33-a923-4f14-8587-531c474c7b48" providerId="ADAL" clId="{6ECD27E6-B224-41CD-B4E0-E297462320DD}" dt="2023-11-24T11:44:25.429" v="157493"/>
          <ac:spMkLst>
            <pc:docMk/>
            <pc:sldMk cId="2428257732" sldId="2147478563"/>
            <ac:spMk id="1023" creationId="{68C5EE27-660B-446D-7BDC-D3A423E4F760}"/>
          </ac:spMkLst>
        </pc:spChg>
        <pc:spChg chg="add del mod">
          <ac:chgData name="Steiner Andreas 6206 ED" userId="e6377c33-a923-4f14-8587-531c474c7b48" providerId="ADAL" clId="{6ECD27E6-B224-41CD-B4E0-E297462320DD}" dt="2023-11-24T11:44:30.868" v="157648"/>
          <ac:spMkLst>
            <pc:docMk/>
            <pc:sldMk cId="2428257732" sldId="2147478563"/>
            <ac:spMk id="1024" creationId="{496326C0-A30D-0101-7176-5EA05A66C294}"/>
          </ac:spMkLst>
        </pc:spChg>
        <pc:spChg chg="add mod">
          <ac:chgData name="Steiner Andreas 6206 ED" userId="e6377c33-a923-4f14-8587-531c474c7b48" providerId="ADAL" clId="{6ECD27E6-B224-41CD-B4E0-E297462320DD}" dt="2023-11-24T11:44:30.868" v="157649"/>
          <ac:spMkLst>
            <pc:docMk/>
            <pc:sldMk cId="2428257732" sldId="2147478563"/>
            <ac:spMk id="1025" creationId="{304D339D-5FC9-C756-5431-50AF0D46E946}"/>
          </ac:spMkLst>
        </pc:spChg>
      </pc:sldChg>
      <pc:sldChg chg="addSp delSp modSp mod">
        <pc:chgData name="Steiner Andreas 6206 ED" userId="e6377c33-a923-4f14-8587-531c474c7b48" providerId="ADAL" clId="{6ECD27E6-B224-41CD-B4E0-E297462320DD}" dt="2023-11-24T11:44:30.822" v="157624"/>
        <pc:sldMkLst>
          <pc:docMk/>
          <pc:sldMk cId="1127354295" sldId="2147478564"/>
        </pc:sldMkLst>
        <pc:spChg chg="mod">
          <ac:chgData name="Steiner Andreas 6206 ED" userId="e6377c33-a923-4f14-8587-531c474c7b48" providerId="ADAL" clId="{6ECD27E6-B224-41CD-B4E0-E297462320DD}" dt="2023-11-24T11:44:30.805" v="157620" actId="20577"/>
          <ac:spMkLst>
            <pc:docMk/>
            <pc:sldMk cId="1127354295" sldId="2147478564"/>
            <ac:spMk id="3" creationId="{4E8CC9C0-365F-2AE2-45F2-482F3CE5F5BC}"/>
          </ac:spMkLst>
        </pc:spChg>
        <pc:spChg chg="del">
          <ac:chgData name="Steiner Andreas 6206 ED" userId="e6377c33-a923-4f14-8587-531c474c7b48" providerId="ADAL" clId="{6ECD27E6-B224-41CD-B4E0-E297462320DD}" dt="2023-11-23T19:49:53.624" v="151"/>
          <ac:spMkLst>
            <pc:docMk/>
            <pc:sldMk cId="1127354295" sldId="2147478564"/>
            <ac:spMk id="5" creationId="{64E93222-32B7-20A4-715C-D9A68AE48A8A}"/>
          </ac:spMkLst>
        </pc:spChg>
        <pc:spChg chg="add del mod">
          <ac:chgData name="Steiner Andreas 6206 ED" userId="e6377c33-a923-4f14-8587-531c474c7b48" providerId="ADAL" clId="{6ECD27E6-B224-41CD-B4E0-E297462320DD}" dt="2023-11-23T19:49:53.627" v="154"/>
          <ac:spMkLst>
            <pc:docMk/>
            <pc:sldMk cId="1127354295" sldId="2147478564"/>
            <ac:spMk id="11" creationId="{39BEFC2B-A96F-BC5F-7E06-30C223685EC6}"/>
          </ac:spMkLst>
        </pc:spChg>
        <pc:spChg chg="add del mod">
          <ac:chgData name="Steiner Andreas 6206 ED" userId="e6377c33-a923-4f14-8587-531c474c7b48" providerId="ADAL" clId="{6ECD27E6-B224-41CD-B4E0-E297462320DD}" dt="2023-11-23T19:49:54.526" v="298"/>
          <ac:spMkLst>
            <pc:docMk/>
            <pc:sldMk cId="1127354295" sldId="2147478564"/>
            <ac:spMk id="12" creationId="{6BC1D6E4-D9B8-8C27-79D0-4079F848C73E}"/>
          </ac:spMkLst>
        </pc:spChg>
        <pc:spChg chg="add del mod">
          <ac:chgData name="Steiner Andreas 6206 ED" userId="e6377c33-a923-4f14-8587-531c474c7b48" providerId="ADAL" clId="{6ECD27E6-B224-41CD-B4E0-E297462320DD}" dt="2023-11-23T19:50:25.382" v="453"/>
          <ac:spMkLst>
            <pc:docMk/>
            <pc:sldMk cId="1127354295" sldId="2147478564"/>
            <ac:spMk id="13" creationId="{C9926C36-157B-FAD6-0907-4F9E8F804C7F}"/>
          </ac:spMkLst>
        </pc:spChg>
        <pc:spChg chg="add del mod">
          <ac:chgData name="Steiner Andreas 6206 ED" userId="e6377c33-a923-4f14-8587-531c474c7b48" providerId="ADAL" clId="{6ECD27E6-B224-41CD-B4E0-E297462320DD}" dt="2023-11-23T19:50:35.173" v="608"/>
          <ac:spMkLst>
            <pc:docMk/>
            <pc:sldMk cId="1127354295" sldId="2147478564"/>
            <ac:spMk id="14" creationId="{425D893B-FE9E-B816-6A76-1007C45EB75F}"/>
          </ac:spMkLst>
        </pc:spChg>
        <pc:spChg chg="add del mod">
          <ac:chgData name="Steiner Andreas 6206 ED" userId="e6377c33-a923-4f14-8587-531c474c7b48" providerId="ADAL" clId="{6ECD27E6-B224-41CD-B4E0-E297462320DD}" dt="2023-11-23T19:50:46.839" v="763"/>
          <ac:spMkLst>
            <pc:docMk/>
            <pc:sldMk cId="1127354295" sldId="2147478564"/>
            <ac:spMk id="15" creationId="{8A73ED5C-8A13-41A1-00D8-A429E1B77716}"/>
          </ac:spMkLst>
        </pc:spChg>
        <pc:spChg chg="add del mod">
          <ac:chgData name="Steiner Andreas 6206 ED" userId="e6377c33-a923-4f14-8587-531c474c7b48" providerId="ADAL" clId="{6ECD27E6-B224-41CD-B4E0-E297462320DD}" dt="2023-11-23T19:50:58.548" v="918"/>
          <ac:spMkLst>
            <pc:docMk/>
            <pc:sldMk cId="1127354295" sldId="2147478564"/>
            <ac:spMk id="16" creationId="{C0586682-F001-F4D5-D7BD-58C5B35811A8}"/>
          </ac:spMkLst>
        </pc:spChg>
        <pc:spChg chg="add del mod">
          <ac:chgData name="Steiner Andreas 6206 ED" userId="e6377c33-a923-4f14-8587-531c474c7b48" providerId="ADAL" clId="{6ECD27E6-B224-41CD-B4E0-E297462320DD}" dt="2023-11-23T19:51:09.228" v="1073"/>
          <ac:spMkLst>
            <pc:docMk/>
            <pc:sldMk cId="1127354295" sldId="2147478564"/>
            <ac:spMk id="17" creationId="{5954D4B5-EC11-F089-AC31-1FEB09B27721}"/>
          </ac:spMkLst>
        </pc:spChg>
        <pc:spChg chg="add del mod">
          <ac:chgData name="Steiner Andreas 6206 ED" userId="e6377c33-a923-4f14-8587-531c474c7b48" providerId="ADAL" clId="{6ECD27E6-B224-41CD-B4E0-E297462320DD}" dt="2023-11-23T19:51:20.245" v="1228"/>
          <ac:spMkLst>
            <pc:docMk/>
            <pc:sldMk cId="1127354295" sldId="2147478564"/>
            <ac:spMk id="18" creationId="{76A4DFCA-6F2F-5511-EF5A-F41C2A2002D3}"/>
          </ac:spMkLst>
        </pc:spChg>
        <pc:spChg chg="add del mod">
          <ac:chgData name="Steiner Andreas 6206 ED" userId="e6377c33-a923-4f14-8587-531c474c7b48" providerId="ADAL" clId="{6ECD27E6-B224-41CD-B4E0-E297462320DD}" dt="2023-11-23T19:51:31.675" v="1383"/>
          <ac:spMkLst>
            <pc:docMk/>
            <pc:sldMk cId="1127354295" sldId="2147478564"/>
            <ac:spMk id="19" creationId="{D309A618-EF1B-FAEC-2B4E-C418FBAA59C6}"/>
          </ac:spMkLst>
        </pc:spChg>
        <pc:spChg chg="add del mod">
          <ac:chgData name="Steiner Andreas 6206 ED" userId="e6377c33-a923-4f14-8587-531c474c7b48" providerId="ADAL" clId="{6ECD27E6-B224-41CD-B4E0-E297462320DD}" dt="2023-11-23T19:51:42.354" v="1538"/>
          <ac:spMkLst>
            <pc:docMk/>
            <pc:sldMk cId="1127354295" sldId="2147478564"/>
            <ac:spMk id="20" creationId="{548AA92F-9375-4109-49DC-05B8E3379F43}"/>
          </ac:spMkLst>
        </pc:spChg>
        <pc:spChg chg="add del mod">
          <ac:chgData name="Steiner Andreas 6206 ED" userId="e6377c33-a923-4f14-8587-531c474c7b48" providerId="ADAL" clId="{6ECD27E6-B224-41CD-B4E0-E297462320DD}" dt="2023-11-23T19:51:53.653" v="1693"/>
          <ac:spMkLst>
            <pc:docMk/>
            <pc:sldMk cId="1127354295" sldId="2147478564"/>
            <ac:spMk id="21" creationId="{19749DE2-45C7-DA17-5098-71B0914B5E8D}"/>
          </ac:spMkLst>
        </pc:spChg>
        <pc:spChg chg="add del mod">
          <ac:chgData name="Steiner Andreas 6206 ED" userId="e6377c33-a923-4f14-8587-531c474c7b48" providerId="ADAL" clId="{6ECD27E6-B224-41CD-B4E0-E297462320DD}" dt="2023-11-23T19:52:05.341" v="1848"/>
          <ac:spMkLst>
            <pc:docMk/>
            <pc:sldMk cId="1127354295" sldId="2147478564"/>
            <ac:spMk id="22" creationId="{22ED090B-2F4B-95A8-79B8-B0086CD35BB2}"/>
          </ac:spMkLst>
        </pc:spChg>
        <pc:spChg chg="add del mod">
          <ac:chgData name="Steiner Andreas 6206 ED" userId="e6377c33-a923-4f14-8587-531c474c7b48" providerId="ADAL" clId="{6ECD27E6-B224-41CD-B4E0-E297462320DD}" dt="2023-11-23T19:52:17.055" v="2003"/>
          <ac:spMkLst>
            <pc:docMk/>
            <pc:sldMk cId="1127354295" sldId="2147478564"/>
            <ac:spMk id="23" creationId="{C4AA8FBA-09DE-4E03-2A5B-D6A64091FCEA}"/>
          </ac:spMkLst>
        </pc:spChg>
        <pc:spChg chg="add del mod">
          <ac:chgData name="Steiner Andreas 6206 ED" userId="e6377c33-a923-4f14-8587-531c474c7b48" providerId="ADAL" clId="{6ECD27E6-B224-41CD-B4E0-E297462320DD}" dt="2023-11-23T19:52:28.740" v="2158"/>
          <ac:spMkLst>
            <pc:docMk/>
            <pc:sldMk cId="1127354295" sldId="2147478564"/>
            <ac:spMk id="24" creationId="{9266C742-8264-BC6C-61B7-A4AF9FEDE839}"/>
          </ac:spMkLst>
        </pc:spChg>
        <pc:spChg chg="add del mod">
          <ac:chgData name="Steiner Andreas 6206 ED" userId="e6377c33-a923-4f14-8587-531c474c7b48" providerId="ADAL" clId="{6ECD27E6-B224-41CD-B4E0-E297462320DD}" dt="2023-11-23T19:52:40.428" v="2313"/>
          <ac:spMkLst>
            <pc:docMk/>
            <pc:sldMk cId="1127354295" sldId="2147478564"/>
            <ac:spMk id="25" creationId="{7A073AC4-30D7-2566-CAE1-A1F0E5498BF8}"/>
          </ac:spMkLst>
        </pc:spChg>
        <pc:spChg chg="add del mod">
          <ac:chgData name="Steiner Andreas 6206 ED" userId="e6377c33-a923-4f14-8587-531c474c7b48" providerId="ADAL" clId="{6ECD27E6-B224-41CD-B4E0-E297462320DD}" dt="2023-11-23T19:52:51.786" v="2468"/>
          <ac:spMkLst>
            <pc:docMk/>
            <pc:sldMk cId="1127354295" sldId="2147478564"/>
            <ac:spMk id="26" creationId="{67852B09-1100-E52D-AD02-D208AE138466}"/>
          </ac:spMkLst>
        </pc:spChg>
        <pc:spChg chg="add del mod">
          <ac:chgData name="Steiner Andreas 6206 ED" userId="e6377c33-a923-4f14-8587-531c474c7b48" providerId="ADAL" clId="{6ECD27E6-B224-41CD-B4E0-E297462320DD}" dt="2023-11-23T19:53:03.490" v="2623"/>
          <ac:spMkLst>
            <pc:docMk/>
            <pc:sldMk cId="1127354295" sldId="2147478564"/>
            <ac:spMk id="27" creationId="{E0F41EFC-DD3B-1FBB-E6BD-F23744DF5D74}"/>
          </ac:spMkLst>
        </pc:spChg>
        <pc:spChg chg="add del mod">
          <ac:chgData name="Steiner Andreas 6206 ED" userId="e6377c33-a923-4f14-8587-531c474c7b48" providerId="ADAL" clId="{6ECD27E6-B224-41CD-B4E0-E297462320DD}" dt="2023-11-23T19:53:15.221" v="2778"/>
          <ac:spMkLst>
            <pc:docMk/>
            <pc:sldMk cId="1127354295" sldId="2147478564"/>
            <ac:spMk id="28" creationId="{EB6372D9-E92D-9E34-C3D8-58ADCB398689}"/>
          </ac:spMkLst>
        </pc:spChg>
        <pc:spChg chg="add del mod">
          <ac:chgData name="Steiner Andreas 6206 ED" userId="e6377c33-a923-4f14-8587-531c474c7b48" providerId="ADAL" clId="{6ECD27E6-B224-41CD-B4E0-E297462320DD}" dt="2023-11-23T19:53:26.902" v="2933"/>
          <ac:spMkLst>
            <pc:docMk/>
            <pc:sldMk cId="1127354295" sldId="2147478564"/>
            <ac:spMk id="29" creationId="{2627B561-3AA1-B2EE-FE12-39E21617D41E}"/>
          </ac:spMkLst>
        </pc:spChg>
        <pc:spChg chg="add del mod">
          <ac:chgData name="Steiner Andreas 6206 ED" userId="e6377c33-a923-4f14-8587-531c474c7b48" providerId="ADAL" clId="{6ECD27E6-B224-41CD-B4E0-E297462320DD}" dt="2023-11-23T19:53:38.559" v="3088"/>
          <ac:spMkLst>
            <pc:docMk/>
            <pc:sldMk cId="1127354295" sldId="2147478564"/>
            <ac:spMk id="30" creationId="{73A3D6EC-80A1-CFF6-1DD4-056742A7CBEC}"/>
          </ac:spMkLst>
        </pc:spChg>
        <pc:spChg chg="add del mod">
          <ac:chgData name="Steiner Andreas 6206 ED" userId="e6377c33-a923-4f14-8587-531c474c7b48" providerId="ADAL" clId="{6ECD27E6-B224-41CD-B4E0-E297462320DD}" dt="2023-11-23T19:53:50.222" v="3243"/>
          <ac:spMkLst>
            <pc:docMk/>
            <pc:sldMk cId="1127354295" sldId="2147478564"/>
            <ac:spMk id="31" creationId="{51F89403-D8E4-E951-3F5E-5A8C51937459}"/>
          </ac:spMkLst>
        </pc:spChg>
        <pc:spChg chg="add del mod">
          <ac:chgData name="Steiner Andreas 6206 ED" userId="e6377c33-a923-4f14-8587-531c474c7b48" providerId="ADAL" clId="{6ECD27E6-B224-41CD-B4E0-E297462320DD}" dt="2023-11-23T19:54:01.895" v="3398"/>
          <ac:spMkLst>
            <pc:docMk/>
            <pc:sldMk cId="1127354295" sldId="2147478564"/>
            <ac:spMk id="32" creationId="{F8E16BE9-903C-043B-E614-7EC681D9501D}"/>
          </ac:spMkLst>
        </pc:spChg>
        <pc:spChg chg="add del mod">
          <ac:chgData name="Steiner Andreas 6206 ED" userId="e6377c33-a923-4f14-8587-531c474c7b48" providerId="ADAL" clId="{6ECD27E6-B224-41CD-B4E0-E297462320DD}" dt="2023-11-23T19:54:13.587" v="3553"/>
          <ac:spMkLst>
            <pc:docMk/>
            <pc:sldMk cId="1127354295" sldId="2147478564"/>
            <ac:spMk id="33" creationId="{70EF098C-74BA-D8C7-F772-E8850623754E}"/>
          </ac:spMkLst>
        </pc:spChg>
        <pc:spChg chg="add del mod">
          <ac:chgData name="Steiner Andreas 6206 ED" userId="e6377c33-a923-4f14-8587-531c474c7b48" providerId="ADAL" clId="{6ECD27E6-B224-41CD-B4E0-E297462320DD}" dt="2023-11-23T19:54:25.249" v="3708"/>
          <ac:spMkLst>
            <pc:docMk/>
            <pc:sldMk cId="1127354295" sldId="2147478564"/>
            <ac:spMk id="34" creationId="{EE34C601-F971-F308-0826-2FCD8C0E85B1}"/>
          </ac:spMkLst>
        </pc:spChg>
        <pc:spChg chg="add del mod">
          <ac:chgData name="Steiner Andreas 6206 ED" userId="e6377c33-a923-4f14-8587-531c474c7b48" providerId="ADAL" clId="{6ECD27E6-B224-41CD-B4E0-E297462320DD}" dt="2023-11-23T19:54:36.971" v="3863"/>
          <ac:spMkLst>
            <pc:docMk/>
            <pc:sldMk cId="1127354295" sldId="2147478564"/>
            <ac:spMk id="35" creationId="{4B4EBA36-7531-58CF-C3F4-6FDD8092677B}"/>
          </ac:spMkLst>
        </pc:spChg>
        <pc:spChg chg="add del mod">
          <ac:chgData name="Steiner Andreas 6206 ED" userId="e6377c33-a923-4f14-8587-531c474c7b48" providerId="ADAL" clId="{6ECD27E6-B224-41CD-B4E0-E297462320DD}" dt="2023-11-23T19:54:48.268" v="4018"/>
          <ac:spMkLst>
            <pc:docMk/>
            <pc:sldMk cId="1127354295" sldId="2147478564"/>
            <ac:spMk id="36" creationId="{2DCA5644-8DFD-6A90-9852-E9B10F3F655C}"/>
          </ac:spMkLst>
        </pc:spChg>
        <pc:spChg chg="add del mod">
          <ac:chgData name="Steiner Andreas 6206 ED" userId="e6377c33-a923-4f14-8587-531c474c7b48" providerId="ADAL" clId="{6ECD27E6-B224-41CD-B4E0-E297462320DD}" dt="2023-11-23T19:54:59.950" v="4173"/>
          <ac:spMkLst>
            <pc:docMk/>
            <pc:sldMk cId="1127354295" sldId="2147478564"/>
            <ac:spMk id="37" creationId="{500CBB1D-4C35-DE69-6F9A-500A3B4931E7}"/>
          </ac:spMkLst>
        </pc:spChg>
        <pc:spChg chg="add del mod">
          <ac:chgData name="Steiner Andreas 6206 ED" userId="e6377c33-a923-4f14-8587-531c474c7b48" providerId="ADAL" clId="{6ECD27E6-B224-41CD-B4E0-E297462320DD}" dt="2023-11-23T19:55:11.679" v="4328"/>
          <ac:spMkLst>
            <pc:docMk/>
            <pc:sldMk cId="1127354295" sldId="2147478564"/>
            <ac:spMk id="38" creationId="{1DFF73DF-6B3F-5EC1-6DB5-804A8A2E0CED}"/>
          </ac:spMkLst>
        </pc:spChg>
        <pc:spChg chg="add del mod">
          <ac:chgData name="Steiner Andreas 6206 ED" userId="e6377c33-a923-4f14-8587-531c474c7b48" providerId="ADAL" clId="{6ECD27E6-B224-41CD-B4E0-E297462320DD}" dt="2023-11-23T19:55:23.353" v="4483"/>
          <ac:spMkLst>
            <pc:docMk/>
            <pc:sldMk cId="1127354295" sldId="2147478564"/>
            <ac:spMk id="39" creationId="{8EBAD8D7-349C-08CC-D920-3A58E663A39B}"/>
          </ac:spMkLst>
        </pc:spChg>
        <pc:spChg chg="add del mod">
          <ac:chgData name="Steiner Andreas 6206 ED" userId="e6377c33-a923-4f14-8587-531c474c7b48" providerId="ADAL" clId="{6ECD27E6-B224-41CD-B4E0-E297462320DD}" dt="2023-11-23T19:55:35.019" v="4638"/>
          <ac:spMkLst>
            <pc:docMk/>
            <pc:sldMk cId="1127354295" sldId="2147478564"/>
            <ac:spMk id="40" creationId="{C777CD43-B80A-1BCD-4937-2B4AB7FB70AF}"/>
          </ac:spMkLst>
        </pc:spChg>
        <pc:spChg chg="add del mod">
          <ac:chgData name="Steiner Andreas 6206 ED" userId="e6377c33-a923-4f14-8587-531c474c7b48" providerId="ADAL" clId="{6ECD27E6-B224-41CD-B4E0-E297462320DD}" dt="2023-11-23T19:55:46.299" v="4793"/>
          <ac:spMkLst>
            <pc:docMk/>
            <pc:sldMk cId="1127354295" sldId="2147478564"/>
            <ac:spMk id="41" creationId="{F6142334-F291-229F-FFB7-A26212910143}"/>
          </ac:spMkLst>
        </pc:spChg>
        <pc:spChg chg="add del mod">
          <ac:chgData name="Steiner Andreas 6206 ED" userId="e6377c33-a923-4f14-8587-531c474c7b48" providerId="ADAL" clId="{6ECD27E6-B224-41CD-B4E0-E297462320DD}" dt="2023-11-23T19:55:57.995" v="4948"/>
          <ac:spMkLst>
            <pc:docMk/>
            <pc:sldMk cId="1127354295" sldId="2147478564"/>
            <ac:spMk id="42" creationId="{F8E82BB2-1D3A-03B3-4B36-729716E96C6E}"/>
          </ac:spMkLst>
        </pc:spChg>
        <pc:spChg chg="add del mod">
          <ac:chgData name="Steiner Andreas 6206 ED" userId="e6377c33-a923-4f14-8587-531c474c7b48" providerId="ADAL" clId="{6ECD27E6-B224-41CD-B4E0-E297462320DD}" dt="2023-11-23T19:56:09.675" v="5103"/>
          <ac:spMkLst>
            <pc:docMk/>
            <pc:sldMk cId="1127354295" sldId="2147478564"/>
            <ac:spMk id="43" creationId="{BA0F06D4-2F21-C5DC-846A-2A778FBD891A}"/>
          </ac:spMkLst>
        </pc:spChg>
        <pc:spChg chg="add del mod">
          <ac:chgData name="Steiner Andreas 6206 ED" userId="e6377c33-a923-4f14-8587-531c474c7b48" providerId="ADAL" clId="{6ECD27E6-B224-41CD-B4E0-E297462320DD}" dt="2023-11-23T19:56:21.364" v="5258"/>
          <ac:spMkLst>
            <pc:docMk/>
            <pc:sldMk cId="1127354295" sldId="2147478564"/>
            <ac:spMk id="44" creationId="{6ADBB2B3-7C53-D791-6E89-860F6EDF580C}"/>
          </ac:spMkLst>
        </pc:spChg>
        <pc:spChg chg="add del mod">
          <ac:chgData name="Steiner Andreas 6206 ED" userId="e6377c33-a923-4f14-8587-531c474c7b48" providerId="ADAL" clId="{6ECD27E6-B224-41CD-B4E0-E297462320DD}" dt="2023-11-23T19:56:33.046" v="5413"/>
          <ac:spMkLst>
            <pc:docMk/>
            <pc:sldMk cId="1127354295" sldId="2147478564"/>
            <ac:spMk id="45" creationId="{284D2E7E-904E-E5DD-7413-44DF39F7ACA4}"/>
          </ac:spMkLst>
        </pc:spChg>
        <pc:spChg chg="add del mod">
          <ac:chgData name="Steiner Andreas 6206 ED" userId="e6377c33-a923-4f14-8587-531c474c7b48" providerId="ADAL" clId="{6ECD27E6-B224-41CD-B4E0-E297462320DD}" dt="2023-11-23T19:56:44.379" v="5568"/>
          <ac:spMkLst>
            <pc:docMk/>
            <pc:sldMk cId="1127354295" sldId="2147478564"/>
            <ac:spMk id="46" creationId="{E73B0330-7B41-895F-D38D-ADBE17D84B54}"/>
          </ac:spMkLst>
        </pc:spChg>
        <pc:spChg chg="add del mod">
          <ac:chgData name="Steiner Andreas 6206 ED" userId="e6377c33-a923-4f14-8587-531c474c7b48" providerId="ADAL" clId="{6ECD27E6-B224-41CD-B4E0-E297462320DD}" dt="2023-11-23T19:56:54.782" v="5723"/>
          <ac:spMkLst>
            <pc:docMk/>
            <pc:sldMk cId="1127354295" sldId="2147478564"/>
            <ac:spMk id="47" creationId="{06067052-F8AF-E941-8F55-C0F6375A5815}"/>
          </ac:spMkLst>
        </pc:spChg>
        <pc:spChg chg="add del mod">
          <ac:chgData name="Steiner Andreas 6206 ED" userId="e6377c33-a923-4f14-8587-531c474c7b48" providerId="ADAL" clId="{6ECD27E6-B224-41CD-B4E0-E297462320DD}" dt="2023-11-23T19:57:06.246" v="5878"/>
          <ac:spMkLst>
            <pc:docMk/>
            <pc:sldMk cId="1127354295" sldId="2147478564"/>
            <ac:spMk id="48" creationId="{EF94C3DC-181E-931B-9A63-9F222EC7E5ED}"/>
          </ac:spMkLst>
        </pc:spChg>
        <pc:spChg chg="add del mod">
          <ac:chgData name="Steiner Andreas 6206 ED" userId="e6377c33-a923-4f14-8587-531c474c7b48" providerId="ADAL" clId="{6ECD27E6-B224-41CD-B4E0-E297462320DD}" dt="2023-11-23T19:57:17.946" v="6033"/>
          <ac:spMkLst>
            <pc:docMk/>
            <pc:sldMk cId="1127354295" sldId="2147478564"/>
            <ac:spMk id="49" creationId="{38C9CE34-4FD6-1FC1-E0E1-7894C02EC63C}"/>
          </ac:spMkLst>
        </pc:spChg>
        <pc:spChg chg="add del mod">
          <ac:chgData name="Steiner Andreas 6206 ED" userId="e6377c33-a923-4f14-8587-531c474c7b48" providerId="ADAL" clId="{6ECD27E6-B224-41CD-B4E0-E297462320DD}" dt="2023-11-23T19:57:29.361" v="6188"/>
          <ac:spMkLst>
            <pc:docMk/>
            <pc:sldMk cId="1127354295" sldId="2147478564"/>
            <ac:spMk id="50" creationId="{D3554672-B4E6-F0C0-5B40-3E2AD2072BD7}"/>
          </ac:spMkLst>
        </pc:spChg>
        <pc:spChg chg="add del mod">
          <ac:chgData name="Steiner Andreas 6206 ED" userId="e6377c33-a923-4f14-8587-531c474c7b48" providerId="ADAL" clId="{6ECD27E6-B224-41CD-B4E0-E297462320DD}" dt="2023-11-23T19:57:41.016" v="6343"/>
          <ac:spMkLst>
            <pc:docMk/>
            <pc:sldMk cId="1127354295" sldId="2147478564"/>
            <ac:spMk id="51" creationId="{EFEA10E8-1F0A-AB7C-C83F-27F3FB42FDAF}"/>
          </ac:spMkLst>
        </pc:spChg>
        <pc:spChg chg="add del mod">
          <ac:chgData name="Steiner Andreas 6206 ED" userId="e6377c33-a923-4f14-8587-531c474c7b48" providerId="ADAL" clId="{6ECD27E6-B224-41CD-B4E0-E297462320DD}" dt="2023-11-23T19:57:52.683" v="6498"/>
          <ac:spMkLst>
            <pc:docMk/>
            <pc:sldMk cId="1127354295" sldId="2147478564"/>
            <ac:spMk id="52" creationId="{5E0A7862-8C7C-70DB-E0D2-65917D77E085}"/>
          </ac:spMkLst>
        </pc:spChg>
        <pc:spChg chg="add del mod">
          <ac:chgData name="Steiner Andreas 6206 ED" userId="e6377c33-a923-4f14-8587-531c474c7b48" providerId="ADAL" clId="{6ECD27E6-B224-41CD-B4E0-E297462320DD}" dt="2023-11-23T19:58:04.394" v="6653"/>
          <ac:spMkLst>
            <pc:docMk/>
            <pc:sldMk cId="1127354295" sldId="2147478564"/>
            <ac:spMk id="53" creationId="{F32A7EAF-5CC6-54EC-2BFB-C50550753D69}"/>
          </ac:spMkLst>
        </pc:spChg>
        <pc:spChg chg="add del mod">
          <ac:chgData name="Steiner Andreas 6206 ED" userId="e6377c33-a923-4f14-8587-531c474c7b48" providerId="ADAL" clId="{6ECD27E6-B224-41CD-B4E0-E297462320DD}" dt="2023-11-23T19:58:15.759" v="6808"/>
          <ac:spMkLst>
            <pc:docMk/>
            <pc:sldMk cId="1127354295" sldId="2147478564"/>
            <ac:spMk id="54" creationId="{7703620E-94CB-1274-1B41-267D7BC9A416}"/>
          </ac:spMkLst>
        </pc:spChg>
        <pc:spChg chg="add del mod">
          <ac:chgData name="Steiner Andreas 6206 ED" userId="e6377c33-a923-4f14-8587-531c474c7b48" providerId="ADAL" clId="{6ECD27E6-B224-41CD-B4E0-E297462320DD}" dt="2023-11-23T19:58:27.913" v="6963"/>
          <ac:spMkLst>
            <pc:docMk/>
            <pc:sldMk cId="1127354295" sldId="2147478564"/>
            <ac:spMk id="55" creationId="{9E2F6F0E-25F2-A9CC-47BA-823D4D9866F8}"/>
          </ac:spMkLst>
        </pc:spChg>
        <pc:spChg chg="add del mod">
          <ac:chgData name="Steiner Andreas 6206 ED" userId="e6377c33-a923-4f14-8587-531c474c7b48" providerId="ADAL" clId="{6ECD27E6-B224-41CD-B4E0-E297462320DD}" dt="2023-11-23T19:58:39.646" v="7118"/>
          <ac:spMkLst>
            <pc:docMk/>
            <pc:sldMk cId="1127354295" sldId="2147478564"/>
            <ac:spMk id="56" creationId="{006B2AB7-8141-B996-422D-77DBE6B5BCF6}"/>
          </ac:spMkLst>
        </pc:spChg>
        <pc:spChg chg="add del mod">
          <ac:chgData name="Steiner Andreas 6206 ED" userId="e6377c33-a923-4f14-8587-531c474c7b48" providerId="ADAL" clId="{6ECD27E6-B224-41CD-B4E0-E297462320DD}" dt="2023-11-23T19:58:51.336" v="7273"/>
          <ac:spMkLst>
            <pc:docMk/>
            <pc:sldMk cId="1127354295" sldId="2147478564"/>
            <ac:spMk id="57" creationId="{56A6C1EA-FD80-FCC9-6F7B-590A1526E6F8}"/>
          </ac:spMkLst>
        </pc:spChg>
        <pc:spChg chg="add del mod">
          <ac:chgData name="Steiner Andreas 6206 ED" userId="e6377c33-a923-4f14-8587-531c474c7b48" providerId="ADAL" clId="{6ECD27E6-B224-41CD-B4E0-E297462320DD}" dt="2023-11-23T19:59:02.675" v="7428"/>
          <ac:spMkLst>
            <pc:docMk/>
            <pc:sldMk cId="1127354295" sldId="2147478564"/>
            <ac:spMk id="58" creationId="{6ACC565A-A4E4-D738-0A3B-CF670DF415E4}"/>
          </ac:spMkLst>
        </pc:spChg>
        <pc:spChg chg="add del mod">
          <ac:chgData name="Steiner Andreas 6206 ED" userId="e6377c33-a923-4f14-8587-531c474c7b48" providerId="ADAL" clId="{6ECD27E6-B224-41CD-B4E0-E297462320DD}" dt="2023-11-24T08:31:41.572" v="7583"/>
          <ac:spMkLst>
            <pc:docMk/>
            <pc:sldMk cId="1127354295" sldId="2147478564"/>
            <ac:spMk id="59" creationId="{ACEC54C5-2360-8AC0-8736-4B19589B8E40}"/>
          </ac:spMkLst>
        </pc:spChg>
        <pc:spChg chg="add del mod">
          <ac:chgData name="Steiner Andreas 6206 ED" userId="e6377c33-a923-4f14-8587-531c474c7b48" providerId="ADAL" clId="{6ECD27E6-B224-41CD-B4E0-E297462320DD}" dt="2023-11-24T08:31:45.255" v="7738"/>
          <ac:spMkLst>
            <pc:docMk/>
            <pc:sldMk cId="1127354295" sldId="2147478564"/>
            <ac:spMk id="60" creationId="{BF8C6BEC-6815-E2FF-8C09-4B7071A34F7D}"/>
          </ac:spMkLst>
        </pc:spChg>
        <pc:spChg chg="add del mod">
          <ac:chgData name="Steiner Andreas 6206 ED" userId="e6377c33-a923-4f14-8587-531c474c7b48" providerId="ADAL" clId="{6ECD27E6-B224-41CD-B4E0-E297462320DD}" dt="2023-11-24T08:31:47.097" v="7893"/>
          <ac:spMkLst>
            <pc:docMk/>
            <pc:sldMk cId="1127354295" sldId="2147478564"/>
            <ac:spMk id="61" creationId="{E6D1DDE0-543A-20E1-5ECA-6BFEDFAF1D3B}"/>
          </ac:spMkLst>
        </pc:spChg>
        <pc:spChg chg="add del mod">
          <ac:chgData name="Steiner Andreas 6206 ED" userId="e6377c33-a923-4f14-8587-531c474c7b48" providerId="ADAL" clId="{6ECD27E6-B224-41CD-B4E0-E297462320DD}" dt="2023-11-24T08:31:48.984" v="8048"/>
          <ac:spMkLst>
            <pc:docMk/>
            <pc:sldMk cId="1127354295" sldId="2147478564"/>
            <ac:spMk id="62" creationId="{93D424C4-5610-579C-EE4A-510D81B00CD1}"/>
          </ac:spMkLst>
        </pc:spChg>
        <pc:spChg chg="add del mod">
          <ac:chgData name="Steiner Andreas 6206 ED" userId="e6377c33-a923-4f14-8587-531c474c7b48" providerId="ADAL" clId="{6ECD27E6-B224-41CD-B4E0-E297462320DD}" dt="2023-11-24T08:31:50.823" v="8203"/>
          <ac:spMkLst>
            <pc:docMk/>
            <pc:sldMk cId="1127354295" sldId="2147478564"/>
            <ac:spMk id="63" creationId="{E85FCF48-B4C8-574B-8A11-DBCE6FEC5FF8}"/>
          </ac:spMkLst>
        </pc:spChg>
        <pc:spChg chg="add del mod">
          <ac:chgData name="Steiner Andreas 6206 ED" userId="e6377c33-a923-4f14-8587-531c474c7b48" providerId="ADAL" clId="{6ECD27E6-B224-41CD-B4E0-E297462320DD}" dt="2023-11-24T08:31:52.632" v="8358"/>
          <ac:spMkLst>
            <pc:docMk/>
            <pc:sldMk cId="1127354295" sldId="2147478564"/>
            <ac:spMk id="64" creationId="{28D32E11-D194-2350-F0FB-6CAA8ACDB0BE}"/>
          </ac:spMkLst>
        </pc:spChg>
        <pc:spChg chg="add del mod">
          <ac:chgData name="Steiner Andreas 6206 ED" userId="e6377c33-a923-4f14-8587-531c474c7b48" providerId="ADAL" clId="{6ECD27E6-B224-41CD-B4E0-E297462320DD}" dt="2023-11-24T08:31:54.427" v="8513"/>
          <ac:spMkLst>
            <pc:docMk/>
            <pc:sldMk cId="1127354295" sldId="2147478564"/>
            <ac:spMk id="65" creationId="{52B833C8-6A10-865F-04FE-942A806DEDEE}"/>
          </ac:spMkLst>
        </pc:spChg>
        <pc:spChg chg="add del mod">
          <ac:chgData name="Steiner Andreas 6206 ED" userId="e6377c33-a923-4f14-8587-531c474c7b48" providerId="ADAL" clId="{6ECD27E6-B224-41CD-B4E0-E297462320DD}" dt="2023-11-24T08:31:56.273" v="8668"/>
          <ac:spMkLst>
            <pc:docMk/>
            <pc:sldMk cId="1127354295" sldId="2147478564"/>
            <ac:spMk id="66" creationId="{4E8F427E-A23F-3617-C5F5-C6D3980AFB49}"/>
          </ac:spMkLst>
        </pc:spChg>
        <pc:spChg chg="add del mod">
          <ac:chgData name="Steiner Andreas 6206 ED" userId="e6377c33-a923-4f14-8587-531c474c7b48" providerId="ADAL" clId="{6ECD27E6-B224-41CD-B4E0-E297462320DD}" dt="2023-11-24T08:31:58.160" v="8823"/>
          <ac:spMkLst>
            <pc:docMk/>
            <pc:sldMk cId="1127354295" sldId="2147478564"/>
            <ac:spMk id="67" creationId="{0CD6565C-3CBF-42C5-0461-0F8EB52F8203}"/>
          </ac:spMkLst>
        </pc:spChg>
        <pc:spChg chg="add del mod">
          <ac:chgData name="Steiner Andreas 6206 ED" userId="e6377c33-a923-4f14-8587-531c474c7b48" providerId="ADAL" clId="{6ECD27E6-B224-41CD-B4E0-E297462320DD}" dt="2023-11-24T08:32:00.943" v="8978"/>
          <ac:spMkLst>
            <pc:docMk/>
            <pc:sldMk cId="1127354295" sldId="2147478564"/>
            <ac:spMk id="68" creationId="{DCE4433B-2B43-15F4-6E4C-0E8956D9F5AA}"/>
          </ac:spMkLst>
        </pc:spChg>
        <pc:spChg chg="add del mod">
          <ac:chgData name="Steiner Andreas 6206 ED" userId="e6377c33-a923-4f14-8587-531c474c7b48" providerId="ADAL" clId="{6ECD27E6-B224-41CD-B4E0-E297462320DD}" dt="2023-11-24T08:32:03.234" v="9133"/>
          <ac:spMkLst>
            <pc:docMk/>
            <pc:sldMk cId="1127354295" sldId="2147478564"/>
            <ac:spMk id="69" creationId="{CA52BB8F-6926-400A-361D-32DEA4E5082D}"/>
          </ac:spMkLst>
        </pc:spChg>
        <pc:spChg chg="add del mod">
          <ac:chgData name="Steiner Andreas 6206 ED" userId="e6377c33-a923-4f14-8587-531c474c7b48" providerId="ADAL" clId="{6ECD27E6-B224-41CD-B4E0-E297462320DD}" dt="2023-11-24T08:32:05.262" v="9288"/>
          <ac:spMkLst>
            <pc:docMk/>
            <pc:sldMk cId="1127354295" sldId="2147478564"/>
            <ac:spMk id="70" creationId="{0DAAC25E-8FDA-42EA-FDD7-58AD4DAA2AA7}"/>
          </ac:spMkLst>
        </pc:spChg>
        <pc:spChg chg="add del mod">
          <ac:chgData name="Steiner Andreas 6206 ED" userId="e6377c33-a923-4f14-8587-531c474c7b48" providerId="ADAL" clId="{6ECD27E6-B224-41CD-B4E0-E297462320DD}" dt="2023-11-24T08:32:07.212" v="9443"/>
          <ac:spMkLst>
            <pc:docMk/>
            <pc:sldMk cId="1127354295" sldId="2147478564"/>
            <ac:spMk id="71" creationId="{E3833DAE-C6F0-83D3-FF49-6C5BE447AB3C}"/>
          </ac:spMkLst>
        </pc:spChg>
        <pc:spChg chg="add del mod">
          <ac:chgData name="Steiner Andreas 6206 ED" userId="e6377c33-a923-4f14-8587-531c474c7b48" providerId="ADAL" clId="{6ECD27E6-B224-41CD-B4E0-E297462320DD}" dt="2023-11-24T08:32:09.549" v="9598"/>
          <ac:spMkLst>
            <pc:docMk/>
            <pc:sldMk cId="1127354295" sldId="2147478564"/>
            <ac:spMk id="72" creationId="{553A8113-C5FD-E50F-EA70-5954884E8C12}"/>
          </ac:spMkLst>
        </pc:spChg>
        <pc:spChg chg="add del mod">
          <ac:chgData name="Steiner Andreas 6206 ED" userId="e6377c33-a923-4f14-8587-531c474c7b48" providerId="ADAL" clId="{6ECD27E6-B224-41CD-B4E0-E297462320DD}" dt="2023-11-24T08:32:11.853" v="9753"/>
          <ac:spMkLst>
            <pc:docMk/>
            <pc:sldMk cId="1127354295" sldId="2147478564"/>
            <ac:spMk id="73" creationId="{3ABA7F13-C4B4-6632-2AB2-3D226BC9627C}"/>
          </ac:spMkLst>
        </pc:spChg>
        <pc:spChg chg="add del mod">
          <ac:chgData name="Steiner Andreas 6206 ED" userId="e6377c33-a923-4f14-8587-531c474c7b48" providerId="ADAL" clId="{6ECD27E6-B224-41CD-B4E0-E297462320DD}" dt="2023-11-24T08:32:14.006" v="9908"/>
          <ac:spMkLst>
            <pc:docMk/>
            <pc:sldMk cId="1127354295" sldId="2147478564"/>
            <ac:spMk id="74" creationId="{D50C6551-7B9D-B9B2-8F55-0E3CD21E85C3}"/>
          </ac:spMkLst>
        </pc:spChg>
        <pc:spChg chg="add del mod">
          <ac:chgData name="Steiner Andreas 6206 ED" userId="e6377c33-a923-4f14-8587-531c474c7b48" providerId="ADAL" clId="{6ECD27E6-B224-41CD-B4E0-E297462320DD}" dt="2023-11-24T08:32:15.950" v="10063"/>
          <ac:spMkLst>
            <pc:docMk/>
            <pc:sldMk cId="1127354295" sldId="2147478564"/>
            <ac:spMk id="75" creationId="{32DADF0C-BA5D-CA56-5086-DCD7951C2BD3}"/>
          </ac:spMkLst>
        </pc:spChg>
        <pc:spChg chg="add del mod">
          <ac:chgData name="Steiner Andreas 6206 ED" userId="e6377c33-a923-4f14-8587-531c474c7b48" providerId="ADAL" clId="{6ECD27E6-B224-41CD-B4E0-E297462320DD}" dt="2023-11-24T08:32:17.941" v="10218"/>
          <ac:spMkLst>
            <pc:docMk/>
            <pc:sldMk cId="1127354295" sldId="2147478564"/>
            <ac:spMk id="76" creationId="{277C9FBA-316E-E008-B50A-A6780B500591}"/>
          </ac:spMkLst>
        </pc:spChg>
        <pc:spChg chg="add del mod">
          <ac:chgData name="Steiner Andreas 6206 ED" userId="e6377c33-a923-4f14-8587-531c474c7b48" providerId="ADAL" clId="{6ECD27E6-B224-41CD-B4E0-E297462320DD}" dt="2023-11-24T08:32:19.917" v="10373"/>
          <ac:spMkLst>
            <pc:docMk/>
            <pc:sldMk cId="1127354295" sldId="2147478564"/>
            <ac:spMk id="77" creationId="{4C103B49-FD17-B8AA-BDDD-BA1D135C9FD1}"/>
          </ac:spMkLst>
        </pc:spChg>
        <pc:spChg chg="add del mod">
          <ac:chgData name="Steiner Andreas 6206 ED" userId="e6377c33-a923-4f14-8587-531c474c7b48" providerId="ADAL" clId="{6ECD27E6-B224-41CD-B4E0-E297462320DD}" dt="2023-11-24T08:32:21.860" v="10528"/>
          <ac:spMkLst>
            <pc:docMk/>
            <pc:sldMk cId="1127354295" sldId="2147478564"/>
            <ac:spMk id="78" creationId="{4DB9F94C-F674-E9C8-FA86-97651A46D16D}"/>
          </ac:spMkLst>
        </pc:spChg>
        <pc:spChg chg="add del mod">
          <ac:chgData name="Steiner Andreas 6206 ED" userId="e6377c33-a923-4f14-8587-531c474c7b48" providerId="ADAL" clId="{6ECD27E6-B224-41CD-B4E0-E297462320DD}" dt="2023-11-24T08:32:24.046" v="10683"/>
          <ac:spMkLst>
            <pc:docMk/>
            <pc:sldMk cId="1127354295" sldId="2147478564"/>
            <ac:spMk id="79" creationId="{7582EE13-9069-19B2-137F-4117E5505D28}"/>
          </ac:spMkLst>
        </pc:spChg>
        <pc:spChg chg="add del mod">
          <ac:chgData name="Steiner Andreas 6206 ED" userId="e6377c33-a923-4f14-8587-531c474c7b48" providerId="ADAL" clId="{6ECD27E6-B224-41CD-B4E0-E297462320DD}" dt="2023-11-24T08:32:25.988" v="10838"/>
          <ac:spMkLst>
            <pc:docMk/>
            <pc:sldMk cId="1127354295" sldId="2147478564"/>
            <ac:spMk id="80" creationId="{7EA6F9B2-7E91-15C5-B6AB-ED0E8E5B9CB4}"/>
          </ac:spMkLst>
        </pc:spChg>
        <pc:spChg chg="add del mod">
          <ac:chgData name="Steiner Andreas 6206 ED" userId="e6377c33-a923-4f14-8587-531c474c7b48" providerId="ADAL" clId="{6ECD27E6-B224-41CD-B4E0-E297462320DD}" dt="2023-11-24T08:32:27.987" v="10993"/>
          <ac:spMkLst>
            <pc:docMk/>
            <pc:sldMk cId="1127354295" sldId="2147478564"/>
            <ac:spMk id="81" creationId="{1CD44CBE-1EF7-784C-2851-B17B3249980B}"/>
          </ac:spMkLst>
        </pc:spChg>
        <pc:spChg chg="add del mod">
          <ac:chgData name="Steiner Andreas 6206 ED" userId="e6377c33-a923-4f14-8587-531c474c7b48" providerId="ADAL" clId="{6ECD27E6-B224-41CD-B4E0-E297462320DD}" dt="2023-11-24T08:32:29.880" v="11148"/>
          <ac:spMkLst>
            <pc:docMk/>
            <pc:sldMk cId="1127354295" sldId="2147478564"/>
            <ac:spMk id="82" creationId="{AE77EE1C-5818-43E3-850C-82032B4CA8FC}"/>
          </ac:spMkLst>
        </pc:spChg>
        <pc:spChg chg="add del mod">
          <ac:chgData name="Steiner Andreas 6206 ED" userId="e6377c33-a923-4f14-8587-531c474c7b48" providerId="ADAL" clId="{6ECD27E6-B224-41CD-B4E0-E297462320DD}" dt="2023-11-24T08:32:32.016" v="11303"/>
          <ac:spMkLst>
            <pc:docMk/>
            <pc:sldMk cId="1127354295" sldId="2147478564"/>
            <ac:spMk id="83" creationId="{A3FBA8FC-C477-77DC-7F3D-C6DA298F8E1F}"/>
          </ac:spMkLst>
        </pc:spChg>
        <pc:spChg chg="add del mod">
          <ac:chgData name="Steiner Andreas 6206 ED" userId="e6377c33-a923-4f14-8587-531c474c7b48" providerId="ADAL" clId="{6ECD27E6-B224-41CD-B4E0-E297462320DD}" dt="2023-11-24T08:32:34.397" v="11458"/>
          <ac:spMkLst>
            <pc:docMk/>
            <pc:sldMk cId="1127354295" sldId="2147478564"/>
            <ac:spMk id="84" creationId="{F8662EB8-82C1-9E0F-D3F8-EF8A75D6BFA2}"/>
          </ac:spMkLst>
        </pc:spChg>
        <pc:spChg chg="add del mod">
          <ac:chgData name="Steiner Andreas 6206 ED" userId="e6377c33-a923-4f14-8587-531c474c7b48" providerId="ADAL" clId="{6ECD27E6-B224-41CD-B4E0-E297462320DD}" dt="2023-11-24T08:32:36.732" v="11613"/>
          <ac:spMkLst>
            <pc:docMk/>
            <pc:sldMk cId="1127354295" sldId="2147478564"/>
            <ac:spMk id="85" creationId="{509E9F79-1E46-1D08-5CE6-109D49368F8B}"/>
          </ac:spMkLst>
        </pc:spChg>
        <pc:spChg chg="add del mod">
          <ac:chgData name="Steiner Andreas 6206 ED" userId="e6377c33-a923-4f14-8587-531c474c7b48" providerId="ADAL" clId="{6ECD27E6-B224-41CD-B4E0-E297462320DD}" dt="2023-11-24T08:32:38.659" v="11768"/>
          <ac:spMkLst>
            <pc:docMk/>
            <pc:sldMk cId="1127354295" sldId="2147478564"/>
            <ac:spMk id="86" creationId="{7F9D2CAB-F649-5F47-0258-1CB419061A09}"/>
          </ac:spMkLst>
        </pc:spChg>
        <pc:spChg chg="add del mod">
          <ac:chgData name="Steiner Andreas 6206 ED" userId="e6377c33-a923-4f14-8587-531c474c7b48" providerId="ADAL" clId="{6ECD27E6-B224-41CD-B4E0-E297462320DD}" dt="2023-11-24T08:32:40.775" v="11923"/>
          <ac:spMkLst>
            <pc:docMk/>
            <pc:sldMk cId="1127354295" sldId="2147478564"/>
            <ac:spMk id="87" creationId="{EE79963D-57CF-272E-437E-9108E00F5132}"/>
          </ac:spMkLst>
        </pc:spChg>
        <pc:spChg chg="add del mod">
          <ac:chgData name="Steiner Andreas 6206 ED" userId="e6377c33-a923-4f14-8587-531c474c7b48" providerId="ADAL" clId="{6ECD27E6-B224-41CD-B4E0-E297462320DD}" dt="2023-11-24T08:32:42.925" v="12078"/>
          <ac:spMkLst>
            <pc:docMk/>
            <pc:sldMk cId="1127354295" sldId="2147478564"/>
            <ac:spMk id="88" creationId="{1607397C-A831-8B7F-3E7A-DE8CF84100F2}"/>
          </ac:spMkLst>
        </pc:spChg>
        <pc:spChg chg="add del mod">
          <ac:chgData name="Steiner Andreas 6206 ED" userId="e6377c33-a923-4f14-8587-531c474c7b48" providerId="ADAL" clId="{6ECD27E6-B224-41CD-B4E0-E297462320DD}" dt="2023-11-24T08:32:45.065" v="12233"/>
          <ac:spMkLst>
            <pc:docMk/>
            <pc:sldMk cId="1127354295" sldId="2147478564"/>
            <ac:spMk id="89" creationId="{1745D334-9278-107F-08D2-3143893A5D9D}"/>
          </ac:spMkLst>
        </pc:spChg>
        <pc:spChg chg="add del mod">
          <ac:chgData name="Steiner Andreas 6206 ED" userId="e6377c33-a923-4f14-8587-531c474c7b48" providerId="ADAL" clId="{6ECD27E6-B224-41CD-B4E0-E297462320DD}" dt="2023-11-24T08:32:47.250" v="12388"/>
          <ac:spMkLst>
            <pc:docMk/>
            <pc:sldMk cId="1127354295" sldId="2147478564"/>
            <ac:spMk id="90" creationId="{9DCE000A-0C4F-518C-7FF6-79AC4B199871}"/>
          </ac:spMkLst>
        </pc:spChg>
        <pc:spChg chg="add del mod">
          <ac:chgData name="Steiner Andreas 6206 ED" userId="e6377c33-a923-4f14-8587-531c474c7b48" providerId="ADAL" clId="{6ECD27E6-B224-41CD-B4E0-E297462320DD}" dt="2023-11-24T08:32:49.310" v="12543"/>
          <ac:spMkLst>
            <pc:docMk/>
            <pc:sldMk cId="1127354295" sldId="2147478564"/>
            <ac:spMk id="91" creationId="{E15E260A-4F98-C375-4F1A-040CE08B5941}"/>
          </ac:spMkLst>
        </pc:spChg>
        <pc:spChg chg="add del mod">
          <ac:chgData name="Steiner Andreas 6206 ED" userId="e6377c33-a923-4f14-8587-531c474c7b48" providerId="ADAL" clId="{6ECD27E6-B224-41CD-B4E0-E297462320DD}" dt="2023-11-24T08:32:51.244" v="12698"/>
          <ac:spMkLst>
            <pc:docMk/>
            <pc:sldMk cId="1127354295" sldId="2147478564"/>
            <ac:spMk id="92" creationId="{36FA7F7D-BAA3-ECE6-515F-153F2BA8CB2A}"/>
          </ac:spMkLst>
        </pc:spChg>
        <pc:spChg chg="add del mod">
          <ac:chgData name="Steiner Andreas 6206 ED" userId="e6377c33-a923-4f14-8587-531c474c7b48" providerId="ADAL" clId="{6ECD27E6-B224-41CD-B4E0-E297462320DD}" dt="2023-11-24T08:32:53.256" v="12853"/>
          <ac:spMkLst>
            <pc:docMk/>
            <pc:sldMk cId="1127354295" sldId="2147478564"/>
            <ac:spMk id="93" creationId="{DCA6DFE9-3A49-F25D-7425-55033DDEC210}"/>
          </ac:spMkLst>
        </pc:spChg>
        <pc:spChg chg="add del mod">
          <ac:chgData name="Steiner Andreas 6206 ED" userId="e6377c33-a923-4f14-8587-531c474c7b48" providerId="ADAL" clId="{6ECD27E6-B224-41CD-B4E0-E297462320DD}" dt="2023-11-24T08:32:55.249" v="13008"/>
          <ac:spMkLst>
            <pc:docMk/>
            <pc:sldMk cId="1127354295" sldId="2147478564"/>
            <ac:spMk id="94" creationId="{7489053F-29C4-2BDA-AC78-3B92295C6CCA}"/>
          </ac:spMkLst>
        </pc:spChg>
        <pc:spChg chg="add del mod">
          <ac:chgData name="Steiner Andreas 6206 ED" userId="e6377c33-a923-4f14-8587-531c474c7b48" providerId="ADAL" clId="{6ECD27E6-B224-41CD-B4E0-E297462320DD}" dt="2023-11-24T08:32:57.169" v="13163"/>
          <ac:spMkLst>
            <pc:docMk/>
            <pc:sldMk cId="1127354295" sldId="2147478564"/>
            <ac:spMk id="95" creationId="{9CE8C05F-187C-D322-384E-DE89731D7D1A}"/>
          </ac:spMkLst>
        </pc:spChg>
        <pc:spChg chg="add del mod">
          <ac:chgData name="Steiner Andreas 6206 ED" userId="e6377c33-a923-4f14-8587-531c474c7b48" providerId="ADAL" clId="{6ECD27E6-B224-41CD-B4E0-E297462320DD}" dt="2023-11-24T08:32:59.282" v="13318"/>
          <ac:spMkLst>
            <pc:docMk/>
            <pc:sldMk cId="1127354295" sldId="2147478564"/>
            <ac:spMk id="96" creationId="{C33DA137-A9F6-D19F-F98D-CAA8747057E7}"/>
          </ac:spMkLst>
        </pc:spChg>
        <pc:spChg chg="add del mod">
          <ac:chgData name="Steiner Andreas 6206 ED" userId="e6377c33-a923-4f14-8587-531c474c7b48" providerId="ADAL" clId="{6ECD27E6-B224-41CD-B4E0-E297462320DD}" dt="2023-11-24T08:33:01.426" v="13473"/>
          <ac:spMkLst>
            <pc:docMk/>
            <pc:sldMk cId="1127354295" sldId="2147478564"/>
            <ac:spMk id="97" creationId="{4F9859EA-87E8-7042-9C83-11D5882315E6}"/>
          </ac:spMkLst>
        </pc:spChg>
        <pc:spChg chg="add del mod">
          <ac:chgData name="Steiner Andreas 6206 ED" userId="e6377c33-a923-4f14-8587-531c474c7b48" providerId="ADAL" clId="{6ECD27E6-B224-41CD-B4E0-E297462320DD}" dt="2023-11-24T08:33:03.767" v="13628"/>
          <ac:spMkLst>
            <pc:docMk/>
            <pc:sldMk cId="1127354295" sldId="2147478564"/>
            <ac:spMk id="98" creationId="{C63604F7-59A7-F5AE-60E4-B8732E073F42}"/>
          </ac:spMkLst>
        </pc:spChg>
        <pc:spChg chg="add del mod">
          <ac:chgData name="Steiner Andreas 6206 ED" userId="e6377c33-a923-4f14-8587-531c474c7b48" providerId="ADAL" clId="{6ECD27E6-B224-41CD-B4E0-E297462320DD}" dt="2023-11-24T08:33:06.135" v="13783"/>
          <ac:spMkLst>
            <pc:docMk/>
            <pc:sldMk cId="1127354295" sldId="2147478564"/>
            <ac:spMk id="99" creationId="{53B7681D-3042-48B9-AE7F-75EA3B7CE034}"/>
          </ac:spMkLst>
        </pc:spChg>
        <pc:spChg chg="add del mod">
          <ac:chgData name="Steiner Andreas 6206 ED" userId="e6377c33-a923-4f14-8587-531c474c7b48" providerId="ADAL" clId="{6ECD27E6-B224-41CD-B4E0-E297462320DD}" dt="2023-11-24T08:33:08.365" v="13938"/>
          <ac:spMkLst>
            <pc:docMk/>
            <pc:sldMk cId="1127354295" sldId="2147478564"/>
            <ac:spMk id="100" creationId="{5574FC0A-875B-8F0A-F19B-66F867BE1E0A}"/>
          </ac:spMkLst>
        </pc:spChg>
        <pc:spChg chg="add del mod">
          <ac:chgData name="Steiner Andreas 6206 ED" userId="e6377c33-a923-4f14-8587-531c474c7b48" providerId="ADAL" clId="{6ECD27E6-B224-41CD-B4E0-E297462320DD}" dt="2023-11-24T08:33:10.793" v="14093"/>
          <ac:spMkLst>
            <pc:docMk/>
            <pc:sldMk cId="1127354295" sldId="2147478564"/>
            <ac:spMk id="101" creationId="{0F59A0A8-5382-2728-92A8-D433BC84852A}"/>
          </ac:spMkLst>
        </pc:spChg>
        <pc:spChg chg="add del mod">
          <ac:chgData name="Steiner Andreas 6206 ED" userId="e6377c33-a923-4f14-8587-531c474c7b48" providerId="ADAL" clId="{6ECD27E6-B224-41CD-B4E0-E297462320DD}" dt="2023-11-24T08:33:12.739" v="14248"/>
          <ac:spMkLst>
            <pc:docMk/>
            <pc:sldMk cId="1127354295" sldId="2147478564"/>
            <ac:spMk id="102" creationId="{C34BACD5-3603-8493-98C8-CD12B95E2764}"/>
          </ac:spMkLst>
        </pc:spChg>
        <pc:spChg chg="add del mod">
          <ac:chgData name="Steiner Andreas 6206 ED" userId="e6377c33-a923-4f14-8587-531c474c7b48" providerId="ADAL" clId="{6ECD27E6-B224-41CD-B4E0-E297462320DD}" dt="2023-11-24T08:33:14.629" v="14403"/>
          <ac:spMkLst>
            <pc:docMk/>
            <pc:sldMk cId="1127354295" sldId="2147478564"/>
            <ac:spMk id="103" creationId="{E1CA0B08-4B13-4C82-3389-A14F07826457}"/>
          </ac:spMkLst>
        </pc:spChg>
        <pc:spChg chg="add del mod">
          <ac:chgData name="Steiner Andreas 6206 ED" userId="e6377c33-a923-4f14-8587-531c474c7b48" providerId="ADAL" clId="{6ECD27E6-B224-41CD-B4E0-E297462320DD}" dt="2023-11-24T08:33:16.659" v="14558"/>
          <ac:spMkLst>
            <pc:docMk/>
            <pc:sldMk cId="1127354295" sldId="2147478564"/>
            <ac:spMk id="104" creationId="{E819A6B2-EE3F-BF9F-4E58-74829E10EDD4}"/>
          </ac:spMkLst>
        </pc:spChg>
        <pc:spChg chg="add del mod">
          <ac:chgData name="Steiner Andreas 6206 ED" userId="e6377c33-a923-4f14-8587-531c474c7b48" providerId="ADAL" clId="{6ECD27E6-B224-41CD-B4E0-E297462320DD}" dt="2023-11-24T08:33:18.970" v="14713"/>
          <ac:spMkLst>
            <pc:docMk/>
            <pc:sldMk cId="1127354295" sldId="2147478564"/>
            <ac:spMk id="105" creationId="{9D243323-F811-C1C7-423F-D417361A1075}"/>
          </ac:spMkLst>
        </pc:spChg>
        <pc:spChg chg="add del mod">
          <ac:chgData name="Steiner Andreas 6206 ED" userId="e6377c33-a923-4f14-8587-531c474c7b48" providerId="ADAL" clId="{6ECD27E6-B224-41CD-B4E0-E297462320DD}" dt="2023-11-24T08:33:21.406" v="14868"/>
          <ac:spMkLst>
            <pc:docMk/>
            <pc:sldMk cId="1127354295" sldId="2147478564"/>
            <ac:spMk id="106" creationId="{AE52E18E-6229-8A71-1663-550E81D41723}"/>
          </ac:spMkLst>
        </pc:spChg>
        <pc:spChg chg="add del mod">
          <ac:chgData name="Steiner Andreas 6206 ED" userId="e6377c33-a923-4f14-8587-531c474c7b48" providerId="ADAL" clId="{6ECD27E6-B224-41CD-B4E0-E297462320DD}" dt="2023-11-24T08:33:23.763" v="15023"/>
          <ac:spMkLst>
            <pc:docMk/>
            <pc:sldMk cId="1127354295" sldId="2147478564"/>
            <ac:spMk id="107" creationId="{3F31C10A-AE5B-6F6F-BC14-FB46FA1D7F50}"/>
          </ac:spMkLst>
        </pc:spChg>
        <pc:spChg chg="add del mod">
          <ac:chgData name="Steiner Andreas 6206 ED" userId="e6377c33-a923-4f14-8587-531c474c7b48" providerId="ADAL" clId="{6ECD27E6-B224-41CD-B4E0-E297462320DD}" dt="2023-11-24T08:33:26.116" v="15178"/>
          <ac:spMkLst>
            <pc:docMk/>
            <pc:sldMk cId="1127354295" sldId="2147478564"/>
            <ac:spMk id="108" creationId="{65CCF76C-A413-5850-3B53-DACE3A7D9A6B}"/>
          </ac:spMkLst>
        </pc:spChg>
        <pc:spChg chg="add del mod">
          <ac:chgData name="Steiner Andreas 6206 ED" userId="e6377c33-a923-4f14-8587-531c474c7b48" providerId="ADAL" clId="{6ECD27E6-B224-41CD-B4E0-E297462320DD}" dt="2023-11-24T08:33:28.441" v="15333"/>
          <ac:spMkLst>
            <pc:docMk/>
            <pc:sldMk cId="1127354295" sldId="2147478564"/>
            <ac:spMk id="109" creationId="{5BE76822-0E4F-A806-D0A1-7FC2BFA11D59}"/>
          </ac:spMkLst>
        </pc:spChg>
        <pc:spChg chg="add del mod">
          <ac:chgData name="Steiner Andreas 6206 ED" userId="e6377c33-a923-4f14-8587-531c474c7b48" providerId="ADAL" clId="{6ECD27E6-B224-41CD-B4E0-E297462320DD}" dt="2023-11-24T08:33:30.913" v="15488"/>
          <ac:spMkLst>
            <pc:docMk/>
            <pc:sldMk cId="1127354295" sldId="2147478564"/>
            <ac:spMk id="110" creationId="{22BD5D16-F498-E228-16FC-B44CF906E576}"/>
          </ac:spMkLst>
        </pc:spChg>
        <pc:spChg chg="add del mod">
          <ac:chgData name="Steiner Andreas 6206 ED" userId="e6377c33-a923-4f14-8587-531c474c7b48" providerId="ADAL" clId="{6ECD27E6-B224-41CD-B4E0-E297462320DD}" dt="2023-11-24T08:33:33.656" v="15643"/>
          <ac:spMkLst>
            <pc:docMk/>
            <pc:sldMk cId="1127354295" sldId="2147478564"/>
            <ac:spMk id="111" creationId="{0F3B2826-2180-EF49-B7DC-F671DF6CFC33}"/>
          </ac:spMkLst>
        </pc:spChg>
        <pc:spChg chg="add del mod">
          <ac:chgData name="Steiner Andreas 6206 ED" userId="e6377c33-a923-4f14-8587-531c474c7b48" providerId="ADAL" clId="{6ECD27E6-B224-41CD-B4E0-E297462320DD}" dt="2023-11-24T08:33:35.947" v="15798"/>
          <ac:spMkLst>
            <pc:docMk/>
            <pc:sldMk cId="1127354295" sldId="2147478564"/>
            <ac:spMk id="112" creationId="{BA0D3976-97E2-B116-AD0A-61FE2BF8535D}"/>
          </ac:spMkLst>
        </pc:spChg>
        <pc:spChg chg="add del mod">
          <ac:chgData name="Steiner Andreas 6206 ED" userId="e6377c33-a923-4f14-8587-531c474c7b48" providerId="ADAL" clId="{6ECD27E6-B224-41CD-B4E0-E297462320DD}" dt="2023-11-24T08:33:38.057" v="15953"/>
          <ac:spMkLst>
            <pc:docMk/>
            <pc:sldMk cId="1127354295" sldId="2147478564"/>
            <ac:spMk id="113" creationId="{93463607-8FF3-F634-3961-AF4D749E3A0C}"/>
          </ac:spMkLst>
        </pc:spChg>
        <pc:spChg chg="add del mod">
          <ac:chgData name="Steiner Andreas 6206 ED" userId="e6377c33-a923-4f14-8587-531c474c7b48" providerId="ADAL" clId="{6ECD27E6-B224-41CD-B4E0-E297462320DD}" dt="2023-11-24T08:33:40.465" v="16108"/>
          <ac:spMkLst>
            <pc:docMk/>
            <pc:sldMk cId="1127354295" sldId="2147478564"/>
            <ac:spMk id="114" creationId="{ABBB36DD-1EBC-D712-7AFC-1C805A683E13}"/>
          </ac:spMkLst>
        </pc:spChg>
        <pc:spChg chg="add del mod">
          <ac:chgData name="Steiner Andreas 6206 ED" userId="e6377c33-a923-4f14-8587-531c474c7b48" providerId="ADAL" clId="{6ECD27E6-B224-41CD-B4E0-E297462320DD}" dt="2023-11-24T08:33:43.163" v="16263"/>
          <ac:spMkLst>
            <pc:docMk/>
            <pc:sldMk cId="1127354295" sldId="2147478564"/>
            <ac:spMk id="115" creationId="{DE40CBE4-53AB-0606-A33D-F3FECC406EFC}"/>
          </ac:spMkLst>
        </pc:spChg>
        <pc:spChg chg="add del mod">
          <ac:chgData name="Steiner Andreas 6206 ED" userId="e6377c33-a923-4f14-8587-531c474c7b48" providerId="ADAL" clId="{6ECD27E6-B224-41CD-B4E0-E297462320DD}" dt="2023-11-24T08:33:45.586" v="16418"/>
          <ac:spMkLst>
            <pc:docMk/>
            <pc:sldMk cId="1127354295" sldId="2147478564"/>
            <ac:spMk id="116" creationId="{769B89A2-24BC-724A-EF21-506A59EC7598}"/>
          </ac:spMkLst>
        </pc:spChg>
        <pc:spChg chg="add del mod">
          <ac:chgData name="Steiner Andreas 6206 ED" userId="e6377c33-a923-4f14-8587-531c474c7b48" providerId="ADAL" clId="{6ECD27E6-B224-41CD-B4E0-E297462320DD}" dt="2023-11-24T08:33:47.778" v="16573"/>
          <ac:spMkLst>
            <pc:docMk/>
            <pc:sldMk cId="1127354295" sldId="2147478564"/>
            <ac:spMk id="117" creationId="{0EAAFD28-2F78-5E0C-6DE3-AB811B403F09}"/>
          </ac:spMkLst>
        </pc:spChg>
        <pc:spChg chg="add del mod">
          <ac:chgData name="Steiner Andreas 6206 ED" userId="e6377c33-a923-4f14-8587-531c474c7b48" providerId="ADAL" clId="{6ECD27E6-B224-41CD-B4E0-E297462320DD}" dt="2023-11-24T08:33:50.558" v="16728"/>
          <ac:spMkLst>
            <pc:docMk/>
            <pc:sldMk cId="1127354295" sldId="2147478564"/>
            <ac:spMk id="118" creationId="{36CAE22F-97CC-C5C9-DE99-F9F3685D14A1}"/>
          </ac:spMkLst>
        </pc:spChg>
        <pc:spChg chg="add del mod">
          <ac:chgData name="Steiner Andreas 6206 ED" userId="e6377c33-a923-4f14-8587-531c474c7b48" providerId="ADAL" clId="{6ECD27E6-B224-41CD-B4E0-E297462320DD}" dt="2023-11-24T08:33:52.916" v="16883"/>
          <ac:spMkLst>
            <pc:docMk/>
            <pc:sldMk cId="1127354295" sldId="2147478564"/>
            <ac:spMk id="119" creationId="{562FA18E-92D9-DC49-12B3-FA8BD87E994A}"/>
          </ac:spMkLst>
        </pc:spChg>
        <pc:spChg chg="add del mod">
          <ac:chgData name="Steiner Andreas 6206 ED" userId="e6377c33-a923-4f14-8587-531c474c7b48" providerId="ADAL" clId="{6ECD27E6-B224-41CD-B4E0-E297462320DD}" dt="2023-11-24T08:33:55.079" v="17038"/>
          <ac:spMkLst>
            <pc:docMk/>
            <pc:sldMk cId="1127354295" sldId="2147478564"/>
            <ac:spMk id="120" creationId="{EEEDCB1D-5731-3012-7544-9842D09BF0C4}"/>
          </ac:spMkLst>
        </pc:spChg>
        <pc:spChg chg="add del mod">
          <ac:chgData name="Steiner Andreas 6206 ED" userId="e6377c33-a923-4f14-8587-531c474c7b48" providerId="ADAL" clId="{6ECD27E6-B224-41CD-B4E0-E297462320DD}" dt="2023-11-24T08:33:57.464" v="17193"/>
          <ac:spMkLst>
            <pc:docMk/>
            <pc:sldMk cId="1127354295" sldId="2147478564"/>
            <ac:spMk id="121" creationId="{FCCB6BB0-A8A0-9830-E133-B8DA7132D0DC}"/>
          </ac:spMkLst>
        </pc:spChg>
        <pc:spChg chg="add del mod">
          <ac:chgData name="Steiner Andreas 6206 ED" userId="e6377c33-a923-4f14-8587-531c474c7b48" providerId="ADAL" clId="{6ECD27E6-B224-41CD-B4E0-E297462320DD}" dt="2023-11-24T08:33:59.897" v="17348"/>
          <ac:spMkLst>
            <pc:docMk/>
            <pc:sldMk cId="1127354295" sldId="2147478564"/>
            <ac:spMk id="122" creationId="{ADB68F27-FBC0-1872-EA3D-98D9E81D7F8F}"/>
          </ac:spMkLst>
        </pc:spChg>
        <pc:spChg chg="add del mod">
          <ac:chgData name="Steiner Andreas 6206 ED" userId="e6377c33-a923-4f14-8587-531c474c7b48" providerId="ADAL" clId="{6ECD27E6-B224-41CD-B4E0-E297462320DD}" dt="2023-11-24T08:34:01.951" v="17503"/>
          <ac:spMkLst>
            <pc:docMk/>
            <pc:sldMk cId="1127354295" sldId="2147478564"/>
            <ac:spMk id="123" creationId="{EBD88F6F-324C-9C48-9B5B-53268BA50FDF}"/>
          </ac:spMkLst>
        </pc:spChg>
        <pc:spChg chg="add del mod">
          <ac:chgData name="Steiner Andreas 6206 ED" userId="e6377c33-a923-4f14-8587-531c474c7b48" providerId="ADAL" clId="{6ECD27E6-B224-41CD-B4E0-E297462320DD}" dt="2023-11-24T08:34:04.246" v="17658"/>
          <ac:spMkLst>
            <pc:docMk/>
            <pc:sldMk cId="1127354295" sldId="2147478564"/>
            <ac:spMk id="124" creationId="{36DE0D46-0110-6A1C-FE6D-F922A984FF30}"/>
          </ac:spMkLst>
        </pc:spChg>
        <pc:spChg chg="add del mod">
          <ac:chgData name="Steiner Andreas 6206 ED" userId="e6377c33-a923-4f14-8587-531c474c7b48" providerId="ADAL" clId="{6ECD27E6-B224-41CD-B4E0-E297462320DD}" dt="2023-11-24T08:34:06.129" v="17813"/>
          <ac:spMkLst>
            <pc:docMk/>
            <pc:sldMk cId="1127354295" sldId="2147478564"/>
            <ac:spMk id="125" creationId="{852FC5A7-391B-9234-6D49-906A24A5F5BA}"/>
          </ac:spMkLst>
        </pc:spChg>
        <pc:spChg chg="add del mod">
          <ac:chgData name="Steiner Andreas 6206 ED" userId="e6377c33-a923-4f14-8587-531c474c7b48" providerId="ADAL" clId="{6ECD27E6-B224-41CD-B4E0-E297462320DD}" dt="2023-11-24T08:34:08.216" v="17968"/>
          <ac:spMkLst>
            <pc:docMk/>
            <pc:sldMk cId="1127354295" sldId="2147478564"/>
            <ac:spMk id="126" creationId="{50464A98-D027-2A1F-BDEF-2AFD194D77DE}"/>
          </ac:spMkLst>
        </pc:spChg>
        <pc:spChg chg="add del mod">
          <ac:chgData name="Steiner Andreas 6206 ED" userId="e6377c33-a923-4f14-8587-531c474c7b48" providerId="ADAL" clId="{6ECD27E6-B224-41CD-B4E0-E297462320DD}" dt="2023-11-24T08:34:10.161" v="18123"/>
          <ac:spMkLst>
            <pc:docMk/>
            <pc:sldMk cId="1127354295" sldId="2147478564"/>
            <ac:spMk id="127" creationId="{30E7766C-C2CC-C721-5562-1D62EB27CDAB}"/>
          </ac:spMkLst>
        </pc:spChg>
        <pc:spChg chg="add del mod">
          <ac:chgData name="Steiner Andreas 6206 ED" userId="e6377c33-a923-4f14-8587-531c474c7b48" providerId="ADAL" clId="{6ECD27E6-B224-41CD-B4E0-E297462320DD}" dt="2023-11-24T08:34:12.288" v="18278"/>
          <ac:spMkLst>
            <pc:docMk/>
            <pc:sldMk cId="1127354295" sldId="2147478564"/>
            <ac:spMk id="128" creationId="{C7AEE2AB-0A29-FFC3-4AC7-3253519E5A6D}"/>
          </ac:spMkLst>
        </pc:spChg>
        <pc:spChg chg="add del mod">
          <ac:chgData name="Steiner Andreas 6206 ED" userId="e6377c33-a923-4f14-8587-531c474c7b48" providerId="ADAL" clId="{6ECD27E6-B224-41CD-B4E0-E297462320DD}" dt="2023-11-24T08:34:14.609" v="18433"/>
          <ac:spMkLst>
            <pc:docMk/>
            <pc:sldMk cId="1127354295" sldId="2147478564"/>
            <ac:spMk id="129" creationId="{5E72C843-7211-68F2-10F3-7C6551964E1B}"/>
          </ac:spMkLst>
        </pc:spChg>
        <pc:spChg chg="add del mod">
          <ac:chgData name="Steiner Andreas 6206 ED" userId="e6377c33-a923-4f14-8587-531c474c7b48" providerId="ADAL" clId="{6ECD27E6-B224-41CD-B4E0-E297462320DD}" dt="2023-11-24T08:34:16.616" v="18588"/>
          <ac:spMkLst>
            <pc:docMk/>
            <pc:sldMk cId="1127354295" sldId="2147478564"/>
            <ac:spMk id="130" creationId="{232E9622-FDE1-0357-E85F-2223BD8C0F10}"/>
          </ac:spMkLst>
        </pc:spChg>
        <pc:spChg chg="add del mod">
          <ac:chgData name="Steiner Andreas 6206 ED" userId="e6377c33-a923-4f14-8587-531c474c7b48" providerId="ADAL" clId="{6ECD27E6-B224-41CD-B4E0-E297462320DD}" dt="2023-11-24T08:34:18.878" v="18743"/>
          <ac:spMkLst>
            <pc:docMk/>
            <pc:sldMk cId="1127354295" sldId="2147478564"/>
            <ac:spMk id="131" creationId="{33105A9A-9E15-9295-A332-987F06402903}"/>
          </ac:spMkLst>
        </pc:spChg>
        <pc:spChg chg="add del mod">
          <ac:chgData name="Steiner Andreas 6206 ED" userId="e6377c33-a923-4f14-8587-531c474c7b48" providerId="ADAL" clId="{6ECD27E6-B224-41CD-B4E0-E297462320DD}" dt="2023-11-24T08:34:20.923" v="18898"/>
          <ac:spMkLst>
            <pc:docMk/>
            <pc:sldMk cId="1127354295" sldId="2147478564"/>
            <ac:spMk id="132" creationId="{33DAC440-8FD5-CDC3-A64C-676EB0EB9119}"/>
          </ac:spMkLst>
        </pc:spChg>
        <pc:spChg chg="add del mod">
          <ac:chgData name="Steiner Andreas 6206 ED" userId="e6377c33-a923-4f14-8587-531c474c7b48" providerId="ADAL" clId="{6ECD27E6-B224-41CD-B4E0-E297462320DD}" dt="2023-11-24T08:34:23.055" v="19053"/>
          <ac:spMkLst>
            <pc:docMk/>
            <pc:sldMk cId="1127354295" sldId="2147478564"/>
            <ac:spMk id="133" creationId="{7CBBB6D8-5EBD-390D-C628-4E88072D6366}"/>
          </ac:spMkLst>
        </pc:spChg>
        <pc:spChg chg="add del mod">
          <ac:chgData name="Steiner Andreas 6206 ED" userId="e6377c33-a923-4f14-8587-531c474c7b48" providerId="ADAL" clId="{6ECD27E6-B224-41CD-B4E0-E297462320DD}" dt="2023-11-24T08:34:26.353" v="19208"/>
          <ac:spMkLst>
            <pc:docMk/>
            <pc:sldMk cId="1127354295" sldId="2147478564"/>
            <ac:spMk id="134" creationId="{30876876-AB40-8703-4F25-4D569926CAF5}"/>
          </ac:spMkLst>
        </pc:spChg>
        <pc:spChg chg="add del mod">
          <ac:chgData name="Steiner Andreas 6206 ED" userId="e6377c33-a923-4f14-8587-531c474c7b48" providerId="ADAL" clId="{6ECD27E6-B224-41CD-B4E0-E297462320DD}" dt="2023-11-24T08:34:29.019" v="19363"/>
          <ac:spMkLst>
            <pc:docMk/>
            <pc:sldMk cId="1127354295" sldId="2147478564"/>
            <ac:spMk id="135" creationId="{48035FE4-7550-D21F-6858-433EB2AB0FE8}"/>
          </ac:spMkLst>
        </pc:spChg>
        <pc:spChg chg="add del mod">
          <ac:chgData name="Steiner Andreas 6206 ED" userId="e6377c33-a923-4f14-8587-531c474c7b48" providerId="ADAL" clId="{6ECD27E6-B224-41CD-B4E0-E297462320DD}" dt="2023-11-24T08:34:31.620" v="19518"/>
          <ac:spMkLst>
            <pc:docMk/>
            <pc:sldMk cId="1127354295" sldId="2147478564"/>
            <ac:spMk id="136" creationId="{BAEFBA84-F6F6-C5AA-63BC-F92F0D284475}"/>
          </ac:spMkLst>
        </pc:spChg>
        <pc:spChg chg="add del mod">
          <ac:chgData name="Steiner Andreas 6206 ED" userId="e6377c33-a923-4f14-8587-531c474c7b48" providerId="ADAL" clId="{6ECD27E6-B224-41CD-B4E0-E297462320DD}" dt="2023-11-24T08:34:33.829" v="19673"/>
          <ac:spMkLst>
            <pc:docMk/>
            <pc:sldMk cId="1127354295" sldId="2147478564"/>
            <ac:spMk id="137" creationId="{D4BB8507-52B1-4AA8-DCB8-35D770786078}"/>
          </ac:spMkLst>
        </pc:spChg>
        <pc:spChg chg="add del mod">
          <ac:chgData name="Steiner Andreas 6206 ED" userId="e6377c33-a923-4f14-8587-531c474c7b48" providerId="ADAL" clId="{6ECD27E6-B224-41CD-B4E0-E297462320DD}" dt="2023-11-24T08:34:36.089" v="19828"/>
          <ac:spMkLst>
            <pc:docMk/>
            <pc:sldMk cId="1127354295" sldId="2147478564"/>
            <ac:spMk id="138" creationId="{70CCF161-8589-BF1E-4577-FA19B032C30E}"/>
          </ac:spMkLst>
        </pc:spChg>
        <pc:spChg chg="add del mod">
          <ac:chgData name="Steiner Andreas 6206 ED" userId="e6377c33-a923-4f14-8587-531c474c7b48" providerId="ADAL" clId="{6ECD27E6-B224-41CD-B4E0-E297462320DD}" dt="2023-11-24T08:34:38.318" v="19983"/>
          <ac:spMkLst>
            <pc:docMk/>
            <pc:sldMk cId="1127354295" sldId="2147478564"/>
            <ac:spMk id="139" creationId="{56A36D55-A661-56C8-DDBE-C92A89807438}"/>
          </ac:spMkLst>
        </pc:spChg>
        <pc:spChg chg="add del mod">
          <ac:chgData name="Steiner Andreas 6206 ED" userId="e6377c33-a923-4f14-8587-531c474c7b48" providerId="ADAL" clId="{6ECD27E6-B224-41CD-B4E0-E297462320DD}" dt="2023-11-24T08:34:40.670" v="20138"/>
          <ac:spMkLst>
            <pc:docMk/>
            <pc:sldMk cId="1127354295" sldId="2147478564"/>
            <ac:spMk id="140" creationId="{0B1C74A9-DF16-7015-6B3B-28FAAFB0A84E}"/>
          </ac:spMkLst>
        </pc:spChg>
        <pc:spChg chg="add del mod">
          <ac:chgData name="Steiner Andreas 6206 ED" userId="e6377c33-a923-4f14-8587-531c474c7b48" providerId="ADAL" clId="{6ECD27E6-B224-41CD-B4E0-E297462320DD}" dt="2023-11-24T08:34:43.374" v="20293"/>
          <ac:spMkLst>
            <pc:docMk/>
            <pc:sldMk cId="1127354295" sldId="2147478564"/>
            <ac:spMk id="141" creationId="{5A367416-D78E-FFF4-17A1-837ADDEBFCC9}"/>
          </ac:spMkLst>
        </pc:spChg>
        <pc:spChg chg="add del mod">
          <ac:chgData name="Steiner Andreas 6206 ED" userId="e6377c33-a923-4f14-8587-531c474c7b48" providerId="ADAL" clId="{6ECD27E6-B224-41CD-B4E0-E297462320DD}" dt="2023-11-24T08:34:45.730" v="20448"/>
          <ac:spMkLst>
            <pc:docMk/>
            <pc:sldMk cId="1127354295" sldId="2147478564"/>
            <ac:spMk id="142" creationId="{97F89B15-25D8-AAA7-7785-489896559BE0}"/>
          </ac:spMkLst>
        </pc:spChg>
        <pc:spChg chg="add del mod">
          <ac:chgData name="Steiner Andreas 6206 ED" userId="e6377c33-a923-4f14-8587-531c474c7b48" providerId="ADAL" clId="{6ECD27E6-B224-41CD-B4E0-E297462320DD}" dt="2023-11-24T08:34:47.945" v="20603"/>
          <ac:spMkLst>
            <pc:docMk/>
            <pc:sldMk cId="1127354295" sldId="2147478564"/>
            <ac:spMk id="143" creationId="{ACE78484-4A7A-BC5E-6AF5-BC3F20085015}"/>
          </ac:spMkLst>
        </pc:spChg>
        <pc:spChg chg="add del mod">
          <ac:chgData name="Steiner Andreas 6206 ED" userId="e6377c33-a923-4f14-8587-531c474c7b48" providerId="ADAL" clId="{6ECD27E6-B224-41CD-B4E0-E297462320DD}" dt="2023-11-24T08:34:50.408" v="20758"/>
          <ac:spMkLst>
            <pc:docMk/>
            <pc:sldMk cId="1127354295" sldId="2147478564"/>
            <ac:spMk id="144" creationId="{53A2DF5B-C900-0910-698F-45FE9E2390CB}"/>
          </ac:spMkLst>
        </pc:spChg>
        <pc:spChg chg="add del mod">
          <ac:chgData name="Steiner Andreas 6206 ED" userId="e6377c33-a923-4f14-8587-531c474c7b48" providerId="ADAL" clId="{6ECD27E6-B224-41CD-B4E0-E297462320DD}" dt="2023-11-24T08:34:52.994" v="20913"/>
          <ac:spMkLst>
            <pc:docMk/>
            <pc:sldMk cId="1127354295" sldId="2147478564"/>
            <ac:spMk id="145" creationId="{E4EB20EE-84A0-C1E7-8786-CC9971D250AF}"/>
          </ac:spMkLst>
        </pc:spChg>
        <pc:spChg chg="add del mod">
          <ac:chgData name="Steiner Andreas 6206 ED" userId="e6377c33-a923-4f14-8587-531c474c7b48" providerId="ADAL" clId="{6ECD27E6-B224-41CD-B4E0-E297462320DD}" dt="2023-11-24T08:34:55.411" v="21068"/>
          <ac:spMkLst>
            <pc:docMk/>
            <pc:sldMk cId="1127354295" sldId="2147478564"/>
            <ac:spMk id="146" creationId="{D3E24B27-EEC7-10C2-E564-7712DBC54ACA}"/>
          </ac:spMkLst>
        </pc:spChg>
        <pc:spChg chg="add del mod">
          <ac:chgData name="Steiner Andreas 6206 ED" userId="e6377c33-a923-4f14-8587-531c474c7b48" providerId="ADAL" clId="{6ECD27E6-B224-41CD-B4E0-E297462320DD}" dt="2023-11-24T08:34:57.809" v="21223"/>
          <ac:spMkLst>
            <pc:docMk/>
            <pc:sldMk cId="1127354295" sldId="2147478564"/>
            <ac:spMk id="147" creationId="{DEC10A89-EFFD-0176-A7E8-00B0A8BECC8F}"/>
          </ac:spMkLst>
        </pc:spChg>
        <pc:spChg chg="add del mod">
          <ac:chgData name="Steiner Andreas 6206 ED" userId="e6377c33-a923-4f14-8587-531c474c7b48" providerId="ADAL" clId="{6ECD27E6-B224-41CD-B4E0-E297462320DD}" dt="2023-11-24T08:35:00.360" v="21378"/>
          <ac:spMkLst>
            <pc:docMk/>
            <pc:sldMk cId="1127354295" sldId="2147478564"/>
            <ac:spMk id="148" creationId="{374496E9-4F7B-68A2-9D59-126C32751DAE}"/>
          </ac:spMkLst>
        </pc:spChg>
        <pc:spChg chg="add del mod">
          <ac:chgData name="Steiner Andreas 6206 ED" userId="e6377c33-a923-4f14-8587-531c474c7b48" providerId="ADAL" clId="{6ECD27E6-B224-41CD-B4E0-E297462320DD}" dt="2023-11-24T08:35:02.887" v="21533"/>
          <ac:spMkLst>
            <pc:docMk/>
            <pc:sldMk cId="1127354295" sldId="2147478564"/>
            <ac:spMk id="149" creationId="{0CBD1014-360C-98C0-707F-4EACD8545AAC}"/>
          </ac:spMkLst>
        </pc:spChg>
        <pc:spChg chg="add del mod">
          <ac:chgData name="Steiner Andreas 6206 ED" userId="e6377c33-a923-4f14-8587-531c474c7b48" providerId="ADAL" clId="{6ECD27E6-B224-41CD-B4E0-E297462320DD}" dt="2023-11-24T08:35:05.366" v="21688"/>
          <ac:spMkLst>
            <pc:docMk/>
            <pc:sldMk cId="1127354295" sldId="2147478564"/>
            <ac:spMk id="150" creationId="{F0AF99A4-0B7F-0A61-94CF-81701934FE76}"/>
          </ac:spMkLst>
        </pc:spChg>
        <pc:spChg chg="add del mod">
          <ac:chgData name="Steiner Andreas 6206 ED" userId="e6377c33-a923-4f14-8587-531c474c7b48" providerId="ADAL" clId="{6ECD27E6-B224-41CD-B4E0-E297462320DD}" dt="2023-11-24T08:35:07.899" v="21843"/>
          <ac:spMkLst>
            <pc:docMk/>
            <pc:sldMk cId="1127354295" sldId="2147478564"/>
            <ac:spMk id="151" creationId="{7CBC5D27-4F01-AC3F-7005-B2EA86A20870}"/>
          </ac:spMkLst>
        </pc:spChg>
        <pc:spChg chg="add del mod">
          <ac:chgData name="Steiner Andreas 6206 ED" userId="e6377c33-a923-4f14-8587-531c474c7b48" providerId="ADAL" clId="{6ECD27E6-B224-41CD-B4E0-E297462320DD}" dt="2023-11-24T08:35:10.386" v="21998"/>
          <ac:spMkLst>
            <pc:docMk/>
            <pc:sldMk cId="1127354295" sldId="2147478564"/>
            <ac:spMk id="152" creationId="{227ADDC2-7E31-FA8E-09B9-7496195C6B70}"/>
          </ac:spMkLst>
        </pc:spChg>
        <pc:spChg chg="add del mod">
          <ac:chgData name="Steiner Andreas 6206 ED" userId="e6377c33-a923-4f14-8587-531c474c7b48" providerId="ADAL" clId="{6ECD27E6-B224-41CD-B4E0-E297462320DD}" dt="2023-11-24T08:35:12.843" v="22153"/>
          <ac:spMkLst>
            <pc:docMk/>
            <pc:sldMk cId="1127354295" sldId="2147478564"/>
            <ac:spMk id="153" creationId="{6624E3F8-44BC-783F-F931-BFA7EC274CEA}"/>
          </ac:spMkLst>
        </pc:spChg>
        <pc:spChg chg="add del mod">
          <ac:chgData name="Steiner Andreas 6206 ED" userId="e6377c33-a923-4f14-8587-531c474c7b48" providerId="ADAL" clId="{6ECD27E6-B224-41CD-B4E0-E297462320DD}" dt="2023-11-24T08:35:14.954" v="22308"/>
          <ac:spMkLst>
            <pc:docMk/>
            <pc:sldMk cId="1127354295" sldId="2147478564"/>
            <ac:spMk id="154" creationId="{C84B8A7E-EA59-EA58-B120-22CDDFBE9A99}"/>
          </ac:spMkLst>
        </pc:spChg>
        <pc:spChg chg="add del mod">
          <ac:chgData name="Steiner Andreas 6206 ED" userId="e6377c33-a923-4f14-8587-531c474c7b48" providerId="ADAL" clId="{6ECD27E6-B224-41CD-B4E0-E297462320DD}" dt="2023-11-24T08:35:17.391" v="22463"/>
          <ac:spMkLst>
            <pc:docMk/>
            <pc:sldMk cId="1127354295" sldId="2147478564"/>
            <ac:spMk id="155" creationId="{316B4267-47B6-EA34-532A-FC96FCB5A349}"/>
          </ac:spMkLst>
        </pc:spChg>
        <pc:spChg chg="add del mod">
          <ac:chgData name="Steiner Andreas 6206 ED" userId="e6377c33-a923-4f14-8587-531c474c7b48" providerId="ADAL" clId="{6ECD27E6-B224-41CD-B4E0-E297462320DD}" dt="2023-11-24T08:35:19.789" v="22618"/>
          <ac:spMkLst>
            <pc:docMk/>
            <pc:sldMk cId="1127354295" sldId="2147478564"/>
            <ac:spMk id="156" creationId="{75F46A69-285C-8398-28A2-4022AAF3D263}"/>
          </ac:spMkLst>
        </pc:spChg>
        <pc:spChg chg="add del mod">
          <ac:chgData name="Steiner Andreas 6206 ED" userId="e6377c33-a923-4f14-8587-531c474c7b48" providerId="ADAL" clId="{6ECD27E6-B224-41CD-B4E0-E297462320DD}" dt="2023-11-24T08:35:22.189" v="22773"/>
          <ac:spMkLst>
            <pc:docMk/>
            <pc:sldMk cId="1127354295" sldId="2147478564"/>
            <ac:spMk id="157" creationId="{891DAEB3-E2CD-4704-2498-0F7264146FA0}"/>
          </ac:spMkLst>
        </pc:spChg>
        <pc:spChg chg="add del mod">
          <ac:chgData name="Steiner Andreas 6206 ED" userId="e6377c33-a923-4f14-8587-531c474c7b48" providerId="ADAL" clId="{6ECD27E6-B224-41CD-B4E0-E297462320DD}" dt="2023-11-24T08:35:24.589" v="22928"/>
          <ac:spMkLst>
            <pc:docMk/>
            <pc:sldMk cId="1127354295" sldId="2147478564"/>
            <ac:spMk id="158" creationId="{94DA1315-4634-A0B6-D936-65AAF2EA8DD4}"/>
          </ac:spMkLst>
        </pc:spChg>
        <pc:spChg chg="add del mod">
          <ac:chgData name="Steiner Andreas 6206 ED" userId="e6377c33-a923-4f14-8587-531c474c7b48" providerId="ADAL" clId="{6ECD27E6-B224-41CD-B4E0-E297462320DD}" dt="2023-11-24T08:35:27.184" v="23083"/>
          <ac:spMkLst>
            <pc:docMk/>
            <pc:sldMk cId="1127354295" sldId="2147478564"/>
            <ac:spMk id="159" creationId="{4E2343EE-7841-48B2-7A0A-E9FBB27FD691}"/>
          </ac:spMkLst>
        </pc:spChg>
        <pc:spChg chg="add del mod">
          <ac:chgData name="Steiner Andreas 6206 ED" userId="e6377c33-a923-4f14-8587-531c474c7b48" providerId="ADAL" clId="{6ECD27E6-B224-41CD-B4E0-E297462320DD}" dt="2023-11-24T08:35:29.876" v="23238"/>
          <ac:spMkLst>
            <pc:docMk/>
            <pc:sldMk cId="1127354295" sldId="2147478564"/>
            <ac:spMk id="160" creationId="{05B02465-28A0-A2E3-E377-D4FBB77A2692}"/>
          </ac:spMkLst>
        </pc:spChg>
        <pc:spChg chg="add del mod">
          <ac:chgData name="Steiner Andreas 6206 ED" userId="e6377c33-a923-4f14-8587-531c474c7b48" providerId="ADAL" clId="{6ECD27E6-B224-41CD-B4E0-E297462320DD}" dt="2023-11-24T08:35:32.243" v="23393"/>
          <ac:spMkLst>
            <pc:docMk/>
            <pc:sldMk cId="1127354295" sldId="2147478564"/>
            <ac:spMk id="161" creationId="{639981F0-5EBA-646A-6CE6-6DB897B00683}"/>
          </ac:spMkLst>
        </pc:spChg>
        <pc:spChg chg="add del mod">
          <ac:chgData name="Steiner Andreas 6206 ED" userId="e6377c33-a923-4f14-8587-531c474c7b48" providerId="ADAL" clId="{6ECD27E6-B224-41CD-B4E0-E297462320DD}" dt="2023-11-24T08:35:34.640" v="23548"/>
          <ac:spMkLst>
            <pc:docMk/>
            <pc:sldMk cId="1127354295" sldId="2147478564"/>
            <ac:spMk id="162" creationId="{7857EA13-A241-9C34-D498-FC05BA2E7D6C}"/>
          </ac:spMkLst>
        </pc:spChg>
        <pc:spChg chg="add del mod">
          <ac:chgData name="Steiner Andreas 6206 ED" userId="e6377c33-a923-4f14-8587-531c474c7b48" providerId="ADAL" clId="{6ECD27E6-B224-41CD-B4E0-E297462320DD}" dt="2023-11-24T08:35:36.963" v="23703"/>
          <ac:spMkLst>
            <pc:docMk/>
            <pc:sldMk cId="1127354295" sldId="2147478564"/>
            <ac:spMk id="163" creationId="{EA6EBBC3-4019-89EF-0D07-3F0EE09225F4}"/>
          </ac:spMkLst>
        </pc:spChg>
        <pc:spChg chg="add del mod">
          <ac:chgData name="Steiner Andreas 6206 ED" userId="e6377c33-a923-4f14-8587-531c474c7b48" providerId="ADAL" clId="{6ECD27E6-B224-41CD-B4E0-E297462320DD}" dt="2023-11-24T08:35:39.375" v="23858"/>
          <ac:spMkLst>
            <pc:docMk/>
            <pc:sldMk cId="1127354295" sldId="2147478564"/>
            <ac:spMk id="164" creationId="{A6F6F599-769F-7663-BF2E-B04C51640417}"/>
          </ac:spMkLst>
        </pc:spChg>
        <pc:spChg chg="add del mod">
          <ac:chgData name="Steiner Andreas 6206 ED" userId="e6377c33-a923-4f14-8587-531c474c7b48" providerId="ADAL" clId="{6ECD27E6-B224-41CD-B4E0-E297462320DD}" dt="2023-11-24T08:35:42.041" v="24013"/>
          <ac:spMkLst>
            <pc:docMk/>
            <pc:sldMk cId="1127354295" sldId="2147478564"/>
            <ac:spMk id="165" creationId="{B94014DB-6CFC-5CF3-03A9-487467564E04}"/>
          </ac:spMkLst>
        </pc:spChg>
        <pc:spChg chg="add del mod">
          <ac:chgData name="Steiner Andreas 6206 ED" userId="e6377c33-a923-4f14-8587-531c474c7b48" providerId="ADAL" clId="{6ECD27E6-B224-41CD-B4E0-E297462320DD}" dt="2023-11-24T08:35:44.515" v="24168"/>
          <ac:spMkLst>
            <pc:docMk/>
            <pc:sldMk cId="1127354295" sldId="2147478564"/>
            <ac:spMk id="166" creationId="{76F08ED8-31E9-7211-6C5A-3F62DB1381CB}"/>
          </ac:spMkLst>
        </pc:spChg>
        <pc:spChg chg="add del mod">
          <ac:chgData name="Steiner Andreas 6206 ED" userId="e6377c33-a923-4f14-8587-531c474c7b48" providerId="ADAL" clId="{6ECD27E6-B224-41CD-B4E0-E297462320DD}" dt="2023-11-24T08:35:46.783" v="24323"/>
          <ac:spMkLst>
            <pc:docMk/>
            <pc:sldMk cId="1127354295" sldId="2147478564"/>
            <ac:spMk id="167" creationId="{67E7AAEA-E6CF-6363-FADA-C516DE58EA4D}"/>
          </ac:spMkLst>
        </pc:spChg>
        <pc:spChg chg="add del mod">
          <ac:chgData name="Steiner Andreas 6206 ED" userId="e6377c33-a923-4f14-8587-531c474c7b48" providerId="ADAL" clId="{6ECD27E6-B224-41CD-B4E0-E297462320DD}" dt="2023-11-24T08:35:49.038" v="24478"/>
          <ac:spMkLst>
            <pc:docMk/>
            <pc:sldMk cId="1127354295" sldId="2147478564"/>
            <ac:spMk id="168" creationId="{AC558D80-3A0C-6EF1-6B4F-A60C75D41959}"/>
          </ac:spMkLst>
        </pc:spChg>
        <pc:spChg chg="add del mod">
          <ac:chgData name="Steiner Andreas 6206 ED" userId="e6377c33-a923-4f14-8587-531c474c7b48" providerId="ADAL" clId="{6ECD27E6-B224-41CD-B4E0-E297462320DD}" dt="2023-11-24T08:35:51.325" v="24633"/>
          <ac:spMkLst>
            <pc:docMk/>
            <pc:sldMk cId="1127354295" sldId="2147478564"/>
            <ac:spMk id="169" creationId="{C48941A4-D521-C95E-CCCA-173437E1A15E}"/>
          </ac:spMkLst>
        </pc:spChg>
        <pc:spChg chg="add del mod">
          <ac:chgData name="Steiner Andreas 6206 ED" userId="e6377c33-a923-4f14-8587-531c474c7b48" providerId="ADAL" clId="{6ECD27E6-B224-41CD-B4E0-E297462320DD}" dt="2023-11-24T08:35:54.259" v="24788"/>
          <ac:spMkLst>
            <pc:docMk/>
            <pc:sldMk cId="1127354295" sldId="2147478564"/>
            <ac:spMk id="170" creationId="{868F5077-EE36-AFFC-FA35-29E5B98DD7D6}"/>
          </ac:spMkLst>
        </pc:spChg>
        <pc:spChg chg="add del mod">
          <ac:chgData name="Steiner Andreas 6206 ED" userId="e6377c33-a923-4f14-8587-531c474c7b48" providerId="ADAL" clId="{6ECD27E6-B224-41CD-B4E0-E297462320DD}" dt="2023-11-24T08:35:56.719" v="24943"/>
          <ac:spMkLst>
            <pc:docMk/>
            <pc:sldMk cId="1127354295" sldId="2147478564"/>
            <ac:spMk id="171" creationId="{B4CCB3CA-A5F2-8B47-27F3-0BA656ED69A0}"/>
          </ac:spMkLst>
        </pc:spChg>
        <pc:spChg chg="add del mod">
          <ac:chgData name="Steiner Andreas 6206 ED" userId="e6377c33-a923-4f14-8587-531c474c7b48" providerId="ADAL" clId="{6ECD27E6-B224-41CD-B4E0-E297462320DD}" dt="2023-11-24T08:35:59.264" v="25098"/>
          <ac:spMkLst>
            <pc:docMk/>
            <pc:sldMk cId="1127354295" sldId="2147478564"/>
            <ac:spMk id="172" creationId="{6FBCC67A-8A4C-2DB5-D135-A513D64557E1}"/>
          </ac:spMkLst>
        </pc:spChg>
        <pc:spChg chg="add del mod">
          <ac:chgData name="Steiner Andreas 6206 ED" userId="e6377c33-a923-4f14-8587-531c474c7b48" providerId="ADAL" clId="{6ECD27E6-B224-41CD-B4E0-E297462320DD}" dt="2023-11-24T08:36:01.777" v="25253"/>
          <ac:spMkLst>
            <pc:docMk/>
            <pc:sldMk cId="1127354295" sldId="2147478564"/>
            <ac:spMk id="173" creationId="{197199BC-69F3-5C54-A3D2-15D85C8D90C9}"/>
          </ac:spMkLst>
        </pc:spChg>
        <pc:spChg chg="add del mod">
          <ac:chgData name="Steiner Andreas 6206 ED" userId="e6377c33-a923-4f14-8587-531c474c7b48" providerId="ADAL" clId="{6ECD27E6-B224-41CD-B4E0-E297462320DD}" dt="2023-11-24T08:36:04.375" v="25408"/>
          <ac:spMkLst>
            <pc:docMk/>
            <pc:sldMk cId="1127354295" sldId="2147478564"/>
            <ac:spMk id="174" creationId="{0817F238-8602-9D16-9E65-EA217C2827DB}"/>
          </ac:spMkLst>
        </pc:spChg>
        <pc:spChg chg="add del mod">
          <ac:chgData name="Steiner Andreas 6206 ED" userId="e6377c33-a923-4f14-8587-531c474c7b48" providerId="ADAL" clId="{6ECD27E6-B224-41CD-B4E0-E297462320DD}" dt="2023-11-24T08:36:06.878" v="25563"/>
          <ac:spMkLst>
            <pc:docMk/>
            <pc:sldMk cId="1127354295" sldId="2147478564"/>
            <ac:spMk id="175" creationId="{A2DDC5C3-C128-B001-997B-FCBA4D6D4AAA}"/>
          </ac:spMkLst>
        </pc:spChg>
        <pc:spChg chg="add del mod">
          <ac:chgData name="Steiner Andreas 6206 ED" userId="e6377c33-a923-4f14-8587-531c474c7b48" providerId="ADAL" clId="{6ECD27E6-B224-41CD-B4E0-E297462320DD}" dt="2023-11-24T08:36:09.374" v="25718"/>
          <ac:spMkLst>
            <pc:docMk/>
            <pc:sldMk cId="1127354295" sldId="2147478564"/>
            <ac:spMk id="176" creationId="{A07756D5-B2D4-F880-F612-C03011C29BDE}"/>
          </ac:spMkLst>
        </pc:spChg>
        <pc:spChg chg="add del mod">
          <ac:chgData name="Steiner Andreas 6206 ED" userId="e6377c33-a923-4f14-8587-531c474c7b48" providerId="ADAL" clId="{6ECD27E6-B224-41CD-B4E0-E297462320DD}" dt="2023-11-24T08:36:11.889" v="25873"/>
          <ac:spMkLst>
            <pc:docMk/>
            <pc:sldMk cId="1127354295" sldId="2147478564"/>
            <ac:spMk id="177" creationId="{F15286C8-619A-7F0F-E605-65C07367A4EE}"/>
          </ac:spMkLst>
        </pc:spChg>
        <pc:spChg chg="add del mod">
          <ac:chgData name="Steiner Andreas 6206 ED" userId="e6377c33-a923-4f14-8587-531c474c7b48" providerId="ADAL" clId="{6ECD27E6-B224-41CD-B4E0-E297462320DD}" dt="2023-11-24T08:36:14.278" v="26028"/>
          <ac:spMkLst>
            <pc:docMk/>
            <pc:sldMk cId="1127354295" sldId="2147478564"/>
            <ac:spMk id="178" creationId="{22D0F319-582E-7143-89D2-15C295380067}"/>
          </ac:spMkLst>
        </pc:spChg>
        <pc:spChg chg="add del mod">
          <ac:chgData name="Steiner Andreas 6206 ED" userId="e6377c33-a923-4f14-8587-531c474c7b48" providerId="ADAL" clId="{6ECD27E6-B224-41CD-B4E0-E297462320DD}" dt="2023-11-24T08:36:17.125" v="26183"/>
          <ac:spMkLst>
            <pc:docMk/>
            <pc:sldMk cId="1127354295" sldId="2147478564"/>
            <ac:spMk id="179" creationId="{36092548-A42D-5CF1-B8AC-5E6755A01524}"/>
          </ac:spMkLst>
        </pc:spChg>
        <pc:spChg chg="add del mod">
          <ac:chgData name="Steiner Andreas 6206 ED" userId="e6377c33-a923-4f14-8587-531c474c7b48" providerId="ADAL" clId="{6ECD27E6-B224-41CD-B4E0-E297462320DD}" dt="2023-11-24T08:36:19.509" v="26338"/>
          <ac:spMkLst>
            <pc:docMk/>
            <pc:sldMk cId="1127354295" sldId="2147478564"/>
            <ac:spMk id="180" creationId="{CA1633D2-02CE-58EA-FBEB-10DE2A52C291}"/>
          </ac:spMkLst>
        </pc:spChg>
        <pc:spChg chg="add del mod">
          <ac:chgData name="Steiner Andreas 6206 ED" userId="e6377c33-a923-4f14-8587-531c474c7b48" providerId="ADAL" clId="{6ECD27E6-B224-41CD-B4E0-E297462320DD}" dt="2023-11-24T08:36:21.794" v="26493"/>
          <ac:spMkLst>
            <pc:docMk/>
            <pc:sldMk cId="1127354295" sldId="2147478564"/>
            <ac:spMk id="181" creationId="{750AF181-813B-985B-464F-BC3AA84E47C5}"/>
          </ac:spMkLst>
        </pc:spChg>
        <pc:spChg chg="add del mod">
          <ac:chgData name="Steiner Andreas 6206 ED" userId="e6377c33-a923-4f14-8587-531c474c7b48" providerId="ADAL" clId="{6ECD27E6-B224-41CD-B4E0-E297462320DD}" dt="2023-11-24T08:36:24.284" v="26648"/>
          <ac:spMkLst>
            <pc:docMk/>
            <pc:sldMk cId="1127354295" sldId="2147478564"/>
            <ac:spMk id="182" creationId="{A3D098DC-0CE6-F9B5-5094-E75B6611D0C3}"/>
          </ac:spMkLst>
        </pc:spChg>
        <pc:spChg chg="add del mod">
          <ac:chgData name="Steiner Andreas 6206 ED" userId="e6377c33-a923-4f14-8587-531c474c7b48" providerId="ADAL" clId="{6ECD27E6-B224-41CD-B4E0-E297462320DD}" dt="2023-11-24T08:36:26.840" v="26803"/>
          <ac:spMkLst>
            <pc:docMk/>
            <pc:sldMk cId="1127354295" sldId="2147478564"/>
            <ac:spMk id="183" creationId="{BB919769-B213-1CD8-61DA-5A546993EFAF}"/>
          </ac:spMkLst>
        </pc:spChg>
        <pc:spChg chg="add del mod">
          <ac:chgData name="Steiner Andreas 6206 ED" userId="e6377c33-a923-4f14-8587-531c474c7b48" providerId="ADAL" clId="{6ECD27E6-B224-41CD-B4E0-E297462320DD}" dt="2023-11-24T08:36:29.702" v="26958"/>
          <ac:spMkLst>
            <pc:docMk/>
            <pc:sldMk cId="1127354295" sldId="2147478564"/>
            <ac:spMk id="184" creationId="{A86D4C8C-3A24-8664-21DE-DC645F60D8A2}"/>
          </ac:spMkLst>
        </pc:spChg>
        <pc:spChg chg="add del mod">
          <ac:chgData name="Steiner Andreas 6206 ED" userId="e6377c33-a923-4f14-8587-531c474c7b48" providerId="ADAL" clId="{6ECD27E6-B224-41CD-B4E0-E297462320DD}" dt="2023-11-24T08:36:32.440" v="27113"/>
          <ac:spMkLst>
            <pc:docMk/>
            <pc:sldMk cId="1127354295" sldId="2147478564"/>
            <ac:spMk id="185" creationId="{C47B13FE-3CC6-F808-F479-245102C67E98}"/>
          </ac:spMkLst>
        </pc:spChg>
        <pc:spChg chg="add del mod">
          <ac:chgData name="Steiner Andreas 6206 ED" userId="e6377c33-a923-4f14-8587-531c474c7b48" providerId="ADAL" clId="{6ECD27E6-B224-41CD-B4E0-E297462320DD}" dt="2023-11-24T08:36:34.953" v="27268"/>
          <ac:spMkLst>
            <pc:docMk/>
            <pc:sldMk cId="1127354295" sldId="2147478564"/>
            <ac:spMk id="186" creationId="{D4B273EF-6BA0-1933-2A28-CA9C2B4840EF}"/>
          </ac:spMkLst>
        </pc:spChg>
        <pc:spChg chg="add del mod">
          <ac:chgData name="Steiner Andreas 6206 ED" userId="e6377c33-a923-4f14-8587-531c474c7b48" providerId="ADAL" clId="{6ECD27E6-B224-41CD-B4E0-E297462320DD}" dt="2023-11-24T08:36:37.498" v="27423"/>
          <ac:spMkLst>
            <pc:docMk/>
            <pc:sldMk cId="1127354295" sldId="2147478564"/>
            <ac:spMk id="187" creationId="{419EBFA2-566B-AB9F-156B-2A8FBD5B11E4}"/>
          </ac:spMkLst>
        </pc:spChg>
        <pc:spChg chg="add del mod">
          <ac:chgData name="Steiner Andreas 6206 ED" userId="e6377c33-a923-4f14-8587-531c474c7b48" providerId="ADAL" clId="{6ECD27E6-B224-41CD-B4E0-E297462320DD}" dt="2023-11-24T08:36:40.163" v="27578"/>
          <ac:spMkLst>
            <pc:docMk/>
            <pc:sldMk cId="1127354295" sldId="2147478564"/>
            <ac:spMk id="188" creationId="{BEB7F603-C468-CBE9-DEE5-33997D1BEF84}"/>
          </ac:spMkLst>
        </pc:spChg>
        <pc:spChg chg="add del mod">
          <ac:chgData name="Steiner Andreas 6206 ED" userId="e6377c33-a923-4f14-8587-531c474c7b48" providerId="ADAL" clId="{6ECD27E6-B224-41CD-B4E0-E297462320DD}" dt="2023-11-24T08:36:42.855" v="27733"/>
          <ac:spMkLst>
            <pc:docMk/>
            <pc:sldMk cId="1127354295" sldId="2147478564"/>
            <ac:spMk id="189" creationId="{31F876DF-9B5D-E4B0-44D7-CE3019875940}"/>
          </ac:spMkLst>
        </pc:spChg>
        <pc:spChg chg="add del mod">
          <ac:chgData name="Steiner Andreas 6206 ED" userId="e6377c33-a923-4f14-8587-531c474c7b48" providerId="ADAL" clId="{6ECD27E6-B224-41CD-B4E0-E297462320DD}" dt="2023-11-24T08:36:45.349" v="27888"/>
          <ac:spMkLst>
            <pc:docMk/>
            <pc:sldMk cId="1127354295" sldId="2147478564"/>
            <ac:spMk id="190" creationId="{9636C940-FEF9-15B6-57E0-71605C2F03D8}"/>
          </ac:spMkLst>
        </pc:spChg>
        <pc:spChg chg="add del mod">
          <ac:chgData name="Steiner Andreas 6206 ED" userId="e6377c33-a923-4f14-8587-531c474c7b48" providerId="ADAL" clId="{6ECD27E6-B224-41CD-B4E0-E297462320DD}" dt="2023-11-24T08:36:47.771" v="28043"/>
          <ac:spMkLst>
            <pc:docMk/>
            <pc:sldMk cId="1127354295" sldId="2147478564"/>
            <ac:spMk id="191" creationId="{2B8D60E6-3DC5-E64C-C8AD-3C3DFA369D3B}"/>
          </ac:spMkLst>
        </pc:spChg>
        <pc:spChg chg="add del mod">
          <ac:chgData name="Steiner Andreas 6206 ED" userId="e6377c33-a923-4f14-8587-531c474c7b48" providerId="ADAL" clId="{6ECD27E6-B224-41CD-B4E0-E297462320DD}" dt="2023-11-24T08:36:50.278" v="28198"/>
          <ac:spMkLst>
            <pc:docMk/>
            <pc:sldMk cId="1127354295" sldId="2147478564"/>
            <ac:spMk id="192" creationId="{E9FEF609-6510-3489-C3EC-FF7635A486AE}"/>
          </ac:spMkLst>
        </pc:spChg>
        <pc:spChg chg="add del mod">
          <ac:chgData name="Steiner Andreas 6206 ED" userId="e6377c33-a923-4f14-8587-531c474c7b48" providerId="ADAL" clId="{6ECD27E6-B224-41CD-B4E0-E297462320DD}" dt="2023-11-24T08:36:53.325" v="28353"/>
          <ac:spMkLst>
            <pc:docMk/>
            <pc:sldMk cId="1127354295" sldId="2147478564"/>
            <ac:spMk id="193" creationId="{41D1BFDF-54D0-FAE2-24F4-A83E986253DF}"/>
          </ac:spMkLst>
        </pc:spChg>
        <pc:spChg chg="add del mod">
          <ac:chgData name="Steiner Andreas 6206 ED" userId="e6377c33-a923-4f14-8587-531c474c7b48" providerId="ADAL" clId="{6ECD27E6-B224-41CD-B4E0-E297462320DD}" dt="2023-11-24T08:36:56.405" v="28508"/>
          <ac:spMkLst>
            <pc:docMk/>
            <pc:sldMk cId="1127354295" sldId="2147478564"/>
            <ac:spMk id="194" creationId="{AB447AF7-0B95-700E-865D-8B77FAC26185}"/>
          </ac:spMkLst>
        </pc:spChg>
        <pc:spChg chg="add del mod">
          <ac:chgData name="Steiner Andreas 6206 ED" userId="e6377c33-a923-4f14-8587-531c474c7b48" providerId="ADAL" clId="{6ECD27E6-B224-41CD-B4E0-E297462320DD}" dt="2023-11-24T08:36:59.316" v="28663"/>
          <ac:spMkLst>
            <pc:docMk/>
            <pc:sldMk cId="1127354295" sldId="2147478564"/>
            <ac:spMk id="195" creationId="{AC5CAAE0-240E-6E23-C424-BE7F6C9CE79B}"/>
          </ac:spMkLst>
        </pc:spChg>
        <pc:spChg chg="add del mod">
          <ac:chgData name="Steiner Andreas 6206 ED" userId="e6377c33-a923-4f14-8587-531c474c7b48" providerId="ADAL" clId="{6ECD27E6-B224-41CD-B4E0-E297462320DD}" dt="2023-11-24T08:37:01.940" v="28818"/>
          <ac:spMkLst>
            <pc:docMk/>
            <pc:sldMk cId="1127354295" sldId="2147478564"/>
            <ac:spMk id="196" creationId="{432D76BC-E500-9E89-FE7D-AB729348D579}"/>
          </ac:spMkLst>
        </pc:spChg>
        <pc:spChg chg="add del mod">
          <ac:chgData name="Steiner Andreas 6206 ED" userId="e6377c33-a923-4f14-8587-531c474c7b48" providerId="ADAL" clId="{6ECD27E6-B224-41CD-B4E0-E297462320DD}" dt="2023-11-24T08:37:04.686" v="28973"/>
          <ac:spMkLst>
            <pc:docMk/>
            <pc:sldMk cId="1127354295" sldId="2147478564"/>
            <ac:spMk id="197" creationId="{69F343B4-61BF-A23A-95D4-1FFD1FD6A8A4}"/>
          </ac:spMkLst>
        </pc:spChg>
        <pc:spChg chg="add del mod">
          <ac:chgData name="Steiner Andreas 6206 ED" userId="e6377c33-a923-4f14-8587-531c474c7b48" providerId="ADAL" clId="{6ECD27E6-B224-41CD-B4E0-E297462320DD}" dt="2023-11-24T08:37:07.506" v="29128"/>
          <ac:spMkLst>
            <pc:docMk/>
            <pc:sldMk cId="1127354295" sldId="2147478564"/>
            <ac:spMk id="198" creationId="{745EB166-3B5E-1728-000F-60ECD6C72833}"/>
          </ac:spMkLst>
        </pc:spChg>
        <pc:spChg chg="add del mod">
          <ac:chgData name="Steiner Andreas 6206 ED" userId="e6377c33-a923-4f14-8587-531c474c7b48" providerId="ADAL" clId="{6ECD27E6-B224-41CD-B4E0-E297462320DD}" dt="2023-11-24T08:37:10.138" v="29283"/>
          <ac:spMkLst>
            <pc:docMk/>
            <pc:sldMk cId="1127354295" sldId="2147478564"/>
            <ac:spMk id="199" creationId="{0F3F015E-48B1-A11B-A640-5F43467ED7C9}"/>
          </ac:spMkLst>
        </pc:spChg>
        <pc:spChg chg="add del mod">
          <ac:chgData name="Steiner Andreas 6206 ED" userId="e6377c33-a923-4f14-8587-531c474c7b48" providerId="ADAL" clId="{6ECD27E6-B224-41CD-B4E0-E297462320DD}" dt="2023-11-24T08:37:12.808" v="29438"/>
          <ac:spMkLst>
            <pc:docMk/>
            <pc:sldMk cId="1127354295" sldId="2147478564"/>
            <ac:spMk id="200" creationId="{AE87E7D3-39E7-F263-20FE-0B1175B3D638}"/>
          </ac:spMkLst>
        </pc:spChg>
        <pc:spChg chg="add del mod">
          <ac:chgData name="Steiner Andreas 6206 ED" userId="e6377c33-a923-4f14-8587-531c474c7b48" providerId="ADAL" clId="{6ECD27E6-B224-41CD-B4E0-E297462320DD}" dt="2023-11-24T08:37:16.170" v="29593"/>
          <ac:spMkLst>
            <pc:docMk/>
            <pc:sldMk cId="1127354295" sldId="2147478564"/>
            <ac:spMk id="201" creationId="{6AD547A5-0224-456D-A87F-2A29F5A09C92}"/>
          </ac:spMkLst>
        </pc:spChg>
        <pc:spChg chg="add del mod">
          <ac:chgData name="Steiner Andreas 6206 ED" userId="e6377c33-a923-4f14-8587-531c474c7b48" providerId="ADAL" clId="{6ECD27E6-B224-41CD-B4E0-E297462320DD}" dt="2023-11-24T08:37:18.916" v="29748"/>
          <ac:spMkLst>
            <pc:docMk/>
            <pc:sldMk cId="1127354295" sldId="2147478564"/>
            <ac:spMk id="202" creationId="{ED022109-5116-D576-CC70-E16DE7FD99BE}"/>
          </ac:spMkLst>
        </pc:spChg>
        <pc:spChg chg="add del mod">
          <ac:chgData name="Steiner Andreas 6206 ED" userId="e6377c33-a923-4f14-8587-531c474c7b48" providerId="ADAL" clId="{6ECD27E6-B224-41CD-B4E0-E297462320DD}" dt="2023-11-24T08:37:21.376" v="29903"/>
          <ac:spMkLst>
            <pc:docMk/>
            <pc:sldMk cId="1127354295" sldId="2147478564"/>
            <ac:spMk id="203" creationId="{BF75D07C-86FC-20BD-A58C-93BAF61541FA}"/>
          </ac:spMkLst>
        </pc:spChg>
        <pc:spChg chg="add del mod">
          <ac:chgData name="Steiner Andreas 6206 ED" userId="e6377c33-a923-4f14-8587-531c474c7b48" providerId="ADAL" clId="{6ECD27E6-B224-41CD-B4E0-E297462320DD}" dt="2023-11-24T08:37:24.225" v="30058"/>
          <ac:spMkLst>
            <pc:docMk/>
            <pc:sldMk cId="1127354295" sldId="2147478564"/>
            <ac:spMk id="204" creationId="{CF2350DB-A423-0636-BE04-913F813CCEBF}"/>
          </ac:spMkLst>
        </pc:spChg>
        <pc:spChg chg="add del mod">
          <ac:chgData name="Steiner Andreas 6206 ED" userId="e6377c33-a923-4f14-8587-531c474c7b48" providerId="ADAL" clId="{6ECD27E6-B224-41CD-B4E0-E297462320DD}" dt="2023-11-24T08:37:26.790" v="30213"/>
          <ac:spMkLst>
            <pc:docMk/>
            <pc:sldMk cId="1127354295" sldId="2147478564"/>
            <ac:spMk id="205" creationId="{19485E84-2DB1-70E4-0ADF-9758A33D32D3}"/>
          </ac:spMkLst>
        </pc:spChg>
        <pc:spChg chg="add del mod">
          <ac:chgData name="Steiner Andreas 6206 ED" userId="e6377c33-a923-4f14-8587-531c474c7b48" providerId="ADAL" clId="{6ECD27E6-B224-41CD-B4E0-E297462320DD}" dt="2023-11-24T08:37:30.116" v="30368"/>
          <ac:spMkLst>
            <pc:docMk/>
            <pc:sldMk cId="1127354295" sldId="2147478564"/>
            <ac:spMk id="206" creationId="{D6578C49-594D-11D6-89F0-4650C8C1BF26}"/>
          </ac:spMkLst>
        </pc:spChg>
        <pc:spChg chg="add del mod">
          <ac:chgData name="Steiner Andreas 6206 ED" userId="e6377c33-a923-4f14-8587-531c474c7b48" providerId="ADAL" clId="{6ECD27E6-B224-41CD-B4E0-E297462320DD}" dt="2023-11-24T08:37:32.941" v="30523"/>
          <ac:spMkLst>
            <pc:docMk/>
            <pc:sldMk cId="1127354295" sldId="2147478564"/>
            <ac:spMk id="207" creationId="{E3651449-ED9F-B758-8040-12C755208B91}"/>
          </ac:spMkLst>
        </pc:spChg>
        <pc:spChg chg="add del mod">
          <ac:chgData name="Steiner Andreas 6206 ED" userId="e6377c33-a923-4f14-8587-531c474c7b48" providerId="ADAL" clId="{6ECD27E6-B224-41CD-B4E0-E297462320DD}" dt="2023-11-24T08:37:35.599" v="30678"/>
          <ac:spMkLst>
            <pc:docMk/>
            <pc:sldMk cId="1127354295" sldId="2147478564"/>
            <ac:spMk id="208" creationId="{92A2189D-4CF1-87DD-3C59-43378AFD483F}"/>
          </ac:spMkLst>
        </pc:spChg>
        <pc:spChg chg="add del mod">
          <ac:chgData name="Steiner Andreas 6206 ED" userId="e6377c33-a923-4f14-8587-531c474c7b48" providerId="ADAL" clId="{6ECD27E6-B224-41CD-B4E0-E297462320DD}" dt="2023-11-24T08:37:38.165" v="30833"/>
          <ac:spMkLst>
            <pc:docMk/>
            <pc:sldMk cId="1127354295" sldId="2147478564"/>
            <ac:spMk id="209" creationId="{970DE658-FD58-972E-C49F-FF9CBDEF7617}"/>
          </ac:spMkLst>
        </pc:spChg>
        <pc:spChg chg="add del mod">
          <ac:chgData name="Steiner Andreas 6206 ED" userId="e6377c33-a923-4f14-8587-531c474c7b48" providerId="ADAL" clId="{6ECD27E6-B224-41CD-B4E0-E297462320DD}" dt="2023-11-24T08:37:42.255" v="30988"/>
          <ac:spMkLst>
            <pc:docMk/>
            <pc:sldMk cId="1127354295" sldId="2147478564"/>
            <ac:spMk id="210" creationId="{2BCA8725-0D73-DA4A-F0A8-10617D0D8710}"/>
          </ac:spMkLst>
        </pc:spChg>
        <pc:spChg chg="add del mod">
          <ac:chgData name="Steiner Andreas 6206 ED" userId="e6377c33-a923-4f14-8587-531c474c7b48" providerId="ADAL" clId="{6ECD27E6-B224-41CD-B4E0-E297462320DD}" dt="2023-11-24T08:37:45.157" v="31143"/>
          <ac:spMkLst>
            <pc:docMk/>
            <pc:sldMk cId="1127354295" sldId="2147478564"/>
            <ac:spMk id="211" creationId="{874179A5-385E-5FF9-FEAF-CB435F483E43}"/>
          </ac:spMkLst>
        </pc:spChg>
        <pc:spChg chg="add del mod">
          <ac:chgData name="Steiner Andreas 6206 ED" userId="e6377c33-a923-4f14-8587-531c474c7b48" providerId="ADAL" clId="{6ECD27E6-B224-41CD-B4E0-E297462320DD}" dt="2023-11-24T08:37:47.996" v="31298"/>
          <ac:spMkLst>
            <pc:docMk/>
            <pc:sldMk cId="1127354295" sldId="2147478564"/>
            <ac:spMk id="212" creationId="{A73E8F3B-0906-DC2F-BC3A-AD4AC17A9C31}"/>
          </ac:spMkLst>
        </pc:spChg>
        <pc:spChg chg="add del mod">
          <ac:chgData name="Steiner Andreas 6206 ED" userId="e6377c33-a923-4f14-8587-531c474c7b48" providerId="ADAL" clId="{6ECD27E6-B224-41CD-B4E0-E297462320DD}" dt="2023-11-24T08:37:50.664" v="31453"/>
          <ac:spMkLst>
            <pc:docMk/>
            <pc:sldMk cId="1127354295" sldId="2147478564"/>
            <ac:spMk id="213" creationId="{E145A12B-B640-85B5-310C-AAA2F3512D22}"/>
          </ac:spMkLst>
        </pc:spChg>
        <pc:spChg chg="add del mod">
          <ac:chgData name="Steiner Andreas 6206 ED" userId="e6377c33-a923-4f14-8587-531c474c7b48" providerId="ADAL" clId="{6ECD27E6-B224-41CD-B4E0-E297462320DD}" dt="2023-11-24T08:37:53.301" v="31608"/>
          <ac:spMkLst>
            <pc:docMk/>
            <pc:sldMk cId="1127354295" sldId="2147478564"/>
            <ac:spMk id="214" creationId="{98A480D7-45AB-3354-98D4-875660083C34}"/>
          </ac:spMkLst>
        </pc:spChg>
        <pc:spChg chg="add del mod">
          <ac:chgData name="Steiner Andreas 6206 ED" userId="e6377c33-a923-4f14-8587-531c474c7b48" providerId="ADAL" clId="{6ECD27E6-B224-41CD-B4E0-E297462320DD}" dt="2023-11-24T08:37:57.422" v="31763"/>
          <ac:spMkLst>
            <pc:docMk/>
            <pc:sldMk cId="1127354295" sldId="2147478564"/>
            <ac:spMk id="215" creationId="{5BBC8149-8FF1-C478-8C77-3365F061A855}"/>
          </ac:spMkLst>
        </pc:spChg>
        <pc:spChg chg="add del mod">
          <ac:chgData name="Steiner Andreas 6206 ED" userId="e6377c33-a923-4f14-8587-531c474c7b48" providerId="ADAL" clId="{6ECD27E6-B224-41CD-B4E0-E297462320DD}" dt="2023-11-24T08:38:00.201" v="31918"/>
          <ac:spMkLst>
            <pc:docMk/>
            <pc:sldMk cId="1127354295" sldId="2147478564"/>
            <ac:spMk id="216" creationId="{8B8E8C27-D629-9C70-5074-4EA441787776}"/>
          </ac:spMkLst>
        </pc:spChg>
        <pc:spChg chg="add del mod">
          <ac:chgData name="Steiner Andreas 6206 ED" userId="e6377c33-a923-4f14-8587-531c474c7b48" providerId="ADAL" clId="{6ECD27E6-B224-41CD-B4E0-E297462320DD}" dt="2023-11-24T08:38:03.137" v="32073"/>
          <ac:spMkLst>
            <pc:docMk/>
            <pc:sldMk cId="1127354295" sldId="2147478564"/>
            <ac:spMk id="217" creationId="{AD5CDE39-B497-E2FD-F94B-32B3E06FFD90}"/>
          </ac:spMkLst>
        </pc:spChg>
        <pc:spChg chg="add del mod">
          <ac:chgData name="Steiner Andreas 6206 ED" userId="e6377c33-a923-4f14-8587-531c474c7b48" providerId="ADAL" clId="{6ECD27E6-B224-41CD-B4E0-E297462320DD}" dt="2023-11-24T08:38:06.043" v="32228"/>
          <ac:spMkLst>
            <pc:docMk/>
            <pc:sldMk cId="1127354295" sldId="2147478564"/>
            <ac:spMk id="218" creationId="{C71EF63B-B404-E239-F419-121A97D98126}"/>
          </ac:spMkLst>
        </pc:spChg>
        <pc:spChg chg="add del mod">
          <ac:chgData name="Steiner Andreas 6206 ED" userId="e6377c33-a923-4f14-8587-531c474c7b48" providerId="ADAL" clId="{6ECD27E6-B224-41CD-B4E0-E297462320DD}" dt="2023-11-24T08:38:09.263" v="32383"/>
          <ac:spMkLst>
            <pc:docMk/>
            <pc:sldMk cId="1127354295" sldId="2147478564"/>
            <ac:spMk id="219" creationId="{33DA7AE3-3B39-4F2B-CB4B-C455C1079D0D}"/>
          </ac:spMkLst>
        </pc:spChg>
        <pc:spChg chg="add del mod">
          <ac:chgData name="Steiner Andreas 6206 ED" userId="e6377c33-a923-4f14-8587-531c474c7b48" providerId="ADAL" clId="{6ECD27E6-B224-41CD-B4E0-E297462320DD}" dt="2023-11-24T08:38:11.953" v="32538"/>
          <ac:spMkLst>
            <pc:docMk/>
            <pc:sldMk cId="1127354295" sldId="2147478564"/>
            <ac:spMk id="220" creationId="{666BB12D-6802-9E40-6D8C-44D6FC4C612C}"/>
          </ac:spMkLst>
        </pc:spChg>
        <pc:spChg chg="add del mod">
          <ac:chgData name="Steiner Andreas 6206 ED" userId="e6377c33-a923-4f14-8587-531c474c7b48" providerId="ADAL" clId="{6ECD27E6-B224-41CD-B4E0-E297462320DD}" dt="2023-11-24T08:38:14.566" v="32693"/>
          <ac:spMkLst>
            <pc:docMk/>
            <pc:sldMk cId="1127354295" sldId="2147478564"/>
            <ac:spMk id="221" creationId="{C4C89E9B-1FD6-6B50-17F5-0E449FD37EDD}"/>
          </ac:spMkLst>
        </pc:spChg>
        <pc:spChg chg="add del mod">
          <ac:chgData name="Steiner Andreas 6206 ED" userId="e6377c33-a923-4f14-8587-531c474c7b48" providerId="ADAL" clId="{6ECD27E6-B224-41CD-B4E0-E297462320DD}" dt="2023-11-24T08:38:17.285" v="32848"/>
          <ac:spMkLst>
            <pc:docMk/>
            <pc:sldMk cId="1127354295" sldId="2147478564"/>
            <ac:spMk id="222" creationId="{08156DC6-2842-0A12-B485-AB3EC7FDA651}"/>
          </ac:spMkLst>
        </pc:spChg>
        <pc:spChg chg="add del mod">
          <ac:chgData name="Steiner Andreas 6206 ED" userId="e6377c33-a923-4f14-8587-531c474c7b48" providerId="ADAL" clId="{6ECD27E6-B224-41CD-B4E0-E297462320DD}" dt="2023-11-24T08:38:20.275" v="33003"/>
          <ac:spMkLst>
            <pc:docMk/>
            <pc:sldMk cId="1127354295" sldId="2147478564"/>
            <ac:spMk id="223" creationId="{6225C05B-EF4B-B23E-7EA6-D5F0BD056EED}"/>
          </ac:spMkLst>
        </pc:spChg>
        <pc:spChg chg="add del mod">
          <ac:chgData name="Steiner Andreas 6206 ED" userId="e6377c33-a923-4f14-8587-531c474c7b48" providerId="ADAL" clId="{6ECD27E6-B224-41CD-B4E0-E297462320DD}" dt="2023-11-24T08:38:23.129" v="33158"/>
          <ac:spMkLst>
            <pc:docMk/>
            <pc:sldMk cId="1127354295" sldId="2147478564"/>
            <ac:spMk id="224" creationId="{801B93F6-2555-E3E8-AE68-432B3F0B6A64}"/>
          </ac:spMkLst>
        </pc:spChg>
        <pc:spChg chg="add del mod">
          <ac:chgData name="Steiner Andreas 6206 ED" userId="e6377c33-a923-4f14-8587-531c474c7b48" providerId="ADAL" clId="{6ECD27E6-B224-41CD-B4E0-E297462320DD}" dt="2023-11-24T08:38:25.952" v="33313"/>
          <ac:spMkLst>
            <pc:docMk/>
            <pc:sldMk cId="1127354295" sldId="2147478564"/>
            <ac:spMk id="225" creationId="{2DFC9B27-B332-1F81-55B4-D79B257C0C37}"/>
          </ac:spMkLst>
        </pc:spChg>
        <pc:spChg chg="add del mod">
          <ac:chgData name="Steiner Andreas 6206 ED" userId="e6377c33-a923-4f14-8587-531c474c7b48" providerId="ADAL" clId="{6ECD27E6-B224-41CD-B4E0-E297462320DD}" dt="2023-11-24T08:38:29.600" v="33468"/>
          <ac:spMkLst>
            <pc:docMk/>
            <pc:sldMk cId="1127354295" sldId="2147478564"/>
            <ac:spMk id="226" creationId="{DC68A732-4B2C-713F-AB4B-77AAF7CD32C9}"/>
          </ac:spMkLst>
        </pc:spChg>
        <pc:spChg chg="add del mod">
          <ac:chgData name="Steiner Andreas 6206 ED" userId="e6377c33-a923-4f14-8587-531c474c7b48" providerId="ADAL" clId="{6ECD27E6-B224-41CD-B4E0-E297462320DD}" dt="2023-11-24T08:38:32.684" v="33623"/>
          <ac:spMkLst>
            <pc:docMk/>
            <pc:sldMk cId="1127354295" sldId="2147478564"/>
            <ac:spMk id="227" creationId="{E85898A5-D54B-3AEE-EBC5-E89335B359D0}"/>
          </ac:spMkLst>
        </pc:spChg>
        <pc:spChg chg="add del mod">
          <ac:chgData name="Steiner Andreas 6206 ED" userId="e6377c33-a923-4f14-8587-531c474c7b48" providerId="ADAL" clId="{6ECD27E6-B224-41CD-B4E0-E297462320DD}" dt="2023-11-24T08:38:35.322" v="33778"/>
          <ac:spMkLst>
            <pc:docMk/>
            <pc:sldMk cId="1127354295" sldId="2147478564"/>
            <ac:spMk id="228" creationId="{112E5B3A-F392-0964-33AA-DF689F293548}"/>
          </ac:spMkLst>
        </pc:spChg>
        <pc:spChg chg="add del mod">
          <ac:chgData name="Steiner Andreas 6206 ED" userId="e6377c33-a923-4f14-8587-531c474c7b48" providerId="ADAL" clId="{6ECD27E6-B224-41CD-B4E0-E297462320DD}" dt="2023-11-24T08:38:37.954" v="33933"/>
          <ac:spMkLst>
            <pc:docMk/>
            <pc:sldMk cId="1127354295" sldId="2147478564"/>
            <ac:spMk id="229" creationId="{668949A4-B6E6-C291-8409-97CE8C9C838B}"/>
          </ac:spMkLst>
        </pc:spChg>
        <pc:spChg chg="add del mod">
          <ac:chgData name="Steiner Andreas 6206 ED" userId="e6377c33-a923-4f14-8587-531c474c7b48" providerId="ADAL" clId="{6ECD27E6-B224-41CD-B4E0-E297462320DD}" dt="2023-11-24T08:38:40.517" v="34088"/>
          <ac:spMkLst>
            <pc:docMk/>
            <pc:sldMk cId="1127354295" sldId="2147478564"/>
            <ac:spMk id="230" creationId="{EA5CF16E-0C97-E793-479E-053A597DCB4C}"/>
          </ac:spMkLst>
        </pc:spChg>
        <pc:spChg chg="add del mod">
          <ac:chgData name="Steiner Andreas 6206 ED" userId="e6377c33-a923-4f14-8587-531c474c7b48" providerId="ADAL" clId="{6ECD27E6-B224-41CD-B4E0-E297462320DD}" dt="2023-11-24T08:38:43.051" v="34243"/>
          <ac:spMkLst>
            <pc:docMk/>
            <pc:sldMk cId="1127354295" sldId="2147478564"/>
            <ac:spMk id="231" creationId="{58FB6926-BDC5-C6A0-E689-12884AE9097C}"/>
          </ac:spMkLst>
        </pc:spChg>
        <pc:spChg chg="add del mod">
          <ac:chgData name="Steiner Andreas 6206 ED" userId="e6377c33-a923-4f14-8587-531c474c7b48" providerId="ADAL" clId="{6ECD27E6-B224-41CD-B4E0-E297462320DD}" dt="2023-11-24T08:38:47.057" v="34398"/>
          <ac:spMkLst>
            <pc:docMk/>
            <pc:sldMk cId="1127354295" sldId="2147478564"/>
            <ac:spMk id="232" creationId="{1AB4D45A-0C1B-299B-E5C6-97090A0D2024}"/>
          </ac:spMkLst>
        </pc:spChg>
        <pc:spChg chg="add del mod">
          <ac:chgData name="Steiner Andreas 6206 ED" userId="e6377c33-a923-4f14-8587-531c474c7b48" providerId="ADAL" clId="{6ECD27E6-B224-41CD-B4E0-E297462320DD}" dt="2023-11-24T08:38:49.756" v="34553"/>
          <ac:spMkLst>
            <pc:docMk/>
            <pc:sldMk cId="1127354295" sldId="2147478564"/>
            <ac:spMk id="233" creationId="{AC6C870B-C522-D311-AC06-ABE34058AF5E}"/>
          </ac:spMkLst>
        </pc:spChg>
        <pc:spChg chg="add del mod">
          <ac:chgData name="Steiner Andreas 6206 ED" userId="e6377c33-a923-4f14-8587-531c474c7b48" providerId="ADAL" clId="{6ECD27E6-B224-41CD-B4E0-E297462320DD}" dt="2023-11-24T08:38:52.581" v="34708"/>
          <ac:spMkLst>
            <pc:docMk/>
            <pc:sldMk cId="1127354295" sldId="2147478564"/>
            <ac:spMk id="234" creationId="{7F7BD07B-D0AF-104A-9450-21C638B52B63}"/>
          </ac:spMkLst>
        </pc:spChg>
        <pc:spChg chg="add del mod">
          <ac:chgData name="Steiner Andreas 6206 ED" userId="e6377c33-a923-4f14-8587-531c474c7b48" providerId="ADAL" clId="{6ECD27E6-B224-41CD-B4E0-E297462320DD}" dt="2023-11-24T08:38:55.530" v="34863"/>
          <ac:spMkLst>
            <pc:docMk/>
            <pc:sldMk cId="1127354295" sldId="2147478564"/>
            <ac:spMk id="235" creationId="{5039D7EA-9ECE-A8EE-6257-3B11BF14EE45}"/>
          </ac:spMkLst>
        </pc:spChg>
        <pc:spChg chg="add del mod">
          <ac:chgData name="Steiner Andreas 6206 ED" userId="e6377c33-a923-4f14-8587-531c474c7b48" providerId="ADAL" clId="{6ECD27E6-B224-41CD-B4E0-E297462320DD}" dt="2023-11-24T08:38:58.771" v="35018"/>
          <ac:spMkLst>
            <pc:docMk/>
            <pc:sldMk cId="1127354295" sldId="2147478564"/>
            <ac:spMk id="236" creationId="{4A1D9469-5660-7447-4666-A846D8F04670}"/>
          </ac:spMkLst>
        </pc:spChg>
        <pc:spChg chg="add del mod">
          <ac:chgData name="Steiner Andreas 6206 ED" userId="e6377c33-a923-4f14-8587-531c474c7b48" providerId="ADAL" clId="{6ECD27E6-B224-41CD-B4E0-E297462320DD}" dt="2023-11-24T08:39:02.396" v="35173"/>
          <ac:spMkLst>
            <pc:docMk/>
            <pc:sldMk cId="1127354295" sldId="2147478564"/>
            <ac:spMk id="237" creationId="{84AD8991-13F9-FF03-0B39-EECBE11AD4CD}"/>
          </ac:spMkLst>
        </pc:spChg>
        <pc:spChg chg="add del mod">
          <ac:chgData name="Steiner Andreas 6206 ED" userId="e6377c33-a923-4f14-8587-531c474c7b48" providerId="ADAL" clId="{6ECD27E6-B224-41CD-B4E0-E297462320DD}" dt="2023-11-24T08:39:05.410" v="35328"/>
          <ac:spMkLst>
            <pc:docMk/>
            <pc:sldMk cId="1127354295" sldId="2147478564"/>
            <ac:spMk id="238" creationId="{43102BAB-B4EE-EBDD-4CE8-91057B3B5E93}"/>
          </ac:spMkLst>
        </pc:spChg>
        <pc:spChg chg="add del mod">
          <ac:chgData name="Steiner Andreas 6206 ED" userId="e6377c33-a923-4f14-8587-531c474c7b48" providerId="ADAL" clId="{6ECD27E6-B224-41CD-B4E0-E297462320DD}" dt="2023-11-24T08:39:08.349" v="35483"/>
          <ac:spMkLst>
            <pc:docMk/>
            <pc:sldMk cId="1127354295" sldId="2147478564"/>
            <ac:spMk id="239" creationId="{4C35126F-B2CA-6B2A-ECD2-1F194275554C}"/>
          </ac:spMkLst>
        </pc:spChg>
        <pc:spChg chg="add del mod">
          <ac:chgData name="Steiner Andreas 6206 ED" userId="e6377c33-a923-4f14-8587-531c474c7b48" providerId="ADAL" clId="{6ECD27E6-B224-41CD-B4E0-E297462320DD}" dt="2023-11-24T08:39:12.897" v="35638"/>
          <ac:spMkLst>
            <pc:docMk/>
            <pc:sldMk cId="1127354295" sldId="2147478564"/>
            <ac:spMk id="240" creationId="{1278E860-5A56-5FA5-6325-4DAC206D4831}"/>
          </ac:spMkLst>
        </pc:spChg>
        <pc:spChg chg="add del mod">
          <ac:chgData name="Steiner Andreas 6206 ED" userId="e6377c33-a923-4f14-8587-531c474c7b48" providerId="ADAL" clId="{6ECD27E6-B224-41CD-B4E0-E297462320DD}" dt="2023-11-24T08:39:15.555" v="35793"/>
          <ac:spMkLst>
            <pc:docMk/>
            <pc:sldMk cId="1127354295" sldId="2147478564"/>
            <ac:spMk id="241" creationId="{1A3B48D0-3F6E-E8F8-366F-537374469AD5}"/>
          </ac:spMkLst>
        </pc:spChg>
        <pc:spChg chg="add del mod">
          <ac:chgData name="Steiner Andreas 6206 ED" userId="e6377c33-a923-4f14-8587-531c474c7b48" providerId="ADAL" clId="{6ECD27E6-B224-41CD-B4E0-E297462320DD}" dt="2023-11-24T08:39:18.233" v="35948"/>
          <ac:spMkLst>
            <pc:docMk/>
            <pc:sldMk cId="1127354295" sldId="2147478564"/>
            <ac:spMk id="242" creationId="{F1DB32D0-D9BC-475E-2847-31E90EFB5F6A}"/>
          </ac:spMkLst>
        </pc:spChg>
        <pc:spChg chg="add del mod">
          <ac:chgData name="Steiner Andreas 6206 ED" userId="e6377c33-a923-4f14-8587-531c474c7b48" providerId="ADAL" clId="{6ECD27E6-B224-41CD-B4E0-E297462320DD}" dt="2023-11-24T08:39:20.870" v="36103"/>
          <ac:spMkLst>
            <pc:docMk/>
            <pc:sldMk cId="1127354295" sldId="2147478564"/>
            <ac:spMk id="243" creationId="{CDF00013-CBBC-C2A4-41A2-CA3374260FE9}"/>
          </ac:spMkLst>
        </pc:spChg>
        <pc:spChg chg="add del mod">
          <ac:chgData name="Steiner Andreas 6206 ED" userId="e6377c33-a923-4f14-8587-531c474c7b48" providerId="ADAL" clId="{6ECD27E6-B224-41CD-B4E0-E297462320DD}" dt="2023-11-24T08:39:24.028" v="36258"/>
          <ac:spMkLst>
            <pc:docMk/>
            <pc:sldMk cId="1127354295" sldId="2147478564"/>
            <ac:spMk id="244" creationId="{565D50B1-FBCD-30A9-6772-B2C4069CC834}"/>
          </ac:spMkLst>
        </pc:spChg>
        <pc:spChg chg="add del mod">
          <ac:chgData name="Steiner Andreas 6206 ED" userId="e6377c33-a923-4f14-8587-531c474c7b48" providerId="ADAL" clId="{6ECD27E6-B224-41CD-B4E0-E297462320DD}" dt="2023-11-24T08:39:26.739" v="36413"/>
          <ac:spMkLst>
            <pc:docMk/>
            <pc:sldMk cId="1127354295" sldId="2147478564"/>
            <ac:spMk id="245" creationId="{7B0F8DDD-3F75-411C-5E23-0A0686F1C006}"/>
          </ac:spMkLst>
        </pc:spChg>
        <pc:spChg chg="add del mod">
          <ac:chgData name="Steiner Andreas 6206 ED" userId="e6377c33-a923-4f14-8587-531c474c7b48" providerId="ADAL" clId="{6ECD27E6-B224-41CD-B4E0-E297462320DD}" dt="2023-11-24T08:39:29.505" v="36568"/>
          <ac:spMkLst>
            <pc:docMk/>
            <pc:sldMk cId="1127354295" sldId="2147478564"/>
            <ac:spMk id="246" creationId="{BF8CF691-5F1E-84FC-68D9-D08EC36533CF}"/>
          </ac:spMkLst>
        </pc:spChg>
        <pc:spChg chg="add del mod">
          <ac:chgData name="Steiner Andreas 6206 ED" userId="e6377c33-a923-4f14-8587-531c474c7b48" providerId="ADAL" clId="{6ECD27E6-B224-41CD-B4E0-E297462320DD}" dt="2023-11-24T08:39:32.070" v="36723"/>
          <ac:spMkLst>
            <pc:docMk/>
            <pc:sldMk cId="1127354295" sldId="2147478564"/>
            <ac:spMk id="247" creationId="{8236C78D-0EC5-593B-D3E5-43D50CAAC40E}"/>
          </ac:spMkLst>
        </pc:spChg>
        <pc:spChg chg="add del mod">
          <ac:chgData name="Steiner Andreas 6206 ED" userId="e6377c33-a923-4f14-8587-531c474c7b48" providerId="ADAL" clId="{6ECD27E6-B224-41CD-B4E0-E297462320DD}" dt="2023-11-24T08:39:34.575" v="36878"/>
          <ac:spMkLst>
            <pc:docMk/>
            <pc:sldMk cId="1127354295" sldId="2147478564"/>
            <ac:spMk id="248" creationId="{8226C678-B33C-B81F-D2F4-FCF727BBDED5}"/>
          </ac:spMkLst>
        </pc:spChg>
        <pc:spChg chg="add del mod">
          <ac:chgData name="Steiner Andreas 6206 ED" userId="e6377c33-a923-4f14-8587-531c474c7b48" providerId="ADAL" clId="{6ECD27E6-B224-41CD-B4E0-E297462320DD}" dt="2023-11-24T08:39:37.500" v="37033"/>
          <ac:spMkLst>
            <pc:docMk/>
            <pc:sldMk cId="1127354295" sldId="2147478564"/>
            <ac:spMk id="249" creationId="{174E209F-2361-74A8-AEEC-0D5CE5D15D2D}"/>
          </ac:spMkLst>
        </pc:spChg>
        <pc:spChg chg="add del mod">
          <ac:chgData name="Steiner Andreas 6206 ED" userId="e6377c33-a923-4f14-8587-531c474c7b48" providerId="ADAL" clId="{6ECD27E6-B224-41CD-B4E0-E297462320DD}" dt="2023-11-24T08:39:40.126" v="37188"/>
          <ac:spMkLst>
            <pc:docMk/>
            <pc:sldMk cId="1127354295" sldId="2147478564"/>
            <ac:spMk id="250" creationId="{5C19384B-AE4C-7817-D593-1EAE21326A85}"/>
          </ac:spMkLst>
        </pc:spChg>
        <pc:spChg chg="add del mod">
          <ac:chgData name="Steiner Andreas 6206 ED" userId="e6377c33-a923-4f14-8587-531c474c7b48" providerId="ADAL" clId="{6ECD27E6-B224-41CD-B4E0-E297462320DD}" dt="2023-11-24T08:39:42.570" v="37343"/>
          <ac:spMkLst>
            <pc:docMk/>
            <pc:sldMk cId="1127354295" sldId="2147478564"/>
            <ac:spMk id="251" creationId="{734B2002-32E1-1603-A0A5-276D0C5644E6}"/>
          </ac:spMkLst>
        </pc:spChg>
        <pc:spChg chg="add del mod">
          <ac:chgData name="Steiner Andreas 6206 ED" userId="e6377c33-a923-4f14-8587-531c474c7b48" providerId="ADAL" clId="{6ECD27E6-B224-41CD-B4E0-E297462320DD}" dt="2023-11-24T08:39:45.131" v="37498"/>
          <ac:spMkLst>
            <pc:docMk/>
            <pc:sldMk cId="1127354295" sldId="2147478564"/>
            <ac:spMk id="252" creationId="{BC1D9B94-E05E-D357-F254-AB3235C4028A}"/>
          </ac:spMkLst>
        </pc:spChg>
        <pc:spChg chg="add del mod">
          <ac:chgData name="Steiner Andreas 6206 ED" userId="e6377c33-a923-4f14-8587-531c474c7b48" providerId="ADAL" clId="{6ECD27E6-B224-41CD-B4E0-E297462320DD}" dt="2023-11-24T08:39:48.162" v="37653"/>
          <ac:spMkLst>
            <pc:docMk/>
            <pc:sldMk cId="1127354295" sldId="2147478564"/>
            <ac:spMk id="253" creationId="{60996D35-8012-8B47-8599-138DD678521A}"/>
          </ac:spMkLst>
        </pc:spChg>
        <pc:spChg chg="add del mod">
          <ac:chgData name="Steiner Andreas 6206 ED" userId="e6377c33-a923-4f14-8587-531c474c7b48" providerId="ADAL" clId="{6ECD27E6-B224-41CD-B4E0-E297462320DD}" dt="2023-11-24T08:39:50.869" v="37808"/>
          <ac:spMkLst>
            <pc:docMk/>
            <pc:sldMk cId="1127354295" sldId="2147478564"/>
            <ac:spMk id="254" creationId="{6D4357DE-F7B4-DFC6-36FA-D6240C18CA7E}"/>
          </ac:spMkLst>
        </pc:spChg>
        <pc:spChg chg="add del mod">
          <ac:chgData name="Steiner Andreas 6206 ED" userId="e6377c33-a923-4f14-8587-531c474c7b48" providerId="ADAL" clId="{6ECD27E6-B224-41CD-B4E0-E297462320DD}" dt="2023-11-24T08:39:53.520" v="37963"/>
          <ac:spMkLst>
            <pc:docMk/>
            <pc:sldMk cId="1127354295" sldId="2147478564"/>
            <ac:spMk id="255" creationId="{7550C0C4-F05B-B5EE-63A2-8A8F87A2AB46}"/>
          </ac:spMkLst>
        </pc:spChg>
        <pc:spChg chg="add del mod">
          <ac:chgData name="Steiner Andreas 6206 ED" userId="e6377c33-a923-4f14-8587-531c474c7b48" providerId="ADAL" clId="{6ECD27E6-B224-41CD-B4E0-E297462320DD}" dt="2023-11-24T08:39:56.453" v="38118"/>
          <ac:spMkLst>
            <pc:docMk/>
            <pc:sldMk cId="1127354295" sldId="2147478564"/>
            <ac:spMk id="256" creationId="{715E2AE0-9271-4F0B-DF9A-A8869CA8CEF6}"/>
          </ac:spMkLst>
        </pc:spChg>
        <pc:spChg chg="add del mod">
          <ac:chgData name="Steiner Andreas 6206 ED" userId="e6377c33-a923-4f14-8587-531c474c7b48" providerId="ADAL" clId="{6ECD27E6-B224-41CD-B4E0-E297462320DD}" dt="2023-11-24T08:39:59.729" v="38273"/>
          <ac:spMkLst>
            <pc:docMk/>
            <pc:sldMk cId="1127354295" sldId="2147478564"/>
            <ac:spMk id="257" creationId="{6D1ACF78-9D21-2C52-39DD-FA1258772866}"/>
          </ac:spMkLst>
        </pc:spChg>
        <pc:spChg chg="add del mod">
          <ac:chgData name="Steiner Andreas 6206 ED" userId="e6377c33-a923-4f14-8587-531c474c7b48" providerId="ADAL" clId="{6ECD27E6-B224-41CD-B4E0-E297462320DD}" dt="2023-11-24T08:40:02.903" v="38428"/>
          <ac:spMkLst>
            <pc:docMk/>
            <pc:sldMk cId="1127354295" sldId="2147478564"/>
            <ac:spMk id="258" creationId="{8793A704-FD6B-8BB9-55E2-BEEC3BA10DF7}"/>
          </ac:spMkLst>
        </pc:spChg>
        <pc:spChg chg="add del mod">
          <ac:chgData name="Steiner Andreas 6206 ED" userId="e6377c33-a923-4f14-8587-531c474c7b48" providerId="ADAL" clId="{6ECD27E6-B224-41CD-B4E0-E297462320DD}" dt="2023-11-24T08:40:05.645" v="38583"/>
          <ac:spMkLst>
            <pc:docMk/>
            <pc:sldMk cId="1127354295" sldId="2147478564"/>
            <ac:spMk id="259" creationId="{AA51304B-3213-203C-4805-68E98D67482D}"/>
          </ac:spMkLst>
        </pc:spChg>
        <pc:spChg chg="add del mod">
          <ac:chgData name="Steiner Andreas 6206 ED" userId="e6377c33-a923-4f14-8587-531c474c7b48" providerId="ADAL" clId="{6ECD27E6-B224-41CD-B4E0-E297462320DD}" dt="2023-11-24T08:40:08.198" v="38738"/>
          <ac:spMkLst>
            <pc:docMk/>
            <pc:sldMk cId="1127354295" sldId="2147478564"/>
            <ac:spMk id="260" creationId="{344B27A2-76BE-DD9A-FFD7-E4B1033B662F}"/>
          </ac:spMkLst>
        </pc:spChg>
        <pc:spChg chg="add del mod">
          <ac:chgData name="Steiner Andreas 6206 ED" userId="e6377c33-a923-4f14-8587-531c474c7b48" providerId="ADAL" clId="{6ECD27E6-B224-41CD-B4E0-E297462320DD}" dt="2023-11-24T08:40:10.927" v="38893"/>
          <ac:spMkLst>
            <pc:docMk/>
            <pc:sldMk cId="1127354295" sldId="2147478564"/>
            <ac:spMk id="261" creationId="{83FCD4F4-BD6A-A2A9-4484-A147A5FD2FCD}"/>
          </ac:spMkLst>
        </pc:spChg>
        <pc:spChg chg="add del mod">
          <ac:chgData name="Steiner Andreas 6206 ED" userId="e6377c33-a923-4f14-8587-531c474c7b48" providerId="ADAL" clId="{6ECD27E6-B224-41CD-B4E0-E297462320DD}" dt="2023-11-24T08:40:14.124" v="39048"/>
          <ac:spMkLst>
            <pc:docMk/>
            <pc:sldMk cId="1127354295" sldId="2147478564"/>
            <ac:spMk id="262" creationId="{C64C55AB-1A7D-9B96-78AA-A91740FF3873}"/>
          </ac:spMkLst>
        </pc:spChg>
        <pc:spChg chg="add del mod">
          <ac:chgData name="Steiner Andreas 6206 ED" userId="e6377c33-a923-4f14-8587-531c474c7b48" providerId="ADAL" clId="{6ECD27E6-B224-41CD-B4E0-E297462320DD}" dt="2023-11-24T08:40:16.787" v="39203"/>
          <ac:spMkLst>
            <pc:docMk/>
            <pc:sldMk cId="1127354295" sldId="2147478564"/>
            <ac:spMk id="263" creationId="{62A0CD68-0E68-CF35-D1AF-FFFF44CAC94D}"/>
          </ac:spMkLst>
        </pc:spChg>
        <pc:spChg chg="add del mod">
          <ac:chgData name="Steiner Andreas 6206 ED" userId="e6377c33-a923-4f14-8587-531c474c7b48" providerId="ADAL" clId="{6ECD27E6-B224-41CD-B4E0-E297462320DD}" dt="2023-11-24T08:40:19.265" v="39358"/>
          <ac:spMkLst>
            <pc:docMk/>
            <pc:sldMk cId="1127354295" sldId="2147478564"/>
            <ac:spMk id="264" creationId="{909D16EA-2CFB-710B-E109-8EE3F7406FE1}"/>
          </ac:spMkLst>
        </pc:spChg>
        <pc:spChg chg="add del mod">
          <ac:chgData name="Steiner Andreas 6206 ED" userId="e6377c33-a923-4f14-8587-531c474c7b48" providerId="ADAL" clId="{6ECD27E6-B224-41CD-B4E0-E297462320DD}" dt="2023-11-24T08:40:21.700" v="39513"/>
          <ac:spMkLst>
            <pc:docMk/>
            <pc:sldMk cId="1127354295" sldId="2147478564"/>
            <ac:spMk id="265" creationId="{41D07B56-2326-1EC6-4032-DDF3AD323540}"/>
          </ac:spMkLst>
        </pc:spChg>
        <pc:spChg chg="add del mod">
          <ac:chgData name="Steiner Andreas 6206 ED" userId="e6377c33-a923-4f14-8587-531c474c7b48" providerId="ADAL" clId="{6ECD27E6-B224-41CD-B4E0-E297462320DD}" dt="2023-11-24T08:40:24.495" v="39668"/>
          <ac:spMkLst>
            <pc:docMk/>
            <pc:sldMk cId="1127354295" sldId="2147478564"/>
            <ac:spMk id="266" creationId="{AED2F31A-BF72-5F2C-6E67-B842DBD28185}"/>
          </ac:spMkLst>
        </pc:spChg>
        <pc:spChg chg="add del mod">
          <ac:chgData name="Steiner Andreas 6206 ED" userId="e6377c33-a923-4f14-8587-531c474c7b48" providerId="ADAL" clId="{6ECD27E6-B224-41CD-B4E0-E297462320DD}" dt="2023-11-24T08:40:27.440" v="39823"/>
          <ac:spMkLst>
            <pc:docMk/>
            <pc:sldMk cId="1127354295" sldId="2147478564"/>
            <ac:spMk id="267" creationId="{C11A2E92-0A3F-3A95-DB3F-9DC156DED9DD}"/>
          </ac:spMkLst>
        </pc:spChg>
        <pc:spChg chg="add del mod">
          <ac:chgData name="Steiner Andreas 6206 ED" userId="e6377c33-a923-4f14-8587-531c474c7b48" providerId="ADAL" clId="{6ECD27E6-B224-41CD-B4E0-E297462320DD}" dt="2023-11-24T08:40:29.962" v="39978"/>
          <ac:spMkLst>
            <pc:docMk/>
            <pc:sldMk cId="1127354295" sldId="2147478564"/>
            <ac:spMk id="268" creationId="{F98E1BDA-BAD2-FF75-474E-B3A55941449A}"/>
          </ac:spMkLst>
        </pc:spChg>
        <pc:spChg chg="add del mod">
          <ac:chgData name="Steiner Andreas 6206 ED" userId="e6377c33-a923-4f14-8587-531c474c7b48" providerId="ADAL" clId="{6ECD27E6-B224-41CD-B4E0-E297462320DD}" dt="2023-11-24T08:40:32.627" v="40133"/>
          <ac:spMkLst>
            <pc:docMk/>
            <pc:sldMk cId="1127354295" sldId="2147478564"/>
            <ac:spMk id="269" creationId="{C42716CD-62A8-C0BE-BBE2-DB5D419233AA}"/>
          </ac:spMkLst>
        </pc:spChg>
        <pc:spChg chg="add del mod">
          <ac:chgData name="Steiner Andreas 6206 ED" userId="e6377c33-a923-4f14-8587-531c474c7b48" providerId="ADAL" clId="{6ECD27E6-B224-41CD-B4E0-E297462320DD}" dt="2023-11-24T08:40:35.102" v="40288"/>
          <ac:spMkLst>
            <pc:docMk/>
            <pc:sldMk cId="1127354295" sldId="2147478564"/>
            <ac:spMk id="270" creationId="{DD125CDC-C00E-7ED7-4160-18077C54D519}"/>
          </ac:spMkLst>
        </pc:spChg>
        <pc:spChg chg="add del mod">
          <ac:chgData name="Steiner Andreas 6206 ED" userId="e6377c33-a923-4f14-8587-531c474c7b48" providerId="ADAL" clId="{6ECD27E6-B224-41CD-B4E0-E297462320DD}" dt="2023-11-24T08:40:38.529" v="40443"/>
          <ac:spMkLst>
            <pc:docMk/>
            <pc:sldMk cId="1127354295" sldId="2147478564"/>
            <ac:spMk id="271" creationId="{81ADDF37-1F4F-7F9E-6D5E-017DD1A29716}"/>
          </ac:spMkLst>
        </pc:spChg>
        <pc:spChg chg="add del mod">
          <ac:chgData name="Steiner Andreas 6206 ED" userId="e6377c33-a923-4f14-8587-531c474c7b48" providerId="ADAL" clId="{6ECD27E6-B224-41CD-B4E0-E297462320DD}" dt="2023-11-24T08:40:41.263" v="40598"/>
          <ac:spMkLst>
            <pc:docMk/>
            <pc:sldMk cId="1127354295" sldId="2147478564"/>
            <ac:spMk id="272" creationId="{8E1F19EB-0CFE-1470-360F-7E352BAA544D}"/>
          </ac:spMkLst>
        </pc:spChg>
        <pc:spChg chg="add del mod">
          <ac:chgData name="Steiner Andreas 6206 ED" userId="e6377c33-a923-4f14-8587-531c474c7b48" providerId="ADAL" clId="{6ECD27E6-B224-41CD-B4E0-E297462320DD}" dt="2023-11-24T08:40:44.008" v="40753"/>
          <ac:spMkLst>
            <pc:docMk/>
            <pc:sldMk cId="1127354295" sldId="2147478564"/>
            <ac:spMk id="273" creationId="{92C7B74B-70F9-A99A-DFC4-35A8833A6BB4}"/>
          </ac:spMkLst>
        </pc:spChg>
        <pc:spChg chg="add del mod">
          <ac:chgData name="Steiner Andreas 6206 ED" userId="e6377c33-a923-4f14-8587-531c474c7b48" providerId="ADAL" clId="{6ECD27E6-B224-41CD-B4E0-E297462320DD}" dt="2023-11-24T08:40:46.450" v="40908"/>
          <ac:spMkLst>
            <pc:docMk/>
            <pc:sldMk cId="1127354295" sldId="2147478564"/>
            <ac:spMk id="274" creationId="{F361B2BC-BDBA-5753-A7A0-67F36CB6FB18}"/>
          </ac:spMkLst>
        </pc:spChg>
        <pc:spChg chg="add del mod">
          <ac:chgData name="Steiner Andreas 6206 ED" userId="e6377c33-a923-4f14-8587-531c474c7b48" providerId="ADAL" clId="{6ECD27E6-B224-41CD-B4E0-E297462320DD}" dt="2023-11-24T08:40:49.358" v="41063"/>
          <ac:spMkLst>
            <pc:docMk/>
            <pc:sldMk cId="1127354295" sldId="2147478564"/>
            <ac:spMk id="275" creationId="{762888D3-28B5-9540-CB6B-C4DA523346E8}"/>
          </ac:spMkLst>
        </pc:spChg>
        <pc:spChg chg="add del mod">
          <ac:chgData name="Steiner Andreas 6206 ED" userId="e6377c33-a923-4f14-8587-531c474c7b48" providerId="ADAL" clId="{6ECD27E6-B224-41CD-B4E0-E297462320DD}" dt="2023-11-24T08:40:52.115" v="41218"/>
          <ac:spMkLst>
            <pc:docMk/>
            <pc:sldMk cId="1127354295" sldId="2147478564"/>
            <ac:spMk id="276" creationId="{ADFF3279-8E35-6F94-9C93-EB113AB62E18}"/>
          </ac:spMkLst>
        </pc:spChg>
        <pc:spChg chg="add del mod">
          <ac:chgData name="Steiner Andreas 6206 ED" userId="e6377c33-a923-4f14-8587-531c474c7b48" providerId="ADAL" clId="{6ECD27E6-B224-41CD-B4E0-E297462320DD}" dt="2023-11-24T08:40:54.628" v="41373"/>
          <ac:spMkLst>
            <pc:docMk/>
            <pc:sldMk cId="1127354295" sldId="2147478564"/>
            <ac:spMk id="277" creationId="{7E47DC15-4E34-1C59-9646-DBD40B1D2E30}"/>
          </ac:spMkLst>
        </pc:spChg>
        <pc:spChg chg="add del mod">
          <ac:chgData name="Steiner Andreas 6206 ED" userId="e6377c33-a923-4f14-8587-531c474c7b48" providerId="ADAL" clId="{6ECD27E6-B224-41CD-B4E0-E297462320DD}" dt="2023-11-24T08:40:57.090" v="41528"/>
          <ac:spMkLst>
            <pc:docMk/>
            <pc:sldMk cId="1127354295" sldId="2147478564"/>
            <ac:spMk id="278" creationId="{A0FE8FCD-A68B-19B8-636F-512D7A49E7E2}"/>
          </ac:spMkLst>
        </pc:spChg>
        <pc:spChg chg="add del mod">
          <ac:chgData name="Steiner Andreas 6206 ED" userId="e6377c33-a923-4f14-8587-531c474c7b48" providerId="ADAL" clId="{6ECD27E6-B224-41CD-B4E0-E297462320DD}" dt="2023-11-24T08:40:59.811" v="41683"/>
          <ac:spMkLst>
            <pc:docMk/>
            <pc:sldMk cId="1127354295" sldId="2147478564"/>
            <ac:spMk id="279" creationId="{EDCCE8FC-9243-4CC4-F738-9DDC4C0DFE8C}"/>
          </ac:spMkLst>
        </pc:spChg>
        <pc:spChg chg="add del mod">
          <ac:chgData name="Steiner Andreas 6206 ED" userId="e6377c33-a923-4f14-8587-531c474c7b48" providerId="ADAL" clId="{6ECD27E6-B224-41CD-B4E0-E297462320DD}" dt="2023-11-24T08:41:02.821" v="41838"/>
          <ac:spMkLst>
            <pc:docMk/>
            <pc:sldMk cId="1127354295" sldId="2147478564"/>
            <ac:spMk id="280" creationId="{EA0859C3-5BF7-1157-83A8-5DDB6DD3E5EF}"/>
          </ac:spMkLst>
        </pc:spChg>
        <pc:spChg chg="add del mod">
          <ac:chgData name="Steiner Andreas 6206 ED" userId="e6377c33-a923-4f14-8587-531c474c7b48" providerId="ADAL" clId="{6ECD27E6-B224-41CD-B4E0-E297462320DD}" dt="2023-11-24T08:41:05.551" v="41993"/>
          <ac:spMkLst>
            <pc:docMk/>
            <pc:sldMk cId="1127354295" sldId="2147478564"/>
            <ac:spMk id="281" creationId="{BAD788A2-C1E9-702F-9740-1B37796D22C0}"/>
          </ac:spMkLst>
        </pc:spChg>
        <pc:spChg chg="add del mod">
          <ac:chgData name="Steiner Andreas 6206 ED" userId="e6377c33-a923-4f14-8587-531c474c7b48" providerId="ADAL" clId="{6ECD27E6-B224-41CD-B4E0-E297462320DD}" dt="2023-11-24T08:41:09.125" v="42148"/>
          <ac:spMkLst>
            <pc:docMk/>
            <pc:sldMk cId="1127354295" sldId="2147478564"/>
            <ac:spMk id="282" creationId="{B6DBF786-C773-4180-D5C3-EF04A1B4F1FA}"/>
          </ac:spMkLst>
        </pc:spChg>
        <pc:spChg chg="add del mod">
          <ac:chgData name="Steiner Andreas 6206 ED" userId="e6377c33-a923-4f14-8587-531c474c7b48" providerId="ADAL" clId="{6ECD27E6-B224-41CD-B4E0-E297462320DD}" dt="2023-11-24T08:41:12.733" v="42303"/>
          <ac:spMkLst>
            <pc:docMk/>
            <pc:sldMk cId="1127354295" sldId="2147478564"/>
            <ac:spMk id="283" creationId="{17550C7B-6238-FA5D-CC7E-7EECA065B5A2}"/>
          </ac:spMkLst>
        </pc:spChg>
        <pc:spChg chg="add del mod">
          <ac:chgData name="Steiner Andreas 6206 ED" userId="e6377c33-a923-4f14-8587-531c474c7b48" providerId="ADAL" clId="{6ECD27E6-B224-41CD-B4E0-E297462320DD}" dt="2023-11-24T08:41:15.481" v="42458"/>
          <ac:spMkLst>
            <pc:docMk/>
            <pc:sldMk cId="1127354295" sldId="2147478564"/>
            <ac:spMk id="284" creationId="{4D12AB56-EA46-6901-E323-1EB2876900AF}"/>
          </ac:spMkLst>
        </pc:spChg>
        <pc:spChg chg="add del mod">
          <ac:chgData name="Steiner Andreas 6206 ED" userId="e6377c33-a923-4f14-8587-531c474c7b48" providerId="ADAL" clId="{6ECD27E6-B224-41CD-B4E0-E297462320DD}" dt="2023-11-24T08:41:17.667" v="42613"/>
          <ac:spMkLst>
            <pc:docMk/>
            <pc:sldMk cId="1127354295" sldId="2147478564"/>
            <ac:spMk id="285" creationId="{2C706B4F-701A-9E7E-6D20-FFEA22CE101B}"/>
          </ac:spMkLst>
        </pc:spChg>
        <pc:spChg chg="add del mod">
          <ac:chgData name="Steiner Andreas 6206 ED" userId="e6377c33-a923-4f14-8587-531c474c7b48" providerId="ADAL" clId="{6ECD27E6-B224-41CD-B4E0-E297462320DD}" dt="2023-11-24T08:41:20.001" v="42768"/>
          <ac:spMkLst>
            <pc:docMk/>
            <pc:sldMk cId="1127354295" sldId="2147478564"/>
            <ac:spMk id="286" creationId="{F20AF7C8-EFEE-3B99-EB2B-F840EC2E09FF}"/>
          </ac:spMkLst>
        </pc:spChg>
        <pc:spChg chg="add del mod">
          <ac:chgData name="Steiner Andreas 6206 ED" userId="e6377c33-a923-4f14-8587-531c474c7b48" providerId="ADAL" clId="{6ECD27E6-B224-41CD-B4E0-E297462320DD}" dt="2023-11-24T08:41:22.342" v="42923"/>
          <ac:spMkLst>
            <pc:docMk/>
            <pc:sldMk cId="1127354295" sldId="2147478564"/>
            <ac:spMk id="287" creationId="{C166E26C-9CEB-56A3-0C07-B87B64F6867B}"/>
          </ac:spMkLst>
        </pc:spChg>
        <pc:spChg chg="add del mod">
          <ac:chgData name="Steiner Andreas 6206 ED" userId="e6377c33-a923-4f14-8587-531c474c7b48" providerId="ADAL" clId="{6ECD27E6-B224-41CD-B4E0-E297462320DD}" dt="2023-11-24T08:41:24.459" v="43078"/>
          <ac:spMkLst>
            <pc:docMk/>
            <pc:sldMk cId="1127354295" sldId="2147478564"/>
            <ac:spMk id="288" creationId="{AE8435E8-E0CF-9393-9681-3EFEAAAB7B84}"/>
          </ac:spMkLst>
        </pc:spChg>
        <pc:spChg chg="add del mod">
          <ac:chgData name="Steiner Andreas 6206 ED" userId="e6377c33-a923-4f14-8587-531c474c7b48" providerId="ADAL" clId="{6ECD27E6-B224-41CD-B4E0-E297462320DD}" dt="2023-11-24T08:41:27.021" v="43233"/>
          <ac:spMkLst>
            <pc:docMk/>
            <pc:sldMk cId="1127354295" sldId="2147478564"/>
            <ac:spMk id="289" creationId="{C2B360B8-4393-5E56-8235-5F9D665F224C}"/>
          </ac:spMkLst>
        </pc:spChg>
        <pc:spChg chg="add del mod">
          <ac:chgData name="Steiner Andreas 6206 ED" userId="e6377c33-a923-4f14-8587-531c474c7b48" providerId="ADAL" clId="{6ECD27E6-B224-41CD-B4E0-E297462320DD}" dt="2023-11-24T08:41:29.095" v="43388"/>
          <ac:spMkLst>
            <pc:docMk/>
            <pc:sldMk cId="1127354295" sldId="2147478564"/>
            <ac:spMk id="290" creationId="{34AE4CFD-FBF9-4442-CCC0-DB249EFDC1C3}"/>
          </ac:spMkLst>
        </pc:spChg>
        <pc:spChg chg="add del mod">
          <ac:chgData name="Steiner Andreas 6206 ED" userId="e6377c33-a923-4f14-8587-531c474c7b48" providerId="ADAL" clId="{6ECD27E6-B224-41CD-B4E0-E297462320DD}" dt="2023-11-24T08:41:31.447" v="43543"/>
          <ac:spMkLst>
            <pc:docMk/>
            <pc:sldMk cId="1127354295" sldId="2147478564"/>
            <ac:spMk id="291" creationId="{6E914DD7-A196-B780-3DD7-306B541E10FE}"/>
          </ac:spMkLst>
        </pc:spChg>
        <pc:spChg chg="add del mod">
          <ac:chgData name="Steiner Andreas 6206 ED" userId="e6377c33-a923-4f14-8587-531c474c7b48" providerId="ADAL" clId="{6ECD27E6-B224-41CD-B4E0-E297462320DD}" dt="2023-11-24T08:41:35.768" v="43698"/>
          <ac:spMkLst>
            <pc:docMk/>
            <pc:sldMk cId="1127354295" sldId="2147478564"/>
            <ac:spMk id="292" creationId="{E7B8005F-B720-B943-B268-0D85798F4280}"/>
          </ac:spMkLst>
        </pc:spChg>
        <pc:spChg chg="add del mod">
          <ac:chgData name="Steiner Andreas 6206 ED" userId="e6377c33-a923-4f14-8587-531c474c7b48" providerId="ADAL" clId="{6ECD27E6-B224-41CD-B4E0-E297462320DD}" dt="2023-11-24T08:41:38.789" v="43853"/>
          <ac:spMkLst>
            <pc:docMk/>
            <pc:sldMk cId="1127354295" sldId="2147478564"/>
            <ac:spMk id="293" creationId="{518CCFEC-F508-17C4-8BBD-B2D15734CE1E}"/>
          </ac:spMkLst>
        </pc:spChg>
        <pc:spChg chg="add del mod">
          <ac:chgData name="Steiner Andreas 6206 ED" userId="e6377c33-a923-4f14-8587-531c474c7b48" providerId="ADAL" clId="{6ECD27E6-B224-41CD-B4E0-E297462320DD}" dt="2023-11-24T08:41:40.957" v="44008"/>
          <ac:spMkLst>
            <pc:docMk/>
            <pc:sldMk cId="1127354295" sldId="2147478564"/>
            <ac:spMk id="294" creationId="{26290163-E88F-BA03-0EA2-05DD536D0BD8}"/>
          </ac:spMkLst>
        </pc:spChg>
        <pc:spChg chg="add del mod">
          <ac:chgData name="Steiner Andreas 6206 ED" userId="e6377c33-a923-4f14-8587-531c474c7b48" providerId="ADAL" clId="{6ECD27E6-B224-41CD-B4E0-E297462320DD}" dt="2023-11-24T08:41:43.355" v="44163"/>
          <ac:spMkLst>
            <pc:docMk/>
            <pc:sldMk cId="1127354295" sldId="2147478564"/>
            <ac:spMk id="295" creationId="{E96420D6-8148-9BEC-AF9E-ACA5AC2FFFFC}"/>
          </ac:spMkLst>
        </pc:spChg>
        <pc:spChg chg="add del mod">
          <ac:chgData name="Steiner Andreas 6206 ED" userId="e6377c33-a923-4f14-8587-531c474c7b48" providerId="ADAL" clId="{6ECD27E6-B224-41CD-B4E0-E297462320DD}" dt="2023-11-24T08:41:45.251" v="44318"/>
          <ac:spMkLst>
            <pc:docMk/>
            <pc:sldMk cId="1127354295" sldId="2147478564"/>
            <ac:spMk id="296" creationId="{85FD9B4D-2D40-D436-4BCE-DC762CED7479}"/>
          </ac:spMkLst>
        </pc:spChg>
        <pc:spChg chg="add del mod">
          <ac:chgData name="Steiner Andreas 6206 ED" userId="e6377c33-a923-4f14-8587-531c474c7b48" providerId="ADAL" clId="{6ECD27E6-B224-41CD-B4E0-E297462320DD}" dt="2023-11-24T08:41:47.186" v="44473"/>
          <ac:spMkLst>
            <pc:docMk/>
            <pc:sldMk cId="1127354295" sldId="2147478564"/>
            <ac:spMk id="297" creationId="{79D33A79-31AD-F2B8-79A3-0FECEA4AAE65}"/>
          </ac:spMkLst>
        </pc:spChg>
        <pc:spChg chg="add del mod">
          <ac:chgData name="Steiner Andreas 6206 ED" userId="e6377c33-a923-4f14-8587-531c474c7b48" providerId="ADAL" clId="{6ECD27E6-B224-41CD-B4E0-E297462320DD}" dt="2023-11-24T08:41:49.202" v="44628"/>
          <ac:spMkLst>
            <pc:docMk/>
            <pc:sldMk cId="1127354295" sldId="2147478564"/>
            <ac:spMk id="298" creationId="{15BA58C5-A2E0-BF7A-D942-71D2330DCD1D}"/>
          </ac:spMkLst>
        </pc:spChg>
        <pc:spChg chg="add del mod">
          <ac:chgData name="Steiner Andreas 6206 ED" userId="e6377c33-a923-4f14-8587-531c474c7b48" providerId="ADAL" clId="{6ECD27E6-B224-41CD-B4E0-E297462320DD}" dt="2023-11-24T08:41:51.062" v="44783"/>
          <ac:spMkLst>
            <pc:docMk/>
            <pc:sldMk cId="1127354295" sldId="2147478564"/>
            <ac:spMk id="299" creationId="{7940ECA9-3DEB-F678-09AB-858F0B5E2F61}"/>
          </ac:spMkLst>
        </pc:spChg>
        <pc:spChg chg="add del mod">
          <ac:chgData name="Steiner Andreas 6206 ED" userId="e6377c33-a923-4f14-8587-531c474c7b48" providerId="ADAL" clId="{6ECD27E6-B224-41CD-B4E0-E297462320DD}" dt="2023-11-24T08:41:53.411" v="44938"/>
          <ac:spMkLst>
            <pc:docMk/>
            <pc:sldMk cId="1127354295" sldId="2147478564"/>
            <ac:spMk id="300" creationId="{EF778D47-694D-41EB-D0EA-C50913E41BE5}"/>
          </ac:spMkLst>
        </pc:spChg>
        <pc:spChg chg="add del mod">
          <ac:chgData name="Steiner Andreas 6206 ED" userId="e6377c33-a923-4f14-8587-531c474c7b48" providerId="ADAL" clId="{6ECD27E6-B224-41CD-B4E0-E297462320DD}" dt="2023-11-24T08:41:55.365" v="45093"/>
          <ac:spMkLst>
            <pc:docMk/>
            <pc:sldMk cId="1127354295" sldId="2147478564"/>
            <ac:spMk id="301" creationId="{6531B491-66B4-8A7A-0E52-F43606B3336B}"/>
          </ac:spMkLst>
        </pc:spChg>
        <pc:spChg chg="add del mod">
          <ac:chgData name="Steiner Andreas 6206 ED" userId="e6377c33-a923-4f14-8587-531c474c7b48" providerId="ADAL" clId="{6ECD27E6-B224-41CD-B4E0-E297462320DD}" dt="2023-11-24T08:41:57.622" v="45248"/>
          <ac:spMkLst>
            <pc:docMk/>
            <pc:sldMk cId="1127354295" sldId="2147478564"/>
            <ac:spMk id="302" creationId="{3986349D-49B4-E263-69DF-7B431D401DC6}"/>
          </ac:spMkLst>
        </pc:spChg>
        <pc:spChg chg="add del mod">
          <ac:chgData name="Steiner Andreas 6206 ED" userId="e6377c33-a923-4f14-8587-531c474c7b48" providerId="ADAL" clId="{6ECD27E6-B224-41CD-B4E0-E297462320DD}" dt="2023-11-24T08:41:59.850" v="45403"/>
          <ac:spMkLst>
            <pc:docMk/>
            <pc:sldMk cId="1127354295" sldId="2147478564"/>
            <ac:spMk id="303" creationId="{0C8BF660-EA13-199D-6BC3-679F5B50F551}"/>
          </ac:spMkLst>
        </pc:spChg>
        <pc:spChg chg="add del mod">
          <ac:chgData name="Steiner Andreas 6206 ED" userId="e6377c33-a923-4f14-8587-531c474c7b48" providerId="ADAL" clId="{6ECD27E6-B224-41CD-B4E0-E297462320DD}" dt="2023-11-24T08:42:01.996" v="45558"/>
          <ac:spMkLst>
            <pc:docMk/>
            <pc:sldMk cId="1127354295" sldId="2147478564"/>
            <ac:spMk id="304" creationId="{28F189DF-D1B9-7993-091F-381D623152EF}"/>
          </ac:spMkLst>
        </pc:spChg>
        <pc:spChg chg="add del mod">
          <ac:chgData name="Steiner Andreas 6206 ED" userId="e6377c33-a923-4f14-8587-531c474c7b48" providerId="ADAL" clId="{6ECD27E6-B224-41CD-B4E0-E297462320DD}" dt="2023-11-24T08:42:04.023" v="45713"/>
          <ac:spMkLst>
            <pc:docMk/>
            <pc:sldMk cId="1127354295" sldId="2147478564"/>
            <ac:spMk id="305" creationId="{CEC32A48-22C1-C65F-FC46-2373C71C6BDB}"/>
          </ac:spMkLst>
        </pc:spChg>
        <pc:spChg chg="add del mod">
          <ac:chgData name="Steiner Andreas 6206 ED" userId="e6377c33-a923-4f14-8587-531c474c7b48" providerId="ADAL" clId="{6ECD27E6-B224-41CD-B4E0-E297462320DD}" dt="2023-11-24T08:42:05.966" v="45868"/>
          <ac:spMkLst>
            <pc:docMk/>
            <pc:sldMk cId="1127354295" sldId="2147478564"/>
            <ac:spMk id="306" creationId="{92FA0ED8-7993-C333-BF02-57B00D4D6746}"/>
          </ac:spMkLst>
        </pc:spChg>
        <pc:spChg chg="add del mod">
          <ac:chgData name="Steiner Andreas 6206 ED" userId="e6377c33-a923-4f14-8587-531c474c7b48" providerId="ADAL" clId="{6ECD27E6-B224-41CD-B4E0-E297462320DD}" dt="2023-11-24T08:42:07.831" v="46023"/>
          <ac:spMkLst>
            <pc:docMk/>
            <pc:sldMk cId="1127354295" sldId="2147478564"/>
            <ac:spMk id="307" creationId="{B9384DB0-15C0-2AFA-5F2A-2435E43CB119}"/>
          </ac:spMkLst>
        </pc:spChg>
        <pc:spChg chg="add del mod">
          <ac:chgData name="Steiner Andreas 6206 ED" userId="e6377c33-a923-4f14-8587-531c474c7b48" providerId="ADAL" clId="{6ECD27E6-B224-41CD-B4E0-E297462320DD}" dt="2023-11-24T08:42:09.757" v="46178"/>
          <ac:spMkLst>
            <pc:docMk/>
            <pc:sldMk cId="1127354295" sldId="2147478564"/>
            <ac:spMk id="308" creationId="{6B8DFD31-5973-1686-2C28-39C5A98ABDF9}"/>
          </ac:spMkLst>
        </pc:spChg>
        <pc:spChg chg="add del mod">
          <ac:chgData name="Steiner Andreas 6206 ED" userId="e6377c33-a923-4f14-8587-531c474c7b48" providerId="ADAL" clId="{6ECD27E6-B224-41CD-B4E0-E297462320DD}" dt="2023-11-24T08:42:12.128" v="46333"/>
          <ac:spMkLst>
            <pc:docMk/>
            <pc:sldMk cId="1127354295" sldId="2147478564"/>
            <ac:spMk id="309" creationId="{EFBA8A3D-B587-2028-7B28-4D7E69DA6415}"/>
          </ac:spMkLst>
        </pc:spChg>
        <pc:spChg chg="add del mod">
          <ac:chgData name="Steiner Andreas 6206 ED" userId="e6377c33-a923-4f14-8587-531c474c7b48" providerId="ADAL" clId="{6ECD27E6-B224-41CD-B4E0-E297462320DD}" dt="2023-11-24T08:42:14.697" v="46488"/>
          <ac:spMkLst>
            <pc:docMk/>
            <pc:sldMk cId="1127354295" sldId="2147478564"/>
            <ac:spMk id="310" creationId="{3DF2449F-6FF0-1F1A-2E72-D915C790E6E2}"/>
          </ac:spMkLst>
        </pc:spChg>
        <pc:spChg chg="add del mod">
          <ac:chgData name="Steiner Andreas 6206 ED" userId="e6377c33-a923-4f14-8587-531c474c7b48" providerId="ADAL" clId="{6ECD27E6-B224-41CD-B4E0-E297462320DD}" dt="2023-11-24T08:42:17.018" v="46643"/>
          <ac:spMkLst>
            <pc:docMk/>
            <pc:sldMk cId="1127354295" sldId="2147478564"/>
            <ac:spMk id="311" creationId="{EE4733A6-8758-F1CF-6310-21838C0E4879}"/>
          </ac:spMkLst>
        </pc:spChg>
        <pc:spChg chg="add del mod">
          <ac:chgData name="Steiner Andreas 6206 ED" userId="e6377c33-a923-4f14-8587-531c474c7b48" providerId="ADAL" clId="{6ECD27E6-B224-41CD-B4E0-E297462320DD}" dt="2023-11-24T08:42:19.172" v="46798"/>
          <ac:spMkLst>
            <pc:docMk/>
            <pc:sldMk cId="1127354295" sldId="2147478564"/>
            <ac:spMk id="312" creationId="{4B4D91BB-1C18-A589-AABD-E97CEE802320}"/>
          </ac:spMkLst>
        </pc:spChg>
        <pc:spChg chg="add del mod">
          <ac:chgData name="Steiner Andreas 6206 ED" userId="e6377c33-a923-4f14-8587-531c474c7b48" providerId="ADAL" clId="{6ECD27E6-B224-41CD-B4E0-E297462320DD}" dt="2023-11-24T08:42:21.529" v="46953"/>
          <ac:spMkLst>
            <pc:docMk/>
            <pc:sldMk cId="1127354295" sldId="2147478564"/>
            <ac:spMk id="313" creationId="{3FB5F2E5-30C0-AB2F-C49C-9BDAB063F94E}"/>
          </ac:spMkLst>
        </pc:spChg>
        <pc:spChg chg="add del mod">
          <ac:chgData name="Steiner Andreas 6206 ED" userId="e6377c33-a923-4f14-8587-531c474c7b48" providerId="ADAL" clId="{6ECD27E6-B224-41CD-B4E0-E297462320DD}" dt="2023-11-24T08:42:24.115" v="47108"/>
          <ac:spMkLst>
            <pc:docMk/>
            <pc:sldMk cId="1127354295" sldId="2147478564"/>
            <ac:spMk id="314" creationId="{474BADAE-7521-2DA6-9FF1-3A0E91A75F05}"/>
          </ac:spMkLst>
        </pc:spChg>
        <pc:spChg chg="add del mod">
          <ac:chgData name="Steiner Andreas 6206 ED" userId="e6377c33-a923-4f14-8587-531c474c7b48" providerId="ADAL" clId="{6ECD27E6-B224-41CD-B4E0-E297462320DD}" dt="2023-11-24T08:42:26.075" v="47263"/>
          <ac:spMkLst>
            <pc:docMk/>
            <pc:sldMk cId="1127354295" sldId="2147478564"/>
            <ac:spMk id="315" creationId="{60875B4D-1989-03C6-1DBD-68ACE77C3714}"/>
          </ac:spMkLst>
        </pc:spChg>
        <pc:spChg chg="add del mod">
          <ac:chgData name="Steiner Andreas 6206 ED" userId="e6377c33-a923-4f14-8587-531c474c7b48" providerId="ADAL" clId="{6ECD27E6-B224-41CD-B4E0-E297462320DD}" dt="2023-11-24T08:42:27.973" v="47418"/>
          <ac:spMkLst>
            <pc:docMk/>
            <pc:sldMk cId="1127354295" sldId="2147478564"/>
            <ac:spMk id="316" creationId="{25555FEA-5DAF-D27A-24DF-4085D740FD29}"/>
          </ac:spMkLst>
        </pc:spChg>
        <pc:spChg chg="add del mod">
          <ac:chgData name="Steiner Andreas 6206 ED" userId="e6377c33-a923-4f14-8587-531c474c7b48" providerId="ADAL" clId="{6ECD27E6-B224-41CD-B4E0-E297462320DD}" dt="2023-11-24T08:42:29.745" v="47573"/>
          <ac:spMkLst>
            <pc:docMk/>
            <pc:sldMk cId="1127354295" sldId="2147478564"/>
            <ac:spMk id="317" creationId="{33D15B24-6283-AB3F-A4CD-4C86CABCCA43}"/>
          </ac:spMkLst>
        </pc:spChg>
        <pc:spChg chg="add del mod">
          <ac:chgData name="Steiner Andreas 6206 ED" userId="e6377c33-a923-4f14-8587-531c474c7b48" providerId="ADAL" clId="{6ECD27E6-B224-41CD-B4E0-E297462320DD}" dt="2023-11-24T08:42:31.662" v="47728"/>
          <ac:spMkLst>
            <pc:docMk/>
            <pc:sldMk cId="1127354295" sldId="2147478564"/>
            <ac:spMk id="318" creationId="{C4BC08CA-4899-0A43-A2DC-10B1859AB6F5}"/>
          </ac:spMkLst>
        </pc:spChg>
        <pc:spChg chg="add del mod">
          <ac:chgData name="Steiner Andreas 6206 ED" userId="e6377c33-a923-4f14-8587-531c474c7b48" providerId="ADAL" clId="{6ECD27E6-B224-41CD-B4E0-E297462320DD}" dt="2023-11-24T08:42:33.671" v="47883"/>
          <ac:spMkLst>
            <pc:docMk/>
            <pc:sldMk cId="1127354295" sldId="2147478564"/>
            <ac:spMk id="319" creationId="{DA651D1C-9123-F5A5-841C-86645E3D1371}"/>
          </ac:spMkLst>
        </pc:spChg>
        <pc:spChg chg="add del mod">
          <ac:chgData name="Steiner Andreas 6206 ED" userId="e6377c33-a923-4f14-8587-531c474c7b48" providerId="ADAL" clId="{6ECD27E6-B224-41CD-B4E0-E297462320DD}" dt="2023-11-24T08:42:35.697" v="48038"/>
          <ac:spMkLst>
            <pc:docMk/>
            <pc:sldMk cId="1127354295" sldId="2147478564"/>
            <ac:spMk id="320" creationId="{9A70CF6F-88AD-D2F7-3CC9-24B1D9C3AF95}"/>
          </ac:spMkLst>
        </pc:spChg>
        <pc:spChg chg="add del mod">
          <ac:chgData name="Steiner Andreas 6206 ED" userId="e6377c33-a923-4f14-8587-531c474c7b48" providerId="ADAL" clId="{6ECD27E6-B224-41CD-B4E0-E297462320DD}" dt="2023-11-24T08:42:37.574" v="48193"/>
          <ac:spMkLst>
            <pc:docMk/>
            <pc:sldMk cId="1127354295" sldId="2147478564"/>
            <ac:spMk id="321" creationId="{A5E301BD-CA78-5FF4-67BE-0C079526C2FA}"/>
          </ac:spMkLst>
        </pc:spChg>
        <pc:spChg chg="add del mod">
          <ac:chgData name="Steiner Andreas 6206 ED" userId="e6377c33-a923-4f14-8587-531c474c7b48" providerId="ADAL" clId="{6ECD27E6-B224-41CD-B4E0-E297462320DD}" dt="2023-11-24T08:42:39.435" v="48348"/>
          <ac:spMkLst>
            <pc:docMk/>
            <pc:sldMk cId="1127354295" sldId="2147478564"/>
            <ac:spMk id="322" creationId="{240ED487-662B-FCF9-36A5-D2E1865F92D9}"/>
          </ac:spMkLst>
        </pc:spChg>
        <pc:spChg chg="add del mod">
          <ac:chgData name="Steiner Andreas 6206 ED" userId="e6377c33-a923-4f14-8587-531c474c7b48" providerId="ADAL" clId="{6ECD27E6-B224-41CD-B4E0-E297462320DD}" dt="2023-11-24T08:42:41.577" v="48503"/>
          <ac:spMkLst>
            <pc:docMk/>
            <pc:sldMk cId="1127354295" sldId="2147478564"/>
            <ac:spMk id="323" creationId="{25FDAF45-B5E0-EBF4-7E0E-4E1270C235C0}"/>
          </ac:spMkLst>
        </pc:spChg>
        <pc:spChg chg="add del mod">
          <ac:chgData name="Steiner Andreas 6206 ED" userId="e6377c33-a923-4f14-8587-531c474c7b48" providerId="ADAL" clId="{6ECD27E6-B224-41CD-B4E0-E297462320DD}" dt="2023-11-24T08:42:43.679" v="48658"/>
          <ac:spMkLst>
            <pc:docMk/>
            <pc:sldMk cId="1127354295" sldId="2147478564"/>
            <ac:spMk id="324" creationId="{850A3DEB-66BD-2F49-A216-15D7381A85ED}"/>
          </ac:spMkLst>
        </pc:spChg>
        <pc:spChg chg="add del mod">
          <ac:chgData name="Steiner Andreas 6206 ED" userId="e6377c33-a923-4f14-8587-531c474c7b48" providerId="ADAL" clId="{6ECD27E6-B224-41CD-B4E0-E297462320DD}" dt="2023-11-24T08:42:45.717" v="48813"/>
          <ac:spMkLst>
            <pc:docMk/>
            <pc:sldMk cId="1127354295" sldId="2147478564"/>
            <ac:spMk id="325" creationId="{6D3848FC-F02D-8802-D785-27B5297405E3}"/>
          </ac:spMkLst>
        </pc:spChg>
        <pc:spChg chg="add del mod">
          <ac:chgData name="Steiner Andreas 6206 ED" userId="e6377c33-a923-4f14-8587-531c474c7b48" providerId="ADAL" clId="{6ECD27E6-B224-41CD-B4E0-E297462320DD}" dt="2023-11-24T08:42:47.578" v="48968"/>
          <ac:spMkLst>
            <pc:docMk/>
            <pc:sldMk cId="1127354295" sldId="2147478564"/>
            <ac:spMk id="326" creationId="{C9EAE71B-FD98-12E7-8A62-E1EA50BC50D1}"/>
          </ac:spMkLst>
        </pc:spChg>
        <pc:spChg chg="add del mod">
          <ac:chgData name="Steiner Andreas 6206 ED" userId="e6377c33-a923-4f14-8587-531c474c7b48" providerId="ADAL" clId="{6ECD27E6-B224-41CD-B4E0-E297462320DD}" dt="2023-11-24T08:42:49.386" v="49123"/>
          <ac:spMkLst>
            <pc:docMk/>
            <pc:sldMk cId="1127354295" sldId="2147478564"/>
            <ac:spMk id="327" creationId="{B168085F-F107-3072-3A51-71F3F484BF0D}"/>
          </ac:spMkLst>
        </pc:spChg>
        <pc:spChg chg="add del mod">
          <ac:chgData name="Steiner Andreas 6206 ED" userId="e6377c33-a923-4f14-8587-531c474c7b48" providerId="ADAL" clId="{6ECD27E6-B224-41CD-B4E0-E297462320DD}" dt="2023-11-24T08:42:51.248" v="49278"/>
          <ac:spMkLst>
            <pc:docMk/>
            <pc:sldMk cId="1127354295" sldId="2147478564"/>
            <ac:spMk id="328" creationId="{D1531737-F665-0937-9A15-A679340BF67D}"/>
          </ac:spMkLst>
        </pc:spChg>
        <pc:spChg chg="add del mod">
          <ac:chgData name="Steiner Andreas 6206 ED" userId="e6377c33-a923-4f14-8587-531c474c7b48" providerId="ADAL" clId="{6ECD27E6-B224-41CD-B4E0-E297462320DD}" dt="2023-11-24T08:42:53.377" v="49433"/>
          <ac:spMkLst>
            <pc:docMk/>
            <pc:sldMk cId="1127354295" sldId="2147478564"/>
            <ac:spMk id="329" creationId="{CA2B6506-8D30-B3DC-1F03-CE95CFE5F54B}"/>
          </ac:spMkLst>
        </pc:spChg>
        <pc:spChg chg="add del mod">
          <ac:chgData name="Steiner Andreas 6206 ED" userId="e6377c33-a923-4f14-8587-531c474c7b48" providerId="ADAL" clId="{6ECD27E6-B224-41CD-B4E0-E297462320DD}" dt="2023-11-24T08:42:56.003" v="49588"/>
          <ac:spMkLst>
            <pc:docMk/>
            <pc:sldMk cId="1127354295" sldId="2147478564"/>
            <ac:spMk id="330" creationId="{3EB5F98C-AB81-50DA-7CAC-92C545D833DA}"/>
          </ac:spMkLst>
        </pc:spChg>
        <pc:spChg chg="add del mod">
          <ac:chgData name="Steiner Andreas 6206 ED" userId="e6377c33-a923-4f14-8587-531c474c7b48" providerId="ADAL" clId="{6ECD27E6-B224-41CD-B4E0-E297462320DD}" dt="2023-11-24T08:42:58.072" v="49743"/>
          <ac:spMkLst>
            <pc:docMk/>
            <pc:sldMk cId="1127354295" sldId="2147478564"/>
            <ac:spMk id="331" creationId="{8B038A9B-7178-BF33-8EAA-AEBBCDACF88F}"/>
          </ac:spMkLst>
        </pc:spChg>
        <pc:spChg chg="add del mod">
          <ac:chgData name="Steiner Andreas 6206 ED" userId="e6377c33-a923-4f14-8587-531c474c7b48" providerId="ADAL" clId="{6ECD27E6-B224-41CD-B4E0-E297462320DD}" dt="2023-11-24T08:42:59.978" v="49898"/>
          <ac:spMkLst>
            <pc:docMk/>
            <pc:sldMk cId="1127354295" sldId="2147478564"/>
            <ac:spMk id="332" creationId="{24F54A04-1191-991E-775C-C5A795A4F5D5}"/>
          </ac:spMkLst>
        </pc:spChg>
        <pc:spChg chg="add del mod">
          <ac:chgData name="Steiner Andreas 6206 ED" userId="e6377c33-a923-4f14-8587-531c474c7b48" providerId="ADAL" clId="{6ECD27E6-B224-41CD-B4E0-E297462320DD}" dt="2023-11-24T08:43:01.984" v="50053"/>
          <ac:spMkLst>
            <pc:docMk/>
            <pc:sldMk cId="1127354295" sldId="2147478564"/>
            <ac:spMk id="333" creationId="{654EE70A-D164-42FC-0956-7FED0FFB08D2}"/>
          </ac:spMkLst>
        </pc:spChg>
        <pc:spChg chg="add del mod">
          <ac:chgData name="Steiner Andreas 6206 ED" userId="e6377c33-a923-4f14-8587-531c474c7b48" providerId="ADAL" clId="{6ECD27E6-B224-41CD-B4E0-E297462320DD}" dt="2023-11-24T08:43:03.960" v="50208"/>
          <ac:spMkLst>
            <pc:docMk/>
            <pc:sldMk cId="1127354295" sldId="2147478564"/>
            <ac:spMk id="334" creationId="{17F6E5A0-5377-8BFE-29C5-325AE2588712}"/>
          </ac:spMkLst>
        </pc:spChg>
        <pc:spChg chg="add del mod">
          <ac:chgData name="Steiner Andreas 6206 ED" userId="e6377c33-a923-4f14-8587-531c474c7b48" providerId="ADAL" clId="{6ECD27E6-B224-41CD-B4E0-E297462320DD}" dt="2023-11-24T08:43:05.868" v="50363"/>
          <ac:spMkLst>
            <pc:docMk/>
            <pc:sldMk cId="1127354295" sldId="2147478564"/>
            <ac:spMk id="335" creationId="{AFDBAA93-31FA-51FE-24FA-5896B2485469}"/>
          </ac:spMkLst>
        </pc:spChg>
        <pc:spChg chg="add del mod">
          <ac:chgData name="Steiner Andreas 6206 ED" userId="e6377c33-a923-4f14-8587-531c474c7b48" providerId="ADAL" clId="{6ECD27E6-B224-41CD-B4E0-E297462320DD}" dt="2023-11-24T08:43:08.136" v="50518"/>
          <ac:spMkLst>
            <pc:docMk/>
            <pc:sldMk cId="1127354295" sldId="2147478564"/>
            <ac:spMk id="336" creationId="{72699744-FB3A-1447-0E06-2E174CDC2058}"/>
          </ac:spMkLst>
        </pc:spChg>
        <pc:spChg chg="add del mod">
          <ac:chgData name="Steiner Andreas 6206 ED" userId="e6377c33-a923-4f14-8587-531c474c7b48" providerId="ADAL" clId="{6ECD27E6-B224-41CD-B4E0-E297462320DD}" dt="2023-11-24T08:43:10.104" v="50673"/>
          <ac:spMkLst>
            <pc:docMk/>
            <pc:sldMk cId="1127354295" sldId="2147478564"/>
            <ac:spMk id="337" creationId="{34963D87-138B-B264-91F8-28D9558BD736}"/>
          </ac:spMkLst>
        </pc:spChg>
        <pc:spChg chg="add del mod">
          <ac:chgData name="Steiner Andreas 6206 ED" userId="e6377c33-a923-4f14-8587-531c474c7b48" providerId="ADAL" clId="{6ECD27E6-B224-41CD-B4E0-E297462320DD}" dt="2023-11-24T08:43:11.959" v="50828"/>
          <ac:spMkLst>
            <pc:docMk/>
            <pc:sldMk cId="1127354295" sldId="2147478564"/>
            <ac:spMk id="338" creationId="{173B9C63-8C68-E84B-2186-8C39A7224205}"/>
          </ac:spMkLst>
        </pc:spChg>
        <pc:spChg chg="add del mod">
          <ac:chgData name="Steiner Andreas 6206 ED" userId="e6377c33-a923-4f14-8587-531c474c7b48" providerId="ADAL" clId="{6ECD27E6-B224-41CD-B4E0-E297462320DD}" dt="2023-11-24T08:43:14.019" v="50983"/>
          <ac:spMkLst>
            <pc:docMk/>
            <pc:sldMk cId="1127354295" sldId="2147478564"/>
            <ac:spMk id="339" creationId="{01B45CF9-E50E-6A9D-095B-D733B00520A8}"/>
          </ac:spMkLst>
        </pc:spChg>
        <pc:spChg chg="add del mod">
          <ac:chgData name="Steiner Andreas 6206 ED" userId="e6377c33-a923-4f14-8587-531c474c7b48" providerId="ADAL" clId="{6ECD27E6-B224-41CD-B4E0-E297462320DD}" dt="2023-11-24T08:43:16.013" v="51138"/>
          <ac:spMkLst>
            <pc:docMk/>
            <pc:sldMk cId="1127354295" sldId="2147478564"/>
            <ac:spMk id="340" creationId="{1EA6C6B0-6D58-C002-2B40-B8610A83E46A}"/>
          </ac:spMkLst>
        </pc:spChg>
        <pc:spChg chg="add del mod">
          <ac:chgData name="Steiner Andreas 6206 ED" userId="e6377c33-a923-4f14-8587-531c474c7b48" providerId="ADAL" clId="{6ECD27E6-B224-41CD-B4E0-E297462320DD}" dt="2023-11-24T08:43:18.059" v="51293"/>
          <ac:spMkLst>
            <pc:docMk/>
            <pc:sldMk cId="1127354295" sldId="2147478564"/>
            <ac:spMk id="341" creationId="{97E9C654-CAD0-56C7-E144-34DD49C209AF}"/>
          </ac:spMkLst>
        </pc:spChg>
        <pc:spChg chg="add del mod">
          <ac:chgData name="Steiner Andreas 6206 ED" userId="e6377c33-a923-4f14-8587-531c474c7b48" providerId="ADAL" clId="{6ECD27E6-B224-41CD-B4E0-E297462320DD}" dt="2023-11-24T08:43:20.054" v="51448"/>
          <ac:spMkLst>
            <pc:docMk/>
            <pc:sldMk cId="1127354295" sldId="2147478564"/>
            <ac:spMk id="342" creationId="{4DAF0501-0631-5B62-0018-662FBCDFC7DB}"/>
          </ac:spMkLst>
        </pc:spChg>
        <pc:spChg chg="add del mod">
          <ac:chgData name="Steiner Andreas 6206 ED" userId="e6377c33-a923-4f14-8587-531c474c7b48" providerId="ADAL" clId="{6ECD27E6-B224-41CD-B4E0-E297462320DD}" dt="2023-11-24T08:43:21.941" v="51603"/>
          <ac:spMkLst>
            <pc:docMk/>
            <pc:sldMk cId="1127354295" sldId="2147478564"/>
            <ac:spMk id="343" creationId="{CF7C7159-0529-5E3F-52B5-9574AFE12A8E}"/>
          </ac:spMkLst>
        </pc:spChg>
        <pc:spChg chg="add del mod">
          <ac:chgData name="Steiner Andreas 6206 ED" userId="e6377c33-a923-4f14-8587-531c474c7b48" providerId="ADAL" clId="{6ECD27E6-B224-41CD-B4E0-E297462320DD}" dt="2023-11-24T08:43:23.909" v="51758"/>
          <ac:spMkLst>
            <pc:docMk/>
            <pc:sldMk cId="1127354295" sldId="2147478564"/>
            <ac:spMk id="344" creationId="{C94ACA2E-A75E-1F2F-F79B-422F48DCDB5C}"/>
          </ac:spMkLst>
        </pc:spChg>
        <pc:spChg chg="add del mod">
          <ac:chgData name="Steiner Andreas 6206 ED" userId="e6377c33-a923-4f14-8587-531c474c7b48" providerId="ADAL" clId="{6ECD27E6-B224-41CD-B4E0-E297462320DD}" dt="2023-11-24T08:43:25.787" v="51913"/>
          <ac:spMkLst>
            <pc:docMk/>
            <pc:sldMk cId="1127354295" sldId="2147478564"/>
            <ac:spMk id="345" creationId="{A92634C9-22CD-25E4-0CE1-361BEEA28525}"/>
          </ac:spMkLst>
        </pc:spChg>
        <pc:spChg chg="add del mod">
          <ac:chgData name="Steiner Andreas 6206 ED" userId="e6377c33-a923-4f14-8587-531c474c7b48" providerId="ADAL" clId="{6ECD27E6-B224-41CD-B4E0-E297462320DD}" dt="2023-11-24T08:43:27.610" v="52068"/>
          <ac:spMkLst>
            <pc:docMk/>
            <pc:sldMk cId="1127354295" sldId="2147478564"/>
            <ac:spMk id="346" creationId="{DC70211E-D6A1-ABA0-5F63-1717CB770B18}"/>
          </ac:spMkLst>
        </pc:spChg>
        <pc:spChg chg="add del mod">
          <ac:chgData name="Steiner Andreas 6206 ED" userId="e6377c33-a923-4f14-8587-531c474c7b48" providerId="ADAL" clId="{6ECD27E6-B224-41CD-B4E0-E297462320DD}" dt="2023-11-24T08:43:29.402" v="52223"/>
          <ac:spMkLst>
            <pc:docMk/>
            <pc:sldMk cId="1127354295" sldId="2147478564"/>
            <ac:spMk id="347" creationId="{0F4B73F0-AA5D-DC4B-6021-0FCBBACE34ED}"/>
          </ac:spMkLst>
        </pc:spChg>
        <pc:spChg chg="add del mod">
          <ac:chgData name="Steiner Andreas 6206 ED" userId="e6377c33-a923-4f14-8587-531c474c7b48" providerId="ADAL" clId="{6ECD27E6-B224-41CD-B4E0-E297462320DD}" dt="2023-11-24T08:43:32.162" v="52378"/>
          <ac:spMkLst>
            <pc:docMk/>
            <pc:sldMk cId="1127354295" sldId="2147478564"/>
            <ac:spMk id="348" creationId="{DB42194B-4530-894A-E2BA-79BB02240762}"/>
          </ac:spMkLst>
        </pc:spChg>
        <pc:spChg chg="add del mod">
          <ac:chgData name="Steiner Andreas 6206 ED" userId="e6377c33-a923-4f14-8587-531c474c7b48" providerId="ADAL" clId="{6ECD27E6-B224-41CD-B4E0-E297462320DD}" dt="2023-11-24T08:43:34.646" v="52533"/>
          <ac:spMkLst>
            <pc:docMk/>
            <pc:sldMk cId="1127354295" sldId="2147478564"/>
            <ac:spMk id="349" creationId="{734F3502-44B9-061B-2611-DF82C1955F35}"/>
          </ac:spMkLst>
        </pc:spChg>
        <pc:spChg chg="add del mod">
          <ac:chgData name="Steiner Andreas 6206 ED" userId="e6377c33-a923-4f14-8587-531c474c7b48" providerId="ADAL" clId="{6ECD27E6-B224-41CD-B4E0-E297462320DD}" dt="2023-11-24T08:43:36.725" v="52688"/>
          <ac:spMkLst>
            <pc:docMk/>
            <pc:sldMk cId="1127354295" sldId="2147478564"/>
            <ac:spMk id="350" creationId="{0860EC98-BDA5-EE26-335A-127C17E2E324}"/>
          </ac:spMkLst>
        </pc:spChg>
        <pc:spChg chg="add del mod">
          <ac:chgData name="Steiner Andreas 6206 ED" userId="e6377c33-a923-4f14-8587-531c474c7b48" providerId="ADAL" clId="{6ECD27E6-B224-41CD-B4E0-E297462320DD}" dt="2023-11-24T08:43:38.848" v="52843"/>
          <ac:spMkLst>
            <pc:docMk/>
            <pc:sldMk cId="1127354295" sldId="2147478564"/>
            <ac:spMk id="351" creationId="{E4A9F7EF-D8C9-CF64-B97D-BED4CF231681}"/>
          </ac:spMkLst>
        </pc:spChg>
        <pc:spChg chg="add del mod">
          <ac:chgData name="Steiner Andreas 6206 ED" userId="e6377c33-a923-4f14-8587-531c474c7b48" providerId="ADAL" clId="{6ECD27E6-B224-41CD-B4E0-E297462320DD}" dt="2023-11-24T08:43:40.954" v="52998"/>
          <ac:spMkLst>
            <pc:docMk/>
            <pc:sldMk cId="1127354295" sldId="2147478564"/>
            <ac:spMk id="352" creationId="{D1D779DD-3261-E608-9A69-E8E3B3A59EE7}"/>
          </ac:spMkLst>
        </pc:spChg>
        <pc:spChg chg="add del mod">
          <ac:chgData name="Steiner Andreas 6206 ED" userId="e6377c33-a923-4f14-8587-531c474c7b48" providerId="ADAL" clId="{6ECD27E6-B224-41CD-B4E0-E297462320DD}" dt="2023-11-24T08:43:42.905" v="53153"/>
          <ac:spMkLst>
            <pc:docMk/>
            <pc:sldMk cId="1127354295" sldId="2147478564"/>
            <ac:spMk id="353" creationId="{B7EC08D6-FAC5-23E8-2A18-A04F4AC53D71}"/>
          </ac:spMkLst>
        </pc:spChg>
        <pc:spChg chg="add del mod">
          <ac:chgData name="Steiner Andreas 6206 ED" userId="e6377c33-a923-4f14-8587-531c474c7b48" providerId="ADAL" clId="{6ECD27E6-B224-41CD-B4E0-E297462320DD}" dt="2023-11-24T08:43:44.721" v="53308"/>
          <ac:spMkLst>
            <pc:docMk/>
            <pc:sldMk cId="1127354295" sldId="2147478564"/>
            <ac:spMk id="354" creationId="{93A6DB53-9E13-FB1A-1978-4326DDB8543F}"/>
          </ac:spMkLst>
        </pc:spChg>
        <pc:spChg chg="add del mod">
          <ac:chgData name="Steiner Andreas 6206 ED" userId="e6377c33-a923-4f14-8587-531c474c7b48" providerId="ADAL" clId="{6ECD27E6-B224-41CD-B4E0-E297462320DD}" dt="2023-11-24T08:43:46.513" v="53463"/>
          <ac:spMkLst>
            <pc:docMk/>
            <pc:sldMk cId="1127354295" sldId="2147478564"/>
            <ac:spMk id="355" creationId="{3E71EAE3-A9C7-F083-55B4-81ED29B5CB76}"/>
          </ac:spMkLst>
        </pc:spChg>
        <pc:spChg chg="add del mod">
          <ac:chgData name="Steiner Andreas 6206 ED" userId="e6377c33-a923-4f14-8587-531c474c7b48" providerId="ADAL" clId="{6ECD27E6-B224-41CD-B4E0-E297462320DD}" dt="2023-11-24T08:43:48.484" v="53618"/>
          <ac:spMkLst>
            <pc:docMk/>
            <pc:sldMk cId="1127354295" sldId="2147478564"/>
            <ac:spMk id="356" creationId="{CCB9936F-6F59-FBF7-7BB6-8C2C11BB2669}"/>
          </ac:spMkLst>
        </pc:spChg>
        <pc:spChg chg="add del mod">
          <ac:chgData name="Steiner Andreas 6206 ED" userId="e6377c33-a923-4f14-8587-531c474c7b48" providerId="ADAL" clId="{6ECD27E6-B224-41CD-B4E0-E297462320DD}" dt="2023-11-24T08:43:50.415" v="53773"/>
          <ac:spMkLst>
            <pc:docMk/>
            <pc:sldMk cId="1127354295" sldId="2147478564"/>
            <ac:spMk id="357" creationId="{E92EB53B-5E95-CFCE-EDF4-90447F8DDE6F}"/>
          </ac:spMkLst>
        </pc:spChg>
        <pc:spChg chg="add del mod">
          <ac:chgData name="Steiner Andreas 6206 ED" userId="e6377c33-a923-4f14-8587-531c474c7b48" providerId="ADAL" clId="{6ECD27E6-B224-41CD-B4E0-E297462320DD}" dt="2023-11-24T08:43:52.674" v="53928"/>
          <ac:spMkLst>
            <pc:docMk/>
            <pc:sldMk cId="1127354295" sldId="2147478564"/>
            <ac:spMk id="358" creationId="{25AF775F-7DAC-7F16-47E0-B508F3CEAE5A}"/>
          </ac:spMkLst>
        </pc:spChg>
        <pc:spChg chg="add del mod">
          <ac:chgData name="Steiner Andreas 6206 ED" userId="e6377c33-a923-4f14-8587-531c474c7b48" providerId="ADAL" clId="{6ECD27E6-B224-41CD-B4E0-E297462320DD}" dt="2023-11-24T08:43:55.255" v="54083"/>
          <ac:spMkLst>
            <pc:docMk/>
            <pc:sldMk cId="1127354295" sldId="2147478564"/>
            <ac:spMk id="359" creationId="{8BB54A82-70F3-9CD5-CE03-8578D053E2B5}"/>
          </ac:spMkLst>
        </pc:spChg>
        <pc:spChg chg="add del mod">
          <ac:chgData name="Steiner Andreas 6206 ED" userId="e6377c33-a923-4f14-8587-531c474c7b48" providerId="ADAL" clId="{6ECD27E6-B224-41CD-B4E0-E297462320DD}" dt="2023-11-24T08:43:57.283" v="54238"/>
          <ac:spMkLst>
            <pc:docMk/>
            <pc:sldMk cId="1127354295" sldId="2147478564"/>
            <ac:spMk id="360" creationId="{3592D93E-421E-E6CE-1E47-C5FF0E9339F0}"/>
          </ac:spMkLst>
        </pc:spChg>
        <pc:spChg chg="add del mod">
          <ac:chgData name="Steiner Andreas 6206 ED" userId="e6377c33-a923-4f14-8587-531c474c7b48" providerId="ADAL" clId="{6ECD27E6-B224-41CD-B4E0-E297462320DD}" dt="2023-11-24T08:43:59.552" v="54393"/>
          <ac:spMkLst>
            <pc:docMk/>
            <pc:sldMk cId="1127354295" sldId="2147478564"/>
            <ac:spMk id="361" creationId="{41F2264F-D12F-3410-D759-331AC32A831A}"/>
          </ac:spMkLst>
        </pc:spChg>
        <pc:spChg chg="add del mod">
          <ac:chgData name="Steiner Andreas 6206 ED" userId="e6377c33-a923-4f14-8587-531c474c7b48" providerId="ADAL" clId="{6ECD27E6-B224-41CD-B4E0-E297462320DD}" dt="2023-11-24T08:44:01.749" v="54548"/>
          <ac:spMkLst>
            <pc:docMk/>
            <pc:sldMk cId="1127354295" sldId="2147478564"/>
            <ac:spMk id="362" creationId="{C13B4820-D5B6-8B45-1D04-6CE1DC5954D5}"/>
          </ac:spMkLst>
        </pc:spChg>
        <pc:spChg chg="add del mod">
          <ac:chgData name="Steiner Andreas 6206 ED" userId="e6377c33-a923-4f14-8587-531c474c7b48" providerId="ADAL" clId="{6ECD27E6-B224-41CD-B4E0-E297462320DD}" dt="2023-11-24T08:44:03.949" v="54703"/>
          <ac:spMkLst>
            <pc:docMk/>
            <pc:sldMk cId="1127354295" sldId="2147478564"/>
            <ac:spMk id="363" creationId="{6DD176BD-8A4B-B162-5A57-A603A5E7C898}"/>
          </ac:spMkLst>
        </pc:spChg>
        <pc:spChg chg="add del mod">
          <ac:chgData name="Steiner Andreas 6206 ED" userId="e6377c33-a923-4f14-8587-531c474c7b48" providerId="ADAL" clId="{6ECD27E6-B224-41CD-B4E0-E297462320DD}" dt="2023-11-24T08:44:05.981" v="54858"/>
          <ac:spMkLst>
            <pc:docMk/>
            <pc:sldMk cId="1127354295" sldId="2147478564"/>
            <ac:spMk id="364" creationId="{C14D8FC1-8E46-4D8F-85A5-61F49CC4B607}"/>
          </ac:spMkLst>
        </pc:spChg>
        <pc:spChg chg="add del mod">
          <ac:chgData name="Steiner Andreas 6206 ED" userId="e6377c33-a923-4f14-8587-531c474c7b48" providerId="ADAL" clId="{6ECD27E6-B224-41CD-B4E0-E297462320DD}" dt="2023-11-24T08:44:07.956" v="55013"/>
          <ac:spMkLst>
            <pc:docMk/>
            <pc:sldMk cId="1127354295" sldId="2147478564"/>
            <ac:spMk id="365" creationId="{82B74921-77AB-FA4C-D9AE-02A222070850}"/>
          </ac:spMkLst>
        </pc:spChg>
        <pc:spChg chg="add del mod">
          <ac:chgData name="Steiner Andreas 6206 ED" userId="e6377c33-a923-4f14-8587-531c474c7b48" providerId="ADAL" clId="{6ECD27E6-B224-41CD-B4E0-E297462320DD}" dt="2023-11-24T08:44:09.926" v="55168"/>
          <ac:spMkLst>
            <pc:docMk/>
            <pc:sldMk cId="1127354295" sldId="2147478564"/>
            <ac:spMk id="366" creationId="{CEBC9F58-B96F-BBAF-1F2B-DE65314E3C14}"/>
          </ac:spMkLst>
        </pc:spChg>
        <pc:spChg chg="add del mod">
          <ac:chgData name="Steiner Andreas 6206 ED" userId="e6377c33-a923-4f14-8587-531c474c7b48" providerId="ADAL" clId="{6ECD27E6-B224-41CD-B4E0-E297462320DD}" dt="2023-11-24T08:44:11.947" v="55323"/>
          <ac:spMkLst>
            <pc:docMk/>
            <pc:sldMk cId="1127354295" sldId="2147478564"/>
            <ac:spMk id="367" creationId="{0A714A10-B490-B61C-E1F6-56675690A020}"/>
          </ac:spMkLst>
        </pc:spChg>
        <pc:spChg chg="add del mod">
          <ac:chgData name="Steiner Andreas 6206 ED" userId="e6377c33-a923-4f14-8587-531c474c7b48" providerId="ADAL" clId="{6ECD27E6-B224-41CD-B4E0-E297462320DD}" dt="2023-11-24T08:44:14.079" v="55478"/>
          <ac:spMkLst>
            <pc:docMk/>
            <pc:sldMk cId="1127354295" sldId="2147478564"/>
            <ac:spMk id="368" creationId="{72D7625E-F8D2-A078-D6F5-1E887A2D0833}"/>
          </ac:spMkLst>
        </pc:spChg>
        <pc:spChg chg="add del mod">
          <ac:chgData name="Steiner Andreas 6206 ED" userId="e6377c33-a923-4f14-8587-531c474c7b48" providerId="ADAL" clId="{6ECD27E6-B224-41CD-B4E0-E297462320DD}" dt="2023-11-24T08:44:16.180" v="55633"/>
          <ac:spMkLst>
            <pc:docMk/>
            <pc:sldMk cId="1127354295" sldId="2147478564"/>
            <ac:spMk id="369" creationId="{9EA98E65-B95C-1963-F909-30904E2572AC}"/>
          </ac:spMkLst>
        </pc:spChg>
        <pc:spChg chg="add del mod">
          <ac:chgData name="Steiner Andreas 6206 ED" userId="e6377c33-a923-4f14-8587-531c474c7b48" providerId="ADAL" clId="{6ECD27E6-B224-41CD-B4E0-E297462320DD}" dt="2023-11-24T08:44:18.667" v="55788"/>
          <ac:spMkLst>
            <pc:docMk/>
            <pc:sldMk cId="1127354295" sldId="2147478564"/>
            <ac:spMk id="370" creationId="{4E58162D-A60E-7EB0-C3B4-BD38B3AEF1F6}"/>
          </ac:spMkLst>
        </pc:spChg>
        <pc:spChg chg="add del mod">
          <ac:chgData name="Steiner Andreas 6206 ED" userId="e6377c33-a923-4f14-8587-531c474c7b48" providerId="ADAL" clId="{6ECD27E6-B224-41CD-B4E0-E297462320DD}" dt="2023-11-24T08:44:21.529" v="55943"/>
          <ac:spMkLst>
            <pc:docMk/>
            <pc:sldMk cId="1127354295" sldId="2147478564"/>
            <ac:spMk id="371" creationId="{A6EA01CA-B140-409F-DCFF-42481EE62A77}"/>
          </ac:spMkLst>
        </pc:spChg>
        <pc:spChg chg="add del mod">
          <ac:chgData name="Steiner Andreas 6206 ED" userId="e6377c33-a923-4f14-8587-531c474c7b48" providerId="ADAL" clId="{6ECD27E6-B224-41CD-B4E0-E297462320DD}" dt="2023-11-24T08:44:23.892" v="56098"/>
          <ac:spMkLst>
            <pc:docMk/>
            <pc:sldMk cId="1127354295" sldId="2147478564"/>
            <ac:spMk id="372" creationId="{BCB19F23-BB6D-71F2-2F20-D18A7BF4F859}"/>
          </ac:spMkLst>
        </pc:spChg>
        <pc:spChg chg="add del mod">
          <ac:chgData name="Steiner Andreas 6206 ED" userId="e6377c33-a923-4f14-8587-531c474c7b48" providerId="ADAL" clId="{6ECD27E6-B224-41CD-B4E0-E297462320DD}" dt="2023-11-24T08:44:25.825" v="56253"/>
          <ac:spMkLst>
            <pc:docMk/>
            <pc:sldMk cId="1127354295" sldId="2147478564"/>
            <ac:spMk id="373" creationId="{B211CCA1-B26E-E934-7AD3-76481972904F}"/>
          </ac:spMkLst>
        </pc:spChg>
        <pc:spChg chg="add del mod">
          <ac:chgData name="Steiner Andreas 6206 ED" userId="e6377c33-a923-4f14-8587-531c474c7b48" providerId="ADAL" clId="{6ECD27E6-B224-41CD-B4E0-E297462320DD}" dt="2023-11-24T08:44:27.998" v="56408"/>
          <ac:spMkLst>
            <pc:docMk/>
            <pc:sldMk cId="1127354295" sldId="2147478564"/>
            <ac:spMk id="374" creationId="{9EDAA824-B1DD-6E4A-2820-1B4967DEDEFE}"/>
          </ac:spMkLst>
        </pc:spChg>
        <pc:spChg chg="add del mod">
          <ac:chgData name="Steiner Andreas 6206 ED" userId="e6377c33-a923-4f14-8587-531c474c7b48" providerId="ADAL" clId="{6ECD27E6-B224-41CD-B4E0-E297462320DD}" dt="2023-11-24T08:44:30.026" v="56563"/>
          <ac:spMkLst>
            <pc:docMk/>
            <pc:sldMk cId="1127354295" sldId="2147478564"/>
            <ac:spMk id="375" creationId="{13004B92-DEE2-3FBB-F365-2D0D334FFC29}"/>
          </ac:spMkLst>
        </pc:spChg>
        <pc:spChg chg="add del mod">
          <ac:chgData name="Steiner Andreas 6206 ED" userId="e6377c33-a923-4f14-8587-531c474c7b48" providerId="ADAL" clId="{6ECD27E6-B224-41CD-B4E0-E297462320DD}" dt="2023-11-24T08:44:31.974" v="56718"/>
          <ac:spMkLst>
            <pc:docMk/>
            <pc:sldMk cId="1127354295" sldId="2147478564"/>
            <ac:spMk id="376" creationId="{1A70742D-325C-FFC5-457E-05F3FEB34C61}"/>
          </ac:spMkLst>
        </pc:spChg>
        <pc:spChg chg="add del mod">
          <ac:chgData name="Steiner Andreas 6206 ED" userId="e6377c33-a923-4f14-8587-531c474c7b48" providerId="ADAL" clId="{6ECD27E6-B224-41CD-B4E0-E297462320DD}" dt="2023-11-24T08:44:33.939" v="56873"/>
          <ac:spMkLst>
            <pc:docMk/>
            <pc:sldMk cId="1127354295" sldId="2147478564"/>
            <ac:spMk id="377" creationId="{7C76A8F2-356C-5AD9-2487-B7AA7F2C685B}"/>
          </ac:spMkLst>
        </pc:spChg>
        <pc:spChg chg="add del mod">
          <ac:chgData name="Steiner Andreas 6206 ED" userId="e6377c33-a923-4f14-8587-531c474c7b48" providerId="ADAL" clId="{6ECD27E6-B224-41CD-B4E0-E297462320DD}" dt="2023-11-24T08:44:36.437" v="57028"/>
          <ac:spMkLst>
            <pc:docMk/>
            <pc:sldMk cId="1127354295" sldId="2147478564"/>
            <ac:spMk id="378" creationId="{8D84701A-1549-01E8-D4CF-E6506E6B5016}"/>
          </ac:spMkLst>
        </pc:spChg>
        <pc:spChg chg="add del mod">
          <ac:chgData name="Steiner Andreas 6206 ED" userId="e6377c33-a923-4f14-8587-531c474c7b48" providerId="ADAL" clId="{6ECD27E6-B224-41CD-B4E0-E297462320DD}" dt="2023-11-24T08:44:39.073" v="57183"/>
          <ac:spMkLst>
            <pc:docMk/>
            <pc:sldMk cId="1127354295" sldId="2147478564"/>
            <ac:spMk id="379" creationId="{DD0E5137-3DCD-39AF-3171-8414F4ACE540}"/>
          </ac:spMkLst>
        </pc:spChg>
        <pc:spChg chg="add del mod">
          <ac:chgData name="Steiner Andreas 6206 ED" userId="e6377c33-a923-4f14-8587-531c474c7b48" providerId="ADAL" clId="{6ECD27E6-B224-41CD-B4E0-E297462320DD}" dt="2023-11-24T08:44:41.329" v="57338"/>
          <ac:spMkLst>
            <pc:docMk/>
            <pc:sldMk cId="1127354295" sldId="2147478564"/>
            <ac:spMk id="380" creationId="{4D2FBF14-B337-F611-9D6E-CF46F5E108C5}"/>
          </ac:spMkLst>
        </pc:spChg>
        <pc:spChg chg="add del mod">
          <ac:chgData name="Steiner Andreas 6206 ED" userId="e6377c33-a923-4f14-8587-531c474c7b48" providerId="ADAL" clId="{6ECD27E6-B224-41CD-B4E0-E297462320DD}" dt="2023-11-24T08:44:43.481" v="57493"/>
          <ac:spMkLst>
            <pc:docMk/>
            <pc:sldMk cId="1127354295" sldId="2147478564"/>
            <ac:spMk id="381" creationId="{C0251667-0AD3-986F-D3F3-06E2CAF8B293}"/>
          </ac:spMkLst>
        </pc:spChg>
        <pc:spChg chg="add del mod">
          <ac:chgData name="Steiner Andreas 6206 ED" userId="e6377c33-a923-4f14-8587-531c474c7b48" providerId="ADAL" clId="{6ECD27E6-B224-41CD-B4E0-E297462320DD}" dt="2023-11-24T08:44:45.662" v="57648"/>
          <ac:spMkLst>
            <pc:docMk/>
            <pc:sldMk cId="1127354295" sldId="2147478564"/>
            <ac:spMk id="382" creationId="{6AE2F04F-59B7-D532-F58C-19DC7F82FF41}"/>
          </ac:spMkLst>
        </pc:spChg>
        <pc:spChg chg="add del mod">
          <ac:chgData name="Steiner Andreas 6206 ED" userId="e6377c33-a923-4f14-8587-531c474c7b48" providerId="ADAL" clId="{6ECD27E6-B224-41CD-B4E0-E297462320DD}" dt="2023-11-24T08:44:48.414" v="57803"/>
          <ac:spMkLst>
            <pc:docMk/>
            <pc:sldMk cId="1127354295" sldId="2147478564"/>
            <ac:spMk id="383" creationId="{6F46EC52-F435-9ED6-E5EE-BBD4A6EA5917}"/>
          </ac:spMkLst>
        </pc:spChg>
        <pc:spChg chg="add del mod">
          <ac:chgData name="Steiner Andreas 6206 ED" userId="e6377c33-a923-4f14-8587-531c474c7b48" providerId="ADAL" clId="{6ECD27E6-B224-41CD-B4E0-E297462320DD}" dt="2023-11-24T08:44:50.630" v="57958"/>
          <ac:spMkLst>
            <pc:docMk/>
            <pc:sldMk cId="1127354295" sldId="2147478564"/>
            <ac:spMk id="384" creationId="{5508039E-5480-4189-6E51-A30575265D82}"/>
          </ac:spMkLst>
        </pc:spChg>
        <pc:spChg chg="add del mod">
          <ac:chgData name="Steiner Andreas 6206 ED" userId="e6377c33-a923-4f14-8587-531c474c7b48" providerId="ADAL" clId="{6ECD27E6-B224-41CD-B4E0-E297462320DD}" dt="2023-11-24T08:44:52.782" v="58113"/>
          <ac:spMkLst>
            <pc:docMk/>
            <pc:sldMk cId="1127354295" sldId="2147478564"/>
            <ac:spMk id="385" creationId="{FD9AE22A-F902-DF20-6148-2A81A211E2C2}"/>
          </ac:spMkLst>
        </pc:spChg>
        <pc:spChg chg="add del mod">
          <ac:chgData name="Steiner Andreas 6206 ED" userId="e6377c33-a923-4f14-8587-531c474c7b48" providerId="ADAL" clId="{6ECD27E6-B224-41CD-B4E0-E297462320DD}" dt="2023-11-24T08:44:54.987" v="58268"/>
          <ac:spMkLst>
            <pc:docMk/>
            <pc:sldMk cId="1127354295" sldId="2147478564"/>
            <ac:spMk id="386" creationId="{0152A511-0575-6756-CA3E-E3BD1529538F}"/>
          </ac:spMkLst>
        </pc:spChg>
        <pc:spChg chg="add del mod">
          <ac:chgData name="Steiner Andreas 6206 ED" userId="e6377c33-a923-4f14-8587-531c474c7b48" providerId="ADAL" clId="{6ECD27E6-B224-41CD-B4E0-E297462320DD}" dt="2023-11-24T08:44:56.979" v="58423"/>
          <ac:spMkLst>
            <pc:docMk/>
            <pc:sldMk cId="1127354295" sldId="2147478564"/>
            <ac:spMk id="387" creationId="{D015188D-83E0-5B91-1C98-69D0FDC9B713}"/>
          </ac:spMkLst>
        </pc:spChg>
        <pc:spChg chg="add del mod">
          <ac:chgData name="Steiner Andreas 6206 ED" userId="e6377c33-a923-4f14-8587-531c474c7b48" providerId="ADAL" clId="{6ECD27E6-B224-41CD-B4E0-E297462320DD}" dt="2023-11-24T08:44:58.917" v="58578"/>
          <ac:spMkLst>
            <pc:docMk/>
            <pc:sldMk cId="1127354295" sldId="2147478564"/>
            <ac:spMk id="388" creationId="{10BB23F1-63F5-0545-5EF2-33B10831EC26}"/>
          </ac:spMkLst>
        </pc:spChg>
        <pc:spChg chg="add del mod">
          <ac:chgData name="Steiner Andreas 6206 ED" userId="e6377c33-a923-4f14-8587-531c474c7b48" providerId="ADAL" clId="{6ECD27E6-B224-41CD-B4E0-E297462320DD}" dt="2023-11-24T08:45:01.082" v="58733"/>
          <ac:spMkLst>
            <pc:docMk/>
            <pc:sldMk cId="1127354295" sldId="2147478564"/>
            <ac:spMk id="389" creationId="{7ABC6F64-54E4-7A85-019A-A83E3897E920}"/>
          </ac:spMkLst>
        </pc:spChg>
        <pc:spChg chg="add del mod">
          <ac:chgData name="Steiner Andreas 6206 ED" userId="e6377c33-a923-4f14-8587-531c474c7b48" providerId="ADAL" clId="{6ECD27E6-B224-41CD-B4E0-E297462320DD}" dt="2023-11-24T08:45:02.999" v="58888"/>
          <ac:spMkLst>
            <pc:docMk/>
            <pc:sldMk cId="1127354295" sldId="2147478564"/>
            <ac:spMk id="390" creationId="{8450DF42-CD87-9C98-A78D-5EBF52B6FB33}"/>
          </ac:spMkLst>
        </pc:spChg>
        <pc:spChg chg="add del mod">
          <ac:chgData name="Steiner Andreas 6206 ED" userId="e6377c33-a923-4f14-8587-531c474c7b48" providerId="ADAL" clId="{6ECD27E6-B224-41CD-B4E0-E297462320DD}" dt="2023-11-24T08:45:04.844" v="59043"/>
          <ac:spMkLst>
            <pc:docMk/>
            <pc:sldMk cId="1127354295" sldId="2147478564"/>
            <ac:spMk id="391" creationId="{A4125C81-4D42-D4C8-C4F5-23AA6EB124F7}"/>
          </ac:spMkLst>
        </pc:spChg>
        <pc:spChg chg="add del mod">
          <ac:chgData name="Steiner Andreas 6206 ED" userId="e6377c33-a923-4f14-8587-531c474c7b48" providerId="ADAL" clId="{6ECD27E6-B224-41CD-B4E0-E297462320DD}" dt="2023-11-24T08:45:06.693" v="59198"/>
          <ac:spMkLst>
            <pc:docMk/>
            <pc:sldMk cId="1127354295" sldId="2147478564"/>
            <ac:spMk id="392" creationId="{77F718D0-FEA8-5434-13E3-3A3EC0F6E982}"/>
          </ac:spMkLst>
        </pc:spChg>
        <pc:spChg chg="add del mod">
          <ac:chgData name="Steiner Andreas 6206 ED" userId="e6377c33-a923-4f14-8587-531c474c7b48" providerId="ADAL" clId="{6ECD27E6-B224-41CD-B4E0-E297462320DD}" dt="2023-11-24T08:45:08.529" v="59353"/>
          <ac:spMkLst>
            <pc:docMk/>
            <pc:sldMk cId="1127354295" sldId="2147478564"/>
            <ac:spMk id="393" creationId="{45641941-91EF-3CED-9703-58ACE010355F}"/>
          </ac:spMkLst>
        </pc:spChg>
        <pc:spChg chg="add del mod">
          <ac:chgData name="Steiner Andreas 6206 ED" userId="e6377c33-a923-4f14-8587-531c474c7b48" providerId="ADAL" clId="{6ECD27E6-B224-41CD-B4E0-E297462320DD}" dt="2023-11-24T08:45:10.364" v="59508"/>
          <ac:spMkLst>
            <pc:docMk/>
            <pc:sldMk cId="1127354295" sldId="2147478564"/>
            <ac:spMk id="394" creationId="{79167276-AF68-0E44-1444-0CA44FEA888B}"/>
          </ac:spMkLst>
        </pc:spChg>
        <pc:spChg chg="add del mod">
          <ac:chgData name="Steiner Andreas 6206 ED" userId="e6377c33-a923-4f14-8587-531c474c7b48" providerId="ADAL" clId="{6ECD27E6-B224-41CD-B4E0-E297462320DD}" dt="2023-11-24T08:45:12.425" v="59663"/>
          <ac:spMkLst>
            <pc:docMk/>
            <pc:sldMk cId="1127354295" sldId="2147478564"/>
            <ac:spMk id="395" creationId="{00F95E14-9ADF-A53E-CE2E-01D2384D9688}"/>
          </ac:spMkLst>
        </pc:spChg>
        <pc:spChg chg="add del mod">
          <ac:chgData name="Steiner Andreas 6206 ED" userId="e6377c33-a923-4f14-8587-531c474c7b48" providerId="ADAL" clId="{6ECD27E6-B224-41CD-B4E0-E297462320DD}" dt="2023-11-24T08:45:14.364" v="59818"/>
          <ac:spMkLst>
            <pc:docMk/>
            <pc:sldMk cId="1127354295" sldId="2147478564"/>
            <ac:spMk id="396" creationId="{EFFB017B-718E-824A-6FB4-525314E9F82F}"/>
          </ac:spMkLst>
        </pc:spChg>
        <pc:spChg chg="add del mod">
          <ac:chgData name="Steiner Andreas 6206 ED" userId="e6377c33-a923-4f14-8587-531c474c7b48" providerId="ADAL" clId="{6ECD27E6-B224-41CD-B4E0-E297462320DD}" dt="2023-11-24T08:45:16.431" v="59973"/>
          <ac:spMkLst>
            <pc:docMk/>
            <pc:sldMk cId="1127354295" sldId="2147478564"/>
            <ac:spMk id="397" creationId="{C8654A09-8028-2A77-1211-80C9DB211046}"/>
          </ac:spMkLst>
        </pc:spChg>
        <pc:spChg chg="add del mod">
          <ac:chgData name="Steiner Andreas 6206 ED" userId="e6377c33-a923-4f14-8587-531c474c7b48" providerId="ADAL" clId="{6ECD27E6-B224-41CD-B4E0-E297462320DD}" dt="2023-11-24T08:45:18.374" v="60128"/>
          <ac:spMkLst>
            <pc:docMk/>
            <pc:sldMk cId="1127354295" sldId="2147478564"/>
            <ac:spMk id="398" creationId="{72DCD883-C0D3-250E-591E-31856DA2D942}"/>
          </ac:spMkLst>
        </pc:spChg>
        <pc:spChg chg="add del mod">
          <ac:chgData name="Steiner Andreas 6206 ED" userId="e6377c33-a923-4f14-8587-531c474c7b48" providerId="ADAL" clId="{6ECD27E6-B224-41CD-B4E0-E297462320DD}" dt="2023-11-24T08:45:20.267" v="60283"/>
          <ac:spMkLst>
            <pc:docMk/>
            <pc:sldMk cId="1127354295" sldId="2147478564"/>
            <ac:spMk id="399" creationId="{1E491448-C70E-C777-91E3-CFBE495DD3BE}"/>
          </ac:spMkLst>
        </pc:spChg>
        <pc:spChg chg="add del mod">
          <ac:chgData name="Steiner Andreas 6206 ED" userId="e6377c33-a923-4f14-8587-531c474c7b48" providerId="ADAL" clId="{6ECD27E6-B224-41CD-B4E0-E297462320DD}" dt="2023-11-24T08:45:22.479" v="60438"/>
          <ac:spMkLst>
            <pc:docMk/>
            <pc:sldMk cId="1127354295" sldId="2147478564"/>
            <ac:spMk id="400" creationId="{97A413E7-8F96-8E22-D5C7-A00C25084AFC}"/>
          </ac:spMkLst>
        </pc:spChg>
        <pc:spChg chg="add del mod">
          <ac:chgData name="Steiner Andreas 6206 ED" userId="e6377c33-a923-4f14-8587-531c474c7b48" providerId="ADAL" clId="{6ECD27E6-B224-41CD-B4E0-E297462320DD}" dt="2023-11-24T08:45:24.648" v="60593"/>
          <ac:spMkLst>
            <pc:docMk/>
            <pc:sldMk cId="1127354295" sldId="2147478564"/>
            <ac:spMk id="401" creationId="{69FAA947-4E56-DA5F-6523-A0DDF89EB5DD}"/>
          </ac:spMkLst>
        </pc:spChg>
        <pc:spChg chg="add del mod">
          <ac:chgData name="Steiner Andreas 6206 ED" userId="e6377c33-a923-4f14-8587-531c474c7b48" providerId="ADAL" clId="{6ECD27E6-B224-41CD-B4E0-E297462320DD}" dt="2023-11-24T08:45:26.589" v="60748"/>
          <ac:spMkLst>
            <pc:docMk/>
            <pc:sldMk cId="1127354295" sldId="2147478564"/>
            <ac:spMk id="402" creationId="{152AEBD9-6D4F-ACF9-B450-861ADFB1A132}"/>
          </ac:spMkLst>
        </pc:spChg>
        <pc:spChg chg="add del mod">
          <ac:chgData name="Steiner Andreas 6206 ED" userId="e6377c33-a923-4f14-8587-531c474c7b48" providerId="ADAL" clId="{6ECD27E6-B224-41CD-B4E0-E297462320DD}" dt="2023-11-24T08:45:28.470" v="60903"/>
          <ac:spMkLst>
            <pc:docMk/>
            <pc:sldMk cId="1127354295" sldId="2147478564"/>
            <ac:spMk id="403" creationId="{E9361044-48AA-05B1-1C69-AF6EEE5D6668}"/>
          </ac:spMkLst>
        </pc:spChg>
        <pc:spChg chg="add del mod">
          <ac:chgData name="Steiner Andreas 6206 ED" userId="e6377c33-a923-4f14-8587-531c474c7b48" providerId="ADAL" clId="{6ECD27E6-B224-41CD-B4E0-E297462320DD}" dt="2023-11-24T08:45:30.314" v="61058"/>
          <ac:spMkLst>
            <pc:docMk/>
            <pc:sldMk cId="1127354295" sldId="2147478564"/>
            <ac:spMk id="404" creationId="{9DB3552A-5037-FDCE-70D6-F0C1187597C1}"/>
          </ac:spMkLst>
        </pc:spChg>
        <pc:spChg chg="add del mod">
          <ac:chgData name="Steiner Andreas 6206 ED" userId="e6377c33-a923-4f14-8587-531c474c7b48" providerId="ADAL" clId="{6ECD27E6-B224-41CD-B4E0-E297462320DD}" dt="2023-11-24T08:45:32.153" v="61213"/>
          <ac:spMkLst>
            <pc:docMk/>
            <pc:sldMk cId="1127354295" sldId="2147478564"/>
            <ac:spMk id="405" creationId="{D3A27126-D526-43E3-DEBF-0F11DC2B8201}"/>
          </ac:spMkLst>
        </pc:spChg>
        <pc:spChg chg="add del mod">
          <ac:chgData name="Steiner Andreas 6206 ED" userId="e6377c33-a923-4f14-8587-531c474c7b48" providerId="ADAL" clId="{6ECD27E6-B224-41CD-B4E0-E297462320DD}" dt="2023-11-24T08:45:34.319" v="61368"/>
          <ac:spMkLst>
            <pc:docMk/>
            <pc:sldMk cId="1127354295" sldId="2147478564"/>
            <ac:spMk id="406" creationId="{CCDFCB1B-6BDC-59FF-7E46-F9397A0D7B87}"/>
          </ac:spMkLst>
        </pc:spChg>
        <pc:spChg chg="add del mod">
          <ac:chgData name="Steiner Andreas 6206 ED" userId="e6377c33-a923-4f14-8587-531c474c7b48" providerId="ADAL" clId="{6ECD27E6-B224-41CD-B4E0-E297462320DD}" dt="2023-11-24T08:45:36.366" v="61523"/>
          <ac:spMkLst>
            <pc:docMk/>
            <pc:sldMk cId="1127354295" sldId="2147478564"/>
            <ac:spMk id="407" creationId="{82F21EEF-1734-2EB4-9205-B53BA0780E8E}"/>
          </ac:spMkLst>
        </pc:spChg>
        <pc:spChg chg="add del mod">
          <ac:chgData name="Steiner Andreas 6206 ED" userId="e6377c33-a923-4f14-8587-531c474c7b48" providerId="ADAL" clId="{6ECD27E6-B224-41CD-B4E0-E297462320DD}" dt="2023-11-24T08:45:38.223" v="61678"/>
          <ac:spMkLst>
            <pc:docMk/>
            <pc:sldMk cId="1127354295" sldId="2147478564"/>
            <ac:spMk id="408" creationId="{1D262370-FF14-4F5B-FCB6-BAB8E541965E}"/>
          </ac:spMkLst>
        </pc:spChg>
        <pc:spChg chg="add del mod">
          <ac:chgData name="Steiner Andreas 6206 ED" userId="e6377c33-a923-4f14-8587-531c474c7b48" providerId="ADAL" clId="{6ECD27E6-B224-41CD-B4E0-E297462320DD}" dt="2023-11-24T08:45:40.117" v="61833"/>
          <ac:spMkLst>
            <pc:docMk/>
            <pc:sldMk cId="1127354295" sldId="2147478564"/>
            <ac:spMk id="409" creationId="{4AE3626C-DEE1-3798-8785-BEB38FB46995}"/>
          </ac:spMkLst>
        </pc:spChg>
        <pc:spChg chg="add del mod">
          <ac:chgData name="Steiner Andreas 6206 ED" userId="e6377c33-a923-4f14-8587-531c474c7b48" providerId="ADAL" clId="{6ECD27E6-B224-41CD-B4E0-E297462320DD}" dt="2023-11-24T08:45:42.139" v="61988"/>
          <ac:spMkLst>
            <pc:docMk/>
            <pc:sldMk cId="1127354295" sldId="2147478564"/>
            <ac:spMk id="410" creationId="{221170A6-A7BD-1AD8-55CF-AFC3F95568F5}"/>
          </ac:spMkLst>
        </pc:spChg>
        <pc:spChg chg="add del mod">
          <ac:chgData name="Steiner Andreas 6206 ED" userId="e6377c33-a923-4f14-8587-531c474c7b48" providerId="ADAL" clId="{6ECD27E6-B224-41CD-B4E0-E297462320DD}" dt="2023-11-24T08:45:44.113" v="62143"/>
          <ac:spMkLst>
            <pc:docMk/>
            <pc:sldMk cId="1127354295" sldId="2147478564"/>
            <ac:spMk id="411" creationId="{1952B816-2C03-A473-DCB2-1FC8B129F71A}"/>
          </ac:spMkLst>
        </pc:spChg>
        <pc:spChg chg="add del mod">
          <ac:chgData name="Steiner Andreas 6206 ED" userId="e6377c33-a923-4f14-8587-531c474c7b48" providerId="ADAL" clId="{6ECD27E6-B224-41CD-B4E0-E297462320DD}" dt="2023-11-24T08:45:46.235" v="62298"/>
          <ac:spMkLst>
            <pc:docMk/>
            <pc:sldMk cId="1127354295" sldId="2147478564"/>
            <ac:spMk id="412" creationId="{DA2F8580-E1D1-9D0A-73C0-677CF41AB9B3}"/>
          </ac:spMkLst>
        </pc:spChg>
        <pc:spChg chg="add del mod">
          <ac:chgData name="Steiner Andreas 6206 ED" userId="e6377c33-a923-4f14-8587-531c474c7b48" providerId="ADAL" clId="{6ECD27E6-B224-41CD-B4E0-E297462320DD}" dt="2023-11-24T08:45:48.131" v="62453"/>
          <ac:spMkLst>
            <pc:docMk/>
            <pc:sldMk cId="1127354295" sldId="2147478564"/>
            <ac:spMk id="413" creationId="{9987F09B-3E9D-4767-3A3E-7B6320347B2E}"/>
          </ac:spMkLst>
        </pc:spChg>
        <pc:spChg chg="add del mod">
          <ac:chgData name="Steiner Andreas 6206 ED" userId="e6377c33-a923-4f14-8587-531c474c7b48" providerId="ADAL" clId="{6ECD27E6-B224-41CD-B4E0-E297462320DD}" dt="2023-11-24T08:45:50.481" v="62608"/>
          <ac:spMkLst>
            <pc:docMk/>
            <pc:sldMk cId="1127354295" sldId="2147478564"/>
            <ac:spMk id="414" creationId="{B67F1428-6445-3A58-DB13-AC60BCF8175B}"/>
          </ac:spMkLst>
        </pc:spChg>
        <pc:spChg chg="add del mod">
          <ac:chgData name="Steiner Andreas 6206 ED" userId="e6377c33-a923-4f14-8587-531c474c7b48" providerId="ADAL" clId="{6ECD27E6-B224-41CD-B4E0-E297462320DD}" dt="2023-11-24T08:45:52.485" v="62763"/>
          <ac:spMkLst>
            <pc:docMk/>
            <pc:sldMk cId="1127354295" sldId="2147478564"/>
            <ac:spMk id="415" creationId="{61FACE93-A02F-2801-D4A9-6187DE472CEE}"/>
          </ac:spMkLst>
        </pc:spChg>
        <pc:spChg chg="add del mod">
          <ac:chgData name="Steiner Andreas 6206 ED" userId="e6377c33-a923-4f14-8587-531c474c7b48" providerId="ADAL" clId="{6ECD27E6-B224-41CD-B4E0-E297462320DD}" dt="2023-11-24T08:45:54.500" v="62918"/>
          <ac:spMkLst>
            <pc:docMk/>
            <pc:sldMk cId="1127354295" sldId="2147478564"/>
            <ac:spMk id="416" creationId="{B662F456-B339-3026-41CE-BB99C64FCFD2}"/>
          </ac:spMkLst>
        </pc:spChg>
        <pc:spChg chg="add del mod">
          <ac:chgData name="Steiner Andreas 6206 ED" userId="e6377c33-a923-4f14-8587-531c474c7b48" providerId="ADAL" clId="{6ECD27E6-B224-41CD-B4E0-E297462320DD}" dt="2023-11-24T08:45:56.705" v="63073"/>
          <ac:spMkLst>
            <pc:docMk/>
            <pc:sldMk cId="1127354295" sldId="2147478564"/>
            <ac:spMk id="417" creationId="{B7B6E3DE-011A-DBE0-02A5-A84D2ABA50B3}"/>
          </ac:spMkLst>
        </pc:spChg>
        <pc:spChg chg="add del mod">
          <ac:chgData name="Steiner Andreas 6206 ED" userId="e6377c33-a923-4f14-8587-531c474c7b48" providerId="ADAL" clId="{6ECD27E6-B224-41CD-B4E0-E297462320DD}" dt="2023-11-24T08:45:58.718" v="63228"/>
          <ac:spMkLst>
            <pc:docMk/>
            <pc:sldMk cId="1127354295" sldId="2147478564"/>
            <ac:spMk id="418" creationId="{2D1E47D0-10B9-F347-3E64-639E08BFD78D}"/>
          </ac:spMkLst>
        </pc:spChg>
        <pc:spChg chg="add del mod">
          <ac:chgData name="Steiner Andreas 6206 ED" userId="e6377c33-a923-4f14-8587-531c474c7b48" providerId="ADAL" clId="{6ECD27E6-B224-41CD-B4E0-E297462320DD}" dt="2023-11-24T08:46:00.818" v="63383"/>
          <ac:spMkLst>
            <pc:docMk/>
            <pc:sldMk cId="1127354295" sldId="2147478564"/>
            <ac:spMk id="419" creationId="{4C6FFF68-1FD0-DBAB-4C89-E8A87A7412CF}"/>
          </ac:spMkLst>
        </pc:spChg>
        <pc:spChg chg="add del mod">
          <ac:chgData name="Steiner Andreas 6206 ED" userId="e6377c33-a923-4f14-8587-531c474c7b48" providerId="ADAL" clId="{6ECD27E6-B224-41CD-B4E0-E297462320DD}" dt="2023-11-24T08:46:02.880" v="63538"/>
          <ac:spMkLst>
            <pc:docMk/>
            <pc:sldMk cId="1127354295" sldId="2147478564"/>
            <ac:spMk id="420" creationId="{E0855CE0-0D51-65AB-198F-70A94B6B9E5A}"/>
          </ac:spMkLst>
        </pc:spChg>
        <pc:spChg chg="add del mod">
          <ac:chgData name="Steiner Andreas 6206 ED" userId="e6377c33-a923-4f14-8587-531c474c7b48" providerId="ADAL" clId="{6ECD27E6-B224-41CD-B4E0-E297462320DD}" dt="2023-11-24T08:46:05.340" v="63693"/>
          <ac:spMkLst>
            <pc:docMk/>
            <pc:sldMk cId="1127354295" sldId="2147478564"/>
            <ac:spMk id="421" creationId="{27121BC2-1EE7-6555-E89E-1CF679F43D3D}"/>
          </ac:spMkLst>
        </pc:spChg>
        <pc:spChg chg="add del mod">
          <ac:chgData name="Steiner Andreas 6206 ED" userId="e6377c33-a923-4f14-8587-531c474c7b48" providerId="ADAL" clId="{6ECD27E6-B224-41CD-B4E0-E297462320DD}" dt="2023-11-24T08:46:07.850" v="63848"/>
          <ac:spMkLst>
            <pc:docMk/>
            <pc:sldMk cId="1127354295" sldId="2147478564"/>
            <ac:spMk id="422" creationId="{1EE23085-9ACB-FB35-2564-479EA691A760}"/>
          </ac:spMkLst>
        </pc:spChg>
        <pc:spChg chg="add del mod">
          <ac:chgData name="Steiner Andreas 6206 ED" userId="e6377c33-a923-4f14-8587-531c474c7b48" providerId="ADAL" clId="{6ECD27E6-B224-41CD-B4E0-E297462320DD}" dt="2023-11-24T08:46:09.987" v="64003"/>
          <ac:spMkLst>
            <pc:docMk/>
            <pc:sldMk cId="1127354295" sldId="2147478564"/>
            <ac:spMk id="423" creationId="{9AA64A27-87C1-8723-E2B6-1A6C80CBC784}"/>
          </ac:spMkLst>
        </pc:spChg>
        <pc:spChg chg="add del mod">
          <ac:chgData name="Steiner Andreas 6206 ED" userId="e6377c33-a923-4f14-8587-531c474c7b48" providerId="ADAL" clId="{6ECD27E6-B224-41CD-B4E0-E297462320DD}" dt="2023-11-24T08:46:12.198" v="64158"/>
          <ac:spMkLst>
            <pc:docMk/>
            <pc:sldMk cId="1127354295" sldId="2147478564"/>
            <ac:spMk id="424" creationId="{D5D2A797-0382-42E7-BC34-2E7CE0DC6A85}"/>
          </ac:spMkLst>
        </pc:spChg>
        <pc:spChg chg="add del mod">
          <ac:chgData name="Steiner Andreas 6206 ED" userId="e6377c33-a923-4f14-8587-531c474c7b48" providerId="ADAL" clId="{6ECD27E6-B224-41CD-B4E0-E297462320DD}" dt="2023-11-24T08:46:14.367" v="64313"/>
          <ac:spMkLst>
            <pc:docMk/>
            <pc:sldMk cId="1127354295" sldId="2147478564"/>
            <ac:spMk id="425" creationId="{1DCA5703-6731-5E05-7B52-4499E5035AF0}"/>
          </ac:spMkLst>
        </pc:spChg>
        <pc:spChg chg="add del mod">
          <ac:chgData name="Steiner Andreas 6206 ED" userId="e6377c33-a923-4f14-8587-531c474c7b48" providerId="ADAL" clId="{6ECD27E6-B224-41CD-B4E0-E297462320DD}" dt="2023-11-24T08:46:16.555" v="64468"/>
          <ac:spMkLst>
            <pc:docMk/>
            <pc:sldMk cId="1127354295" sldId="2147478564"/>
            <ac:spMk id="426" creationId="{A4C12BE3-BE55-3827-ABD5-6F951F80409B}"/>
          </ac:spMkLst>
        </pc:spChg>
        <pc:spChg chg="add del mod">
          <ac:chgData name="Steiner Andreas 6206 ED" userId="e6377c33-a923-4f14-8587-531c474c7b48" providerId="ADAL" clId="{6ECD27E6-B224-41CD-B4E0-E297462320DD}" dt="2023-11-24T08:46:18.445" v="64623"/>
          <ac:spMkLst>
            <pc:docMk/>
            <pc:sldMk cId="1127354295" sldId="2147478564"/>
            <ac:spMk id="427" creationId="{69DF7620-D4F0-EFCA-D348-F941887F1F55}"/>
          </ac:spMkLst>
        </pc:spChg>
        <pc:spChg chg="add del mod">
          <ac:chgData name="Steiner Andreas 6206 ED" userId="e6377c33-a923-4f14-8587-531c474c7b48" providerId="ADAL" clId="{6ECD27E6-B224-41CD-B4E0-E297462320DD}" dt="2023-11-24T08:46:20.989" v="64778"/>
          <ac:spMkLst>
            <pc:docMk/>
            <pc:sldMk cId="1127354295" sldId="2147478564"/>
            <ac:spMk id="428" creationId="{554B362B-D96D-A6EA-7EAB-AB83BA6299E3}"/>
          </ac:spMkLst>
        </pc:spChg>
        <pc:spChg chg="add del mod">
          <ac:chgData name="Steiner Andreas 6206 ED" userId="e6377c33-a923-4f14-8587-531c474c7b48" providerId="ADAL" clId="{6ECD27E6-B224-41CD-B4E0-E297462320DD}" dt="2023-11-24T08:46:23.288" v="64933"/>
          <ac:spMkLst>
            <pc:docMk/>
            <pc:sldMk cId="1127354295" sldId="2147478564"/>
            <ac:spMk id="429" creationId="{4BAC6708-2650-17F1-85FC-51886E5EF6F3}"/>
          </ac:spMkLst>
        </pc:spChg>
        <pc:spChg chg="add del mod">
          <ac:chgData name="Steiner Andreas 6206 ED" userId="e6377c33-a923-4f14-8587-531c474c7b48" providerId="ADAL" clId="{6ECD27E6-B224-41CD-B4E0-E297462320DD}" dt="2023-11-24T08:46:25.462" v="65088"/>
          <ac:spMkLst>
            <pc:docMk/>
            <pc:sldMk cId="1127354295" sldId="2147478564"/>
            <ac:spMk id="430" creationId="{FAF91B60-44DC-B346-9C84-03F4DD448579}"/>
          </ac:spMkLst>
        </pc:spChg>
        <pc:spChg chg="add del mod">
          <ac:chgData name="Steiner Andreas 6206 ED" userId="e6377c33-a923-4f14-8587-531c474c7b48" providerId="ADAL" clId="{6ECD27E6-B224-41CD-B4E0-E297462320DD}" dt="2023-11-24T08:46:27.785" v="65243"/>
          <ac:spMkLst>
            <pc:docMk/>
            <pc:sldMk cId="1127354295" sldId="2147478564"/>
            <ac:spMk id="431" creationId="{A9495177-3651-4296-8C46-8CB1E1777263}"/>
          </ac:spMkLst>
        </pc:spChg>
        <pc:spChg chg="add del mod">
          <ac:chgData name="Steiner Andreas 6206 ED" userId="e6377c33-a923-4f14-8587-531c474c7b48" providerId="ADAL" clId="{6ECD27E6-B224-41CD-B4E0-E297462320DD}" dt="2023-11-24T08:46:29.867" v="65398"/>
          <ac:spMkLst>
            <pc:docMk/>
            <pc:sldMk cId="1127354295" sldId="2147478564"/>
            <ac:spMk id="432" creationId="{FE1389DC-673D-BBA5-0EA0-04E94907A5E9}"/>
          </ac:spMkLst>
        </pc:spChg>
        <pc:spChg chg="add del mod">
          <ac:chgData name="Steiner Andreas 6206 ED" userId="e6377c33-a923-4f14-8587-531c474c7b48" providerId="ADAL" clId="{6ECD27E6-B224-41CD-B4E0-E297462320DD}" dt="2023-11-24T08:46:32.336" v="65553"/>
          <ac:spMkLst>
            <pc:docMk/>
            <pc:sldMk cId="1127354295" sldId="2147478564"/>
            <ac:spMk id="433" creationId="{A3AF65F3-7701-16FB-EC04-8CC176BD4C78}"/>
          </ac:spMkLst>
        </pc:spChg>
        <pc:spChg chg="add del mod">
          <ac:chgData name="Steiner Andreas 6206 ED" userId="e6377c33-a923-4f14-8587-531c474c7b48" providerId="ADAL" clId="{6ECD27E6-B224-41CD-B4E0-E297462320DD}" dt="2023-11-24T08:46:34.351" v="65708"/>
          <ac:spMkLst>
            <pc:docMk/>
            <pc:sldMk cId="1127354295" sldId="2147478564"/>
            <ac:spMk id="434" creationId="{0B29DE15-7FF8-6ABE-3EBA-0DA4A834B65D}"/>
          </ac:spMkLst>
        </pc:spChg>
        <pc:spChg chg="add del mod">
          <ac:chgData name="Steiner Andreas 6206 ED" userId="e6377c33-a923-4f14-8587-531c474c7b48" providerId="ADAL" clId="{6ECD27E6-B224-41CD-B4E0-E297462320DD}" dt="2023-11-24T08:46:36.275" v="65863"/>
          <ac:spMkLst>
            <pc:docMk/>
            <pc:sldMk cId="1127354295" sldId="2147478564"/>
            <ac:spMk id="435" creationId="{AA71A84F-3BE8-17E9-2730-476C0CE1CA56}"/>
          </ac:spMkLst>
        </pc:spChg>
        <pc:spChg chg="add del mod">
          <ac:chgData name="Steiner Andreas 6206 ED" userId="e6377c33-a923-4f14-8587-531c474c7b48" providerId="ADAL" clId="{6ECD27E6-B224-41CD-B4E0-E297462320DD}" dt="2023-11-24T08:46:38.366" v="66018"/>
          <ac:spMkLst>
            <pc:docMk/>
            <pc:sldMk cId="1127354295" sldId="2147478564"/>
            <ac:spMk id="436" creationId="{72DC74C4-988B-9E63-93C0-9506A15FA78E}"/>
          </ac:spMkLst>
        </pc:spChg>
        <pc:spChg chg="add del mod">
          <ac:chgData name="Steiner Andreas 6206 ED" userId="e6377c33-a923-4f14-8587-531c474c7b48" providerId="ADAL" clId="{6ECD27E6-B224-41CD-B4E0-E297462320DD}" dt="2023-11-24T08:46:40.463" v="66173"/>
          <ac:spMkLst>
            <pc:docMk/>
            <pc:sldMk cId="1127354295" sldId="2147478564"/>
            <ac:spMk id="437" creationId="{A32767C5-C55C-FF9F-D2B7-039153C266BC}"/>
          </ac:spMkLst>
        </pc:spChg>
        <pc:spChg chg="add del mod">
          <ac:chgData name="Steiner Andreas 6206 ED" userId="e6377c33-a923-4f14-8587-531c474c7b48" providerId="ADAL" clId="{6ECD27E6-B224-41CD-B4E0-E297462320DD}" dt="2023-11-24T08:46:42.737" v="66328"/>
          <ac:spMkLst>
            <pc:docMk/>
            <pc:sldMk cId="1127354295" sldId="2147478564"/>
            <ac:spMk id="438" creationId="{13A5E09A-BC05-F5F3-DAC4-22B64ABE12FA}"/>
          </ac:spMkLst>
        </pc:spChg>
        <pc:spChg chg="add del mod">
          <ac:chgData name="Steiner Andreas 6206 ED" userId="e6377c33-a923-4f14-8587-531c474c7b48" providerId="ADAL" clId="{6ECD27E6-B224-41CD-B4E0-E297462320DD}" dt="2023-11-24T08:46:44.842" v="66483"/>
          <ac:spMkLst>
            <pc:docMk/>
            <pc:sldMk cId="1127354295" sldId="2147478564"/>
            <ac:spMk id="439" creationId="{727D0561-6B44-82FA-B64F-388356A82A7F}"/>
          </ac:spMkLst>
        </pc:spChg>
        <pc:spChg chg="add del mod">
          <ac:chgData name="Steiner Andreas 6206 ED" userId="e6377c33-a923-4f14-8587-531c474c7b48" providerId="ADAL" clId="{6ECD27E6-B224-41CD-B4E0-E297462320DD}" dt="2023-11-24T08:46:46.922" v="66638"/>
          <ac:spMkLst>
            <pc:docMk/>
            <pc:sldMk cId="1127354295" sldId="2147478564"/>
            <ac:spMk id="440" creationId="{AB2CE05A-6403-C220-6D9E-23026E16A500}"/>
          </ac:spMkLst>
        </pc:spChg>
        <pc:spChg chg="add del mod">
          <ac:chgData name="Steiner Andreas 6206 ED" userId="e6377c33-a923-4f14-8587-531c474c7b48" providerId="ADAL" clId="{6ECD27E6-B224-41CD-B4E0-E297462320DD}" dt="2023-11-24T08:46:49.055" v="66793"/>
          <ac:spMkLst>
            <pc:docMk/>
            <pc:sldMk cId="1127354295" sldId="2147478564"/>
            <ac:spMk id="441" creationId="{DD9B0CD1-E040-86F5-2B2A-A3B35ED076EB}"/>
          </ac:spMkLst>
        </pc:spChg>
        <pc:spChg chg="add del mod">
          <ac:chgData name="Steiner Andreas 6206 ED" userId="e6377c33-a923-4f14-8587-531c474c7b48" providerId="ADAL" clId="{6ECD27E6-B224-41CD-B4E0-E297462320DD}" dt="2023-11-24T08:46:51.115" v="66948"/>
          <ac:spMkLst>
            <pc:docMk/>
            <pc:sldMk cId="1127354295" sldId="2147478564"/>
            <ac:spMk id="442" creationId="{35195572-2080-47E4-1284-BA9410FE5A23}"/>
          </ac:spMkLst>
        </pc:spChg>
        <pc:spChg chg="add del mod">
          <ac:chgData name="Steiner Andreas 6206 ED" userId="e6377c33-a923-4f14-8587-531c474c7b48" providerId="ADAL" clId="{6ECD27E6-B224-41CD-B4E0-E297462320DD}" dt="2023-11-24T08:46:53.137" v="67103"/>
          <ac:spMkLst>
            <pc:docMk/>
            <pc:sldMk cId="1127354295" sldId="2147478564"/>
            <ac:spMk id="443" creationId="{9094D400-F793-B3A5-FCF3-4D8142EA9094}"/>
          </ac:spMkLst>
        </pc:spChg>
        <pc:spChg chg="add del mod">
          <ac:chgData name="Steiner Andreas 6206 ED" userId="e6377c33-a923-4f14-8587-531c474c7b48" providerId="ADAL" clId="{6ECD27E6-B224-41CD-B4E0-E297462320DD}" dt="2023-11-24T08:46:55.137" v="67258"/>
          <ac:spMkLst>
            <pc:docMk/>
            <pc:sldMk cId="1127354295" sldId="2147478564"/>
            <ac:spMk id="444" creationId="{7B12B2AA-C579-38CE-D18E-79AE54FA9C2D}"/>
          </ac:spMkLst>
        </pc:spChg>
        <pc:spChg chg="add del mod">
          <ac:chgData name="Steiner Andreas 6206 ED" userId="e6377c33-a923-4f14-8587-531c474c7b48" providerId="ADAL" clId="{6ECD27E6-B224-41CD-B4E0-E297462320DD}" dt="2023-11-24T08:46:57.076" v="67413"/>
          <ac:spMkLst>
            <pc:docMk/>
            <pc:sldMk cId="1127354295" sldId="2147478564"/>
            <ac:spMk id="445" creationId="{F541BC31-07C7-039A-3E42-E9EEE9FCDB4E}"/>
          </ac:spMkLst>
        </pc:spChg>
        <pc:spChg chg="add del mod">
          <ac:chgData name="Steiner Andreas 6206 ED" userId="e6377c33-a923-4f14-8587-531c474c7b48" providerId="ADAL" clId="{6ECD27E6-B224-41CD-B4E0-E297462320DD}" dt="2023-11-24T08:46:58.951" v="67568"/>
          <ac:spMkLst>
            <pc:docMk/>
            <pc:sldMk cId="1127354295" sldId="2147478564"/>
            <ac:spMk id="446" creationId="{5EDAD505-37AF-EFE2-58CF-7E173140F6AA}"/>
          </ac:spMkLst>
        </pc:spChg>
        <pc:spChg chg="add del mod">
          <ac:chgData name="Steiner Andreas 6206 ED" userId="e6377c33-a923-4f14-8587-531c474c7b48" providerId="ADAL" clId="{6ECD27E6-B224-41CD-B4E0-E297462320DD}" dt="2023-11-24T08:47:01.058" v="67723"/>
          <ac:spMkLst>
            <pc:docMk/>
            <pc:sldMk cId="1127354295" sldId="2147478564"/>
            <ac:spMk id="447" creationId="{298D7EEA-D460-AAC3-4B87-33BEEF075730}"/>
          </ac:spMkLst>
        </pc:spChg>
        <pc:spChg chg="add del mod">
          <ac:chgData name="Steiner Andreas 6206 ED" userId="e6377c33-a923-4f14-8587-531c474c7b48" providerId="ADAL" clId="{6ECD27E6-B224-41CD-B4E0-E297462320DD}" dt="2023-11-24T08:47:03.254" v="67878"/>
          <ac:spMkLst>
            <pc:docMk/>
            <pc:sldMk cId="1127354295" sldId="2147478564"/>
            <ac:spMk id="448" creationId="{1702A406-97C7-7348-725A-73ABB944FE4C}"/>
          </ac:spMkLst>
        </pc:spChg>
        <pc:spChg chg="add del mod">
          <ac:chgData name="Steiner Andreas 6206 ED" userId="e6377c33-a923-4f14-8587-531c474c7b48" providerId="ADAL" clId="{6ECD27E6-B224-41CD-B4E0-E297462320DD}" dt="2023-11-24T08:47:05.201" v="68033"/>
          <ac:spMkLst>
            <pc:docMk/>
            <pc:sldMk cId="1127354295" sldId="2147478564"/>
            <ac:spMk id="449" creationId="{B58511B1-02A7-BD1A-FD33-80E8F5422A43}"/>
          </ac:spMkLst>
        </pc:spChg>
        <pc:spChg chg="add del mod">
          <ac:chgData name="Steiner Andreas 6206 ED" userId="e6377c33-a923-4f14-8587-531c474c7b48" providerId="ADAL" clId="{6ECD27E6-B224-41CD-B4E0-E297462320DD}" dt="2023-11-24T08:47:06.979" v="68188"/>
          <ac:spMkLst>
            <pc:docMk/>
            <pc:sldMk cId="1127354295" sldId="2147478564"/>
            <ac:spMk id="450" creationId="{1324645A-516B-C328-9034-E627D4DCF513}"/>
          </ac:spMkLst>
        </pc:spChg>
        <pc:spChg chg="add del mod">
          <ac:chgData name="Steiner Andreas 6206 ED" userId="e6377c33-a923-4f14-8587-531c474c7b48" providerId="ADAL" clId="{6ECD27E6-B224-41CD-B4E0-E297462320DD}" dt="2023-11-24T08:47:08.881" v="68343"/>
          <ac:spMkLst>
            <pc:docMk/>
            <pc:sldMk cId="1127354295" sldId="2147478564"/>
            <ac:spMk id="451" creationId="{F89CEAE8-D393-DE5A-B8D5-BC984046CE88}"/>
          </ac:spMkLst>
        </pc:spChg>
        <pc:spChg chg="add del mod">
          <ac:chgData name="Steiner Andreas 6206 ED" userId="e6377c33-a923-4f14-8587-531c474c7b48" providerId="ADAL" clId="{6ECD27E6-B224-41CD-B4E0-E297462320DD}" dt="2023-11-24T08:47:10.758" v="68498"/>
          <ac:spMkLst>
            <pc:docMk/>
            <pc:sldMk cId="1127354295" sldId="2147478564"/>
            <ac:spMk id="452" creationId="{E53599AE-2434-4ED8-CA29-04E8005FF6AC}"/>
          </ac:spMkLst>
        </pc:spChg>
        <pc:spChg chg="add del mod">
          <ac:chgData name="Steiner Andreas 6206 ED" userId="e6377c33-a923-4f14-8587-531c474c7b48" providerId="ADAL" clId="{6ECD27E6-B224-41CD-B4E0-E297462320DD}" dt="2023-11-24T08:47:12.640" v="68653"/>
          <ac:spMkLst>
            <pc:docMk/>
            <pc:sldMk cId="1127354295" sldId="2147478564"/>
            <ac:spMk id="453" creationId="{BF29507A-4889-DFFF-53CC-CB8B1816B296}"/>
          </ac:spMkLst>
        </pc:spChg>
        <pc:spChg chg="add del mod">
          <ac:chgData name="Steiner Andreas 6206 ED" userId="e6377c33-a923-4f14-8587-531c474c7b48" providerId="ADAL" clId="{6ECD27E6-B224-41CD-B4E0-E297462320DD}" dt="2023-11-24T08:47:14.810" v="68808"/>
          <ac:spMkLst>
            <pc:docMk/>
            <pc:sldMk cId="1127354295" sldId="2147478564"/>
            <ac:spMk id="454" creationId="{C6AE9118-FAFB-FBB9-3958-7D4CC1E2856E}"/>
          </ac:spMkLst>
        </pc:spChg>
        <pc:spChg chg="add del mod">
          <ac:chgData name="Steiner Andreas 6206 ED" userId="e6377c33-a923-4f14-8587-531c474c7b48" providerId="ADAL" clId="{6ECD27E6-B224-41CD-B4E0-E297462320DD}" dt="2023-11-24T08:47:16.753" v="68963"/>
          <ac:spMkLst>
            <pc:docMk/>
            <pc:sldMk cId="1127354295" sldId="2147478564"/>
            <ac:spMk id="455" creationId="{1E9477A3-FAF5-C5D2-95ED-AFF72B207DEE}"/>
          </ac:spMkLst>
        </pc:spChg>
        <pc:spChg chg="add del mod">
          <ac:chgData name="Steiner Andreas 6206 ED" userId="e6377c33-a923-4f14-8587-531c474c7b48" providerId="ADAL" clId="{6ECD27E6-B224-41CD-B4E0-E297462320DD}" dt="2023-11-24T08:47:18.707" v="69118"/>
          <ac:spMkLst>
            <pc:docMk/>
            <pc:sldMk cId="1127354295" sldId="2147478564"/>
            <ac:spMk id="456" creationId="{108C4E58-6333-A824-B96A-436194A2657C}"/>
          </ac:spMkLst>
        </pc:spChg>
        <pc:spChg chg="add del mod">
          <ac:chgData name="Steiner Andreas 6206 ED" userId="e6377c33-a923-4f14-8587-531c474c7b48" providerId="ADAL" clId="{6ECD27E6-B224-41CD-B4E0-E297462320DD}" dt="2023-11-24T08:47:20.663" v="69273"/>
          <ac:spMkLst>
            <pc:docMk/>
            <pc:sldMk cId="1127354295" sldId="2147478564"/>
            <ac:spMk id="457" creationId="{35604690-20B0-D96B-8B59-292B1A5425DA}"/>
          </ac:spMkLst>
        </pc:spChg>
        <pc:spChg chg="add del mod">
          <ac:chgData name="Steiner Andreas 6206 ED" userId="e6377c33-a923-4f14-8587-531c474c7b48" providerId="ADAL" clId="{6ECD27E6-B224-41CD-B4E0-E297462320DD}" dt="2023-11-24T08:47:23.103" v="69428"/>
          <ac:spMkLst>
            <pc:docMk/>
            <pc:sldMk cId="1127354295" sldId="2147478564"/>
            <ac:spMk id="458" creationId="{5D2E0EE3-9019-8DE0-9980-84265721A934}"/>
          </ac:spMkLst>
        </pc:spChg>
        <pc:spChg chg="add del mod">
          <ac:chgData name="Steiner Andreas 6206 ED" userId="e6377c33-a923-4f14-8587-531c474c7b48" providerId="ADAL" clId="{6ECD27E6-B224-41CD-B4E0-E297462320DD}" dt="2023-11-24T08:47:25.781" v="69583"/>
          <ac:spMkLst>
            <pc:docMk/>
            <pc:sldMk cId="1127354295" sldId="2147478564"/>
            <ac:spMk id="459" creationId="{B92FAD82-2D7E-474E-77DB-4DD9E6461300}"/>
          </ac:spMkLst>
        </pc:spChg>
        <pc:spChg chg="add del mod">
          <ac:chgData name="Steiner Andreas 6206 ED" userId="e6377c33-a923-4f14-8587-531c474c7b48" providerId="ADAL" clId="{6ECD27E6-B224-41CD-B4E0-E297462320DD}" dt="2023-11-24T08:47:27.947" v="69738"/>
          <ac:spMkLst>
            <pc:docMk/>
            <pc:sldMk cId="1127354295" sldId="2147478564"/>
            <ac:spMk id="460" creationId="{5D34E557-84BE-485F-281F-5553F49B6669}"/>
          </ac:spMkLst>
        </pc:spChg>
        <pc:spChg chg="add del mod">
          <ac:chgData name="Steiner Andreas 6206 ED" userId="e6377c33-a923-4f14-8587-531c474c7b48" providerId="ADAL" clId="{6ECD27E6-B224-41CD-B4E0-E297462320DD}" dt="2023-11-24T08:47:29.984" v="69893"/>
          <ac:spMkLst>
            <pc:docMk/>
            <pc:sldMk cId="1127354295" sldId="2147478564"/>
            <ac:spMk id="461" creationId="{5B21F428-DB21-B700-60B2-DC2DC64C070C}"/>
          </ac:spMkLst>
        </pc:spChg>
        <pc:spChg chg="add del mod">
          <ac:chgData name="Steiner Andreas 6206 ED" userId="e6377c33-a923-4f14-8587-531c474c7b48" providerId="ADAL" clId="{6ECD27E6-B224-41CD-B4E0-E297462320DD}" dt="2023-11-24T08:47:31.958" v="70048"/>
          <ac:spMkLst>
            <pc:docMk/>
            <pc:sldMk cId="1127354295" sldId="2147478564"/>
            <ac:spMk id="462" creationId="{0A2A2068-A1F2-FA1A-D807-E272D2C49920}"/>
          </ac:spMkLst>
        </pc:spChg>
        <pc:spChg chg="add del mod">
          <ac:chgData name="Steiner Andreas 6206 ED" userId="e6377c33-a923-4f14-8587-531c474c7b48" providerId="ADAL" clId="{6ECD27E6-B224-41CD-B4E0-E297462320DD}" dt="2023-11-24T08:47:33.938" v="70203"/>
          <ac:spMkLst>
            <pc:docMk/>
            <pc:sldMk cId="1127354295" sldId="2147478564"/>
            <ac:spMk id="463" creationId="{358F8B2F-70E3-49A7-F3CB-F426995F8C3C}"/>
          </ac:spMkLst>
        </pc:spChg>
        <pc:spChg chg="add del mod">
          <ac:chgData name="Steiner Andreas 6206 ED" userId="e6377c33-a923-4f14-8587-531c474c7b48" providerId="ADAL" clId="{6ECD27E6-B224-41CD-B4E0-E297462320DD}" dt="2023-11-24T08:47:36.100" v="70358"/>
          <ac:spMkLst>
            <pc:docMk/>
            <pc:sldMk cId="1127354295" sldId="2147478564"/>
            <ac:spMk id="464" creationId="{D0DF8447-17E8-4BBD-18D4-2678B2C2CB2A}"/>
          </ac:spMkLst>
        </pc:spChg>
        <pc:spChg chg="add del mod">
          <ac:chgData name="Steiner Andreas 6206 ED" userId="e6377c33-a923-4f14-8587-531c474c7b48" providerId="ADAL" clId="{6ECD27E6-B224-41CD-B4E0-E297462320DD}" dt="2023-11-24T08:47:38.209" v="70513"/>
          <ac:spMkLst>
            <pc:docMk/>
            <pc:sldMk cId="1127354295" sldId="2147478564"/>
            <ac:spMk id="465" creationId="{D6BC1986-89ED-28CB-49AB-4FFBC81B54C0}"/>
          </ac:spMkLst>
        </pc:spChg>
        <pc:spChg chg="add del mod">
          <ac:chgData name="Steiner Andreas 6206 ED" userId="e6377c33-a923-4f14-8587-531c474c7b48" providerId="ADAL" clId="{6ECD27E6-B224-41CD-B4E0-E297462320DD}" dt="2023-11-24T08:47:40.292" v="70668"/>
          <ac:spMkLst>
            <pc:docMk/>
            <pc:sldMk cId="1127354295" sldId="2147478564"/>
            <ac:spMk id="466" creationId="{35E80CA3-0588-F340-7D8E-1B00E4EB90E2}"/>
          </ac:spMkLst>
        </pc:spChg>
        <pc:spChg chg="add del mod">
          <ac:chgData name="Steiner Andreas 6206 ED" userId="e6377c33-a923-4f14-8587-531c474c7b48" providerId="ADAL" clId="{6ECD27E6-B224-41CD-B4E0-E297462320DD}" dt="2023-11-24T08:47:42.192" v="70823"/>
          <ac:spMkLst>
            <pc:docMk/>
            <pc:sldMk cId="1127354295" sldId="2147478564"/>
            <ac:spMk id="467" creationId="{B2794B51-0F9E-E4C3-6015-FA9541AE2AC6}"/>
          </ac:spMkLst>
        </pc:spChg>
        <pc:spChg chg="add del mod">
          <ac:chgData name="Steiner Andreas 6206 ED" userId="e6377c33-a923-4f14-8587-531c474c7b48" providerId="ADAL" clId="{6ECD27E6-B224-41CD-B4E0-E297462320DD}" dt="2023-11-24T08:47:44.118" v="70978"/>
          <ac:spMkLst>
            <pc:docMk/>
            <pc:sldMk cId="1127354295" sldId="2147478564"/>
            <ac:spMk id="468" creationId="{8D0DCB0F-2516-F735-A441-BB6BEE34F1C5}"/>
          </ac:spMkLst>
        </pc:spChg>
        <pc:spChg chg="add del mod">
          <ac:chgData name="Steiner Andreas 6206 ED" userId="e6377c33-a923-4f14-8587-531c474c7b48" providerId="ADAL" clId="{6ECD27E6-B224-41CD-B4E0-E297462320DD}" dt="2023-11-24T08:47:46.070" v="71133"/>
          <ac:spMkLst>
            <pc:docMk/>
            <pc:sldMk cId="1127354295" sldId="2147478564"/>
            <ac:spMk id="469" creationId="{78ABA6AD-5F6F-CCC0-8098-B97141DADC0F}"/>
          </ac:spMkLst>
        </pc:spChg>
        <pc:spChg chg="add del mod">
          <ac:chgData name="Steiner Andreas 6206 ED" userId="e6377c33-a923-4f14-8587-531c474c7b48" providerId="ADAL" clId="{6ECD27E6-B224-41CD-B4E0-E297462320DD}" dt="2023-11-24T08:47:48.170" v="71288"/>
          <ac:spMkLst>
            <pc:docMk/>
            <pc:sldMk cId="1127354295" sldId="2147478564"/>
            <ac:spMk id="470" creationId="{A8BD441C-F0F3-1182-C679-79721ED0EE0C}"/>
          </ac:spMkLst>
        </pc:spChg>
        <pc:spChg chg="add del mod">
          <ac:chgData name="Steiner Andreas 6206 ED" userId="e6377c33-a923-4f14-8587-531c474c7b48" providerId="ADAL" clId="{6ECD27E6-B224-41CD-B4E0-E297462320DD}" dt="2023-11-24T08:47:50.258" v="71443"/>
          <ac:spMkLst>
            <pc:docMk/>
            <pc:sldMk cId="1127354295" sldId="2147478564"/>
            <ac:spMk id="471" creationId="{2FC18C15-C000-F629-2236-33941169F4A6}"/>
          </ac:spMkLst>
        </pc:spChg>
        <pc:spChg chg="add del mod">
          <ac:chgData name="Steiner Andreas 6206 ED" userId="e6377c33-a923-4f14-8587-531c474c7b48" providerId="ADAL" clId="{6ECD27E6-B224-41CD-B4E0-E297462320DD}" dt="2023-11-24T08:47:52.155" v="71598"/>
          <ac:spMkLst>
            <pc:docMk/>
            <pc:sldMk cId="1127354295" sldId="2147478564"/>
            <ac:spMk id="472" creationId="{F70DC128-3A19-D425-65FD-E4ACBDA6C5D7}"/>
          </ac:spMkLst>
        </pc:spChg>
        <pc:spChg chg="add del mod">
          <ac:chgData name="Steiner Andreas 6206 ED" userId="e6377c33-a923-4f14-8587-531c474c7b48" providerId="ADAL" clId="{6ECD27E6-B224-41CD-B4E0-E297462320DD}" dt="2023-11-24T08:47:54.089" v="71753"/>
          <ac:spMkLst>
            <pc:docMk/>
            <pc:sldMk cId="1127354295" sldId="2147478564"/>
            <ac:spMk id="473" creationId="{3EDE645E-9638-4FBE-B9E0-1FCD14164FB4}"/>
          </ac:spMkLst>
        </pc:spChg>
        <pc:spChg chg="add del mod">
          <ac:chgData name="Steiner Andreas 6206 ED" userId="e6377c33-a923-4f14-8587-531c474c7b48" providerId="ADAL" clId="{6ECD27E6-B224-41CD-B4E0-E297462320DD}" dt="2023-11-24T08:47:55.956" v="71908"/>
          <ac:spMkLst>
            <pc:docMk/>
            <pc:sldMk cId="1127354295" sldId="2147478564"/>
            <ac:spMk id="474" creationId="{14456851-5E21-55B5-5959-98813AC7751D}"/>
          </ac:spMkLst>
        </pc:spChg>
        <pc:spChg chg="add del mod">
          <ac:chgData name="Steiner Andreas 6206 ED" userId="e6377c33-a923-4f14-8587-531c474c7b48" providerId="ADAL" clId="{6ECD27E6-B224-41CD-B4E0-E297462320DD}" dt="2023-11-24T08:47:57.944" v="72063"/>
          <ac:spMkLst>
            <pc:docMk/>
            <pc:sldMk cId="1127354295" sldId="2147478564"/>
            <ac:spMk id="475" creationId="{2EC13442-50E9-CF10-FF7C-5C6CE6FED072}"/>
          </ac:spMkLst>
        </pc:spChg>
        <pc:spChg chg="add del mod">
          <ac:chgData name="Steiner Andreas 6206 ED" userId="e6377c33-a923-4f14-8587-531c474c7b48" providerId="ADAL" clId="{6ECD27E6-B224-41CD-B4E0-E297462320DD}" dt="2023-11-24T08:48:00.082" v="72218"/>
          <ac:spMkLst>
            <pc:docMk/>
            <pc:sldMk cId="1127354295" sldId="2147478564"/>
            <ac:spMk id="476" creationId="{27AAE435-E7E3-7BE4-54FE-C8286AE1BD70}"/>
          </ac:spMkLst>
        </pc:spChg>
        <pc:spChg chg="add del mod">
          <ac:chgData name="Steiner Andreas 6206 ED" userId="e6377c33-a923-4f14-8587-531c474c7b48" providerId="ADAL" clId="{6ECD27E6-B224-41CD-B4E0-E297462320DD}" dt="2023-11-24T08:48:02.219" v="72373"/>
          <ac:spMkLst>
            <pc:docMk/>
            <pc:sldMk cId="1127354295" sldId="2147478564"/>
            <ac:spMk id="477" creationId="{9EDA0675-B86A-7725-93C4-83F9CC2C2950}"/>
          </ac:spMkLst>
        </pc:spChg>
        <pc:spChg chg="add del mod">
          <ac:chgData name="Steiner Andreas 6206 ED" userId="e6377c33-a923-4f14-8587-531c474c7b48" providerId="ADAL" clId="{6ECD27E6-B224-41CD-B4E0-E297462320DD}" dt="2023-11-24T08:48:04.236" v="72528"/>
          <ac:spMkLst>
            <pc:docMk/>
            <pc:sldMk cId="1127354295" sldId="2147478564"/>
            <ac:spMk id="478" creationId="{525DB4D2-3FF4-3A52-B5D1-8778C7BB8BC7}"/>
          </ac:spMkLst>
        </pc:spChg>
        <pc:spChg chg="add del mod">
          <ac:chgData name="Steiner Andreas 6206 ED" userId="e6377c33-a923-4f14-8587-531c474c7b48" providerId="ADAL" clId="{6ECD27E6-B224-41CD-B4E0-E297462320DD}" dt="2023-11-24T08:48:06.494" v="72683"/>
          <ac:spMkLst>
            <pc:docMk/>
            <pc:sldMk cId="1127354295" sldId="2147478564"/>
            <ac:spMk id="479" creationId="{B050F39F-03CD-C96B-3F04-58688436AB34}"/>
          </ac:spMkLst>
        </pc:spChg>
        <pc:spChg chg="add del mod">
          <ac:chgData name="Steiner Andreas 6206 ED" userId="e6377c33-a923-4f14-8587-531c474c7b48" providerId="ADAL" clId="{6ECD27E6-B224-41CD-B4E0-E297462320DD}" dt="2023-11-24T08:48:08.589" v="72838"/>
          <ac:spMkLst>
            <pc:docMk/>
            <pc:sldMk cId="1127354295" sldId="2147478564"/>
            <ac:spMk id="480" creationId="{A2DD6504-1E37-259A-7D4E-2D4AD20769D5}"/>
          </ac:spMkLst>
        </pc:spChg>
        <pc:spChg chg="add del mod">
          <ac:chgData name="Steiner Andreas 6206 ED" userId="e6377c33-a923-4f14-8587-531c474c7b48" providerId="ADAL" clId="{6ECD27E6-B224-41CD-B4E0-E297462320DD}" dt="2023-11-24T08:48:10.695" v="72993"/>
          <ac:spMkLst>
            <pc:docMk/>
            <pc:sldMk cId="1127354295" sldId="2147478564"/>
            <ac:spMk id="481" creationId="{408CAFA4-B5A9-5E83-B0A0-151157AAB2EF}"/>
          </ac:spMkLst>
        </pc:spChg>
        <pc:spChg chg="add del mod">
          <ac:chgData name="Steiner Andreas 6206 ED" userId="e6377c33-a923-4f14-8587-531c474c7b48" providerId="ADAL" clId="{6ECD27E6-B224-41CD-B4E0-E297462320DD}" dt="2023-11-24T08:48:12.617" v="73148"/>
          <ac:spMkLst>
            <pc:docMk/>
            <pc:sldMk cId="1127354295" sldId="2147478564"/>
            <ac:spMk id="482" creationId="{08A4B80F-95B8-8103-B659-AAC03DEC4C62}"/>
          </ac:spMkLst>
        </pc:spChg>
        <pc:spChg chg="add del mod">
          <ac:chgData name="Steiner Andreas 6206 ED" userId="e6377c33-a923-4f14-8587-531c474c7b48" providerId="ADAL" clId="{6ECD27E6-B224-41CD-B4E0-E297462320DD}" dt="2023-11-24T08:48:15.242" v="73303"/>
          <ac:spMkLst>
            <pc:docMk/>
            <pc:sldMk cId="1127354295" sldId="2147478564"/>
            <ac:spMk id="483" creationId="{366D1B8A-81FB-07C9-E90C-13965072496F}"/>
          </ac:spMkLst>
        </pc:spChg>
        <pc:spChg chg="add del mod">
          <ac:chgData name="Steiner Andreas 6206 ED" userId="e6377c33-a923-4f14-8587-531c474c7b48" providerId="ADAL" clId="{6ECD27E6-B224-41CD-B4E0-E297462320DD}" dt="2023-11-24T08:48:18.039" v="73458"/>
          <ac:spMkLst>
            <pc:docMk/>
            <pc:sldMk cId="1127354295" sldId="2147478564"/>
            <ac:spMk id="484" creationId="{0AB8405D-A808-26CE-9552-B4904C64BEFD}"/>
          </ac:spMkLst>
        </pc:spChg>
        <pc:spChg chg="add del mod">
          <ac:chgData name="Steiner Andreas 6206 ED" userId="e6377c33-a923-4f14-8587-531c474c7b48" providerId="ADAL" clId="{6ECD27E6-B224-41CD-B4E0-E297462320DD}" dt="2023-11-24T08:48:20.455" v="73613"/>
          <ac:spMkLst>
            <pc:docMk/>
            <pc:sldMk cId="1127354295" sldId="2147478564"/>
            <ac:spMk id="485" creationId="{74ACE360-142D-1150-26CE-952CB483760F}"/>
          </ac:spMkLst>
        </pc:spChg>
        <pc:spChg chg="add del mod">
          <ac:chgData name="Steiner Andreas 6206 ED" userId="e6377c33-a923-4f14-8587-531c474c7b48" providerId="ADAL" clId="{6ECD27E6-B224-41CD-B4E0-E297462320DD}" dt="2023-11-24T08:48:22.601" v="73768"/>
          <ac:spMkLst>
            <pc:docMk/>
            <pc:sldMk cId="1127354295" sldId="2147478564"/>
            <ac:spMk id="486" creationId="{FDCBB0B9-1FC9-5273-EFE3-065D4AD3203A}"/>
          </ac:spMkLst>
        </pc:spChg>
        <pc:spChg chg="add del mod">
          <ac:chgData name="Steiner Andreas 6206 ED" userId="e6377c33-a923-4f14-8587-531c474c7b48" providerId="ADAL" clId="{6ECD27E6-B224-41CD-B4E0-E297462320DD}" dt="2023-11-24T08:48:24.673" v="73923"/>
          <ac:spMkLst>
            <pc:docMk/>
            <pc:sldMk cId="1127354295" sldId="2147478564"/>
            <ac:spMk id="487" creationId="{9B8B8277-8C02-604C-DA82-3505DED79CFB}"/>
          </ac:spMkLst>
        </pc:spChg>
        <pc:spChg chg="add del mod">
          <ac:chgData name="Steiner Andreas 6206 ED" userId="e6377c33-a923-4f14-8587-531c474c7b48" providerId="ADAL" clId="{6ECD27E6-B224-41CD-B4E0-E297462320DD}" dt="2023-11-24T08:48:26.773" v="74078"/>
          <ac:spMkLst>
            <pc:docMk/>
            <pc:sldMk cId="1127354295" sldId="2147478564"/>
            <ac:spMk id="488" creationId="{45559791-9F45-FFBB-AB83-DE5F10DB77AC}"/>
          </ac:spMkLst>
        </pc:spChg>
        <pc:spChg chg="add del mod">
          <ac:chgData name="Steiner Andreas 6206 ED" userId="e6377c33-a923-4f14-8587-531c474c7b48" providerId="ADAL" clId="{6ECD27E6-B224-41CD-B4E0-E297462320DD}" dt="2023-11-24T08:48:28.765" v="74233"/>
          <ac:spMkLst>
            <pc:docMk/>
            <pc:sldMk cId="1127354295" sldId="2147478564"/>
            <ac:spMk id="489" creationId="{864A9A44-0F24-78E3-EED9-77C61A9C529C}"/>
          </ac:spMkLst>
        </pc:spChg>
        <pc:spChg chg="add del mod">
          <ac:chgData name="Steiner Andreas 6206 ED" userId="e6377c33-a923-4f14-8587-531c474c7b48" providerId="ADAL" clId="{6ECD27E6-B224-41CD-B4E0-E297462320DD}" dt="2023-11-24T08:48:30.640" v="74388"/>
          <ac:spMkLst>
            <pc:docMk/>
            <pc:sldMk cId="1127354295" sldId="2147478564"/>
            <ac:spMk id="490" creationId="{B9F22ACE-DA95-821F-3AAF-9DB3BAF1EE5B}"/>
          </ac:spMkLst>
        </pc:spChg>
        <pc:spChg chg="add del mod">
          <ac:chgData name="Steiner Andreas 6206 ED" userId="e6377c33-a923-4f14-8587-531c474c7b48" providerId="ADAL" clId="{6ECD27E6-B224-41CD-B4E0-E297462320DD}" dt="2023-11-24T08:48:32.626" v="74543"/>
          <ac:spMkLst>
            <pc:docMk/>
            <pc:sldMk cId="1127354295" sldId="2147478564"/>
            <ac:spMk id="491" creationId="{A5981F89-9FA3-63AF-93BB-A5C3F1FC06BA}"/>
          </ac:spMkLst>
        </pc:spChg>
        <pc:spChg chg="add del mod">
          <ac:chgData name="Steiner Andreas 6206 ED" userId="e6377c33-a923-4f14-8587-531c474c7b48" providerId="ADAL" clId="{6ECD27E6-B224-41CD-B4E0-E297462320DD}" dt="2023-11-24T08:48:34.906" v="74698"/>
          <ac:spMkLst>
            <pc:docMk/>
            <pc:sldMk cId="1127354295" sldId="2147478564"/>
            <ac:spMk id="492" creationId="{D439006D-207D-3C19-CFC6-6B4006FC168C}"/>
          </ac:spMkLst>
        </pc:spChg>
        <pc:spChg chg="add del mod">
          <ac:chgData name="Steiner Andreas 6206 ED" userId="e6377c33-a923-4f14-8587-531c474c7b48" providerId="ADAL" clId="{6ECD27E6-B224-41CD-B4E0-E297462320DD}" dt="2023-11-24T08:48:37.043" v="74853"/>
          <ac:spMkLst>
            <pc:docMk/>
            <pc:sldMk cId="1127354295" sldId="2147478564"/>
            <ac:spMk id="493" creationId="{B6F50A82-0069-ECC5-147B-38C31CE29836}"/>
          </ac:spMkLst>
        </pc:spChg>
        <pc:spChg chg="add del mod">
          <ac:chgData name="Steiner Andreas 6206 ED" userId="e6377c33-a923-4f14-8587-531c474c7b48" providerId="ADAL" clId="{6ECD27E6-B224-41CD-B4E0-E297462320DD}" dt="2023-11-24T08:48:39.097" v="75008"/>
          <ac:spMkLst>
            <pc:docMk/>
            <pc:sldMk cId="1127354295" sldId="2147478564"/>
            <ac:spMk id="494" creationId="{8837522E-0BD6-B5AC-D9E1-47D42EA86EB6}"/>
          </ac:spMkLst>
        </pc:spChg>
        <pc:spChg chg="add del mod">
          <ac:chgData name="Steiner Andreas 6206 ED" userId="e6377c33-a923-4f14-8587-531c474c7b48" providerId="ADAL" clId="{6ECD27E6-B224-41CD-B4E0-E297462320DD}" dt="2023-11-24T08:48:41.302" v="75163"/>
          <ac:spMkLst>
            <pc:docMk/>
            <pc:sldMk cId="1127354295" sldId="2147478564"/>
            <ac:spMk id="495" creationId="{A9FB5F2D-2811-88DF-C814-8E6332423738}"/>
          </ac:spMkLst>
        </pc:spChg>
        <pc:spChg chg="add del mod">
          <ac:chgData name="Steiner Andreas 6206 ED" userId="e6377c33-a923-4f14-8587-531c474c7b48" providerId="ADAL" clId="{6ECD27E6-B224-41CD-B4E0-E297462320DD}" dt="2023-11-24T08:48:43.709" v="75318"/>
          <ac:spMkLst>
            <pc:docMk/>
            <pc:sldMk cId="1127354295" sldId="2147478564"/>
            <ac:spMk id="496" creationId="{13723BAA-36D5-EFCE-9AF6-A9BDC5810148}"/>
          </ac:spMkLst>
        </pc:spChg>
        <pc:spChg chg="add del mod">
          <ac:chgData name="Steiner Andreas 6206 ED" userId="e6377c33-a923-4f14-8587-531c474c7b48" providerId="ADAL" clId="{6ECD27E6-B224-41CD-B4E0-E297462320DD}" dt="2023-11-24T08:48:46.010" v="75473"/>
          <ac:spMkLst>
            <pc:docMk/>
            <pc:sldMk cId="1127354295" sldId="2147478564"/>
            <ac:spMk id="497" creationId="{ACA31F41-9D9D-903C-3CAB-32D52B6572A9}"/>
          </ac:spMkLst>
        </pc:spChg>
        <pc:spChg chg="add del mod">
          <ac:chgData name="Steiner Andreas 6206 ED" userId="e6377c33-a923-4f14-8587-531c474c7b48" providerId="ADAL" clId="{6ECD27E6-B224-41CD-B4E0-E297462320DD}" dt="2023-11-24T08:48:48.003" v="75628"/>
          <ac:spMkLst>
            <pc:docMk/>
            <pc:sldMk cId="1127354295" sldId="2147478564"/>
            <ac:spMk id="498" creationId="{6A81D7D9-C827-3176-F72D-8785CB4C1577}"/>
          </ac:spMkLst>
        </pc:spChg>
        <pc:spChg chg="add del mod">
          <ac:chgData name="Steiner Andreas 6206 ED" userId="e6377c33-a923-4f14-8587-531c474c7b48" providerId="ADAL" clId="{6ECD27E6-B224-41CD-B4E0-E297462320DD}" dt="2023-11-24T08:48:50.027" v="75783"/>
          <ac:spMkLst>
            <pc:docMk/>
            <pc:sldMk cId="1127354295" sldId="2147478564"/>
            <ac:spMk id="499" creationId="{9FF74BE0-781B-B87B-F11D-6CFABA46FD9C}"/>
          </ac:spMkLst>
        </pc:spChg>
        <pc:spChg chg="add del mod">
          <ac:chgData name="Steiner Andreas 6206 ED" userId="e6377c33-a923-4f14-8587-531c474c7b48" providerId="ADAL" clId="{6ECD27E6-B224-41CD-B4E0-E297462320DD}" dt="2023-11-24T08:48:52.234" v="75938"/>
          <ac:spMkLst>
            <pc:docMk/>
            <pc:sldMk cId="1127354295" sldId="2147478564"/>
            <ac:spMk id="500" creationId="{B856FFA4-7767-D0D5-29A2-363EAF069A10}"/>
          </ac:spMkLst>
        </pc:spChg>
        <pc:spChg chg="add del mod">
          <ac:chgData name="Steiner Andreas 6206 ED" userId="e6377c33-a923-4f14-8587-531c474c7b48" providerId="ADAL" clId="{6ECD27E6-B224-41CD-B4E0-E297462320DD}" dt="2023-11-24T08:48:54.103" v="76093"/>
          <ac:spMkLst>
            <pc:docMk/>
            <pc:sldMk cId="1127354295" sldId="2147478564"/>
            <ac:spMk id="501" creationId="{542547E8-7891-50FB-FAFC-AEE8A03C1EB8}"/>
          </ac:spMkLst>
        </pc:spChg>
        <pc:spChg chg="add del mod">
          <ac:chgData name="Steiner Andreas 6206 ED" userId="e6377c33-a923-4f14-8587-531c474c7b48" providerId="ADAL" clId="{6ECD27E6-B224-41CD-B4E0-E297462320DD}" dt="2023-11-24T08:48:56.127" v="76248"/>
          <ac:spMkLst>
            <pc:docMk/>
            <pc:sldMk cId="1127354295" sldId="2147478564"/>
            <ac:spMk id="502" creationId="{EDFD9F44-D2DD-34EA-B0DB-F239A138D3AE}"/>
          </ac:spMkLst>
        </pc:spChg>
        <pc:spChg chg="add del mod">
          <ac:chgData name="Steiner Andreas 6206 ED" userId="e6377c33-a923-4f14-8587-531c474c7b48" providerId="ADAL" clId="{6ECD27E6-B224-41CD-B4E0-E297462320DD}" dt="2023-11-24T08:48:58.052" v="76403"/>
          <ac:spMkLst>
            <pc:docMk/>
            <pc:sldMk cId="1127354295" sldId="2147478564"/>
            <ac:spMk id="503" creationId="{E5C4AC1D-E0A9-CE2C-0AEF-D0BF5F38685C}"/>
          </ac:spMkLst>
        </pc:spChg>
        <pc:spChg chg="add del mod">
          <ac:chgData name="Steiner Andreas 6206 ED" userId="e6377c33-a923-4f14-8587-531c474c7b48" providerId="ADAL" clId="{6ECD27E6-B224-41CD-B4E0-E297462320DD}" dt="2023-11-24T08:49:00.123" v="76558"/>
          <ac:spMkLst>
            <pc:docMk/>
            <pc:sldMk cId="1127354295" sldId="2147478564"/>
            <ac:spMk id="504" creationId="{3484E9BE-2875-8BA9-2620-0D1392100118}"/>
          </ac:spMkLst>
        </pc:spChg>
        <pc:spChg chg="add del mod">
          <ac:chgData name="Steiner Andreas 6206 ED" userId="e6377c33-a923-4f14-8587-531c474c7b48" providerId="ADAL" clId="{6ECD27E6-B224-41CD-B4E0-E297462320DD}" dt="2023-11-24T08:49:02.081" v="76713"/>
          <ac:spMkLst>
            <pc:docMk/>
            <pc:sldMk cId="1127354295" sldId="2147478564"/>
            <ac:spMk id="505" creationId="{CA6791E8-20AC-3322-4C69-2A75FD40340C}"/>
          </ac:spMkLst>
        </pc:spChg>
        <pc:spChg chg="add del mod">
          <ac:chgData name="Steiner Andreas 6206 ED" userId="e6377c33-a923-4f14-8587-531c474c7b48" providerId="ADAL" clId="{6ECD27E6-B224-41CD-B4E0-E297462320DD}" dt="2023-11-24T08:49:04.049" v="76868"/>
          <ac:spMkLst>
            <pc:docMk/>
            <pc:sldMk cId="1127354295" sldId="2147478564"/>
            <ac:spMk id="506" creationId="{DBFFDAC0-8DA7-8573-C20F-62D778B8B6AB}"/>
          </ac:spMkLst>
        </pc:spChg>
        <pc:spChg chg="add del mod">
          <ac:chgData name="Steiner Andreas 6206 ED" userId="e6377c33-a923-4f14-8587-531c474c7b48" providerId="ADAL" clId="{6ECD27E6-B224-41CD-B4E0-E297462320DD}" dt="2023-11-24T08:49:05.954" v="77023"/>
          <ac:spMkLst>
            <pc:docMk/>
            <pc:sldMk cId="1127354295" sldId="2147478564"/>
            <ac:spMk id="507" creationId="{662D109D-C175-0B87-AEDF-C6142463BFD3}"/>
          </ac:spMkLst>
        </pc:spChg>
        <pc:spChg chg="add del mod">
          <ac:chgData name="Steiner Andreas 6206 ED" userId="e6377c33-a923-4f14-8587-531c474c7b48" providerId="ADAL" clId="{6ECD27E6-B224-41CD-B4E0-E297462320DD}" dt="2023-11-24T08:49:08.052" v="77178"/>
          <ac:spMkLst>
            <pc:docMk/>
            <pc:sldMk cId="1127354295" sldId="2147478564"/>
            <ac:spMk id="508" creationId="{D975525E-3F9F-7B0B-FAB3-BE462919926D}"/>
          </ac:spMkLst>
        </pc:spChg>
        <pc:spChg chg="add del mod">
          <ac:chgData name="Steiner Andreas 6206 ED" userId="e6377c33-a923-4f14-8587-531c474c7b48" providerId="ADAL" clId="{6ECD27E6-B224-41CD-B4E0-E297462320DD}" dt="2023-11-24T08:49:09.942" v="77333"/>
          <ac:spMkLst>
            <pc:docMk/>
            <pc:sldMk cId="1127354295" sldId="2147478564"/>
            <ac:spMk id="509" creationId="{5A10D04E-F2E7-5036-D986-7DBBA42873E0}"/>
          </ac:spMkLst>
        </pc:spChg>
        <pc:spChg chg="add del mod">
          <ac:chgData name="Steiner Andreas 6206 ED" userId="e6377c33-a923-4f14-8587-531c474c7b48" providerId="ADAL" clId="{6ECD27E6-B224-41CD-B4E0-E297462320DD}" dt="2023-11-24T08:49:11.717" v="77488"/>
          <ac:spMkLst>
            <pc:docMk/>
            <pc:sldMk cId="1127354295" sldId="2147478564"/>
            <ac:spMk id="510" creationId="{8F4FA7E5-765B-F62E-8B0E-B207C5723046}"/>
          </ac:spMkLst>
        </pc:spChg>
        <pc:spChg chg="add del mod">
          <ac:chgData name="Steiner Andreas 6206 ED" userId="e6377c33-a923-4f14-8587-531c474c7b48" providerId="ADAL" clId="{6ECD27E6-B224-41CD-B4E0-E297462320DD}" dt="2023-11-24T08:49:13.837" v="77643"/>
          <ac:spMkLst>
            <pc:docMk/>
            <pc:sldMk cId="1127354295" sldId="2147478564"/>
            <ac:spMk id="511" creationId="{8CE612B8-2E51-AB49-6406-E91B1929A777}"/>
          </ac:spMkLst>
        </pc:spChg>
        <pc:spChg chg="add del mod">
          <ac:chgData name="Steiner Andreas 6206 ED" userId="e6377c33-a923-4f14-8587-531c474c7b48" providerId="ADAL" clId="{6ECD27E6-B224-41CD-B4E0-E297462320DD}" dt="2023-11-24T08:49:15.808" v="77798"/>
          <ac:spMkLst>
            <pc:docMk/>
            <pc:sldMk cId="1127354295" sldId="2147478564"/>
            <ac:spMk id="512" creationId="{5D6C7986-C2B8-BCB8-38CE-0BDB69CDAA21}"/>
          </ac:spMkLst>
        </pc:spChg>
        <pc:spChg chg="add del mod">
          <ac:chgData name="Steiner Andreas 6206 ED" userId="e6377c33-a923-4f14-8587-531c474c7b48" providerId="ADAL" clId="{6ECD27E6-B224-41CD-B4E0-E297462320DD}" dt="2023-11-24T08:49:17.874" v="77953"/>
          <ac:spMkLst>
            <pc:docMk/>
            <pc:sldMk cId="1127354295" sldId="2147478564"/>
            <ac:spMk id="513" creationId="{A4577EFF-B285-D355-D595-E610BD537C68}"/>
          </ac:spMkLst>
        </pc:spChg>
        <pc:spChg chg="add del mod">
          <ac:chgData name="Steiner Andreas 6206 ED" userId="e6377c33-a923-4f14-8587-531c474c7b48" providerId="ADAL" clId="{6ECD27E6-B224-41CD-B4E0-E297462320DD}" dt="2023-11-24T08:49:19.889" v="78108"/>
          <ac:spMkLst>
            <pc:docMk/>
            <pc:sldMk cId="1127354295" sldId="2147478564"/>
            <ac:spMk id="514" creationId="{8BAC2D7E-E98D-ABCD-0D04-1B1A144B1655}"/>
          </ac:spMkLst>
        </pc:spChg>
        <pc:spChg chg="add del mod">
          <ac:chgData name="Steiner Andreas 6206 ED" userId="e6377c33-a923-4f14-8587-531c474c7b48" providerId="ADAL" clId="{6ECD27E6-B224-41CD-B4E0-E297462320DD}" dt="2023-11-24T08:49:21.767" v="78263"/>
          <ac:spMkLst>
            <pc:docMk/>
            <pc:sldMk cId="1127354295" sldId="2147478564"/>
            <ac:spMk id="515" creationId="{8C0A7C5C-79C5-32C5-160F-1B76FE25D6AC}"/>
          </ac:spMkLst>
        </pc:spChg>
        <pc:spChg chg="add del mod">
          <ac:chgData name="Steiner Andreas 6206 ED" userId="e6377c33-a923-4f14-8587-531c474c7b48" providerId="ADAL" clId="{6ECD27E6-B224-41CD-B4E0-E297462320DD}" dt="2023-11-24T08:49:23.696" v="78418"/>
          <ac:spMkLst>
            <pc:docMk/>
            <pc:sldMk cId="1127354295" sldId="2147478564"/>
            <ac:spMk id="516" creationId="{02D8CCFF-8BA2-7D04-E531-C14077EBFD33}"/>
          </ac:spMkLst>
        </pc:spChg>
        <pc:spChg chg="add del mod">
          <ac:chgData name="Steiner Andreas 6206 ED" userId="e6377c33-a923-4f14-8587-531c474c7b48" providerId="ADAL" clId="{6ECD27E6-B224-41CD-B4E0-E297462320DD}" dt="2023-11-24T08:49:25.574" v="78573"/>
          <ac:spMkLst>
            <pc:docMk/>
            <pc:sldMk cId="1127354295" sldId="2147478564"/>
            <ac:spMk id="517" creationId="{9D1D0FDC-C668-66F1-F19B-E4B722488810}"/>
          </ac:spMkLst>
        </pc:spChg>
        <pc:spChg chg="add del mod">
          <ac:chgData name="Steiner Andreas 6206 ED" userId="e6377c33-a923-4f14-8587-531c474c7b48" providerId="ADAL" clId="{6ECD27E6-B224-41CD-B4E0-E297462320DD}" dt="2023-11-24T08:49:27.651" v="78728"/>
          <ac:spMkLst>
            <pc:docMk/>
            <pc:sldMk cId="1127354295" sldId="2147478564"/>
            <ac:spMk id="518" creationId="{DACC7B82-E978-02F6-4F03-33D9FAFCDC2E}"/>
          </ac:spMkLst>
        </pc:spChg>
        <pc:spChg chg="add del mod">
          <ac:chgData name="Steiner Andreas 6206 ED" userId="e6377c33-a923-4f14-8587-531c474c7b48" providerId="ADAL" clId="{6ECD27E6-B224-41CD-B4E0-E297462320DD}" dt="2023-11-24T08:49:29.694" v="78883"/>
          <ac:spMkLst>
            <pc:docMk/>
            <pc:sldMk cId="1127354295" sldId="2147478564"/>
            <ac:spMk id="519" creationId="{81291EBB-8CF6-72A5-3AB5-BA6B5DD2987A}"/>
          </ac:spMkLst>
        </pc:spChg>
        <pc:spChg chg="add del mod">
          <ac:chgData name="Steiner Andreas 6206 ED" userId="e6377c33-a923-4f14-8587-531c474c7b48" providerId="ADAL" clId="{6ECD27E6-B224-41CD-B4E0-E297462320DD}" dt="2023-11-24T08:49:31.588" v="79038"/>
          <ac:spMkLst>
            <pc:docMk/>
            <pc:sldMk cId="1127354295" sldId="2147478564"/>
            <ac:spMk id="520" creationId="{D0469A24-3848-D0E3-805D-114C999E2631}"/>
          </ac:spMkLst>
        </pc:spChg>
        <pc:spChg chg="add del mod">
          <ac:chgData name="Steiner Andreas 6206 ED" userId="e6377c33-a923-4f14-8587-531c474c7b48" providerId="ADAL" clId="{6ECD27E6-B224-41CD-B4E0-E297462320DD}" dt="2023-11-24T08:49:33.503" v="79193"/>
          <ac:spMkLst>
            <pc:docMk/>
            <pc:sldMk cId="1127354295" sldId="2147478564"/>
            <ac:spMk id="521" creationId="{291065DB-F8CA-A872-2F25-4B752E9A4545}"/>
          </ac:spMkLst>
        </pc:spChg>
        <pc:spChg chg="add del mod">
          <ac:chgData name="Steiner Andreas 6206 ED" userId="e6377c33-a923-4f14-8587-531c474c7b48" providerId="ADAL" clId="{6ECD27E6-B224-41CD-B4E0-E297462320DD}" dt="2023-11-24T08:49:35.396" v="79348"/>
          <ac:spMkLst>
            <pc:docMk/>
            <pc:sldMk cId="1127354295" sldId="2147478564"/>
            <ac:spMk id="522" creationId="{CB94B81C-A87B-8141-8F34-D847538B69C6}"/>
          </ac:spMkLst>
        </pc:spChg>
        <pc:spChg chg="add del mod">
          <ac:chgData name="Steiner Andreas 6206 ED" userId="e6377c33-a923-4f14-8587-531c474c7b48" providerId="ADAL" clId="{6ECD27E6-B224-41CD-B4E0-E297462320DD}" dt="2023-11-24T08:49:37.238" v="79503"/>
          <ac:spMkLst>
            <pc:docMk/>
            <pc:sldMk cId="1127354295" sldId="2147478564"/>
            <ac:spMk id="523" creationId="{3DF82ACE-D24E-2A85-CB56-C5F79B581C1C}"/>
          </ac:spMkLst>
        </pc:spChg>
        <pc:spChg chg="add del mod">
          <ac:chgData name="Steiner Andreas 6206 ED" userId="e6377c33-a923-4f14-8587-531c474c7b48" providerId="ADAL" clId="{6ECD27E6-B224-41CD-B4E0-E297462320DD}" dt="2023-11-24T08:49:39.188" v="79658"/>
          <ac:spMkLst>
            <pc:docMk/>
            <pc:sldMk cId="1127354295" sldId="2147478564"/>
            <ac:spMk id="524" creationId="{4C28D28F-8B60-4F7D-FA33-898199C876D7}"/>
          </ac:spMkLst>
        </pc:spChg>
        <pc:spChg chg="add del mod">
          <ac:chgData name="Steiner Andreas 6206 ED" userId="e6377c33-a923-4f14-8587-531c474c7b48" providerId="ADAL" clId="{6ECD27E6-B224-41CD-B4E0-E297462320DD}" dt="2023-11-24T08:49:41.304" v="79813"/>
          <ac:spMkLst>
            <pc:docMk/>
            <pc:sldMk cId="1127354295" sldId="2147478564"/>
            <ac:spMk id="525" creationId="{1F71EC05-5C4F-6F46-4EAB-BF7B8D4611BC}"/>
          </ac:spMkLst>
        </pc:spChg>
        <pc:spChg chg="add del mod">
          <ac:chgData name="Steiner Andreas 6206 ED" userId="e6377c33-a923-4f14-8587-531c474c7b48" providerId="ADAL" clId="{6ECD27E6-B224-41CD-B4E0-E297462320DD}" dt="2023-11-24T08:49:43.199" v="79968"/>
          <ac:spMkLst>
            <pc:docMk/>
            <pc:sldMk cId="1127354295" sldId="2147478564"/>
            <ac:spMk id="526" creationId="{BB4AFDA4-6CD3-57DA-E9EB-1703C8C602F0}"/>
          </ac:spMkLst>
        </pc:spChg>
        <pc:spChg chg="add del mod">
          <ac:chgData name="Steiner Andreas 6206 ED" userId="e6377c33-a923-4f14-8587-531c474c7b48" providerId="ADAL" clId="{6ECD27E6-B224-41CD-B4E0-E297462320DD}" dt="2023-11-24T08:49:45.139" v="80123"/>
          <ac:spMkLst>
            <pc:docMk/>
            <pc:sldMk cId="1127354295" sldId="2147478564"/>
            <ac:spMk id="527" creationId="{131CA428-0C73-46EC-B37E-D7ABD30863A3}"/>
          </ac:spMkLst>
        </pc:spChg>
        <pc:spChg chg="add del mod">
          <ac:chgData name="Steiner Andreas 6206 ED" userId="e6377c33-a923-4f14-8587-531c474c7b48" providerId="ADAL" clId="{6ECD27E6-B224-41CD-B4E0-E297462320DD}" dt="2023-11-24T08:49:47.105" v="80278"/>
          <ac:spMkLst>
            <pc:docMk/>
            <pc:sldMk cId="1127354295" sldId="2147478564"/>
            <ac:spMk id="528" creationId="{27F69360-13CA-81D5-E828-FB9AE7158F06}"/>
          </ac:spMkLst>
        </pc:spChg>
        <pc:spChg chg="add del mod">
          <ac:chgData name="Steiner Andreas 6206 ED" userId="e6377c33-a923-4f14-8587-531c474c7b48" providerId="ADAL" clId="{6ECD27E6-B224-41CD-B4E0-E297462320DD}" dt="2023-11-24T08:49:49.002" v="80433"/>
          <ac:spMkLst>
            <pc:docMk/>
            <pc:sldMk cId="1127354295" sldId="2147478564"/>
            <ac:spMk id="529" creationId="{F02CB8FA-9551-E90C-9C7A-8076AFAC091C}"/>
          </ac:spMkLst>
        </pc:spChg>
        <pc:spChg chg="add del mod">
          <ac:chgData name="Steiner Andreas 6206 ED" userId="e6377c33-a923-4f14-8587-531c474c7b48" providerId="ADAL" clId="{6ECD27E6-B224-41CD-B4E0-E297462320DD}" dt="2023-11-24T08:49:50.873" v="80588"/>
          <ac:spMkLst>
            <pc:docMk/>
            <pc:sldMk cId="1127354295" sldId="2147478564"/>
            <ac:spMk id="530" creationId="{86502F01-D8C6-F042-24B0-692FF4869CA4}"/>
          </ac:spMkLst>
        </pc:spChg>
        <pc:spChg chg="add del mod">
          <ac:chgData name="Steiner Andreas 6206 ED" userId="e6377c33-a923-4f14-8587-531c474c7b48" providerId="ADAL" clId="{6ECD27E6-B224-41CD-B4E0-E297462320DD}" dt="2023-11-24T08:49:52.794" v="80743"/>
          <ac:spMkLst>
            <pc:docMk/>
            <pc:sldMk cId="1127354295" sldId="2147478564"/>
            <ac:spMk id="531" creationId="{5031138F-85BA-192A-44F5-8537D7AFC338}"/>
          </ac:spMkLst>
        </pc:spChg>
        <pc:spChg chg="add del mod">
          <ac:chgData name="Steiner Andreas 6206 ED" userId="e6377c33-a923-4f14-8587-531c474c7b48" providerId="ADAL" clId="{6ECD27E6-B224-41CD-B4E0-E297462320DD}" dt="2023-11-24T08:49:54.727" v="80898"/>
          <ac:spMkLst>
            <pc:docMk/>
            <pc:sldMk cId="1127354295" sldId="2147478564"/>
            <ac:spMk id="532" creationId="{2FF1DDBA-4898-5C48-ECAF-11986B8C47A8}"/>
          </ac:spMkLst>
        </pc:spChg>
        <pc:spChg chg="add del mod">
          <ac:chgData name="Steiner Andreas 6206 ED" userId="e6377c33-a923-4f14-8587-531c474c7b48" providerId="ADAL" clId="{6ECD27E6-B224-41CD-B4E0-E297462320DD}" dt="2023-11-24T08:49:56.595" v="81053"/>
          <ac:spMkLst>
            <pc:docMk/>
            <pc:sldMk cId="1127354295" sldId="2147478564"/>
            <ac:spMk id="533" creationId="{984E76E3-846F-5E98-1353-A91E70AA80C1}"/>
          </ac:spMkLst>
        </pc:spChg>
        <pc:spChg chg="add del mod">
          <ac:chgData name="Steiner Andreas 6206 ED" userId="e6377c33-a923-4f14-8587-531c474c7b48" providerId="ADAL" clId="{6ECD27E6-B224-41CD-B4E0-E297462320DD}" dt="2023-11-24T08:49:58.499" v="81208"/>
          <ac:spMkLst>
            <pc:docMk/>
            <pc:sldMk cId="1127354295" sldId="2147478564"/>
            <ac:spMk id="534" creationId="{63A5EA7C-48B1-94D9-2A63-40F70CC85D86}"/>
          </ac:spMkLst>
        </pc:spChg>
        <pc:spChg chg="add del mod">
          <ac:chgData name="Steiner Andreas 6206 ED" userId="e6377c33-a923-4f14-8587-531c474c7b48" providerId="ADAL" clId="{6ECD27E6-B224-41CD-B4E0-E297462320DD}" dt="2023-11-24T08:50:00.421" v="81363"/>
          <ac:spMkLst>
            <pc:docMk/>
            <pc:sldMk cId="1127354295" sldId="2147478564"/>
            <ac:spMk id="535" creationId="{F843DC72-D76D-32E4-F501-EA1F9DF083C8}"/>
          </ac:spMkLst>
        </pc:spChg>
        <pc:spChg chg="add del mod">
          <ac:chgData name="Steiner Andreas 6206 ED" userId="e6377c33-a923-4f14-8587-531c474c7b48" providerId="ADAL" clId="{6ECD27E6-B224-41CD-B4E0-E297462320DD}" dt="2023-11-24T08:50:02.512" v="81518"/>
          <ac:spMkLst>
            <pc:docMk/>
            <pc:sldMk cId="1127354295" sldId="2147478564"/>
            <ac:spMk id="536" creationId="{DDFEDA41-E65B-95C4-6EE7-F1E1D099ECDD}"/>
          </ac:spMkLst>
        </pc:spChg>
        <pc:spChg chg="add del mod">
          <ac:chgData name="Steiner Andreas 6206 ED" userId="e6377c33-a923-4f14-8587-531c474c7b48" providerId="ADAL" clId="{6ECD27E6-B224-41CD-B4E0-E297462320DD}" dt="2023-11-24T08:50:04.572" v="81673"/>
          <ac:spMkLst>
            <pc:docMk/>
            <pc:sldMk cId="1127354295" sldId="2147478564"/>
            <ac:spMk id="537" creationId="{4916CBCB-9AE4-1F58-C678-7159ED6A6631}"/>
          </ac:spMkLst>
        </pc:spChg>
        <pc:spChg chg="add del mod">
          <ac:chgData name="Steiner Andreas 6206 ED" userId="e6377c33-a923-4f14-8587-531c474c7b48" providerId="ADAL" clId="{6ECD27E6-B224-41CD-B4E0-E297462320DD}" dt="2023-11-24T08:50:06.509" v="81828"/>
          <ac:spMkLst>
            <pc:docMk/>
            <pc:sldMk cId="1127354295" sldId="2147478564"/>
            <ac:spMk id="538" creationId="{D19FF154-0400-49FF-849B-9EB4867A6FF0}"/>
          </ac:spMkLst>
        </pc:spChg>
        <pc:spChg chg="add del mod">
          <ac:chgData name="Steiner Andreas 6206 ED" userId="e6377c33-a923-4f14-8587-531c474c7b48" providerId="ADAL" clId="{6ECD27E6-B224-41CD-B4E0-E297462320DD}" dt="2023-11-24T08:50:08.380" v="81983"/>
          <ac:spMkLst>
            <pc:docMk/>
            <pc:sldMk cId="1127354295" sldId="2147478564"/>
            <ac:spMk id="539" creationId="{963C3201-91A0-2500-4583-A5C369745E12}"/>
          </ac:spMkLst>
        </pc:spChg>
        <pc:spChg chg="add del mod">
          <ac:chgData name="Steiner Andreas 6206 ED" userId="e6377c33-a923-4f14-8587-531c474c7b48" providerId="ADAL" clId="{6ECD27E6-B224-41CD-B4E0-E297462320DD}" dt="2023-11-24T08:50:10.289" v="82138"/>
          <ac:spMkLst>
            <pc:docMk/>
            <pc:sldMk cId="1127354295" sldId="2147478564"/>
            <ac:spMk id="540" creationId="{CBECA4BC-DC59-2DB1-2855-27B1207D5105}"/>
          </ac:spMkLst>
        </pc:spChg>
        <pc:spChg chg="add del mod">
          <ac:chgData name="Steiner Andreas 6206 ED" userId="e6377c33-a923-4f14-8587-531c474c7b48" providerId="ADAL" clId="{6ECD27E6-B224-41CD-B4E0-E297462320DD}" dt="2023-11-24T08:50:12.205" v="82293"/>
          <ac:spMkLst>
            <pc:docMk/>
            <pc:sldMk cId="1127354295" sldId="2147478564"/>
            <ac:spMk id="541" creationId="{788F1BAB-F92C-6551-C705-55183D3DDD64}"/>
          </ac:spMkLst>
        </pc:spChg>
        <pc:spChg chg="add del mod">
          <ac:chgData name="Steiner Andreas 6206 ED" userId="e6377c33-a923-4f14-8587-531c474c7b48" providerId="ADAL" clId="{6ECD27E6-B224-41CD-B4E0-E297462320DD}" dt="2023-11-24T08:50:14.267" v="82448"/>
          <ac:spMkLst>
            <pc:docMk/>
            <pc:sldMk cId="1127354295" sldId="2147478564"/>
            <ac:spMk id="542" creationId="{F1691C36-390C-E535-068A-7602ACDF1AE6}"/>
          </ac:spMkLst>
        </pc:spChg>
        <pc:spChg chg="add del mod">
          <ac:chgData name="Steiner Andreas 6206 ED" userId="e6377c33-a923-4f14-8587-531c474c7b48" providerId="ADAL" clId="{6ECD27E6-B224-41CD-B4E0-E297462320DD}" dt="2023-11-24T08:50:16.206" v="82603"/>
          <ac:spMkLst>
            <pc:docMk/>
            <pc:sldMk cId="1127354295" sldId="2147478564"/>
            <ac:spMk id="543" creationId="{AECB8405-8F3C-E102-8683-CA886EA88128}"/>
          </ac:spMkLst>
        </pc:spChg>
        <pc:spChg chg="add del mod">
          <ac:chgData name="Steiner Andreas 6206 ED" userId="e6377c33-a923-4f14-8587-531c474c7b48" providerId="ADAL" clId="{6ECD27E6-B224-41CD-B4E0-E297462320DD}" dt="2023-11-24T08:50:18.206" v="82758"/>
          <ac:spMkLst>
            <pc:docMk/>
            <pc:sldMk cId="1127354295" sldId="2147478564"/>
            <ac:spMk id="544" creationId="{972BA595-BFFD-AEE8-AD7C-CA35D6726977}"/>
          </ac:spMkLst>
        </pc:spChg>
        <pc:spChg chg="add del mod">
          <ac:chgData name="Steiner Andreas 6206 ED" userId="e6377c33-a923-4f14-8587-531c474c7b48" providerId="ADAL" clId="{6ECD27E6-B224-41CD-B4E0-E297462320DD}" dt="2023-11-24T08:50:20.426" v="82913"/>
          <ac:spMkLst>
            <pc:docMk/>
            <pc:sldMk cId="1127354295" sldId="2147478564"/>
            <ac:spMk id="545" creationId="{C3183B30-AF3E-4164-3B7F-55E3F652AA49}"/>
          </ac:spMkLst>
        </pc:spChg>
        <pc:spChg chg="add del mod">
          <ac:chgData name="Steiner Andreas 6206 ED" userId="e6377c33-a923-4f14-8587-531c474c7b48" providerId="ADAL" clId="{6ECD27E6-B224-41CD-B4E0-E297462320DD}" dt="2023-11-24T08:50:22.341" v="83068"/>
          <ac:spMkLst>
            <pc:docMk/>
            <pc:sldMk cId="1127354295" sldId="2147478564"/>
            <ac:spMk id="546" creationId="{57DC30BF-FACC-6668-6EB8-5A6F4B39FD38}"/>
          </ac:spMkLst>
        </pc:spChg>
        <pc:spChg chg="add del mod">
          <ac:chgData name="Steiner Andreas 6206 ED" userId="e6377c33-a923-4f14-8587-531c474c7b48" providerId="ADAL" clId="{6ECD27E6-B224-41CD-B4E0-E297462320DD}" dt="2023-11-24T08:50:24.468" v="83223"/>
          <ac:spMkLst>
            <pc:docMk/>
            <pc:sldMk cId="1127354295" sldId="2147478564"/>
            <ac:spMk id="547" creationId="{6349A283-F8C9-DB4E-CC9D-16D0048B99F9}"/>
          </ac:spMkLst>
        </pc:spChg>
        <pc:spChg chg="add del mod">
          <ac:chgData name="Steiner Andreas 6206 ED" userId="e6377c33-a923-4f14-8587-531c474c7b48" providerId="ADAL" clId="{6ECD27E6-B224-41CD-B4E0-E297462320DD}" dt="2023-11-24T08:50:26.451" v="83378"/>
          <ac:spMkLst>
            <pc:docMk/>
            <pc:sldMk cId="1127354295" sldId="2147478564"/>
            <ac:spMk id="548" creationId="{EF0FCCC8-7ADF-FA9E-A1ED-17580196C979}"/>
          </ac:spMkLst>
        </pc:spChg>
        <pc:spChg chg="add del mod">
          <ac:chgData name="Steiner Andreas 6206 ED" userId="e6377c33-a923-4f14-8587-531c474c7b48" providerId="ADAL" clId="{6ECD27E6-B224-41CD-B4E0-E297462320DD}" dt="2023-11-24T08:50:28.365" v="83533"/>
          <ac:spMkLst>
            <pc:docMk/>
            <pc:sldMk cId="1127354295" sldId="2147478564"/>
            <ac:spMk id="549" creationId="{A963E108-D7DD-AE23-D87C-5EC2E2C8EDF6}"/>
          </ac:spMkLst>
        </pc:spChg>
        <pc:spChg chg="add del mod">
          <ac:chgData name="Steiner Andreas 6206 ED" userId="e6377c33-a923-4f14-8587-531c474c7b48" providerId="ADAL" clId="{6ECD27E6-B224-41CD-B4E0-E297462320DD}" dt="2023-11-24T08:50:30.281" v="83688"/>
          <ac:spMkLst>
            <pc:docMk/>
            <pc:sldMk cId="1127354295" sldId="2147478564"/>
            <ac:spMk id="550" creationId="{1F18D2EF-E0DA-D127-DC57-8AF24AF0ACF8}"/>
          </ac:spMkLst>
        </pc:spChg>
        <pc:spChg chg="add del mod">
          <ac:chgData name="Steiner Andreas 6206 ED" userId="e6377c33-a923-4f14-8587-531c474c7b48" providerId="ADAL" clId="{6ECD27E6-B224-41CD-B4E0-E297462320DD}" dt="2023-11-24T08:50:32.362" v="83843"/>
          <ac:spMkLst>
            <pc:docMk/>
            <pc:sldMk cId="1127354295" sldId="2147478564"/>
            <ac:spMk id="551" creationId="{5A2FE207-3433-4F7A-C431-FCA31C8D79BD}"/>
          </ac:spMkLst>
        </pc:spChg>
        <pc:spChg chg="add del mod">
          <ac:chgData name="Steiner Andreas 6206 ED" userId="e6377c33-a923-4f14-8587-531c474c7b48" providerId="ADAL" clId="{6ECD27E6-B224-41CD-B4E0-E297462320DD}" dt="2023-11-24T08:50:34.382" v="83998"/>
          <ac:spMkLst>
            <pc:docMk/>
            <pc:sldMk cId="1127354295" sldId="2147478564"/>
            <ac:spMk id="552" creationId="{AEC3763A-FBA6-6211-D527-3CCA1222D72D}"/>
          </ac:spMkLst>
        </pc:spChg>
        <pc:spChg chg="add del mod">
          <ac:chgData name="Steiner Andreas 6206 ED" userId="e6377c33-a923-4f14-8587-531c474c7b48" providerId="ADAL" clId="{6ECD27E6-B224-41CD-B4E0-E297462320DD}" dt="2023-11-24T08:50:36.601" v="84153"/>
          <ac:spMkLst>
            <pc:docMk/>
            <pc:sldMk cId="1127354295" sldId="2147478564"/>
            <ac:spMk id="553" creationId="{029D9A43-E0F2-4973-A1A9-FCE4C97AA267}"/>
          </ac:spMkLst>
        </pc:spChg>
        <pc:spChg chg="add del mod">
          <ac:chgData name="Steiner Andreas 6206 ED" userId="e6377c33-a923-4f14-8587-531c474c7b48" providerId="ADAL" clId="{6ECD27E6-B224-41CD-B4E0-E297462320DD}" dt="2023-11-24T08:50:38.560" v="84308"/>
          <ac:spMkLst>
            <pc:docMk/>
            <pc:sldMk cId="1127354295" sldId="2147478564"/>
            <ac:spMk id="554" creationId="{A430D90C-096A-F849-8707-E2F1C0C9111E}"/>
          </ac:spMkLst>
        </pc:spChg>
        <pc:spChg chg="add del mod">
          <ac:chgData name="Steiner Andreas 6206 ED" userId="e6377c33-a923-4f14-8587-531c474c7b48" providerId="ADAL" clId="{6ECD27E6-B224-41CD-B4E0-E297462320DD}" dt="2023-11-24T08:50:40.548" v="84463"/>
          <ac:spMkLst>
            <pc:docMk/>
            <pc:sldMk cId="1127354295" sldId="2147478564"/>
            <ac:spMk id="555" creationId="{557DC617-ACF7-C563-4AC2-B6A3B6856FE3}"/>
          </ac:spMkLst>
        </pc:spChg>
        <pc:spChg chg="add del mod">
          <ac:chgData name="Steiner Andreas 6206 ED" userId="e6377c33-a923-4f14-8587-531c474c7b48" providerId="ADAL" clId="{6ECD27E6-B224-41CD-B4E0-E297462320DD}" dt="2023-11-24T08:50:42.539" v="84618"/>
          <ac:spMkLst>
            <pc:docMk/>
            <pc:sldMk cId="1127354295" sldId="2147478564"/>
            <ac:spMk id="556" creationId="{AB05F657-B121-AB8A-680A-8D4C7B5093D2}"/>
          </ac:spMkLst>
        </pc:spChg>
        <pc:spChg chg="add del mod">
          <ac:chgData name="Steiner Andreas 6206 ED" userId="e6377c33-a923-4f14-8587-531c474c7b48" providerId="ADAL" clId="{6ECD27E6-B224-41CD-B4E0-E297462320DD}" dt="2023-11-24T08:50:44.732" v="84773"/>
          <ac:spMkLst>
            <pc:docMk/>
            <pc:sldMk cId="1127354295" sldId="2147478564"/>
            <ac:spMk id="557" creationId="{F4E11806-8C72-4844-DAE5-30F298986497}"/>
          </ac:spMkLst>
        </pc:spChg>
        <pc:spChg chg="add del mod">
          <ac:chgData name="Steiner Andreas 6206 ED" userId="e6377c33-a923-4f14-8587-531c474c7b48" providerId="ADAL" clId="{6ECD27E6-B224-41CD-B4E0-E297462320DD}" dt="2023-11-24T08:50:46.834" v="84928"/>
          <ac:spMkLst>
            <pc:docMk/>
            <pc:sldMk cId="1127354295" sldId="2147478564"/>
            <ac:spMk id="558" creationId="{A221716F-DF55-F977-A098-BE7EFF2133A2}"/>
          </ac:spMkLst>
        </pc:spChg>
        <pc:spChg chg="add del mod">
          <ac:chgData name="Steiner Andreas 6206 ED" userId="e6377c33-a923-4f14-8587-531c474c7b48" providerId="ADAL" clId="{6ECD27E6-B224-41CD-B4E0-E297462320DD}" dt="2023-11-24T08:50:48.942" v="85083"/>
          <ac:spMkLst>
            <pc:docMk/>
            <pc:sldMk cId="1127354295" sldId="2147478564"/>
            <ac:spMk id="559" creationId="{552236B0-6B98-EE4B-98FF-967A5877EBD6}"/>
          </ac:spMkLst>
        </pc:spChg>
        <pc:spChg chg="add del mod">
          <ac:chgData name="Steiner Andreas 6206 ED" userId="e6377c33-a923-4f14-8587-531c474c7b48" providerId="ADAL" clId="{6ECD27E6-B224-41CD-B4E0-E297462320DD}" dt="2023-11-24T08:50:51.042" v="85238"/>
          <ac:spMkLst>
            <pc:docMk/>
            <pc:sldMk cId="1127354295" sldId="2147478564"/>
            <ac:spMk id="560" creationId="{819CC7B8-29EA-B648-1D74-35B30DB44B0B}"/>
          </ac:spMkLst>
        </pc:spChg>
        <pc:spChg chg="add del mod">
          <ac:chgData name="Steiner Andreas 6206 ED" userId="e6377c33-a923-4f14-8587-531c474c7b48" providerId="ADAL" clId="{6ECD27E6-B224-41CD-B4E0-E297462320DD}" dt="2023-11-24T08:50:53.151" v="85393"/>
          <ac:spMkLst>
            <pc:docMk/>
            <pc:sldMk cId="1127354295" sldId="2147478564"/>
            <ac:spMk id="561" creationId="{64953C0D-527C-1004-02DF-E980870F3BEB}"/>
          </ac:spMkLst>
        </pc:spChg>
        <pc:spChg chg="add del mod">
          <ac:chgData name="Steiner Andreas 6206 ED" userId="e6377c33-a923-4f14-8587-531c474c7b48" providerId="ADAL" clId="{6ECD27E6-B224-41CD-B4E0-E297462320DD}" dt="2023-11-24T08:50:55.058" v="85548"/>
          <ac:spMkLst>
            <pc:docMk/>
            <pc:sldMk cId="1127354295" sldId="2147478564"/>
            <ac:spMk id="562" creationId="{21353919-DC81-7BEB-7D97-B4AA679E3CD9}"/>
          </ac:spMkLst>
        </pc:spChg>
        <pc:spChg chg="add del mod">
          <ac:chgData name="Steiner Andreas 6206 ED" userId="e6377c33-a923-4f14-8587-531c474c7b48" providerId="ADAL" clId="{6ECD27E6-B224-41CD-B4E0-E297462320DD}" dt="2023-11-24T08:50:56.971" v="85703"/>
          <ac:spMkLst>
            <pc:docMk/>
            <pc:sldMk cId="1127354295" sldId="2147478564"/>
            <ac:spMk id="563" creationId="{52617A12-291A-65AB-127A-13E75224026A}"/>
          </ac:spMkLst>
        </pc:spChg>
        <pc:spChg chg="add del mod">
          <ac:chgData name="Steiner Andreas 6206 ED" userId="e6377c33-a923-4f14-8587-531c474c7b48" providerId="ADAL" clId="{6ECD27E6-B224-41CD-B4E0-E297462320DD}" dt="2023-11-24T08:50:59.170" v="85858"/>
          <ac:spMkLst>
            <pc:docMk/>
            <pc:sldMk cId="1127354295" sldId="2147478564"/>
            <ac:spMk id="564" creationId="{2130D8BB-8D0A-B771-8F3F-CDF4089876E1}"/>
          </ac:spMkLst>
        </pc:spChg>
        <pc:spChg chg="add del mod">
          <ac:chgData name="Steiner Andreas 6206 ED" userId="e6377c33-a923-4f14-8587-531c474c7b48" providerId="ADAL" clId="{6ECD27E6-B224-41CD-B4E0-E297462320DD}" dt="2023-11-24T08:51:01.112" v="86013"/>
          <ac:spMkLst>
            <pc:docMk/>
            <pc:sldMk cId="1127354295" sldId="2147478564"/>
            <ac:spMk id="565" creationId="{2B1CEEB3-C35B-4A27-76D4-D6A4CCE73140}"/>
          </ac:spMkLst>
        </pc:spChg>
        <pc:spChg chg="add del mod">
          <ac:chgData name="Steiner Andreas 6206 ED" userId="e6377c33-a923-4f14-8587-531c474c7b48" providerId="ADAL" clId="{6ECD27E6-B224-41CD-B4E0-E297462320DD}" dt="2023-11-24T08:51:03.093" v="86168"/>
          <ac:spMkLst>
            <pc:docMk/>
            <pc:sldMk cId="1127354295" sldId="2147478564"/>
            <ac:spMk id="566" creationId="{6272CBD4-A6FB-05E0-7157-6A7CF132E2C9}"/>
          </ac:spMkLst>
        </pc:spChg>
        <pc:spChg chg="add del mod">
          <ac:chgData name="Steiner Andreas 6206 ED" userId="e6377c33-a923-4f14-8587-531c474c7b48" providerId="ADAL" clId="{6ECD27E6-B224-41CD-B4E0-E297462320DD}" dt="2023-11-24T08:51:04.955" v="86323"/>
          <ac:spMkLst>
            <pc:docMk/>
            <pc:sldMk cId="1127354295" sldId="2147478564"/>
            <ac:spMk id="567" creationId="{875E857E-CD70-E114-CA84-1D4EB9227E7B}"/>
          </ac:spMkLst>
        </pc:spChg>
        <pc:spChg chg="add del mod">
          <ac:chgData name="Steiner Andreas 6206 ED" userId="e6377c33-a923-4f14-8587-531c474c7b48" providerId="ADAL" clId="{6ECD27E6-B224-41CD-B4E0-E297462320DD}" dt="2023-11-24T08:51:06.854" v="86478"/>
          <ac:spMkLst>
            <pc:docMk/>
            <pc:sldMk cId="1127354295" sldId="2147478564"/>
            <ac:spMk id="568" creationId="{290BCAF1-2AB5-04DE-E136-354F7D7E7A71}"/>
          </ac:spMkLst>
        </pc:spChg>
        <pc:spChg chg="add del mod">
          <ac:chgData name="Steiner Andreas 6206 ED" userId="e6377c33-a923-4f14-8587-531c474c7b48" providerId="ADAL" clId="{6ECD27E6-B224-41CD-B4E0-E297462320DD}" dt="2023-11-24T08:51:08.852" v="86633"/>
          <ac:spMkLst>
            <pc:docMk/>
            <pc:sldMk cId="1127354295" sldId="2147478564"/>
            <ac:spMk id="569" creationId="{F020109E-8A9F-EACA-BA29-23CABEC4372C}"/>
          </ac:spMkLst>
        </pc:spChg>
        <pc:spChg chg="add del mod">
          <ac:chgData name="Steiner Andreas 6206 ED" userId="e6377c33-a923-4f14-8587-531c474c7b48" providerId="ADAL" clId="{6ECD27E6-B224-41CD-B4E0-E297462320DD}" dt="2023-11-24T08:51:10.873" v="86788"/>
          <ac:spMkLst>
            <pc:docMk/>
            <pc:sldMk cId="1127354295" sldId="2147478564"/>
            <ac:spMk id="570" creationId="{1AF9DEBB-F38F-BDB4-546A-B55D3AC4D722}"/>
          </ac:spMkLst>
        </pc:spChg>
        <pc:spChg chg="add del mod">
          <ac:chgData name="Steiner Andreas 6206 ED" userId="e6377c33-a923-4f14-8587-531c474c7b48" providerId="ADAL" clId="{6ECD27E6-B224-41CD-B4E0-E297462320DD}" dt="2023-11-24T08:51:12.786" v="86943"/>
          <ac:spMkLst>
            <pc:docMk/>
            <pc:sldMk cId="1127354295" sldId="2147478564"/>
            <ac:spMk id="571" creationId="{B2631974-C8BA-2F54-A781-E07A5D297F28}"/>
          </ac:spMkLst>
        </pc:spChg>
        <pc:spChg chg="add del mod">
          <ac:chgData name="Steiner Andreas 6206 ED" userId="e6377c33-a923-4f14-8587-531c474c7b48" providerId="ADAL" clId="{6ECD27E6-B224-41CD-B4E0-E297462320DD}" dt="2023-11-24T08:51:14.979" v="87098"/>
          <ac:spMkLst>
            <pc:docMk/>
            <pc:sldMk cId="1127354295" sldId="2147478564"/>
            <ac:spMk id="572" creationId="{C9C2CD14-E20C-F658-4D73-3733D06FD3C3}"/>
          </ac:spMkLst>
        </pc:spChg>
        <pc:spChg chg="add del mod">
          <ac:chgData name="Steiner Andreas 6206 ED" userId="e6377c33-a923-4f14-8587-531c474c7b48" providerId="ADAL" clId="{6ECD27E6-B224-41CD-B4E0-E297462320DD}" dt="2023-11-24T08:51:17.046" v="87253"/>
          <ac:spMkLst>
            <pc:docMk/>
            <pc:sldMk cId="1127354295" sldId="2147478564"/>
            <ac:spMk id="573" creationId="{55EC6BAE-2413-2ABA-50BD-231FC9310F59}"/>
          </ac:spMkLst>
        </pc:spChg>
        <pc:spChg chg="add del mod">
          <ac:chgData name="Steiner Andreas 6206 ED" userId="e6377c33-a923-4f14-8587-531c474c7b48" providerId="ADAL" clId="{6ECD27E6-B224-41CD-B4E0-E297462320DD}" dt="2023-11-24T08:51:18.970" v="87408"/>
          <ac:spMkLst>
            <pc:docMk/>
            <pc:sldMk cId="1127354295" sldId="2147478564"/>
            <ac:spMk id="574" creationId="{C37C50FC-7BD0-956D-A8F3-272799E7B4D2}"/>
          </ac:spMkLst>
        </pc:spChg>
        <pc:spChg chg="add del mod">
          <ac:chgData name="Steiner Andreas 6206 ED" userId="e6377c33-a923-4f14-8587-531c474c7b48" providerId="ADAL" clId="{6ECD27E6-B224-41CD-B4E0-E297462320DD}" dt="2023-11-24T08:51:21.042" v="87563"/>
          <ac:spMkLst>
            <pc:docMk/>
            <pc:sldMk cId="1127354295" sldId="2147478564"/>
            <ac:spMk id="575" creationId="{4CA38EA7-3083-A0D3-2811-22E365CB819D}"/>
          </ac:spMkLst>
        </pc:spChg>
        <pc:spChg chg="add del mod">
          <ac:chgData name="Steiner Andreas 6206 ED" userId="e6377c33-a923-4f14-8587-531c474c7b48" providerId="ADAL" clId="{6ECD27E6-B224-41CD-B4E0-E297462320DD}" dt="2023-11-24T08:51:22.988" v="87718"/>
          <ac:spMkLst>
            <pc:docMk/>
            <pc:sldMk cId="1127354295" sldId="2147478564"/>
            <ac:spMk id="576" creationId="{90EF8248-87E6-A7DE-6B5D-8F799245FE3D}"/>
          </ac:spMkLst>
        </pc:spChg>
        <pc:spChg chg="add del mod">
          <ac:chgData name="Steiner Andreas 6206 ED" userId="e6377c33-a923-4f14-8587-531c474c7b48" providerId="ADAL" clId="{6ECD27E6-B224-41CD-B4E0-E297462320DD}" dt="2023-11-24T08:51:24.880" v="87873"/>
          <ac:spMkLst>
            <pc:docMk/>
            <pc:sldMk cId="1127354295" sldId="2147478564"/>
            <ac:spMk id="577" creationId="{81A7CA04-28D4-4164-4BA4-B868662F8064}"/>
          </ac:spMkLst>
        </pc:spChg>
        <pc:spChg chg="add del mod">
          <ac:chgData name="Steiner Andreas 6206 ED" userId="e6377c33-a923-4f14-8587-531c474c7b48" providerId="ADAL" clId="{6ECD27E6-B224-41CD-B4E0-E297462320DD}" dt="2023-11-24T08:51:26.762" v="88028"/>
          <ac:spMkLst>
            <pc:docMk/>
            <pc:sldMk cId="1127354295" sldId="2147478564"/>
            <ac:spMk id="578" creationId="{F033EAE6-8FF6-B881-C777-261C2DC0BB1F}"/>
          </ac:spMkLst>
        </pc:spChg>
        <pc:spChg chg="add del mod">
          <ac:chgData name="Steiner Andreas 6206 ED" userId="e6377c33-a923-4f14-8587-531c474c7b48" providerId="ADAL" clId="{6ECD27E6-B224-41CD-B4E0-E297462320DD}" dt="2023-11-24T08:51:28.670" v="88183"/>
          <ac:spMkLst>
            <pc:docMk/>
            <pc:sldMk cId="1127354295" sldId="2147478564"/>
            <ac:spMk id="579" creationId="{A6309CC5-C589-1ACD-DBA9-D8EF5D00A1F7}"/>
          </ac:spMkLst>
        </pc:spChg>
        <pc:spChg chg="add del mod">
          <ac:chgData name="Steiner Andreas 6206 ED" userId="e6377c33-a923-4f14-8587-531c474c7b48" providerId="ADAL" clId="{6ECD27E6-B224-41CD-B4E0-E297462320DD}" dt="2023-11-24T08:51:30.669" v="88338"/>
          <ac:spMkLst>
            <pc:docMk/>
            <pc:sldMk cId="1127354295" sldId="2147478564"/>
            <ac:spMk id="580" creationId="{1D2EA0C4-96C7-B792-19E0-3F762D0EC4C6}"/>
          </ac:spMkLst>
        </pc:spChg>
        <pc:spChg chg="add del mod">
          <ac:chgData name="Steiner Andreas 6206 ED" userId="e6377c33-a923-4f14-8587-531c474c7b48" providerId="ADAL" clId="{6ECD27E6-B224-41CD-B4E0-E297462320DD}" dt="2023-11-24T08:51:32.816" v="88493"/>
          <ac:spMkLst>
            <pc:docMk/>
            <pc:sldMk cId="1127354295" sldId="2147478564"/>
            <ac:spMk id="581" creationId="{4E1B2EE7-196F-F83B-9EAF-8FFDD460E68B}"/>
          </ac:spMkLst>
        </pc:spChg>
        <pc:spChg chg="add del mod">
          <ac:chgData name="Steiner Andreas 6206 ED" userId="e6377c33-a923-4f14-8587-531c474c7b48" providerId="ADAL" clId="{6ECD27E6-B224-41CD-B4E0-E297462320DD}" dt="2023-11-24T08:51:34.765" v="88648"/>
          <ac:spMkLst>
            <pc:docMk/>
            <pc:sldMk cId="1127354295" sldId="2147478564"/>
            <ac:spMk id="582" creationId="{12752E0C-59B3-0419-1B09-B69D4A6E2DA3}"/>
          </ac:spMkLst>
        </pc:spChg>
        <pc:spChg chg="add del mod">
          <ac:chgData name="Steiner Andreas 6206 ED" userId="e6377c33-a923-4f14-8587-531c474c7b48" providerId="ADAL" clId="{6ECD27E6-B224-41CD-B4E0-E297462320DD}" dt="2023-11-24T08:51:36.643" v="88803"/>
          <ac:spMkLst>
            <pc:docMk/>
            <pc:sldMk cId="1127354295" sldId="2147478564"/>
            <ac:spMk id="583" creationId="{2DF732D6-32F7-340E-7CCE-8C3EA4282F70}"/>
          </ac:spMkLst>
        </pc:spChg>
        <pc:spChg chg="add del mod">
          <ac:chgData name="Steiner Andreas 6206 ED" userId="e6377c33-a923-4f14-8587-531c474c7b48" providerId="ADAL" clId="{6ECD27E6-B224-41CD-B4E0-E297462320DD}" dt="2023-11-24T08:51:38.596" v="88958"/>
          <ac:spMkLst>
            <pc:docMk/>
            <pc:sldMk cId="1127354295" sldId="2147478564"/>
            <ac:spMk id="584" creationId="{EF89F1ED-0D6F-9D90-1D0D-98EA233678E3}"/>
          </ac:spMkLst>
        </pc:spChg>
        <pc:spChg chg="add del mod">
          <ac:chgData name="Steiner Andreas 6206 ED" userId="e6377c33-a923-4f14-8587-531c474c7b48" providerId="ADAL" clId="{6ECD27E6-B224-41CD-B4E0-E297462320DD}" dt="2023-11-24T08:51:40.530" v="89113"/>
          <ac:spMkLst>
            <pc:docMk/>
            <pc:sldMk cId="1127354295" sldId="2147478564"/>
            <ac:spMk id="585" creationId="{727015D2-5CBD-789A-1FD0-2ABCA62BA438}"/>
          </ac:spMkLst>
        </pc:spChg>
        <pc:spChg chg="add del mod">
          <ac:chgData name="Steiner Andreas 6206 ED" userId="e6377c33-a923-4f14-8587-531c474c7b48" providerId="ADAL" clId="{6ECD27E6-B224-41CD-B4E0-E297462320DD}" dt="2023-11-24T08:51:42.540" v="89268"/>
          <ac:spMkLst>
            <pc:docMk/>
            <pc:sldMk cId="1127354295" sldId="2147478564"/>
            <ac:spMk id="586" creationId="{2FDDBAA1-E69E-BAAA-70D5-9DB7D7095660}"/>
          </ac:spMkLst>
        </pc:spChg>
        <pc:spChg chg="add del mod">
          <ac:chgData name="Steiner Andreas 6206 ED" userId="e6377c33-a923-4f14-8587-531c474c7b48" providerId="ADAL" clId="{6ECD27E6-B224-41CD-B4E0-E297462320DD}" dt="2023-11-24T08:51:44.646" v="89423"/>
          <ac:spMkLst>
            <pc:docMk/>
            <pc:sldMk cId="1127354295" sldId="2147478564"/>
            <ac:spMk id="587" creationId="{A7411C01-5C16-637C-433E-F2F74948B03A}"/>
          </ac:spMkLst>
        </pc:spChg>
        <pc:spChg chg="add del mod">
          <ac:chgData name="Steiner Andreas 6206 ED" userId="e6377c33-a923-4f14-8587-531c474c7b48" providerId="ADAL" clId="{6ECD27E6-B224-41CD-B4E0-E297462320DD}" dt="2023-11-24T08:51:46.595" v="89578"/>
          <ac:spMkLst>
            <pc:docMk/>
            <pc:sldMk cId="1127354295" sldId="2147478564"/>
            <ac:spMk id="588" creationId="{F4DFBC32-0C02-B099-DC75-8A5BA5AD7E76}"/>
          </ac:spMkLst>
        </pc:spChg>
        <pc:spChg chg="add del mod">
          <ac:chgData name="Steiner Andreas 6206 ED" userId="e6377c33-a923-4f14-8587-531c474c7b48" providerId="ADAL" clId="{6ECD27E6-B224-41CD-B4E0-E297462320DD}" dt="2023-11-24T08:51:48.478" v="89733"/>
          <ac:spMkLst>
            <pc:docMk/>
            <pc:sldMk cId="1127354295" sldId="2147478564"/>
            <ac:spMk id="589" creationId="{F478B780-2E2D-E394-5B75-C858B4003DAA}"/>
          </ac:spMkLst>
        </pc:spChg>
        <pc:spChg chg="add del mod">
          <ac:chgData name="Steiner Andreas 6206 ED" userId="e6377c33-a923-4f14-8587-531c474c7b48" providerId="ADAL" clId="{6ECD27E6-B224-41CD-B4E0-E297462320DD}" dt="2023-11-24T08:51:50.420" v="89888"/>
          <ac:spMkLst>
            <pc:docMk/>
            <pc:sldMk cId="1127354295" sldId="2147478564"/>
            <ac:spMk id="590" creationId="{FBC5432C-233D-4481-BD33-0DEF006C9067}"/>
          </ac:spMkLst>
        </pc:spChg>
        <pc:spChg chg="add del mod">
          <ac:chgData name="Steiner Andreas 6206 ED" userId="e6377c33-a923-4f14-8587-531c474c7b48" providerId="ADAL" clId="{6ECD27E6-B224-41CD-B4E0-E297462320DD}" dt="2023-11-24T08:51:52.313" v="90043"/>
          <ac:spMkLst>
            <pc:docMk/>
            <pc:sldMk cId="1127354295" sldId="2147478564"/>
            <ac:spMk id="591" creationId="{933F23FA-2D6D-E9ED-1E97-4B71369D942E}"/>
          </ac:spMkLst>
        </pc:spChg>
        <pc:spChg chg="add del mod">
          <ac:chgData name="Steiner Andreas 6206 ED" userId="e6377c33-a923-4f14-8587-531c474c7b48" providerId="ADAL" clId="{6ECD27E6-B224-41CD-B4E0-E297462320DD}" dt="2023-11-24T08:51:54.319" v="90198"/>
          <ac:spMkLst>
            <pc:docMk/>
            <pc:sldMk cId="1127354295" sldId="2147478564"/>
            <ac:spMk id="592" creationId="{66A88FB0-8A8F-F1E4-9DF0-A509DFF87509}"/>
          </ac:spMkLst>
        </pc:spChg>
        <pc:spChg chg="add del mod">
          <ac:chgData name="Steiner Andreas 6206 ED" userId="e6377c33-a923-4f14-8587-531c474c7b48" providerId="ADAL" clId="{6ECD27E6-B224-41CD-B4E0-E297462320DD}" dt="2023-11-24T08:51:56.288" v="90353"/>
          <ac:spMkLst>
            <pc:docMk/>
            <pc:sldMk cId="1127354295" sldId="2147478564"/>
            <ac:spMk id="593" creationId="{01B8EC40-CEA3-67B8-87EB-615989419378}"/>
          </ac:spMkLst>
        </pc:spChg>
        <pc:spChg chg="add del mod">
          <ac:chgData name="Steiner Andreas 6206 ED" userId="e6377c33-a923-4f14-8587-531c474c7b48" providerId="ADAL" clId="{6ECD27E6-B224-41CD-B4E0-E297462320DD}" dt="2023-11-24T08:51:58.221" v="90508"/>
          <ac:spMkLst>
            <pc:docMk/>
            <pc:sldMk cId="1127354295" sldId="2147478564"/>
            <ac:spMk id="594" creationId="{E77EC06D-87E3-EFD4-5594-170E8F281F3D}"/>
          </ac:spMkLst>
        </pc:spChg>
        <pc:spChg chg="add del mod">
          <ac:chgData name="Steiner Andreas 6206 ED" userId="e6377c33-a923-4f14-8587-531c474c7b48" providerId="ADAL" clId="{6ECD27E6-B224-41CD-B4E0-E297462320DD}" dt="2023-11-24T08:52:00.358" v="90663"/>
          <ac:spMkLst>
            <pc:docMk/>
            <pc:sldMk cId="1127354295" sldId="2147478564"/>
            <ac:spMk id="595" creationId="{35368530-1A71-A039-0743-EBF7CE5002F8}"/>
          </ac:spMkLst>
        </pc:spChg>
        <pc:spChg chg="add del mod">
          <ac:chgData name="Steiner Andreas 6206 ED" userId="e6377c33-a923-4f14-8587-531c474c7b48" providerId="ADAL" clId="{6ECD27E6-B224-41CD-B4E0-E297462320DD}" dt="2023-11-24T08:52:02.313" v="90818"/>
          <ac:spMkLst>
            <pc:docMk/>
            <pc:sldMk cId="1127354295" sldId="2147478564"/>
            <ac:spMk id="596" creationId="{7F05BFBF-CA3A-B241-74E6-26336B2EFFB9}"/>
          </ac:spMkLst>
        </pc:spChg>
        <pc:spChg chg="add del mod">
          <ac:chgData name="Steiner Andreas 6206 ED" userId="e6377c33-a923-4f14-8587-531c474c7b48" providerId="ADAL" clId="{6ECD27E6-B224-41CD-B4E0-E297462320DD}" dt="2023-11-24T08:52:04.219" v="90973"/>
          <ac:spMkLst>
            <pc:docMk/>
            <pc:sldMk cId="1127354295" sldId="2147478564"/>
            <ac:spMk id="597" creationId="{86E9275B-414D-1397-B9EE-7372E4C07BDB}"/>
          </ac:spMkLst>
        </pc:spChg>
        <pc:spChg chg="add del mod">
          <ac:chgData name="Steiner Andreas 6206 ED" userId="e6377c33-a923-4f14-8587-531c474c7b48" providerId="ADAL" clId="{6ECD27E6-B224-41CD-B4E0-E297462320DD}" dt="2023-11-24T08:52:06.448" v="91128"/>
          <ac:spMkLst>
            <pc:docMk/>
            <pc:sldMk cId="1127354295" sldId="2147478564"/>
            <ac:spMk id="598" creationId="{8BF31F2C-3DF6-5C24-0BB0-DC04A2A39EA9}"/>
          </ac:spMkLst>
        </pc:spChg>
        <pc:spChg chg="add del mod">
          <ac:chgData name="Steiner Andreas 6206 ED" userId="e6377c33-a923-4f14-8587-531c474c7b48" providerId="ADAL" clId="{6ECD27E6-B224-41CD-B4E0-E297462320DD}" dt="2023-11-24T08:52:08.391" v="91283"/>
          <ac:spMkLst>
            <pc:docMk/>
            <pc:sldMk cId="1127354295" sldId="2147478564"/>
            <ac:spMk id="599" creationId="{790F9854-0BD1-0FF3-99C9-AF972B28C83B}"/>
          </ac:spMkLst>
        </pc:spChg>
        <pc:spChg chg="add del mod">
          <ac:chgData name="Steiner Andreas 6206 ED" userId="e6377c33-a923-4f14-8587-531c474c7b48" providerId="ADAL" clId="{6ECD27E6-B224-41CD-B4E0-E297462320DD}" dt="2023-11-24T08:52:10.273" v="91438"/>
          <ac:spMkLst>
            <pc:docMk/>
            <pc:sldMk cId="1127354295" sldId="2147478564"/>
            <ac:spMk id="600" creationId="{10748C79-763C-E2B7-0612-509D90889CBD}"/>
          </ac:spMkLst>
        </pc:spChg>
        <pc:spChg chg="add del mod">
          <ac:chgData name="Steiner Andreas 6206 ED" userId="e6377c33-a923-4f14-8587-531c474c7b48" providerId="ADAL" clId="{6ECD27E6-B224-41CD-B4E0-E297462320DD}" dt="2023-11-24T08:52:12.117" v="91593"/>
          <ac:spMkLst>
            <pc:docMk/>
            <pc:sldMk cId="1127354295" sldId="2147478564"/>
            <ac:spMk id="601" creationId="{C0A1DC4B-0E0F-D902-721A-299AE987DEBB}"/>
          </ac:spMkLst>
        </pc:spChg>
        <pc:spChg chg="add del mod">
          <ac:chgData name="Steiner Andreas 6206 ED" userId="e6377c33-a923-4f14-8587-531c474c7b48" providerId="ADAL" clId="{6ECD27E6-B224-41CD-B4E0-E297462320DD}" dt="2023-11-24T08:52:14.065" v="91748"/>
          <ac:spMkLst>
            <pc:docMk/>
            <pc:sldMk cId="1127354295" sldId="2147478564"/>
            <ac:spMk id="602" creationId="{E2BB60F9-412F-FB20-BD47-6B751178C6F1}"/>
          </ac:spMkLst>
        </pc:spChg>
        <pc:spChg chg="add del mod">
          <ac:chgData name="Steiner Andreas 6206 ED" userId="e6377c33-a923-4f14-8587-531c474c7b48" providerId="ADAL" clId="{6ECD27E6-B224-41CD-B4E0-E297462320DD}" dt="2023-11-24T08:52:15.983" v="91903"/>
          <ac:spMkLst>
            <pc:docMk/>
            <pc:sldMk cId="1127354295" sldId="2147478564"/>
            <ac:spMk id="603" creationId="{9BAF0CC1-7B8F-0398-6499-331C8AB773A5}"/>
          </ac:spMkLst>
        </pc:spChg>
        <pc:spChg chg="add del mod">
          <ac:chgData name="Steiner Andreas 6206 ED" userId="e6377c33-a923-4f14-8587-531c474c7b48" providerId="ADAL" clId="{6ECD27E6-B224-41CD-B4E0-E297462320DD}" dt="2023-11-24T08:52:18.136" v="92058"/>
          <ac:spMkLst>
            <pc:docMk/>
            <pc:sldMk cId="1127354295" sldId="2147478564"/>
            <ac:spMk id="604" creationId="{3D9193D3-225E-4746-4950-095599193095}"/>
          </ac:spMkLst>
        </pc:spChg>
        <pc:spChg chg="add del mod">
          <ac:chgData name="Steiner Andreas 6206 ED" userId="e6377c33-a923-4f14-8587-531c474c7b48" providerId="ADAL" clId="{6ECD27E6-B224-41CD-B4E0-E297462320DD}" dt="2023-11-24T08:52:20.098" v="92213"/>
          <ac:spMkLst>
            <pc:docMk/>
            <pc:sldMk cId="1127354295" sldId="2147478564"/>
            <ac:spMk id="605" creationId="{E38EFB57-C034-289D-4621-7242375CD8C0}"/>
          </ac:spMkLst>
        </pc:spChg>
        <pc:spChg chg="add del mod">
          <ac:chgData name="Steiner Andreas 6206 ED" userId="e6377c33-a923-4f14-8587-531c474c7b48" providerId="ADAL" clId="{6ECD27E6-B224-41CD-B4E0-E297462320DD}" dt="2023-11-24T08:52:21.944" v="92368"/>
          <ac:spMkLst>
            <pc:docMk/>
            <pc:sldMk cId="1127354295" sldId="2147478564"/>
            <ac:spMk id="606" creationId="{98DA0D33-F513-AD86-AAAA-B5C4C7B08117}"/>
          </ac:spMkLst>
        </pc:spChg>
        <pc:spChg chg="add del mod">
          <ac:chgData name="Steiner Andreas 6206 ED" userId="e6377c33-a923-4f14-8587-531c474c7b48" providerId="ADAL" clId="{6ECD27E6-B224-41CD-B4E0-E297462320DD}" dt="2023-11-24T08:52:23.996" v="92523"/>
          <ac:spMkLst>
            <pc:docMk/>
            <pc:sldMk cId="1127354295" sldId="2147478564"/>
            <ac:spMk id="607" creationId="{5E73FA92-D2D2-770D-0C82-EC0B501BDC58}"/>
          </ac:spMkLst>
        </pc:spChg>
        <pc:spChg chg="add del mod">
          <ac:chgData name="Steiner Andreas 6206 ED" userId="e6377c33-a923-4f14-8587-531c474c7b48" providerId="ADAL" clId="{6ECD27E6-B224-41CD-B4E0-E297462320DD}" dt="2023-11-24T08:52:25.858" v="92678"/>
          <ac:spMkLst>
            <pc:docMk/>
            <pc:sldMk cId="1127354295" sldId="2147478564"/>
            <ac:spMk id="608" creationId="{51148B25-F49A-C057-94CF-A2D12999E617}"/>
          </ac:spMkLst>
        </pc:spChg>
        <pc:spChg chg="add del mod">
          <ac:chgData name="Steiner Andreas 6206 ED" userId="e6377c33-a923-4f14-8587-531c474c7b48" providerId="ADAL" clId="{6ECD27E6-B224-41CD-B4E0-E297462320DD}" dt="2023-11-24T08:52:27.747" v="92833"/>
          <ac:spMkLst>
            <pc:docMk/>
            <pc:sldMk cId="1127354295" sldId="2147478564"/>
            <ac:spMk id="609" creationId="{2E711BF6-25E5-F1A1-9955-2C4C850A6AEB}"/>
          </ac:spMkLst>
        </pc:spChg>
        <pc:spChg chg="add del mod">
          <ac:chgData name="Steiner Andreas 6206 ED" userId="e6377c33-a923-4f14-8587-531c474c7b48" providerId="ADAL" clId="{6ECD27E6-B224-41CD-B4E0-E297462320DD}" dt="2023-11-24T08:52:29.852" v="92988"/>
          <ac:spMkLst>
            <pc:docMk/>
            <pc:sldMk cId="1127354295" sldId="2147478564"/>
            <ac:spMk id="610" creationId="{431D3513-239F-8724-2555-8E6E8B5E489C}"/>
          </ac:spMkLst>
        </pc:spChg>
        <pc:spChg chg="add del mod">
          <ac:chgData name="Steiner Andreas 6206 ED" userId="e6377c33-a923-4f14-8587-531c474c7b48" providerId="ADAL" clId="{6ECD27E6-B224-41CD-B4E0-E297462320DD}" dt="2023-11-24T08:52:31.764" v="93143"/>
          <ac:spMkLst>
            <pc:docMk/>
            <pc:sldMk cId="1127354295" sldId="2147478564"/>
            <ac:spMk id="611" creationId="{1B85AF5C-19AF-53FF-C2C9-5DA50D44E2E6}"/>
          </ac:spMkLst>
        </pc:spChg>
        <pc:spChg chg="add del mod">
          <ac:chgData name="Steiner Andreas 6206 ED" userId="e6377c33-a923-4f14-8587-531c474c7b48" providerId="ADAL" clId="{6ECD27E6-B224-41CD-B4E0-E297462320DD}" dt="2023-11-24T08:52:33.677" v="93298"/>
          <ac:spMkLst>
            <pc:docMk/>
            <pc:sldMk cId="1127354295" sldId="2147478564"/>
            <ac:spMk id="612" creationId="{4C9925BF-9B2F-6462-4BE6-ECFE68BEE764}"/>
          </ac:spMkLst>
        </pc:spChg>
        <pc:spChg chg="add del mod">
          <ac:chgData name="Steiner Andreas 6206 ED" userId="e6377c33-a923-4f14-8587-531c474c7b48" providerId="ADAL" clId="{6ECD27E6-B224-41CD-B4E0-E297462320DD}" dt="2023-11-24T08:52:35.593" v="93453"/>
          <ac:spMkLst>
            <pc:docMk/>
            <pc:sldMk cId="1127354295" sldId="2147478564"/>
            <ac:spMk id="613" creationId="{B2E6467D-9174-C661-82E5-C5AEB73161E8}"/>
          </ac:spMkLst>
        </pc:spChg>
        <pc:spChg chg="add del mod">
          <ac:chgData name="Steiner Andreas 6206 ED" userId="e6377c33-a923-4f14-8587-531c474c7b48" providerId="ADAL" clId="{6ECD27E6-B224-41CD-B4E0-E297462320DD}" dt="2023-11-24T08:52:37.509" v="93608"/>
          <ac:spMkLst>
            <pc:docMk/>
            <pc:sldMk cId="1127354295" sldId="2147478564"/>
            <ac:spMk id="614" creationId="{53D7404D-9320-2EBF-1806-41D9922E2F54}"/>
          </ac:spMkLst>
        </pc:spChg>
        <pc:spChg chg="add del mod">
          <ac:chgData name="Steiner Andreas 6206 ED" userId="e6377c33-a923-4f14-8587-531c474c7b48" providerId="ADAL" clId="{6ECD27E6-B224-41CD-B4E0-E297462320DD}" dt="2023-11-24T08:52:39.444" v="93763"/>
          <ac:spMkLst>
            <pc:docMk/>
            <pc:sldMk cId="1127354295" sldId="2147478564"/>
            <ac:spMk id="615" creationId="{6A044BB1-6AE6-4BA1-A20D-B2D8A57EBE7C}"/>
          </ac:spMkLst>
        </pc:spChg>
        <pc:spChg chg="add del mod">
          <ac:chgData name="Steiner Andreas 6206 ED" userId="e6377c33-a923-4f14-8587-531c474c7b48" providerId="ADAL" clId="{6ECD27E6-B224-41CD-B4E0-E297462320DD}" dt="2023-11-24T08:52:41.491" v="93918"/>
          <ac:spMkLst>
            <pc:docMk/>
            <pc:sldMk cId="1127354295" sldId="2147478564"/>
            <ac:spMk id="616" creationId="{1B0A515D-6948-802F-001E-C775D301A3CC}"/>
          </ac:spMkLst>
        </pc:spChg>
        <pc:spChg chg="add del mod">
          <ac:chgData name="Steiner Andreas 6206 ED" userId="e6377c33-a923-4f14-8587-531c474c7b48" providerId="ADAL" clId="{6ECD27E6-B224-41CD-B4E0-E297462320DD}" dt="2023-11-24T08:52:43.418" v="94073"/>
          <ac:spMkLst>
            <pc:docMk/>
            <pc:sldMk cId="1127354295" sldId="2147478564"/>
            <ac:spMk id="617" creationId="{AF46DD66-F95B-8665-F62F-F62A05C9A476}"/>
          </ac:spMkLst>
        </pc:spChg>
        <pc:spChg chg="add del mod">
          <ac:chgData name="Steiner Andreas 6206 ED" userId="e6377c33-a923-4f14-8587-531c474c7b48" providerId="ADAL" clId="{6ECD27E6-B224-41CD-B4E0-E297462320DD}" dt="2023-11-24T08:52:45.361" v="94228"/>
          <ac:spMkLst>
            <pc:docMk/>
            <pc:sldMk cId="1127354295" sldId="2147478564"/>
            <ac:spMk id="618" creationId="{8E24B1FA-CE9C-6BE0-D062-57FA8196E269}"/>
          </ac:spMkLst>
        </pc:spChg>
        <pc:spChg chg="add del mod">
          <ac:chgData name="Steiner Andreas 6206 ED" userId="e6377c33-a923-4f14-8587-531c474c7b48" providerId="ADAL" clId="{6ECD27E6-B224-41CD-B4E0-E297462320DD}" dt="2023-11-24T08:52:47.325" v="94383"/>
          <ac:spMkLst>
            <pc:docMk/>
            <pc:sldMk cId="1127354295" sldId="2147478564"/>
            <ac:spMk id="619" creationId="{8354A383-8474-8B8C-F622-5120C0AD3BB5}"/>
          </ac:spMkLst>
        </pc:spChg>
        <pc:spChg chg="add del mod">
          <ac:chgData name="Steiner Andreas 6206 ED" userId="e6377c33-a923-4f14-8587-531c474c7b48" providerId="ADAL" clId="{6ECD27E6-B224-41CD-B4E0-E297462320DD}" dt="2023-11-24T08:52:49.414" v="94538"/>
          <ac:spMkLst>
            <pc:docMk/>
            <pc:sldMk cId="1127354295" sldId="2147478564"/>
            <ac:spMk id="620" creationId="{A031F0EC-78AD-306C-FB9B-0BD1BB732122}"/>
          </ac:spMkLst>
        </pc:spChg>
        <pc:spChg chg="add del mod">
          <ac:chgData name="Steiner Andreas 6206 ED" userId="e6377c33-a923-4f14-8587-531c474c7b48" providerId="ADAL" clId="{6ECD27E6-B224-41CD-B4E0-E297462320DD}" dt="2023-11-24T08:52:51.601" v="94693"/>
          <ac:spMkLst>
            <pc:docMk/>
            <pc:sldMk cId="1127354295" sldId="2147478564"/>
            <ac:spMk id="621" creationId="{DAEC2225-9651-5E13-6D35-CCC2B9BF77DD}"/>
          </ac:spMkLst>
        </pc:spChg>
        <pc:spChg chg="add del mod">
          <ac:chgData name="Steiner Andreas 6206 ED" userId="e6377c33-a923-4f14-8587-531c474c7b48" providerId="ADAL" clId="{6ECD27E6-B224-41CD-B4E0-E297462320DD}" dt="2023-11-24T08:52:53.544" v="94848"/>
          <ac:spMkLst>
            <pc:docMk/>
            <pc:sldMk cId="1127354295" sldId="2147478564"/>
            <ac:spMk id="622" creationId="{FD9D9F79-A5ED-71DB-1798-5BBF754DF70C}"/>
          </ac:spMkLst>
        </pc:spChg>
        <pc:spChg chg="add del mod">
          <ac:chgData name="Steiner Andreas 6206 ED" userId="e6377c33-a923-4f14-8587-531c474c7b48" providerId="ADAL" clId="{6ECD27E6-B224-41CD-B4E0-E297462320DD}" dt="2023-11-24T08:52:55.484" v="95003"/>
          <ac:spMkLst>
            <pc:docMk/>
            <pc:sldMk cId="1127354295" sldId="2147478564"/>
            <ac:spMk id="623" creationId="{DF36C9F6-A257-E7C0-5409-0F14F957C3E2}"/>
          </ac:spMkLst>
        </pc:spChg>
        <pc:spChg chg="add del mod">
          <ac:chgData name="Steiner Andreas 6206 ED" userId="e6377c33-a923-4f14-8587-531c474c7b48" providerId="ADAL" clId="{6ECD27E6-B224-41CD-B4E0-E297462320DD}" dt="2023-11-24T08:52:57.507" v="95158"/>
          <ac:spMkLst>
            <pc:docMk/>
            <pc:sldMk cId="1127354295" sldId="2147478564"/>
            <ac:spMk id="624" creationId="{699D1B8E-18F9-2C18-D2BE-45648ECB27F1}"/>
          </ac:spMkLst>
        </pc:spChg>
        <pc:spChg chg="add del mod">
          <ac:chgData name="Steiner Andreas 6206 ED" userId="e6377c33-a923-4f14-8587-531c474c7b48" providerId="ADAL" clId="{6ECD27E6-B224-41CD-B4E0-E297462320DD}" dt="2023-11-24T08:52:59.476" v="95313"/>
          <ac:spMkLst>
            <pc:docMk/>
            <pc:sldMk cId="1127354295" sldId="2147478564"/>
            <ac:spMk id="625" creationId="{FC0ACE42-0340-EBB5-5E77-798DEF3850DD}"/>
          </ac:spMkLst>
        </pc:spChg>
        <pc:spChg chg="add del mod">
          <ac:chgData name="Steiner Andreas 6206 ED" userId="e6377c33-a923-4f14-8587-531c474c7b48" providerId="ADAL" clId="{6ECD27E6-B224-41CD-B4E0-E297462320DD}" dt="2023-11-24T08:53:01.481" v="95468"/>
          <ac:spMkLst>
            <pc:docMk/>
            <pc:sldMk cId="1127354295" sldId="2147478564"/>
            <ac:spMk id="626" creationId="{1AE77441-B213-47AF-2F76-7560DB5AB0BF}"/>
          </ac:spMkLst>
        </pc:spChg>
        <pc:spChg chg="add del mod">
          <ac:chgData name="Steiner Andreas 6206 ED" userId="e6377c33-a923-4f14-8587-531c474c7b48" providerId="ADAL" clId="{6ECD27E6-B224-41CD-B4E0-E297462320DD}" dt="2023-11-24T08:53:03.599" v="95623"/>
          <ac:spMkLst>
            <pc:docMk/>
            <pc:sldMk cId="1127354295" sldId="2147478564"/>
            <ac:spMk id="627" creationId="{95520F75-4F8B-FB74-015B-15B18A214F58}"/>
          </ac:spMkLst>
        </pc:spChg>
        <pc:spChg chg="add del mod">
          <ac:chgData name="Steiner Andreas 6206 ED" userId="e6377c33-a923-4f14-8587-531c474c7b48" providerId="ADAL" clId="{6ECD27E6-B224-41CD-B4E0-E297462320DD}" dt="2023-11-24T08:53:05.539" v="95778"/>
          <ac:spMkLst>
            <pc:docMk/>
            <pc:sldMk cId="1127354295" sldId="2147478564"/>
            <ac:spMk id="628" creationId="{9E63396D-A6D3-D07A-A69E-FC1AC2591EAE}"/>
          </ac:spMkLst>
        </pc:spChg>
        <pc:spChg chg="add del mod">
          <ac:chgData name="Steiner Andreas 6206 ED" userId="e6377c33-a923-4f14-8587-531c474c7b48" providerId="ADAL" clId="{6ECD27E6-B224-41CD-B4E0-E297462320DD}" dt="2023-11-24T08:53:07.425" v="95933"/>
          <ac:spMkLst>
            <pc:docMk/>
            <pc:sldMk cId="1127354295" sldId="2147478564"/>
            <ac:spMk id="629" creationId="{5C4BD5A0-C7CD-62EB-F5FE-8FE455DE9778}"/>
          </ac:spMkLst>
        </pc:spChg>
        <pc:spChg chg="add del mod">
          <ac:chgData name="Steiner Andreas 6206 ED" userId="e6377c33-a923-4f14-8587-531c474c7b48" providerId="ADAL" clId="{6ECD27E6-B224-41CD-B4E0-E297462320DD}" dt="2023-11-24T08:53:09.364" v="96088"/>
          <ac:spMkLst>
            <pc:docMk/>
            <pc:sldMk cId="1127354295" sldId="2147478564"/>
            <ac:spMk id="630" creationId="{912D93BC-3616-FF21-FBEF-034821EA7160}"/>
          </ac:spMkLst>
        </pc:spChg>
        <pc:spChg chg="add del mod">
          <ac:chgData name="Steiner Andreas 6206 ED" userId="e6377c33-a923-4f14-8587-531c474c7b48" providerId="ADAL" clId="{6ECD27E6-B224-41CD-B4E0-E297462320DD}" dt="2023-11-24T08:53:11.315" v="96243"/>
          <ac:spMkLst>
            <pc:docMk/>
            <pc:sldMk cId="1127354295" sldId="2147478564"/>
            <ac:spMk id="631" creationId="{73AA2F04-1CEC-6587-CD6E-8EE867B84646}"/>
          </ac:spMkLst>
        </pc:spChg>
        <pc:spChg chg="add del mod">
          <ac:chgData name="Steiner Andreas 6206 ED" userId="e6377c33-a923-4f14-8587-531c474c7b48" providerId="ADAL" clId="{6ECD27E6-B224-41CD-B4E0-E297462320DD}" dt="2023-11-24T08:53:13.350" v="96398"/>
          <ac:spMkLst>
            <pc:docMk/>
            <pc:sldMk cId="1127354295" sldId="2147478564"/>
            <ac:spMk id="632" creationId="{5D46108D-A32B-F13F-19B9-7CBAB32AAD9E}"/>
          </ac:spMkLst>
        </pc:spChg>
        <pc:spChg chg="add del mod">
          <ac:chgData name="Steiner Andreas 6206 ED" userId="e6377c33-a923-4f14-8587-531c474c7b48" providerId="ADAL" clId="{6ECD27E6-B224-41CD-B4E0-E297462320DD}" dt="2023-11-24T08:53:15.401" v="96553"/>
          <ac:spMkLst>
            <pc:docMk/>
            <pc:sldMk cId="1127354295" sldId="2147478564"/>
            <ac:spMk id="633" creationId="{BDD8404C-5CE3-1D36-AF56-24183056E630}"/>
          </ac:spMkLst>
        </pc:spChg>
        <pc:spChg chg="add del mod">
          <ac:chgData name="Steiner Andreas 6206 ED" userId="e6377c33-a923-4f14-8587-531c474c7b48" providerId="ADAL" clId="{6ECD27E6-B224-41CD-B4E0-E297462320DD}" dt="2023-11-24T08:53:17.354" v="96708"/>
          <ac:spMkLst>
            <pc:docMk/>
            <pc:sldMk cId="1127354295" sldId="2147478564"/>
            <ac:spMk id="634" creationId="{B1D4CBC0-582F-CFA7-019B-C4354B12FBA5}"/>
          </ac:spMkLst>
        </pc:spChg>
        <pc:spChg chg="add del mod">
          <ac:chgData name="Steiner Andreas 6206 ED" userId="e6377c33-a923-4f14-8587-531c474c7b48" providerId="ADAL" clId="{6ECD27E6-B224-41CD-B4E0-E297462320DD}" dt="2023-11-24T08:53:19.343" v="96863"/>
          <ac:spMkLst>
            <pc:docMk/>
            <pc:sldMk cId="1127354295" sldId="2147478564"/>
            <ac:spMk id="635" creationId="{E7BFADC3-5CFC-A482-7967-B3F4172DDB1F}"/>
          </ac:spMkLst>
        </pc:spChg>
        <pc:spChg chg="add del mod">
          <ac:chgData name="Steiner Andreas 6206 ED" userId="e6377c33-a923-4f14-8587-531c474c7b48" providerId="ADAL" clId="{6ECD27E6-B224-41CD-B4E0-E297462320DD}" dt="2023-11-24T08:53:21.288" v="97018"/>
          <ac:spMkLst>
            <pc:docMk/>
            <pc:sldMk cId="1127354295" sldId="2147478564"/>
            <ac:spMk id="636" creationId="{BA83F4E4-8372-0936-B2EE-51576A871978}"/>
          </ac:spMkLst>
        </pc:spChg>
        <pc:spChg chg="add del mod">
          <ac:chgData name="Steiner Andreas 6206 ED" userId="e6377c33-a923-4f14-8587-531c474c7b48" providerId="ADAL" clId="{6ECD27E6-B224-41CD-B4E0-E297462320DD}" dt="2023-11-24T08:53:23.243" v="97173"/>
          <ac:spMkLst>
            <pc:docMk/>
            <pc:sldMk cId="1127354295" sldId="2147478564"/>
            <ac:spMk id="637" creationId="{C83E6C02-8BB9-EEE6-8A19-FBB373542DAD}"/>
          </ac:spMkLst>
        </pc:spChg>
        <pc:spChg chg="add del mod">
          <ac:chgData name="Steiner Andreas 6206 ED" userId="e6377c33-a923-4f14-8587-531c474c7b48" providerId="ADAL" clId="{6ECD27E6-B224-41CD-B4E0-E297462320DD}" dt="2023-11-24T08:53:25.372" v="97328"/>
          <ac:spMkLst>
            <pc:docMk/>
            <pc:sldMk cId="1127354295" sldId="2147478564"/>
            <ac:spMk id="638" creationId="{A7F137AD-78F4-BD97-9DCA-2B62A06158BC}"/>
          </ac:spMkLst>
        </pc:spChg>
        <pc:spChg chg="add del mod">
          <ac:chgData name="Steiner Andreas 6206 ED" userId="e6377c33-a923-4f14-8587-531c474c7b48" providerId="ADAL" clId="{6ECD27E6-B224-41CD-B4E0-E297462320DD}" dt="2023-11-24T08:53:27.346" v="97483"/>
          <ac:spMkLst>
            <pc:docMk/>
            <pc:sldMk cId="1127354295" sldId="2147478564"/>
            <ac:spMk id="639" creationId="{C8269CE3-ECE7-3506-1F22-A3C6B9901A61}"/>
          </ac:spMkLst>
        </pc:spChg>
        <pc:spChg chg="add del mod">
          <ac:chgData name="Steiner Andreas 6206 ED" userId="e6377c33-a923-4f14-8587-531c474c7b48" providerId="ADAL" clId="{6ECD27E6-B224-41CD-B4E0-E297462320DD}" dt="2023-11-24T08:53:29.240" v="97638"/>
          <ac:spMkLst>
            <pc:docMk/>
            <pc:sldMk cId="1127354295" sldId="2147478564"/>
            <ac:spMk id="640" creationId="{D2D1D0F6-2E7E-0CE6-A1C9-04B007AAFFCD}"/>
          </ac:spMkLst>
        </pc:spChg>
        <pc:spChg chg="add del mod">
          <ac:chgData name="Steiner Andreas 6206 ED" userId="e6377c33-a923-4f14-8587-531c474c7b48" providerId="ADAL" clId="{6ECD27E6-B224-41CD-B4E0-E297462320DD}" dt="2023-11-24T08:53:31.140" v="97793"/>
          <ac:spMkLst>
            <pc:docMk/>
            <pc:sldMk cId="1127354295" sldId="2147478564"/>
            <ac:spMk id="641" creationId="{1320923F-3B45-EB8E-7322-FA4FCD61C6F8}"/>
          </ac:spMkLst>
        </pc:spChg>
        <pc:spChg chg="add del mod">
          <ac:chgData name="Steiner Andreas 6206 ED" userId="e6377c33-a923-4f14-8587-531c474c7b48" providerId="ADAL" clId="{6ECD27E6-B224-41CD-B4E0-E297462320DD}" dt="2023-11-24T08:53:33.081" v="97948"/>
          <ac:spMkLst>
            <pc:docMk/>
            <pc:sldMk cId="1127354295" sldId="2147478564"/>
            <ac:spMk id="642" creationId="{A4CADF0B-81A1-5C76-A7AC-37D4E511AD29}"/>
          </ac:spMkLst>
        </pc:spChg>
        <pc:spChg chg="add del mod">
          <ac:chgData name="Steiner Andreas 6206 ED" userId="e6377c33-a923-4f14-8587-531c474c7b48" providerId="ADAL" clId="{6ECD27E6-B224-41CD-B4E0-E297462320DD}" dt="2023-11-24T08:53:35.001" v="98103"/>
          <ac:spMkLst>
            <pc:docMk/>
            <pc:sldMk cId="1127354295" sldId="2147478564"/>
            <ac:spMk id="643" creationId="{7E91416D-36B0-ABA0-C2AC-B4FDE6FC6A2D}"/>
          </ac:spMkLst>
        </pc:spChg>
        <pc:spChg chg="add del mod">
          <ac:chgData name="Steiner Andreas 6206 ED" userId="e6377c33-a923-4f14-8587-531c474c7b48" providerId="ADAL" clId="{6ECD27E6-B224-41CD-B4E0-E297462320DD}" dt="2023-11-24T08:53:37.124" v="98258"/>
          <ac:spMkLst>
            <pc:docMk/>
            <pc:sldMk cId="1127354295" sldId="2147478564"/>
            <ac:spMk id="644" creationId="{D22F98D5-0DA3-6362-1A2D-0073A183AA4B}"/>
          </ac:spMkLst>
        </pc:spChg>
        <pc:spChg chg="add del mod">
          <ac:chgData name="Steiner Andreas 6206 ED" userId="e6377c33-a923-4f14-8587-531c474c7b48" providerId="ADAL" clId="{6ECD27E6-B224-41CD-B4E0-E297462320DD}" dt="2023-11-24T08:53:39.011" v="98413"/>
          <ac:spMkLst>
            <pc:docMk/>
            <pc:sldMk cId="1127354295" sldId="2147478564"/>
            <ac:spMk id="645" creationId="{DB91978A-7B98-BEFF-0AC0-75EB04C0AA89}"/>
          </ac:spMkLst>
        </pc:spChg>
        <pc:spChg chg="add del mod">
          <ac:chgData name="Steiner Andreas 6206 ED" userId="e6377c33-a923-4f14-8587-531c474c7b48" providerId="ADAL" clId="{6ECD27E6-B224-41CD-B4E0-E297462320DD}" dt="2023-11-24T08:53:40.962" v="98568"/>
          <ac:spMkLst>
            <pc:docMk/>
            <pc:sldMk cId="1127354295" sldId="2147478564"/>
            <ac:spMk id="646" creationId="{05CD2B03-7ED9-9333-5FB7-6F3A36B05280}"/>
          </ac:spMkLst>
        </pc:spChg>
        <pc:spChg chg="add del mod">
          <ac:chgData name="Steiner Andreas 6206 ED" userId="e6377c33-a923-4f14-8587-531c474c7b48" providerId="ADAL" clId="{6ECD27E6-B224-41CD-B4E0-E297462320DD}" dt="2023-11-24T08:53:42.923" v="98723"/>
          <ac:spMkLst>
            <pc:docMk/>
            <pc:sldMk cId="1127354295" sldId="2147478564"/>
            <ac:spMk id="647" creationId="{2DA0BF27-08BD-4161-4D43-FE8E31EA22C6}"/>
          </ac:spMkLst>
        </pc:spChg>
        <pc:spChg chg="add del mod">
          <ac:chgData name="Steiner Andreas 6206 ED" userId="e6377c33-a923-4f14-8587-531c474c7b48" providerId="ADAL" clId="{6ECD27E6-B224-41CD-B4E0-E297462320DD}" dt="2023-11-24T08:53:44.858" v="98878"/>
          <ac:spMkLst>
            <pc:docMk/>
            <pc:sldMk cId="1127354295" sldId="2147478564"/>
            <ac:spMk id="648" creationId="{8171A74C-6AF4-1F75-E4F9-30C975211C12}"/>
          </ac:spMkLst>
        </pc:spChg>
        <pc:spChg chg="add del mod">
          <ac:chgData name="Steiner Andreas 6206 ED" userId="e6377c33-a923-4f14-8587-531c474c7b48" providerId="ADAL" clId="{6ECD27E6-B224-41CD-B4E0-E297462320DD}" dt="2023-11-24T08:53:46.822" v="99033"/>
          <ac:spMkLst>
            <pc:docMk/>
            <pc:sldMk cId="1127354295" sldId="2147478564"/>
            <ac:spMk id="649" creationId="{940106F4-54CB-F26F-EC0B-A71EA03B3087}"/>
          </ac:spMkLst>
        </pc:spChg>
        <pc:spChg chg="add del mod">
          <ac:chgData name="Steiner Andreas 6206 ED" userId="e6377c33-a923-4f14-8587-531c474c7b48" providerId="ADAL" clId="{6ECD27E6-B224-41CD-B4E0-E297462320DD}" dt="2023-11-24T08:53:48.864" v="99188"/>
          <ac:spMkLst>
            <pc:docMk/>
            <pc:sldMk cId="1127354295" sldId="2147478564"/>
            <ac:spMk id="650" creationId="{C0E47062-9038-F5AC-CDD7-9AEDC91BE383}"/>
          </ac:spMkLst>
        </pc:spChg>
        <pc:spChg chg="add del mod">
          <ac:chgData name="Steiner Andreas 6206 ED" userId="e6377c33-a923-4f14-8587-531c474c7b48" providerId="ADAL" clId="{6ECD27E6-B224-41CD-B4E0-E297462320DD}" dt="2023-11-24T08:53:50.804" v="99343"/>
          <ac:spMkLst>
            <pc:docMk/>
            <pc:sldMk cId="1127354295" sldId="2147478564"/>
            <ac:spMk id="651" creationId="{B311F895-D4E3-0521-1723-31D298A8E734}"/>
          </ac:spMkLst>
        </pc:spChg>
        <pc:spChg chg="add del mod">
          <ac:chgData name="Steiner Andreas 6206 ED" userId="e6377c33-a923-4f14-8587-531c474c7b48" providerId="ADAL" clId="{6ECD27E6-B224-41CD-B4E0-E297462320DD}" dt="2023-11-24T08:53:52.808" v="99498"/>
          <ac:spMkLst>
            <pc:docMk/>
            <pc:sldMk cId="1127354295" sldId="2147478564"/>
            <ac:spMk id="652" creationId="{648EA162-CA20-2600-A0A8-38CBC3C6A5FC}"/>
          </ac:spMkLst>
        </pc:spChg>
        <pc:spChg chg="add del mod">
          <ac:chgData name="Steiner Andreas 6206 ED" userId="e6377c33-a923-4f14-8587-531c474c7b48" providerId="ADAL" clId="{6ECD27E6-B224-41CD-B4E0-E297462320DD}" dt="2023-11-24T08:53:54.767" v="99653"/>
          <ac:spMkLst>
            <pc:docMk/>
            <pc:sldMk cId="1127354295" sldId="2147478564"/>
            <ac:spMk id="653" creationId="{6C2EEA25-E2B3-D0B5-9F5A-D05DE187C777}"/>
          </ac:spMkLst>
        </pc:spChg>
        <pc:spChg chg="add del mod">
          <ac:chgData name="Steiner Andreas 6206 ED" userId="e6377c33-a923-4f14-8587-531c474c7b48" providerId="ADAL" clId="{6ECD27E6-B224-41CD-B4E0-E297462320DD}" dt="2023-11-24T08:53:56.701" v="99808"/>
          <ac:spMkLst>
            <pc:docMk/>
            <pc:sldMk cId="1127354295" sldId="2147478564"/>
            <ac:spMk id="654" creationId="{967F43B8-C790-A1E3-063C-65C54D0ADFBA}"/>
          </ac:spMkLst>
        </pc:spChg>
        <pc:spChg chg="add del mod">
          <ac:chgData name="Steiner Andreas 6206 ED" userId="e6377c33-a923-4f14-8587-531c474c7b48" providerId="ADAL" clId="{6ECD27E6-B224-41CD-B4E0-E297462320DD}" dt="2023-11-24T08:53:58.794" v="99963"/>
          <ac:spMkLst>
            <pc:docMk/>
            <pc:sldMk cId="1127354295" sldId="2147478564"/>
            <ac:spMk id="655" creationId="{06F4289E-F732-631B-28DE-E09E71E0778C}"/>
          </ac:spMkLst>
        </pc:spChg>
        <pc:spChg chg="add del mod">
          <ac:chgData name="Steiner Andreas 6206 ED" userId="e6377c33-a923-4f14-8587-531c474c7b48" providerId="ADAL" clId="{6ECD27E6-B224-41CD-B4E0-E297462320DD}" dt="2023-11-24T08:54:00.865" v="100118"/>
          <ac:spMkLst>
            <pc:docMk/>
            <pc:sldMk cId="1127354295" sldId="2147478564"/>
            <ac:spMk id="656" creationId="{EE5B6FC8-AFBE-20B9-740D-FAD4DA0501D9}"/>
          </ac:spMkLst>
        </pc:spChg>
        <pc:spChg chg="add del mod">
          <ac:chgData name="Steiner Andreas 6206 ED" userId="e6377c33-a923-4f14-8587-531c474c7b48" providerId="ADAL" clId="{6ECD27E6-B224-41CD-B4E0-E297462320DD}" dt="2023-11-24T08:54:02.867" v="100273"/>
          <ac:spMkLst>
            <pc:docMk/>
            <pc:sldMk cId="1127354295" sldId="2147478564"/>
            <ac:spMk id="657" creationId="{11FC4694-15E1-6942-0D80-7DD1B7C6B1B7}"/>
          </ac:spMkLst>
        </pc:spChg>
        <pc:spChg chg="add del mod">
          <ac:chgData name="Steiner Andreas 6206 ED" userId="e6377c33-a923-4f14-8587-531c474c7b48" providerId="ADAL" clId="{6ECD27E6-B224-41CD-B4E0-E297462320DD}" dt="2023-11-24T08:54:04.813" v="100428"/>
          <ac:spMkLst>
            <pc:docMk/>
            <pc:sldMk cId="1127354295" sldId="2147478564"/>
            <ac:spMk id="658" creationId="{12930E3E-322B-83AB-8D28-9AD743323DF8}"/>
          </ac:spMkLst>
        </pc:spChg>
        <pc:spChg chg="add del mod">
          <ac:chgData name="Steiner Andreas 6206 ED" userId="e6377c33-a923-4f14-8587-531c474c7b48" providerId="ADAL" clId="{6ECD27E6-B224-41CD-B4E0-E297462320DD}" dt="2023-11-24T08:54:06.779" v="100583"/>
          <ac:spMkLst>
            <pc:docMk/>
            <pc:sldMk cId="1127354295" sldId="2147478564"/>
            <ac:spMk id="659" creationId="{1DE955C3-19ED-3C9D-C085-C4CB6A2FF650}"/>
          </ac:spMkLst>
        </pc:spChg>
        <pc:spChg chg="add del mod">
          <ac:chgData name="Steiner Andreas 6206 ED" userId="e6377c33-a923-4f14-8587-531c474c7b48" providerId="ADAL" clId="{6ECD27E6-B224-41CD-B4E0-E297462320DD}" dt="2023-11-24T08:54:08.796" v="100738"/>
          <ac:spMkLst>
            <pc:docMk/>
            <pc:sldMk cId="1127354295" sldId="2147478564"/>
            <ac:spMk id="660" creationId="{D4AE7B72-C7F6-050E-4B36-A6C7BDDA6990}"/>
          </ac:spMkLst>
        </pc:spChg>
        <pc:spChg chg="add del mod">
          <ac:chgData name="Steiner Andreas 6206 ED" userId="e6377c33-a923-4f14-8587-531c474c7b48" providerId="ADAL" clId="{6ECD27E6-B224-41CD-B4E0-E297462320DD}" dt="2023-11-24T08:54:10.905" v="100893"/>
          <ac:spMkLst>
            <pc:docMk/>
            <pc:sldMk cId="1127354295" sldId="2147478564"/>
            <ac:spMk id="661" creationId="{37B82AB3-405F-1E9C-226D-FBF1EFB309F8}"/>
          </ac:spMkLst>
        </pc:spChg>
        <pc:spChg chg="add del mod">
          <ac:chgData name="Steiner Andreas 6206 ED" userId="e6377c33-a923-4f14-8587-531c474c7b48" providerId="ADAL" clId="{6ECD27E6-B224-41CD-B4E0-E297462320DD}" dt="2023-11-24T08:54:12.848" v="101048"/>
          <ac:spMkLst>
            <pc:docMk/>
            <pc:sldMk cId="1127354295" sldId="2147478564"/>
            <ac:spMk id="662" creationId="{933B7A20-4325-4D0E-6B59-3D680D022589}"/>
          </ac:spMkLst>
        </pc:spChg>
        <pc:spChg chg="add del mod">
          <ac:chgData name="Steiner Andreas 6206 ED" userId="e6377c33-a923-4f14-8587-531c474c7b48" providerId="ADAL" clId="{6ECD27E6-B224-41CD-B4E0-E297462320DD}" dt="2023-11-24T08:54:14.790" v="101203"/>
          <ac:spMkLst>
            <pc:docMk/>
            <pc:sldMk cId="1127354295" sldId="2147478564"/>
            <ac:spMk id="663" creationId="{74030D4A-95A3-6A6F-4051-29184BDA68AB}"/>
          </ac:spMkLst>
        </pc:spChg>
        <pc:spChg chg="add del mod">
          <ac:chgData name="Steiner Andreas 6206 ED" userId="e6377c33-a923-4f14-8587-531c474c7b48" providerId="ADAL" clId="{6ECD27E6-B224-41CD-B4E0-E297462320DD}" dt="2023-11-24T08:54:16.686" v="101358"/>
          <ac:spMkLst>
            <pc:docMk/>
            <pc:sldMk cId="1127354295" sldId="2147478564"/>
            <ac:spMk id="664" creationId="{7C52B242-87C2-59F5-1B62-E6EC2365CE05}"/>
          </ac:spMkLst>
        </pc:spChg>
        <pc:spChg chg="add del mod">
          <ac:chgData name="Steiner Andreas 6206 ED" userId="e6377c33-a923-4f14-8587-531c474c7b48" providerId="ADAL" clId="{6ECD27E6-B224-41CD-B4E0-E297462320DD}" dt="2023-11-24T08:54:18.622" v="101513"/>
          <ac:spMkLst>
            <pc:docMk/>
            <pc:sldMk cId="1127354295" sldId="2147478564"/>
            <ac:spMk id="665" creationId="{3C574FFE-11BF-E377-3265-9821DD09D378}"/>
          </ac:spMkLst>
        </pc:spChg>
        <pc:spChg chg="add del mod">
          <ac:chgData name="Steiner Andreas 6206 ED" userId="e6377c33-a923-4f14-8587-531c474c7b48" providerId="ADAL" clId="{6ECD27E6-B224-41CD-B4E0-E297462320DD}" dt="2023-11-24T08:54:20.590" v="101668"/>
          <ac:spMkLst>
            <pc:docMk/>
            <pc:sldMk cId="1127354295" sldId="2147478564"/>
            <ac:spMk id="666" creationId="{15773B6E-9252-89C0-CAFD-18C38F0126D9}"/>
          </ac:spMkLst>
        </pc:spChg>
        <pc:spChg chg="add del mod">
          <ac:chgData name="Steiner Andreas 6206 ED" userId="e6377c33-a923-4f14-8587-531c474c7b48" providerId="ADAL" clId="{6ECD27E6-B224-41CD-B4E0-E297462320DD}" dt="2023-11-24T08:54:22.664" v="101823"/>
          <ac:spMkLst>
            <pc:docMk/>
            <pc:sldMk cId="1127354295" sldId="2147478564"/>
            <ac:spMk id="667" creationId="{8FF73953-186C-F61B-1FCC-6AC78D4C305D}"/>
          </ac:spMkLst>
        </pc:spChg>
        <pc:spChg chg="add del mod">
          <ac:chgData name="Steiner Andreas 6206 ED" userId="e6377c33-a923-4f14-8587-531c474c7b48" providerId="ADAL" clId="{6ECD27E6-B224-41CD-B4E0-E297462320DD}" dt="2023-11-24T08:54:24.643" v="101978"/>
          <ac:spMkLst>
            <pc:docMk/>
            <pc:sldMk cId="1127354295" sldId="2147478564"/>
            <ac:spMk id="668" creationId="{056BD70C-8547-7292-ECA5-FFD85F5D930C}"/>
          </ac:spMkLst>
        </pc:spChg>
        <pc:spChg chg="add del mod">
          <ac:chgData name="Steiner Andreas 6206 ED" userId="e6377c33-a923-4f14-8587-531c474c7b48" providerId="ADAL" clId="{6ECD27E6-B224-41CD-B4E0-E297462320DD}" dt="2023-11-24T08:54:26.583" v="102133"/>
          <ac:spMkLst>
            <pc:docMk/>
            <pc:sldMk cId="1127354295" sldId="2147478564"/>
            <ac:spMk id="669" creationId="{78894B47-0D71-6950-2526-3B40EA00D9D8}"/>
          </ac:spMkLst>
        </pc:spChg>
        <pc:spChg chg="add del mod">
          <ac:chgData name="Steiner Andreas 6206 ED" userId="e6377c33-a923-4f14-8587-531c474c7b48" providerId="ADAL" clId="{6ECD27E6-B224-41CD-B4E0-E297462320DD}" dt="2023-11-24T08:54:28.543" v="102288"/>
          <ac:spMkLst>
            <pc:docMk/>
            <pc:sldMk cId="1127354295" sldId="2147478564"/>
            <ac:spMk id="670" creationId="{229D7ADF-336F-7087-ADF8-675A00746B1C}"/>
          </ac:spMkLst>
        </pc:spChg>
        <pc:spChg chg="add del mod">
          <ac:chgData name="Steiner Andreas 6206 ED" userId="e6377c33-a923-4f14-8587-531c474c7b48" providerId="ADAL" clId="{6ECD27E6-B224-41CD-B4E0-E297462320DD}" dt="2023-11-24T08:54:30.468" v="102443"/>
          <ac:spMkLst>
            <pc:docMk/>
            <pc:sldMk cId="1127354295" sldId="2147478564"/>
            <ac:spMk id="671" creationId="{5B0C0325-1490-C56E-ADBC-FC1F49C21E74}"/>
          </ac:spMkLst>
        </pc:spChg>
        <pc:spChg chg="add del mod">
          <ac:chgData name="Steiner Andreas 6206 ED" userId="e6377c33-a923-4f14-8587-531c474c7b48" providerId="ADAL" clId="{6ECD27E6-B224-41CD-B4E0-E297462320DD}" dt="2023-11-24T08:54:32.647" v="102598"/>
          <ac:spMkLst>
            <pc:docMk/>
            <pc:sldMk cId="1127354295" sldId="2147478564"/>
            <ac:spMk id="672" creationId="{42843ECC-D47E-0107-D20B-53DD69E4D401}"/>
          </ac:spMkLst>
        </pc:spChg>
        <pc:spChg chg="add del mod">
          <ac:chgData name="Steiner Andreas 6206 ED" userId="e6377c33-a923-4f14-8587-531c474c7b48" providerId="ADAL" clId="{6ECD27E6-B224-41CD-B4E0-E297462320DD}" dt="2023-11-24T08:54:34.624" v="102753"/>
          <ac:spMkLst>
            <pc:docMk/>
            <pc:sldMk cId="1127354295" sldId="2147478564"/>
            <ac:spMk id="673" creationId="{D4F85EF5-7DAA-10CB-B7A4-F980610A82BC}"/>
          </ac:spMkLst>
        </pc:spChg>
        <pc:spChg chg="add del mod">
          <ac:chgData name="Steiner Andreas 6206 ED" userId="e6377c33-a923-4f14-8587-531c474c7b48" providerId="ADAL" clId="{6ECD27E6-B224-41CD-B4E0-E297462320DD}" dt="2023-11-24T08:54:36.519" v="102908"/>
          <ac:spMkLst>
            <pc:docMk/>
            <pc:sldMk cId="1127354295" sldId="2147478564"/>
            <ac:spMk id="674" creationId="{0DB76C7F-B7D9-5A32-62D2-B92B4E5D33A6}"/>
          </ac:spMkLst>
        </pc:spChg>
        <pc:spChg chg="add del mod">
          <ac:chgData name="Steiner Andreas 6206 ED" userId="e6377c33-a923-4f14-8587-531c474c7b48" providerId="ADAL" clId="{6ECD27E6-B224-41CD-B4E0-E297462320DD}" dt="2023-11-24T08:54:38.789" v="103063"/>
          <ac:spMkLst>
            <pc:docMk/>
            <pc:sldMk cId="1127354295" sldId="2147478564"/>
            <ac:spMk id="675" creationId="{F44C3DB9-F752-7DAB-5698-F790DCD13388}"/>
          </ac:spMkLst>
        </pc:spChg>
        <pc:spChg chg="add del mod">
          <ac:chgData name="Steiner Andreas 6206 ED" userId="e6377c33-a923-4f14-8587-531c474c7b48" providerId="ADAL" clId="{6ECD27E6-B224-41CD-B4E0-E297462320DD}" dt="2023-11-24T08:54:40.902" v="103218"/>
          <ac:spMkLst>
            <pc:docMk/>
            <pc:sldMk cId="1127354295" sldId="2147478564"/>
            <ac:spMk id="676" creationId="{902CFB41-D0B7-AA1E-6033-BC95B948BFE3}"/>
          </ac:spMkLst>
        </pc:spChg>
        <pc:spChg chg="add del mod">
          <ac:chgData name="Steiner Andreas 6206 ED" userId="e6377c33-a923-4f14-8587-531c474c7b48" providerId="ADAL" clId="{6ECD27E6-B224-41CD-B4E0-E297462320DD}" dt="2023-11-24T08:54:42.842" v="103373"/>
          <ac:spMkLst>
            <pc:docMk/>
            <pc:sldMk cId="1127354295" sldId="2147478564"/>
            <ac:spMk id="677" creationId="{B68C89C1-1093-9AD0-0DB4-D1C300EA398C}"/>
          </ac:spMkLst>
        </pc:spChg>
        <pc:spChg chg="add del mod">
          <ac:chgData name="Steiner Andreas 6206 ED" userId="e6377c33-a923-4f14-8587-531c474c7b48" providerId="ADAL" clId="{6ECD27E6-B224-41CD-B4E0-E297462320DD}" dt="2023-11-24T08:54:45.106" v="103528"/>
          <ac:spMkLst>
            <pc:docMk/>
            <pc:sldMk cId="1127354295" sldId="2147478564"/>
            <ac:spMk id="678" creationId="{9FCFC875-19DB-E721-40DA-970C12FF6C87}"/>
          </ac:spMkLst>
        </pc:spChg>
        <pc:spChg chg="add del mod">
          <ac:chgData name="Steiner Andreas 6206 ED" userId="e6377c33-a923-4f14-8587-531c474c7b48" providerId="ADAL" clId="{6ECD27E6-B224-41CD-B4E0-E297462320DD}" dt="2023-11-24T08:54:47.349" v="103683"/>
          <ac:spMkLst>
            <pc:docMk/>
            <pc:sldMk cId="1127354295" sldId="2147478564"/>
            <ac:spMk id="679" creationId="{CD852155-AB75-58C7-F055-9937B575F284}"/>
          </ac:spMkLst>
        </pc:spChg>
        <pc:spChg chg="add del mod">
          <ac:chgData name="Steiner Andreas 6206 ED" userId="e6377c33-a923-4f14-8587-531c474c7b48" providerId="ADAL" clId="{6ECD27E6-B224-41CD-B4E0-E297462320DD}" dt="2023-11-24T08:54:49.446" v="103838"/>
          <ac:spMkLst>
            <pc:docMk/>
            <pc:sldMk cId="1127354295" sldId="2147478564"/>
            <ac:spMk id="680" creationId="{A3983F01-3D1F-887F-D1DD-022232BB01DF}"/>
          </ac:spMkLst>
        </pc:spChg>
        <pc:spChg chg="add del mod">
          <ac:chgData name="Steiner Andreas 6206 ED" userId="e6377c33-a923-4f14-8587-531c474c7b48" providerId="ADAL" clId="{6ECD27E6-B224-41CD-B4E0-E297462320DD}" dt="2023-11-24T08:54:51.827" v="103993"/>
          <ac:spMkLst>
            <pc:docMk/>
            <pc:sldMk cId="1127354295" sldId="2147478564"/>
            <ac:spMk id="681" creationId="{02A31608-98BE-34C5-48D5-05D2DA1EF96C}"/>
          </ac:spMkLst>
        </pc:spChg>
        <pc:spChg chg="add del mod">
          <ac:chgData name="Steiner Andreas 6206 ED" userId="e6377c33-a923-4f14-8587-531c474c7b48" providerId="ADAL" clId="{6ECD27E6-B224-41CD-B4E0-E297462320DD}" dt="2023-11-24T08:54:53.867" v="104148"/>
          <ac:spMkLst>
            <pc:docMk/>
            <pc:sldMk cId="1127354295" sldId="2147478564"/>
            <ac:spMk id="682" creationId="{EF0F7A3B-D140-1E62-DD96-B2E3003C5C15}"/>
          </ac:spMkLst>
        </pc:spChg>
        <pc:spChg chg="add del mod">
          <ac:chgData name="Steiner Andreas 6206 ED" userId="e6377c33-a923-4f14-8587-531c474c7b48" providerId="ADAL" clId="{6ECD27E6-B224-41CD-B4E0-E297462320DD}" dt="2023-11-24T08:54:55.995" v="104303"/>
          <ac:spMkLst>
            <pc:docMk/>
            <pc:sldMk cId="1127354295" sldId="2147478564"/>
            <ac:spMk id="683" creationId="{F8A815EF-16BC-8558-5599-A81B454594DA}"/>
          </ac:spMkLst>
        </pc:spChg>
        <pc:spChg chg="add del mod">
          <ac:chgData name="Steiner Andreas 6206 ED" userId="e6377c33-a923-4f14-8587-531c474c7b48" providerId="ADAL" clId="{6ECD27E6-B224-41CD-B4E0-E297462320DD}" dt="2023-11-24T08:54:58.071" v="104458"/>
          <ac:spMkLst>
            <pc:docMk/>
            <pc:sldMk cId="1127354295" sldId="2147478564"/>
            <ac:spMk id="684" creationId="{C3FEDA39-94E3-2785-BC3B-01D384C53F61}"/>
          </ac:spMkLst>
        </pc:spChg>
        <pc:spChg chg="add del mod">
          <ac:chgData name="Steiner Andreas 6206 ED" userId="e6377c33-a923-4f14-8587-531c474c7b48" providerId="ADAL" clId="{6ECD27E6-B224-41CD-B4E0-E297462320DD}" dt="2023-11-24T08:55:00.073" v="104613"/>
          <ac:spMkLst>
            <pc:docMk/>
            <pc:sldMk cId="1127354295" sldId="2147478564"/>
            <ac:spMk id="685" creationId="{0383D978-FF8F-6B11-F929-5DEAD643A072}"/>
          </ac:spMkLst>
        </pc:spChg>
        <pc:spChg chg="add del mod">
          <ac:chgData name="Steiner Andreas 6206 ED" userId="e6377c33-a923-4f14-8587-531c474c7b48" providerId="ADAL" clId="{6ECD27E6-B224-41CD-B4E0-E297462320DD}" dt="2023-11-24T08:55:02.025" v="104768"/>
          <ac:spMkLst>
            <pc:docMk/>
            <pc:sldMk cId="1127354295" sldId="2147478564"/>
            <ac:spMk id="686" creationId="{EE746809-A671-04DE-7D68-52CDB9F8F9BC}"/>
          </ac:spMkLst>
        </pc:spChg>
        <pc:spChg chg="add del mod">
          <ac:chgData name="Steiner Andreas 6206 ED" userId="e6377c33-a923-4f14-8587-531c474c7b48" providerId="ADAL" clId="{6ECD27E6-B224-41CD-B4E0-E297462320DD}" dt="2023-11-24T08:55:04.005" v="104923"/>
          <ac:spMkLst>
            <pc:docMk/>
            <pc:sldMk cId="1127354295" sldId="2147478564"/>
            <ac:spMk id="687" creationId="{CD31E14D-AFB2-C02D-31C0-4DA205B16C7E}"/>
          </ac:spMkLst>
        </pc:spChg>
        <pc:spChg chg="add del mod">
          <ac:chgData name="Steiner Andreas 6206 ED" userId="e6377c33-a923-4f14-8587-531c474c7b48" providerId="ADAL" clId="{6ECD27E6-B224-41CD-B4E0-E297462320DD}" dt="2023-11-24T08:55:06.137" v="105078"/>
          <ac:spMkLst>
            <pc:docMk/>
            <pc:sldMk cId="1127354295" sldId="2147478564"/>
            <ac:spMk id="688" creationId="{619C02FB-E756-AED2-E423-661AD8E5760D}"/>
          </ac:spMkLst>
        </pc:spChg>
        <pc:spChg chg="add del mod">
          <ac:chgData name="Steiner Andreas 6206 ED" userId="e6377c33-a923-4f14-8587-531c474c7b48" providerId="ADAL" clId="{6ECD27E6-B224-41CD-B4E0-E297462320DD}" dt="2023-11-24T08:55:08.200" v="105233"/>
          <ac:spMkLst>
            <pc:docMk/>
            <pc:sldMk cId="1127354295" sldId="2147478564"/>
            <ac:spMk id="689" creationId="{A86FC9FA-C45F-71FD-888F-D12F841B81B1}"/>
          </ac:spMkLst>
        </pc:spChg>
        <pc:spChg chg="add del mod">
          <ac:chgData name="Steiner Andreas 6206 ED" userId="e6377c33-a923-4f14-8587-531c474c7b48" providerId="ADAL" clId="{6ECD27E6-B224-41CD-B4E0-E297462320DD}" dt="2023-11-24T08:55:10.204" v="105388"/>
          <ac:spMkLst>
            <pc:docMk/>
            <pc:sldMk cId="1127354295" sldId="2147478564"/>
            <ac:spMk id="690" creationId="{C674276F-2DF8-7C36-4A34-47C6129584FE}"/>
          </ac:spMkLst>
        </pc:spChg>
        <pc:spChg chg="add del mod">
          <ac:chgData name="Steiner Andreas 6206 ED" userId="e6377c33-a923-4f14-8587-531c474c7b48" providerId="ADAL" clId="{6ECD27E6-B224-41CD-B4E0-E297462320DD}" dt="2023-11-24T08:55:12.180" v="105543"/>
          <ac:spMkLst>
            <pc:docMk/>
            <pc:sldMk cId="1127354295" sldId="2147478564"/>
            <ac:spMk id="691" creationId="{B577A0A9-880B-65C1-C846-5EAF256755B0}"/>
          </ac:spMkLst>
        </pc:spChg>
        <pc:spChg chg="add del mod">
          <ac:chgData name="Steiner Andreas 6206 ED" userId="e6377c33-a923-4f14-8587-531c474c7b48" providerId="ADAL" clId="{6ECD27E6-B224-41CD-B4E0-E297462320DD}" dt="2023-11-24T08:55:14.242" v="105698"/>
          <ac:spMkLst>
            <pc:docMk/>
            <pc:sldMk cId="1127354295" sldId="2147478564"/>
            <ac:spMk id="692" creationId="{7E64C0D8-DEDF-D07A-D471-2E1443B27C87}"/>
          </ac:spMkLst>
        </pc:spChg>
        <pc:spChg chg="add del mod">
          <ac:chgData name="Steiner Andreas 6206 ED" userId="e6377c33-a923-4f14-8587-531c474c7b48" providerId="ADAL" clId="{6ECD27E6-B224-41CD-B4E0-E297462320DD}" dt="2023-11-24T08:55:16.307" v="105853"/>
          <ac:spMkLst>
            <pc:docMk/>
            <pc:sldMk cId="1127354295" sldId="2147478564"/>
            <ac:spMk id="693" creationId="{93A2D1AC-E958-086E-B1E9-3E4D8691C1DD}"/>
          </ac:spMkLst>
        </pc:spChg>
        <pc:spChg chg="add del mod">
          <ac:chgData name="Steiner Andreas 6206 ED" userId="e6377c33-a923-4f14-8587-531c474c7b48" providerId="ADAL" clId="{6ECD27E6-B224-41CD-B4E0-E297462320DD}" dt="2023-11-24T08:55:18.351" v="106008"/>
          <ac:spMkLst>
            <pc:docMk/>
            <pc:sldMk cId="1127354295" sldId="2147478564"/>
            <ac:spMk id="694" creationId="{22A46224-F096-6E70-00A3-30498F1DE6D7}"/>
          </ac:spMkLst>
        </pc:spChg>
        <pc:spChg chg="add del mod">
          <ac:chgData name="Steiner Andreas 6206 ED" userId="e6377c33-a923-4f14-8587-531c474c7b48" providerId="ADAL" clId="{6ECD27E6-B224-41CD-B4E0-E297462320DD}" dt="2023-11-24T08:55:20.355" v="106163"/>
          <ac:spMkLst>
            <pc:docMk/>
            <pc:sldMk cId="1127354295" sldId="2147478564"/>
            <ac:spMk id="695" creationId="{C26258CF-ECD3-E3B2-F2B4-7BE0F387ACC3}"/>
          </ac:spMkLst>
        </pc:spChg>
        <pc:spChg chg="add del mod">
          <ac:chgData name="Steiner Andreas 6206 ED" userId="e6377c33-a923-4f14-8587-531c474c7b48" providerId="ADAL" clId="{6ECD27E6-B224-41CD-B4E0-E297462320DD}" dt="2023-11-24T08:55:22.309" v="106318"/>
          <ac:spMkLst>
            <pc:docMk/>
            <pc:sldMk cId="1127354295" sldId="2147478564"/>
            <ac:spMk id="696" creationId="{5919DC1B-2725-A8BE-7A18-2201F907035E}"/>
          </ac:spMkLst>
        </pc:spChg>
        <pc:spChg chg="add del mod">
          <ac:chgData name="Steiner Andreas 6206 ED" userId="e6377c33-a923-4f14-8587-531c474c7b48" providerId="ADAL" clId="{6ECD27E6-B224-41CD-B4E0-E297462320DD}" dt="2023-11-24T08:55:24.313" v="106473"/>
          <ac:spMkLst>
            <pc:docMk/>
            <pc:sldMk cId="1127354295" sldId="2147478564"/>
            <ac:spMk id="697" creationId="{B0EEF8E9-18D2-B085-0D9D-E898E3D9F0A1}"/>
          </ac:spMkLst>
        </pc:spChg>
        <pc:spChg chg="add del mod">
          <ac:chgData name="Steiner Andreas 6206 ED" userId="e6377c33-a923-4f14-8587-531c474c7b48" providerId="ADAL" clId="{6ECD27E6-B224-41CD-B4E0-E297462320DD}" dt="2023-11-24T08:55:26.289" v="106628"/>
          <ac:spMkLst>
            <pc:docMk/>
            <pc:sldMk cId="1127354295" sldId="2147478564"/>
            <ac:spMk id="698" creationId="{5F850E44-4A63-146C-1C76-26CF24C53852}"/>
          </ac:spMkLst>
        </pc:spChg>
        <pc:spChg chg="add del mod">
          <ac:chgData name="Steiner Andreas 6206 ED" userId="e6377c33-a923-4f14-8587-531c474c7b48" providerId="ADAL" clId="{6ECD27E6-B224-41CD-B4E0-E297462320DD}" dt="2023-11-24T08:55:28.434" v="106783"/>
          <ac:spMkLst>
            <pc:docMk/>
            <pc:sldMk cId="1127354295" sldId="2147478564"/>
            <ac:spMk id="699" creationId="{4C214F04-09F5-3F22-DD35-236FAD638EC3}"/>
          </ac:spMkLst>
        </pc:spChg>
        <pc:spChg chg="add del mod">
          <ac:chgData name="Steiner Andreas 6206 ED" userId="e6377c33-a923-4f14-8587-531c474c7b48" providerId="ADAL" clId="{6ECD27E6-B224-41CD-B4E0-E297462320DD}" dt="2023-11-24T08:55:30.434" v="106938"/>
          <ac:spMkLst>
            <pc:docMk/>
            <pc:sldMk cId="1127354295" sldId="2147478564"/>
            <ac:spMk id="700" creationId="{98FD5899-D241-2250-1A2E-B6E312F078AE}"/>
          </ac:spMkLst>
        </pc:spChg>
        <pc:spChg chg="add del mod">
          <ac:chgData name="Steiner Andreas 6206 ED" userId="e6377c33-a923-4f14-8587-531c474c7b48" providerId="ADAL" clId="{6ECD27E6-B224-41CD-B4E0-E297462320DD}" dt="2023-11-24T08:55:32.606" v="107093"/>
          <ac:spMkLst>
            <pc:docMk/>
            <pc:sldMk cId="1127354295" sldId="2147478564"/>
            <ac:spMk id="701" creationId="{37B54922-A303-9C28-60F9-BB44035FE377}"/>
          </ac:spMkLst>
        </pc:spChg>
        <pc:spChg chg="add del mod">
          <ac:chgData name="Steiner Andreas 6206 ED" userId="e6377c33-a923-4f14-8587-531c474c7b48" providerId="ADAL" clId="{6ECD27E6-B224-41CD-B4E0-E297462320DD}" dt="2023-11-24T08:55:34.500" v="107248"/>
          <ac:spMkLst>
            <pc:docMk/>
            <pc:sldMk cId="1127354295" sldId="2147478564"/>
            <ac:spMk id="702" creationId="{630F0150-CF3B-8DC2-E8DB-3F1ED0F63D22}"/>
          </ac:spMkLst>
        </pc:spChg>
        <pc:spChg chg="add del mod">
          <ac:chgData name="Steiner Andreas 6206 ED" userId="e6377c33-a923-4f14-8587-531c474c7b48" providerId="ADAL" clId="{6ECD27E6-B224-41CD-B4E0-E297462320DD}" dt="2023-11-24T08:55:36.440" v="107403"/>
          <ac:spMkLst>
            <pc:docMk/>
            <pc:sldMk cId="1127354295" sldId="2147478564"/>
            <ac:spMk id="703" creationId="{1A788364-153C-2000-CC5D-B1E3FBC8A9FE}"/>
          </ac:spMkLst>
        </pc:spChg>
        <pc:spChg chg="add del mod">
          <ac:chgData name="Steiner Andreas 6206 ED" userId="e6377c33-a923-4f14-8587-531c474c7b48" providerId="ADAL" clId="{6ECD27E6-B224-41CD-B4E0-E297462320DD}" dt="2023-11-24T08:55:38.477" v="107558"/>
          <ac:spMkLst>
            <pc:docMk/>
            <pc:sldMk cId="1127354295" sldId="2147478564"/>
            <ac:spMk id="704" creationId="{6845006D-17D4-33C2-7B4C-D4ED7593430B}"/>
          </ac:spMkLst>
        </pc:spChg>
        <pc:spChg chg="add del mod">
          <ac:chgData name="Steiner Andreas 6206 ED" userId="e6377c33-a923-4f14-8587-531c474c7b48" providerId="ADAL" clId="{6ECD27E6-B224-41CD-B4E0-E297462320DD}" dt="2023-11-24T08:55:40.521" v="107713"/>
          <ac:spMkLst>
            <pc:docMk/>
            <pc:sldMk cId="1127354295" sldId="2147478564"/>
            <ac:spMk id="705" creationId="{DC8AD2C7-AF34-AD0F-F8D7-8C85F3DD9DA7}"/>
          </ac:spMkLst>
        </pc:spChg>
        <pc:spChg chg="add del mod">
          <ac:chgData name="Steiner Andreas 6206 ED" userId="e6377c33-a923-4f14-8587-531c474c7b48" providerId="ADAL" clId="{6ECD27E6-B224-41CD-B4E0-E297462320DD}" dt="2023-11-24T08:55:42.391" v="107868"/>
          <ac:spMkLst>
            <pc:docMk/>
            <pc:sldMk cId="1127354295" sldId="2147478564"/>
            <ac:spMk id="706" creationId="{BE5521F9-BB36-BCA7-74BA-922709652DCE}"/>
          </ac:spMkLst>
        </pc:spChg>
        <pc:spChg chg="add del mod">
          <ac:chgData name="Steiner Andreas 6206 ED" userId="e6377c33-a923-4f14-8587-531c474c7b48" providerId="ADAL" clId="{6ECD27E6-B224-41CD-B4E0-E297462320DD}" dt="2023-11-24T08:55:44.359" v="108023"/>
          <ac:spMkLst>
            <pc:docMk/>
            <pc:sldMk cId="1127354295" sldId="2147478564"/>
            <ac:spMk id="707" creationId="{696D36FA-1F0D-F836-D9C0-5879E5E856CB}"/>
          </ac:spMkLst>
        </pc:spChg>
        <pc:spChg chg="add del mod">
          <ac:chgData name="Steiner Andreas 6206 ED" userId="e6377c33-a923-4f14-8587-531c474c7b48" providerId="ADAL" clId="{6ECD27E6-B224-41CD-B4E0-E297462320DD}" dt="2023-11-24T08:55:46.747" v="108178"/>
          <ac:spMkLst>
            <pc:docMk/>
            <pc:sldMk cId="1127354295" sldId="2147478564"/>
            <ac:spMk id="708" creationId="{8BDC1CB5-1EF2-68B2-E35A-7EE9B72372FB}"/>
          </ac:spMkLst>
        </pc:spChg>
        <pc:spChg chg="add del mod">
          <ac:chgData name="Steiner Andreas 6206 ED" userId="e6377c33-a923-4f14-8587-531c474c7b48" providerId="ADAL" clId="{6ECD27E6-B224-41CD-B4E0-E297462320DD}" dt="2023-11-24T08:55:48.914" v="108333"/>
          <ac:spMkLst>
            <pc:docMk/>
            <pc:sldMk cId="1127354295" sldId="2147478564"/>
            <ac:spMk id="709" creationId="{CF6B7D95-D7AF-1BC6-0907-CE18EA4AC050}"/>
          </ac:spMkLst>
        </pc:spChg>
        <pc:spChg chg="add del mod">
          <ac:chgData name="Steiner Andreas 6206 ED" userId="e6377c33-a923-4f14-8587-531c474c7b48" providerId="ADAL" clId="{6ECD27E6-B224-41CD-B4E0-E297462320DD}" dt="2023-11-24T08:55:51.336" v="108488"/>
          <ac:spMkLst>
            <pc:docMk/>
            <pc:sldMk cId="1127354295" sldId="2147478564"/>
            <ac:spMk id="710" creationId="{266D6426-7D5D-5809-783C-5B4CF667C2C8}"/>
          </ac:spMkLst>
        </pc:spChg>
        <pc:spChg chg="add del mod">
          <ac:chgData name="Steiner Andreas 6206 ED" userId="e6377c33-a923-4f14-8587-531c474c7b48" providerId="ADAL" clId="{6ECD27E6-B224-41CD-B4E0-E297462320DD}" dt="2023-11-24T08:55:53.414" v="108643"/>
          <ac:spMkLst>
            <pc:docMk/>
            <pc:sldMk cId="1127354295" sldId="2147478564"/>
            <ac:spMk id="711" creationId="{EAAC18BD-A554-1F19-AA0A-0C3F9E81F248}"/>
          </ac:spMkLst>
        </pc:spChg>
        <pc:spChg chg="add del mod">
          <ac:chgData name="Steiner Andreas 6206 ED" userId="e6377c33-a923-4f14-8587-531c474c7b48" providerId="ADAL" clId="{6ECD27E6-B224-41CD-B4E0-E297462320DD}" dt="2023-11-24T08:55:55.495" v="108798"/>
          <ac:spMkLst>
            <pc:docMk/>
            <pc:sldMk cId="1127354295" sldId="2147478564"/>
            <ac:spMk id="712" creationId="{3D5D9E48-0291-3B4E-EBB6-5EAE3913A32F}"/>
          </ac:spMkLst>
        </pc:spChg>
        <pc:spChg chg="add del mod">
          <ac:chgData name="Steiner Andreas 6206 ED" userId="e6377c33-a923-4f14-8587-531c474c7b48" providerId="ADAL" clId="{6ECD27E6-B224-41CD-B4E0-E297462320DD}" dt="2023-11-24T08:55:57.518" v="108953"/>
          <ac:spMkLst>
            <pc:docMk/>
            <pc:sldMk cId="1127354295" sldId="2147478564"/>
            <ac:spMk id="713" creationId="{9920D2BF-95E7-DC41-F741-5153BB6B1AD8}"/>
          </ac:spMkLst>
        </pc:spChg>
        <pc:spChg chg="add del mod">
          <ac:chgData name="Steiner Andreas 6206 ED" userId="e6377c33-a923-4f14-8587-531c474c7b48" providerId="ADAL" clId="{6ECD27E6-B224-41CD-B4E0-E297462320DD}" dt="2023-11-24T08:55:59.605" v="109108"/>
          <ac:spMkLst>
            <pc:docMk/>
            <pc:sldMk cId="1127354295" sldId="2147478564"/>
            <ac:spMk id="714" creationId="{5BE2FA00-34FF-BC3A-A4F3-F05985BDB745}"/>
          </ac:spMkLst>
        </pc:spChg>
        <pc:spChg chg="add del mod">
          <ac:chgData name="Steiner Andreas 6206 ED" userId="e6377c33-a923-4f14-8587-531c474c7b48" providerId="ADAL" clId="{6ECD27E6-B224-41CD-B4E0-E297462320DD}" dt="2023-11-24T08:56:02.013" v="109263"/>
          <ac:spMkLst>
            <pc:docMk/>
            <pc:sldMk cId="1127354295" sldId="2147478564"/>
            <ac:spMk id="715" creationId="{A74AED4A-175A-547A-5C4B-810BF3123789}"/>
          </ac:spMkLst>
        </pc:spChg>
        <pc:spChg chg="add del mod">
          <ac:chgData name="Steiner Andreas 6206 ED" userId="e6377c33-a923-4f14-8587-531c474c7b48" providerId="ADAL" clId="{6ECD27E6-B224-41CD-B4E0-E297462320DD}" dt="2023-11-24T08:56:04.246" v="109418"/>
          <ac:spMkLst>
            <pc:docMk/>
            <pc:sldMk cId="1127354295" sldId="2147478564"/>
            <ac:spMk id="716" creationId="{8F647D1E-BF6B-F370-AE9D-D7A3DEF86F58}"/>
          </ac:spMkLst>
        </pc:spChg>
        <pc:spChg chg="add del mod">
          <ac:chgData name="Steiner Andreas 6206 ED" userId="e6377c33-a923-4f14-8587-531c474c7b48" providerId="ADAL" clId="{6ECD27E6-B224-41CD-B4E0-E297462320DD}" dt="2023-11-24T08:56:06.543" v="109573"/>
          <ac:spMkLst>
            <pc:docMk/>
            <pc:sldMk cId="1127354295" sldId="2147478564"/>
            <ac:spMk id="717" creationId="{97AB5A9C-4AEA-0DB3-24C9-C9E4D3848576}"/>
          </ac:spMkLst>
        </pc:spChg>
        <pc:spChg chg="add del mod">
          <ac:chgData name="Steiner Andreas 6206 ED" userId="e6377c33-a923-4f14-8587-531c474c7b48" providerId="ADAL" clId="{6ECD27E6-B224-41CD-B4E0-E297462320DD}" dt="2023-11-24T08:56:08.815" v="109728"/>
          <ac:spMkLst>
            <pc:docMk/>
            <pc:sldMk cId="1127354295" sldId="2147478564"/>
            <ac:spMk id="718" creationId="{B78FBF19-B8AC-B954-3713-150D7B0EB783}"/>
          </ac:spMkLst>
        </pc:spChg>
        <pc:spChg chg="add del mod">
          <ac:chgData name="Steiner Andreas 6206 ED" userId="e6377c33-a923-4f14-8587-531c474c7b48" providerId="ADAL" clId="{6ECD27E6-B224-41CD-B4E0-E297462320DD}" dt="2023-11-24T08:56:10.864" v="109883"/>
          <ac:spMkLst>
            <pc:docMk/>
            <pc:sldMk cId="1127354295" sldId="2147478564"/>
            <ac:spMk id="719" creationId="{88E0A843-DB5F-FFC9-0E97-C5B9BB5A96CD}"/>
          </ac:spMkLst>
        </pc:spChg>
        <pc:spChg chg="add del mod">
          <ac:chgData name="Steiner Andreas 6206 ED" userId="e6377c33-a923-4f14-8587-531c474c7b48" providerId="ADAL" clId="{6ECD27E6-B224-41CD-B4E0-E297462320DD}" dt="2023-11-24T08:56:12.984" v="110038"/>
          <ac:spMkLst>
            <pc:docMk/>
            <pc:sldMk cId="1127354295" sldId="2147478564"/>
            <ac:spMk id="720" creationId="{DC8D7991-448F-9464-E090-543EAB0AED6A}"/>
          </ac:spMkLst>
        </pc:spChg>
        <pc:spChg chg="add del mod">
          <ac:chgData name="Steiner Andreas 6206 ED" userId="e6377c33-a923-4f14-8587-531c474c7b48" providerId="ADAL" clId="{6ECD27E6-B224-41CD-B4E0-E297462320DD}" dt="2023-11-24T08:56:15.116" v="110193"/>
          <ac:spMkLst>
            <pc:docMk/>
            <pc:sldMk cId="1127354295" sldId="2147478564"/>
            <ac:spMk id="721" creationId="{C5E847FF-DBDB-0CD7-B23F-5A5C0B26FA12}"/>
          </ac:spMkLst>
        </pc:spChg>
        <pc:spChg chg="add del mod">
          <ac:chgData name="Steiner Andreas 6206 ED" userId="e6377c33-a923-4f14-8587-531c474c7b48" providerId="ADAL" clId="{6ECD27E6-B224-41CD-B4E0-E297462320DD}" dt="2023-11-24T08:56:17.075" v="110348"/>
          <ac:spMkLst>
            <pc:docMk/>
            <pc:sldMk cId="1127354295" sldId="2147478564"/>
            <ac:spMk id="722" creationId="{03F055A2-0931-D3F0-5BF1-103652B98C30}"/>
          </ac:spMkLst>
        </pc:spChg>
        <pc:spChg chg="add del mod">
          <ac:chgData name="Steiner Andreas 6206 ED" userId="e6377c33-a923-4f14-8587-531c474c7b48" providerId="ADAL" clId="{6ECD27E6-B224-41CD-B4E0-E297462320DD}" dt="2023-11-24T08:56:19.058" v="110503"/>
          <ac:spMkLst>
            <pc:docMk/>
            <pc:sldMk cId="1127354295" sldId="2147478564"/>
            <ac:spMk id="723" creationId="{5C377AC7-E4E9-F20A-C2B2-9D6FC55D3CF5}"/>
          </ac:spMkLst>
        </pc:spChg>
        <pc:spChg chg="add del mod">
          <ac:chgData name="Steiner Andreas 6206 ED" userId="e6377c33-a923-4f14-8587-531c474c7b48" providerId="ADAL" clId="{6ECD27E6-B224-41CD-B4E0-E297462320DD}" dt="2023-11-24T08:56:20.997" v="110658"/>
          <ac:spMkLst>
            <pc:docMk/>
            <pc:sldMk cId="1127354295" sldId="2147478564"/>
            <ac:spMk id="724" creationId="{87C638ED-FFAE-C7EE-461B-3FA623A5AED1}"/>
          </ac:spMkLst>
        </pc:spChg>
        <pc:spChg chg="add del mod">
          <ac:chgData name="Steiner Andreas 6206 ED" userId="e6377c33-a923-4f14-8587-531c474c7b48" providerId="ADAL" clId="{6ECD27E6-B224-41CD-B4E0-E297462320DD}" dt="2023-11-24T08:56:23.147" v="110813"/>
          <ac:spMkLst>
            <pc:docMk/>
            <pc:sldMk cId="1127354295" sldId="2147478564"/>
            <ac:spMk id="725" creationId="{05BB9A50-B61C-28CB-6EED-C8A085C86ECA}"/>
          </ac:spMkLst>
        </pc:spChg>
        <pc:spChg chg="add del mod">
          <ac:chgData name="Steiner Andreas 6206 ED" userId="e6377c33-a923-4f14-8587-531c474c7b48" providerId="ADAL" clId="{6ECD27E6-B224-41CD-B4E0-E297462320DD}" dt="2023-11-24T08:56:25.343" v="110968"/>
          <ac:spMkLst>
            <pc:docMk/>
            <pc:sldMk cId="1127354295" sldId="2147478564"/>
            <ac:spMk id="726" creationId="{AC7D2AD3-D7CA-C371-92DC-665EBC1E30E6}"/>
          </ac:spMkLst>
        </pc:spChg>
        <pc:spChg chg="add del mod">
          <ac:chgData name="Steiner Andreas 6206 ED" userId="e6377c33-a923-4f14-8587-531c474c7b48" providerId="ADAL" clId="{6ECD27E6-B224-41CD-B4E0-E297462320DD}" dt="2023-11-24T08:56:27.381" v="111123"/>
          <ac:spMkLst>
            <pc:docMk/>
            <pc:sldMk cId="1127354295" sldId="2147478564"/>
            <ac:spMk id="727" creationId="{4FB05190-4F0C-9A87-8162-DE90F0B482CA}"/>
          </ac:spMkLst>
        </pc:spChg>
        <pc:spChg chg="add del mod">
          <ac:chgData name="Steiner Andreas 6206 ED" userId="e6377c33-a923-4f14-8587-531c474c7b48" providerId="ADAL" clId="{6ECD27E6-B224-41CD-B4E0-E297462320DD}" dt="2023-11-24T08:56:29.434" v="111278"/>
          <ac:spMkLst>
            <pc:docMk/>
            <pc:sldMk cId="1127354295" sldId="2147478564"/>
            <ac:spMk id="728" creationId="{5A47EC43-8EAF-43A0-E48E-451808FD10A5}"/>
          </ac:spMkLst>
        </pc:spChg>
        <pc:spChg chg="add del mod">
          <ac:chgData name="Steiner Andreas 6206 ED" userId="e6377c33-a923-4f14-8587-531c474c7b48" providerId="ADAL" clId="{6ECD27E6-B224-41CD-B4E0-E297462320DD}" dt="2023-11-24T08:56:31.514" v="111433"/>
          <ac:spMkLst>
            <pc:docMk/>
            <pc:sldMk cId="1127354295" sldId="2147478564"/>
            <ac:spMk id="729" creationId="{3F3D027D-C085-2A35-EB1E-1085190BAADE}"/>
          </ac:spMkLst>
        </pc:spChg>
        <pc:spChg chg="add del mod">
          <ac:chgData name="Steiner Andreas 6206 ED" userId="e6377c33-a923-4f14-8587-531c474c7b48" providerId="ADAL" clId="{6ECD27E6-B224-41CD-B4E0-E297462320DD}" dt="2023-11-24T08:56:33.752" v="111588"/>
          <ac:spMkLst>
            <pc:docMk/>
            <pc:sldMk cId="1127354295" sldId="2147478564"/>
            <ac:spMk id="730" creationId="{D76D72C6-F61E-718B-A604-A12A7070CCC5}"/>
          </ac:spMkLst>
        </pc:spChg>
        <pc:spChg chg="add del mod">
          <ac:chgData name="Steiner Andreas 6206 ED" userId="e6377c33-a923-4f14-8587-531c474c7b48" providerId="ADAL" clId="{6ECD27E6-B224-41CD-B4E0-E297462320DD}" dt="2023-11-24T08:56:35.939" v="111743"/>
          <ac:spMkLst>
            <pc:docMk/>
            <pc:sldMk cId="1127354295" sldId="2147478564"/>
            <ac:spMk id="731" creationId="{84F96836-8504-E472-C318-5ACD3E6E99DD}"/>
          </ac:spMkLst>
        </pc:spChg>
        <pc:spChg chg="add del mod">
          <ac:chgData name="Steiner Andreas 6206 ED" userId="e6377c33-a923-4f14-8587-531c474c7b48" providerId="ADAL" clId="{6ECD27E6-B224-41CD-B4E0-E297462320DD}" dt="2023-11-24T08:56:37.994" v="111898"/>
          <ac:spMkLst>
            <pc:docMk/>
            <pc:sldMk cId="1127354295" sldId="2147478564"/>
            <ac:spMk id="732" creationId="{B9F0751A-DAF0-8761-B922-A1E34DA78385}"/>
          </ac:spMkLst>
        </pc:spChg>
        <pc:spChg chg="add del mod">
          <ac:chgData name="Steiner Andreas 6206 ED" userId="e6377c33-a923-4f14-8587-531c474c7b48" providerId="ADAL" clId="{6ECD27E6-B224-41CD-B4E0-E297462320DD}" dt="2023-11-24T08:56:40.131" v="112053"/>
          <ac:spMkLst>
            <pc:docMk/>
            <pc:sldMk cId="1127354295" sldId="2147478564"/>
            <ac:spMk id="733" creationId="{ABCFBA18-12C0-FCA0-5544-A12C02236385}"/>
          </ac:spMkLst>
        </pc:spChg>
        <pc:spChg chg="add del mod">
          <ac:chgData name="Steiner Andreas 6206 ED" userId="e6377c33-a923-4f14-8587-531c474c7b48" providerId="ADAL" clId="{6ECD27E6-B224-41CD-B4E0-E297462320DD}" dt="2023-11-24T08:56:42.082" v="112208"/>
          <ac:spMkLst>
            <pc:docMk/>
            <pc:sldMk cId="1127354295" sldId="2147478564"/>
            <ac:spMk id="734" creationId="{C8C00B5E-D56C-0C23-16BF-66AFD19A406D}"/>
          </ac:spMkLst>
        </pc:spChg>
        <pc:spChg chg="add del mod">
          <ac:chgData name="Steiner Andreas 6206 ED" userId="e6377c33-a923-4f14-8587-531c474c7b48" providerId="ADAL" clId="{6ECD27E6-B224-41CD-B4E0-E297462320DD}" dt="2023-11-24T08:56:44.087" v="112363"/>
          <ac:spMkLst>
            <pc:docMk/>
            <pc:sldMk cId="1127354295" sldId="2147478564"/>
            <ac:spMk id="735" creationId="{C739E3AC-74D1-BA3C-3D88-DC2A387D4C8D}"/>
          </ac:spMkLst>
        </pc:spChg>
        <pc:spChg chg="add del mod">
          <ac:chgData name="Steiner Andreas 6206 ED" userId="e6377c33-a923-4f14-8587-531c474c7b48" providerId="ADAL" clId="{6ECD27E6-B224-41CD-B4E0-E297462320DD}" dt="2023-11-24T08:56:46.111" v="112518"/>
          <ac:spMkLst>
            <pc:docMk/>
            <pc:sldMk cId="1127354295" sldId="2147478564"/>
            <ac:spMk id="736" creationId="{36157EA1-151F-9630-E236-93C4D0D1D807}"/>
          </ac:spMkLst>
        </pc:spChg>
        <pc:spChg chg="add del mod">
          <ac:chgData name="Steiner Andreas 6206 ED" userId="e6377c33-a923-4f14-8587-531c474c7b48" providerId="ADAL" clId="{6ECD27E6-B224-41CD-B4E0-E297462320DD}" dt="2023-11-24T08:56:48.332" v="112673"/>
          <ac:spMkLst>
            <pc:docMk/>
            <pc:sldMk cId="1127354295" sldId="2147478564"/>
            <ac:spMk id="737" creationId="{F70C2BCC-CED7-B5E5-5F16-6881249553D6}"/>
          </ac:spMkLst>
        </pc:spChg>
        <pc:spChg chg="add del mod">
          <ac:chgData name="Steiner Andreas 6206 ED" userId="e6377c33-a923-4f14-8587-531c474c7b48" providerId="ADAL" clId="{6ECD27E6-B224-41CD-B4E0-E297462320DD}" dt="2023-11-24T08:56:50.384" v="112828"/>
          <ac:spMkLst>
            <pc:docMk/>
            <pc:sldMk cId="1127354295" sldId="2147478564"/>
            <ac:spMk id="738" creationId="{4B7BF213-149C-3FD6-BB57-CB27BBD5A5C5}"/>
          </ac:spMkLst>
        </pc:spChg>
        <pc:spChg chg="add del mod">
          <ac:chgData name="Steiner Andreas 6206 ED" userId="e6377c33-a923-4f14-8587-531c474c7b48" providerId="ADAL" clId="{6ECD27E6-B224-41CD-B4E0-E297462320DD}" dt="2023-11-24T08:56:52.312" v="112983"/>
          <ac:spMkLst>
            <pc:docMk/>
            <pc:sldMk cId="1127354295" sldId="2147478564"/>
            <ac:spMk id="739" creationId="{27ED1CBC-E868-147A-826D-71E7BA72BA8C}"/>
          </ac:spMkLst>
        </pc:spChg>
        <pc:spChg chg="add del mod">
          <ac:chgData name="Steiner Andreas 6206 ED" userId="e6377c33-a923-4f14-8587-531c474c7b48" providerId="ADAL" clId="{6ECD27E6-B224-41CD-B4E0-E297462320DD}" dt="2023-11-24T08:56:54.441" v="113138"/>
          <ac:spMkLst>
            <pc:docMk/>
            <pc:sldMk cId="1127354295" sldId="2147478564"/>
            <ac:spMk id="740" creationId="{CF24F347-1A47-A821-6E08-F9121C378704}"/>
          </ac:spMkLst>
        </pc:spChg>
        <pc:spChg chg="add del mod">
          <ac:chgData name="Steiner Andreas 6206 ED" userId="e6377c33-a923-4f14-8587-531c474c7b48" providerId="ADAL" clId="{6ECD27E6-B224-41CD-B4E0-E297462320DD}" dt="2023-11-24T08:56:56.390" v="113293"/>
          <ac:spMkLst>
            <pc:docMk/>
            <pc:sldMk cId="1127354295" sldId="2147478564"/>
            <ac:spMk id="741" creationId="{BAB3D0DC-9375-0326-2B01-64EB44CA5B3A}"/>
          </ac:spMkLst>
        </pc:spChg>
        <pc:spChg chg="add del mod">
          <ac:chgData name="Steiner Andreas 6206 ED" userId="e6377c33-a923-4f14-8587-531c474c7b48" providerId="ADAL" clId="{6ECD27E6-B224-41CD-B4E0-E297462320DD}" dt="2023-11-24T08:56:58.542" v="113448"/>
          <ac:spMkLst>
            <pc:docMk/>
            <pc:sldMk cId="1127354295" sldId="2147478564"/>
            <ac:spMk id="742" creationId="{FA078499-8DE5-37FA-8FF2-07A1FF4A2EAD}"/>
          </ac:spMkLst>
        </pc:spChg>
        <pc:spChg chg="add del mod">
          <ac:chgData name="Steiner Andreas 6206 ED" userId="e6377c33-a923-4f14-8587-531c474c7b48" providerId="ADAL" clId="{6ECD27E6-B224-41CD-B4E0-E297462320DD}" dt="2023-11-24T08:57:00.830" v="113603"/>
          <ac:spMkLst>
            <pc:docMk/>
            <pc:sldMk cId="1127354295" sldId="2147478564"/>
            <ac:spMk id="743" creationId="{F5C3CD2E-FC44-5032-0DB9-C92DCAA0CF5E}"/>
          </ac:spMkLst>
        </pc:spChg>
        <pc:spChg chg="add del mod">
          <ac:chgData name="Steiner Andreas 6206 ED" userId="e6377c33-a923-4f14-8587-531c474c7b48" providerId="ADAL" clId="{6ECD27E6-B224-41CD-B4E0-E297462320DD}" dt="2023-11-24T08:57:03.241" v="113758"/>
          <ac:spMkLst>
            <pc:docMk/>
            <pc:sldMk cId="1127354295" sldId="2147478564"/>
            <ac:spMk id="744" creationId="{B85FBCDA-0936-B37C-0F37-C2C5942CC65B}"/>
          </ac:spMkLst>
        </pc:spChg>
        <pc:spChg chg="add del mod">
          <ac:chgData name="Steiner Andreas 6206 ED" userId="e6377c33-a923-4f14-8587-531c474c7b48" providerId="ADAL" clId="{6ECD27E6-B224-41CD-B4E0-E297462320DD}" dt="2023-11-24T09:02:21.834" v="113913"/>
          <ac:spMkLst>
            <pc:docMk/>
            <pc:sldMk cId="1127354295" sldId="2147478564"/>
            <ac:spMk id="745" creationId="{44A4F840-6617-07BD-3C4D-BB8C843F9A92}"/>
          </ac:spMkLst>
        </pc:spChg>
        <pc:spChg chg="add del mod">
          <ac:chgData name="Steiner Andreas 6206 ED" userId="e6377c33-a923-4f14-8587-531c474c7b48" providerId="ADAL" clId="{6ECD27E6-B224-41CD-B4E0-E297462320DD}" dt="2023-11-24T09:02:27.612" v="114068"/>
          <ac:spMkLst>
            <pc:docMk/>
            <pc:sldMk cId="1127354295" sldId="2147478564"/>
            <ac:spMk id="746" creationId="{38736259-5FCC-4937-9B73-4021ACDDE0AD}"/>
          </ac:spMkLst>
        </pc:spChg>
        <pc:spChg chg="add del mod">
          <ac:chgData name="Steiner Andreas 6206 ED" userId="e6377c33-a923-4f14-8587-531c474c7b48" providerId="ADAL" clId="{6ECD27E6-B224-41CD-B4E0-E297462320DD}" dt="2023-11-24T09:02:30.244" v="114223"/>
          <ac:spMkLst>
            <pc:docMk/>
            <pc:sldMk cId="1127354295" sldId="2147478564"/>
            <ac:spMk id="747" creationId="{1168A45F-D1EB-8AF5-54AB-C5202DDCF57B}"/>
          </ac:spMkLst>
        </pc:spChg>
        <pc:spChg chg="add del mod">
          <ac:chgData name="Steiner Andreas 6206 ED" userId="e6377c33-a923-4f14-8587-531c474c7b48" providerId="ADAL" clId="{6ECD27E6-B224-41CD-B4E0-E297462320DD}" dt="2023-11-24T09:02:33.618" v="114378"/>
          <ac:spMkLst>
            <pc:docMk/>
            <pc:sldMk cId="1127354295" sldId="2147478564"/>
            <ac:spMk id="748" creationId="{E73E0B41-FC5C-55A7-16FA-C87DFF4A0DAD}"/>
          </ac:spMkLst>
        </pc:spChg>
        <pc:spChg chg="add del mod">
          <ac:chgData name="Steiner Andreas 6206 ED" userId="e6377c33-a923-4f14-8587-531c474c7b48" providerId="ADAL" clId="{6ECD27E6-B224-41CD-B4E0-E297462320DD}" dt="2023-11-24T09:02:36.964" v="114533"/>
          <ac:spMkLst>
            <pc:docMk/>
            <pc:sldMk cId="1127354295" sldId="2147478564"/>
            <ac:spMk id="749" creationId="{A7990CE1-7CF8-78DD-BFAD-DC15B2FA6C56}"/>
          </ac:spMkLst>
        </pc:spChg>
        <pc:spChg chg="add del mod">
          <ac:chgData name="Steiner Andreas 6206 ED" userId="e6377c33-a923-4f14-8587-531c474c7b48" providerId="ADAL" clId="{6ECD27E6-B224-41CD-B4E0-E297462320DD}" dt="2023-11-24T11:31:22.771" v="114688"/>
          <ac:spMkLst>
            <pc:docMk/>
            <pc:sldMk cId="1127354295" sldId="2147478564"/>
            <ac:spMk id="750" creationId="{9CA7418C-BE1E-B51D-DF91-1B8EBA519A71}"/>
          </ac:spMkLst>
        </pc:spChg>
        <pc:spChg chg="add del mod">
          <ac:chgData name="Steiner Andreas 6206 ED" userId="e6377c33-a923-4f14-8587-531c474c7b48" providerId="ADAL" clId="{6ECD27E6-B224-41CD-B4E0-E297462320DD}" dt="2023-11-24T11:33:30.067" v="114843"/>
          <ac:spMkLst>
            <pc:docMk/>
            <pc:sldMk cId="1127354295" sldId="2147478564"/>
            <ac:spMk id="751" creationId="{49739561-7EF2-D4CE-11B1-E2C163CD3A8B}"/>
          </ac:spMkLst>
        </pc:spChg>
        <pc:spChg chg="add del mod">
          <ac:chgData name="Steiner Andreas 6206 ED" userId="e6377c33-a923-4f14-8587-531c474c7b48" providerId="ADAL" clId="{6ECD27E6-B224-41CD-B4E0-E297462320DD}" dt="2023-11-24T11:33:36.534" v="114998"/>
          <ac:spMkLst>
            <pc:docMk/>
            <pc:sldMk cId="1127354295" sldId="2147478564"/>
            <ac:spMk id="752" creationId="{B78E844D-90FB-3E3D-CFCA-FD7728B4923F}"/>
          </ac:spMkLst>
        </pc:spChg>
        <pc:spChg chg="add del mod">
          <ac:chgData name="Steiner Andreas 6206 ED" userId="e6377c33-a923-4f14-8587-531c474c7b48" providerId="ADAL" clId="{6ECD27E6-B224-41CD-B4E0-E297462320DD}" dt="2023-11-24T11:33:39.664" v="115153"/>
          <ac:spMkLst>
            <pc:docMk/>
            <pc:sldMk cId="1127354295" sldId="2147478564"/>
            <ac:spMk id="753" creationId="{CE2950A9-B1A5-5ABE-AC68-F1B4FF214728}"/>
          </ac:spMkLst>
        </pc:spChg>
        <pc:spChg chg="add del mod">
          <ac:chgData name="Steiner Andreas 6206 ED" userId="e6377c33-a923-4f14-8587-531c474c7b48" providerId="ADAL" clId="{6ECD27E6-B224-41CD-B4E0-E297462320DD}" dt="2023-11-24T11:33:43.278" v="115308"/>
          <ac:spMkLst>
            <pc:docMk/>
            <pc:sldMk cId="1127354295" sldId="2147478564"/>
            <ac:spMk id="754" creationId="{0F73F144-E28C-0D66-8E58-54C358E063FA}"/>
          </ac:spMkLst>
        </pc:spChg>
        <pc:spChg chg="add del mod">
          <ac:chgData name="Steiner Andreas 6206 ED" userId="e6377c33-a923-4f14-8587-531c474c7b48" providerId="ADAL" clId="{6ECD27E6-B224-41CD-B4E0-E297462320DD}" dt="2023-11-24T11:33:46.452" v="115463"/>
          <ac:spMkLst>
            <pc:docMk/>
            <pc:sldMk cId="1127354295" sldId="2147478564"/>
            <ac:spMk id="755" creationId="{7A64A236-3E46-8E44-E5DC-81A40D9B0278}"/>
          </ac:spMkLst>
        </pc:spChg>
        <pc:spChg chg="add del mod">
          <ac:chgData name="Steiner Andreas 6206 ED" userId="e6377c33-a923-4f14-8587-531c474c7b48" providerId="ADAL" clId="{6ECD27E6-B224-41CD-B4E0-E297462320DD}" dt="2023-11-24T11:33:49.501" v="115618"/>
          <ac:spMkLst>
            <pc:docMk/>
            <pc:sldMk cId="1127354295" sldId="2147478564"/>
            <ac:spMk id="756" creationId="{6F4FF3B9-FBB5-9CF6-5311-7284B8785B01}"/>
          </ac:spMkLst>
        </pc:spChg>
        <pc:spChg chg="add del mod">
          <ac:chgData name="Steiner Andreas 6206 ED" userId="e6377c33-a923-4f14-8587-531c474c7b48" providerId="ADAL" clId="{6ECD27E6-B224-41CD-B4E0-E297462320DD}" dt="2023-11-24T11:33:52.164" v="115773"/>
          <ac:spMkLst>
            <pc:docMk/>
            <pc:sldMk cId="1127354295" sldId="2147478564"/>
            <ac:spMk id="757" creationId="{80C76A4B-6DF6-30F1-612B-F33A69D4CDC6}"/>
          </ac:spMkLst>
        </pc:spChg>
        <pc:spChg chg="add del mod">
          <ac:chgData name="Steiner Andreas 6206 ED" userId="e6377c33-a923-4f14-8587-531c474c7b48" providerId="ADAL" clId="{6ECD27E6-B224-41CD-B4E0-E297462320DD}" dt="2023-11-24T11:33:55.033" v="115928"/>
          <ac:spMkLst>
            <pc:docMk/>
            <pc:sldMk cId="1127354295" sldId="2147478564"/>
            <ac:spMk id="758" creationId="{A4AA8836-3B92-0517-604F-F23806045823}"/>
          </ac:spMkLst>
        </pc:spChg>
        <pc:spChg chg="add del mod">
          <ac:chgData name="Steiner Andreas 6206 ED" userId="e6377c33-a923-4f14-8587-531c474c7b48" providerId="ADAL" clId="{6ECD27E6-B224-41CD-B4E0-E297462320DD}" dt="2023-11-24T11:33:57.466" v="116083"/>
          <ac:spMkLst>
            <pc:docMk/>
            <pc:sldMk cId="1127354295" sldId="2147478564"/>
            <ac:spMk id="759" creationId="{651E7F6E-D50C-F60D-1693-C1DA4BF140C1}"/>
          </ac:spMkLst>
        </pc:spChg>
        <pc:spChg chg="add del mod">
          <ac:chgData name="Steiner Andreas 6206 ED" userId="e6377c33-a923-4f14-8587-531c474c7b48" providerId="ADAL" clId="{6ECD27E6-B224-41CD-B4E0-E297462320DD}" dt="2023-11-24T11:33:59.803" v="116238"/>
          <ac:spMkLst>
            <pc:docMk/>
            <pc:sldMk cId="1127354295" sldId="2147478564"/>
            <ac:spMk id="760" creationId="{CA3DE467-6E5F-F224-DBD6-1E4315DE1CFF}"/>
          </ac:spMkLst>
        </pc:spChg>
        <pc:spChg chg="add del mod">
          <ac:chgData name="Steiner Andreas 6206 ED" userId="e6377c33-a923-4f14-8587-531c474c7b48" providerId="ADAL" clId="{6ECD27E6-B224-41CD-B4E0-E297462320DD}" dt="2023-11-24T11:34:02.188" v="116393"/>
          <ac:spMkLst>
            <pc:docMk/>
            <pc:sldMk cId="1127354295" sldId="2147478564"/>
            <ac:spMk id="761" creationId="{A0076D2A-4C5B-FC79-3FF4-5B66DB73714F}"/>
          </ac:spMkLst>
        </pc:spChg>
        <pc:spChg chg="add del mod">
          <ac:chgData name="Steiner Andreas 6206 ED" userId="e6377c33-a923-4f14-8587-531c474c7b48" providerId="ADAL" clId="{6ECD27E6-B224-41CD-B4E0-E297462320DD}" dt="2023-11-24T11:34:04.472" v="116548"/>
          <ac:spMkLst>
            <pc:docMk/>
            <pc:sldMk cId="1127354295" sldId="2147478564"/>
            <ac:spMk id="762" creationId="{EB19A13D-14F0-388E-1552-B63D513419D7}"/>
          </ac:spMkLst>
        </pc:spChg>
        <pc:spChg chg="add del mod">
          <ac:chgData name="Steiner Andreas 6206 ED" userId="e6377c33-a923-4f14-8587-531c474c7b48" providerId="ADAL" clId="{6ECD27E6-B224-41CD-B4E0-E297462320DD}" dt="2023-11-24T11:34:07.013" v="116703"/>
          <ac:spMkLst>
            <pc:docMk/>
            <pc:sldMk cId="1127354295" sldId="2147478564"/>
            <ac:spMk id="763" creationId="{DB61DD86-B448-4197-DB53-10BE09D953EE}"/>
          </ac:spMkLst>
        </pc:spChg>
        <pc:spChg chg="add del mod">
          <ac:chgData name="Steiner Andreas 6206 ED" userId="e6377c33-a923-4f14-8587-531c474c7b48" providerId="ADAL" clId="{6ECD27E6-B224-41CD-B4E0-E297462320DD}" dt="2023-11-24T11:34:09.644" v="116858"/>
          <ac:spMkLst>
            <pc:docMk/>
            <pc:sldMk cId="1127354295" sldId="2147478564"/>
            <ac:spMk id="764" creationId="{37801CAC-3ECD-4ED9-3147-B44ABC76AD68}"/>
          </ac:spMkLst>
        </pc:spChg>
        <pc:spChg chg="add del mod">
          <ac:chgData name="Steiner Andreas 6206 ED" userId="e6377c33-a923-4f14-8587-531c474c7b48" providerId="ADAL" clId="{6ECD27E6-B224-41CD-B4E0-E297462320DD}" dt="2023-11-24T11:34:11.501" v="117013"/>
          <ac:spMkLst>
            <pc:docMk/>
            <pc:sldMk cId="1127354295" sldId="2147478564"/>
            <ac:spMk id="765" creationId="{EB1E3E08-07A3-4DB5-AC84-0AB4813A7C21}"/>
          </ac:spMkLst>
        </pc:spChg>
        <pc:spChg chg="add del mod">
          <ac:chgData name="Steiner Andreas 6206 ED" userId="e6377c33-a923-4f14-8587-531c474c7b48" providerId="ADAL" clId="{6ECD27E6-B224-41CD-B4E0-E297462320DD}" dt="2023-11-24T11:34:13.268" v="117168"/>
          <ac:spMkLst>
            <pc:docMk/>
            <pc:sldMk cId="1127354295" sldId="2147478564"/>
            <ac:spMk id="766" creationId="{23D74E01-980C-4275-B534-6A38FBFD319B}"/>
          </ac:spMkLst>
        </pc:spChg>
        <pc:spChg chg="add del mod">
          <ac:chgData name="Steiner Andreas 6206 ED" userId="e6377c33-a923-4f14-8587-531c474c7b48" providerId="ADAL" clId="{6ECD27E6-B224-41CD-B4E0-E297462320DD}" dt="2023-11-24T11:34:15.050" v="117323"/>
          <ac:spMkLst>
            <pc:docMk/>
            <pc:sldMk cId="1127354295" sldId="2147478564"/>
            <ac:spMk id="767" creationId="{3DB36803-DC4B-2901-687A-A6D77876CAC2}"/>
          </ac:spMkLst>
        </pc:spChg>
        <pc:spChg chg="add del mod">
          <ac:chgData name="Steiner Andreas 6206 ED" userId="e6377c33-a923-4f14-8587-531c474c7b48" providerId="ADAL" clId="{6ECD27E6-B224-41CD-B4E0-E297462320DD}" dt="2023-11-24T11:34:16.843" v="117478"/>
          <ac:spMkLst>
            <pc:docMk/>
            <pc:sldMk cId="1127354295" sldId="2147478564"/>
            <ac:spMk id="768" creationId="{7D353739-3D2F-7F51-6087-AD87165B1745}"/>
          </ac:spMkLst>
        </pc:spChg>
        <pc:spChg chg="add del mod">
          <ac:chgData name="Steiner Andreas 6206 ED" userId="e6377c33-a923-4f14-8587-531c474c7b48" providerId="ADAL" clId="{6ECD27E6-B224-41CD-B4E0-E297462320DD}" dt="2023-11-24T11:34:18.657" v="117633"/>
          <ac:spMkLst>
            <pc:docMk/>
            <pc:sldMk cId="1127354295" sldId="2147478564"/>
            <ac:spMk id="769" creationId="{389E9D40-8FEC-DE26-1B9A-32D523953C8A}"/>
          </ac:spMkLst>
        </pc:spChg>
        <pc:spChg chg="add del mod">
          <ac:chgData name="Steiner Andreas 6206 ED" userId="e6377c33-a923-4f14-8587-531c474c7b48" providerId="ADAL" clId="{6ECD27E6-B224-41CD-B4E0-E297462320DD}" dt="2023-11-24T11:34:20.807" v="117788"/>
          <ac:spMkLst>
            <pc:docMk/>
            <pc:sldMk cId="1127354295" sldId="2147478564"/>
            <ac:spMk id="770" creationId="{5C779816-3AE8-92F2-DE72-0CE54192AB9A}"/>
          </ac:spMkLst>
        </pc:spChg>
        <pc:spChg chg="add del mod">
          <ac:chgData name="Steiner Andreas 6206 ED" userId="e6377c33-a923-4f14-8587-531c474c7b48" providerId="ADAL" clId="{6ECD27E6-B224-41CD-B4E0-E297462320DD}" dt="2023-11-24T11:34:22.712" v="117943"/>
          <ac:spMkLst>
            <pc:docMk/>
            <pc:sldMk cId="1127354295" sldId="2147478564"/>
            <ac:spMk id="771" creationId="{E6FAFE65-20B4-C005-67F4-8BC00BE6BD15}"/>
          </ac:spMkLst>
        </pc:spChg>
        <pc:spChg chg="add del mod">
          <ac:chgData name="Steiner Andreas 6206 ED" userId="e6377c33-a923-4f14-8587-531c474c7b48" providerId="ADAL" clId="{6ECD27E6-B224-41CD-B4E0-E297462320DD}" dt="2023-11-24T11:34:24.808" v="118098"/>
          <ac:spMkLst>
            <pc:docMk/>
            <pc:sldMk cId="1127354295" sldId="2147478564"/>
            <ac:spMk id="772" creationId="{71BAF915-E31E-C940-763E-CEB0859F7A78}"/>
          </ac:spMkLst>
        </pc:spChg>
        <pc:spChg chg="add del mod">
          <ac:chgData name="Steiner Andreas 6206 ED" userId="e6377c33-a923-4f14-8587-531c474c7b48" providerId="ADAL" clId="{6ECD27E6-B224-41CD-B4E0-E297462320DD}" dt="2023-11-24T11:34:27.417" v="118253"/>
          <ac:spMkLst>
            <pc:docMk/>
            <pc:sldMk cId="1127354295" sldId="2147478564"/>
            <ac:spMk id="773" creationId="{D24B8E11-0A64-38BD-EAD3-77CA417ABFF9}"/>
          </ac:spMkLst>
        </pc:spChg>
        <pc:spChg chg="add del mod">
          <ac:chgData name="Steiner Andreas 6206 ED" userId="e6377c33-a923-4f14-8587-531c474c7b48" providerId="ADAL" clId="{6ECD27E6-B224-41CD-B4E0-E297462320DD}" dt="2023-11-24T11:34:29.432" v="118408"/>
          <ac:spMkLst>
            <pc:docMk/>
            <pc:sldMk cId="1127354295" sldId="2147478564"/>
            <ac:spMk id="774" creationId="{A19DCCC2-936E-4848-DE38-3891BDEA21AA}"/>
          </ac:spMkLst>
        </pc:spChg>
        <pc:spChg chg="add del mod">
          <ac:chgData name="Steiner Andreas 6206 ED" userId="e6377c33-a923-4f14-8587-531c474c7b48" providerId="ADAL" clId="{6ECD27E6-B224-41CD-B4E0-E297462320DD}" dt="2023-11-24T11:34:31.719" v="118563"/>
          <ac:spMkLst>
            <pc:docMk/>
            <pc:sldMk cId="1127354295" sldId="2147478564"/>
            <ac:spMk id="775" creationId="{D21B7EC2-78B4-2841-3764-D024F33A937B}"/>
          </ac:spMkLst>
        </pc:spChg>
        <pc:spChg chg="add del mod">
          <ac:chgData name="Steiner Andreas 6206 ED" userId="e6377c33-a923-4f14-8587-531c474c7b48" providerId="ADAL" clId="{6ECD27E6-B224-41CD-B4E0-E297462320DD}" dt="2023-11-24T11:34:33.656" v="118718"/>
          <ac:spMkLst>
            <pc:docMk/>
            <pc:sldMk cId="1127354295" sldId="2147478564"/>
            <ac:spMk id="776" creationId="{748B41B9-FDBB-9AEF-E4AB-0E7F453D0635}"/>
          </ac:spMkLst>
        </pc:spChg>
        <pc:spChg chg="add del mod">
          <ac:chgData name="Steiner Andreas 6206 ED" userId="e6377c33-a923-4f14-8587-531c474c7b48" providerId="ADAL" clId="{6ECD27E6-B224-41CD-B4E0-E297462320DD}" dt="2023-11-24T11:34:35.659" v="118873"/>
          <ac:spMkLst>
            <pc:docMk/>
            <pc:sldMk cId="1127354295" sldId="2147478564"/>
            <ac:spMk id="777" creationId="{BDBD655B-8D2D-1560-7CFE-2616D2EFE901}"/>
          </ac:spMkLst>
        </pc:spChg>
        <pc:spChg chg="add del mod">
          <ac:chgData name="Steiner Andreas 6206 ED" userId="e6377c33-a923-4f14-8587-531c474c7b48" providerId="ADAL" clId="{6ECD27E6-B224-41CD-B4E0-E297462320DD}" dt="2023-11-24T11:34:37.756" v="119028"/>
          <ac:spMkLst>
            <pc:docMk/>
            <pc:sldMk cId="1127354295" sldId="2147478564"/>
            <ac:spMk id="778" creationId="{DA84A5E7-A817-4BEC-F38C-977F966FB624}"/>
          </ac:spMkLst>
        </pc:spChg>
        <pc:spChg chg="add del mod">
          <ac:chgData name="Steiner Andreas 6206 ED" userId="e6377c33-a923-4f14-8587-531c474c7b48" providerId="ADAL" clId="{6ECD27E6-B224-41CD-B4E0-E297462320DD}" dt="2023-11-24T11:34:39.721" v="119183"/>
          <ac:spMkLst>
            <pc:docMk/>
            <pc:sldMk cId="1127354295" sldId="2147478564"/>
            <ac:spMk id="779" creationId="{DDC82E9F-AE58-0B6B-456E-F28DFD434405}"/>
          </ac:spMkLst>
        </pc:spChg>
        <pc:spChg chg="add del mod">
          <ac:chgData name="Steiner Andreas 6206 ED" userId="e6377c33-a923-4f14-8587-531c474c7b48" providerId="ADAL" clId="{6ECD27E6-B224-41CD-B4E0-E297462320DD}" dt="2023-11-24T11:34:41.899" v="119338"/>
          <ac:spMkLst>
            <pc:docMk/>
            <pc:sldMk cId="1127354295" sldId="2147478564"/>
            <ac:spMk id="780" creationId="{85A4AFE6-FC8C-B3C2-2304-D6D4ACC61AA1}"/>
          </ac:spMkLst>
        </pc:spChg>
        <pc:spChg chg="add del mod">
          <ac:chgData name="Steiner Andreas 6206 ED" userId="e6377c33-a923-4f14-8587-531c474c7b48" providerId="ADAL" clId="{6ECD27E6-B224-41CD-B4E0-E297462320DD}" dt="2023-11-24T11:34:44.039" v="119493"/>
          <ac:spMkLst>
            <pc:docMk/>
            <pc:sldMk cId="1127354295" sldId="2147478564"/>
            <ac:spMk id="781" creationId="{16006E2E-6C75-B117-F1E4-2E3A89E5D408}"/>
          </ac:spMkLst>
        </pc:spChg>
        <pc:spChg chg="add del mod">
          <ac:chgData name="Steiner Andreas 6206 ED" userId="e6377c33-a923-4f14-8587-531c474c7b48" providerId="ADAL" clId="{6ECD27E6-B224-41CD-B4E0-E297462320DD}" dt="2023-11-24T11:34:46.035" v="119648"/>
          <ac:spMkLst>
            <pc:docMk/>
            <pc:sldMk cId="1127354295" sldId="2147478564"/>
            <ac:spMk id="782" creationId="{5C3FE2B2-AB0F-C1A4-AA61-D2EAD5E69D7D}"/>
          </ac:spMkLst>
        </pc:spChg>
        <pc:spChg chg="add del mod">
          <ac:chgData name="Steiner Andreas 6206 ED" userId="e6377c33-a923-4f14-8587-531c474c7b48" providerId="ADAL" clId="{6ECD27E6-B224-41CD-B4E0-E297462320DD}" dt="2023-11-24T11:34:47.938" v="119803"/>
          <ac:spMkLst>
            <pc:docMk/>
            <pc:sldMk cId="1127354295" sldId="2147478564"/>
            <ac:spMk id="783" creationId="{74C921EA-A969-B8D9-B5BB-F1207F8CECC2}"/>
          </ac:spMkLst>
        </pc:spChg>
        <pc:spChg chg="add del mod">
          <ac:chgData name="Steiner Andreas 6206 ED" userId="e6377c33-a923-4f14-8587-531c474c7b48" providerId="ADAL" clId="{6ECD27E6-B224-41CD-B4E0-E297462320DD}" dt="2023-11-24T11:34:50.153" v="119958"/>
          <ac:spMkLst>
            <pc:docMk/>
            <pc:sldMk cId="1127354295" sldId="2147478564"/>
            <ac:spMk id="784" creationId="{0B565F1D-07EB-741A-B382-D194F2046D48}"/>
          </ac:spMkLst>
        </pc:spChg>
        <pc:spChg chg="add del mod">
          <ac:chgData name="Steiner Andreas 6206 ED" userId="e6377c33-a923-4f14-8587-531c474c7b48" providerId="ADAL" clId="{6ECD27E6-B224-41CD-B4E0-E297462320DD}" dt="2023-11-24T11:34:52.258" v="120113"/>
          <ac:spMkLst>
            <pc:docMk/>
            <pc:sldMk cId="1127354295" sldId="2147478564"/>
            <ac:spMk id="785" creationId="{D079BB5E-7616-60CB-6EB4-96CCFCF21E84}"/>
          </ac:spMkLst>
        </pc:spChg>
        <pc:spChg chg="add del mod">
          <ac:chgData name="Steiner Andreas 6206 ED" userId="e6377c33-a923-4f14-8587-531c474c7b48" providerId="ADAL" clId="{6ECD27E6-B224-41CD-B4E0-E297462320DD}" dt="2023-11-24T11:34:54.187" v="120268"/>
          <ac:spMkLst>
            <pc:docMk/>
            <pc:sldMk cId="1127354295" sldId="2147478564"/>
            <ac:spMk id="786" creationId="{708DD154-9ACD-D5E2-8D10-5D3CAD4F0D1F}"/>
          </ac:spMkLst>
        </pc:spChg>
        <pc:spChg chg="add del mod">
          <ac:chgData name="Steiner Andreas 6206 ED" userId="e6377c33-a923-4f14-8587-531c474c7b48" providerId="ADAL" clId="{6ECD27E6-B224-41CD-B4E0-E297462320DD}" dt="2023-11-24T11:34:56.053" v="120423"/>
          <ac:spMkLst>
            <pc:docMk/>
            <pc:sldMk cId="1127354295" sldId="2147478564"/>
            <ac:spMk id="787" creationId="{53C58F2D-00A1-D6F3-4253-007D9ECCB609}"/>
          </ac:spMkLst>
        </pc:spChg>
        <pc:spChg chg="add del mod">
          <ac:chgData name="Steiner Andreas 6206 ED" userId="e6377c33-a923-4f14-8587-531c474c7b48" providerId="ADAL" clId="{6ECD27E6-B224-41CD-B4E0-E297462320DD}" dt="2023-11-24T11:34:57.887" v="120578"/>
          <ac:spMkLst>
            <pc:docMk/>
            <pc:sldMk cId="1127354295" sldId="2147478564"/>
            <ac:spMk id="788" creationId="{048C8708-8ACD-A1B6-EB7E-88B1EBC0EB0A}"/>
          </ac:spMkLst>
        </pc:spChg>
        <pc:spChg chg="add del mod">
          <ac:chgData name="Steiner Andreas 6206 ED" userId="e6377c33-a923-4f14-8587-531c474c7b48" providerId="ADAL" clId="{6ECD27E6-B224-41CD-B4E0-E297462320DD}" dt="2023-11-24T11:34:59.751" v="120733"/>
          <ac:spMkLst>
            <pc:docMk/>
            <pc:sldMk cId="1127354295" sldId="2147478564"/>
            <ac:spMk id="789" creationId="{64872DA6-D103-C5FD-75A5-EFB4F7C5D682}"/>
          </ac:spMkLst>
        </pc:spChg>
        <pc:spChg chg="add del mod">
          <ac:chgData name="Steiner Andreas 6206 ED" userId="e6377c33-a923-4f14-8587-531c474c7b48" providerId="ADAL" clId="{6ECD27E6-B224-41CD-B4E0-E297462320DD}" dt="2023-11-24T11:35:01.593" v="120888"/>
          <ac:spMkLst>
            <pc:docMk/>
            <pc:sldMk cId="1127354295" sldId="2147478564"/>
            <ac:spMk id="790" creationId="{7A48640E-74A3-5CD8-DBD3-E649D256A8DB}"/>
          </ac:spMkLst>
        </pc:spChg>
        <pc:spChg chg="add del mod">
          <ac:chgData name="Steiner Andreas 6206 ED" userId="e6377c33-a923-4f14-8587-531c474c7b48" providerId="ADAL" clId="{6ECD27E6-B224-41CD-B4E0-E297462320DD}" dt="2023-11-24T11:35:03.463" v="121043"/>
          <ac:spMkLst>
            <pc:docMk/>
            <pc:sldMk cId="1127354295" sldId="2147478564"/>
            <ac:spMk id="791" creationId="{16619134-B237-C1C1-D87B-460534E33225}"/>
          </ac:spMkLst>
        </pc:spChg>
        <pc:spChg chg="add del mod">
          <ac:chgData name="Steiner Andreas 6206 ED" userId="e6377c33-a923-4f14-8587-531c474c7b48" providerId="ADAL" clId="{6ECD27E6-B224-41CD-B4E0-E297462320DD}" dt="2023-11-24T11:35:05.365" v="121198"/>
          <ac:spMkLst>
            <pc:docMk/>
            <pc:sldMk cId="1127354295" sldId="2147478564"/>
            <ac:spMk id="792" creationId="{7EA2E89D-61C4-F194-4203-DBE56A98E6EF}"/>
          </ac:spMkLst>
        </pc:spChg>
        <pc:spChg chg="add del mod">
          <ac:chgData name="Steiner Andreas 6206 ED" userId="e6377c33-a923-4f14-8587-531c474c7b48" providerId="ADAL" clId="{6ECD27E6-B224-41CD-B4E0-E297462320DD}" dt="2023-11-24T11:35:07.570" v="121353"/>
          <ac:spMkLst>
            <pc:docMk/>
            <pc:sldMk cId="1127354295" sldId="2147478564"/>
            <ac:spMk id="793" creationId="{051C4014-C88B-40F8-BB36-282BAB9D176E}"/>
          </ac:spMkLst>
        </pc:spChg>
        <pc:spChg chg="add del mod">
          <ac:chgData name="Steiner Andreas 6206 ED" userId="e6377c33-a923-4f14-8587-531c474c7b48" providerId="ADAL" clId="{6ECD27E6-B224-41CD-B4E0-E297462320DD}" dt="2023-11-24T11:35:09.513" v="121508"/>
          <ac:spMkLst>
            <pc:docMk/>
            <pc:sldMk cId="1127354295" sldId="2147478564"/>
            <ac:spMk id="794" creationId="{6AE6F7D1-BEF8-9067-2F9F-B3B4DC5DFBF3}"/>
          </ac:spMkLst>
        </pc:spChg>
        <pc:spChg chg="add del mod">
          <ac:chgData name="Steiner Andreas 6206 ED" userId="e6377c33-a923-4f14-8587-531c474c7b48" providerId="ADAL" clId="{6ECD27E6-B224-41CD-B4E0-E297462320DD}" dt="2023-11-24T11:35:11.480" v="121663"/>
          <ac:spMkLst>
            <pc:docMk/>
            <pc:sldMk cId="1127354295" sldId="2147478564"/>
            <ac:spMk id="795" creationId="{D7EC678C-428C-B361-1CA3-61959456980E}"/>
          </ac:spMkLst>
        </pc:spChg>
        <pc:spChg chg="add del mod">
          <ac:chgData name="Steiner Andreas 6206 ED" userId="e6377c33-a923-4f14-8587-531c474c7b48" providerId="ADAL" clId="{6ECD27E6-B224-41CD-B4E0-E297462320DD}" dt="2023-11-24T11:35:13.195" v="121818"/>
          <ac:spMkLst>
            <pc:docMk/>
            <pc:sldMk cId="1127354295" sldId="2147478564"/>
            <ac:spMk id="796" creationId="{6BF26479-7A9E-54A8-4BB9-7A83D44292ED}"/>
          </ac:spMkLst>
        </pc:spChg>
        <pc:spChg chg="add del mod">
          <ac:chgData name="Steiner Andreas 6206 ED" userId="e6377c33-a923-4f14-8587-531c474c7b48" providerId="ADAL" clId="{6ECD27E6-B224-41CD-B4E0-E297462320DD}" dt="2023-11-24T11:35:15.138" v="121973"/>
          <ac:spMkLst>
            <pc:docMk/>
            <pc:sldMk cId="1127354295" sldId="2147478564"/>
            <ac:spMk id="797" creationId="{57C500FE-6CDD-F22F-CB51-0BFF69185ABF}"/>
          </ac:spMkLst>
        </pc:spChg>
        <pc:spChg chg="add del mod">
          <ac:chgData name="Steiner Andreas 6206 ED" userId="e6377c33-a923-4f14-8587-531c474c7b48" providerId="ADAL" clId="{6ECD27E6-B224-41CD-B4E0-E297462320DD}" dt="2023-11-24T11:35:16.826" v="122128"/>
          <ac:spMkLst>
            <pc:docMk/>
            <pc:sldMk cId="1127354295" sldId="2147478564"/>
            <ac:spMk id="798" creationId="{BB44EFB3-3EE4-3472-0160-88515FD0B6F3}"/>
          </ac:spMkLst>
        </pc:spChg>
        <pc:spChg chg="add del mod">
          <ac:chgData name="Steiner Andreas 6206 ED" userId="e6377c33-a923-4f14-8587-531c474c7b48" providerId="ADAL" clId="{6ECD27E6-B224-41CD-B4E0-E297462320DD}" dt="2023-11-24T11:35:18.521" v="122283"/>
          <ac:spMkLst>
            <pc:docMk/>
            <pc:sldMk cId="1127354295" sldId="2147478564"/>
            <ac:spMk id="799" creationId="{D8EF7DC9-8834-E4B6-A8A3-02D17DC3184B}"/>
          </ac:spMkLst>
        </pc:spChg>
        <pc:spChg chg="add del mod">
          <ac:chgData name="Steiner Andreas 6206 ED" userId="e6377c33-a923-4f14-8587-531c474c7b48" providerId="ADAL" clId="{6ECD27E6-B224-41CD-B4E0-E297462320DD}" dt="2023-11-24T11:35:20.144" v="122438"/>
          <ac:spMkLst>
            <pc:docMk/>
            <pc:sldMk cId="1127354295" sldId="2147478564"/>
            <ac:spMk id="800" creationId="{CB9D0255-1B18-3F30-5951-F234942D4CAE}"/>
          </ac:spMkLst>
        </pc:spChg>
        <pc:spChg chg="add del mod">
          <ac:chgData name="Steiner Andreas 6206 ED" userId="e6377c33-a923-4f14-8587-531c474c7b48" providerId="ADAL" clId="{6ECD27E6-B224-41CD-B4E0-E297462320DD}" dt="2023-11-24T11:35:21.782" v="122593"/>
          <ac:spMkLst>
            <pc:docMk/>
            <pc:sldMk cId="1127354295" sldId="2147478564"/>
            <ac:spMk id="801" creationId="{3CA06F27-11AE-03FC-D1BF-B1C54BFBDDE7}"/>
          </ac:spMkLst>
        </pc:spChg>
        <pc:spChg chg="add del mod">
          <ac:chgData name="Steiner Andreas 6206 ED" userId="e6377c33-a923-4f14-8587-531c474c7b48" providerId="ADAL" clId="{6ECD27E6-B224-41CD-B4E0-E297462320DD}" dt="2023-11-24T11:35:23.509" v="122748"/>
          <ac:spMkLst>
            <pc:docMk/>
            <pc:sldMk cId="1127354295" sldId="2147478564"/>
            <ac:spMk id="802" creationId="{BC600B79-9168-2877-3DA5-A706863A9DEC}"/>
          </ac:spMkLst>
        </pc:spChg>
        <pc:spChg chg="add del mod">
          <ac:chgData name="Steiner Andreas 6206 ED" userId="e6377c33-a923-4f14-8587-531c474c7b48" providerId="ADAL" clId="{6ECD27E6-B224-41CD-B4E0-E297462320DD}" dt="2023-11-24T11:35:25.592" v="122903"/>
          <ac:spMkLst>
            <pc:docMk/>
            <pc:sldMk cId="1127354295" sldId="2147478564"/>
            <ac:spMk id="803" creationId="{EBD63CEC-20DB-895A-9FB4-F7B1E4A2491C}"/>
          </ac:spMkLst>
        </pc:spChg>
        <pc:spChg chg="add del mod">
          <ac:chgData name="Steiner Andreas 6206 ED" userId="e6377c33-a923-4f14-8587-531c474c7b48" providerId="ADAL" clId="{6ECD27E6-B224-41CD-B4E0-E297462320DD}" dt="2023-11-24T11:35:27.593" v="123058"/>
          <ac:spMkLst>
            <pc:docMk/>
            <pc:sldMk cId="1127354295" sldId="2147478564"/>
            <ac:spMk id="804" creationId="{515238B6-5218-AB9C-EE48-DB6073E32D9E}"/>
          </ac:spMkLst>
        </pc:spChg>
        <pc:spChg chg="add del mod">
          <ac:chgData name="Steiner Andreas 6206 ED" userId="e6377c33-a923-4f14-8587-531c474c7b48" providerId="ADAL" clId="{6ECD27E6-B224-41CD-B4E0-E297462320DD}" dt="2023-11-24T11:35:29.453" v="123213"/>
          <ac:spMkLst>
            <pc:docMk/>
            <pc:sldMk cId="1127354295" sldId="2147478564"/>
            <ac:spMk id="805" creationId="{63F69E75-F3C1-12F5-82FD-8E61F1A86609}"/>
          </ac:spMkLst>
        </pc:spChg>
        <pc:spChg chg="add del mod">
          <ac:chgData name="Steiner Andreas 6206 ED" userId="e6377c33-a923-4f14-8587-531c474c7b48" providerId="ADAL" clId="{6ECD27E6-B224-41CD-B4E0-E297462320DD}" dt="2023-11-24T11:35:31.164" v="123368"/>
          <ac:spMkLst>
            <pc:docMk/>
            <pc:sldMk cId="1127354295" sldId="2147478564"/>
            <ac:spMk id="806" creationId="{59C01370-FECE-2171-F84B-570F60435FC2}"/>
          </ac:spMkLst>
        </pc:spChg>
        <pc:spChg chg="add del mod">
          <ac:chgData name="Steiner Andreas 6206 ED" userId="e6377c33-a923-4f14-8587-531c474c7b48" providerId="ADAL" clId="{6ECD27E6-B224-41CD-B4E0-E297462320DD}" dt="2023-11-24T11:35:34.152" v="123523"/>
          <ac:spMkLst>
            <pc:docMk/>
            <pc:sldMk cId="1127354295" sldId="2147478564"/>
            <ac:spMk id="807" creationId="{777AEBC8-8519-5D40-346C-C675D2617E16}"/>
          </ac:spMkLst>
        </pc:spChg>
        <pc:spChg chg="add del mod">
          <ac:chgData name="Steiner Andreas 6206 ED" userId="e6377c33-a923-4f14-8587-531c474c7b48" providerId="ADAL" clId="{6ECD27E6-B224-41CD-B4E0-E297462320DD}" dt="2023-11-24T11:35:35.927" v="123678"/>
          <ac:spMkLst>
            <pc:docMk/>
            <pc:sldMk cId="1127354295" sldId="2147478564"/>
            <ac:spMk id="808" creationId="{E20EAA53-EEF8-D704-1A06-E43988F9E41E}"/>
          </ac:spMkLst>
        </pc:spChg>
        <pc:spChg chg="add del mod">
          <ac:chgData name="Steiner Andreas 6206 ED" userId="e6377c33-a923-4f14-8587-531c474c7b48" providerId="ADAL" clId="{6ECD27E6-B224-41CD-B4E0-E297462320DD}" dt="2023-11-24T11:35:37.578" v="123833"/>
          <ac:spMkLst>
            <pc:docMk/>
            <pc:sldMk cId="1127354295" sldId="2147478564"/>
            <ac:spMk id="809" creationId="{02653207-6817-DA2C-4948-E1BD02E894B2}"/>
          </ac:spMkLst>
        </pc:spChg>
        <pc:spChg chg="add del mod">
          <ac:chgData name="Steiner Andreas 6206 ED" userId="e6377c33-a923-4f14-8587-531c474c7b48" providerId="ADAL" clId="{6ECD27E6-B224-41CD-B4E0-E297462320DD}" dt="2023-11-24T11:35:39.221" v="123988"/>
          <ac:spMkLst>
            <pc:docMk/>
            <pc:sldMk cId="1127354295" sldId="2147478564"/>
            <ac:spMk id="810" creationId="{7CBF475D-0967-1D72-E3A4-179E16B0077F}"/>
          </ac:spMkLst>
        </pc:spChg>
        <pc:spChg chg="add del mod">
          <ac:chgData name="Steiner Andreas 6206 ED" userId="e6377c33-a923-4f14-8587-531c474c7b48" providerId="ADAL" clId="{6ECD27E6-B224-41CD-B4E0-E297462320DD}" dt="2023-11-24T11:35:40.913" v="124143"/>
          <ac:spMkLst>
            <pc:docMk/>
            <pc:sldMk cId="1127354295" sldId="2147478564"/>
            <ac:spMk id="811" creationId="{E71A31B6-FB53-C062-BB3E-908C5B2EE92D}"/>
          </ac:spMkLst>
        </pc:spChg>
        <pc:spChg chg="add del mod">
          <ac:chgData name="Steiner Andreas 6206 ED" userId="e6377c33-a923-4f14-8587-531c474c7b48" providerId="ADAL" clId="{6ECD27E6-B224-41CD-B4E0-E297462320DD}" dt="2023-11-24T11:35:42.518" v="124298"/>
          <ac:spMkLst>
            <pc:docMk/>
            <pc:sldMk cId="1127354295" sldId="2147478564"/>
            <ac:spMk id="812" creationId="{E8B7C8E7-9E5B-87FC-A42F-C634EA29CA0B}"/>
          </ac:spMkLst>
        </pc:spChg>
        <pc:spChg chg="add del mod">
          <ac:chgData name="Steiner Andreas 6206 ED" userId="e6377c33-a923-4f14-8587-531c474c7b48" providerId="ADAL" clId="{6ECD27E6-B224-41CD-B4E0-E297462320DD}" dt="2023-11-24T11:35:44.217" v="124453"/>
          <ac:spMkLst>
            <pc:docMk/>
            <pc:sldMk cId="1127354295" sldId="2147478564"/>
            <ac:spMk id="813" creationId="{4477CD34-74E9-1B21-42C5-FEC82B809E78}"/>
          </ac:spMkLst>
        </pc:spChg>
        <pc:spChg chg="add del mod">
          <ac:chgData name="Steiner Andreas 6206 ED" userId="e6377c33-a923-4f14-8587-531c474c7b48" providerId="ADAL" clId="{6ECD27E6-B224-41CD-B4E0-E297462320DD}" dt="2023-11-24T11:35:45.841" v="124608"/>
          <ac:spMkLst>
            <pc:docMk/>
            <pc:sldMk cId="1127354295" sldId="2147478564"/>
            <ac:spMk id="814" creationId="{C0D223EA-40C9-0D5B-D588-CA87640C4BE9}"/>
          </ac:spMkLst>
        </pc:spChg>
        <pc:spChg chg="add del mod">
          <ac:chgData name="Steiner Andreas 6206 ED" userId="e6377c33-a923-4f14-8587-531c474c7b48" providerId="ADAL" clId="{6ECD27E6-B224-41CD-B4E0-E297462320DD}" dt="2023-11-24T11:35:47.560" v="124763"/>
          <ac:spMkLst>
            <pc:docMk/>
            <pc:sldMk cId="1127354295" sldId="2147478564"/>
            <ac:spMk id="815" creationId="{2ABE1BE9-BFA2-FF8C-80D0-7D7272C6CC47}"/>
          </ac:spMkLst>
        </pc:spChg>
        <pc:spChg chg="add del mod">
          <ac:chgData name="Steiner Andreas 6206 ED" userId="e6377c33-a923-4f14-8587-531c474c7b48" providerId="ADAL" clId="{6ECD27E6-B224-41CD-B4E0-E297462320DD}" dt="2023-11-24T11:35:49.366" v="124918"/>
          <ac:spMkLst>
            <pc:docMk/>
            <pc:sldMk cId="1127354295" sldId="2147478564"/>
            <ac:spMk id="816" creationId="{4C9B727F-CAA5-CC3C-5CAD-C42174DB5E6E}"/>
          </ac:spMkLst>
        </pc:spChg>
        <pc:spChg chg="add del mod">
          <ac:chgData name="Steiner Andreas 6206 ED" userId="e6377c33-a923-4f14-8587-531c474c7b48" providerId="ADAL" clId="{6ECD27E6-B224-41CD-B4E0-E297462320DD}" dt="2023-11-24T11:35:51.264" v="125073"/>
          <ac:spMkLst>
            <pc:docMk/>
            <pc:sldMk cId="1127354295" sldId="2147478564"/>
            <ac:spMk id="817" creationId="{9C177949-BC61-23A9-1F26-53CC83C3F1EB}"/>
          </ac:spMkLst>
        </pc:spChg>
        <pc:spChg chg="add del mod">
          <ac:chgData name="Steiner Andreas 6206 ED" userId="e6377c33-a923-4f14-8587-531c474c7b48" providerId="ADAL" clId="{6ECD27E6-B224-41CD-B4E0-E297462320DD}" dt="2023-11-24T11:35:52.985" v="125228"/>
          <ac:spMkLst>
            <pc:docMk/>
            <pc:sldMk cId="1127354295" sldId="2147478564"/>
            <ac:spMk id="818" creationId="{8654A75A-C899-A8DC-D806-3876CF1F1095}"/>
          </ac:spMkLst>
        </pc:spChg>
        <pc:spChg chg="add del mod">
          <ac:chgData name="Steiner Andreas 6206 ED" userId="e6377c33-a923-4f14-8587-531c474c7b48" providerId="ADAL" clId="{6ECD27E6-B224-41CD-B4E0-E297462320DD}" dt="2023-11-24T11:35:55.015" v="125383"/>
          <ac:spMkLst>
            <pc:docMk/>
            <pc:sldMk cId="1127354295" sldId="2147478564"/>
            <ac:spMk id="819" creationId="{14AC11CB-8DFD-C39D-672C-6D96F04702FA}"/>
          </ac:spMkLst>
        </pc:spChg>
        <pc:spChg chg="add del mod">
          <ac:chgData name="Steiner Andreas 6206 ED" userId="e6377c33-a923-4f14-8587-531c474c7b48" providerId="ADAL" clId="{6ECD27E6-B224-41CD-B4E0-E297462320DD}" dt="2023-11-24T11:35:57.216" v="125538"/>
          <ac:spMkLst>
            <pc:docMk/>
            <pc:sldMk cId="1127354295" sldId="2147478564"/>
            <ac:spMk id="820" creationId="{9D92FC68-51CF-12FD-5751-74DC407ACC3C}"/>
          </ac:spMkLst>
        </pc:spChg>
        <pc:spChg chg="add del mod">
          <ac:chgData name="Steiner Andreas 6206 ED" userId="e6377c33-a923-4f14-8587-531c474c7b48" providerId="ADAL" clId="{6ECD27E6-B224-41CD-B4E0-E297462320DD}" dt="2023-11-24T11:35:58.962" v="125693"/>
          <ac:spMkLst>
            <pc:docMk/>
            <pc:sldMk cId="1127354295" sldId="2147478564"/>
            <ac:spMk id="821" creationId="{D748EABB-3218-34D1-A286-13CB265A6C25}"/>
          </ac:spMkLst>
        </pc:spChg>
        <pc:spChg chg="add del mod">
          <ac:chgData name="Steiner Andreas 6206 ED" userId="e6377c33-a923-4f14-8587-531c474c7b48" providerId="ADAL" clId="{6ECD27E6-B224-41CD-B4E0-E297462320DD}" dt="2023-11-24T11:36:00.706" v="125848"/>
          <ac:spMkLst>
            <pc:docMk/>
            <pc:sldMk cId="1127354295" sldId="2147478564"/>
            <ac:spMk id="822" creationId="{1506DA14-6307-C915-671A-3ED096C51E6B}"/>
          </ac:spMkLst>
        </pc:spChg>
        <pc:spChg chg="add del mod">
          <ac:chgData name="Steiner Andreas 6206 ED" userId="e6377c33-a923-4f14-8587-531c474c7b48" providerId="ADAL" clId="{6ECD27E6-B224-41CD-B4E0-E297462320DD}" dt="2023-11-24T11:36:02.433" v="126003"/>
          <ac:spMkLst>
            <pc:docMk/>
            <pc:sldMk cId="1127354295" sldId="2147478564"/>
            <ac:spMk id="823" creationId="{2A572B88-A699-D40B-82D2-53FFDE8E5F05}"/>
          </ac:spMkLst>
        </pc:spChg>
        <pc:spChg chg="add del mod">
          <ac:chgData name="Steiner Andreas 6206 ED" userId="e6377c33-a923-4f14-8587-531c474c7b48" providerId="ADAL" clId="{6ECD27E6-B224-41CD-B4E0-E297462320DD}" dt="2023-11-24T11:36:04.195" v="126158"/>
          <ac:spMkLst>
            <pc:docMk/>
            <pc:sldMk cId="1127354295" sldId="2147478564"/>
            <ac:spMk id="824" creationId="{E0B6761F-0688-593C-D624-4FD7DAE064A1}"/>
          </ac:spMkLst>
        </pc:spChg>
        <pc:spChg chg="add del mod">
          <ac:chgData name="Steiner Andreas 6206 ED" userId="e6377c33-a923-4f14-8587-531c474c7b48" providerId="ADAL" clId="{6ECD27E6-B224-41CD-B4E0-E297462320DD}" dt="2023-11-24T11:36:05.955" v="126313"/>
          <ac:spMkLst>
            <pc:docMk/>
            <pc:sldMk cId="1127354295" sldId="2147478564"/>
            <ac:spMk id="825" creationId="{8A45F609-3904-5853-E6AE-B1952A523CEE}"/>
          </ac:spMkLst>
        </pc:spChg>
        <pc:spChg chg="add del mod">
          <ac:chgData name="Steiner Andreas 6206 ED" userId="e6377c33-a923-4f14-8587-531c474c7b48" providerId="ADAL" clId="{6ECD27E6-B224-41CD-B4E0-E297462320DD}" dt="2023-11-24T11:36:07.670" v="126468"/>
          <ac:spMkLst>
            <pc:docMk/>
            <pc:sldMk cId="1127354295" sldId="2147478564"/>
            <ac:spMk id="826" creationId="{B9D9BD8D-BF6C-279C-74A6-B59640B87871}"/>
          </ac:spMkLst>
        </pc:spChg>
        <pc:spChg chg="add del mod">
          <ac:chgData name="Steiner Andreas 6206 ED" userId="e6377c33-a923-4f14-8587-531c474c7b48" providerId="ADAL" clId="{6ECD27E6-B224-41CD-B4E0-E297462320DD}" dt="2023-11-24T11:36:09.493" v="126623"/>
          <ac:spMkLst>
            <pc:docMk/>
            <pc:sldMk cId="1127354295" sldId="2147478564"/>
            <ac:spMk id="827" creationId="{0F777757-1617-5F80-AE5E-FA6D1BF16B8F}"/>
          </ac:spMkLst>
        </pc:spChg>
        <pc:spChg chg="add del mod">
          <ac:chgData name="Steiner Andreas 6206 ED" userId="e6377c33-a923-4f14-8587-531c474c7b48" providerId="ADAL" clId="{6ECD27E6-B224-41CD-B4E0-E297462320DD}" dt="2023-11-24T11:36:11.364" v="126778"/>
          <ac:spMkLst>
            <pc:docMk/>
            <pc:sldMk cId="1127354295" sldId="2147478564"/>
            <ac:spMk id="828" creationId="{511D8901-01B7-FC1B-583C-03EC01FD5EBA}"/>
          </ac:spMkLst>
        </pc:spChg>
        <pc:spChg chg="add del mod">
          <ac:chgData name="Steiner Andreas 6206 ED" userId="e6377c33-a923-4f14-8587-531c474c7b48" providerId="ADAL" clId="{6ECD27E6-B224-41CD-B4E0-E297462320DD}" dt="2023-11-24T11:36:13.201" v="126933"/>
          <ac:spMkLst>
            <pc:docMk/>
            <pc:sldMk cId="1127354295" sldId="2147478564"/>
            <ac:spMk id="829" creationId="{A05A7915-B313-2DE1-3F66-4D34BB48A6AD}"/>
          </ac:spMkLst>
        </pc:spChg>
        <pc:spChg chg="add del mod">
          <ac:chgData name="Steiner Andreas 6206 ED" userId="e6377c33-a923-4f14-8587-531c474c7b48" providerId="ADAL" clId="{6ECD27E6-B224-41CD-B4E0-E297462320DD}" dt="2023-11-24T11:36:15.093" v="127088"/>
          <ac:spMkLst>
            <pc:docMk/>
            <pc:sldMk cId="1127354295" sldId="2147478564"/>
            <ac:spMk id="830" creationId="{B68C36F0-380C-963C-AB44-407C079E5782}"/>
          </ac:spMkLst>
        </pc:spChg>
        <pc:spChg chg="add del mod">
          <ac:chgData name="Steiner Andreas 6206 ED" userId="e6377c33-a923-4f14-8587-531c474c7b48" providerId="ADAL" clId="{6ECD27E6-B224-41CD-B4E0-E297462320DD}" dt="2023-11-24T11:36:17.770" v="127243"/>
          <ac:spMkLst>
            <pc:docMk/>
            <pc:sldMk cId="1127354295" sldId="2147478564"/>
            <ac:spMk id="831" creationId="{9189E4D3-A9D4-1A9F-F4DB-0716D2B2A354}"/>
          </ac:spMkLst>
        </pc:spChg>
        <pc:spChg chg="add del mod">
          <ac:chgData name="Steiner Andreas 6206 ED" userId="e6377c33-a923-4f14-8587-531c474c7b48" providerId="ADAL" clId="{6ECD27E6-B224-41CD-B4E0-E297462320DD}" dt="2023-11-24T11:36:20.308" v="127398"/>
          <ac:spMkLst>
            <pc:docMk/>
            <pc:sldMk cId="1127354295" sldId="2147478564"/>
            <ac:spMk id="832" creationId="{E32477C9-D769-3DD0-421B-BD16F45FA0E1}"/>
          </ac:spMkLst>
        </pc:spChg>
        <pc:spChg chg="add del mod">
          <ac:chgData name="Steiner Andreas 6206 ED" userId="e6377c33-a923-4f14-8587-531c474c7b48" providerId="ADAL" clId="{6ECD27E6-B224-41CD-B4E0-E297462320DD}" dt="2023-11-24T11:36:22.634" v="127553"/>
          <ac:spMkLst>
            <pc:docMk/>
            <pc:sldMk cId="1127354295" sldId="2147478564"/>
            <ac:spMk id="833" creationId="{53B0F6F2-ABA1-F646-FC4A-825B423E657F}"/>
          </ac:spMkLst>
        </pc:spChg>
        <pc:spChg chg="add del mod">
          <ac:chgData name="Steiner Andreas 6206 ED" userId="e6377c33-a923-4f14-8587-531c474c7b48" providerId="ADAL" clId="{6ECD27E6-B224-41CD-B4E0-E297462320DD}" dt="2023-11-24T11:36:25.875" v="127708"/>
          <ac:spMkLst>
            <pc:docMk/>
            <pc:sldMk cId="1127354295" sldId="2147478564"/>
            <ac:spMk id="834" creationId="{E0C329A0-E086-B62C-9A24-B91377DDFDC8}"/>
          </ac:spMkLst>
        </pc:spChg>
        <pc:spChg chg="add del mod">
          <ac:chgData name="Steiner Andreas 6206 ED" userId="e6377c33-a923-4f14-8587-531c474c7b48" providerId="ADAL" clId="{6ECD27E6-B224-41CD-B4E0-E297462320DD}" dt="2023-11-24T11:36:28.584" v="127863"/>
          <ac:spMkLst>
            <pc:docMk/>
            <pc:sldMk cId="1127354295" sldId="2147478564"/>
            <ac:spMk id="835" creationId="{83AABC42-94E3-51E5-31C4-766ABE6B85FB}"/>
          </ac:spMkLst>
        </pc:spChg>
        <pc:spChg chg="add del mod">
          <ac:chgData name="Steiner Andreas 6206 ED" userId="e6377c33-a923-4f14-8587-531c474c7b48" providerId="ADAL" clId="{6ECD27E6-B224-41CD-B4E0-E297462320DD}" dt="2023-11-24T11:36:31.260" v="128018"/>
          <ac:spMkLst>
            <pc:docMk/>
            <pc:sldMk cId="1127354295" sldId="2147478564"/>
            <ac:spMk id="836" creationId="{0D01E13A-F546-92BC-2FA5-75A8F000D77E}"/>
          </ac:spMkLst>
        </pc:spChg>
        <pc:spChg chg="add del mod">
          <ac:chgData name="Steiner Andreas 6206 ED" userId="e6377c33-a923-4f14-8587-531c474c7b48" providerId="ADAL" clId="{6ECD27E6-B224-41CD-B4E0-E297462320DD}" dt="2023-11-24T11:36:33.503" v="128173"/>
          <ac:spMkLst>
            <pc:docMk/>
            <pc:sldMk cId="1127354295" sldId="2147478564"/>
            <ac:spMk id="837" creationId="{1374099C-C182-AEE2-9344-6A520D3C3926}"/>
          </ac:spMkLst>
        </pc:spChg>
        <pc:spChg chg="add del mod">
          <ac:chgData name="Steiner Andreas 6206 ED" userId="e6377c33-a923-4f14-8587-531c474c7b48" providerId="ADAL" clId="{6ECD27E6-B224-41CD-B4E0-E297462320DD}" dt="2023-11-24T11:36:35.553" v="128328"/>
          <ac:spMkLst>
            <pc:docMk/>
            <pc:sldMk cId="1127354295" sldId="2147478564"/>
            <ac:spMk id="838" creationId="{C837A94A-42FA-27B4-614F-7920A63B3EFC}"/>
          </ac:spMkLst>
        </pc:spChg>
        <pc:spChg chg="add del mod">
          <ac:chgData name="Steiner Andreas 6206 ED" userId="e6377c33-a923-4f14-8587-531c474c7b48" providerId="ADAL" clId="{6ECD27E6-B224-41CD-B4E0-E297462320DD}" dt="2023-11-24T11:36:37.716" v="128483"/>
          <ac:spMkLst>
            <pc:docMk/>
            <pc:sldMk cId="1127354295" sldId="2147478564"/>
            <ac:spMk id="839" creationId="{B5C1FC2A-76A2-5D50-0E16-6B6E299B0011}"/>
          </ac:spMkLst>
        </pc:spChg>
        <pc:spChg chg="add del mod">
          <ac:chgData name="Steiner Andreas 6206 ED" userId="e6377c33-a923-4f14-8587-531c474c7b48" providerId="ADAL" clId="{6ECD27E6-B224-41CD-B4E0-E297462320DD}" dt="2023-11-24T11:36:39.910" v="128638"/>
          <ac:spMkLst>
            <pc:docMk/>
            <pc:sldMk cId="1127354295" sldId="2147478564"/>
            <ac:spMk id="840" creationId="{E6A07A23-2A36-F980-BA32-4F302FE7208E}"/>
          </ac:spMkLst>
        </pc:spChg>
        <pc:spChg chg="add del mod">
          <ac:chgData name="Steiner Andreas 6206 ED" userId="e6377c33-a923-4f14-8587-531c474c7b48" providerId="ADAL" clId="{6ECD27E6-B224-41CD-B4E0-E297462320DD}" dt="2023-11-24T11:36:42.460" v="128793"/>
          <ac:spMkLst>
            <pc:docMk/>
            <pc:sldMk cId="1127354295" sldId="2147478564"/>
            <ac:spMk id="841" creationId="{783DC283-70B8-7534-B48D-C8B83A008B70}"/>
          </ac:spMkLst>
        </pc:spChg>
        <pc:spChg chg="add del mod">
          <ac:chgData name="Steiner Andreas 6206 ED" userId="e6377c33-a923-4f14-8587-531c474c7b48" providerId="ADAL" clId="{6ECD27E6-B224-41CD-B4E0-E297462320DD}" dt="2023-11-24T11:36:44.758" v="128948"/>
          <ac:spMkLst>
            <pc:docMk/>
            <pc:sldMk cId="1127354295" sldId="2147478564"/>
            <ac:spMk id="842" creationId="{D5509844-06DA-9DDE-51C9-E283CE1B883B}"/>
          </ac:spMkLst>
        </pc:spChg>
        <pc:spChg chg="add del mod">
          <ac:chgData name="Steiner Andreas 6206 ED" userId="e6377c33-a923-4f14-8587-531c474c7b48" providerId="ADAL" clId="{6ECD27E6-B224-41CD-B4E0-E297462320DD}" dt="2023-11-24T11:36:46.696" v="129103"/>
          <ac:spMkLst>
            <pc:docMk/>
            <pc:sldMk cId="1127354295" sldId="2147478564"/>
            <ac:spMk id="843" creationId="{DDC1B240-92B7-5B10-0A7E-272311B29767}"/>
          </ac:spMkLst>
        </pc:spChg>
        <pc:spChg chg="add del mod">
          <ac:chgData name="Steiner Andreas 6206 ED" userId="e6377c33-a923-4f14-8587-531c474c7b48" providerId="ADAL" clId="{6ECD27E6-B224-41CD-B4E0-E297462320DD}" dt="2023-11-24T11:36:48.680" v="129258"/>
          <ac:spMkLst>
            <pc:docMk/>
            <pc:sldMk cId="1127354295" sldId="2147478564"/>
            <ac:spMk id="844" creationId="{9E410F0A-7AB5-6E5B-E50C-F76BC8606069}"/>
          </ac:spMkLst>
        </pc:spChg>
        <pc:spChg chg="add del mod">
          <ac:chgData name="Steiner Andreas 6206 ED" userId="e6377c33-a923-4f14-8587-531c474c7b48" providerId="ADAL" clId="{6ECD27E6-B224-41CD-B4E0-E297462320DD}" dt="2023-11-24T11:36:50.650" v="129413"/>
          <ac:spMkLst>
            <pc:docMk/>
            <pc:sldMk cId="1127354295" sldId="2147478564"/>
            <ac:spMk id="845" creationId="{E995D3C5-9451-9008-79C5-F506686FD042}"/>
          </ac:spMkLst>
        </pc:spChg>
        <pc:spChg chg="add del mod">
          <ac:chgData name="Steiner Andreas 6206 ED" userId="e6377c33-a923-4f14-8587-531c474c7b48" providerId="ADAL" clId="{6ECD27E6-B224-41CD-B4E0-E297462320DD}" dt="2023-11-24T11:36:52.794" v="129568"/>
          <ac:spMkLst>
            <pc:docMk/>
            <pc:sldMk cId="1127354295" sldId="2147478564"/>
            <ac:spMk id="846" creationId="{D65807A6-E636-1FF6-D844-D67CCA947E06}"/>
          </ac:spMkLst>
        </pc:spChg>
        <pc:spChg chg="add del mod">
          <ac:chgData name="Steiner Andreas 6206 ED" userId="e6377c33-a923-4f14-8587-531c474c7b48" providerId="ADAL" clId="{6ECD27E6-B224-41CD-B4E0-E297462320DD}" dt="2023-11-24T11:36:55.708" v="129723"/>
          <ac:spMkLst>
            <pc:docMk/>
            <pc:sldMk cId="1127354295" sldId="2147478564"/>
            <ac:spMk id="847" creationId="{4B61CAE8-9952-5953-99AB-CA619841EDD2}"/>
          </ac:spMkLst>
        </pc:spChg>
        <pc:spChg chg="add del mod">
          <ac:chgData name="Steiner Andreas 6206 ED" userId="e6377c33-a923-4f14-8587-531c474c7b48" providerId="ADAL" clId="{6ECD27E6-B224-41CD-B4E0-E297462320DD}" dt="2023-11-24T11:36:57.940" v="129878"/>
          <ac:spMkLst>
            <pc:docMk/>
            <pc:sldMk cId="1127354295" sldId="2147478564"/>
            <ac:spMk id="848" creationId="{D78A131D-0D19-EC78-8BD7-7A5B2B926ABF}"/>
          </ac:spMkLst>
        </pc:spChg>
        <pc:spChg chg="add del mod">
          <ac:chgData name="Steiner Andreas 6206 ED" userId="e6377c33-a923-4f14-8587-531c474c7b48" providerId="ADAL" clId="{6ECD27E6-B224-41CD-B4E0-E297462320DD}" dt="2023-11-24T11:37:00.255" v="130033"/>
          <ac:spMkLst>
            <pc:docMk/>
            <pc:sldMk cId="1127354295" sldId="2147478564"/>
            <ac:spMk id="849" creationId="{8B45170F-B66E-0958-D928-539D02238CD0}"/>
          </ac:spMkLst>
        </pc:spChg>
        <pc:spChg chg="add del mod">
          <ac:chgData name="Steiner Andreas 6206 ED" userId="e6377c33-a923-4f14-8587-531c474c7b48" providerId="ADAL" clId="{6ECD27E6-B224-41CD-B4E0-E297462320DD}" dt="2023-11-24T11:37:02.057" v="130188"/>
          <ac:spMkLst>
            <pc:docMk/>
            <pc:sldMk cId="1127354295" sldId="2147478564"/>
            <ac:spMk id="850" creationId="{616A2116-993E-D832-47C7-A09F1258F727}"/>
          </ac:spMkLst>
        </pc:spChg>
        <pc:spChg chg="add del mod">
          <ac:chgData name="Steiner Andreas 6206 ED" userId="e6377c33-a923-4f14-8587-531c474c7b48" providerId="ADAL" clId="{6ECD27E6-B224-41CD-B4E0-E297462320DD}" dt="2023-11-24T11:37:03.800" v="130343"/>
          <ac:spMkLst>
            <pc:docMk/>
            <pc:sldMk cId="1127354295" sldId="2147478564"/>
            <ac:spMk id="851" creationId="{0A151C0B-06C1-78A0-00F8-632170C659E7}"/>
          </ac:spMkLst>
        </pc:spChg>
        <pc:spChg chg="add del mod">
          <ac:chgData name="Steiner Andreas 6206 ED" userId="e6377c33-a923-4f14-8587-531c474c7b48" providerId="ADAL" clId="{6ECD27E6-B224-41CD-B4E0-E297462320DD}" dt="2023-11-24T11:37:05.672" v="130498"/>
          <ac:spMkLst>
            <pc:docMk/>
            <pc:sldMk cId="1127354295" sldId="2147478564"/>
            <ac:spMk id="852" creationId="{9EC8338D-29CB-8864-6985-24AF180B6451}"/>
          </ac:spMkLst>
        </pc:spChg>
        <pc:spChg chg="add del mod">
          <ac:chgData name="Steiner Andreas 6206 ED" userId="e6377c33-a923-4f14-8587-531c474c7b48" providerId="ADAL" clId="{6ECD27E6-B224-41CD-B4E0-E297462320DD}" dt="2023-11-24T11:37:07.444" v="130653"/>
          <ac:spMkLst>
            <pc:docMk/>
            <pc:sldMk cId="1127354295" sldId="2147478564"/>
            <ac:spMk id="853" creationId="{D82F6A50-4A30-A299-6BC1-03B5D14913C0}"/>
          </ac:spMkLst>
        </pc:spChg>
        <pc:spChg chg="add del mod">
          <ac:chgData name="Steiner Andreas 6206 ED" userId="e6377c33-a923-4f14-8587-531c474c7b48" providerId="ADAL" clId="{6ECD27E6-B224-41CD-B4E0-E297462320DD}" dt="2023-11-24T11:37:09.143" v="130808"/>
          <ac:spMkLst>
            <pc:docMk/>
            <pc:sldMk cId="1127354295" sldId="2147478564"/>
            <ac:spMk id="854" creationId="{61658420-7B89-973F-B7BF-8D2CFDAFA94D}"/>
          </ac:spMkLst>
        </pc:spChg>
        <pc:spChg chg="add del mod">
          <ac:chgData name="Steiner Andreas 6206 ED" userId="e6377c33-a923-4f14-8587-531c474c7b48" providerId="ADAL" clId="{6ECD27E6-B224-41CD-B4E0-E297462320DD}" dt="2023-11-24T11:37:10.837" v="130963"/>
          <ac:spMkLst>
            <pc:docMk/>
            <pc:sldMk cId="1127354295" sldId="2147478564"/>
            <ac:spMk id="855" creationId="{4227DF3A-A508-9651-AFED-B2D57EAA3FB2}"/>
          </ac:spMkLst>
        </pc:spChg>
        <pc:spChg chg="add del mod">
          <ac:chgData name="Steiner Andreas 6206 ED" userId="e6377c33-a923-4f14-8587-531c474c7b48" providerId="ADAL" clId="{6ECD27E6-B224-41CD-B4E0-E297462320DD}" dt="2023-11-24T11:37:12.502" v="131118"/>
          <ac:spMkLst>
            <pc:docMk/>
            <pc:sldMk cId="1127354295" sldId="2147478564"/>
            <ac:spMk id="856" creationId="{17D3A920-BBCE-0ACC-21A2-D08D1920A894}"/>
          </ac:spMkLst>
        </pc:spChg>
        <pc:spChg chg="add del mod">
          <ac:chgData name="Steiner Andreas 6206 ED" userId="e6377c33-a923-4f14-8587-531c474c7b48" providerId="ADAL" clId="{6ECD27E6-B224-41CD-B4E0-E297462320DD}" dt="2023-11-24T11:37:14.181" v="131273"/>
          <ac:spMkLst>
            <pc:docMk/>
            <pc:sldMk cId="1127354295" sldId="2147478564"/>
            <ac:spMk id="857" creationId="{61C7E3AD-654A-1E8E-4482-D8E54F622D74}"/>
          </ac:spMkLst>
        </pc:spChg>
        <pc:spChg chg="add del mod">
          <ac:chgData name="Steiner Andreas 6206 ED" userId="e6377c33-a923-4f14-8587-531c474c7b48" providerId="ADAL" clId="{6ECD27E6-B224-41CD-B4E0-E297462320DD}" dt="2023-11-24T11:37:16.279" v="131428"/>
          <ac:spMkLst>
            <pc:docMk/>
            <pc:sldMk cId="1127354295" sldId="2147478564"/>
            <ac:spMk id="858" creationId="{C0685612-2B20-9C0C-0E98-2F8EB812597D}"/>
          </ac:spMkLst>
        </pc:spChg>
        <pc:spChg chg="add del mod">
          <ac:chgData name="Steiner Andreas 6206 ED" userId="e6377c33-a923-4f14-8587-531c474c7b48" providerId="ADAL" clId="{6ECD27E6-B224-41CD-B4E0-E297462320DD}" dt="2023-11-24T11:37:18.244" v="131583"/>
          <ac:spMkLst>
            <pc:docMk/>
            <pc:sldMk cId="1127354295" sldId="2147478564"/>
            <ac:spMk id="859" creationId="{DD8A0020-4752-60B7-F024-AC6C08824855}"/>
          </ac:spMkLst>
        </pc:spChg>
        <pc:spChg chg="add del mod">
          <ac:chgData name="Steiner Andreas 6206 ED" userId="e6377c33-a923-4f14-8587-531c474c7b48" providerId="ADAL" clId="{6ECD27E6-B224-41CD-B4E0-E297462320DD}" dt="2023-11-24T11:37:20.121" v="131738"/>
          <ac:spMkLst>
            <pc:docMk/>
            <pc:sldMk cId="1127354295" sldId="2147478564"/>
            <ac:spMk id="860" creationId="{7291E8B0-C116-D9FF-BE17-05FD1A2E80B0}"/>
          </ac:spMkLst>
        </pc:spChg>
        <pc:spChg chg="add del mod">
          <ac:chgData name="Steiner Andreas 6206 ED" userId="e6377c33-a923-4f14-8587-531c474c7b48" providerId="ADAL" clId="{6ECD27E6-B224-41CD-B4E0-E297462320DD}" dt="2023-11-24T11:37:22.030" v="131893"/>
          <ac:spMkLst>
            <pc:docMk/>
            <pc:sldMk cId="1127354295" sldId="2147478564"/>
            <ac:spMk id="861" creationId="{92E217BB-4CDE-1727-BFC4-01C886A27593}"/>
          </ac:spMkLst>
        </pc:spChg>
        <pc:spChg chg="add del mod">
          <ac:chgData name="Steiner Andreas 6206 ED" userId="e6377c33-a923-4f14-8587-531c474c7b48" providerId="ADAL" clId="{6ECD27E6-B224-41CD-B4E0-E297462320DD}" dt="2023-11-24T11:37:23.778" v="132048"/>
          <ac:spMkLst>
            <pc:docMk/>
            <pc:sldMk cId="1127354295" sldId="2147478564"/>
            <ac:spMk id="862" creationId="{DDDDE9E1-B0DB-E102-231B-841090C34C3F}"/>
          </ac:spMkLst>
        </pc:spChg>
        <pc:spChg chg="add del mod">
          <ac:chgData name="Steiner Andreas 6206 ED" userId="e6377c33-a923-4f14-8587-531c474c7b48" providerId="ADAL" clId="{6ECD27E6-B224-41CD-B4E0-E297462320DD}" dt="2023-11-24T11:37:25.497" v="132203"/>
          <ac:spMkLst>
            <pc:docMk/>
            <pc:sldMk cId="1127354295" sldId="2147478564"/>
            <ac:spMk id="863" creationId="{699A0C26-7EBE-BCF7-D8E5-FF9EB14C1A69}"/>
          </ac:spMkLst>
        </pc:spChg>
        <pc:spChg chg="add del mod">
          <ac:chgData name="Steiner Andreas 6206 ED" userId="e6377c33-a923-4f14-8587-531c474c7b48" providerId="ADAL" clId="{6ECD27E6-B224-41CD-B4E0-E297462320DD}" dt="2023-11-24T11:37:27.510" v="132358"/>
          <ac:spMkLst>
            <pc:docMk/>
            <pc:sldMk cId="1127354295" sldId="2147478564"/>
            <ac:spMk id="864" creationId="{590BA5FF-2C23-6346-EC8B-BE7189BF23FB}"/>
          </ac:spMkLst>
        </pc:spChg>
        <pc:spChg chg="add del mod">
          <ac:chgData name="Steiner Andreas 6206 ED" userId="e6377c33-a923-4f14-8587-531c474c7b48" providerId="ADAL" clId="{6ECD27E6-B224-41CD-B4E0-E297462320DD}" dt="2023-11-24T11:37:30.229" v="132513"/>
          <ac:spMkLst>
            <pc:docMk/>
            <pc:sldMk cId="1127354295" sldId="2147478564"/>
            <ac:spMk id="865" creationId="{B024710F-9250-DC33-81C0-78D4BD9F2169}"/>
          </ac:spMkLst>
        </pc:spChg>
        <pc:spChg chg="add del mod">
          <ac:chgData name="Steiner Andreas 6206 ED" userId="e6377c33-a923-4f14-8587-531c474c7b48" providerId="ADAL" clId="{6ECD27E6-B224-41CD-B4E0-E297462320DD}" dt="2023-11-24T11:37:32.862" v="132668"/>
          <ac:spMkLst>
            <pc:docMk/>
            <pc:sldMk cId="1127354295" sldId="2147478564"/>
            <ac:spMk id="866" creationId="{BAC43FBC-DB4E-A650-2C98-B3B2010C0C35}"/>
          </ac:spMkLst>
        </pc:spChg>
        <pc:spChg chg="add del mod">
          <ac:chgData name="Steiner Andreas 6206 ED" userId="e6377c33-a923-4f14-8587-531c474c7b48" providerId="ADAL" clId="{6ECD27E6-B224-41CD-B4E0-E297462320DD}" dt="2023-11-24T11:37:35.713" v="132823"/>
          <ac:spMkLst>
            <pc:docMk/>
            <pc:sldMk cId="1127354295" sldId="2147478564"/>
            <ac:spMk id="867" creationId="{1C9E1C17-C220-95FD-6B54-70FD6C7DE393}"/>
          </ac:spMkLst>
        </pc:spChg>
        <pc:spChg chg="add del mod">
          <ac:chgData name="Steiner Andreas 6206 ED" userId="e6377c33-a923-4f14-8587-531c474c7b48" providerId="ADAL" clId="{6ECD27E6-B224-41CD-B4E0-E297462320DD}" dt="2023-11-24T11:37:38.477" v="132978"/>
          <ac:spMkLst>
            <pc:docMk/>
            <pc:sldMk cId="1127354295" sldId="2147478564"/>
            <ac:spMk id="868" creationId="{2E36B159-AC18-1AED-BFF1-0684A6306788}"/>
          </ac:spMkLst>
        </pc:spChg>
        <pc:spChg chg="add del mod">
          <ac:chgData name="Steiner Andreas 6206 ED" userId="e6377c33-a923-4f14-8587-531c474c7b48" providerId="ADAL" clId="{6ECD27E6-B224-41CD-B4E0-E297462320DD}" dt="2023-11-24T11:37:40.986" v="133133"/>
          <ac:spMkLst>
            <pc:docMk/>
            <pc:sldMk cId="1127354295" sldId="2147478564"/>
            <ac:spMk id="869" creationId="{58E15CD7-3FA1-1B68-9EC9-E6BBAD2D9435}"/>
          </ac:spMkLst>
        </pc:spChg>
        <pc:spChg chg="add del mod">
          <ac:chgData name="Steiner Andreas 6206 ED" userId="e6377c33-a923-4f14-8587-531c474c7b48" providerId="ADAL" clId="{6ECD27E6-B224-41CD-B4E0-E297462320DD}" dt="2023-11-24T11:37:44.144" v="133288"/>
          <ac:spMkLst>
            <pc:docMk/>
            <pc:sldMk cId="1127354295" sldId="2147478564"/>
            <ac:spMk id="870" creationId="{549F8DE0-D0F8-FB90-90EA-BDF4B30FC16C}"/>
          </ac:spMkLst>
        </pc:spChg>
        <pc:spChg chg="add del mod">
          <ac:chgData name="Steiner Andreas 6206 ED" userId="e6377c33-a923-4f14-8587-531c474c7b48" providerId="ADAL" clId="{6ECD27E6-B224-41CD-B4E0-E297462320DD}" dt="2023-11-24T11:37:48.204" v="133443"/>
          <ac:spMkLst>
            <pc:docMk/>
            <pc:sldMk cId="1127354295" sldId="2147478564"/>
            <ac:spMk id="871" creationId="{719277CD-D34A-2A39-88C6-629F09DE5543}"/>
          </ac:spMkLst>
        </pc:spChg>
        <pc:spChg chg="add del mod">
          <ac:chgData name="Steiner Andreas 6206 ED" userId="e6377c33-a923-4f14-8587-531c474c7b48" providerId="ADAL" clId="{6ECD27E6-B224-41CD-B4E0-E297462320DD}" dt="2023-11-24T11:37:51.412" v="133598"/>
          <ac:spMkLst>
            <pc:docMk/>
            <pc:sldMk cId="1127354295" sldId="2147478564"/>
            <ac:spMk id="872" creationId="{DFED9F05-4B40-5498-5628-51238A5A9B25}"/>
          </ac:spMkLst>
        </pc:spChg>
        <pc:spChg chg="add del mod">
          <ac:chgData name="Steiner Andreas 6206 ED" userId="e6377c33-a923-4f14-8587-531c474c7b48" providerId="ADAL" clId="{6ECD27E6-B224-41CD-B4E0-E297462320DD}" dt="2023-11-24T11:37:54.182" v="133753"/>
          <ac:spMkLst>
            <pc:docMk/>
            <pc:sldMk cId="1127354295" sldId="2147478564"/>
            <ac:spMk id="873" creationId="{900778C3-7872-09DD-2B5C-483B1FBAFE75}"/>
          </ac:spMkLst>
        </pc:spChg>
        <pc:spChg chg="add del mod">
          <ac:chgData name="Steiner Andreas 6206 ED" userId="e6377c33-a923-4f14-8587-531c474c7b48" providerId="ADAL" clId="{6ECD27E6-B224-41CD-B4E0-E297462320DD}" dt="2023-11-24T11:37:56.572" v="133908"/>
          <ac:spMkLst>
            <pc:docMk/>
            <pc:sldMk cId="1127354295" sldId="2147478564"/>
            <ac:spMk id="874" creationId="{3C999A6B-6620-08D2-D003-5EB07BEEB030}"/>
          </ac:spMkLst>
        </pc:spChg>
        <pc:spChg chg="add del mod">
          <ac:chgData name="Steiner Andreas 6206 ED" userId="e6377c33-a923-4f14-8587-531c474c7b48" providerId="ADAL" clId="{6ECD27E6-B224-41CD-B4E0-E297462320DD}" dt="2023-11-24T11:37:59.160" v="134063"/>
          <ac:spMkLst>
            <pc:docMk/>
            <pc:sldMk cId="1127354295" sldId="2147478564"/>
            <ac:spMk id="875" creationId="{3A10EE18-0C58-4823-7EBE-CCCF5368BF1C}"/>
          </ac:spMkLst>
        </pc:spChg>
        <pc:spChg chg="add del mod">
          <ac:chgData name="Steiner Andreas 6206 ED" userId="e6377c33-a923-4f14-8587-531c474c7b48" providerId="ADAL" clId="{6ECD27E6-B224-41CD-B4E0-E297462320DD}" dt="2023-11-24T11:38:01.404" v="134218"/>
          <ac:spMkLst>
            <pc:docMk/>
            <pc:sldMk cId="1127354295" sldId="2147478564"/>
            <ac:spMk id="876" creationId="{62EBD264-6758-D504-E038-C3C25966EF26}"/>
          </ac:spMkLst>
        </pc:spChg>
        <pc:spChg chg="add del mod">
          <ac:chgData name="Steiner Andreas 6206 ED" userId="e6377c33-a923-4f14-8587-531c474c7b48" providerId="ADAL" clId="{6ECD27E6-B224-41CD-B4E0-E297462320DD}" dt="2023-11-24T11:38:03.956" v="134373"/>
          <ac:spMkLst>
            <pc:docMk/>
            <pc:sldMk cId="1127354295" sldId="2147478564"/>
            <ac:spMk id="877" creationId="{D68B1EE8-908E-9030-EE1B-D03B4A2D123D}"/>
          </ac:spMkLst>
        </pc:spChg>
        <pc:spChg chg="add del mod">
          <ac:chgData name="Steiner Andreas 6206 ED" userId="e6377c33-a923-4f14-8587-531c474c7b48" providerId="ADAL" clId="{6ECD27E6-B224-41CD-B4E0-E297462320DD}" dt="2023-11-24T11:38:06.389" v="134528"/>
          <ac:spMkLst>
            <pc:docMk/>
            <pc:sldMk cId="1127354295" sldId="2147478564"/>
            <ac:spMk id="878" creationId="{4BBAE642-574D-E660-BF2A-2200FB702201}"/>
          </ac:spMkLst>
        </pc:spChg>
        <pc:spChg chg="add del mod">
          <ac:chgData name="Steiner Andreas 6206 ED" userId="e6377c33-a923-4f14-8587-531c474c7b48" providerId="ADAL" clId="{6ECD27E6-B224-41CD-B4E0-E297462320DD}" dt="2023-11-24T11:38:09.329" v="134683"/>
          <ac:spMkLst>
            <pc:docMk/>
            <pc:sldMk cId="1127354295" sldId="2147478564"/>
            <ac:spMk id="879" creationId="{B9EE17F8-37DC-05D7-A439-12462343F346}"/>
          </ac:spMkLst>
        </pc:spChg>
        <pc:spChg chg="add del mod">
          <ac:chgData name="Steiner Andreas 6206 ED" userId="e6377c33-a923-4f14-8587-531c474c7b48" providerId="ADAL" clId="{6ECD27E6-B224-41CD-B4E0-E297462320DD}" dt="2023-11-24T11:38:12.041" v="134838"/>
          <ac:spMkLst>
            <pc:docMk/>
            <pc:sldMk cId="1127354295" sldId="2147478564"/>
            <ac:spMk id="880" creationId="{DE4B2A3E-3BF9-568F-338D-8950DBC1C07F}"/>
          </ac:spMkLst>
        </pc:spChg>
        <pc:spChg chg="add del mod">
          <ac:chgData name="Steiner Andreas 6206 ED" userId="e6377c33-a923-4f14-8587-531c474c7b48" providerId="ADAL" clId="{6ECD27E6-B224-41CD-B4E0-E297462320DD}" dt="2023-11-24T11:38:14.331" v="134993"/>
          <ac:spMkLst>
            <pc:docMk/>
            <pc:sldMk cId="1127354295" sldId="2147478564"/>
            <ac:spMk id="881" creationId="{83738E39-5254-1577-8EDB-2E708A24028A}"/>
          </ac:spMkLst>
        </pc:spChg>
        <pc:spChg chg="add del mod">
          <ac:chgData name="Steiner Andreas 6206 ED" userId="e6377c33-a923-4f14-8587-531c474c7b48" providerId="ADAL" clId="{6ECD27E6-B224-41CD-B4E0-E297462320DD}" dt="2023-11-24T11:38:16.752" v="135148"/>
          <ac:spMkLst>
            <pc:docMk/>
            <pc:sldMk cId="1127354295" sldId="2147478564"/>
            <ac:spMk id="882" creationId="{18C74463-4DAB-8B9B-ECC3-D2F7D34F93CB}"/>
          </ac:spMkLst>
        </pc:spChg>
        <pc:spChg chg="add del mod">
          <ac:chgData name="Steiner Andreas 6206 ED" userId="e6377c33-a923-4f14-8587-531c474c7b48" providerId="ADAL" clId="{6ECD27E6-B224-41CD-B4E0-E297462320DD}" dt="2023-11-24T11:38:19.690" v="135303"/>
          <ac:spMkLst>
            <pc:docMk/>
            <pc:sldMk cId="1127354295" sldId="2147478564"/>
            <ac:spMk id="883" creationId="{75DD143A-1F9C-406C-8C8C-5023EF661E22}"/>
          </ac:spMkLst>
        </pc:spChg>
        <pc:spChg chg="add del mod">
          <ac:chgData name="Steiner Andreas 6206 ED" userId="e6377c33-a923-4f14-8587-531c474c7b48" providerId="ADAL" clId="{6ECD27E6-B224-41CD-B4E0-E297462320DD}" dt="2023-11-24T11:38:22.301" v="135458"/>
          <ac:spMkLst>
            <pc:docMk/>
            <pc:sldMk cId="1127354295" sldId="2147478564"/>
            <ac:spMk id="884" creationId="{7CCEA49B-6107-5EE4-3C7A-A8CC3693F200}"/>
          </ac:spMkLst>
        </pc:spChg>
        <pc:spChg chg="add del mod">
          <ac:chgData name="Steiner Andreas 6206 ED" userId="e6377c33-a923-4f14-8587-531c474c7b48" providerId="ADAL" clId="{6ECD27E6-B224-41CD-B4E0-E297462320DD}" dt="2023-11-24T11:38:24.995" v="135613"/>
          <ac:spMkLst>
            <pc:docMk/>
            <pc:sldMk cId="1127354295" sldId="2147478564"/>
            <ac:spMk id="885" creationId="{FC0BF8A5-4960-30BF-5798-CEA83CBF2496}"/>
          </ac:spMkLst>
        </pc:spChg>
        <pc:spChg chg="add del mod">
          <ac:chgData name="Steiner Andreas 6206 ED" userId="e6377c33-a923-4f14-8587-531c474c7b48" providerId="ADAL" clId="{6ECD27E6-B224-41CD-B4E0-E297462320DD}" dt="2023-11-24T11:38:27.744" v="135768"/>
          <ac:spMkLst>
            <pc:docMk/>
            <pc:sldMk cId="1127354295" sldId="2147478564"/>
            <ac:spMk id="886" creationId="{8917F8CE-F12C-4C51-FFA0-FC21D00A6BBA}"/>
          </ac:spMkLst>
        </pc:spChg>
        <pc:spChg chg="add del mod">
          <ac:chgData name="Steiner Andreas 6206 ED" userId="e6377c33-a923-4f14-8587-531c474c7b48" providerId="ADAL" clId="{6ECD27E6-B224-41CD-B4E0-E297462320DD}" dt="2023-11-24T11:38:30.437" v="135923"/>
          <ac:spMkLst>
            <pc:docMk/>
            <pc:sldMk cId="1127354295" sldId="2147478564"/>
            <ac:spMk id="887" creationId="{8419D6A3-113B-AF37-42F1-610F9CA325FB}"/>
          </ac:spMkLst>
        </pc:spChg>
        <pc:spChg chg="add del mod">
          <ac:chgData name="Steiner Andreas 6206 ED" userId="e6377c33-a923-4f14-8587-531c474c7b48" providerId="ADAL" clId="{6ECD27E6-B224-41CD-B4E0-E297462320DD}" dt="2023-11-24T11:38:32.755" v="136078"/>
          <ac:spMkLst>
            <pc:docMk/>
            <pc:sldMk cId="1127354295" sldId="2147478564"/>
            <ac:spMk id="888" creationId="{EF1CBB32-3BB9-6B13-1439-E3C3712BC2E5}"/>
          </ac:spMkLst>
        </pc:spChg>
        <pc:spChg chg="add del mod">
          <ac:chgData name="Steiner Andreas 6206 ED" userId="e6377c33-a923-4f14-8587-531c474c7b48" providerId="ADAL" clId="{6ECD27E6-B224-41CD-B4E0-E297462320DD}" dt="2023-11-24T11:38:35.231" v="136233"/>
          <ac:spMkLst>
            <pc:docMk/>
            <pc:sldMk cId="1127354295" sldId="2147478564"/>
            <ac:spMk id="889" creationId="{0CF6AD6E-CC80-6F6D-08A8-655CC1EA178E}"/>
          </ac:spMkLst>
        </pc:spChg>
        <pc:spChg chg="add del mod">
          <ac:chgData name="Steiner Andreas 6206 ED" userId="e6377c33-a923-4f14-8587-531c474c7b48" providerId="ADAL" clId="{6ECD27E6-B224-41CD-B4E0-E297462320DD}" dt="2023-11-24T11:38:38.085" v="136388"/>
          <ac:spMkLst>
            <pc:docMk/>
            <pc:sldMk cId="1127354295" sldId="2147478564"/>
            <ac:spMk id="890" creationId="{309D3581-49D2-7335-7790-B5787C7C264C}"/>
          </ac:spMkLst>
        </pc:spChg>
        <pc:spChg chg="add del mod">
          <ac:chgData name="Steiner Andreas 6206 ED" userId="e6377c33-a923-4f14-8587-531c474c7b48" providerId="ADAL" clId="{6ECD27E6-B224-41CD-B4E0-E297462320DD}" dt="2023-11-24T11:38:40.671" v="136543"/>
          <ac:spMkLst>
            <pc:docMk/>
            <pc:sldMk cId="1127354295" sldId="2147478564"/>
            <ac:spMk id="891" creationId="{9888FF11-A0F5-C099-97E9-7C75DBCFA436}"/>
          </ac:spMkLst>
        </pc:spChg>
        <pc:spChg chg="add del mod">
          <ac:chgData name="Steiner Andreas 6206 ED" userId="e6377c33-a923-4f14-8587-531c474c7b48" providerId="ADAL" clId="{6ECD27E6-B224-41CD-B4E0-E297462320DD}" dt="2023-11-24T11:38:43.055" v="136698"/>
          <ac:spMkLst>
            <pc:docMk/>
            <pc:sldMk cId="1127354295" sldId="2147478564"/>
            <ac:spMk id="892" creationId="{B90F0428-DE28-783F-A804-79D8E625B84C}"/>
          </ac:spMkLst>
        </pc:spChg>
        <pc:spChg chg="add del mod">
          <ac:chgData name="Steiner Andreas 6206 ED" userId="e6377c33-a923-4f14-8587-531c474c7b48" providerId="ADAL" clId="{6ECD27E6-B224-41CD-B4E0-E297462320DD}" dt="2023-11-24T11:38:45.473" v="136853"/>
          <ac:spMkLst>
            <pc:docMk/>
            <pc:sldMk cId="1127354295" sldId="2147478564"/>
            <ac:spMk id="893" creationId="{CD659C92-1218-2BF7-FBB2-04A7C8C701D8}"/>
          </ac:spMkLst>
        </pc:spChg>
        <pc:spChg chg="add del mod">
          <ac:chgData name="Steiner Andreas 6206 ED" userId="e6377c33-a923-4f14-8587-531c474c7b48" providerId="ADAL" clId="{6ECD27E6-B224-41CD-B4E0-E297462320DD}" dt="2023-11-24T11:38:47.806" v="137008"/>
          <ac:spMkLst>
            <pc:docMk/>
            <pc:sldMk cId="1127354295" sldId="2147478564"/>
            <ac:spMk id="894" creationId="{E933C14A-3847-8E5B-D590-4730EEE3B86C}"/>
          </ac:spMkLst>
        </pc:spChg>
        <pc:spChg chg="add del mod">
          <ac:chgData name="Steiner Andreas 6206 ED" userId="e6377c33-a923-4f14-8587-531c474c7b48" providerId="ADAL" clId="{6ECD27E6-B224-41CD-B4E0-E297462320DD}" dt="2023-11-24T11:38:50.887" v="137163"/>
          <ac:spMkLst>
            <pc:docMk/>
            <pc:sldMk cId="1127354295" sldId="2147478564"/>
            <ac:spMk id="895" creationId="{DB9E3990-3C50-21EB-BED7-0F406BF9723C}"/>
          </ac:spMkLst>
        </pc:spChg>
        <pc:spChg chg="add del mod">
          <ac:chgData name="Steiner Andreas 6206 ED" userId="e6377c33-a923-4f14-8587-531c474c7b48" providerId="ADAL" clId="{6ECD27E6-B224-41CD-B4E0-E297462320DD}" dt="2023-11-24T11:38:53.266" v="137318"/>
          <ac:spMkLst>
            <pc:docMk/>
            <pc:sldMk cId="1127354295" sldId="2147478564"/>
            <ac:spMk id="896" creationId="{2937B328-8284-B866-D030-DF1140CEEA5E}"/>
          </ac:spMkLst>
        </pc:spChg>
        <pc:spChg chg="add del mod">
          <ac:chgData name="Steiner Andreas 6206 ED" userId="e6377c33-a923-4f14-8587-531c474c7b48" providerId="ADAL" clId="{6ECD27E6-B224-41CD-B4E0-E297462320DD}" dt="2023-11-24T11:38:55.742" v="137473"/>
          <ac:spMkLst>
            <pc:docMk/>
            <pc:sldMk cId="1127354295" sldId="2147478564"/>
            <ac:spMk id="897" creationId="{CD9BF2EE-7BD8-36BD-2581-CDF3B502D49D}"/>
          </ac:spMkLst>
        </pc:spChg>
        <pc:spChg chg="add del mod">
          <ac:chgData name="Steiner Andreas 6206 ED" userId="e6377c33-a923-4f14-8587-531c474c7b48" providerId="ADAL" clId="{6ECD27E6-B224-41CD-B4E0-E297462320DD}" dt="2023-11-24T11:38:58.313" v="137628"/>
          <ac:spMkLst>
            <pc:docMk/>
            <pc:sldMk cId="1127354295" sldId="2147478564"/>
            <ac:spMk id="898" creationId="{AB6D118D-F427-9728-9CE0-8B701B35638E}"/>
          </ac:spMkLst>
        </pc:spChg>
        <pc:spChg chg="add del mod">
          <ac:chgData name="Steiner Andreas 6206 ED" userId="e6377c33-a923-4f14-8587-531c474c7b48" providerId="ADAL" clId="{6ECD27E6-B224-41CD-B4E0-E297462320DD}" dt="2023-11-24T11:39:00.597" v="137783"/>
          <ac:spMkLst>
            <pc:docMk/>
            <pc:sldMk cId="1127354295" sldId="2147478564"/>
            <ac:spMk id="899" creationId="{38F25D10-A718-DBD0-B364-D498EEF3F6F9}"/>
          </ac:spMkLst>
        </pc:spChg>
        <pc:spChg chg="add del mod">
          <ac:chgData name="Steiner Andreas 6206 ED" userId="e6377c33-a923-4f14-8587-531c474c7b48" providerId="ADAL" clId="{6ECD27E6-B224-41CD-B4E0-E297462320DD}" dt="2023-11-24T11:39:03.644" v="137938"/>
          <ac:spMkLst>
            <pc:docMk/>
            <pc:sldMk cId="1127354295" sldId="2147478564"/>
            <ac:spMk id="900" creationId="{1421008D-EF19-D55E-25EA-BCA7705AA3AA}"/>
          </ac:spMkLst>
        </pc:spChg>
        <pc:spChg chg="add del mod">
          <ac:chgData name="Steiner Andreas 6206 ED" userId="e6377c33-a923-4f14-8587-531c474c7b48" providerId="ADAL" clId="{6ECD27E6-B224-41CD-B4E0-E297462320DD}" dt="2023-11-24T11:39:06.277" v="138093"/>
          <ac:spMkLst>
            <pc:docMk/>
            <pc:sldMk cId="1127354295" sldId="2147478564"/>
            <ac:spMk id="901" creationId="{9F8DC445-F381-013D-7613-83E2FBFE8B58}"/>
          </ac:spMkLst>
        </pc:spChg>
        <pc:spChg chg="add del mod">
          <ac:chgData name="Steiner Andreas 6206 ED" userId="e6377c33-a923-4f14-8587-531c474c7b48" providerId="ADAL" clId="{6ECD27E6-B224-41CD-B4E0-E297462320DD}" dt="2023-11-24T11:39:08.778" v="138248"/>
          <ac:spMkLst>
            <pc:docMk/>
            <pc:sldMk cId="1127354295" sldId="2147478564"/>
            <ac:spMk id="902" creationId="{64939A1B-0C1A-A7EE-1C3E-3F0AAEDA1B21}"/>
          </ac:spMkLst>
        </pc:spChg>
        <pc:spChg chg="add del mod">
          <ac:chgData name="Steiner Andreas 6206 ED" userId="e6377c33-a923-4f14-8587-531c474c7b48" providerId="ADAL" clId="{6ECD27E6-B224-41CD-B4E0-E297462320DD}" dt="2023-11-24T11:39:11.137" v="138403"/>
          <ac:spMkLst>
            <pc:docMk/>
            <pc:sldMk cId="1127354295" sldId="2147478564"/>
            <ac:spMk id="903" creationId="{577B3312-CDCE-ACB0-D218-CB4CDD3D837F}"/>
          </ac:spMkLst>
        </pc:spChg>
        <pc:spChg chg="add del mod">
          <ac:chgData name="Steiner Andreas 6206 ED" userId="e6377c33-a923-4f14-8587-531c474c7b48" providerId="ADAL" clId="{6ECD27E6-B224-41CD-B4E0-E297462320DD}" dt="2023-11-24T11:39:13.633" v="138558"/>
          <ac:spMkLst>
            <pc:docMk/>
            <pc:sldMk cId="1127354295" sldId="2147478564"/>
            <ac:spMk id="904" creationId="{73FF73DF-14A8-B9D2-7E13-DF79FDDDA36E}"/>
          </ac:spMkLst>
        </pc:spChg>
        <pc:spChg chg="add del mod">
          <ac:chgData name="Steiner Andreas 6206 ED" userId="e6377c33-a923-4f14-8587-531c474c7b48" providerId="ADAL" clId="{6ECD27E6-B224-41CD-B4E0-E297462320DD}" dt="2023-11-24T11:39:16.330" v="138713"/>
          <ac:spMkLst>
            <pc:docMk/>
            <pc:sldMk cId="1127354295" sldId="2147478564"/>
            <ac:spMk id="905" creationId="{96A2198A-7D95-F214-4B4D-6EFAA2BA999E}"/>
          </ac:spMkLst>
        </pc:spChg>
        <pc:spChg chg="add del mod">
          <ac:chgData name="Steiner Andreas 6206 ED" userId="e6377c33-a923-4f14-8587-531c474c7b48" providerId="ADAL" clId="{6ECD27E6-B224-41CD-B4E0-E297462320DD}" dt="2023-11-24T11:39:19.136" v="138868"/>
          <ac:spMkLst>
            <pc:docMk/>
            <pc:sldMk cId="1127354295" sldId="2147478564"/>
            <ac:spMk id="906" creationId="{E104C57E-67E5-56B0-0EE6-AF194DEC58F5}"/>
          </ac:spMkLst>
        </pc:spChg>
        <pc:spChg chg="add del mod">
          <ac:chgData name="Steiner Andreas 6206 ED" userId="e6377c33-a923-4f14-8587-531c474c7b48" providerId="ADAL" clId="{6ECD27E6-B224-41CD-B4E0-E297462320DD}" dt="2023-11-24T11:39:21.814" v="139023"/>
          <ac:spMkLst>
            <pc:docMk/>
            <pc:sldMk cId="1127354295" sldId="2147478564"/>
            <ac:spMk id="907" creationId="{7624B9AD-9703-0B39-457E-2F62F18E6536}"/>
          </ac:spMkLst>
        </pc:spChg>
        <pc:spChg chg="add del mod">
          <ac:chgData name="Steiner Andreas 6206 ED" userId="e6377c33-a923-4f14-8587-531c474c7b48" providerId="ADAL" clId="{6ECD27E6-B224-41CD-B4E0-E297462320DD}" dt="2023-11-24T11:39:24.415" v="139178"/>
          <ac:spMkLst>
            <pc:docMk/>
            <pc:sldMk cId="1127354295" sldId="2147478564"/>
            <ac:spMk id="908" creationId="{7F0AEFE3-A12A-8BAD-AB28-94FCE2894012}"/>
          </ac:spMkLst>
        </pc:spChg>
        <pc:spChg chg="add del mod">
          <ac:chgData name="Steiner Andreas 6206 ED" userId="e6377c33-a923-4f14-8587-531c474c7b48" providerId="ADAL" clId="{6ECD27E6-B224-41CD-B4E0-E297462320DD}" dt="2023-11-24T11:39:27.138" v="139333"/>
          <ac:spMkLst>
            <pc:docMk/>
            <pc:sldMk cId="1127354295" sldId="2147478564"/>
            <ac:spMk id="909" creationId="{CDBE551B-83A2-683D-3C62-3C9D46DC53B0}"/>
          </ac:spMkLst>
        </pc:spChg>
        <pc:spChg chg="add del mod">
          <ac:chgData name="Steiner Andreas 6206 ED" userId="e6377c33-a923-4f14-8587-531c474c7b48" providerId="ADAL" clId="{6ECD27E6-B224-41CD-B4E0-E297462320DD}" dt="2023-11-24T11:39:29.783" v="139488"/>
          <ac:spMkLst>
            <pc:docMk/>
            <pc:sldMk cId="1127354295" sldId="2147478564"/>
            <ac:spMk id="910" creationId="{6EAC63AB-9AD8-C366-E088-3BBED1687306}"/>
          </ac:spMkLst>
        </pc:spChg>
        <pc:spChg chg="add del mod">
          <ac:chgData name="Steiner Andreas 6206 ED" userId="e6377c33-a923-4f14-8587-531c474c7b48" providerId="ADAL" clId="{6ECD27E6-B224-41CD-B4E0-E297462320DD}" dt="2023-11-24T11:39:32.879" v="139643"/>
          <ac:spMkLst>
            <pc:docMk/>
            <pc:sldMk cId="1127354295" sldId="2147478564"/>
            <ac:spMk id="911" creationId="{E1A2BB88-37E3-CDFD-6FDB-5EF8C01D7B46}"/>
          </ac:spMkLst>
        </pc:spChg>
        <pc:spChg chg="add del mod">
          <ac:chgData name="Steiner Andreas 6206 ED" userId="e6377c33-a923-4f14-8587-531c474c7b48" providerId="ADAL" clId="{6ECD27E6-B224-41CD-B4E0-E297462320DD}" dt="2023-11-24T11:39:35.512" v="139798"/>
          <ac:spMkLst>
            <pc:docMk/>
            <pc:sldMk cId="1127354295" sldId="2147478564"/>
            <ac:spMk id="912" creationId="{184FEAD7-3A2C-C9C7-3B6A-254B2D8F5F66}"/>
          </ac:spMkLst>
        </pc:spChg>
        <pc:spChg chg="add del mod">
          <ac:chgData name="Steiner Andreas 6206 ED" userId="e6377c33-a923-4f14-8587-531c474c7b48" providerId="ADAL" clId="{6ECD27E6-B224-41CD-B4E0-E297462320DD}" dt="2023-11-24T11:39:38.470" v="139953"/>
          <ac:spMkLst>
            <pc:docMk/>
            <pc:sldMk cId="1127354295" sldId="2147478564"/>
            <ac:spMk id="913" creationId="{2E52321A-35EE-531E-A7E0-64A37796B2BA}"/>
          </ac:spMkLst>
        </pc:spChg>
        <pc:spChg chg="add del mod">
          <ac:chgData name="Steiner Andreas 6206 ED" userId="e6377c33-a923-4f14-8587-531c474c7b48" providerId="ADAL" clId="{6ECD27E6-B224-41CD-B4E0-E297462320DD}" dt="2023-11-24T11:39:41.120" v="140108"/>
          <ac:spMkLst>
            <pc:docMk/>
            <pc:sldMk cId="1127354295" sldId="2147478564"/>
            <ac:spMk id="914" creationId="{8D66F38B-4355-2BEA-DC01-5357FA399FD9}"/>
          </ac:spMkLst>
        </pc:spChg>
        <pc:spChg chg="add del mod">
          <ac:chgData name="Steiner Andreas 6206 ED" userId="e6377c33-a923-4f14-8587-531c474c7b48" providerId="ADAL" clId="{6ECD27E6-B224-41CD-B4E0-E297462320DD}" dt="2023-11-24T11:39:43.789" v="140263"/>
          <ac:spMkLst>
            <pc:docMk/>
            <pc:sldMk cId="1127354295" sldId="2147478564"/>
            <ac:spMk id="915" creationId="{E745DA58-B70D-B8BD-7276-67371A0A2FE0}"/>
          </ac:spMkLst>
        </pc:spChg>
        <pc:spChg chg="add del mod">
          <ac:chgData name="Steiner Andreas 6206 ED" userId="e6377c33-a923-4f14-8587-531c474c7b48" providerId="ADAL" clId="{6ECD27E6-B224-41CD-B4E0-E297462320DD}" dt="2023-11-24T11:39:46.304" v="140418"/>
          <ac:spMkLst>
            <pc:docMk/>
            <pc:sldMk cId="1127354295" sldId="2147478564"/>
            <ac:spMk id="916" creationId="{18980651-CC85-E911-63D7-80838DBF50C4}"/>
          </ac:spMkLst>
        </pc:spChg>
        <pc:spChg chg="add del mod">
          <ac:chgData name="Steiner Andreas 6206 ED" userId="e6377c33-a923-4f14-8587-531c474c7b48" providerId="ADAL" clId="{6ECD27E6-B224-41CD-B4E0-E297462320DD}" dt="2023-11-24T11:39:48.729" v="140573"/>
          <ac:spMkLst>
            <pc:docMk/>
            <pc:sldMk cId="1127354295" sldId="2147478564"/>
            <ac:spMk id="917" creationId="{A26092AE-0A44-E220-7184-0EDA5FE869F2}"/>
          </ac:spMkLst>
        </pc:spChg>
        <pc:spChg chg="add del mod">
          <ac:chgData name="Steiner Andreas 6206 ED" userId="e6377c33-a923-4f14-8587-531c474c7b48" providerId="ADAL" clId="{6ECD27E6-B224-41CD-B4E0-E297462320DD}" dt="2023-11-24T11:39:51.717" v="140728"/>
          <ac:spMkLst>
            <pc:docMk/>
            <pc:sldMk cId="1127354295" sldId="2147478564"/>
            <ac:spMk id="918" creationId="{3213B816-D763-37AE-59A8-005D57AA3FE0}"/>
          </ac:spMkLst>
        </pc:spChg>
        <pc:spChg chg="add del mod">
          <ac:chgData name="Steiner Andreas 6206 ED" userId="e6377c33-a923-4f14-8587-531c474c7b48" providerId="ADAL" clId="{6ECD27E6-B224-41CD-B4E0-E297462320DD}" dt="2023-11-24T11:39:54.639" v="140883"/>
          <ac:spMkLst>
            <pc:docMk/>
            <pc:sldMk cId="1127354295" sldId="2147478564"/>
            <ac:spMk id="919" creationId="{C9ED9B3C-F47B-2FAF-C6C5-793024112057}"/>
          </ac:spMkLst>
        </pc:spChg>
        <pc:spChg chg="add del mod">
          <ac:chgData name="Steiner Andreas 6206 ED" userId="e6377c33-a923-4f14-8587-531c474c7b48" providerId="ADAL" clId="{6ECD27E6-B224-41CD-B4E0-E297462320DD}" dt="2023-11-24T11:39:57.123" v="141038"/>
          <ac:spMkLst>
            <pc:docMk/>
            <pc:sldMk cId="1127354295" sldId="2147478564"/>
            <ac:spMk id="920" creationId="{2DC9FB46-D23B-3704-AF47-86406D0636D6}"/>
          </ac:spMkLst>
        </pc:spChg>
        <pc:spChg chg="add del mod">
          <ac:chgData name="Steiner Andreas 6206 ED" userId="e6377c33-a923-4f14-8587-531c474c7b48" providerId="ADAL" clId="{6ECD27E6-B224-41CD-B4E0-E297462320DD}" dt="2023-11-24T11:39:59.486" v="141193"/>
          <ac:spMkLst>
            <pc:docMk/>
            <pc:sldMk cId="1127354295" sldId="2147478564"/>
            <ac:spMk id="921" creationId="{E9275B93-3931-0614-8ED0-AA0017853EAD}"/>
          </ac:spMkLst>
        </pc:spChg>
        <pc:spChg chg="add del mod">
          <ac:chgData name="Steiner Andreas 6206 ED" userId="e6377c33-a923-4f14-8587-531c474c7b48" providerId="ADAL" clId="{6ECD27E6-B224-41CD-B4E0-E297462320DD}" dt="2023-11-24T11:40:02.296" v="141348"/>
          <ac:spMkLst>
            <pc:docMk/>
            <pc:sldMk cId="1127354295" sldId="2147478564"/>
            <ac:spMk id="922" creationId="{F7253384-DABB-89DE-A556-51C2ABE114B9}"/>
          </ac:spMkLst>
        </pc:spChg>
        <pc:spChg chg="add del mod">
          <ac:chgData name="Steiner Andreas 6206 ED" userId="e6377c33-a923-4f14-8587-531c474c7b48" providerId="ADAL" clId="{6ECD27E6-B224-41CD-B4E0-E297462320DD}" dt="2023-11-24T11:40:05.087" v="141503"/>
          <ac:spMkLst>
            <pc:docMk/>
            <pc:sldMk cId="1127354295" sldId="2147478564"/>
            <ac:spMk id="923" creationId="{83E50243-E5B7-C4E4-7CC8-20183D724586}"/>
          </ac:spMkLst>
        </pc:spChg>
        <pc:spChg chg="add del mod">
          <ac:chgData name="Steiner Andreas 6206 ED" userId="e6377c33-a923-4f14-8587-531c474c7b48" providerId="ADAL" clId="{6ECD27E6-B224-41CD-B4E0-E297462320DD}" dt="2023-11-24T11:40:07.833" v="141658"/>
          <ac:spMkLst>
            <pc:docMk/>
            <pc:sldMk cId="1127354295" sldId="2147478564"/>
            <ac:spMk id="924" creationId="{B0988276-4592-53D3-9278-9A4A372BC5F6}"/>
          </ac:spMkLst>
        </pc:spChg>
        <pc:spChg chg="add del mod">
          <ac:chgData name="Steiner Andreas 6206 ED" userId="e6377c33-a923-4f14-8587-531c474c7b48" providerId="ADAL" clId="{6ECD27E6-B224-41CD-B4E0-E297462320DD}" dt="2023-11-24T11:40:10.286" v="141813"/>
          <ac:spMkLst>
            <pc:docMk/>
            <pc:sldMk cId="1127354295" sldId="2147478564"/>
            <ac:spMk id="925" creationId="{20954456-9D5A-94FE-5A03-434F7B78D46D}"/>
          </ac:spMkLst>
        </pc:spChg>
        <pc:spChg chg="add del mod">
          <ac:chgData name="Steiner Andreas 6206 ED" userId="e6377c33-a923-4f14-8587-531c474c7b48" providerId="ADAL" clId="{6ECD27E6-B224-41CD-B4E0-E297462320DD}" dt="2023-11-24T11:40:12.757" v="141968"/>
          <ac:spMkLst>
            <pc:docMk/>
            <pc:sldMk cId="1127354295" sldId="2147478564"/>
            <ac:spMk id="926" creationId="{A8ED7AC8-C535-26BC-CFF0-7D5E546E0F78}"/>
          </ac:spMkLst>
        </pc:spChg>
        <pc:spChg chg="add del mod">
          <ac:chgData name="Steiner Andreas 6206 ED" userId="e6377c33-a923-4f14-8587-531c474c7b48" providerId="ADAL" clId="{6ECD27E6-B224-41CD-B4E0-E297462320DD}" dt="2023-11-24T11:40:16.705" v="142123"/>
          <ac:spMkLst>
            <pc:docMk/>
            <pc:sldMk cId="1127354295" sldId="2147478564"/>
            <ac:spMk id="927" creationId="{0E3E3490-5859-F6BD-A333-FFD4F757C5EA}"/>
          </ac:spMkLst>
        </pc:spChg>
        <pc:spChg chg="add del mod">
          <ac:chgData name="Steiner Andreas 6206 ED" userId="e6377c33-a923-4f14-8587-531c474c7b48" providerId="ADAL" clId="{6ECD27E6-B224-41CD-B4E0-E297462320DD}" dt="2023-11-24T11:40:19.954" v="142278"/>
          <ac:spMkLst>
            <pc:docMk/>
            <pc:sldMk cId="1127354295" sldId="2147478564"/>
            <ac:spMk id="928" creationId="{883C26E2-A89D-A28B-25C4-32B28DAC70B0}"/>
          </ac:spMkLst>
        </pc:spChg>
        <pc:spChg chg="add del mod">
          <ac:chgData name="Steiner Andreas 6206 ED" userId="e6377c33-a923-4f14-8587-531c474c7b48" providerId="ADAL" clId="{6ECD27E6-B224-41CD-B4E0-E297462320DD}" dt="2023-11-24T11:40:22.715" v="142433"/>
          <ac:spMkLst>
            <pc:docMk/>
            <pc:sldMk cId="1127354295" sldId="2147478564"/>
            <ac:spMk id="929" creationId="{4B58296F-A3B8-EA4D-B0A6-913F0A4DBC98}"/>
          </ac:spMkLst>
        </pc:spChg>
        <pc:spChg chg="add del mod">
          <ac:chgData name="Steiner Andreas 6206 ED" userId="e6377c33-a923-4f14-8587-531c474c7b48" providerId="ADAL" clId="{6ECD27E6-B224-41CD-B4E0-E297462320DD}" dt="2023-11-24T11:40:25.422" v="142588"/>
          <ac:spMkLst>
            <pc:docMk/>
            <pc:sldMk cId="1127354295" sldId="2147478564"/>
            <ac:spMk id="930" creationId="{E97874DB-3183-C7F2-0808-F3A3855B5D4C}"/>
          </ac:spMkLst>
        </pc:spChg>
        <pc:spChg chg="add del mod">
          <ac:chgData name="Steiner Andreas 6206 ED" userId="e6377c33-a923-4f14-8587-531c474c7b48" providerId="ADAL" clId="{6ECD27E6-B224-41CD-B4E0-E297462320DD}" dt="2023-11-24T11:40:28.513" v="142743"/>
          <ac:spMkLst>
            <pc:docMk/>
            <pc:sldMk cId="1127354295" sldId="2147478564"/>
            <ac:spMk id="931" creationId="{938531F3-01D0-08EB-2BA8-4427B20F67F8}"/>
          </ac:spMkLst>
        </pc:spChg>
        <pc:spChg chg="add del mod">
          <ac:chgData name="Steiner Andreas 6206 ED" userId="e6377c33-a923-4f14-8587-531c474c7b48" providerId="ADAL" clId="{6ECD27E6-B224-41CD-B4E0-E297462320DD}" dt="2023-11-24T11:40:31.157" v="142898"/>
          <ac:spMkLst>
            <pc:docMk/>
            <pc:sldMk cId="1127354295" sldId="2147478564"/>
            <ac:spMk id="932" creationId="{5AD12714-FC51-1037-7A66-FE38CEC657B1}"/>
          </ac:spMkLst>
        </pc:spChg>
        <pc:spChg chg="add del mod">
          <ac:chgData name="Steiner Andreas 6206 ED" userId="e6377c33-a923-4f14-8587-531c474c7b48" providerId="ADAL" clId="{6ECD27E6-B224-41CD-B4E0-E297462320DD}" dt="2023-11-24T11:40:33.705" v="143053"/>
          <ac:spMkLst>
            <pc:docMk/>
            <pc:sldMk cId="1127354295" sldId="2147478564"/>
            <ac:spMk id="933" creationId="{B5AF8DC1-4531-735F-94E0-89CA217BB628}"/>
          </ac:spMkLst>
        </pc:spChg>
        <pc:spChg chg="add del mod">
          <ac:chgData name="Steiner Andreas 6206 ED" userId="e6377c33-a923-4f14-8587-531c474c7b48" providerId="ADAL" clId="{6ECD27E6-B224-41CD-B4E0-E297462320DD}" dt="2023-11-24T11:40:36.514" v="143208"/>
          <ac:spMkLst>
            <pc:docMk/>
            <pc:sldMk cId="1127354295" sldId="2147478564"/>
            <ac:spMk id="934" creationId="{6E11A988-ABEA-9ABD-63CE-1AF508B56EC5}"/>
          </ac:spMkLst>
        </pc:spChg>
        <pc:spChg chg="add del mod">
          <ac:chgData name="Steiner Andreas 6206 ED" userId="e6377c33-a923-4f14-8587-531c474c7b48" providerId="ADAL" clId="{6ECD27E6-B224-41CD-B4E0-E297462320DD}" dt="2023-11-24T11:40:39.557" v="143363"/>
          <ac:spMkLst>
            <pc:docMk/>
            <pc:sldMk cId="1127354295" sldId="2147478564"/>
            <ac:spMk id="935" creationId="{F43C1378-5449-F61C-7F21-6385E21B1F2A}"/>
          </ac:spMkLst>
        </pc:spChg>
        <pc:spChg chg="add del mod">
          <ac:chgData name="Steiner Andreas 6206 ED" userId="e6377c33-a923-4f14-8587-531c474c7b48" providerId="ADAL" clId="{6ECD27E6-B224-41CD-B4E0-E297462320DD}" dt="2023-11-24T11:40:42.429" v="143518"/>
          <ac:spMkLst>
            <pc:docMk/>
            <pc:sldMk cId="1127354295" sldId="2147478564"/>
            <ac:spMk id="936" creationId="{8D6729CA-487F-1102-C4F0-4E57471ACA8F}"/>
          </ac:spMkLst>
        </pc:spChg>
        <pc:spChg chg="add del mod">
          <ac:chgData name="Steiner Andreas 6206 ED" userId="e6377c33-a923-4f14-8587-531c474c7b48" providerId="ADAL" clId="{6ECD27E6-B224-41CD-B4E0-E297462320DD}" dt="2023-11-24T11:40:45.090" v="143673"/>
          <ac:spMkLst>
            <pc:docMk/>
            <pc:sldMk cId="1127354295" sldId="2147478564"/>
            <ac:spMk id="937" creationId="{64CEDB93-F4DE-4826-9916-24FB0BC2B2BA}"/>
          </ac:spMkLst>
        </pc:spChg>
        <pc:spChg chg="add del mod">
          <ac:chgData name="Steiner Andreas 6206 ED" userId="e6377c33-a923-4f14-8587-531c474c7b48" providerId="ADAL" clId="{6ECD27E6-B224-41CD-B4E0-E297462320DD}" dt="2023-11-24T11:40:47.861" v="143828"/>
          <ac:spMkLst>
            <pc:docMk/>
            <pc:sldMk cId="1127354295" sldId="2147478564"/>
            <ac:spMk id="938" creationId="{23E2DB90-C57F-0D80-31B4-D57F789A7743}"/>
          </ac:spMkLst>
        </pc:spChg>
        <pc:spChg chg="add del mod">
          <ac:chgData name="Steiner Andreas 6206 ED" userId="e6377c33-a923-4f14-8587-531c474c7b48" providerId="ADAL" clId="{6ECD27E6-B224-41CD-B4E0-E297462320DD}" dt="2023-11-24T11:40:50.664" v="143983"/>
          <ac:spMkLst>
            <pc:docMk/>
            <pc:sldMk cId="1127354295" sldId="2147478564"/>
            <ac:spMk id="939" creationId="{843003F9-A205-1295-9E8A-A01A6D240280}"/>
          </ac:spMkLst>
        </pc:spChg>
        <pc:spChg chg="add del mod">
          <ac:chgData name="Steiner Andreas 6206 ED" userId="e6377c33-a923-4f14-8587-531c474c7b48" providerId="ADAL" clId="{6ECD27E6-B224-41CD-B4E0-E297462320DD}" dt="2023-11-24T11:40:53.533" v="144138"/>
          <ac:spMkLst>
            <pc:docMk/>
            <pc:sldMk cId="1127354295" sldId="2147478564"/>
            <ac:spMk id="940" creationId="{711DD04B-76AF-8994-D7D2-9470C5B9B58A}"/>
          </ac:spMkLst>
        </pc:spChg>
        <pc:spChg chg="add del mod">
          <ac:chgData name="Steiner Andreas 6206 ED" userId="e6377c33-a923-4f14-8587-531c474c7b48" providerId="ADAL" clId="{6ECD27E6-B224-41CD-B4E0-E297462320DD}" dt="2023-11-24T11:40:56.259" v="144293"/>
          <ac:spMkLst>
            <pc:docMk/>
            <pc:sldMk cId="1127354295" sldId="2147478564"/>
            <ac:spMk id="941" creationId="{1CF9EAE9-86FD-40BC-2C66-FCFFAA4DDE8D}"/>
          </ac:spMkLst>
        </pc:spChg>
        <pc:spChg chg="add del mod">
          <ac:chgData name="Steiner Andreas 6206 ED" userId="e6377c33-a923-4f14-8587-531c474c7b48" providerId="ADAL" clId="{6ECD27E6-B224-41CD-B4E0-E297462320DD}" dt="2023-11-24T11:40:58.785" v="144448"/>
          <ac:spMkLst>
            <pc:docMk/>
            <pc:sldMk cId="1127354295" sldId="2147478564"/>
            <ac:spMk id="942" creationId="{83F2AF4F-1DBF-C048-9973-8B0ED1C98B39}"/>
          </ac:spMkLst>
        </pc:spChg>
        <pc:spChg chg="add del mod">
          <ac:chgData name="Steiner Andreas 6206 ED" userId="e6377c33-a923-4f14-8587-531c474c7b48" providerId="ADAL" clId="{6ECD27E6-B224-41CD-B4E0-E297462320DD}" dt="2023-11-24T11:41:01.372" v="144603"/>
          <ac:spMkLst>
            <pc:docMk/>
            <pc:sldMk cId="1127354295" sldId="2147478564"/>
            <ac:spMk id="943" creationId="{0DBD629C-CA3C-F96A-7587-7E474D0E8E25}"/>
          </ac:spMkLst>
        </pc:spChg>
        <pc:spChg chg="add del mod">
          <ac:chgData name="Steiner Andreas 6206 ED" userId="e6377c33-a923-4f14-8587-531c474c7b48" providerId="ADAL" clId="{6ECD27E6-B224-41CD-B4E0-E297462320DD}" dt="2023-11-24T11:41:04.088" v="144758"/>
          <ac:spMkLst>
            <pc:docMk/>
            <pc:sldMk cId="1127354295" sldId="2147478564"/>
            <ac:spMk id="944" creationId="{E5D38A9F-EDE7-C80A-60C0-0C04C3AB1DCB}"/>
          </ac:spMkLst>
        </pc:spChg>
        <pc:spChg chg="add del mod">
          <ac:chgData name="Steiner Andreas 6206 ED" userId="e6377c33-a923-4f14-8587-531c474c7b48" providerId="ADAL" clId="{6ECD27E6-B224-41CD-B4E0-E297462320DD}" dt="2023-11-24T11:41:07.160" v="144913"/>
          <ac:spMkLst>
            <pc:docMk/>
            <pc:sldMk cId="1127354295" sldId="2147478564"/>
            <ac:spMk id="945" creationId="{7DFF92A7-2F9F-7402-6C81-BA639AAAA318}"/>
          </ac:spMkLst>
        </pc:spChg>
        <pc:spChg chg="add del mod">
          <ac:chgData name="Steiner Andreas 6206 ED" userId="e6377c33-a923-4f14-8587-531c474c7b48" providerId="ADAL" clId="{6ECD27E6-B224-41CD-B4E0-E297462320DD}" dt="2023-11-24T11:41:10.252" v="145068"/>
          <ac:spMkLst>
            <pc:docMk/>
            <pc:sldMk cId="1127354295" sldId="2147478564"/>
            <ac:spMk id="946" creationId="{3676932E-D7BF-49A0-1631-271615FBA279}"/>
          </ac:spMkLst>
        </pc:spChg>
        <pc:spChg chg="add del mod">
          <ac:chgData name="Steiner Andreas 6206 ED" userId="e6377c33-a923-4f14-8587-531c474c7b48" providerId="ADAL" clId="{6ECD27E6-B224-41CD-B4E0-E297462320DD}" dt="2023-11-24T11:41:13.165" v="145223"/>
          <ac:spMkLst>
            <pc:docMk/>
            <pc:sldMk cId="1127354295" sldId="2147478564"/>
            <ac:spMk id="947" creationId="{E9278EA9-FBE0-37C2-95D8-CBE548C95D20}"/>
          </ac:spMkLst>
        </pc:spChg>
        <pc:spChg chg="add del mod">
          <ac:chgData name="Steiner Andreas 6206 ED" userId="e6377c33-a923-4f14-8587-531c474c7b48" providerId="ADAL" clId="{6ECD27E6-B224-41CD-B4E0-E297462320DD}" dt="2023-11-24T11:41:16.194" v="145378"/>
          <ac:spMkLst>
            <pc:docMk/>
            <pc:sldMk cId="1127354295" sldId="2147478564"/>
            <ac:spMk id="948" creationId="{0C7387D3-8BA9-2E92-4388-F6C0EB524E80}"/>
          </ac:spMkLst>
        </pc:spChg>
        <pc:spChg chg="add del mod">
          <ac:chgData name="Steiner Andreas 6206 ED" userId="e6377c33-a923-4f14-8587-531c474c7b48" providerId="ADAL" clId="{6ECD27E6-B224-41CD-B4E0-E297462320DD}" dt="2023-11-24T11:41:19.430" v="145533"/>
          <ac:spMkLst>
            <pc:docMk/>
            <pc:sldMk cId="1127354295" sldId="2147478564"/>
            <ac:spMk id="949" creationId="{47D7CB34-2739-3B0D-63EE-B4CAE424A0FA}"/>
          </ac:spMkLst>
        </pc:spChg>
        <pc:spChg chg="add del mod">
          <ac:chgData name="Steiner Andreas 6206 ED" userId="e6377c33-a923-4f14-8587-531c474c7b48" providerId="ADAL" clId="{6ECD27E6-B224-41CD-B4E0-E297462320DD}" dt="2023-11-24T11:41:21.959" v="145688"/>
          <ac:spMkLst>
            <pc:docMk/>
            <pc:sldMk cId="1127354295" sldId="2147478564"/>
            <ac:spMk id="950" creationId="{610CB220-17D9-D44B-4A35-A42355A107B1}"/>
          </ac:spMkLst>
        </pc:spChg>
        <pc:spChg chg="add del mod">
          <ac:chgData name="Steiner Andreas 6206 ED" userId="e6377c33-a923-4f14-8587-531c474c7b48" providerId="ADAL" clId="{6ECD27E6-B224-41CD-B4E0-E297462320DD}" dt="2023-11-24T11:41:25.808" v="145843"/>
          <ac:spMkLst>
            <pc:docMk/>
            <pc:sldMk cId="1127354295" sldId="2147478564"/>
            <ac:spMk id="951" creationId="{3B061C74-FEA8-45A7-CB5D-BDC0FA80A5D5}"/>
          </ac:spMkLst>
        </pc:spChg>
        <pc:spChg chg="add del mod">
          <ac:chgData name="Steiner Andreas 6206 ED" userId="e6377c33-a923-4f14-8587-531c474c7b48" providerId="ADAL" clId="{6ECD27E6-B224-41CD-B4E0-E297462320DD}" dt="2023-11-24T11:41:28.893" v="145998"/>
          <ac:spMkLst>
            <pc:docMk/>
            <pc:sldMk cId="1127354295" sldId="2147478564"/>
            <ac:spMk id="952" creationId="{7DCA1C9E-3206-D6DA-C2C9-8FA425DE25C0}"/>
          </ac:spMkLst>
        </pc:spChg>
        <pc:spChg chg="add del mod">
          <ac:chgData name="Steiner Andreas 6206 ED" userId="e6377c33-a923-4f14-8587-531c474c7b48" providerId="ADAL" clId="{6ECD27E6-B224-41CD-B4E0-E297462320DD}" dt="2023-11-24T11:41:31.482" v="146153"/>
          <ac:spMkLst>
            <pc:docMk/>
            <pc:sldMk cId="1127354295" sldId="2147478564"/>
            <ac:spMk id="953" creationId="{90AFD76C-1E08-10FE-3F8B-65189D7ECED2}"/>
          </ac:spMkLst>
        </pc:spChg>
        <pc:spChg chg="add del mod">
          <ac:chgData name="Steiner Andreas 6206 ED" userId="e6377c33-a923-4f14-8587-531c474c7b48" providerId="ADAL" clId="{6ECD27E6-B224-41CD-B4E0-E297462320DD}" dt="2023-11-24T11:41:33.629" v="146308"/>
          <ac:spMkLst>
            <pc:docMk/>
            <pc:sldMk cId="1127354295" sldId="2147478564"/>
            <ac:spMk id="954" creationId="{CF7DD1F3-D8DD-9F58-AE24-346596D7BDD8}"/>
          </ac:spMkLst>
        </pc:spChg>
        <pc:spChg chg="add del mod">
          <ac:chgData name="Steiner Andreas 6206 ED" userId="e6377c33-a923-4f14-8587-531c474c7b48" providerId="ADAL" clId="{6ECD27E6-B224-41CD-B4E0-E297462320DD}" dt="2023-11-24T11:41:35.760" v="146463"/>
          <ac:spMkLst>
            <pc:docMk/>
            <pc:sldMk cId="1127354295" sldId="2147478564"/>
            <ac:spMk id="955" creationId="{47A29CB2-0C40-B9EC-9D03-9ADDB09B0AD1}"/>
          </ac:spMkLst>
        </pc:spChg>
        <pc:spChg chg="add del mod">
          <ac:chgData name="Steiner Andreas 6206 ED" userId="e6377c33-a923-4f14-8587-531c474c7b48" providerId="ADAL" clId="{6ECD27E6-B224-41CD-B4E0-E297462320DD}" dt="2023-11-24T11:41:37.974" v="146618"/>
          <ac:spMkLst>
            <pc:docMk/>
            <pc:sldMk cId="1127354295" sldId="2147478564"/>
            <ac:spMk id="956" creationId="{5410FE56-2EE8-6E3F-A4C4-CB9AED68F9C6}"/>
          </ac:spMkLst>
        </pc:spChg>
        <pc:spChg chg="add del mod">
          <ac:chgData name="Steiner Andreas 6206 ED" userId="e6377c33-a923-4f14-8587-531c474c7b48" providerId="ADAL" clId="{6ECD27E6-B224-41CD-B4E0-E297462320DD}" dt="2023-11-24T11:41:40.776" v="146773"/>
          <ac:spMkLst>
            <pc:docMk/>
            <pc:sldMk cId="1127354295" sldId="2147478564"/>
            <ac:spMk id="957" creationId="{371133FA-E468-9970-2A42-1FAEF53EEFC5}"/>
          </ac:spMkLst>
        </pc:spChg>
        <pc:spChg chg="add del mod">
          <ac:chgData name="Steiner Andreas 6206 ED" userId="e6377c33-a923-4f14-8587-531c474c7b48" providerId="ADAL" clId="{6ECD27E6-B224-41CD-B4E0-E297462320DD}" dt="2023-11-24T11:41:42.882" v="146928"/>
          <ac:spMkLst>
            <pc:docMk/>
            <pc:sldMk cId="1127354295" sldId="2147478564"/>
            <ac:spMk id="958" creationId="{86B5585E-F0F9-3815-31F2-E75994649961}"/>
          </ac:spMkLst>
        </pc:spChg>
        <pc:spChg chg="add del mod">
          <ac:chgData name="Steiner Andreas 6206 ED" userId="e6377c33-a923-4f14-8587-531c474c7b48" providerId="ADAL" clId="{6ECD27E6-B224-41CD-B4E0-E297462320DD}" dt="2023-11-24T11:41:44.943" v="147083"/>
          <ac:spMkLst>
            <pc:docMk/>
            <pc:sldMk cId="1127354295" sldId="2147478564"/>
            <ac:spMk id="959" creationId="{84CDD58F-207F-2FE5-F6C5-E57EF855AA4E}"/>
          </ac:spMkLst>
        </pc:spChg>
        <pc:spChg chg="add del mod">
          <ac:chgData name="Steiner Andreas 6206 ED" userId="e6377c33-a923-4f14-8587-531c474c7b48" providerId="ADAL" clId="{6ECD27E6-B224-41CD-B4E0-E297462320DD}" dt="2023-11-24T11:41:47.492" v="147238"/>
          <ac:spMkLst>
            <pc:docMk/>
            <pc:sldMk cId="1127354295" sldId="2147478564"/>
            <ac:spMk id="960" creationId="{A69B504D-0B95-D2BE-4F2A-4F03A546C570}"/>
          </ac:spMkLst>
        </pc:spChg>
        <pc:spChg chg="add del mod">
          <ac:chgData name="Steiner Andreas 6206 ED" userId="e6377c33-a923-4f14-8587-531c474c7b48" providerId="ADAL" clId="{6ECD27E6-B224-41CD-B4E0-E297462320DD}" dt="2023-11-24T11:41:49.596" v="147393"/>
          <ac:spMkLst>
            <pc:docMk/>
            <pc:sldMk cId="1127354295" sldId="2147478564"/>
            <ac:spMk id="961" creationId="{783D0F31-AF7F-D8B8-AECB-D7EA851910F2}"/>
          </ac:spMkLst>
        </pc:spChg>
        <pc:spChg chg="add del mod">
          <ac:chgData name="Steiner Andreas 6206 ED" userId="e6377c33-a923-4f14-8587-531c474c7b48" providerId="ADAL" clId="{6ECD27E6-B224-41CD-B4E0-E297462320DD}" dt="2023-11-24T11:41:51.960" v="147548"/>
          <ac:spMkLst>
            <pc:docMk/>
            <pc:sldMk cId="1127354295" sldId="2147478564"/>
            <ac:spMk id="962" creationId="{C6830ECE-3405-B22D-7F99-9B9F414747B8}"/>
          </ac:spMkLst>
        </pc:spChg>
        <pc:spChg chg="add del mod">
          <ac:chgData name="Steiner Andreas 6206 ED" userId="e6377c33-a923-4f14-8587-531c474c7b48" providerId="ADAL" clId="{6ECD27E6-B224-41CD-B4E0-E297462320DD}" dt="2023-11-24T11:41:54.333" v="147703"/>
          <ac:spMkLst>
            <pc:docMk/>
            <pc:sldMk cId="1127354295" sldId="2147478564"/>
            <ac:spMk id="963" creationId="{927292A3-856A-DE25-2C52-D82174EB7116}"/>
          </ac:spMkLst>
        </pc:spChg>
        <pc:spChg chg="add del mod">
          <ac:chgData name="Steiner Andreas 6206 ED" userId="e6377c33-a923-4f14-8587-531c474c7b48" providerId="ADAL" clId="{6ECD27E6-B224-41CD-B4E0-E297462320DD}" dt="2023-11-24T11:41:57.556" v="147858"/>
          <ac:spMkLst>
            <pc:docMk/>
            <pc:sldMk cId="1127354295" sldId="2147478564"/>
            <ac:spMk id="964" creationId="{9BEBFEDB-E024-9067-1922-81BC0BEA9459}"/>
          </ac:spMkLst>
        </pc:spChg>
        <pc:spChg chg="add del mod">
          <ac:chgData name="Steiner Andreas 6206 ED" userId="e6377c33-a923-4f14-8587-531c474c7b48" providerId="ADAL" clId="{6ECD27E6-B224-41CD-B4E0-E297462320DD}" dt="2023-11-24T11:42:00.964" v="148013"/>
          <ac:spMkLst>
            <pc:docMk/>
            <pc:sldMk cId="1127354295" sldId="2147478564"/>
            <ac:spMk id="965" creationId="{BCDCE1E9-DA06-B40B-A5CE-49DD6D388230}"/>
          </ac:spMkLst>
        </pc:spChg>
        <pc:spChg chg="add del mod">
          <ac:chgData name="Steiner Andreas 6206 ED" userId="e6377c33-a923-4f14-8587-531c474c7b48" providerId="ADAL" clId="{6ECD27E6-B224-41CD-B4E0-E297462320DD}" dt="2023-11-24T11:42:04.155" v="148168"/>
          <ac:spMkLst>
            <pc:docMk/>
            <pc:sldMk cId="1127354295" sldId="2147478564"/>
            <ac:spMk id="966" creationId="{5976431C-25CC-1B27-5F32-5B3082E1EBE8}"/>
          </ac:spMkLst>
        </pc:spChg>
        <pc:spChg chg="add del mod">
          <ac:chgData name="Steiner Andreas 6206 ED" userId="e6377c33-a923-4f14-8587-531c474c7b48" providerId="ADAL" clId="{6ECD27E6-B224-41CD-B4E0-E297462320DD}" dt="2023-11-24T11:42:06.659" v="148323"/>
          <ac:spMkLst>
            <pc:docMk/>
            <pc:sldMk cId="1127354295" sldId="2147478564"/>
            <ac:spMk id="967" creationId="{EAAC37A8-4D37-FD57-287E-E90D7B68B70E}"/>
          </ac:spMkLst>
        </pc:spChg>
        <pc:spChg chg="add del mod">
          <ac:chgData name="Steiner Andreas 6206 ED" userId="e6377c33-a923-4f14-8587-531c474c7b48" providerId="ADAL" clId="{6ECD27E6-B224-41CD-B4E0-E297462320DD}" dt="2023-11-24T11:42:08.917" v="148478"/>
          <ac:spMkLst>
            <pc:docMk/>
            <pc:sldMk cId="1127354295" sldId="2147478564"/>
            <ac:spMk id="968" creationId="{DA66A7E7-12BF-DC66-F150-D2036A41D609}"/>
          </ac:spMkLst>
        </pc:spChg>
        <pc:spChg chg="add del mod">
          <ac:chgData name="Steiner Andreas 6206 ED" userId="e6377c33-a923-4f14-8587-531c474c7b48" providerId="ADAL" clId="{6ECD27E6-B224-41CD-B4E0-E297462320DD}" dt="2023-11-24T11:42:11.506" v="148633"/>
          <ac:spMkLst>
            <pc:docMk/>
            <pc:sldMk cId="1127354295" sldId="2147478564"/>
            <ac:spMk id="969" creationId="{4E6A42CD-DEF3-38AA-9B75-76F73BB8C99C}"/>
          </ac:spMkLst>
        </pc:spChg>
        <pc:spChg chg="add del mod">
          <ac:chgData name="Steiner Andreas 6206 ED" userId="e6377c33-a923-4f14-8587-531c474c7b48" providerId="ADAL" clId="{6ECD27E6-B224-41CD-B4E0-E297462320DD}" dt="2023-11-24T11:42:14.116" v="148788"/>
          <ac:spMkLst>
            <pc:docMk/>
            <pc:sldMk cId="1127354295" sldId="2147478564"/>
            <ac:spMk id="970" creationId="{D4D5992B-1A01-AC29-DCC8-3ACC20F88C85}"/>
          </ac:spMkLst>
        </pc:spChg>
        <pc:spChg chg="add del mod">
          <ac:chgData name="Steiner Andreas 6206 ED" userId="e6377c33-a923-4f14-8587-531c474c7b48" providerId="ADAL" clId="{6ECD27E6-B224-41CD-B4E0-E297462320DD}" dt="2023-11-24T11:42:16.363" v="148943"/>
          <ac:spMkLst>
            <pc:docMk/>
            <pc:sldMk cId="1127354295" sldId="2147478564"/>
            <ac:spMk id="971" creationId="{5FEC89AB-FD9B-6892-8174-A6357408E033}"/>
          </ac:spMkLst>
        </pc:spChg>
        <pc:spChg chg="add del mod">
          <ac:chgData name="Steiner Andreas 6206 ED" userId="e6377c33-a923-4f14-8587-531c474c7b48" providerId="ADAL" clId="{6ECD27E6-B224-41CD-B4E0-E297462320DD}" dt="2023-11-24T11:42:18.498" v="149098"/>
          <ac:spMkLst>
            <pc:docMk/>
            <pc:sldMk cId="1127354295" sldId="2147478564"/>
            <ac:spMk id="972" creationId="{D6007439-010D-0487-08B2-2F756F65330C}"/>
          </ac:spMkLst>
        </pc:spChg>
        <pc:spChg chg="add del mod">
          <ac:chgData name="Steiner Andreas 6206 ED" userId="e6377c33-a923-4f14-8587-531c474c7b48" providerId="ADAL" clId="{6ECD27E6-B224-41CD-B4E0-E297462320DD}" dt="2023-11-24T11:42:20.543" v="149253"/>
          <ac:spMkLst>
            <pc:docMk/>
            <pc:sldMk cId="1127354295" sldId="2147478564"/>
            <ac:spMk id="973" creationId="{D4904EB1-8D29-5A3A-2478-0E19FF4AE0C9}"/>
          </ac:spMkLst>
        </pc:spChg>
        <pc:spChg chg="add del mod">
          <ac:chgData name="Steiner Andreas 6206 ED" userId="e6377c33-a923-4f14-8587-531c474c7b48" providerId="ADAL" clId="{6ECD27E6-B224-41CD-B4E0-E297462320DD}" dt="2023-11-24T11:42:22.602" v="149408"/>
          <ac:spMkLst>
            <pc:docMk/>
            <pc:sldMk cId="1127354295" sldId="2147478564"/>
            <ac:spMk id="974" creationId="{72EEFF44-FC8F-6F20-D3C5-03B9797DF84F}"/>
          </ac:spMkLst>
        </pc:spChg>
        <pc:spChg chg="add del mod">
          <ac:chgData name="Steiner Andreas 6206 ED" userId="e6377c33-a923-4f14-8587-531c474c7b48" providerId="ADAL" clId="{6ECD27E6-B224-41CD-B4E0-E297462320DD}" dt="2023-11-24T11:42:24.555" v="149563"/>
          <ac:spMkLst>
            <pc:docMk/>
            <pc:sldMk cId="1127354295" sldId="2147478564"/>
            <ac:spMk id="975" creationId="{4D091D46-DB1E-376C-5F85-37F8C859210C}"/>
          </ac:spMkLst>
        </pc:spChg>
        <pc:spChg chg="add del mod">
          <ac:chgData name="Steiner Andreas 6206 ED" userId="e6377c33-a923-4f14-8587-531c474c7b48" providerId="ADAL" clId="{6ECD27E6-B224-41CD-B4E0-E297462320DD}" dt="2023-11-24T11:42:26.469" v="149718"/>
          <ac:spMkLst>
            <pc:docMk/>
            <pc:sldMk cId="1127354295" sldId="2147478564"/>
            <ac:spMk id="976" creationId="{0DED6CDD-2F77-C27E-68CC-F4EBD725A38B}"/>
          </ac:spMkLst>
        </pc:spChg>
        <pc:spChg chg="add del mod">
          <ac:chgData name="Steiner Andreas 6206 ED" userId="e6377c33-a923-4f14-8587-531c474c7b48" providerId="ADAL" clId="{6ECD27E6-B224-41CD-B4E0-E297462320DD}" dt="2023-11-24T11:42:29.656" v="149873"/>
          <ac:spMkLst>
            <pc:docMk/>
            <pc:sldMk cId="1127354295" sldId="2147478564"/>
            <ac:spMk id="977" creationId="{8AA8B4F2-4D72-9A9A-E3BF-5EB31EDC6111}"/>
          </ac:spMkLst>
        </pc:spChg>
        <pc:spChg chg="add del mod">
          <ac:chgData name="Steiner Andreas 6206 ED" userId="e6377c33-a923-4f14-8587-531c474c7b48" providerId="ADAL" clId="{6ECD27E6-B224-41CD-B4E0-E297462320DD}" dt="2023-11-24T11:42:32.664" v="150028"/>
          <ac:spMkLst>
            <pc:docMk/>
            <pc:sldMk cId="1127354295" sldId="2147478564"/>
            <ac:spMk id="978" creationId="{1778CD97-6882-7DD0-4CF4-302AFC92DC45}"/>
          </ac:spMkLst>
        </pc:spChg>
        <pc:spChg chg="add del mod">
          <ac:chgData name="Steiner Andreas 6206 ED" userId="e6377c33-a923-4f14-8587-531c474c7b48" providerId="ADAL" clId="{6ECD27E6-B224-41CD-B4E0-E297462320DD}" dt="2023-11-24T11:42:35.870" v="150183"/>
          <ac:spMkLst>
            <pc:docMk/>
            <pc:sldMk cId="1127354295" sldId="2147478564"/>
            <ac:spMk id="979" creationId="{92AFC480-5002-4AE1-8EEC-4F913C4E31A2}"/>
          </ac:spMkLst>
        </pc:spChg>
        <pc:spChg chg="add del mod">
          <ac:chgData name="Steiner Andreas 6206 ED" userId="e6377c33-a923-4f14-8587-531c474c7b48" providerId="ADAL" clId="{6ECD27E6-B224-41CD-B4E0-E297462320DD}" dt="2023-11-24T11:42:38.194" v="150338"/>
          <ac:spMkLst>
            <pc:docMk/>
            <pc:sldMk cId="1127354295" sldId="2147478564"/>
            <ac:spMk id="980" creationId="{1CCB1D9C-B2F6-92B3-126F-0C495CA1FBED}"/>
          </ac:spMkLst>
        </pc:spChg>
        <pc:spChg chg="add del mod">
          <ac:chgData name="Steiner Andreas 6206 ED" userId="e6377c33-a923-4f14-8587-531c474c7b48" providerId="ADAL" clId="{6ECD27E6-B224-41CD-B4E0-E297462320DD}" dt="2023-11-24T11:42:40.268" v="150493"/>
          <ac:spMkLst>
            <pc:docMk/>
            <pc:sldMk cId="1127354295" sldId="2147478564"/>
            <ac:spMk id="981" creationId="{73D10347-6869-586D-CD15-872734898325}"/>
          </ac:spMkLst>
        </pc:spChg>
        <pc:spChg chg="add del mod">
          <ac:chgData name="Steiner Andreas 6206 ED" userId="e6377c33-a923-4f14-8587-531c474c7b48" providerId="ADAL" clId="{6ECD27E6-B224-41CD-B4E0-E297462320DD}" dt="2023-11-24T11:42:42.298" v="150648"/>
          <ac:spMkLst>
            <pc:docMk/>
            <pc:sldMk cId="1127354295" sldId="2147478564"/>
            <ac:spMk id="982" creationId="{B63B850A-4398-D8A3-0C4B-B8BDFFB1F1F8}"/>
          </ac:spMkLst>
        </pc:spChg>
        <pc:spChg chg="add del mod">
          <ac:chgData name="Steiner Andreas 6206 ED" userId="e6377c33-a923-4f14-8587-531c474c7b48" providerId="ADAL" clId="{6ECD27E6-B224-41CD-B4E0-E297462320DD}" dt="2023-11-24T11:42:44.398" v="150803"/>
          <ac:spMkLst>
            <pc:docMk/>
            <pc:sldMk cId="1127354295" sldId="2147478564"/>
            <ac:spMk id="983" creationId="{7203AB4A-C85D-E179-080B-49874D7F52F3}"/>
          </ac:spMkLst>
        </pc:spChg>
        <pc:spChg chg="add del mod">
          <ac:chgData name="Steiner Andreas 6206 ED" userId="e6377c33-a923-4f14-8587-531c474c7b48" providerId="ADAL" clId="{6ECD27E6-B224-41CD-B4E0-E297462320DD}" dt="2023-11-24T11:42:46.692" v="150958"/>
          <ac:spMkLst>
            <pc:docMk/>
            <pc:sldMk cId="1127354295" sldId="2147478564"/>
            <ac:spMk id="984" creationId="{42EF9937-695E-9D5A-0184-E74EF6FF4D8D}"/>
          </ac:spMkLst>
        </pc:spChg>
        <pc:spChg chg="add del mod">
          <ac:chgData name="Steiner Andreas 6206 ED" userId="e6377c33-a923-4f14-8587-531c474c7b48" providerId="ADAL" clId="{6ECD27E6-B224-41CD-B4E0-E297462320DD}" dt="2023-11-24T11:42:48.888" v="151113"/>
          <ac:spMkLst>
            <pc:docMk/>
            <pc:sldMk cId="1127354295" sldId="2147478564"/>
            <ac:spMk id="985" creationId="{7F484951-26B1-CC8D-46D9-A15D15D2313D}"/>
          </ac:spMkLst>
        </pc:spChg>
        <pc:spChg chg="add del mod">
          <ac:chgData name="Steiner Andreas 6206 ED" userId="e6377c33-a923-4f14-8587-531c474c7b48" providerId="ADAL" clId="{6ECD27E6-B224-41CD-B4E0-E297462320DD}" dt="2023-11-24T11:42:51.189" v="151268"/>
          <ac:spMkLst>
            <pc:docMk/>
            <pc:sldMk cId="1127354295" sldId="2147478564"/>
            <ac:spMk id="986" creationId="{CCE68B81-035E-B369-84C4-2F9926F9B8A0}"/>
          </ac:spMkLst>
        </pc:spChg>
        <pc:spChg chg="add del mod">
          <ac:chgData name="Steiner Andreas 6206 ED" userId="e6377c33-a923-4f14-8587-531c474c7b48" providerId="ADAL" clId="{6ECD27E6-B224-41CD-B4E0-E297462320DD}" dt="2023-11-24T11:42:53.489" v="151423"/>
          <ac:spMkLst>
            <pc:docMk/>
            <pc:sldMk cId="1127354295" sldId="2147478564"/>
            <ac:spMk id="987" creationId="{DB1FF359-5086-949F-66A2-F71D44D45998}"/>
          </ac:spMkLst>
        </pc:spChg>
        <pc:spChg chg="add del mod">
          <ac:chgData name="Steiner Andreas 6206 ED" userId="e6377c33-a923-4f14-8587-531c474c7b48" providerId="ADAL" clId="{6ECD27E6-B224-41CD-B4E0-E297462320DD}" dt="2023-11-24T11:42:55.714" v="151578"/>
          <ac:spMkLst>
            <pc:docMk/>
            <pc:sldMk cId="1127354295" sldId="2147478564"/>
            <ac:spMk id="988" creationId="{F6A8A760-CFB7-7F31-A9E0-30DDAA3D6EFC}"/>
          </ac:spMkLst>
        </pc:spChg>
        <pc:spChg chg="add del mod">
          <ac:chgData name="Steiner Andreas 6206 ED" userId="e6377c33-a923-4f14-8587-531c474c7b48" providerId="ADAL" clId="{6ECD27E6-B224-41CD-B4E0-E297462320DD}" dt="2023-11-24T11:42:58.195" v="151733"/>
          <ac:spMkLst>
            <pc:docMk/>
            <pc:sldMk cId="1127354295" sldId="2147478564"/>
            <ac:spMk id="989" creationId="{11B4017C-582E-9799-1F97-5FE0C2477E20}"/>
          </ac:spMkLst>
        </pc:spChg>
        <pc:spChg chg="add del mod">
          <ac:chgData name="Steiner Andreas 6206 ED" userId="e6377c33-a923-4f14-8587-531c474c7b48" providerId="ADAL" clId="{6ECD27E6-B224-41CD-B4E0-E297462320DD}" dt="2023-11-24T11:43:01.911" v="151888"/>
          <ac:spMkLst>
            <pc:docMk/>
            <pc:sldMk cId="1127354295" sldId="2147478564"/>
            <ac:spMk id="990" creationId="{3011BF01-03D2-23C9-2C31-3E4865E1C4A6}"/>
          </ac:spMkLst>
        </pc:spChg>
        <pc:spChg chg="add del mod">
          <ac:chgData name="Steiner Andreas 6206 ED" userId="e6377c33-a923-4f14-8587-531c474c7b48" providerId="ADAL" clId="{6ECD27E6-B224-41CD-B4E0-E297462320DD}" dt="2023-11-24T11:43:04.269" v="152043"/>
          <ac:spMkLst>
            <pc:docMk/>
            <pc:sldMk cId="1127354295" sldId="2147478564"/>
            <ac:spMk id="991" creationId="{3006D940-ACF3-E285-06B0-C9E9799DECD0}"/>
          </ac:spMkLst>
        </pc:spChg>
        <pc:spChg chg="add del mod">
          <ac:chgData name="Steiner Andreas 6206 ED" userId="e6377c33-a923-4f14-8587-531c474c7b48" providerId="ADAL" clId="{6ECD27E6-B224-41CD-B4E0-E297462320DD}" dt="2023-11-24T11:43:06.418" v="152198"/>
          <ac:spMkLst>
            <pc:docMk/>
            <pc:sldMk cId="1127354295" sldId="2147478564"/>
            <ac:spMk id="992" creationId="{13B55B8D-5733-2CCD-00A8-26447427D259}"/>
          </ac:spMkLst>
        </pc:spChg>
        <pc:spChg chg="add del mod">
          <ac:chgData name="Steiner Andreas 6206 ED" userId="e6377c33-a923-4f14-8587-531c474c7b48" providerId="ADAL" clId="{6ECD27E6-B224-41CD-B4E0-E297462320DD}" dt="2023-11-24T11:43:08.546" v="152353"/>
          <ac:spMkLst>
            <pc:docMk/>
            <pc:sldMk cId="1127354295" sldId="2147478564"/>
            <ac:spMk id="993" creationId="{769AB65D-DEFE-1462-EE06-3F438F13657B}"/>
          </ac:spMkLst>
        </pc:spChg>
        <pc:spChg chg="add del mod">
          <ac:chgData name="Steiner Andreas 6206 ED" userId="e6377c33-a923-4f14-8587-531c474c7b48" providerId="ADAL" clId="{6ECD27E6-B224-41CD-B4E0-E297462320DD}" dt="2023-11-24T11:43:10.701" v="152508"/>
          <ac:spMkLst>
            <pc:docMk/>
            <pc:sldMk cId="1127354295" sldId="2147478564"/>
            <ac:spMk id="994" creationId="{A73F03F4-F00D-AD65-031F-F3C3F1459B60}"/>
          </ac:spMkLst>
        </pc:spChg>
        <pc:spChg chg="add del mod">
          <ac:chgData name="Steiner Andreas 6206 ED" userId="e6377c33-a923-4f14-8587-531c474c7b48" providerId="ADAL" clId="{6ECD27E6-B224-41CD-B4E0-E297462320DD}" dt="2023-11-24T11:43:12.933" v="152663"/>
          <ac:spMkLst>
            <pc:docMk/>
            <pc:sldMk cId="1127354295" sldId="2147478564"/>
            <ac:spMk id="995" creationId="{3351A8E3-4AFD-2249-DDC8-0EBDE95CB036}"/>
          </ac:spMkLst>
        </pc:spChg>
        <pc:spChg chg="add del mod">
          <ac:chgData name="Steiner Andreas 6206 ED" userId="e6377c33-a923-4f14-8587-531c474c7b48" providerId="ADAL" clId="{6ECD27E6-B224-41CD-B4E0-E297462320DD}" dt="2023-11-24T11:43:15.278" v="152818"/>
          <ac:spMkLst>
            <pc:docMk/>
            <pc:sldMk cId="1127354295" sldId="2147478564"/>
            <ac:spMk id="996" creationId="{647028AD-F3C9-0DEB-033C-F6BAA1E1FCC3}"/>
          </ac:spMkLst>
        </pc:spChg>
        <pc:spChg chg="add del mod">
          <ac:chgData name="Steiner Andreas 6206 ED" userId="e6377c33-a923-4f14-8587-531c474c7b48" providerId="ADAL" clId="{6ECD27E6-B224-41CD-B4E0-E297462320DD}" dt="2023-11-24T11:43:18.411" v="152973"/>
          <ac:spMkLst>
            <pc:docMk/>
            <pc:sldMk cId="1127354295" sldId="2147478564"/>
            <ac:spMk id="997" creationId="{E4E5797F-9A13-C2E5-5BF9-49373F831E8C}"/>
          </ac:spMkLst>
        </pc:spChg>
        <pc:spChg chg="add del mod">
          <ac:chgData name="Steiner Andreas 6206 ED" userId="e6377c33-a923-4f14-8587-531c474c7b48" providerId="ADAL" clId="{6ECD27E6-B224-41CD-B4E0-E297462320DD}" dt="2023-11-24T11:43:22.513" v="153128"/>
          <ac:spMkLst>
            <pc:docMk/>
            <pc:sldMk cId="1127354295" sldId="2147478564"/>
            <ac:spMk id="998" creationId="{433603C0-9BB0-16BC-F55C-B59991F27FD1}"/>
          </ac:spMkLst>
        </pc:spChg>
        <pc:spChg chg="add del mod">
          <ac:chgData name="Steiner Andreas 6206 ED" userId="e6377c33-a923-4f14-8587-531c474c7b48" providerId="ADAL" clId="{6ECD27E6-B224-41CD-B4E0-E297462320DD}" dt="2023-11-24T11:43:24.946" v="153283"/>
          <ac:spMkLst>
            <pc:docMk/>
            <pc:sldMk cId="1127354295" sldId="2147478564"/>
            <ac:spMk id="999" creationId="{17F6C528-F24D-5877-0782-D5D0F9C96E16}"/>
          </ac:spMkLst>
        </pc:spChg>
        <pc:spChg chg="add del mod">
          <ac:chgData name="Steiner Andreas 6206 ED" userId="e6377c33-a923-4f14-8587-531c474c7b48" providerId="ADAL" clId="{6ECD27E6-B224-41CD-B4E0-E297462320DD}" dt="2023-11-24T11:43:27.193" v="153438"/>
          <ac:spMkLst>
            <pc:docMk/>
            <pc:sldMk cId="1127354295" sldId="2147478564"/>
            <ac:spMk id="1000" creationId="{5D6655B9-B05C-AA07-D380-E7D023944313}"/>
          </ac:spMkLst>
        </pc:spChg>
        <pc:spChg chg="add del mod">
          <ac:chgData name="Steiner Andreas 6206 ED" userId="e6377c33-a923-4f14-8587-531c474c7b48" providerId="ADAL" clId="{6ECD27E6-B224-41CD-B4E0-E297462320DD}" dt="2023-11-24T11:43:29.474" v="153593"/>
          <ac:spMkLst>
            <pc:docMk/>
            <pc:sldMk cId="1127354295" sldId="2147478564"/>
            <ac:spMk id="1001" creationId="{AD1436F4-B514-FBF7-967A-E1B83B7C01B3}"/>
          </ac:spMkLst>
        </pc:spChg>
        <pc:spChg chg="add del mod">
          <ac:chgData name="Steiner Andreas 6206 ED" userId="e6377c33-a923-4f14-8587-531c474c7b48" providerId="ADAL" clId="{6ECD27E6-B224-41CD-B4E0-E297462320DD}" dt="2023-11-24T11:43:31.719" v="153748"/>
          <ac:spMkLst>
            <pc:docMk/>
            <pc:sldMk cId="1127354295" sldId="2147478564"/>
            <ac:spMk id="1002" creationId="{DEAD025A-8093-E17D-CCD3-DCF7E5CC569E}"/>
          </ac:spMkLst>
        </pc:spChg>
        <pc:spChg chg="add del mod">
          <ac:chgData name="Steiner Andreas 6206 ED" userId="e6377c33-a923-4f14-8587-531c474c7b48" providerId="ADAL" clId="{6ECD27E6-B224-41CD-B4E0-E297462320DD}" dt="2023-11-24T11:43:34.473" v="153903"/>
          <ac:spMkLst>
            <pc:docMk/>
            <pc:sldMk cId="1127354295" sldId="2147478564"/>
            <ac:spMk id="1003" creationId="{BC29AC38-CD3C-1234-D96B-0D4D30303FD9}"/>
          </ac:spMkLst>
        </pc:spChg>
        <pc:spChg chg="add del mod">
          <ac:chgData name="Steiner Andreas 6206 ED" userId="e6377c33-a923-4f14-8587-531c474c7b48" providerId="ADAL" clId="{6ECD27E6-B224-41CD-B4E0-E297462320DD}" dt="2023-11-24T11:43:36.606" v="154058"/>
          <ac:spMkLst>
            <pc:docMk/>
            <pc:sldMk cId="1127354295" sldId="2147478564"/>
            <ac:spMk id="1004" creationId="{76CA5A3A-FD42-2718-9377-284AB2E10CB5}"/>
          </ac:spMkLst>
        </pc:spChg>
        <pc:spChg chg="add del mod">
          <ac:chgData name="Steiner Andreas 6206 ED" userId="e6377c33-a923-4f14-8587-531c474c7b48" providerId="ADAL" clId="{6ECD27E6-B224-41CD-B4E0-E297462320DD}" dt="2023-11-24T11:43:38.785" v="154213"/>
          <ac:spMkLst>
            <pc:docMk/>
            <pc:sldMk cId="1127354295" sldId="2147478564"/>
            <ac:spMk id="1005" creationId="{D5CA5326-0DEE-A207-F076-DF0E44BB5260}"/>
          </ac:spMkLst>
        </pc:spChg>
        <pc:spChg chg="add del mod">
          <ac:chgData name="Steiner Andreas 6206 ED" userId="e6377c33-a923-4f14-8587-531c474c7b48" providerId="ADAL" clId="{6ECD27E6-B224-41CD-B4E0-E297462320DD}" dt="2023-11-24T11:43:41.194" v="154368"/>
          <ac:spMkLst>
            <pc:docMk/>
            <pc:sldMk cId="1127354295" sldId="2147478564"/>
            <ac:spMk id="1006" creationId="{52544A8A-5186-D7C8-5B2A-BBE80D055606}"/>
          </ac:spMkLst>
        </pc:spChg>
        <pc:spChg chg="add del mod">
          <ac:chgData name="Steiner Andreas 6206 ED" userId="e6377c33-a923-4f14-8587-531c474c7b48" providerId="ADAL" clId="{6ECD27E6-B224-41CD-B4E0-E297462320DD}" dt="2023-11-24T11:43:44.096" v="154523"/>
          <ac:spMkLst>
            <pc:docMk/>
            <pc:sldMk cId="1127354295" sldId="2147478564"/>
            <ac:spMk id="1007" creationId="{ABC0B303-9863-EA85-F642-6E2E9E5D1881}"/>
          </ac:spMkLst>
        </pc:spChg>
        <pc:spChg chg="add del mod">
          <ac:chgData name="Steiner Andreas 6206 ED" userId="e6377c33-a923-4f14-8587-531c474c7b48" providerId="ADAL" clId="{6ECD27E6-B224-41CD-B4E0-E297462320DD}" dt="2023-11-24T11:43:46.417" v="154678"/>
          <ac:spMkLst>
            <pc:docMk/>
            <pc:sldMk cId="1127354295" sldId="2147478564"/>
            <ac:spMk id="1008" creationId="{4FA0A3D9-8F44-FA21-8E3A-F29E702EDDE8}"/>
          </ac:spMkLst>
        </pc:spChg>
        <pc:spChg chg="add del mod">
          <ac:chgData name="Steiner Andreas 6206 ED" userId="e6377c33-a923-4f14-8587-531c474c7b48" providerId="ADAL" clId="{6ECD27E6-B224-41CD-B4E0-E297462320DD}" dt="2023-11-24T11:43:48.715" v="154833"/>
          <ac:spMkLst>
            <pc:docMk/>
            <pc:sldMk cId="1127354295" sldId="2147478564"/>
            <ac:spMk id="1009" creationId="{04D9F93F-1E9B-434F-6AAA-7B4C30E46694}"/>
          </ac:spMkLst>
        </pc:spChg>
        <pc:spChg chg="add del mod">
          <ac:chgData name="Steiner Andreas 6206 ED" userId="e6377c33-a923-4f14-8587-531c474c7b48" providerId="ADAL" clId="{6ECD27E6-B224-41CD-B4E0-E297462320DD}" dt="2023-11-24T11:43:50.766" v="154988"/>
          <ac:spMkLst>
            <pc:docMk/>
            <pc:sldMk cId="1127354295" sldId="2147478564"/>
            <ac:spMk id="1010" creationId="{D4ED61E7-F76B-7453-A69E-EECE15A40DF5}"/>
          </ac:spMkLst>
        </pc:spChg>
        <pc:spChg chg="add del mod">
          <ac:chgData name="Steiner Andreas 6206 ED" userId="e6377c33-a923-4f14-8587-531c474c7b48" providerId="ADAL" clId="{6ECD27E6-B224-41CD-B4E0-E297462320DD}" dt="2023-11-24T11:43:52.949" v="155143"/>
          <ac:spMkLst>
            <pc:docMk/>
            <pc:sldMk cId="1127354295" sldId="2147478564"/>
            <ac:spMk id="1011" creationId="{37778BA1-9828-F051-C268-83A12A7C6B57}"/>
          </ac:spMkLst>
        </pc:spChg>
        <pc:spChg chg="add del mod">
          <ac:chgData name="Steiner Andreas 6206 ED" userId="e6377c33-a923-4f14-8587-531c474c7b48" providerId="ADAL" clId="{6ECD27E6-B224-41CD-B4E0-E297462320DD}" dt="2023-11-24T11:43:56.016" v="155298"/>
          <ac:spMkLst>
            <pc:docMk/>
            <pc:sldMk cId="1127354295" sldId="2147478564"/>
            <ac:spMk id="1012" creationId="{29FB9DE4-41C6-BDE0-F570-054AA4204D05}"/>
          </ac:spMkLst>
        </pc:spChg>
        <pc:spChg chg="add del mod">
          <ac:chgData name="Steiner Andreas 6206 ED" userId="e6377c33-a923-4f14-8587-531c474c7b48" providerId="ADAL" clId="{6ECD27E6-B224-41CD-B4E0-E297462320DD}" dt="2023-11-24T11:43:58.329" v="155453"/>
          <ac:spMkLst>
            <pc:docMk/>
            <pc:sldMk cId="1127354295" sldId="2147478564"/>
            <ac:spMk id="1013" creationId="{40CEB4B2-1C78-7254-26CA-F66BA7DDA592}"/>
          </ac:spMkLst>
        </pc:spChg>
        <pc:spChg chg="add del mod">
          <ac:chgData name="Steiner Andreas 6206 ED" userId="e6377c33-a923-4f14-8587-531c474c7b48" providerId="ADAL" clId="{6ECD27E6-B224-41CD-B4E0-E297462320DD}" dt="2023-11-24T11:44:00.392" v="155608"/>
          <ac:spMkLst>
            <pc:docMk/>
            <pc:sldMk cId="1127354295" sldId="2147478564"/>
            <ac:spMk id="1014" creationId="{DE17626A-CF04-D4A3-CFFC-3755725DE0CA}"/>
          </ac:spMkLst>
        </pc:spChg>
        <pc:spChg chg="add del mod">
          <ac:chgData name="Steiner Andreas 6206 ED" userId="e6377c33-a923-4f14-8587-531c474c7b48" providerId="ADAL" clId="{6ECD27E6-B224-41CD-B4E0-E297462320DD}" dt="2023-11-24T11:44:02.397" v="155763"/>
          <ac:spMkLst>
            <pc:docMk/>
            <pc:sldMk cId="1127354295" sldId="2147478564"/>
            <ac:spMk id="1015" creationId="{0374D04C-C07F-C785-AEB2-25896F7C996E}"/>
          </ac:spMkLst>
        </pc:spChg>
        <pc:spChg chg="add del mod">
          <ac:chgData name="Steiner Andreas 6206 ED" userId="e6377c33-a923-4f14-8587-531c474c7b48" providerId="ADAL" clId="{6ECD27E6-B224-41CD-B4E0-E297462320DD}" dt="2023-11-24T11:44:04.459" v="155918"/>
          <ac:spMkLst>
            <pc:docMk/>
            <pc:sldMk cId="1127354295" sldId="2147478564"/>
            <ac:spMk id="1016" creationId="{7FB27F2F-A993-EEB6-32F7-791159023950}"/>
          </ac:spMkLst>
        </pc:spChg>
        <pc:spChg chg="add del mod">
          <ac:chgData name="Steiner Andreas 6206 ED" userId="e6377c33-a923-4f14-8587-531c474c7b48" providerId="ADAL" clId="{6ECD27E6-B224-41CD-B4E0-E297462320DD}" dt="2023-11-24T11:44:06.462" v="156073"/>
          <ac:spMkLst>
            <pc:docMk/>
            <pc:sldMk cId="1127354295" sldId="2147478564"/>
            <ac:spMk id="1017" creationId="{F50837BF-385C-54E5-61E9-8C174B556CF5}"/>
          </ac:spMkLst>
        </pc:spChg>
        <pc:spChg chg="add del mod">
          <ac:chgData name="Steiner Andreas 6206 ED" userId="e6377c33-a923-4f14-8587-531c474c7b48" providerId="ADAL" clId="{6ECD27E6-B224-41CD-B4E0-E297462320DD}" dt="2023-11-24T11:44:08.653" v="156228"/>
          <ac:spMkLst>
            <pc:docMk/>
            <pc:sldMk cId="1127354295" sldId="2147478564"/>
            <ac:spMk id="1018" creationId="{EB542136-3EA7-F3D8-5356-8CAF0DF16CE1}"/>
          </ac:spMkLst>
        </pc:spChg>
        <pc:spChg chg="add del mod">
          <ac:chgData name="Steiner Andreas 6206 ED" userId="e6377c33-a923-4f14-8587-531c474c7b48" providerId="ADAL" clId="{6ECD27E6-B224-41CD-B4E0-E297462320DD}" dt="2023-11-24T11:44:10.705" v="156383"/>
          <ac:spMkLst>
            <pc:docMk/>
            <pc:sldMk cId="1127354295" sldId="2147478564"/>
            <ac:spMk id="1019" creationId="{E12048E1-383A-5CE1-5BF9-106C2A627DA5}"/>
          </ac:spMkLst>
        </pc:spChg>
        <pc:spChg chg="add del mod">
          <ac:chgData name="Steiner Andreas 6206 ED" userId="e6377c33-a923-4f14-8587-531c474c7b48" providerId="ADAL" clId="{6ECD27E6-B224-41CD-B4E0-E297462320DD}" dt="2023-11-24T11:44:12.721" v="156538"/>
          <ac:spMkLst>
            <pc:docMk/>
            <pc:sldMk cId="1127354295" sldId="2147478564"/>
            <ac:spMk id="1020" creationId="{19577457-1A57-3875-6FBD-7E5BC63AD3C9}"/>
          </ac:spMkLst>
        </pc:spChg>
        <pc:spChg chg="add del mod">
          <ac:chgData name="Steiner Andreas 6206 ED" userId="e6377c33-a923-4f14-8587-531c474c7b48" providerId="ADAL" clId="{6ECD27E6-B224-41CD-B4E0-E297462320DD}" dt="2023-11-24T11:44:14.717" v="156693"/>
          <ac:spMkLst>
            <pc:docMk/>
            <pc:sldMk cId="1127354295" sldId="2147478564"/>
            <ac:spMk id="1021" creationId="{9C85E6F2-D976-2CCB-38B7-29DD7AFD02D4}"/>
          </ac:spMkLst>
        </pc:spChg>
        <pc:spChg chg="add del mod">
          <ac:chgData name="Steiner Andreas 6206 ED" userId="e6377c33-a923-4f14-8587-531c474c7b48" providerId="ADAL" clId="{6ECD27E6-B224-41CD-B4E0-E297462320DD}" dt="2023-11-24T11:44:16.706" v="156848"/>
          <ac:spMkLst>
            <pc:docMk/>
            <pc:sldMk cId="1127354295" sldId="2147478564"/>
            <ac:spMk id="1022" creationId="{DA5A80BC-4425-20E5-9303-67D337273851}"/>
          </ac:spMkLst>
        </pc:spChg>
        <pc:spChg chg="add del mod">
          <ac:chgData name="Steiner Andreas 6206 ED" userId="e6377c33-a923-4f14-8587-531c474c7b48" providerId="ADAL" clId="{6ECD27E6-B224-41CD-B4E0-E297462320DD}" dt="2023-11-24T11:44:18.807" v="157003"/>
          <ac:spMkLst>
            <pc:docMk/>
            <pc:sldMk cId="1127354295" sldId="2147478564"/>
            <ac:spMk id="1023" creationId="{CB0760D1-16B5-85D7-0E47-66EE274891C8}"/>
          </ac:spMkLst>
        </pc:spChg>
        <pc:spChg chg="add del mod">
          <ac:chgData name="Steiner Andreas 6206 ED" userId="e6377c33-a923-4f14-8587-531c474c7b48" providerId="ADAL" clId="{6ECD27E6-B224-41CD-B4E0-E297462320DD}" dt="2023-11-24T11:44:20.908" v="157158"/>
          <ac:spMkLst>
            <pc:docMk/>
            <pc:sldMk cId="1127354295" sldId="2147478564"/>
            <ac:spMk id="1024" creationId="{35414DD1-A532-71B0-F200-46426B4E601C}"/>
          </ac:spMkLst>
        </pc:spChg>
        <pc:spChg chg="add del mod">
          <ac:chgData name="Steiner Andreas 6206 ED" userId="e6377c33-a923-4f14-8587-531c474c7b48" providerId="ADAL" clId="{6ECD27E6-B224-41CD-B4E0-E297462320DD}" dt="2023-11-24T11:44:23.246" v="157313"/>
          <ac:spMkLst>
            <pc:docMk/>
            <pc:sldMk cId="1127354295" sldId="2147478564"/>
            <ac:spMk id="1025" creationId="{FB045BDA-9254-71BB-3021-0F56B5FFEA4B}"/>
          </ac:spMkLst>
        </pc:spChg>
        <pc:spChg chg="add del mod">
          <ac:chgData name="Steiner Andreas 6206 ED" userId="e6377c33-a923-4f14-8587-531c474c7b48" providerId="ADAL" clId="{6ECD27E6-B224-41CD-B4E0-E297462320DD}" dt="2023-11-24T11:44:25.388" v="157468"/>
          <ac:spMkLst>
            <pc:docMk/>
            <pc:sldMk cId="1127354295" sldId="2147478564"/>
            <ac:spMk id="1026" creationId="{A306EDC8-0EF3-484E-BA44-5B56F104C984}"/>
          </ac:spMkLst>
        </pc:spChg>
        <pc:spChg chg="add del mod">
          <ac:chgData name="Steiner Andreas 6206 ED" userId="e6377c33-a923-4f14-8587-531c474c7b48" providerId="ADAL" clId="{6ECD27E6-B224-41CD-B4E0-E297462320DD}" dt="2023-11-24T11:44:30.805" v="157623"/>
          <ac:spMkLst>
            <pc:docMk/>
            <pc:sldMk cId="1127354295" sldId="2147478564"/>
            <ac:spMk id="1027" creationId="{7844D41B-CBE2-2D78-C62F-047B832D810D}"/>
          </ac:spMkLst>
        </pc:spChg>
        <pc:spChg chg="add mod">
          <ac:chgData name="Steiner Andreas 6206 ED" userId="e6377c33-a923-4f14-8587-531c474c7b48" providerId="ADAL" clId="{6ECD27E6-B224-41CD-B4E0-E297462320DD}" dt="2023-11-24T11:44:30.822" v="157624"/>
          <ac:spMkLst>
            <pc:docMk/>
            <pc:sldMk cId="1127354295" sldId="2147478564"/>
            <ac:spMk id="1028" creationId="{0670E09B-166A-3BAC-C0E4-1B6BE25F6040}"/>
          </ac:spMkLst>
        </pc:spChg>
      </pc:sldChg>
      <pc:sldChg chg="addSp delSp modSp mod">
        <pc:chgData name="Steiner Andreas 6206 ED" userId="e6377c33-a923-4f14-8587-531c474c7b48" providerId="ADAL" clId="{6ECD27E6-B224-41CD-B4E0-E297462320DD}" dt="2023-11-24T11:44:30.800" v="157614"/>
        <pc:sldMkLst>
          <pc:docMk/>
          <pc:sldMk cId="3298264326" sldId="2147478565"/>
        </pc:sldMkLst>
        <pc:spChg chg="mod">
          <ac:chgData name="Steiner Andreas 6206 ED" userId="e6377c33-a923-4f14-8587-531c474c7b48" providerId="ADAL" clId="{6ECD27E6-B224-41CD-B4E0-E297462320DD}" dt="2023-11-24T11:44:30.799" v="157610" actId="20577"/>
          <ac:spMkLst>
            <pc:docMk/>
            <pc:sldMk cId="3298264326" sldId="2147478565"/>
            <ac:spMk id="3" creationId="{4E8CC9C0-365F-2AE2-45F2-482F3CE5F5BC}"/>
          </ac:spMkLst>
        </pc:spChg>
        <pc:spChg chg="del">
          <ac:chgData name="Steiner Andreas 6206 ED" userId="e6377c33-a923-4f14-8587-531c474c7b48" providerId="ADAL" clId="{6ECD27E6-B224-41CD-B4E0-E297462320DD}" dt="2023-11-23T19:49:53.607" v="135"/>
          <ac:spMkLst>
            <pc:docMk/>
            <pc:sldMk cId="3298264326" sldId="2147478565"/>
            <ac:spMk id="5" creationId="{64E93222-32B7-20A4-715C-D9A68AE48A8A}"/>
          </ac:spMkLst>
        </pc:spChg>
        <pc:spChg chg="add del mod">
          <ac:chgData name="Steiner Andreas 6206 ED" userId="e6377c33-a923-4f14-8587-531c474c7b48" providerId="ADAL" clId="{6ECD27E6-B224-41CD-B4E0-E297462320DD}" dt="2023-11-23T19:49:53.609" v="138"/>
          <ac:spMkLst>
            <pc:docMk/>
            <pc:sldMk cId="3298264326" sldId="2147478565"/>
            <ac:spMk id="9" creationId="{2872C5B9-B422-0729-62C7-3698787145DE}"/>
          </ac:spMkLst>
        </pc:spChg>
        <pc:spChg chg="add del mod">
          <ac:chgData name="Steiner Andreas 6206 ED" userId="e6377c33-a923-4f14-8587-531c474c7b48" providerId="ADAL" clId="{6ECD27E6-B224-41CD-B4E0-E297462320DD}" dt="2023-11-23T19:49:54.514" v="288"/>
          <ac:spMkLst>
            <pc:docMk/>
            <pc:sldMk cId="3298264326" sldId="2147478565"/>
            <ac:spMk id="10" creationId="{2D18EB75-E879-7AED-40FA-8606FE262BBB}"/>
          </ac:spMkLst>
        </pc:spChg>
        <pc:spChg chg="add del mod">
          <ac:chgData name="Steiner Andreas 6206 ED" userId="e6377c33-a923-4f14-8587-531c474c7b48" providerId="ADAL" clId="{6ECD27E6-B224-41CD-B4E0-E297462320DD}" dt="2023-11-23T19:50:25.363" v="443"/>
          <ac:spMkLst>
            <pc:docMk/>
            <pc:sldMk cId="3298264326" sldId="2147478565"/>
            <ac:spMk id="12" creationId="{D06500F6-45AF-DC8B-1001-B866C576004C}"/>
          </ac:spMkLst>
        </pc:spChg>
        <pc:spChg chg="add del mod">
          <ac:chgData name="Steiner Andreas 6206 ED" userId="e6377c33-a923-4f14-8587-531c474c7b48" providerId="ADAL" clId="{6ECD27E6-B224-41CD-B4E0-E297462320DD}" dt="2023-11-23T19:50:35.156" v="598"/>
          <ac:spMkLst>
            <pc:docMk/>
            <pc:sldMk cId="3298264326" sldId="2147478565"/>
            <ac:spMk id="15" creationId="{9D836D88-70BE-89C8-A419-32B10C4BB555}"/>
          </ac:spMkLst>
        </pc:spChg>
        <pc:spChg chg="add del mod">
          <ac:chgData name="Steiner Andreas 6206 ED" userId="e6377c33-a923-4f14-8587-531c474c7b48" providerId="ADAL" clId="{6ECD27E6-B224-41CD-B4E0-E297462320DD}" dt="2023-11-23T19:50:46.822" v="753"/>
          <ac:spMkLst>
            <pc:docMk/>
            <pc:sldMk cId="3298264326" sldId="2147478565"/>
            <ac:spMk id="17" creationId="{2B9C631D-07CC-7D86-6667-A504E11B3D54}"/>
          </ac:spMkLst>
        </pc:spChg>
        <pc:spChg chg="add del mod">
          <ac:chgData name="Steiner Andreas 6206 ED" userId="e6377c33-a923-4f14-8587-531c474c7b48" providerId="ADAL" clId="{6ECD27E6-B224-41CD-B4E0-E297462320DD}" dt="2023-11-23T19:50:58.530" v="908"/>
          <ac:spMkLst>
            <pc:docMk/>
            <pc:sldMk cId="3298264326" sldId="2147478565"/>
            <ac:spMk id="18" creationId="{E8AD8CAB-E2BC-6A21-BC5A-24955BAB229D}"/>
          </ac:spMkLst>
        </pc:spChg>
        <pc:spChg chg="add del mod">
          <ac:chgData name="Steiner Andreas 6206 ED" userId="e6377c33-a923-4f14-8587-531c474c7b48" providerId="ADAL" clId="{6ECD27E6-B224-41CD-B4E0-E297462320DD}" dt="2023-11-23T19:51:09.211" v="1063"/>
          <ac:spMkLst>
            <pc:docMk/>
            <pc:sldMk cId="3298264326" sldId="2147478565"/>
            <ac:spMk id="19" creationId="{8B0C5923-74A3-F5CD-A739-DBE77F2822A2}"/>
          </ac:spMkLst>
        </pc:spChg>
        <pc:spChg chg="add del mod">
          <ac:chgData name="Steiner Andreas 6206 ED" userId="e6377c33-a923-4f14-8587-531c474c7b48" providerId="ADAL" clId="{6ECD27E6-B224-41CD-B4E0-E297462320DD}" dt="2023-11-23T19:51:20.223" v="1218"/>
          <ac:spMkLst>
            <pc:docMk/>
            <pc:sldMk cId="3298264326" sldId="2147478565"/>
            <ac:spMk id="20" creationId="{D81D0CB8-1180-D22F-AEEE-179BF6B17FCA}"/>
          </ac:spMkLst>
        </pc:spChg>
        <pc:spChg chg="add del mod">
          <ac:chgData name="Steiner Andreas 6206 ED" userId="e6377c33-a923-4f14-8587-531c474c7b48" providerId="ADAL" clId="{6ECD27E6-B224-41CD-B4E0-E297462320DD}" dt="2023-11-23T19:51:31.657" v="1373"/>
          <ac:spMkLst>
            <pc:docMk/>
            <pc:sldMk cId="3298264326" sldId="2147478565"/>
            <ac:spMk id="21" creationId="{5FEA4D82-5A56-8FC0-AD92-64659296877B}"/>
          </ac:spMkLst>
        </pc:spChg>
        <pc:spChg chg="add del mod">
          <ac:chgData name="Steiner Andreas 6206 ED" userId="e6377c33-a923-4f14-8587-531c474c7b48" providerId="ADAL" clId="{6ECD27E6-B224-41CD-B4E0-E297462320DD}" dt="2023-11-23T19:51:42.337" v="1528"/>
          <ac:spMkLst>
            <pc:docMk/>
            <pc:sldMk cId="3298264326" sldId="2147478565"/>
            <ac:spMk id="22" creationId="{AD5D81F0-CA79-4244-EA48-093C1704E02A}"/>
          </ac:spMkLst>
        </pc:spChg>
        <pc:spChg chg="add del mod">
          <ac:chgData name="Steiner Andreas 6206 ED" userId="e6377c33-a923-4f14-8587-531c474c7b48" providerId="ADAL" clId="{6ECD27E6-B224-41CD-B4E0-E297462320DD}" dt="2023-11-23T19:51:53.643" v="1683"/>
          <ac:spMkLst>
            <pc:docMk/>
            <pc:sldMk cId="3298264326" sldId="2147478565"/>
            <ac:spMk id="23" creationId="{DCC44689-E1AE-8461-2700-43DE1440123C}"/>
          </ac:spMkLst>
        </pc:spChg>
        <pc:spChg chg="add del mod">
          <ac:chgData name="Steiner Andreas 6206 ED" userId="e6377c33-a923-4f14-8587-531c474c7b48" providerId="ADAL" clId="{6ECD27E6-B224-41CD-B4E0-E297462320DD}" dt="2023-11-23T19:52:05.324" v="1838"/>
          <ac:spMkLst>
            <pc:docMk/>
            <pc:sldMk cId="3298264326" sldId="2147478565"/>
            <ac:spMk id="24" creationId="{FC8550FD-6B6C-DEBB-8F01-8049656E70EF}"/>
          </ac:spMkLst>
        </pc:spChg>
        <pc:spChg chg="add del mod">
          <ac:chgData name="Steiner Andreas 6206 ED" userId="e6377c33-a923-4f14-8587-531c474c7b48" providerId="ADAL" clId="{6ECD27E6-B224-41CD-B4E0-E297462320DD}" dt="2023-11-23T19:52:17.036" v="1993"/>
          <ac:spMkLst>
            <pc:docMk/>
            <pc:sldMk cId="3298264326" sldId="2147478565"/>
            <ac:spMk id="25" creationId="{70496FDB-E17D-17CD-78F6-BC8803E49560}"/>
          </ac:spMkLst>
        </pc:spChg>
        <pc:spChg chg="add del mod">
          <ac:chgData name="Steiner Andreas 6206 ED" userId="e6377c33-a923-4f14-8587-531c474c7b48" providerId="ADAL" clId="{6ECD27E6-B224-41CD-B4E0-E297462320DD}" dt="2023-11-23T19:52:28.722" v="2148"/>
          <ac:spMkLst>
            <pc:docMk/>
            <pc:sldMk cId="3298264326" sldId="2147478565"/>
            <ac:spMk id="26" creationId="{519251EE-3510-478F-E4E2-AC5E50A4D72C}"/>
          </ac:spMkLst>
        </pc:spChg>
        <pc:spChg chg="add del mod">
          <ac:chgData name="Steiner Andreas 6206 ED" userId="e6377c33-a923-4f14-8587-531c474c7b48" providerId="ADAL" clId="{6ECD27E6-B224-41CD-B4E0-E297462320DD}" dt="2023-11-23T19:52:40.410" v="2303"/>
          <ac:spMkLst>
            <pc:docMk/>
            <pc:sldMk cId="3298264326" sldId="2147478565"/>
            <ac:spMk id="27" creationId="{0247087F-EE79-F6B3-39C7-B92C31E92CF0}"/>
          </ac:spMkLst>
        </pc:spChg>
        <pc:spChg chg="add del mod">
          <ac:chgData name="Steiner Andreas 6206 ED" userId="e6377c33-a923-4f14-8587-531c474c7b48" providerId="ADAL" clId="{6ECD27E6-B224-41CD-B4E0-E297462320DD}" dt="2023-11-23T19:52:51.774" v="2458"/>
          <ac:spMkLst>
            <pc:docMk/>
            <pc:sldMk cId="3298264326" sldId="2147478565"/>
            <ac:spMk id="28" creationId="{A6147FD4-FFB3-A5C3-8BA0-F0C7D6DE67BE}"/>
          </ac:spMkLst>
        </pc:spChg>
        <pc:spChg chg="add del mod">
          <ac:chgData name="Steiner Andreas 6206 ED" userId="e6377c33-a923-4f14-8587-531c474c7b48" providerId="ADAL" clId="{6ECD27E6-B224-41CD-B4E0-E297462320DD}" dt="2023-11-23T19:53:03.473" v="2613"/>
          <ac:spMkLst>
            <pc:docMk/>
            <pc:sldMk cId="3298264326" sldId="2147478565"/>
            <ac:spMk id="29" creationId="{6F50D95F-4F98-5DE9-B71F-30522687CFB1}"/>
          </ac:spMkLst>
        </pc:spChg>
        <pc:spChg chg="add del mod">
          <ac:chgData name="Steiner Andreas 6206 ED" userId="e6377c33-a923-4f14-8587-531c474c7b48" providerId="ADAL" clId="{6ECD27E6-B224-41CD-B4E0-E297462320DD}" dt="2023-11-23T19:53:15.203" v="2768"/>
          <ac:spMkLst>
            <pc:docMk/>
            <pc:sldMk cId="3298264326" sldId="2147478565"/>
            <ac:spMk id="30" creationId="{F4788FC5-24D3-724B-1D92-A1824B1F07FF}"/>
          </ac:spMkLst>
        </pc:spChg>
        <pc:spChg chg="add del mod">
          <ac:chgData name="Steiner Andreas 6206 ED" userId="e6377c33-a923-4f14-8587-531c474c7b48" providerId="ADAL" clId="{6ECD27E6-B224-41CD-B4E0-E297462320DD}" dt="2023-11-23T19:53:26.884" v="2923"/>
          <ac:spMkLst>
            <pc:docMk/>
            <pc:sldMk cId="3298264326" sldId="2147478565"/>
            <ac:spMk id="31" creationId="{33574B1F-4C0D-C8DB-0189-B53980A1EBBD}"/>
          </ac:spMkLst>
        </pc:spChg>
        <pc:spChg chg="add del mod">
          <ac:chgData name="Steiner Andreas 6206 ED" userId="e6377c33-a923-4f14-8587-531c474c7b48" providerId="ADAL" clId="{6ECD27E6-B224-41CD-B4E0-E297462320DD}" dt="2023-11-23T19:53:38.542" v="3078"/>
          <ac:spMkLst>
            <pc:docMk/>
            <pc:sldMk cId="3298264326" sldId="2147478565"/>
            <ac:spMk id="32" creationId="{25ACFFE4-2C40-7756-6F29-BE5F50D2F521}"/>
          </ac:spMkLst>
        </pc:spChg>
        <pc:spChg chg="add del mod">
          <ac:chgData name="Steiner Andreas 6206 ED" userId="e6377c33-a923-4f14-8587-531c474c7b48" providerId="ADAL" clId="{6ECD27E6-B224-41CD-B4E0-E297462320DD}" dt="2023-11-23T19:53:50.204" v="3233"/>
          <ac:spMkLst>
            <pc:docMk/>
            <pc:sldMk cId="3298264326" sldId="2147478565"/>
            <ac:spMk id="33" creationId="{B1EA9325-1CD6-4770-38D4-3750F76D634B}"/>
          </ac:spMkLst>
        </pc:spChg>
        <pc:spChg chg="add del mod">
          <ac:chgData name="Steiner Andreas 6206 ED" userId="e6377c33-a923-4f14-8587-531c474c7b48" providerId="ADAL" clId="{6ECD27E6-B224-41CD-B4E0-E297462320DD}" dt="2023-11-23T19:54:01.878" v="3388"/>
          <ac:spMkLst>
            <pc:docMk/>
            <pc:sldMk cId="3298264326" sldId="2147478565"/>
            <ac:spMk id="34" creationId="{81AB07AC-1F76-D6EA-0FB7-4C7B0B8A17C7}"/>
          </ac:spMkLst>
        </pc:spChg>
        <pc:spChg chg="add del mod">
          <ac:chgData name="Steiner Andreas 6206 ED" userId="e6377c33-a923-4f14-8587-531c474c7b48" providerId="ADAL" clId="{6ECD27E6-B224-41CD-B4E0-E297462320DD}" dt="2023-11-23T19:54:13.570" v="3543"/>
          <ac:spMkLst>
            <pc:docMk/>
            <pc:sldMk cId="3298264326" sldId="2147478565"/>
            <ac:spMk id="35" creationId="{A222BEAB-0C36-C965-AF0D-668698662ACE}"/>
          </ac:spMkLst>
        </pc:spChg>
        <pc:spChg chg="add del mod">
          <ac:chgData name="Steiner Andreas 6206 ED" userId="e6377c33-a923-4f14-8587-531c474c7b48" providerId="ADAL" clId="{6ECD27E6-B224-41CD-B4E0-E297462320DD}" dt="2023-11-23T19:54:25.232" v="3698"/>
          <ac:spMkLst>
            <pc:docMk/>
            <pc:sldMk cId="3298264326" sldId="2147478565"/>
            <ac:spMk id="36" creationId="{5D72AD6F-F33D-C599-865A-EAC04CB15580}"/>
          </ac:spMkLst>
        </pc:spChg>
        <pc:spChg chg="add del mod">
          <ac:chgData name="Steiner Andreas 6206 ED" userId="e6377c33-a923-4f14-8587-531c474c7b48" providerId="ADAL" clId="{6ECD27E6-B224-41CD-B4E0-E297462320DD}" dt="2023-11-23T19:54:36.953" v="3853"/>
          <ac:spMkLst>
            <pc:docMk/>
            <pc:sldMk cId="3298264326" sldId="2147478565"/>
            <ac:spMk id="37" creationId="{956D1514-FE66-BB05-40BF-8422673F4412}"/>
          </ac:spMkLst>
        </pc:spChg>
        <pc:spChg chg="add del mod">
          <ac:chgData name="Steiner Andreas 6206 ED" userId="e6377c33-a923-4f14-8587-531c474c7b48" providerId="ADAL" clId="{6ECD27E6-B224-41CD-B4E0-E297462320DD}" dt="2023-11-23T19:54:48.255" v="4008"/>
          <ac:spMkLst>
            <pc:docMk/>
            <pc:sldMk cId="3298264326" sldId="2147478565"/>
            <ac:spMk id="38" creationId="{1A4DFBAD-81EB-4AC7-9328-917C53C6B9EB}"/>
          </ac:spMkLst>
        </pc:spChg>
        <pc:spChg chg="add del mod">
          <ac:chgData name="Steiner Andreas 6206 ED" userId="e6377c33-a923-4f14-8587-531c474c7b48" providerId="ADAL" clId="{6ECD27E6-B224-41CD-B4E0-E297462320DD}" dt="2023-11-23T19:54:59.933" v="4163"/>
          <ac:spMkLst>
            <pc:docMk/>
            <pc:sldMk cId="3298264326" sldId="2147478565"/>
            <ac:spMk id="39" creationId="{49031166-EE8C-8567-9EE9-AB881A34DFB9}"/>
          </ac:spMkLst>
        </pc:spChg>
        <pc:spChg chg="add del mod">
          <ac:chgData name="Steiner Andreas 6206 ED" userId="e6377c33-a923-4f14-8587-531c474c7b48" providerId="ADAL" clId="{6ECD27E6-B224-41CD-B4E0-E297462320DD}" dt="2023-11-23T19:55:11.661" v="4318"/>
          <ac:spMkLst>
            <pc:docMk/>
            <pc:sldMk cId="3298264326" sldId="2147478565"/>
            <ac:spMk id="40" creationId="{0DC7C8B6-AACB-2FE3-FAF4-1E9EDEA82EBA}"/>
          </ac:spMkLst>
        </pc:spChg>
        <pc:spChg chg="add del mod">
          <ac:chgData name="Steiner Andreas 6206 ED" userId="e6377c33-a923-4f14-8587-531c474c7b48" providerId="ADAL" clId="{6ECD27E6-B224-41CD-B4E0-E297462320DD}" dt="2023-11-23T19:55:23.336" v="4473"/>
          <ac:spMkLst>
            <pc:docMk/>
            <pc:sldMk cId="3298264326" sldId="2147478565"/>
            <ac:spMk id="41" creationId="{E51F6981-8A96-6796-68D4-3D658E3ECA0F}"/>
          </ac:spMkLst>
        </pc:spChg>
        <pc:spChg chg="add del mod">
          <ac:chgData name="Steiner Andreas 6206 ED" userId="e6377c33-a923-4f14-8587-531c474c7b48" providerId="ADAL" clId="{6ECD27E6-B224-41CD-B4E0-E297462320DD}" dt="2023-11-23T19:55:35" v="4628"/>
          <ac:spMkLst>
            <pc:docMk/>
            <pc:sldMk cId="3298264326" sldId="2147478565"/>
            <ac:spMk id="42" creationId="{86349D9F-7A62-1006-3956-5183B09599F1}"/>
          </ac:spMkLst>
        </pc:spChg>
        <pc:spChg chg="add del mod">
          <ac:chgData name="Steiner Andreas 6206 ED" userId="e6377c33-a923-4f14-8587-531c474c7b48" providerId="ADAL" clId="{6ECD27E6-B224-41CD-B4E0-E297462320DD}" dt="2023-11-23T19:55:46.285" v="4783"/>
          <ac:spMkLst>
            <pc:docMk/>
            <pc:sldMk cId="3298264326" sldId="2147478565"/>
            <ac:spMk id="43" creationId="{0F59048C-6821-54AD-30B6-34BD996543D0}"/>
          </ac:spMkLst>
        </pc:spChg>
        <pc:spChg chg="add del mod">
          <ac:chgData name="Steiner Andreas 6206 ED" userId="e6377c33-a923-4f14-8587-531c474c7b48" providerId="ADAL" clId="{6ECD27E6-B224-41CD-B4E0-E297462320DD}" dt="2023-11-23T19:55:57.979" v="4938"/>
          <ac:spMkLst>
            <pc:docMk/>
            <pc:sldMk cId="3298264326" sldId="2147478565"/>
            <ac:spMk id="44" creationId="{1BDC1431-DC8F-6CC3-1DF7-5CA64791AA55}"/>
          </ac:spMkLst>
        </pc:spChg>
        <pc:spChg chg="add del mod">
          <ac:chgData name="Steiner Andreas 6206 ED" userId="e6377c33-a923-4f14-8587-531c474c7b48" providerId="ADAL" clId="{6ECD27E6-B224-41CD-B4E0-E297462320DD}" dt="2023-11-23T19:56:09.658" v="5093"/>
          <ac:spMkLst>
            <pc:docMk/>
            <pc:sldMk cId="3298264326" sldId="2147478565"/>
            <ac:spMk id="45" creationId="{2478B849-5ACF-3205-26AA-3C6388438FDE}"/>
          </ac:spMkLst>
        </pc:spChg>
        <pc:spChg chg="add del mod">
          <ac:chgData name="Steiner Andreas 6206 ED" userId="e6377c33-a923-4f14-8587-531c474c7b48" providerId="ADAL" clId="{6ECD27E6-B224-41CD-B4E0-E297462320DD}" dt="2023-11-23T19:56:21.347" v="5248"/>
          <ac:spMkLst>
            <pc:docMk/>
            <pc:sldMk cId="3298264326" sldId="2147478565"/>
            <ac:spMk id="46" creationId="{A13748F2-9679-C60E-591D-D034DD1AC753}"/>
          </ac:spMkLst>
        </pc:spChg>
        <pc:spChg chg="add del mod">
          <ac:chgData name="Steiner Andreas 6206 ED" userId="e6377c33-a923-4f14-8587-531c474c7b48" providerId="ADAL" clId="{6ECD27E6-B224-41CD-B4E0-E297462320DD}" dt="2023-11-23T19:56:33.030" v="5403"/>
          <ac:spMkLst>
            <pc:docMk/>
            <pc:sldMk cId="3298264326" sldId="2147478565"/>
            <ac:spMk id="47" creationId="{1060BB3C-BBF8-2EA8-619D-9DDCB658355C}"/>
          </ac:spMkLst>
        </pc:spChg>
        <pc:spChg chg="add del mod">
          <ac:chgData name="Steiner Andreas 6206 ED" userId="e6377c33-a923-4f14-8587-531c474c7b48" providerId="ADAL" clId="{6ECD27E6-B224-41CD-B4E0-E297462320DD}" dt="2023-11-23T19:56:44.366" v="5558"/>
          <ac:spMkLst>
            <pc:docMk/>
            <pc:sldMk cId="3298264326" sldId="2147478565"/>
            <ac:spMk id="48" creationId="{5E31B7B9-AB06-237D-F061-C66FD964E639}"/>
          </ac:spMkLst>
        </pc:spChg>
        <pc:spChg chg="add del mod">
          <ac:chgData name="Steiner Andreas 6206 ED" userId="e6377c33-a923-4f14-8587-531c474c7b48" providerId="ADAL" clId="{6ECD27E6-B224-41CD-B4E0-E297462320DD}" dt="2023-11-23T19:56:54.764" v="5713"/>
          <ac:spMkLst>
            <pc:docMk/>
            <pc:sldMk cId="3298264326" sldId="2147478565"/>
            <ac:spMk id="49" creationId="{1A7C7264-F8D2-94E4-96CF-80738F9B0DC8}"/>
          </ac:spMkLst>
        </pc:spChg>
        <pc:spChg chg="add del mod">
          <ac:chgData name="Steiner Andreas 6206 ED" userId="e6377c33-a923-4f14-8587-531c474c7b48" providerId="ADAL" clId="{6ECD27E6-B224-41CD-B4E0-E297462320DD}" dt="2023-11-23T19:57:06.229" v="5868"/>
          <ac:spMkLst>
            <pc:docMk/>
            <pc:sldMk cId="3298264326" sldId="2147478565"/>
            <ac:spMk id="50" creationId="{9A4D333D-3832-6422-9E90-182FAAC501AF}"/>
          </ac:spMkLst>
        </pc:spChg>
        <pc:spChg chg="add del mod">
          <ac:chgData name="Steiner Andreas 6206 ED" userId="e6377c33-a923-4f14-8587-531c474c7b48" providerId="ADAL" clId="{6ECD27E6-B224-41CD-B4E0-E297462320DD}" dt="2023-11-23T19:57:17.926" v="6023"/>
          <ac:spMkLst>
            <pc:docMk/>
            <pc:sldMk cId="3298264326" sldId="2147478565"/>
            <ac:spMk id="51" creationId="{8723FC9D-E8EF-3905-FE93-65DD201934E8}"/>
          </ac:spMkLst>
        </pc:spChg>
        <pc:spChg chg="add del mod">
          <ac:chgData name="Steiner Andreas 6206 ED" userId="e6377c33-a923-4f14-8587-531c474c7b48" providerId="ADAL" clId="{6ECD27E6-B224-41CD-B4E0-E297462320DD}" dt="2023-11-23T19:57:29.349" v="6178"/>
          <ac:spMkLst>
            <pc:docMk/>
            <pc:sldMk cId="3298264326" sldId="2147478565"/>
            <ac:spMk id="52" creationId="{E622004C-18BA-6C17-9E4F-FA865E664C0C}"/>
          </ac:spMkLst>
        </pc:spChg>
        <pc:spChg chg="add del mod">
          <ac:chgData name="Steiner Andreas 6206 ED" userId="e6377c33-a923-4f14-8587-531c474c7b48" providerId="ADAL" clId="{6ECD27E6-B224-41CD-B4E0-E297462320DD}" dt="2023-11-23T19:57:40.999" v="6333"/>
          <ac:spMkLst>
            <pc:docMk/>
            <pc:sldMk cId="3298264326" sldId="2147478565"/>
            <ac:spMk id="53" creationId="{23871C47-9FEF-7406-EB71-436EB5DBC0CB}"/>
          </ac:spMkLst>
        </pc:spChg>
        <pc:spChg chg="add del mod">
          <ac:chgData name="Steiner Andreas 6206 ED" userId="e6377c33-a923-4f14-8587-531c474c7b48" providerId="ADAL" clId="{6ECD27E6-B224-41CD-B4E0-E297462320DD}" dt="2023-11-23T19:57:52.666" v="6488"/>
          <ac:spMkLst>
            <pc:docMk/>
            <pc:sldMk cId="3298264326" sldId="2147478565"/>
            <ac:spMk id="54" creationId="{A2B18039-3EA5-66D7-1347-98A307B69D2B}"/>
          </ac:spMkLst>
        </pc:spChg>
        <pc:spChg chg="add del mod">
          <ac:chgData name="Steiner Andreas 6206 ED" userId="e6377c33-a923-4f14-8587-531c474c7b48" providerId="ADAL" clId="{6ECD27E6-B224-41CD-B4E0-E297462320DD}" dt="2023-11-23T19:58:04.376" v="6643"/>
          <ac:spMkLst>
            <pc:docMk/>
            <pc:sldMk cId="3298264326" sldId="2147478565"/>
            <ac:spMk id="55" creationId="{A5F12398-E6EA-2536-03E1-5A64675151DE}"/>
          </ac:spMkLst>
        </pc:spChg>
        <pc:spChg chg="add del mod">
          <ac:chgData name="Steiner Andreas 6206 ED" userId="e6377c33-a923-4f14-8587-531c474c7b48" providerId="ADAL" clId="{6ECD27E6-B224-41CD-B4E0-E297462320DD}" dt="2023-11-23T19:58:15.746" v="6798"/>
          <ac:spMkLst>
            <pc:docMk/>
            <pc:sldMk cId="3298264326" sldId="2147478565"/>
            <ac:spMk id="56" creationId="{DCBE4FE2-D625-EE3C-0936-BF33C2C5F48E}"/>
          </ac:spMkLst>
        </pc:spChg>
        <pc:spChg chg="add del mod">
          <ac:chgData name="Steiner Andreas 6206 ED" userId="e6377c33-a923-4f14-8587-531c474c7b48" providerId="ADAL" clId="{6ECD27E6-B224-41CD-B4E0-E297462320DD}" dt="2023-11-23T19:58:27.895" v="6953"/>
          <ac:spMkLst>
            <pc:docMk/>
            <pc:sldMk cId="3298264326" sldId="2147478565"/>
            <ac:spMk id="57" creationId="{A5FCC721-31AA-8DE7-349C-2BC8B5568935}"/>
          </ac:spMkLst>
        </pc:spChg>
        <pc:spChg chg="add del mod">
          <ac:chgData name="Steiner Andreas 6206 ED" userId="e6377c33-a923-4f14-8587-531c474c7b48" providerId="ADAL" clId="{6ECD27E6-B224-41CD-B4E0-E297462320DD}" dt="2023-11-23T19:58:39.629" v="7108"/>
          <ac:spMkLst>
            <pc:docMk/>
            <pc:sldMk cId="3298264326" sldId="2147478565"/>
            <ac:spMk id="58" creationId="{70F8B375-E306-00F1-BEF3-1A97C595246B}"/>
          </ac:spMkLst>
        </pc:spChg>
        <pc:spChg chg="add del mod">
          <ac:chgData name="Steiner Andreas 6206 ED" userId="e6377c33-a923-4f14-8587-531c474c7b48" providerId="ADAL" clId="{6ECD27E6-B224-41CD-B4E0-E297462320DD}" dt="2023-11-23T19:58:51.317" v="7263"/>
          <ac:spMkLst>
            <pc:docMk/>
            <pc:sldMk cId="3298264326" sldId="2147478565"/>
            <ac:spMk id="59" creationId="{98A4C8DF-4D6E-DDAC-6F92-76AB156C05A4}"/>
          </ac:spMkLst>
        </pc:spChg>
        <pc:spChg chg="add del mod">
          <ac:chgData name="Steiner Andreas 6206 ED" userId="e6377c33-a923-4f14-8587-531c474c7b48" providerId="ADAL" clId="{6ECD27E6-B224-41CD-B4E0-E297462320DD}" dt="2023-11-23T19:59:02.665" v="7418"/>
          <ac:spMkLst>
            <pc:docMk/>
            <pc:sldMk cId="3298264326" sldId="2147478565"/>
            <ac:spMk id="60" creationId="{B67F5B90-9F70-AE9A-C5F3-407C5457A746}"/>
          </ac:spMkLst>
        </pc:spChg>
        <pc:spChg chg="add del mod">
          <ac:chgData name="Steiner Andreas 6206 ED" userId="e6377c33-a923-4f14-8587-531c474c7b48" providerId="ADAL" clId="{6ECD27E6-B224-41CD-B4E0-E297462320DD}" dt="2023-11-24T08:31:41.558" v="7573"/>
          <ac:spMkLst>
            <pc:docMk/>
            <pc:sldMk cId="3298264326" sldId="2147478565"/>
            <ac:spMk id="61" creationId="{66BAC942-FF81-D617-824C-4216040D6F88}"/>
          </ac:spMkLst>
        </pc:spChg>
        <pc:spChg chg="add del mod">
          <ac:chgData name="Steiner Andreas 6206 ED" userId="e6377c33-a923-4f14-8587-531c474c7b48" providerId="ADAL" clId="{6ECD27E6-B224-41CD-B4E0-E297462320DD}" dt="2023-11-24T08:31:45.242" v="7728"/>
          <ac:spMkLst>
            <pc:docMk/>
            <pc:sldMk cId="3298264326" sldId="2147478565"/>
            <ac:spMk id="62" creationId="{AF47473B-1EBB-1D83-75DE-E975F0C0DC33}"/>
          </ac:spMkLst>
        </pc:spChg>
        <pc:spChg chg="add del mod">
          <ac:chgData name="Steiner Andreas 6206 ED" userId="e6377c33-a923-4f14-8587-531c474c7b48" providerId="ADAL" clId="{6ECD27E6-B224-41CD-B4E0-E297462320DD}" dt="2023-11-24T08:31:47.084" v="7883"/>
          <ac:spMkLst>
            <pc:docMk/>
            <pc:sldMk cId="3298264326" sldId="2147478565"/>
            <ac:spMk id="63" creationId="{E24043C4-1747-E981-7339-007D18110BBC}"/>
          </ac:spMkLst>
        </pc:spChg>
        <pc:spChg chg="add del mod">
          <ac:chgData name="Steiner Andreas 6206 ED" userId="e6377c33-a923-4f14-8587-531c474c7b48" providerId="ADAL" clId="{6ECD27E6-B224-41CD-B4E0-E297462320DD}" dt="2023-11-24T08:31:48.970" v="8038"/>
          <ac:spMkLst>
            <pc:docMk/>
            <pc:sldMk cId="3298264326" sldId="2147478565"/>
            <ac:spMk id="64" creationId="{F46AB880-97D5-8411-9FDE-DAFE0A14DBB8}"/>
          </ac:spMkLst>
        </pc:spChg>
        <pc:spChg chg="add del mod">
          <ac:chgData name="Steiner Andreas 6206 ED" userId="e6377c33-a923-4f14-8587-531c474c7b48" providerId="ADAL" clId="{6ECD27E6-B224-41CD-B4E0-E297462320DD}" dt="2023-11-24T08:31:50.812" v="8193"/>
          <ac:spMkLst>
            <pc:docMk/>
            <pc:sldMk cId="3298264326" sldId="2147478565"/>
            <ac:spMk id="65" creationId="{225558E8-62BD-AE94-081B-D6D9D1A8D783}"/>
          </ac:spMkLst>
        </pc:spChg>
        <pc:spChg chg="add del mod">
          <ac:chgData name="Steiner Andreas 6206 ED" userId="e6377c33-a923-4f14-8587-531c474c7b48" providerId="ADAL" clId="{6ECD27E6-B224-41CD-B4E0-E297462320DD}" dt="2023-11-24T08:31:52.620" v="8348"/>
          <ac:spMkLst>
            <pc:docMk/>
            <pc:sldMk cId="3298264326" sldId="2147478565"/>
            <ac:spMk id="66" creationId="{2666A145-72B7-7DAC-3B6B-16AFB468E253}"/>
          </ac:spMkLst>
        </pc:spChg>
        <pc:spChg chg="add del mod">
          <ac:chgData name="Steiner Andreas 6206 ED" userId="e6377c33-a923-4f14-8587-531c474c7b48" providerId="ADAL" clId="{6ECD27E6-B224-41CD-B4E0-E297462320DD}" dt="2023-11-24T08:31:54.416" v="8503"/>
          <ac:spMkLst>
            <pc:docMk/>
            <pc:sldMk cId="3298264326" sldId="2147478565"/>
            <ac:spMk id="67" creationId="{2F7EE26A-15F8-9CE0-1EAA-D7E80C250081}"/>
          </ac:spMkLst>
        </pc:spChg>
        <pc:spChg chg="add del mod">
          <ac:chgData name="Steiner Andreas 6206 ED" userId="e6377c33-a923-4f14-8587-531c474c7b48" providerId="ADAL" clId="{6ECD27E6-B224-41CD-B4E0-E297462320DD}" dt="2023-11-24T08:31:56.261" v="8658"/>
          <ac:spMkLst>
            <pc:docMk/>
            <pc:sldMk cId="3298264326" sldId="2147478565"/>
            <ac:spMk id="68" creationId="{812D5343-0296-F694-F1CD-A006D7EF199E}"/>
          </ac:spMkLst>
        </pc:spChg>
        <pc:spChg chg="add del mod">
          <ac:chgData name="Steiner Andreas 6206 ED" userId="e6377c33-a923-4f14-8587-531c474c7b48" providerId="ADAL" clId="{6ECD27E6-B224-41CD-B4E0-E297462320DD}" dt="2023-11-24T08:31:58.143" v="8813"/>
          <ac:spMkLst>
            <pc:docMk/>
            <pc:sldMk cId="3298264326" sldId="2147478565"/>
            <ac:spMk id="69" creationId="{DFE9747F-7327-B287-6937-190B23348AC2}"/>
          </ac:spMkLst>
        </pc:spChg>
        <pc:spChg chg="add del mod">
          <ac:chgData name="Steiner Andreas 6206 ED" userId="e6377c33-a923-4f14-8587-531c474c7b48" providerId="ADAL" clId="{6ECD27E6-B224-41CD-B4E0-E297462320DD}" dt="2023-11-24T08:32:00.925" v="8968"/>
          <ac:spMkLst>
            <pc:docMk/>
            <pc:sldMk cId="3298264326" sldId="2147478565"/>
            <ac:spMk id="70" creationId="{4CAC899D-4E50-F487-ABBD-79C6236D3124}"/>
          </ac:spMkLst>
        </pc:spChg>
        <pc:spChg chg="add del mod">
          <ac:chgData name="Steiner Andreas 6206 ED" userId="e6377c33-a923-4f14-8587-531c474c7b48" providerId="ADAL" clId="{6ECD27E6-B224-41CD-B4E0-E297462320DD}" dt="2023-11-24T08:32:03.212" v="9123"/>
          <ac:spMkLst>
            <pc:docMk/>
            <pc:sldMk cId="3298264326" sldId="2147478565"/>
            <ac:spMk id="71" creationId="{3D56FC68-433A-CE80-7A28-641AD9C34277}"/>
          </ac:spMkLst>
        </pc:spChg>
        <pc:spChg chg="add del mod">
          <ac:chgData name="Steiner Andreas 6206 ED" userId="e6377c33-a923-4f14-8587-531c474c7b48" providerId="ADAL" clId="{6ECD27E6-B224-41CD-B4E0-E297462320DD}" dt="2023-11-24T08:32:05.249" v="9278"/>
          <ac:spMkLst>
            <pc:docMk/>
            <pc:sldMk cId="3298264326" sldId="2147478565"/>
            <ac:spMk id="72" creationId="{A6F457B0-DD8A-AE63-99E3-1FF5E9F7BC1F}"/>
          </ac:spMkLst>
        </pc:spChg>
        <pc:spChg chg="add del mod">
          <ac:chgData name="Steiner Andreas 6206 ED" userId="e6377c33-a923-4f14-8587-531c474c7b48" providerId="ADAL" clId="{6ECD27E6-B224-41CD-B4E0-E297462320DD}" dt="2023-11-24T08:32:07.197" v="9433"/>
          <ac:spMkLst>
            <pc:docMk/>
            <pc:sldMk cId="3298264326" sldId="2147478565"/>
            <ac:spMk id="73" creationId="{98B1C379-35A6-7C5F-DFCB-747E9550875C}"/>
          </ac:spMkLst>
        </pc:spChg>
        <pc:spChg chg="add del mod">
          <ac:chgData name="Steiner Andreas 6206 ED" userId="e6377c33-a923-4f14-8587-531c474c7b48" providerId="ADAL" clId="{6ECD27E6-B224-41CD-B4E0-E297462320DD}" dt="2023-11-24T08:32:09.531" v="9588"/>
          <ac:spMkLst>
            <pc:docMk/>
            <pc:sldMk cId="3298264326" sldId="2147478565"/>
            <ac:spMk id="74" creationId="{FC037901-17B9-0ED7-1DE4-E55E293734E7}"/>
          </ac:spMkLst>
        </pc:spChg>
        <pc:spChg chg="add del mod">
          <ac:chgData name="Steiner Andreas 6206 ED" userId="e6377c33-a923-4f14-8587-531c474c7b48" providerId="ADAL" clId="{6ECD27E6-B224-41CD-B4E0-E297462320DD}" dt="2023-11-24T08:32:11.834" v="9743"/>
          <ac:spMkLst>
            <pc:docMk/>
            <pc:sldMk cId="3298264326" sldId="2147478565"/>
            <ac:spMk id="75" creationId="{B54BBCFD-1FA5-1E80-750D-6CCFBD9E793B}"/>
          </ac:spMkLst>
        </pc:spChg>
        <pc:spChg chg="add del mod">
          <ac:chgData name="Steiner Andreas 6206 ED" userId="e6377c33-a923-4f14-8587-531c474c7b48" providerId="ADAL" clId="{6ECD27E6-B224-41CD-B4E0-E297462320DD}" dt="2023-11-24T08:32:13.991" v="9898"/>
          <ac:spMkLst>
            <pc:docMk/>
            <pc:sldMk cId="3298264326" sldId="2147478565"/>
            <ac:spMk id="76" creationId="{E0B53475-2CF8-FC81-941B-321DFDD88AD6}"/>
          </ac:spMkLst>
        </pc:spChg>
        <pc:spChg chg="add del mod">
          <ac:chgData name="Steiner Andreas 6206 ED" userId="e6377c33-a923-4f14-8587-531c474c7b48" providerId="ADAL" clId="{6ECD27E6-B224-41CD-B4E0-E297462320DD}" dt="2023-11-24T08:32:15.934" v="10053"/>
          <ac:spMkLst>
            <pc:docMk/>
            <pc:sldMk cId="3298264326" sldId="2147478565"/>
            <ac:spMk id="77" creationId="{0CFD7AB2-CA85-52F3-3A27-959597248963}"/>
          </ac:spMkLst>
        </pc:spChg>
        <pc:spChg chg="add del mod">
          <ac:chgData name="Steiner Andreas 6206 ED" userId="e6377c33-a923-4f14-8587-531c474c7b48" providerId="ADAL" clId="{6ECD27E6-B224-41CD-B4E0-E297462320DD}" dt="2023-11-24T08:32:17.925" v="10208"/>
          <ac:spMkLst>
            <pc:docMk/>
            <pc:sldMk cId="3298264326" sldId="2147478565"/>
            <ac:spMk id="78" creationId="{9AC2D44E-FD39-EE0E-C91B-30CE537CD474}"/>
          </ac:spMkLst>
        </pc:spChg>
        <pc:spChg chg="add del mod">
          <ac:chgData name="Steiner Andreas 6206 ED" userId="e6377c33-a923-4f14-8587-531c474c7b48" providerId="ADAL" clId="{6ECD27E6-B224-41CD-B4E0-E297462320DD}" dt="2023-11-24T08:32:19.902" v="10363"/>
          <ac:spMkLst>
            <pc:docMk/>
            <pc:sldMk cId="3298264326" sldId="2147478565"/>
            <ac:spMk id="79" creationId="{9C1BF82E-53FC-6B21-E02E-6284D00622DF}"/>
          </ac:spMkLst>
        </pc:spChg>
        <pc:spChg chg="add del mod">
          <ac:chgData name="Steiner Andreas 6206 ED" userId="e6377c33-a923-4f14-8587-531c474c7b48" providerId="ADAL" clId="{6ECD27E6-B224-41CD-B4E0-E297462320DD}" dt="2023-11-24T08:32:21.845" v="10518"/>
          <ac:spMkLst>
            <pc:docMk/>
            <pc:sldMk cId="3298264326" sldId="2147478565"/>
            <ac:spMk id="80" creationId="{07BA41C3-8DE4-22D0-1ED5-A06B2EE7816F}"/>
          </ac:spMkLst>
        </pc:spChg>
        <pc:spChg chg="add del mod">
          <ac:chgData name="Steiner Andreas 6206 ED" userId="e6377c33-a923-4f14-8587-531c474c7b48" providerId="ADAL" clId="{6ECD27E6-B224-41CD-B4E0-E297462320DD}" dt="2023-11-24T08:32:24.025" v="10673"/>
          <ac:spMkLst>
            <pc:docMk/>
            <pc:sldMk cId="3298264326" sldId="2147478565"/>
            <ac:spMk id="81" creationId="{23C73B17-C86C-C148-5074-D6ED14FFFDD5}"/>
          </ac:spMkLst>
        </pc:spChg>
        <pc:spChg chg="add del mod">
          <ac:chgData name="Steiner Andreas 6206 ED" userId="e6377c33-a923-4f14-8587-531c474c7b48" providerId="ADAL" clId="{6ECD27E6-B224-41CD-B4E0-E297462320DD}" dt="2023-11-24T08:32:25.970" v="10828"/>
          <ac:spMkLst>
            <pc:docMk/>
            <pc:sldMk cId="3298264326" sldId="2147478565"/>
            <ac:spMk id="82" creationId="{E43124AE-B62B-CB48-0A33-0B5C597BBC3B}"/>
          </ac:spMkLst>
        </pc:spChg>
        <pc:spChg chg="add del mod">
          <ac:chgData name="Steiner Andreas 6206 ED" userId="e6377c33-a923-4f14-8587-531c474c7b48" providerId="ADAL" clId="{6ECD27E6-B224-41CD-B4E0-E297462320DD}" dt="2023-11-24T08:32:27.971" v="10983"/>
          <ac:spMkLst>
            <pc:docMk/>
            <pc:sldMk cId="3298264326" sldId="2147478565"/>
            <ac:spMk id="83" creationId="{714CD0E2-F3C1-EC3E-6F9C-78E5BDE2770C}"/>
          </ac:spMkLst>
        </pc:spChg>
        <pc:spChg chg="add del mod">
          <ac:chgData name="Steiner Andreas 6206 ED" userId="e6377c33-a923-4f14-8587-531c474c7b48" providerId="ADAL" clId="{6ECD27E6-B224-41CD-B4E0-E297462320DD}" dt="2023-11-24T08:32:29.866" v="11138"/>
          <ac:spMkLst>
            <pc:docMk/>
            <pc:sldMk cId="3298264326" sldId="2147478565"/>
            <ac:spMk id="84" creationId="{7F0A858F-C0BC-9440-8CC6-FC6BBB643F11}"/>
          </ac:spMkLst>
        </pc:spChg>
        <pc:spChg chg="add del mod">
          <ac:chgData name="Steiner Andreas 6206 ED" userId="e6377c33-a923-4f14-8587-531c474c7b48" providerId="ADAL" clId="{6ECD27E6-B224-41CD-B4E0-E297462320DD}" dt="2023-11-24T08:32:31.999" v="11293"/>
          <ac:spMkLst>
            <pc:docMk/>
            <pc:sldMk cId="3298264326" sldId="2147478565"/>
            <ac:spMk id="85" creationId="{208F1874-F346-6187-DE1D-06329645C3EC}"/>
          </ac:spMkLst>
        </pc:spChg>
        <pc:spChg chg="add del mod">
          <ac:chgData name="Steiner Andreas 6206 ED" userId="e6377c33-a923-4f14-8587-531c474c7b48" providerId="ADAL" clId="{6ECD27E6-B224-41CD-B4E0-E297462320DD}" dt="2023-11-24T08:32:34.376" v="11448"/>
          <ac:spMkLst>
            <pc:docMk/>
            <pc:sldMk cId="3298264326" sldId="2147478565"/>
            <ac:spMk id="86" creationId="{E697809D-45BD-0AC2-6619-FBE1E8456D4B}"/>
          </ac:spMkLst>
        </pc:spChg>
        <pc:spChg chg="add del mod">
          <ac:chgData name="Steiner Andreas 6206 ED" userId="e6377c33-a923-4f14-8587-531c474c7b48" providerId="ADAL" clId="{6ECD27E6-B224-41CD-B4E0-E297462320DD}" dt="2023-11-24T08:32:36.716" v="11603"/>
          <ac:spMkLst>
            <pc:docMk/>
            <pc:sldMk cId="3298264326" sldId="2147478565"/>
            <ac:spMk id="87" creationId="{B24AF6D9-CA98-1618-0DB7-512233F2A3CA}"/>
          </ac:spMkLst>
        </pc:spChg>
        <pc:spChg chg="add del mod">
          <ac:chgData name="Steiner Andreas 6206 ED" userId="e6377c33-a923-4f14-8587-531c474c7b48" providerId="ADAL" clId="{6ECD27E6-B224-41CD-B4E0-E297462320DD}" dt="2023-11-24T08:32:38.643" v="11758"/>
          <ac:spMkLst>
            <pc:docMk/>
            <pc:sldMk cId="3298264326" sldId="2147478565"/>
            <ac:spMk id="88" creationId="{C14067EB-A2A3-3F61-DD4A-8CF7C3DE4455}"/>
          </ac:spMkLst>
        </pc:spChg>
        <pc:spChg chg="add del mod">
          <ac:chgData name="Steiner Andreas 6206 ED" userId="e6377c33-a923-4f14-8587-531c474c7b48" providerId="ADAL" clId="{6ECD27E6-B224-41CD-B4E0-E297462320DD}" dt="2023-11-24T08:32:40.758" v="11913"/>
          <ac:spMkLst>
            <pc:docMk/>
            <pc:sldMk cId="3298264326" sldId="2147478565"/>
            <ac:spMk id="89" creationId="{C59581E2-DFED-94C6-ACDB-E5CBBFC93275}"/>
          </ac:spMkLst>
        </pc:spChg>
        <pc:spChg chg="add del mod">
          <ac:chgData name="Steiner Andreas 6206 ED" userId="e6377c33-a923-4f14-8587-531c474c7b48" providerId="ADAL" clId="{6ECD27E6-B224-41CD-B4E0-E297462320DD}" dt="2023-11-24T08:32:42.904" v="12068"/>
          <ac:spMkLst>
            <pc:docMk/>
            <pc:sldMk cId="3298264326" sldId="2147478565"/>
            <ac:spMk id="90" creationId="{E0CA4C22-F460-FD1A-4200-A2C8B3FF3205}"/>
          </ac:spMkLst>
        </pc:spChg>
        <pc:spChg chg="add del mod">
          <ac:chgData name="Steiner Andreas 6206 ED" userId="e6377c33-a923-4f14-8587-531c474c7b48" providerId="ADAL" clId="{6ECD27E6-B224-41CD-B4E0-E297462320DD}" dt="2023-11-24T08:32:45.047" v="12223"/>
          <ac:spMkLst>
            <pc:docMk/>
            <pc:sldMk cId="3298264326" sldId="2147478565"/>
            <ac:spMk id="91" creationId="{0C67241A-A165-360D-7130-58529A05CC73}"/>
          </ac:spMkLst>
        </pc:spChg>
        <pc:spChg chg="add del mod">
          <ac:chgData name="Steiner Andreas 6206 ED" userId="e6377c33-a923-4f14-8587-531c474c7b48" providerId="ADAL" clId="{6ECD27E6-B224-41CD-B4E0-E297462320DD}" dt="2023-11-24T08:32:47.231" v="12378"/>
          <ac:spMkLst>
            <pc:docMk/>
            <pc:sldMk cId="3298264326" sldId="2147478565"/>
            <ac:spMk id="92" creationId="{9CC07551-A26C-C896-EDAB-6F7C93AC6B25}"/>
          </ac:spMkLst>
        </pc:spChg>
        <pc:spChg chg="add del mod">
          <ac:chgData name="Steiner Andreas 6206 ED" userId="e6377c33-a923-4f14-8587-531c474c7b48" providerId="ADAL" clId="{6ECD27E6-B224-41CD-B4E0-E297462320DD}" dt="2023-11-24T08:32:49.289" v="12533"/>
          <ac:spMkLst>
            <pc:docMk/>
            <pc:sldMk cId="3298264326" sldId="2147478565"/>
            <ac:spMk id="93" creationId="{8DBC5319-9CA5-EE76-79E4-A824EC11E4BB}"/>
          </ac:spMkLst>
        </pc:spChg>
        <pc:spChg chg="add del mod">
          <ac:chgData name="Steiner Andreas 6206 ED" userId="e6377c33-a923-4f14-8587-531c474c7b48" providerId="ADAL" clId="{6ECD27E6-B224-41CD-B4E0-E297462320DD}" dt="2023-11-24T08:32:51.228" v="12688"/>
          <ac:spMkLst>
            <pc:docMk/>
            <pc:sldMk cId="3298264326" sldId="2147478565"/>
            <ac:spMk id="94" creationId="{34B4420A-FF2B-554F-7097-8BB4B65D8935}"/>
          </ac:spMkLst>
        </pc:spChg>
        <pc:spChg chg="add del mod">
          <ac:chgData name="Steiner Andreas 6206 ED" userId="e6377c33-a923-4f14-8587-531c474c7b48" providerId="ADAL" clId="{6ECD27E6-B224-41CD-B4E0-E297462320DD}" dt="2023-11-24T08:32:53.238" v="12843"/>
          <ac:spMkLst>
            <pc:docMk/>
            <pc:sldMk cId="3298264326" sldId="2147478565"/>
            <ac:spMk id="95" creationId="{C7212F51-F37F-D896-2AD5-6625F66C29A8}"/>
          </ac:spMkLst>
        </pc:spChg>
        <pc:spChg chg="add del mod">
          <ac:chgData name="Steiner Andreas 6206 ED" userId="e6377c33-a923-4f14-8587-531c474c7b48" providerId="ADAL" clId="{6ECD27E6-B224-41CD-B4E0-E297462320DD}" dt="2023-11-24T08:32:55.232" v="12998"/>
          <ac:spMkLst>
            <pc:docMk/>
            <pc:sldMk cId="3298264326" sldId="2147478565"/>
            <ac:spMk id="96" creationId="{D3537350-8E11-5A41-B889-53161D69ABCB}"/>
          </ac:spMkLst>
        </pc:spChg>
        <pc:spChg chg="add del mod">
          <ac:chgData name="Steiner Andreas 6206 ED" userId="e6377c33-a923-4f14-8587-531c474c7b48" providerId="ADAL" clId="{6ECD27E6-B224-41CD-B4E0-E297462320DD}" dt="2023-11-24T08:32:57.154" v="13153"/>
          <ac:spMkLst>
            <pc:docMk/>
            <pc:sldMk cId="3298264326" sldId="2147478565"/>
            <ac:spMk id="97" creationId="{6177B7F2-3AB4-EE48-BF38-94B6F0FCB482}"/>
          </ac:spMkLst>
        </pc:spChg>
        <pc:spChg chg="add del mod">
          <ac:chgData name="Steiner Andreas 6206 ED" userId="e6377c33-a923-4f14-8587-531c474c7b48" providerId="ADAL" clId="{6ECD27E6-B224-41CD-B4E0-E297462320DD}" dt="2023-11-24T08:32:59.266" v="13308"/>
          <ac:spMkLst>
            <pc:docMk/>
            <pc:sldMk cId="3298264326" sldId="2147478565"/>
            <ac:spMk id="98" creationId="{0D76C995-5192-3009-6169-9A5230F4B417}"/>
          </ac:spMkLst>
        </pc:spChg>
        <pc:spChg chg="add del mod">
          <ac:chgData name="Steiner Andreas 6206 ED" userId="e6377c33-a923-4f14-8587-531c474c7b48" providerId="ADAL" clId="{6ECD27E6-B224-41CD-B4E0-E297462320DD}" dt="2023-11-24T08:33:01.409" v="13463"/>
          <ac:spMkLst>
            <pc:docMk/>
            <pc:sldMk cId="3298264326" sldId="2147478565"/>
            <ac:spMk id="99" creationId="{742CC977-8147-B8A8-425D-F16BCBA0F8D8}"/>
          </ac:spMkLst>
        </pc:spChg>
        <pc:spChg chg="add del mod">
          <ac:chgData name="Steiner Andreas 6206 ED" userId="e6377c33-a923-4f14-8587-531c474c7b48" providerId="ADAL" clId="{6ECD27E6-B224-41CD-B4E0-E297462320DD}" dt="2023-11-24T08:33:03.749" v="13618"/>
          <ac:spMkLst>
            <pc:docMk/>
            <pc:sldMk cId="3298264326" sldId="2147478565"/>
            <ac:spMk id="100" creationId="{45686865-C399-6A6F-3FD1-C21056EFD8F6}"/>
          </ac:spMkLst>
        </pc:spChg>
        <pc:spChg chg="add del mod">
          <ac:chgData name="Steiner Andreas 6206 ED" userId="e6377c33-a923-4f14-8587-531c474c7b48" providerId="ADAL" clId="{6ECD27E6-B224-41CD-B4E0-E297462320DD}" dt="2023-11-24T08:33:06.111" v="13773"/>
          <ac:spMkLst>
            <pc:docMk/>
            <pc:sldMk cId="3298264326" sldId="2147478565"/>
            <ac:spMk id="101" creationId="{6B7C2D4C-248B-D488-73DB-36F746D470F8}"/>
          </ac:spMkLst>
        </pc:spChg>
        <pc:spChg chg="add del mod">
          <ac:chgData name="Steiner Andreas 6206 ED" userId="e6377c33-a923-4f14-8587-531c474c7b48" providerId="ADAL" clId="{6ECD27E6-B224-41CD-B4E0-E297462320DD}" dt="2023-11-24T08:33:08.344" v="13928"/>
          <ac:spMkLst>
            <pc:docMk/>
            <pc:sldMk cId="3298264326" sldId="2147478565"/>
            <ac:spMk id="102" creationId="{B84384A2-A2BA-6E14-2D84-1B2908C9D93B}"/>
          </ac:spMkLst>
        </pc:spChg>
        <pc:spChg chg="add del mod">
          <ac:chgData name="Steiner Andreas 6206 ED" userId="e6377c33-a923-4f14-8587-531c474c7b48" providerId="ADAL" clId="{6ECD27E6-B224-41CD-B4E0-E297462320DD}" dt="2023-11-24T08:33:10.776" v="14083"/>
          <ac:spMkLst>
            <pc:docMk/>
            <pc:sldMk cId="3298264326" sldId="2147478565"/>
            <ac:spMk id="103" creationId="{DA5584FD-FDC8-D43F-8AEE-3D9090267BC2}"/>
          </ac:spMkLst>
        </pc:spChg>
        <pc:spChg chg="add del mod">
          <ac:chgData name="Steiner Andreas 6206 ED" userId="e6377c33-a923-4f14-8587-531c474c7b48" providerId="ADAL" clId="{6ECD27E6-B224-41CD-B4E0-E297462320DD}" dt="2023-11-24T08:33:12.724" v="14238"/>
          <ac:spMkLst>
            <pc:docMk/>
            <pc:sldMk cId="3298264326" sldId="2147478565"/>
            <ac:spMk id="104" creationId="{47E306BC-A29A-83AE-134A-EBBAA0A70CFE}"/>
          </ac:spMkLst>
        </pc:spChg>
        <pc:spChg chg="add del mod">
          <ac:chgData name="Steiner Andreas 6206 ED" userId="e6377c33-a923-4f14-8587-531c474c7b48" providerId="ADAL" clId="{6ECD27E6-B224-41CD-B4E0-E297462320DD}" dt="2023-11-24T08:33:14.613" v="14393"/>
          <ac:spMkLst>
            <pc:docMk/>
            <pc:sldMk cId="3298264326" sldId="2147478565"/>
            <ac:spMk id="105" creationId="{F1CE7268-219C-1021-A57A-0C3612DD38DA}"/>
          </ac:spMkLst>
        </pc:spChg>
        <pc:spChg chg="add del mod">
          <ac:chgData name="Steiner Andreas 6206 ED" userId="e6377c33-a923-4f14-8587-531c474c7b48" providerId="ADAL" clId="{6ECD27E6-B224-41CD-B4E0-E297462320DD}" dt="2023-11-24T08:33:16.640" v="14548"/>
          <ac:spMkLst>
            <pc:docMk/>
            <pc:sldMk cId="3298264326" sldId="2147478565"/>
            <ac:spMk id="106" creationId="{C1C0DFF0-F1F3-5FFF-B7E1-FDFAAFA6D1C9}"/>
          </ac:spMkLst>
        </pc:spChg>
        <pc:spChg chg="add del mod">
          <ac:chgData name="Steiner Andreas 6206 ED" userId="e6377c33-a923-4f14-8587-531c474c7b48" providerId="ADAL" clId="{6ECD27E6-B224-41CD-B4E0-E297462320DD}" dt="2023-11-24T08:33:18.949" v="14703"/>
          <ac:spMkLst>
            <pc:docMk/>
            <pc:sldMk cId="3298264326" sldId="2147478565"/>
            <ac:spMk id="107" creationId="{CD9C7B75-80E0-A2A0-8E3F-37C175FFAAB0}"/>
          </ac:spMkLst>
        </pc:spChg>
        <pc:spChg chg="add del mod">
          <ac:chgData name="Steiner Andreas 6206 ED" userId="e6377c33-a923-4f14-8587-531c474c7b48" providerId="ADAL" clId="{6ECD27E6-B224-41CD-B4E0-E297462320DD}" dt="2023-11-24T08:33:21.382" v="14858"/>
          <ac:spMkLst>
            <pc:docMk/>
            <pc:sldMk cId="3298264326" sldId="2147478565"/>
            <ac:spMk id="108" creationId="{603AD9D4-BD9B-BFFC-496C-F5153E6E3403}"/>
          </ac:spMkLst>
        </pc:spChg>
        <pc:spChg chg="add del mod">
          <ac:chgData name="Steiner Andreas 6206 ED" userId="e6377c33-a923-4f14-8587-531c474c7b48" providerId="ADAL" clId="{6ECD27E6-B224-41CD-B4E0-E297462320DD}" dt="2023-11-24T08:33:23.731" v="15013"/>
          <ac:spMkLst>
            <pc:docMk/>
            <pc:sldMk cId="3298264326" sldId="2147478565"/>
            <ac:spMk id="109" creationId="{94A00D6F-15E6-93A5-48C7-F31404C4FEC8}"/>
          </ac:spMkLst>
        </pc:spChg>
        <pc:spChg chg="add del mod">
          <ac:chgData name="Steiner Andreas 6206 ED" userId="e6377c33-a923-4f14-8587-531c474c7b48" providerId="ADAL" clId="{6ECD27E6-B224-41CD-B4E0-E297462320DD}" dt="2023-11-24T08:33:26.097" v="15168"/>
          <ac:spMkLst>
            <pc:docMk/>
            <pc:sldMk cId="3298264326" sldId="2147478565"/>
            <ac:spMk id="110" creationId="{581441B9-7389-2DE1-2B67-D44E27EA044E}"/>
          </ac:spMkLst>
        </pc:spChg>
        <pc:spChg chg="add del mod">
          <ac:chgData name="Steiner Andreas 6206 ED" userId="e6377c33-a923-4f14-8587-531c474c7b48" providerId="ADAL" clId="{6ECD27E6-B224-41CD-B4E0-E297462320DD}" dt="2023-11-24T08:33:28.418" v="15323"/>
          <ac:spMkLst>
            <pc:docMk/>
            <pc:sldMk cId="3298264326" sldId="2147478565"/>
            <ac:spMk id="111" creationId="{CB4F731A-B1B4-F4C2-271F-C835B31CBE35}"/>
          </ac:spMkLst>
        </pc:spChg>
        <pc:spChg chg="add del mod">
          <ac:chgData name="Steiner Andreas 6206 ED" userId="e6377c33-a923-4f14-8587-531c474c7b48" providerId="ADAL" clId="{6ECD27E6-B224-41CD-B4E0-E297462320DD}" dt="2023-11-24T08:33:30.892" v="15478"/>
          <ac:spMkLst>
            <pc:docMk/>
            <pc:sldMk cId="3298264326" sldId="2147478565"/>
            <ac:spMk id="112" creationId="{4381668D-8C6B-1AEB-E279-2F6B95F4FF30}"/>
          </ac:spMkLst>
        </pc:spChg>
        <pc:spChg chg="add del mod">
          <ac:chgData name="Steiner Andreas 6206 ED" userId="e6377c33-a923-4f14-8587-531c474c7b48" providerId="ADAL" clId="{6ECD27E6-B224-41CD-B4E0-E297462320DD}" dt="2023-11-24T08:33:33.638" v="15633"/>
          <ac:spMkLst>
            <pc:docMk/>
            <pc:sldMk cId="3298264326" sldId="2147478565"/>
            <ac:spMk id="113" creationId="{D9E14031-8E37-8432-ECC1-502CCDD42A16}"/>
          </ac:spMkLst>
        </pc:spChg>
        <pc:spChg chg="add del mod">
          <ac:chgData name="Steiner Andreas 6206 ED" userId="e6377c33-a923-4f14-8587-531c474c7b48" providerId="ADAL" clId="{6ECD27E6-B224-41CD-B4E0-E297462320DD}" dt="2023-11-24T08:33:35.926" v="15788"/>
          <ac:spMkLst>
            <pc:docMk/>
            <pc:sldMk cId="3298264326" sldId="2147478565"/>
            <ac:spMk id="114" creationId="{BCF7896B-C506-246C-34A2-5B02505876C6}"/>
          </ac:spMkLst>
        </pc:spChg>
        <pc:spChg chg="add del mod">
          <ac:chgData name="Steiner Andreas 6206 ED" userId="e6377c33-a923-4f14-8587-531c474c7b48" providerId="ADAL" clId="{6ECD27E6-B224-41CD-B4E0-E297462320DD}" dt="2023-11-24T08:33:38.040" v="15943"/>
          <ac:spMkLst>
            <pc:docMk/>
            <pc:sldMk cId="3298264326" sldId="2147478565"/>
            <ac:spMk id="115" creationId="{4F83C28D-DCBF-B09A-A28B-7B383F9AE431}"/>
          </ac:spMkLst>
        </pc:spChg>
        <pc:spChg chg="add del mod">
          <ac:chgData name="Steiner Andreas 6206 ED" userId="e6377c33-a923-4f14-8587-531c474c7b48" providerId="ADAL" clId="{6ECD27E6-B224-41CD-B4E0-E297462320DD}" dt="2023-11-24T08:33:40.409" v="16098"/>
          <ac:spMkLst>
            <pc:docMk/>
            <pc:sldMk cId="3298264326" sldId="2147478565"/>
            <ac:spMk id="116" creationId="{0FC6B859-C9F8-76D3-AF38-B31E4F7E4B2F}"/>
          </ac:spMkLst>
        </pc:spChg>
        <pc:spChg chg="add del mod">
          <ac:chgData name="Steiner Andreas 6206 ED" userId="e6377c33-a923-4f14-8587-531c474c7b48" providerId="ADAL" clId="{6ECD27E6-B224-41CD-B4E0-E297462320DD}" dt="2023-11-24T08:33:43.134" v="16253"/>
          <ac:spMkLst>
            <pc:docMk/>
            <pc:sldMk cId="3298264326" sldId="2147478565"/>
            <ac:spMk id="117" creationId="{6F893F44-7252-F4E5-28B5-D2C0C9E6278D}"/>
          </ac:spMkLst>
        </pc:spChg>
        <pc:spChg chg="add del mod">
          <ac:chgData name="Steiner Andreas 6206 ED" userId="e6377c33-a923-4f14-8587-531c474c7b48" providerId="ADAL" clId="{6ECD27E6-B224-41CD-B4E0-E297462320DD}" dt="2023-11-24T08:33:45.566" v="16408"/>
          <ac:spMkLst>
            <pc:docMk/>
            <pc:sldMk cId="3298264326" sldId="2147478565"/>
            <ac:spMk id="118" creationId="{314E5A5B-353B-541C-924A-6C3A945CFBB9}"/>
          </ac:spMkLst>
        </pc:spChg>
        <pc:spChg chg="add del mod">
          <ac:chgData name="Steiner Andreas 6206 ED" userId="e6377c33-a923-4f14-8587-531c474c7b48" providerId="ADAL" clId="{6ECD27E6-B224-41CD-B4E0-E297462320DD}" dt="2023-11-24T08:33:47.760" v="16563"/>
          <ac:spMkLst>
            <pc:docMk/>
            <pc:sldMk cId="3298264326" sldId="2147478565"/>
            <ac:spMk id="119" creationId="{A558EA8F-4CFB-30ED-09AC-6BD0A90F3E5B}"/>
          </ac:spMkLst>
        </pc:spChg>
        <pc:spChg chg="add del mod">
          <ac:chgData name="Steiner Andreas 6206 ED" userId="e6377c33-a923-4f14-8587-531c474c7b48" providerId="ADAL" clId="{6ECD27E6-B224-41CD-B4E0-E297462320DD}" dt="2023-11-24T08:33:50.536" v="16718"/>
          <ac:spMkLst>
            <pc:docMk/>
            <pc:sldMk cId="3298264326" sldId="2147478565"/>
            <ac:spMk id="120" creationId="{E7B88011-25B0-078F-BB38-346FEDC8526B}"/>
          </ac:spMkLst>
        </pc:spChg>
        <pc:spChg chg="add del mod">
          <ac:chgData name="Steiner Andreas 6206 ED" userId="e6377c33-a923-4f14-8587-531c474c7b48" providerId="ADAL" clId="{6ECD27E6-B224-41CD-B4E0-E297462320DD}" dt="2023-11-24T08:33:52.897" v="16873"/>
          <ac:spMkLst>
            <pc:docMk/>
            <pc:sldMk cId="3298264326" sldId="2147478565"/>
            <ac:spMk id="121" creationId="{20E258E2-CA11-479C-B9FA-70B5B852D0CB}"/>
          </ac:spMkLst>
        </pc:spChg>
        <pc:spChg chg="add del mod">
          <ac:chgData name="Steiner Andreas 6206 ED" userId="e6377c33-a923-4f14-8587-531c474c7b48" providerId="ADAL" clId="{6ECD27E6-B224-41CD-B4E0-E297462320DD}" dt="2023-11-24T08:33:55.060" v="17028"/>
          <ac:spMkLst>
            <pc:docMk/>
            <pc:sldMk cId="3298264326" sldId="2147478565"/>
            <ac:spMk id="122" creationId="{176485FB-8DE5-B35E-14DE-1B5DAA5B2DEF}"/>
          </ac:spMkLst>
        </pc:spChg>
        <pc:spChg chg="add del mod">
          <ac:chgData name="Steiner Andreas 6206 ED" userId="e6377c33-a923-4f14-8587-531c474c7b48" providerId="ADAL" clId="{6ECD27E6-B224-41CD-B4E0-E297462320DD}" dt="2023-11-24T08:33:57.446" v="17183"/>
          <ac:spMkLst>
            <pc:docMk/>
            <pc:sldMk cId="3298264326" sldId="2147478565"/>
            <ac:spMk id="123" creationId="{2E4066A0-E2E5-0319-7FB4-C39F1977855B}"/>
          </ac:spMkLst>
        </pc:spChg>
        <pc:spChg chg="add del mod">
          <ac:chgData name="Steiner Andreas 6206 ED" userId="e6377c33-a923-4f14-8587-531c474c7b48" providerId="ADAL" clId="{6ECD27E6-B224-41CD-B4E0-E297462320DD}" dt="2023-11-24T08:33:59.878" v="17338"/>
          <ac:spMkLst>
            <pc:docMk/>
            <pc:sldMk cId="3298264326" sldId="2147478565"/>
            <ac:spMk id="124" creationId="{5FE0B7F1-1FCF-81F4-14EA-7F29E3837544}"/>
          </ac:spMkLst>
        </pc:spChg>
        <pc:spChg chg="add del mod">
          <ac:chgData name="Steiner Andreas 6206 ED" userId="e6377c33-a923-4f14-8587-531c474c7b48" providerId="ADAL" clId="{6ECD27E6-B224-41CD-B4E0-E297462320DD}" dt="2023-11-24T08:34:01.918" v="17493"/>
          <ac:spMkLst>
            <pc:docMk/>
            <pc:sldMk cId="3298264326" sldId="2147478565"/>
            <ac:spMk id="125" creationId="{4DF3E683-3810-4B0D-FB1F-2E4B47D4F181}"/>
          </ac:spMkLst>
        </pc:spChg>
        <pc:spChg chg="add del mod">
          <ac:chgData name="Steiner Andreas 6206 ED" userId="e6377c33-a923-4f14-8587-531c474c7b48" providerId="ADAL" clId="{6ECD27E6-B224-41CD-B4E0-E297462320DD}" dt="2023-11-24T08:34:04.228" v="17648"/>
          <ac:spMkLst>
            <pc:docMk/>
            <pc:sldMk cId="3298264326" sldId="2147478565"/>
            <ac:spMk id="126" creationId="{71C43C7F-50B7-9AF0-6CFE-AE7FB9B7DD6C}"/>
          </ac:spMkLst>
        </pc:spChg>
        <pc:spChg chg="add del mod">
          <ac:chgData name="Steiner Andreas 6206 ED" userId="e6377c33-a923-4f14-8587-531c474c7b48" providerId="ADAL" clId="{6ECD27E6-B224-41CD-B4E0-E297462320DD}" dt="2023-11-24T08:34:06.107" v="17803"/>
          <ac:spMkLst>
            <pc:docMk/>
            <pc:sldMk cId="3298264326" sldId="2147478565"/>
            <ac:spMk id="127" creationId="{A00D7004-C12E-484D-90A5-6327CAEF5F43}"/>
          </ac:spMkLst>
        </pc:spChg>
        <pc:spChg chg="add del mod">
          <ac:chgData name="Steiner Andreas 6206 ED" userId="e6377c33-a923-4f14-8587-531c474c7b48" providerId="ADAL" clId="{6ECD27E6-B224-41CD-B4E0-E297462320DD}" dt="2023-11-24T08:34:08.199" v="17958"/>
          <ac:spMkLst>
            <pc:docMk/>
            <pc:sldMk cId="3298264326" sldId="2147478565"/>
            <ac:spMk id="128" creationId="{8523C6AE-D573-B1D0-8DDD-04134B48C10C}"/>
          </ac:spMkLst>
        </pc:spChg>
        <pc:spChg chg="add del mod">
          <ac:chgData name="Steiner Andreas 6206 ED" userId="e6377c33-a923-4f14-8587-531c474c7b48" providerId="ADAL" clId="{6ECD27E6-B224-41CD-B4E0-E297462320DD}" dt="2023-11-24T08:34:10.142" v="18113"/>
          <ac:spMkLst>
            <pc:docMk/>
            <pc:sldMk cId="3298264326" sldId="2147478565"/>
            <ac:spMk id="129" creationId="{CF4FE3D2-5AAD-7603-9CB5-7435F532B441}"/>
          </ac:spMkLst>
        </pc:spChg>
        <pc:spChg chg="add del mod">
          <ac:chgData name="Steiner Andreas 6206 ED" userId="e6377c33-a923-4f14-8587-531c474c7b48" providerId="ADAL" clId="{6ECD27E6-B224-41CD-B4E0-E297462320DD}" dt="2023-11-24T08:34:12.264" v="18268"/>
          <ac:spMkLst>
            <pc:docMk/>
            <pc:sldMk cId="3298264326" sldId="2147478565"/>
            <ac:spMk id="130" creationId="{217AAD9E-6A20-1BA5-98CA-9C04E4D0D44E}"/>
          </ac:spMkLst>
        </pc:spChg>
        <pc:spChg chg="add del mod">
          <ac:chgData name="Steiner Andreas 6206 ED" userId="e6377c33-a923-4f14-8587-531c474c7b48" providerId="ADAL" clId="{6ECD27E6-B224-41CD-B4E0-E297462320DD}" dt="2023-11-24T08:34:14.589" v="18423"/>
          <ac:spMkLst>
            <pc:docMk/>
            <pc:sldMk cId="3298264326" sldId="2147478565"/>
            <ac:spMk id="131" creationId="{D6F4AB80-8832-3805-DCF6-21FA910579AB}"/>
          </ac:spMkLst>
        </pc:spChg>
        <pc:spChg chg="add del mod">
          <ac:chgData name="Steiner Andreas 6206 ED" userId="e6377c33-a923-4f14-8587-531c474c7b48" providerId="ADAL" clId="{6ECD27E6-B224-41CD-B4E0-E297462320DD}" dt="2023-11-24T08:34:16.600" v="18578"/>
          <ac:spMkLst>
            <pc:docMk/>
            <pc:sldMk cId="3298264326" sldId="2147478565"/>
            <ac:spMk id="132" creationId="{3BD93268-65DE-AFBF-243F-863E6E10D216}"/>
          </ac:spMkLst>
        </pc:spChg>
        <pc:spChg chg="add del mod">
          <ac:chgData name="Steiner Andreas 6206 ED" userId="e6377c33-a923-4f14-8587-531c474c7b48" providerId="ADAL" clId="{6ECD27E6-B224-41CD-B4E0-E297462320DD}" dt="2023-11-24T08:34:18.857" v="18733"/>
          <ac:spMkLst>
            <pc:docMk/>
            <pc:sldMk cId="3298264326" sldId="2147478565"/>
            <ac:spMk id="133" creationId="{8734930C-3406-6D0E-13C6-DB79C766D47F}"/>
          </ac:spMkLst>
        </pc:spChg>
        <pc:spChg chg="add del mod">
          <ac:chgData name="Steiner Andreas 6206 ED" userId="e6377c33-a923-4f14-8587-531c474c7b48" providerId="ADAL" clId="{6ECD27E6-B224-41CD-B4E0-E297462320DD}" dt="2023-11-24T08:34:20.907" v="18888"/>
          <ac:spMkLst>
            <pc:docMk/>
            <pc:sldMk cId="3298264326" sldId="2147478565"/>
            <ac:spMk id="134" creationId="{8D1781E5-5DBE-6D90-ECE4-FAD3AF4D0C0A}"/>
          </ac:spMkLst>
        </pc:spChg>
        <pc:spChg chg="add del mod">
          <ac:chgData name="Steiner Andreas 6206 ED" userId="e6377c33-a923-4f14-8587-531c474c7b48" providerId="ADAL" clId="{6ECD27E6-B224-41CD-B4E0-E297462320DD}" dt="2023-11-24T08:34:23.029" v="19043"/>
          <ac:spMkLst>
            <pc:docMk/>
            <pc:sldMk cId="3298264326" sldId="2147478565"/>
            <ac:spMk id="135" creationId="{BFD72640-7F6E-2ECF-FAF8-5829C7429825}"/>
          </ac:spMkLst>
        </pc:spChg>
        <pc:spChg chg="add del mod">
          <ac:chgData name="Steiner Andreas 6206 ED" userId="e6377c33-a923-4f14-8587-531c474c7b48" providerId="ADAL" clId="{6ECD27E6-B224-41CD-B4E0-E297462320DD}" dt="2023-11-24T08:34:26.333" v="19198"/>
          <ac:spMkLst>
            <pc:docMk/>
            <pc:sldMk cId="3298264326" sldId="2147478565"/>
            <ac:spMk id="136" creationId="{5D3A62FF-1BC8-0B19-0F42-C321DA1150B6}"/>
          </ac:spMkLst>
        </pc:spChg>
        <pc:spChg chg="add del mod">
          <ac:chgData name="Steiner Andreas 6206 ED" userId="e6377c33-a923-4f14-8587-531c474c7b48" providerId="ADAL" clId="{6ECD27E6-B224-41CD-B4E0-E297462320DD}" dt="2023-11-24T08:34:28.974" v="19353"/>
          <ac:spMkLst>
            <pc:docMk/>
            <pc:sldMk cId="3298264326" sldId="2147478565"/>
            <ac:spMk id="137" creationId="{9B1C5CC0-3ECC-ED7F-36FB-8A18E08C7C8B}"/>
          </ac:spMkLst>
        </pc:spChg>
        <pc:spChg chg="add del mod">
          <ac:chgData name="Steiner Andreas 6206 ED" userId="e6377c33-a923-4f14-8587-531c474c7b48" providerId="ADAL" clId="{6ECD27E6-B224-41CD-B4E0-E297462320DD}" dt="2023-11-24T08:34:31.598" v="19508"/>
          <ac:spMkLst>
            <pc:docMk/>
            <pc:sldMk cId="3298264326" sldId="2147478565"/>
            <ac:spMk id="138" creationId="{8A67D7AD-434C-3509-78BB-8D4C1D4E29A9}"/>
          </ac:spMkLst>
        </pc:spChg>
        <pc:spChg chg="add del mod">
          <ac:chgData name="Steiner Andreas 6206 ED" userId="e6377c33-a923-4f14-8587-531c474c7b48" providerId="ADAL" clId="{6ECD27E6-B224-41CD-B4E0-E297462320DD}" dt="2023-11-24T08:34:33.804" v="19663"/>
          <ac:spMkLst>
            <pc:docMk/>
            <pc:sldMk cId="3298264326" sldId="2147478565"/>
            <ac:spMk id="139" creationId="{06FC17F1-058A-5342-CF23-5457B59E7BED}"/>
          </ac:spMkLst>
        </pc:spChg>
        <pc:spChg chg="add del mod">
          <ac:chgData name="Steiner Andreas 6206 ED" userId="e6377c33-a923-4f14-8587-531c474c7b48" providerId="ADAL" clId="{6ECD27E6-B224-41CD-B4E0-E297462320DD}" dt="2023-11-24T08:34:36.066" v="19818"/>
          <ac:spMkLst>
            <pc:docMk/>
            <pc:sldMk cId="3298264326" sldId="2147478565"/>
            <ac:spMk id="140" creationId="{F9803BC1-60A7-FDB9-860C-B9096C9B0BE3}"/>
          </ac:spMkLst>
        </pc:spChg>
        <pc:spChg chg="add del mod">
          <ac:chgData name="Steiner Andreas 6206 ED" userId="e6377c33-a923-4f14-8587-531c474c7b48" providerId="ADAL" clId="{6ECD27E6-B224-41CD-B4E0-E297462320DD}" dt="2023-11-24T08:34:38.297" v="19973"/>
          <ac:spMkLst>
            <pc:docMk/>
            <pc:sldMk cId="3298264326" sldId="2147478565"/>
            <ac:spMk id="141" creationId="{4ECD1B49-5F09-1266-1B77-3CF34739A1FC}"/>
          </ac:spMkLst>
        </pc:spChg>
        <pc:spChg chg="add del mod">
          <ac:chgData name="Steiner Andreas 6206 ED" userId="e6377c33-a923-4f14-8587-531c474c7b48" providerId="ADAL" clId="{6ECD27E6-B224-41CD-B4E0-E297462320DD}" dt="2023-11-24T08:34:40.640" v="20128"/>
          <ac:spMkLst>
            <pc:docMk/>
            <pc:sldMk cId="3298264326" sldId="2147478565"/>
            <ac:spMk id="142" creationId="{0287E841-A83E-D585-811A-0AA0F0579F9D}"/>
          </ac:spMkLst>
        </pc:spChg>
        <pc:spChg chg="add del mod">
          <ac:chgData name="Steiner Andreas 6206 ED" userId="e6377c33-a923-4f14-8587-531c474c7b48" providerId="ADAL" clId="{6ECD27E6-B224-41CD-B4E0-E297462320DD}" dt="2023-11-24T08:34:43.348" v="20283"/>
          <ac:spMkLst>
            <pc:docMk/>
            <pc:sldMk cId="3298264326" sldId="2147478565"/>
            <ac:spMk id="143" creationId="{75D92136-64EA-B332-BF1A-9459A6114D61}"/>
          </ac:spMkLst>
        </pc:spChg>
        <pc:spChg chg="add del mod">
          <ac:chgData name="Steiner Andreas 6206 ED" userId="e6377c33-a923-4f14-8587-531c474c7b48" providerId="ADAL" clId="{6ECD27E6-B224-41CD-B4E0-E297462320DD}" dt="2023-11-24T08:34:45.707" v="20438"/>
          <ac:spMkLst>
            <pc:docMk/>
            <pc:sldMk cId="3298264326" sldId="2147478565"/>
            <ac:spMk id="144" creationId="{87669C58-ABD5-DED8-0E54-DFA03CEBA122}"/>
          </ac:spMkLst>
        </pc:spChg>
        <pc:spChg chg="add del mod">
          <ac:chgData name="Steiner Andreas 6206 ED" userId="e6377c33-a923-4f14-8587-531c474c7b48" providerId="ADAL" clId="{6ECD27E6-B224-41CD-B4E0-E297462320DD}" dt="2023-11-24T08:34:47.924" v="20593"/>
          <ac:spMkLst>
            <pc:docMk/>
            <pc:sldMk cId="3298264326" sldId="2147478565"/>
            <ac:spMk id="145" creationId="{0F0BB5FC-9CD4-56BE-9798-B0AB585E52F3}"/>
          </ac:spMkLst>
        </pc:spChg>
        <pc:spChg chg="add del mod">
          <ac:chgData name="Steiner Andreas 6206 ED" userId="e6377c33-a923-4f14-8587-531c474c7b48" providerId="ADAL" clId="{6ECD27E6-B224-41CD-B4E0-E297462320DD}" dt="2023-11-24T08:34:50.387" v="20748"/>
          <ac:spMkLst>
            <pc:docMk/>
            <pc:sldMk cId="3298264326" sldId="2147478565"/>
            <ac:spMk id="146" creationId="{22267286-94F6-A1E7-215C-85DBAD7F20D5}"/>
          </ac:spMkLst>
        </pc:spChg>
        <pc:spChg chg="add del mod">
          <ac:chgData name="Steiner Andreas 6206 ED" userId="e6377c33-a923-4f14-8587-531c474c7b48" providerId="ADAL" clId="{6ECD27E6-B224-41CD-B4E0-E297462320DD}" dt="2023-11-24T08:34:52.962" v="20903"/>
          <ac:spMkLst>
            <pc:docMk/>
            <pc:sldMk cId="3298264326" sldId="2147478565"/>
            <ac:spMk id="147" creationId="{E4DE65C9-DFFC-9464-1F5A-C7E08D0EC1D3}"/>
          </ac:spMkLst>
        </pc:spChg>
        <pc:spChg chg="add del mod">
          <ac:chgData name="Steiner Andreas 6206 ED" userId="e6377c33-a923-4f14-8587-531c474c7b48" providerId="ADAL" clId="{6ECD27E6-B224-41CD-B4E0-E297462320DD}" dt="2023-11-24T08:34:55.391" v="21058"/>
          <ac:spMkLst>
            <pc:docMk/>
            <pc:sldMk cId="3298264326" sldId="2147478565"/>
            <ac:spMk id="148" creationId="{9DB88B64-64C5-7729-96FC-0CAFBA3B2F42}"/>
          </ac:spMkLst>
        </pc:spChg>
        <pc:spChg chg="add del mod">
          <ac:chgData name="Steiner Andreas 6206 ED" userId="e6377c33-a923-4f14-8587-531c474c7b48" providerId="ADAL" clId="{6ECD27E6-B224-41CD-B4E0-E297462320DD}" dt="2023-11-24T08:34:57.777" v="21213"/>
          <ac:spMkLst>
            <pc:docMk/>
            <pc:sldMk cId="3298264326" sldId="2147478565"/>
            <ac:spMk id="149" creationId="{F42A86AD-9B15-9072-D245-A2792B4385A3}"/>
          </ac:spMkLst>
        </pc:spChg>
        <pc:spChg chg="add del mod">
          <ac:chgData name="Steiner Andreas 6206 ED" userId="e6377c33-a923-4f14-8587-531c474c7b48" providerId="ADAL" clId="{6ECD27E6-B224-41CD-B4E0-E297462320DD}" dt="2023-11-24T08:35:00.311" v="21368"/>
          <ac:spMkLst>
            <pc:docMk/>
            <pc:sldMk cId="3298264326" sldId="2147478565"/>
            <ac:spMk id="150" creationId="{238CE667-1075-3560-5A3E-509356D3F76A}"/>
          </ac:spMkLst>
        </pc:spChg>
        <pc:spChg chg="add del mod">
          <ac:chgData name="Steiner Andreas 6206 ED" userId="e6377c33-a923-4f14-8587-531c474c7b48" providerId="ADAL" clId="{6ECD27E6-B224-41CD-B4E0-E297462320DD}" dt="2023-11-24T08:35:02.867" v="21523"/>
          <ac:spMkLst>
            <pc:docMk/>
            <pc:sldMk cId="3298264326" sldId="2147478565"/>
            <ac:spMk id="151" creationId="{E69A0A10-6B1B-4D30-43FC-BD466FB840E5}"/>
          </ac:spMkLst>
        </pc:spChg>
        <pc:spChg chg="add del mod">
          <ac:chgData name="Steiner Andreas 6206 ED" userId="e6377c33-a923-4f14-8587-531c474c7b48" providerId="ADAL" clId="{6ECD27E6-B224-41CD-B4E0-E297462320DD}" dt="2023-11-24T08:35:05.345" v="21678"/>
          <ac:spMkLst>
            <pc:docMk/>
            <pc:sldMk cId="3298264326" sldId="2147478565"/>
            <ac:spMk id="152" creationId="{E283C515-09D0-C4CA-ABA4-51D047A2AE9B}"/>
          </ac:spMkLst>
        </pc:spChg>
        <pc:spChg chg="add del mod">
          <ac:chgData name="Steiner Andreas 6206 ED" userId="e6377c33-a923-4f14-8587-531c474c7b48" providerId="ADAL" clId="{6ECD27E6-B224-41CD-B4E0-E297462320DD}" dt="2023-11-24T08:35:07.877" v="21833"/>
          <ac:spMkLst>
            <pc:docMk/>
            <pc:sldMk cId="3298264326" sldId="2147478565"/>
            <ac:spMk id="153" creationId="{1DA14B8D-E65A-2F25-3381-6467620548CB}"/>
          </ac:spMkLst>
        </pc:spChg>
        <pc:spChg chg="add del mod">
          <ac:chgData name="Steiner Andreas 6206 ED" userId="e6377c33-a923-4f14-8587-531c474c7b48" providerId="ADAL" clId="{6ECD27E6-B224-41CD-B4E0-E297462320DD}" dt="2023-11-24T08:35:10.369" v="21988"/>
          <ac:spMkLst>
            <pc:docMk/>
            <pc:sldMk cId="3298264326" sldId="2147478565"/>
            <ac:spMk id="154" creationId="{0D2C4022-D1DB-8AA2-086E-2C7A7758F248}"/>
          </ac:spMkLst>
        </pc:spChg>
        <pc:spChg chg="add del mod">
          <ac:chgData name="Steiner Andreas 6206 ED" userId="e6377c33-a923-4f14-8587-531c474c7b48" providerId="ADAL" clId="{6ECD27E6-B224-41CD-B4E0-E297462320DD}" dt="2023-11-24T08:35:12.824" v="22143"/>
          <ac:spMkLst>
            <pc:docMk/>
            <pc:sldMk cId="3298264326" sldId="2147478565"/>
            <ac:spMk id="155" creationId="{AD2AE252-8FBF-0D8A-2D23-75117D04925A}"/>
          </ac:spMkLst>
        </pc:spChg>
        <pc:spChg chg="add del mod">
          <ac:chgData name="Steiner Andreas 6206 ED" userId="e6377c33-a923-4f14-8587-531c474c7b48" providerId="ADAL" clId="{6ECD27E6-B224-41CD-B4E0-E297462320DD}" dt="2023-11-24T08:35:14.930" v="22298"/>
          <ac:spMkLst>
            <pc:docMk/>
            <pc:sldMk cId="3298264326" sldId="2147478565"/>
            <ac:spMk id="156" creationId="{5962E0F5-E405-F2FD-BFED-F7E0392962B2}"/>
          </ac:spMkLst>
        </pc:spChg>
        <pc:spChg chg="add del mod">
          <ac:chgData name="Steiner Andreas 6206 ED" userId="e6377c33-a923-4f14-8587-531c474c7b48" providerId="ADAL" clId="{6ECD27E6-B224-41CD-B4E0-E297462320DD}" dt="2023-11-24T08:35:17.368" v="22453"/>
          <ac:spMkLst>
            <pc:docMk/>
            <pc:sldMk cId="3298264326" sldId="2147478565"/>
            <ac:spMk id="157" creationId="{B50F3574-547A-E808-0830-6362D08153FF}"/>
          </ac:spMkLst>
        </pc:spChg>
        <pc:spChg chg="add del mod">
          <ac:chgData name="Steiner Andreas 6206 ED" userId="e6377c33-a923-4f14-8587-531c474c7b48" providerId="ADAL" clId="{6ECD27E6-B224-41CD-B4E0-E297462320DD}" dt="2023-11-24T08:35:19.765" v="22608"/>
          <ac:spMkLst>
            <pc:docMk/>
            <pc:sldMk cId="3298264326" sldId="2147478565"/>
            <ac:spMk id="158" creationId="{62239A4C-82E0-FA10-6BC7-17C7B1ECEB82}"/>
          </ac:spMkLst>
        </pc:spChg>
        <pc:spChg chg="add del mod">
          <ac:chgData name="Steiner Andreas 6206 ED" userId="e6377c33-a923-4f14-8587-531c474c7b48" providerId="ADAL" clId="{6ECD27E6-B224-41CD-B4E0-E297462320DD}" dt="2023-11-24T08:35:22.169" v="22763"/>
          <ac:spMkLst>
            <pc:docMk/>
            <pc:sldMk cId="3298264326" sldId="2147478565"/>
            <ac:spMk id="159" creationId="{03AC30AF-AF6D-27B6-7542-C8CFF40FDD2C}"/>
          </ac:spMkLst>
        </pc:spChg>
        <pc:spChg chg="add del mod">
          <ac:chgData name="Steiner Andreas 6206 ED" userId="e6377c33-a923-4f14-8587-531c474c7b48" providerId="ADAL" clId="{6ECD27E6-B224-41CD-B4E0-E297462320DD}" dt="2023-11-24T08:35:24.566" v="22918"/>
          <ac:spMkLst>
            <pc:docMk/>
            <pc:sldMk cId="3298264326" sldId="2147478565"/>
            <ac:spMk id="160" creationId="{62D59EC3-5D29-2198-F964-7B0CBA15D67F}"/>
          </ac:spMkLst>
        </pc:spChg>
        <pc:spChg chg="add del mod">
          <ac:chgData name="Steiner Andreas 6206 ED" userId="e6377c33-a923-4f14-8587-531c474c7b48" providerId="ADAL" clId="{6ECD27E6-B224-41CD-B4E0-E297462320DD}" dt="2023-11-24T08:35:27.162" v="23073"/>
          <ac:spMkLst>
            <pc:docMk/>
            <pc:sldMk cId="3298264326" sldId="2147478565"/>
            <ac:spMk id="161" creationId="{C1647459-DFB8-2ACE-232F-AD4A11A8A849}"/>
          </ac:spMkLst>
        </pc:spChg>
        <pc:spChg chg="add del mod">
          <ac:chgData name="Steiner Andreas 6206 ED" userId="e6377c33-a923-4f14-8587-531c474c7b48" providerId="ADAL" clId="{6ECD27E6-B224-41CD-B4E0-E297462320DD}" dt="2023-11-24T08:35:29.856" v="23228"/>
          <ac:spMkLst>
            <pc:docMk/>
            <pc:sldMk cId="3298264326" sldId="2147478565"/>
            <ac:spMk id="162" creationId="{BC7845AE-4BE0-E838-0A0B-A459ED11A3F2}"/>
          </ac:spMkLst>
        </pc:spChg>
        <pc:spChg chg="add del mod">
          <ac:chgData name="Steiner Andreas 6206 ED" userId="e6377c33-a923-4f14-8587-531c474c7b48" providerId="ADAL" clId="{6ECD27E6-B224-41CD-B4E0-E297462320DD}" dt="2023-11-24T08:35:32.222" v="23383"/>
          <ac:spMkLst>
            <pc:docMk/>
            <pc:sldMk cId="3298264326" sldId="2147478565"/>
            <ac:spMk id="163" creationId="{E1FFF165-5233-5EB2-53E5-036261D72F89}"/>
          </ac:spMkLst>
        </pc:spChg>
        <pc:spChg chg="add del mod">
          <ac:chgData name="Steiner Andreas 6206 ED" userId="e6377c33-a923-4f14-8587-531c474c7b48" providerId="ADAL" clId="{6ECD27E6-B224-41CD-B4E0-E297462320DD}" dt="2023-11-24T08:35:34.622" v="23538"/>
          <ac:spMkLst>
            <pc:docMk/>
            <pc:sldMk cId="3298264326" sldId="2147478565"/>
            <ac:spMk id="164" creationId="{C593777E-672C-1C2A-153F-825DE62BCBD9}"/>
          </ac:spMkLst>
        </pc:spChg>
        <pc:spChg chg="add del mod">
          <ac:chgData name="Steiner Andreas 6206 ED" userId="e6377c33-a923-4f14-8587-531c474c7b48" providerId="ADAL" clId="{6ECD27E6-B224-41CD-B4E0-E297462320DD}" dt="2023-11-24T08:35:36.944" v="23693"/>
          <ac:spMkLst>
            <pc:docMk/>
            <pc:sldMk cId="3298264326" sldId="2147478565"/>
            <ac:spMk id="165" creationId="{69402E9A-BB34-24D8-79CB-FFBEB28A2553}"/>
          </ac:spMkLst>
        </pc:spChg>
        <pc:spChg chg="add del mod">
          <ac:chgData name="Steiner Andreas 6206 ED" userId="e6377c33-a923-4f14-8587-531c474c7b48" providerId="ADAL" clId="{6ECD27E6-B224-41CD-B4E0-E297462320DD}" dt="2023-11-24T08:35:39.352" v="23848"/>
          <ac:spMkLst>
            <pc:docMk/>
            <pc:sldMk cId="3298264326" sldId="2147478565"/>
            <ac:spMk id="166" creationId="{2BD4CE32-547D-6E46-CB86-A48CBD928E0A}"/>
          </ac:spMkLst>
        </pc:spChg>
        <pc:spChg chg="add del mod">
          <ac:chgData name="Steiner Andreas 6206 ED" userId="e6377c33-a923-4f14-8587-531c474c7b48" providerId="ADAL" clId="{6ECD27E6-B224-41CD-B4E0-E297462320DD}" dt="2023-11-24T08:35:42.020" v="24003"/>
          <ac:spMkLst>
            <pc:docMk/>
            <pc:sldMk cId="3298264326" sldId="2147478565"/>
            <ac:spMk id="167" creationId="{DF31DE47-C4B6-5E16-D632-D9E158513164}"/>
          </ac:spMkLst>
        </pc:spChg>
        <pc:spChg chg="add del mod">
          <ac:chgData name="Steiner Andreas 6206 ED" userId="e6377c33-a923-4f14-8587-531c474c7b48" providerId="ADAL" clId="{6ECD27E6-B224-41CD-B4E0-E297462320DD}" dt="2023-11-24T08:35:44.491" v="24158"/>
          <ac:spMkLst>
            <pc:docMk/>
            <pc:sldMk cId="3298264326" sldId="2147478565"/>
            <ac:spMk id="168" creationId="{5252A088-9DEB-567B-0B55-4817B2F7FC95}"/>
          </ac:spMkLst>
        </pc:spChg>
        <pc:spChg chg="add del mod">
          <ac:chgData name="Steiner Andreas 6206 ED" userId="e6377c33-a923-4f14-8587-531c474c7b48" providerId="ADAL" clId="{6ECD27E6-B224-41CD-B4E0-E297462320DD}" dt="2023-11-24T08:35:46.758" v="24313"/>
          <ac:spMkLst>
            <pc:docMk/>
            <pc:sldMk cId="3298264326" sldId="2147478565"/>
            <ac:spMk id="169" creationId="{93754969-889F-D6C2-04C7-7F89E77419D9}"/>
          </ac:spMkLst>
        </pc:spChg>
        <pc:spChg chg="add del mod">
          <ac:chgData name="Steiner Andreas 6206 ED" userId="e6377c33-a923-4f14-8587-531c474c7b48" providerId="ADAL" clId="{6ECD27E6-B224-41CD-B4E0-E297462320DD}" dt="2023-11-24T08:35:49.016" v="24468"/>
          <ac:spMkLst>
            <pc:docMk/>
            <pc:sldMk cId="3298264326" sldId="2147478565"/>
            <ac:spMk id="170" creationId="{CE27770F-0A9F-3A9F-B1C7-275FE0D27501}"/>
          </ac:spMkLst>
        </pc:spChg>
        <pc:spChg chg="add del mod">
          <ac:chgData name="Steiner Andreas 6206 ED" userId="e6377c33-a923-4f14-8587-531c474c7b48" providerId="ADAL" clId="{6ECD27E6-B224-41CD-B4E0-E297462320DD}" dt="2023-11-24T08:35:51.303" v="24623"/>
          <ac:spMkLst>
            <pc:docMk/>
            <pc:sldMk cId="3298264326" sldId="2147478565"/>
            <ac:spMk id="171" creationId="{BCFE3478-51F3-9963-C7C2-2AA76276044F}"/>
          </ac:spMkLst>
        </pc:spChg>
        <pc:spChg chg="add del mod">
          <ac:chgData name="Steiner Andreas 6206 ED" userId="e6377c33-a923-4f14-8587-531c474c7b48" providerId="ADAL" clId="{6ECD27E6-B224-41CD-B4E0-E297462320DD}" dt="2023-11-24T08:35:54.237" v="24778"/>
          <ac:spMkLst>
            <pc:docMk/>
            <pc:sldMk cId="3298264326" sldId="2147478565"/>
            <ac:spMk id="172" creationId="{CCE7C3E2-FCD3-9281-B421-EE71ACD26080}"/>
          </ac:spMkLst>
        </pc:spChg>
        <pc:spChg chg="add del mod">
          <ac:chgData name="Steiner Andreas 6206 ED" userId="e6377c33-a923-4f14-8587-531c474c7b48" providerId="ADAL" clId="{6ECD27E6-B224-41CD-B4E0-E297462320DD}" dt="2023-11-24T08:35:56.689" v="24933"/>
          <ac:spMkLst>
            <pc:docMk/>
            <pc:sldMk cId="3298264326" sldId="2147478565"/>
            <ac:spMk id="173" creationId="{F83B8BCA-1705-75B5-05F3-13825EE23658}"/>
          </ac:spMkLst>
        </pc:spChg>
        <pc:spChg chg="add del mod">
          <ac:chgData name="Steiner Andreas 6206 ED" userId="e6377c33-a923-4f14-8587-531c474c7b48" providerId="ADAL" clId="{6ECD27E6-B224-41CD-B4E0-E297462320DD}" dt="2023-11-24T08:35:59.235" v="25088"/>
          <ac:spMkLst>
            <pc:docMk/>
            <pc:sldMk cId="3298264326" sldId="2147478565"/>
            <ac:spMk id="174" creationId="{88318A38-AA8A-11AA-A25E-EAE877D97317}"/>
          </ac:spMkLst>
        </pc:spChg>
        <pc:spChg chg="add del mod">
          <ac:chgData name="Steiner Andreas 6206 ED" userId="e6377c33-a923-4f14-8587-531c474c7b48" providerId="ADAL" clId="{6ECD27E6-B224-41CD-B4E0-E297462320DD}" dt="2023-11-24T08:36:01.754" v="25243"/>
          <ac:spMkLst>
            <pc:docMk/>
            <pc:sldMk cId="3298264326" sldId="2147478565"/>
            <ac:spMk id="175" creationId="{3CAD2157-8194-A2AC-3ECC-40737B0FA985}"/>
          </ac:spMkLst>
        </pc:spChg>
        <pc:spChg chg="add del mod">
          <ac:chgData name="Steiner Andreas 6206 ED" userId="e6377c33-a923-4f14-8587-531c474c7b48" providerId="ADAL" clId="{6ECD27E6-B224-41CD-B4E0-E297462320DD}" dt="2023-11-24T08:36:04.348" v="25398"/>
          <ac:spMkLst>
            <pc:docMk/>
            <pc:sldMk cId="3298264326" sldId="2147478565"/>
            <ac:spMk id="176" creationId="{28225F0D-A3CD-AC2E-E8C2-CF3A02873BF3}"/>
          </ac:spMkLst>
        </pc:spChg>
        <pc:spChg chg="add del mod">
          <ac:chgData name="Steiner Andreas 6206 ED" userId="e6377c33-a923-4f14-8587-531c474c7b48" providerId="ADAL" clId="{6ECD27E6-B224-41CD-B4E0-E297462320DD}" dt="2023-11-24T08:36:06.851" v="25553"/>
          <ac:spMkLst>
            <pc:docMk/>
            <pc:sldMk cId="3298264326" sldId="2147478565"/>
            <ac:spMk id="177" creationId="{741D5345-2F20-E4C9-3905-73F437A0955D}"/>
          </ac:spMkLst>
        </pc:spChg>
        <pc:spChg chg="add del mod">
          <ac:chgData name="Steiner Andreas 6206 ED" userId="e6377c33-a923-4f14-8587-531c474c7b48" providerId="ADAL" clId="{6ECD27E6-B224-41CD-B4E0-E297462320DD}" dt="2023-11-24T08:36:09.352" v="25708"/>
          <ac:spMkLst>
            <pc:docMk/>
            <pc:sldMk cId="3298264326" sldId="2147478565"/>
            <ac:spMk id="178" creationId="{E0E184E2-F82D-05A2-A2B3-52A62E5CA90C}"/>
          </ac:spMkLst>
        </pc:spChg>
        <pc:spChg chg="add del mod">
          <ac:chgData name="Steiner Andreas 6206 ED" userId="e6377c33-a923-4f14-8587-531c474c7b48" providerId="ADAL" clId="{6ECD27E6-B224-41CD-B4E0-E297462320DD}" dt="2023-11-24T08:36:11.864" v="25863"/>
          <ac:spMkLst>
            <pc:docMk/>
            <pc:sldMk cId="3298264326" sldId="2147478565"/>
            <ac:spMk id="179" creationId="{1B3B0E84-6F6E-7D46-31C3-A65AF091208A}"/>
          </ac:spMkLst>
        </pc:spChg>
        <pc:spChg chg="add del mod">
          <ac:chgData name="Steiner Andreas 6206 ED" userId="e6377c33-a923-4f14-8587-531c474c7b48" providerId="ADAL" clId="{6ECD27E6-B224-41CD-B4E0-E297462320DD}" dt="2023-11-24T08:36:14.256" v="26018"/>
          <ac:spMkLst>
            <pc:docMk/>
            <pc:sldMk cId="3298264326" sldId="2147478565"/>
            <ac:spMk id="180" creationId="{4866BF8E-F55F-E753-BD0A-9A8065352DF6}"/>
          </ac:spMkLst>
        </pc:spChg>
        <pc:spChg chg="add del mod">
          <ac:chgData name="Steiner Andreas 6206 ED" userId="e6377c33-a923-4f14-8587-531c474c7b48" providerId="ADAL" clId="{6ECD27E6-B224-41CD-B4E0-E297462320DD}" dt="2023-11-24T08:36:17.097" v="26173"/>
          <ac:spMkLst>
            <pc:docMk/>
            <pc:sldMk cId="3298264326" sldId="2147478565"/>
            <ac:spMk id="181" creationId="{51DB704B-C815-D03C-FF20-E85759F68C63}"/>
          </ac:spMkLst>
        </pc:spChg>
        <pc:spChg chg="add del mod">
          <ac:chgData name="Steiner Andreas 6206 ED" userId="e6377c33-a923-4f14-8587-531c474c7b48" providerId="ADAL" clId="{6ECD27E6-B224-41CD-B4E0-E297462320DD}" dt="2023-11-24T08:36:19.485" v="26328"/>
          <ac:spMkLst>
            <pc:docMk/>
            <pc:sldMk cId="3298264326" sldId="2147478565"/>
            <ac:spMk id="182" creationId="{26D0AA06-391B-2F88-4165-1C4CB6396154}"/>
          </ac:spMkLst>
        </pc:spChg>
        <pc:spChg chg="add del mod">
          <ac:chgData name="Steiner Andreas 6206 ED" userId="e6377c33-a923-4f14-8587-531c474c7b48" providerId="ADAL" clId="{6ECD27E6-B224-41CD-B4E0-E297462320DD}" dt="2023-11-24T08:36:21.761" v="26483"/>
          <ac:spMkLst>
            <pc:docMk/>
            <pc:sldMk cId="3298264326" sldId="2147478565"/>
            <ac:spMk id="183" creationId="{7921F985-925B-6B3F-6462-E926E58D5701}"/>
          </ac:spMkLst>
        </pc:spChg>
        <pc:spChg chg="add del mod">
          <ac:chgData name="Steiner Andreas 6206 ED" userId="e6377c33-a923-4f14-8587-531c474c7b48" providerId="ADAL" clId="{6ECD27E6-B224-41CD-B4E0-E297462320DD}" dt="2023-11-24T08:36:24.259" v="26638"/>
          <ac:spMkLst>
            <pc:docMk/>
            <pc:sldMk cId="3298264326" sldId="2147478565"/>
            <ac:spMk id="184" creationId="{27A60023-2F48-C58A-1B7D-AD1788010F8E}"/>
          </ac:spMkLst>
        </pc:spChg>
        <pc:spChg chg="add del mod">
          <ac:chgData name="Steiner Andreas 6206 ED" userId="e6377c33-a923-4f14-8587-531c474c7b48" providerId="ADAL" clId="{6ECD27E6-B224-41CD-B4E0-E297462320DD}" dt="2023-11-24T08:36:26.791" v="26793"/>
          <ac:spMkLst>
            <pc:docMk/>
            <pc:sldMk cId="3298264326" sldId="2147478565"/>
            <ac:spMk id="185" creationId="{D571C2BF-C710-FB7A-2F5B-7554DF0C8D42}"/>
          </ac:spMkLst>
        </pc:spChg>
        <pc:spChg chg="add del mod">
          <ac:chgData name="Steiner Andreas 6206 ED" userId="e6377c33-a923-4f14-8587-531c474c7b48" providerId="ADAL" clId="{6ECD27E6-B224-41CD-B4E0-E297462320DD}" dt="2023-11-24T08:36:29.676" v="26948"/>
          <ac:spMkLst>
            <pc:docMk/>
            <pc:sldMk cId="3298264326" sldId="2147478565"/>
            <ac:spMk id="186" creationId="{62A176F6-B2A4-15F6-1F10-DBD360A1CD9E}"/>
          </ac:spMkLst>
        </pc:spChg>
        <pc:spChg chg="add del mod">
          <ac:chgData name="Steiner Andreas 6206 ED" userId="e6377c33-a923-4f14-8587-531c474c7b48" providerId="ADAL" clId="{6ECD27E6-B224-41CD-B4E0-E297462320DD}" dt="2023-11-24T08:36:32.410" v="27103"/>
          <ac:spMkLst>
            <pc:docMk/>
            <pc:sldMk cId="3298264326" sldId="2147478565"/>
            <ac:spMk id="187" creationId="{C2281A0B-FC2F-5FBA-0B6A-B3E04894074C}"/>
          </ac:spMkLst>
        </pc:spChg>
        <pc:spChg chg="add del mod">
          <ac:chgData name="Steiner Andreas 6206 ED" userId="e6377c33-a923-4f14-8587-531c474c7b48" providerId="ADAL" clId="{6ECD27E6-B224-41CD-B4E0-E297462320DD}" dt="2023-11-24T08:36:34.921" v="27258"/>
          <ac:spMkLst>
            <pc:docMk/>
            <pc:sldMk cId="3298264326" sldId="2147478565"/>
            <ac:spMk id="188" creationId="{09216E89-5E24-5A12-B21C-F7D4DFA6E36F}"/>
          </ac:spMkLst>
        </pc:spChg>
        <pc:spChg chg="add del mod">
          <ac:chgData name="Steiner Andreas 6206 ED" userId="e6377c33-a923-4f14-8587-531c474c7b48" providerId="ADAL" clId="{6ECD27E6-B224-41CD-B4E0-E297462320DD}" dt="2023-11-24T08:36:37.460" v="27413"/>
          <ac:spMkLst>
            <pc:docMk/>
            <pc:sldMk cId="3298264326" sldId="2147478565"/>
            <ac:spMk id="189" creationId="{E8ED2FD6-1361-6261-272E-C7555C664456}"/>
          </ac:spMkLst>
        </pc:spChg>
        <pc:spChg chg="add del mod">
          <ac:chgData name="Steiner Andreas 6206 ED" userId="e6377c33-a923-4f14-8587-531c474c7b48" providerId="ADAL" clId="{6ECD27E6-B224-41CD-B4E0-E297462320DD}" dt="2023-11-24T08:36:40.135" v="27568"/>
          <ac:spMkLst>
            <pc:docMk/>
            <pc:sldMk cId="3298264326" sldId="2147478565"/>
            <ac:spMk id="190" creationId="{0FBAACA1-8893-A184-8F07-9A713DFD8800}"/>
          </ac:spMkLst>
        </pc:spChg>
        <pc:spChg chg="add del mod">
          <ac:chgData name="Steiner Andreas 6206 ED" userId="e6377c33-a923-4f14-8587-531c474c7b48" providerId="ADAL" clId="{6ECD27E6-B224-41CD-B4E0-E297462320DD}" dt="2023-11-24T08:36:42.831" v="27723"/>
          <ac:spMkLst>
            <pc:docMk/>
            <pc:sldMk cId="3298264326" sldId="2147478565"/>
            <ac:spMk id="191" creationId="{E54DA493-0980-D820-EB9A-10A4AFECA2A4}"/>
          </ac:spMkLst>
        </pc:spChg>
        <pc:spChg chg="add del mod">
          <ac:chgData name="Steiner Andreas 6206 ED" userId="e6377c33-a923-4f14-8587-531c474c7b48" providerId="ADAL" clId="{6ECD27E6-B224-41CD-B4E0-E297462320DD}" dt="2023-11-24T08:36:45.321" v="27878"/>
          <ac:spMkLst>
            <pc:docMk/>
            <pc:sldMk cId="3298264326" sldId="2147478565"/>
            <ac:spMk id="192" creationId="{511429AF-1912-497E-0683-9F2AC00261D2}"/>
          </ac:spMkLst>
        </pc:spChg>
        <pc:spChg chg="add del mod">
          <ac:chgData name="Steiner Andreas 6206 ED" userId="e6377c33-a923-4f14-8587-531c474c7b48" providerId="ADAL" clId="{6ECD27E6-B224-41CD-B4E0-E297462320DD}" dt="2023-11-24T08:36:47.748" v="28033"/>
          <ac:spMkLst>
            <pc:docMk/>
            <pc:sldMk cId="3298264326" sldId="2147478565"/>
            <ac:spMk id="193" creationId="{5F5D630C-7665-B6AC-47F6-45F4B24E1E83}"/>
          </ac:spMkLst>
        </pc:spChg>
        <pc:spChg chg="add del mod">
          <ac:chgData name="Steiner Andreas 6206 ED" userId="e6377c33-a923-4f14-8587-531c474c7b48" providerId="ADAL" clId="{6ECD27E6-B224-41CD-B4E0-E297462320DD}" dt="2023-11-24T08:36:50.250" v="28188"/>
          <ac:spMkLst>
            <pc:docMk/>
            <pc:sldMk cId="3298264326" sldId="2147478565"/>
            <ac:spMk id="194" creationId="{20178E56-8939-66BA-98ED-59C2ED87A3BA}"/>
          </ac:spMkLst>
        </pc:spChg>
        <pc:spChg chg="add del mod">
          <ac:chgData name="Steiner Andreas 6206 ED" userId="e6377c33-a923-4f14-8587-531c474c7b48" providerId="ADAL" clId="{6ECD27E6-B224-41CD-B4E0-E297462320DD}" dt="2023-11-24T08:36:53.296" v="28343"/>
          <ac:spMkLst>
            <pc:docMk/>
            <pc:sldMk cId="3298264326" sldId="2147478565"/>
            <ac:spMk id="195" creationId="{80955B6C-4905-2562-AACF-EE8A7E932D0A}"/>
          </ac:spMkLst>
        </pc:spChg>
        <pc:spChg chg="add del mod">
          <ac:chgData name="Steiner Andreas 6206 ED" userId="e6377c33-a923-4f14-8587-531c474c7b48" providerId="ADAL" clId="{6ECD27E6-B224-41CD-B4E0-E297462320DD}" dt="2023-11-24T08:36:56.374" v="28498"/>
          <ac:spMkLst>
            <pc:docMk/>
            <pc:sldMk cId="3298264326" sldId="2147478565"/>
            <ac:spMk id="196" creationId="{3FA31EF6-3DE0-2724-E23E-F5DD1E83D650}"/>
          </ac:spMkLst>
        </pc:spChg>
        <pc:spChg chg="add del mod">
          <ac:chgData name="Steiner Andreas 6206 ED" userId="e6377c33-a923-4f14-8587-531c474c7b48" providerId="ADAL" clId="{6ECD27E6-B224-41CD-B4E0-E297462320DD}" dt="2023-11-24T08:36:59.289" v="28653"/>
          <ac:spMkLst>
            <pc:docMk/>
            <pc:sldMk cId="3298264326" sldId="2147478565"/>
            <ac:spMk id="197" creationId="{65B13C79-A8B7-B83D-D5AF-03B3A18144AF}"/>
          </ac:spMkLst>
        </pc:spChg>
        <pc:spChg chg="add del mod">
          <ac:chgData name="Steiner Andreas 6206 ED" userId="e6377c33-a923-4f14-8587-531c474c7b48" providerId="ADAL" clId="{6ECD27E6-B224-41CD-B4E0-E297462320DD}" dt="2023-11-24T08:37:01.900" v="28808"/>
          <ac:spMkLst>
            <pc:docMk/>
            <pc:sldMk cId="3298264326" sldId="2147478565"/>
            <ac:spMk id="198" creationId="{1FAFFFA4-A6B8-7703-71E2-2B5FCD824BB4}"/>
          </ac:spMkLst>
        </pc:spChg>
        <pc:spChg chg="add del mod">
          <ac:chgData name="Steiner Andreas 6206 ED" userId="e6377c33-a923-4f14-8587-531c474c7b48" providerId="ADAL" clId="{6ECD27E6-B224-41CD-B4E0-E297462320DD}" dt="2023-11-24T08:37:04.654" v="28963"/>
          <ac:spMkLst>
            <pc:docMk/>
            <pc:sldMk cId="3298264326" sldId="2147478565"/>
            <ac:spMk id="199" creationId="{22B96C8C-2AD8-D90E-E4F5-C1D0A7D5B301}"/>
          </ac:spMkLst>
        </pc:spChg>
        <pc:spChg chg="add del mod">
          <ac:chgData name="Steiner Andreas 6206 ED" userId="e6377c33-a923-4f14-8587-531c474c7b48" providerId="ADAL" clId="{6ECD27E6-B224-41CD-B4E0-E297462320DD}" dt="2023-11-24T08:37:07.481" v="29118"/>
          <ac:spMkLst>
            <pc:docMk/>
            <pc:sldMk cId="3298264326" sldId="2147478565"/>
            <ac:spMk id="200" creationId="{A9B262DE-8146-3ABB-002B-61DAC55A95B4}"/>
          </ac:spMkLst>
        </pc:spChg>
        <pc:spChg chg="add del mod">
          <ac:chgData name="Steiner Andreas 6206 ED" userId="e6377c33-a923-4f14-8587-531c474c7b48" providerId="ADAL" clId="{6ECD27E6-B224-41CD-B4E0-E297462320DD}" dt="2023-11-24T08:37:10.081" v="29273"/>
          <ac:spMkLst>
            <pc:docMk/>
            <pc:sldMk cId="3298264326" sldId="2147478565"/>
            <ac:spMk id="201" creationId="{A9BDDD91-82AA-078D-FF13-D48DECC0A469}"/>
          </ac:spMkLst>
        </pc:spChg>
        <pc:spChg chg="add del mod">
          <ac:chgData name="Steiner Andreas 6206 ED" userId="e6377c33-a923-4f14-8587-531c474c7b48" providerId="ADAL" clId="{6ECD27E6-B224-41CD-B4E0-E297462320DD}" dt="2023-11-24T08:37:12.776" v="29428"/>
          <ac:spMkLst>
            <pc:docMk/>
            <pc:sldMk cId="3298264326" sldId="2147478565"/>
            <ac:spMk id="202" creationId="{78E18593-F461-5685-F2D9-DA2E0FA729FB}"/>
          </ac:spMkLst>
        </pc:spChg>
        <pc:spChg chg="add del mod">
          <ac:chgData name="Steiner Andreas 6206 ED" userId="e6377c33-a923-4f14-8587-531c474c7b48" providerId="ADAL" clId="{6ECD27E6-B224-41CD-B4E0-E297462320DD}" dt="2023-11-24T08:37:16.140" v="29583"/>
          <ac:spMkLst>
            <pc:docMk/>
            <pc:sldMk cId="3298264326" sldId="2147478565"/>
            <ac:spMk id="203" creationId="{C99FE04F-C880-9CB0-9258-8BE857937119}"/>
          </ac:spMkLst>
        </pc:spChg>
        <pc:spChg chg="add del mod">
          <ac:chgData name="Steiner Andreas 6206 ED" userId="e6377c33-a923-4f14-8587-531c474c7b48" providerId="ADAL" clId="{6ECD27E6-B224-41CD-B4E0-E297462320DD}" dt="2023-11-24T08:37:18.890" v="29738"/>
          <ac:spMkLst>
            <pc:docMk/>
            <pc:sldMk cId="3298264326" sldId="2147478565"/>
            <ac:spMk id="204" creationId="{7C765502-6C3E-9EFB-3829-93B8686D9532}"/>
          </ac:spMkLst>
        </pc:spChg>
        <pc:spChg chg="add del mod">
          <ac:chgData name="Steiner Andreas 6206 ED" userId="e6377c33-a923-4f14-8587-531c474c7b48" providerId="ADAL" clId="{6ECD27E6-B224-41CD-B4E0-E297462320DD}" dt="2023-11-24T08:37:21.342" v="29893"/>
          <ac:spMkLst>
            <pc:docMk/>
            <pc:sldMk cId="3298264326" sldId="2147478565"/>
            <ac:spMk id="205" creationId="{B9DF9B4E-4230-6B58-7B29-D68B6DB1F108}"/>
          </ac:spMkLst>
        </pc:spChg>
        <pc:spChg chg="add del mod">
          <ac:chgData name="Steiner Andreas 6206 ED" userId="e6377c33-a923-4f14-8587-531c474c7b48" providerId="ADAL" clId="{6ECD27E6-B224-41CD-B4E0-E297462320DD}" dt="2023-11-24T08:37:24.200" v="30048"/>
          <ac:spMkLst>
            <pc:docMk/>
            <pc:sldMk cId="3298264326" sldId="2147478565"/>
            <ac:spMk id="206" creationId="{78448982-6C44-E073-A9AF-07AF004AB9E8}"/>
          </ac:spMkLst>
        </pc:spChg>
        <pc:spChg chg="add del mod">
          <ac:chgData name="Steiner Andreas 6206 ED" userId="e6377c33-a923-4f14-8587-531c474c7b48" providerId="ADAL" clId="{6ECD27E6-B224-41CD-B4E0-E297462320DD}" dt="2023-11-24T08:37:26.733" v="30203"/>
          <ac:spMkLst>
            <pc:docMk/>
            <pc:sldMk cId="3298264326" sldId="2147478565"/>
            <ac:spMk id="207" creationId="{A19E5C1F-E28C-8B6A-74D6-82CC30F6B353}"/>
          </ac:spMkLst>
        </pc:spChg>
        <pc:spChg chg="add del mod">
          <ac:chgData name="Steiner Andreas 6206 ED" userId="e6377c33-a923-4f14-8587-531c474c7b48" providerId="ADAL" clId="{6ECD27E6-B224-41CD-B4E0-E297462320DD}" dt="2023-11-24T08:37:30.065" v="30358"/>
          <ac:spMkLst>
            <pc:docMk/>
            <pc:sldMk cId="3298264326" sldId="2147478565"/>
            <ac:spMk id="208" creationId="{51B74D8B-8CCA-F276-6525-FDB7C29FF458}"/>
          </ac:spMkLst>
        </pc:spChg>
        <pc:spChg chg="add del mod">
          <ac:chgData name="Steiner Andreas 6206 ED" userId="e6377c33-a923-4f14-8587-531c474c7b48" providerId="ADAL" clId="{6ECD27E6-B224-41CD-B4E0-E297462320DD}" dt="2023-11-24T08:37:32.905" v="30513"/>
          <ac:spMkLst>
            <pc:docMk/>
            <pc:sldMk cId="3298264326" sldId="2147478565"/>
            <ac:spMk id="209" creationId="{98A0B2D5-5951-6FFE-126A-0A21AF833079}"/>
          </ac:spMkLst>
        </pc:spChg>
        <pc:spChg chg="add del mod">
          <ac:chgData name="Steiner Andreas 6206 ED" userId="e6377c33-a923-4f14-8587-531c474c7b48" providerId="ADAL" clId="{6ECD27E6-B224-41CD-B4E0-E297462320DD}" dt="2023-11-24T08:37:35.567" v="30668"/>
          <ac:spMkLst>
            <pc:docMk/>
            <pc:sldMk cId="3298264326" sldId="2147478565"/>
            <ac:spMk id="210" creationId="{82DC86C1-FB7B-33AC-B1B0-2C8B2B3638FE}"/>
          </ac:spMkLst>
        </pc:spChg>
        <pc:spChg chg="add del mod">
          <ac:chgData name="Steiner Andreas 6206 ED" userId="e6377c33-a923-4f14-8587-531c474c7b48" providerId="ADAL" clId="{6ECD27E6-B224-41CD-B4E0-E297462320DD}" dt="2023-11-24T08:37:38.135" v="30823"/>
          <ac:spMkLst>
            <pc:docMk/>
            <pc:sldMk cId="3298264326" sldId="2147478565"/>
            <ac:spMk id="211" creationId="{004C69CF-51E0-0667-866D-ADFAF3F49335}"/>
          </ac:spMkLst>
        </pc:spChg>
        <pc:spChg chg="add del mod">
          <ac:chgData name="Steiner Andreas 6206 ED" userId="e6377c33-a923-4f14-8587-531c474c7b48" providerId="ADAL" clId="{6ECD27E6-B224-41CD-B4E0-E297462320DD}" dt="2023-11-24T08:37:42.198" v="30978"/>
          <ac:spMkLst>
            <pc:docMk/>
            <pc:sldMk cId="3298264326" sldId="2147478565"/>
            <ac:spMk id="212" creationId="{9C1BE5B8-3986-FF76-8429-E4FC7EDA8A34}"/>
          </ac:spMkLst>
        </pc:spChg>
        <pc:spChg chg="add del mod">
          <ac:chgData name="Steiner Andreas 6206 ED" userId="e6377c33-a923-4f14-8587-531c474c7b48" providerId="ADAL" clId="{6ECD27E6-B224-41CD-B4E0-E297462320DD}" dt="2023-11-24T08:37:45.129" v="31133"/>
          <ac:spMkLst>
            <pc:docMk/>
            <pc:sldMk cId="3298264326" sldId="2147478565"/>
            <ac:spMk id="213" creationId="{8D4B29F3-7D1D-331B-A966-CA7B85CE7C14}"/>
          </ac:spMkLst>
        </pc:spChg>
        <pc:spChg chg="add del mod">
          <ac:chgData name="Steiner Andreas 6206 ED" userId="e6377c33-a923-4f14-8587-531c474c7b48" providerId="ADAL" clId="{6ECD27E6-B224-41CD-B4E0-E297462320DD}" dt="2023-11-24T08:37:47.939" v="31288"/>
          <ac:spMkLst>
            <pc:docMk/>
            <pc:sldMk cId="3298264326" sldId="2147478565"/>
            <ac:spMk id="214" creationId="{93702A31-1CC9-80E6-C9EF-A99632CC4423}"/>
          </ac:spMkLst>
        </pc:spChg>
        <pc:spChg chg="add del mod">
          <ac:chgData name="Steiner Andreas 6206 ED" userId="e6377c33-a923-4f14-8587-531c474c7b48" providerId="ADAL" clId="{6ECD27E6-B224-41CD-B4E0-E297462320DD}" dt="2023-11-24T08:37:50.641" v="31443"/>
          <ac:spMkLst>
            <pc:docMk/>
            <pc:sldMk cId="3298264326" sldId="2147478565"/>
            <ac:spMk id="215" creationId="{8CDC6997-C44A-3207-9277-37DB2466D1BC}"/>
          </ac:spMkLst>
        </pc:spChg>
        <pc:spChg chg="add del mod">
          <ac:chgData name="Steiner Andreas 6206 ED" userId="e6377c33-a923-4f14-8587-531c474c7b48" providerId="ADAL" clId="{6ECD27E6-B224-41CD-B4E0-E297462320DD}" dt="2023-11-24T08:37:53.241" v="31598"/>
          <ac:spMkLst>
            <pc:docMk/>
            <pc:sldMk cId="3298264326" sldId="2147478565"/>
            <ac:spMk id="216" creationId="{C3447A4E-F2D4-319A-023A-F8859B44D437}"/>
          </ac:spMkLst>
        </pc:spChg>
        <pc:spChg chg="add del mod">
          <ac:chgData name="Steiner Andreas 6206 ED" userId="e6377c33-a923-4f14-8587-531c474c7b48" providerId="ADAL" clId="{6ECD27E6-B224-41CD-B4E0-E297462320DD}" dt="2023-11-24T08:37:57.389" v="31753"/>
          <ac:spMkLst>
            <pc:docMk/>
            <pc:sldMk cId="3298264326" sldId="2147478565"/>
            <ac:spMk id="217" creationId="{0A7CEEE3-283F-F9E4-4AE2-A4329FB9691D}"/>
          </ac:spMkLst>
        </pc:spChg>
        <pc:spChg chg="add del mod">
          <ac:chgData name="Steiner Andreas 6206 ED" userId="e6377c33-a923-4f14-8587-531c474c7b48" providerId="ADAL" clId="{6ECD27E6-B224-41CD-B4E0-E297462320DD}" dt="2023-11-24T08:38:00.172" v="31908"/>
          <ac:spMkLst>
            <pc:docMk/>
            <pc:sldMk cId="3298264326" sldId="2147478565"/>
            <ac:spMk id="218" creationId="{90219A01-1787-0823-0871-7EE885DB3CBC}"/>
          </ac:spMkLst>
        </pc:spChg>
        <pc:spChg chg="add del mod">
          <ac:chgData name="Steiner Andreas 6206 ED" userId="e6377c33-a923-4f14-8587-531c474c7b48" providerId="ADAL" clId="{6ECD27E6-B224-41CD-B4E0-E297462320DD}" dt="2023-11-24T08:38:03.109" v="32063"/>
          <ac:spMkLst>
            <pc:docMk/>
            <pc:sldMk cId="3298264326" sldId="2147478565"/>
            <ac:spMk id="219" creationId="{0219BC1E-8693-0375-750D-7B9A14691D9E}"/>
          </ac:spMkLst>
        </pc:spChg>
        <pc:spChg chg="add del mod">
          <ac:chgData name="Steiner Andreas 6206 ED" userId="e6377c33-a923-4f14-8587-531c474c7b48" providerId="ADAL" clId="{6ECD27E6-B224-41CD-B4E0-E297462320DD}" dt="2023-11-24T08:38:06.015" v="32218"/>
          <ac:spMkLst>
            <pc:docMk/>
            <pc:sldMk cId="3298264326" sldId="2147478565"/>
            <ac:spMk id="220" creationId="{32F690D7-E534-3C58-CC45-43F5C7941E42}"/>
          </ac:spMkLst>
        </pc:spChg>
        <pc:spChg chg="add del mod">
          <ac:chgData name="Steiner Andreas 6206 ED" userId="e6377c33-a923-4f14-8587-531c474c7b48" providerId="ADAL" clId="{6ECD27E6-B224-41CD-B4E0-E297462320DD}" dt="2023-11-24T08:38:09.226" v="32373"/>
          <ac:spMkLst>
            <pc:docMk/>
            <pc:sldMk cId="3298264326" sldId="2147478565"/>
            <ac:spMk id="221" creationId="{A397E40E-2537-8F88-CE8C-0A394C639259}"/>
          </ac:spMkLst>
        </pc:spChg>
        <pc:spChg chg="add del mod">
          <ac:chgData name="Steiner Andreas 6206 ED" userId="e6377c33-a923-4f14-8587-531c474c7b48" providerId="ADAL" clId="{6ECD27E6-B224-41CD-B4E0-E297462320DD}" dt="2023-11-24T08:38:11.920" v="32528"/>
          <ac:spMkLst>
            <pc:docMk/>
            <pc:sldMk cId="3298264326" sldId="2147478565"/>
            <ac:spMk id="222" creationId="{90DF2A90-0420-DDFC-9762-8445F1EC68EA}"/>
          </ac:spMkLst>
        </pc:spChg>
        <pc:spChg chg="add del mod">
          <ac:chgData name="Steiner Andreas 6206 ED" userId="e6377c33-a923-4f14-8587-531c474c7b48" providerId="ADAL" clId="{6ECD27E6-B224-41CD-B4E0-E297462320DD}" dt="2023-11-24T08:38:14.519" v="32683"/>
          <ac:spMkLst>
            <pc:docMk/>
            <pc:sldMk cId="3298264326" sldId="2147478565"/>
            <ac:spMk id="223" creationId="{C2178648-74E4-944A-966F-B5AF16905E04}"/>
          </ac:spMkLst>
        </pc:spChg>
        <pc:spChg chg="add del mod">
          <ac:chgData name="Steiner Andreas 6206 ED" userId="e6377c33-a923-4f14-8587-531c474c7b48" providerId="ADAL" clId="{6ECD27E6-B224-41CD-B4E0-E297462320DD}" dt="2023-11-24T08:38:17.257" v="32838"/>
          <ac:spMkLst>
            <pc:docMk/>
            <pc:sldMk cId="3298264326" sldId="2147478565"/>
            <ac:spMk id="224" creationId="{10934A11-7759-FB1A-2310-58FFC2479F99}"/>
          </ac:spMkLst>
        </pc:spChg>
        <pc:spChg chg="add del mod">
          <ac:chgData name="Steiner Andreas 6206 ED" userId="e6377c33-a923-4f14-8587-531c474c7b48" providerId="ADAL" clId="{6ECD27E6-B224-41CD-B4E0-E297462320DD}" dt="2023-11-24T08:38:20.250" v="32993"/>
          <ac:spMkLst>
            <pc:docMk/>
            <pc:sldMk cId="3298264326" sldId="2147478565"/>
            <ac:spMk id="225" creationId="{EFD5D277-8B6F-F1A7-F5AD-6840480F764E}"/>
          </ac:spMkLst>
        </pc:spChg>
        <pc:spChg chg="add del mod">
          <ac:chgData name="Steiner Andreas 6206 ED" userId="e6377c33-a923-4f14-8587-531c474c7b48" providerId="ADAL" clId="{6ECD27E6-B224-41CD-B4E0-E297462320DD}" dt="2023-11-24T08:38:23.098" v="33148"/>
          <ac:spMkLst>
            <pc:docMk/>
            <pc:sldMk cId="3298264326" sldId="2147478565"/>
            <ac:spMk id="226" creationId="{A394409B-FC59-5B2D-13B3-6EB9E0A32BDB}"/>
          </ac:spMkLst>
        </pc:spChg>
        <pc:spChg chg="add del mod">
          <ac:chgData name="Steiner Andreas 6206 ED" userId="e6377c33-a923-4f14-8587-531c474c7b48" providerId="ADAL" clId="{6ECD27E6-B224-41CD-B4E0-E297462320DD}" dt="2023-11-24T08:38:25.904" v="33303"/>
          <ac:spMkLst>
            <pc:docMk/>
            <pc:sldMk cId="3298264326" sldId="2147478565"/>
            <ac:spMk id="227" creationId="{6F2058AF-53E4-6E18-5839-B63C9DB70A17}"/>
          </ac:spMkLst>
        </pc:spChg>
        <pc:spChg chg="add del mod">
          <ac:chgData name="Steiner Andreas 6206 ED" userId="e6377c33-a923-4f14-8587-531c474c7b48" providerId="ADAL" clId="{6ECD27E6-B224-41CD-B4E0-E297462320DD}" dt="2023-11-24T08:38:29.568" v="33458"/>
          <ac:spMkLst>
            <pc:docMk/>
            <pc:sldMk cId="3298264326" sldId="2147478565"/>
            <ac:spMk id="228" creationId="{FA83153B-77BD-89D9-75EB-4815BB7CEF08}"/>
          </ac:spMkLst>
        </pc:spChg>
        <pc:spChg chg="add del mod">
          <ac:chgData name="Steiner Andreas 6206 ED" userId="e6377c33-a923-4f14-8587-531c474c7b48" providerId="ADAL" clId="{6ECD27E6-B224-41CD-B4E0-E297462320DD}" dt="2023-11-24T08:38:32.650" v="33613"/>
          <ac:spMkLst>
            <pc:docMk/>
            <pc:sldMk cId="3298264326" sldId="2147478565"/>
            <ac:spMk id="229" creationId="{8B6BE085-6CE9-D32E-BFA4-4E78A7678B20}"/>
          </ac:spMkLst>
        </pc:spChg>
        <pc:spChg chg="add del mod">
          <ac:chgData name="Steiner Andreas 6206 ED" userId="e6377c33-a923-4f14-8587-531c474c7b48" providerId="ADAL" clId="{6ECD27E6-B224-41CD-B4E0-E297462320DD}" dt="2023-11-24T08:38:35.293" v="33768"/>
          <ac:spMkLst>
            <pc:docMk/>
            <pc:sldMk cId="3298264326" sldId="2147478565"/>
            <ac:spMk id="230" creationId="{765675E2-8F23-24A7-7CD9-CFA273C28907}"/>
          </ac:spMkLst>
        </pc:spChg>
        <pc:spChg chg="add del mod">
          <ac:chgData name="Steiner Andreas 6206 ED" userId="e6377c33-a923-4f14-8587-531c474c7b48" providerId="ADAL" clId="{6ECD27E6-B224-41CD-B4E0-E297462320DD}" dt="2023-11-24T08:38:37.911" v="33923"/>
          <ac:spMkLst>
            <pc:docMk/>
            <pc:sldMk cId="3298264326" sldId="2147478565"/>
            <ac:spMk id="231" creationId="{BCB9D88F-5124-9E97-9D93-137D8E25F841}"/>
          </ac:spMkLst>
        </pc:spChg>
        <pc:spChg chg="add del mod">
          <ac:chgData name="Steiner Andreas 6206 ED" userId="e6377c33-a923-4f14-8587-531c474c7b48" providerId="ADAL" clId="{6ECD27E6-B224-41CD-B4E0-E297462320DD}" dt="2023-11-24T08:38:40.489" v="34078"/>
          <ac:spMkLst>
            <pc:docMk/>
            <pc:sldMk cId="3298264326" sldId="2147478565"/>
            <ac:spMk id="232" creationId="{18BAEAA5-330D-3053-EBB1-8F0073A90A1F}"/>
          </ac:spMkLst>
        </pc:spChg>
        <pc:spChg chg="add del mod">
          <ac:chgData name="Steiner Andreas 6206 ED" userId="e6377c33-a923-4f14-8587-531c474c7b48" providerId="ADAL" clId="{6ECD27E6-B224-41CD-B4E0-E297462320DD}" dt="2023-11-24T08:38:43.003" v="34233"/>
          <ac:spMkLst>
            <pc:docMk/>
            <pc:sldMk cId="3298264326" sldId="2147478565"/>
            <ac:spMk id="233" creationId="{6E201192-0FD9-944E-181E-C1183DE50228}"/>
          </ac:spMkLst>
        </pc:spChg>
        <pc:spChg chg="add del mod">
          <ac:chgData name="Steiner Andreas 6206 ED" userId="e6377c33-a923-4f14-8587-531c474c7b48" providerId="ADAL" clId="{6ECD27E6-B224-41CD-B4E0-E297462320DD}" dt="2023-11-24T08:38:47.027" v="34388"/>
          <ac:spMkLst>
            <pc:docMk/>
            <pc:sldMk cId="3298264326" sldId="2147478565"/>
            <ac:spMk id="234" creationId="{DEAB5F9A-3AC5-2138-5576-7000BCA62A77}"/>
          </ac:spMkLst>
        </pc:spChg>
        <pc:spChg chg="add del mod">
          <ac:chgData name="Steiner Andreas 6206 ED" userId="e6377c33-a923-4f14-8587-531c474c7b48" providerId="ADAL" clId="{6ECD27E6-B224-41CD-B4E0-E297462320DD}" dt="2023-11-24T08:38:49.726" v="34543"/>
          <ac:spMkLst>
            <pc:docMk/>
            <pc:sldMk cId="3298264326" sldId="2147478565"/>
            <ac:spMk id="235" creationId="{6C6E80DA-6150-DB7E-3D2E-82B1A5697A03}"/>
          </ac:spMkLst>
        </pc:spChg>
        <pc:spChg chg="add del mod">
          <ac:chgData name="Steiner Andreas 6206 ED" userId="e6377c33-a923-4f14-8587-531c474c7b48" providerId="ADAL" clId="{6ECD27E6-B224-41CD-B4E0-E297462320DD}" dt="2023-11-24T08:38:52.551" v="34698"/>
          <ac:spMkLst>
            <pc:docMk/>
            <pc:sldMk cId="3298264326" sldId="2147478565"/>
            <ac:spMk id="236" creationId="{000C3339-3368-71B6-6CEA-DBD64B6ED39C}"/>
          </ac:spMkLst>
        </pc:spChg>
        <pc:spChg chg="add del mod">
          <ac:chgData name="Steiner Andreas 6206 ED" userId="e6377c33-a923-4f14-8587-531c474c7b48" providerId="ADAL" clId="{6ECD27E6-B224-41CD-B4E0-E297462320DD}" dt="2023-11-24T08:38:55.507" v="34853"/>
          <ac:spMkLst>
            <pc:docMk/>
            <pc:sldMk cId="3298264326" sldId="2147478565"/>
            <ac:spMk id="237" creationId="{A02FE2F9-E177-CFF1-6D6A-693C411690D7}"/>
          </ac:spMkLst>
        </pc:spChg>
        <pc:spChg chg="add del mod">
          <ac:chgData name="Steiner Andreas 6206 ED" userId="e6377c33-a923-4f14-8587-531c474c7b48" providerId="ADAL" clId="{6ECD27E6-B224-41CD-B4E0-E297462320DD}" dt="2023-11-24T08:38:58.734" v="35008"/>
          <ac:spMkLst>
            <pc:docMk/>
            <pc:sldMk cId="3298264326" sldId="2147478565"/>
            <ac:spMk id="238" creationId="{ADE9408D-5781-5362-EE40-7022A2AA24D3}"/>
          </ac:spMkLst>
        </pc:spChg>
        <pc:spChg chg="add del mod">
          <ac:chgData name="Steiner Andreas 6206 ED" userId="e6377c33-a923-4f14-8587-531c474c7b48" providerId="ADAL" clId="{6ECD27E6-B224-41CD-B4E0-E297462320DD}" dt="2023-11-24T08:39:02.347" v="35163"/>
          <ac:spMkLst>
            <pc:docMk/>
            <pc:sldMk cId="3298264326" sldId="2147478565"/>
            <ac:spMk id="239" creationId="{FA5DA901-8844-3766-D788-FDD86352DFED}"/>
          </ac:spMkLst>
        </pc:spChg>
        <pc:spChg chg="add del mod">
          <ac:chgData name="Steiner Andreas 6206 ED" userId="e6377c33-a923-4f14-8587-531c474c7b48" providerId="ADAL" clId="{6ECD27E6-B224-41CD-B4E0-E297462320DD}" dt="2023-11-24T08:39:05.370" v="35318"/>
          <ac:spMkLst>
            <pc:docMk/>
            <pc:sldMk cId="3298264326" sldId="2147478565"/>
            <ac:spMk id="240" creationId="{A2309F08-A715-4602-5805-BCCF789F398C}"/>
          </ac:spMkLst>
        </pc:spChg>
        <pc:spChg chg="add del mod">
          <ac:chgData name="Steiner Andreas 6206 ED" userId="e6377c33-a923-4f14-8587-531c474c7b48" providerId="ADAL" clId="{6ECD27E6-B224-41CD-B4E0-E297462320DD}" dt="2023-11-24T08:39:08.311" v="35473"/>
          <ac:spMkLst>
            <pc:docMk/>
            <pc:sldMk cId="3298264326" sldId="2147478565"/>
            <ac:spMk id="241" creationId="{0EA927D6-313C-9E1A-C76B-98E8EBF1FD71}"/>
          </ac:spMkLst>
        </pc:spChg>
        <pc:spChg chg="add del mod">
          <ac:chgData name="Steiner Andreas 6206 ED" userId="e6377c33-a923-4f14-8587-531c474c7b48" providerId="ADAL" clId="{6ECD27E6-B224-41CD-B4E0-E297462320DD}" dt="2023-11-24T08:39:12.871" v="35628"/>
          <ac:spMkLst>
            <pc:docMk/>
            <pc:sldMk cId="3298264326" sldId="2147478565"/>
            <ac:spMk id="242" creationId="{1D47367B-2437-2D0B-068A-F8F480586DCD}"/>
          </ac:spMkLst>
        </pc:spChg>
        <pc:spChg chg="add del mod">
          <ac:chgData name="Steiner Andreas 6206 ED" userId="e6377c33-a923-4f14-8587-531c474c7b48" providerId="ADAL" clId="{6ECD27E6-B224-41CD-B4E0-E297462320DD}" dt="2023-11-24T08:39:15.529" v="35783"/>
          <ac:spMkLst>
            <pc:docMk/>
            <pc:sldMk cId="3298264326" sldId="2147478565"/>
            <ac:spMk id="243" creationId="{D9946E32-1DBB-A502-C0F9-522E6765E65E}"/>
          </ac:spMkLst>
        </pc:spChg>
        <pc:spChg chg="add del mod">
          <ac:chgData name="Steiner Andreas 6206 ED" userId="e6377c33-a923-4f14-8587-531c474c7b48" providerId="ADAL" clId="{6ECD27E6-B224-41CD-B4E0-E297462320DD}" dt="2023-11-24T08:39:18.209" v="35938"/>
          <ac:spMkLst>
            <pc:docMk/>
            <pc:sldMk cId="3298264326" sldId="2147478565"/>
            <ac:spMk id="244" creationId="{C3887E92-B62E-72A6-9CA3-3A47AD2E2E19}"/>
          </ac:spMkLst>
        </pc:spChg>
        <pc:spChg chg="add del mod">
          <ac:chgData name="Steiner Andreas 6206 ED" userId="e6377c33-a923-4f14-8587-531c474c7b48" providerId="ADAL" clId="{6ECD27E6-B224-41CD-B4E0-E297462320DD}" dt="2023-11-24T08:39:20.819" v="36093"/>
          <ac:spMkLst>
            <pc:docMk/>
            <pc:sldMk cId="3298264326" sldId="2147478565"/>
            <ac:spMk id="245" creationId="{87595E39-E179-3261-D6B8-669A813E699C}"/>
          </ac:spMkLst>
        </pc:spChg>
        <pc:spChg chg="add del mod">
          <ac:chgData name="Steiner Andreas 6206 ED" userId="e6377c33-a923-4f14-8587-531c474c7b48" providerId="ADAL" clId="{6ECD27E6-B224-41CD-B4E0-E297462320DD}" dt="2023-11-24T08:39:23.999" v="36248"/>
          <ac:spMkLst>
            <pc:docMk/>
            <pc:sldMk cId="3298264326" sldId="2147478565"/>
            <ac:spMk id="246" creationId="{6C048B92-E1C1-7050-4F8B-54DD07510A80}"/>
          </ac:spMkLst>
        </pc:spChg>
        <pc:spChg chg="add del mod">
          <ac:chgData name="Steiner Andreas 6206 ED" userId="e6377c33-a923-4f14-8587-531c474c7b48" providerId="ADAL" clId="{6ECD27E6-B224-41CD-B4E0-E297462320DD}" dt="2023-11-24T08:39:26.691" v="36403"/>
          <ac:spMkLst>
            <pc:docMk/>
            <pc:sldMk cId="3298264326" sldId="2147478565"/>
            <ac:spMk id="247" creationId="{0D7F49D2-4394-C948-0F2F-AA8C90D28667}"/>
          </ac:spMkLst>
        </pc:spChg>
        <pc:spChg chg="add del mod">
          <ac:chgData name="Steiner Andreas 6206 ED" userId="e6377c33-a923-4f14-8587-531c474c7b48" providerId="ADAL" clId="{6ECD27E6-B224-41CD-B4E0-E297462320DD}" dt="2023-11-24T08:39:29.477" v="36558"/>
          <ac:spMkLst>
            <pc:docMk/>
            <pc:sldMk cId="3298264326" sldId="2147478565"/>
            <ac:spMk id="248" creationId="{96DD96D0-DFA7-6B11-A84F-948BAA966BFB}"/>
          </ac:spMkLst>
        </pc:spChg>
        <pc:spChg chg="add del mod">
          <ac:chgData name="Steiner Andreas 6206 ED" userId="e6377c33-a923-4f14-8587-531c474c7b48" providerId="ADAL" clId="{6ECD27E6-B224-41CD-B4E0-E297462320DD}" dt="2023-11-24T08:39:32.039" v="36713"/>
          <ac:spMkLst>
            <pc:docMk/>
            <pc:sldMk cId="3298264326" sldId="2147478565"/>
            <ac:spMk id="249" creationId="{AD3140EE-675B-2F10-B593-F64410BE85AC}"/>
          </ac:spMkLst>
        </pc:spChg>
        <pc:spChg chg="add del mod">
          <ac:chgData name="Steiner Andreas 6206 ED" userId="e6377c33-a923-4f14-8587-531c474c7b48" providerId="ADAL" clId="{6ECD27E6-B224-41CD-B4E0-E297462320DD}" dt="2023-11-24T08:39:34.537" v="36868"/>
          <ac:spMkLst>
            <pc:docMk/>
            <pc:sldMk cId="3298264326" sldId="2147478565"/>
            <ac:spMk id="250" creationId="{939BF606-BE7E-F829-D56A-E520E6E36BE5}"/>
          </ac:spMkLst>
        </pc:spChg>
        <pc:spChg chg="add del mod">
          <ac:chgData name="Steiner Andreas 6206 ED" userId="e6377c33-a923-4f14-8587-531c474c7b48" providerId="ADAL" clId="{6ECD27E6-B224-41CD-B4E0-E297462320DD}" dt="2023-11-24T08:39:37.476" v="37023"/>
          <ac:spMkLst>
            <pc:docMk/>
            <pc:sldMk cId="3298264326" sldId="2147478565"/>
            <ac:spMk id="251" creationId="{111DFC48-07D6-8275-EA26-916052F05C33}"/>
          </ac:spMkLst>
        </pc:spChg>
        <pc:spChg chg="add del mod">
          <ac:chgData name="Steiner Andreas 6206 ED" userId="e6377c33-a923-4f14-8587-531c474c7b48" providerId="ADAL" clId="{6ECD27E6-B224-41CD-B4E0-E297462320DD}" dt="2023-11-24T08:39:40.091" v="37178"/>
          <ac:spMkLst>
            <pc:docMk/>
            <pc:sldMk cId="3298264326" sldId="2147478565"/>
            <ac:spMk id="252" creationId="{A77DECA5-08CB-96C9-7797-14725CC71042}"/>
          </ac:spMkLst>
        </pc:spChg>
        <pc:spChg chg="add del mod">
          <ac:chgData name="Steiner Andreas 6206 ED" userId="e6377c33-a923-4f14-8587-531c474c7b48" providerId="ADAL" clId="{6ECD27E6-B224-41CD-B4E0-E297462320DD}" dt="2023-11-24T08:39:42.531" v="37333"/>
          <ac:spMkLst>
            <pc:docMk/>
            <pc:sldMk cId="3298264326" sldId="2147478565"/>
            <ac:spMk id="253" creationId="{3A39C6D3-FD0B-2061-51F3-99162878FCBE}"/>
          </ac:spMkLst>
        </pc:spChg>
        <pc:spChg chg="add del mod">
          <ac:chgData name="Steiner Andreas 6206 ED" userId="e6377c33-a923-4f14-8587-531c474c7b48" providerId="ADAL" clId="{6ECD27E6-B224-41CD-B4E0-E297462320DD}" dt="2023-11-24T08:39:45.099" v="37488"/>
          <ac:spMkLst>
            <pc:docMk/>
            <pc:sldMk cId="3298264326" sldId="2147478565"/>
            <ac:spMk id="254" creationId="{CE58E0CF-7588-A8C1-62D8-300BAECA061F}"/>
          </ac:spMkLst>
        </pc:spChg>
        <pc:spChg chg="add del mod">
          <ac:chgData name="Steiner Andreas 6206 ED" userId="e6377c33-a923-4f14-8587-531c474c7b48" providerId="ADAL" clId="{6ECD27E6-B224-41CD-B4E0-E297462320DD}" dt="2023-11-24T08:39:48.136" v="37643"/>
          <ac:spMkLst>
            <pc:docMk/>
            <pc:sldMk cId="3298264326" sldId="2147478565"/>
            <ac:spMk id="255" creationId="{476321F8-771E-9E4C-3BC5-524831F816E2}"/>
          </ac:spMkLst>
        </pc:spChg>
        <pc:spChg chg="add del mod">
          <ac:chgData name="Steiner Andreas 6206 ED" userId="e6377c33-a923-4f14-8587-531c474c7b48" providerId="ADAL" clId="{6ECD27E6-B224-41CD-B4E0-E297462320DD}" dt="2023-11-24T08:39:50.831" v="37798"/>
          <ac:spMkLst>
            <pc:docMk/>
            <pc:sldMk cId="3298264326" sldId="2147478565"/>
            <ac:spMk id="256" creationId="{2DB1C516-4365-484A-7DDE-D2BBC3F05DB1}"/>
          </ac:spMkLst>
        </pc:spChg>
        <pc:spChg chg="add del mod">
          <ac:chgData name="Steiner Andreas 6206 ED" userId="e6377c33-a923-4f14-8587-531c474c7b48" providerId="ADAL" clId="{6ECD27E6-B224-41CD-B4E0-E297462320DD}" dt="2023-11-24T08:39:53.492" v="37953"/>
          <ac:spMkLst>
            <pc:docMk/>
            <pc:sldMk cId="3298264326" sldId="2147478565"/>
            <ac:spMk id="257" creationId="{63C69318-02BA-694F-C7B6-0FE0F6F8AA12}"/>
          </ac:spMkLst>
        </pc:spChg>
        <pc:spChg chg="add del mod">
          <ac:chgData name="Steiner Andreas 6206 ED" userId="e6377c33-a923-4f14-8587-531c474c7b48" providerId="ADAL" clId="{6ECD27E6-B224-41CD-B4E0-E297462320DD}" dt="2023-11-24T08:39:56.422" v="38108"/>
          <ac:spMkLst>
            <pc:docMk/>
            <pc:sldMk cId="3298264326" sldId="2147478565"/>
            <ac:spMk id="258" creationId="{5372A640-4F42-AC20-380C-2CEA8C674E38}"/>
          </ac:spMkLst>
        </pc:spChg>
        <pc:spChg chg="add del mod">
          <ac:chgData name="Steiner Andreas 6206 ED" userId="e6377c33-a923-4f14-8587-531c474c7b48" providerId="ADAL" clId="{6ECD27E6-B224-41CD-B4E0-E297462320DD}" dt="2023-11-24T08:39:59.678" v="38263"/>
          <ac:spMkLst>
            <pc:docMk/>
            <pc:sldMk cId="3298264326" sldId="2147478565"/>
            <ac:spMk id="259" creationId="{11AEEBEB-63DE-7AE2-3C3B-B4CFCA986A50}"/>
          </ac:spMkLst>
        </pc:spChg>
        <pc:spChg chg="add del mod">
          <ac:chgData name="Steiner Andreas 6206 ED" userId="e6377c33-a923-4f14-8587-531c474c7b48" providerId="ADAL" clId="{6ECD27E6-B224-41CD-B4E0-E297462320DD}" dt="2023-11-24T08:40:02.872" v="38418"/>
          <ac:spMkLst>
            <pc:docMk/>
            <pc:sldMk cId="3298264326" sldId="2147478565"/>
            <ac:spMk id="260" creationId="{D3B1945A-0DCA-674B-4C26-B738AC69D42B}"/>
          </ac:spMkLst>
        </pc:spChg>
        <pc:spChg chg="add del mod">
          <ac:chgData name="Steiner Andreas 6206 ED" userId="e6377c33-a923-4f14-8587-531c474c7b48" providerId="ADAL" clId="{6ECD27E6-B224-41CD-B4E0-E297462320DD}" dt="2023-11-24T08:40:05.618" v="38573"/>
          <ac:spMkLst>
            <pc:docMk/>
            <pc:sldMk cId="3298264326" sldId="2147478565"/>
            <ac:spMk id="261" creationId="{37012BC0-F2F7-9835-38E6-3A8C32CF7A15}"/>
          </ac:spMkLst>
        </pc:spChg>
        <pc:spChg chg="add del mod">
          <ac:chgData name="Steiner Andreas 6206 ED" userId="e6377c33-a923-4f14-8587-531c474c7b48" providerId="ADAL" clId="{6ECD27E6-B224-41CD-B4E0-E297462320DD}" dt="2023-11-24T08:40:08.168" v="38728"/>
          <ac:spMkLst>
            <pc:docMk/>
            <pc:sldMk cId="3298264326" sldId="2147478565"/>
            <ac:spMk id="262" creationId="{96E04D4B-84AC-976F-4AC7-CBCEF8FE4CFE}"/>
          </ac:spMkLst>
        </pc:spChg>
        <pc:spChg chg="add del mod">
          <ac:chgData name="Steiner Andreas 6206 ED" userId="e6377c33-a923-4f14-8587-531c474c7b48" providerId="ADAL" clId="{6ECD27E6-B224-41CD-B4E0-E297462320DD}" dt="2023-11-24T08:40:10.873" v="38883"/>
          <ac:spMkLst>
            <pc:docMk/>
            <pc:sldMk cId="3298264326" sldId="2147478565"/>
            <ac:spMk id="263" creationId="{A3A88884-2945-7B00-AF13-6D72119FCCC2}"/>
          </ac:spMkLst>
        </pc:spChg>
        <pc:spChg chg="add del mod">
          <ac:chgData name="Steiner Andreas 6206 ED" userId="e6377c33-a923-4f14-8587-531c474c7b48" providerId="ADAL" clId="{6ECD27E6-B224-41CD-B4E0-E297462320DD}" dt="2023-11-24T08:40:14.094" v="39038"/>
          <ac:spMkLst>
            <pc:docMk/>
            <pc:sldMk cId="3298264326" sldId="2147478565"/>
            <ac:spMk id="264" creationId="{7B8261AD-521C-89DD-1B81-E2E4108CB146}"/>
          </ac:spMkLst>
        </pc:spChg>
        <pc:spChg chg="add del mod">
          <ac:chgData name="Steiner Andreas 6206 ED" userId="e6377c33-a923-4f14-8587-531c474c7b48" providerId="ADAL" clId="{6ECD27E6-B224-41CD-B4E0-E297462320DD}" dt="2023-11-24T08:40:16.749" v="39193"/>
          <ac:spMkLst>
            <pc:docMk/>
            <pc:sldMk cId="3298264326" sldId="2147478565"/>
            <ac:spMk id="265" creationId="{B42F3179-E2B6-E6D1-96F4-96034ED7A364}"/>
          </ac:spMkLst>
        </pc:spChg>
        <pc:spChg chg="add del mod">
          <ac:chgData name="Steiner Andreas 6206 ED" userId="e6377c33-a923-4f14-8587-531c474c7b48" providerId="ADAL" clId="{6ECD27E6-B224-41CD-B4E0-E297462320DD}" dt="2023-11-24T08:40:19.234" v="39348"/>
          <ac:spMkLst>
            <pc:docMk/>
            <pc:sldMk cId="3298264326" sldId="2147478565"/>
            <ac:spMk id="266" creationId="{4010FAC3-621C-697B-D286-B7FF3A50EDA8}"/>
          </ac:spMkLst>
        </pc:spChg>
        <pc:spChg chg="add del mod">
          <ac:chgData name="Steiner Andreas 6206 ED" userId="e6377c33-a923-4f14-8587-531c474c7b48" providerId="ADAL" clId="{6ECD27E6-B224-41CD-B4E0-E297462320DD}" dt="2023-11-24T08:40:21.670" v="39503"/>
          <ac:spMkLst>
            <pc:docMk/>
            <pc:sldMk cId="3298264326" sldId="2147478565"/>
            <ac:spMk id="267" creationId="{05D79150-D2CE-A94C-035E-B0A4E47C39B0}"/>
          </ac:spMkLst>
        </pc:spChg>
        <pc:spChg chg="add del mod">
          <ac:chgData name="Steiner Andreas 6206 ED" userId="e6377c33-a923-4f14-8587-531c474c7b48" providerId="ADAL" clId="{6ECD27E6-B224-41CD-B4E0-E297462320DD}" dt="2023-11-24T08:40:24.464" v="39658"/>
          <ac:spMkLst>
            <pc:docMk/>
            <pc:sldMk cId="3298264326" sldId="2147478565"/>
            <ac:spMk id="268" creationId="{200BB52C-D06D-07B5-32E7-AA1CB4DBE90B}"/>
          </ac:spMkLst>
        </pc:spChg>
        <pc:spChg chg="add del mod">
          <ac:chgData name="Steiner Andreas 6206 ED" userId="e6377c33-a923-4f14-8587-531c474c7b48" providerId="ADAL" clId="{6ECD27E6-B224-41CD-B4E0-E297462320DD}" dt="2023-11-24T08:40:27.407" v="39813"/>
          <ac:spMkLst>
            <pc:docMk/>
            <pc:sldMk cId="3298264326" sldId="2147478565"/>
            <ac:spMk id="269" creationId="{F24B0DBC-5E73-310B-8A44-DFE6C4F1014D}"/>
          </ac:spMkLst>
        </pc:spChg>
        <pc:spChg chg="add del mod">
          <ac:chgData name="Steiner Andreas 6206 ED" userId="e6377c33-a923-4f14-8587-531c474c7b48" providerId="ADAL" clId="{6ECD27E6-B224-41CD-B4E0-E297462320DD}" dt="2023-11-24T08:40:29.919" v="39968"/>
          <ac:spMkLst>
            <pc:docMk/>
            <pc:sldMk cId="3298264326" sldId="2147478565"/>
            <ac:spMk id="270" creationId="{A71D2F6F-8498-DAEE-7A63-8C8558B21653}"/>
          </ac:spMkLst>
        </pc:spChg>
        <pc:spChg chg="add del mod">
          <ac:chgData name="Steiner Andreas 6206 ED" userId="e6377c33-a923-4f14-8587-531c474c7b48" providerId="ADAL" clId="{6ECD27E6-B224-41CD-B4E0-E297462320DD}" dt="2023-11-24T08:40:32.596" v="40123"/>
          <ac:spMkLst>
            <pc:docMk/>
            <pc:sldMk cId="3298264326" sldId="2147478565"/>
            <ac:spMk id="271" creationId="{55D6FF2C-4352-C4E0-4256-6AB84A75D78A}"/>
          </ac:spMkLst>
        </pc:spChg>
        <pc:spChg chg="add del mod">
          <ac:chgData name="Steiner Andreas 6206 ED" userId="e6377c33-a923-4f14-8587-531c474c7b48" providerId="ADAL" clId="{6ECD27E6-B224-41CD-B4E0-E297462320DD}" dt="2023-11-24T08:40:35.064" v="40278"/>
          <ac:spMkLst>
            <pc:docMk/>
            <pc:sldMk cId="3298264326" sldId="2147478565"/>
            <ac:spMk id="272" creationId="{AEC51939-E6E2-E98C-7D3E-CD6E5094AA10}"/>
          </ac:spMkLst>
        </pc:spChg>
        <pc:spChg chg="add del mod">
          <ac:chgData name="Steiner Andreas 6206 ED" userId="e6377c33-a923-4f14-8587-531c474c7b48" providerId="ADAL" clId="{6ECD27E6-B224-41CD-B4E0-E297462320DD}" dt="2023-11-24T08:40:38.502" v="40433"/>
          <ac:spMkLst>
            <pc:docMk/>
            <pc:sldMk cId="3298264326" sldId="2147478565"/>
            <ac:spMk id="273" creationId="{489EACB8-10CA-4A42-DB90-C77727D44844}"/>
          </ac:spMkLst>
        </pc:spChg>
        <pc:spChg chg="add del mod">
          <ac:chgData name="Steiner Andreas 6206 ED" userId="e6377c33-a923-4f14-8587-531c474c7b48" providerId="ADAL" clId="{6ECD27E6-B224-41CD-B4E0-E297462320DD}" dt="2023-11-24T08:40:41.211" v="40588"/>
          <ac:spMkLst>
            <pc:docMk/>
            <pc:sldMk cId="3298264326" sldId="2147478565"/>
            <ac:spMk id="274" creationId="{59912C84-FF39-6CCE-22FB-E83C3F8DAD8D}"/>
          </ac:spMkLst>
        </pc:spChg>
        <pc:spChg chg="add del mod">
          <ac:chgData name="Steiner Andreas 6206 ED" userId="e6377c33-a923-4f14-8587-531c474c7b48" providerId="ADAL" clId="{6ECD27E6-B224-41CD-B4E0-E297462320DD}" dt="2023-11-24T08:40:43.965" v="40743"/>
          <ac:spMkLst>
            <pc:docMk/>
            <pc:sldMk cId="3298264326" sldId="2147478565"/>
            <ac:spMk id="275" creationId="{77ACC78C-474F-40FC-0CB9-97DB0C3C9FAF}"/>
          </ac:spMkLst>
        </pc:spChg>
        <pc:spChg chg="add del mod">
          <ac:chgData name="Steiner Andreas 6206 ED" userId="e6377c33-a923-4f14-8587-531c474c7b48" providerId="ADAL" clId="{6ECD27E6-B224-41CD-B4E0-E297462320DD}" dt="2023-11-24T08:40:46.425" v="40898"/>
          <ac:spMkLst>
            <pc:docMk/>
            <pc:sldMk cId="3298264326" sldId="2147478565"/>
            <ac:spMk id="276" creationId="{928EFEA7-DD4D-3FA8-5274-5E7B7389DD87}"/>
          </ac:spMkLst>
        </pc:spChg>
        <pc:spChg chg="add del mod">
          <ac:chgData name="Steiner Andreas 6206 ED" userId="e6377c33-a923-4f14-8587-531c474c7b48" providerId="ADAL" clId="{6ECD27E6-B224-41CD-B4E0-E297462320DD}" dt="2023-11-24T08:40:49.293" v="41053"/>
          <ac:spMkLst>
            <pc:docMk/>
            <pc:sldMk cId="3298264326" sldId="2147478565"/>
            <ac:spMk id="277" creationId="{9A591AA6-E23F-7A0B-B919-FF07B2003A62}"/>
          </ac:spMkLst>
        </pc:spChg>
        <pc:spChg chg="add del mod">
          <ac:chgData name="Steiner Andreas 6206 ED" userId="e6377c33-a923-4f14-8587-531c474c7b48" providerId="ADAL" clId="{6ECD27E6-B224-41CD-B4E0-E297462320DD}" dt="2023-11-24T08:40:52.088" v="41208"/>
          <ac:spMkLst>
            <pc:docMk/>
            <pc:sldMk cId="3298264326" sldId="2147478565"/>
            <ac:spMk id="278" creationId="{14BE466E-99D8-471D-225D-DFD105E93831}"/>
          </ac:spMkLst>
        </pc:spChg>
        <pc:spChg chg="add del mod">
          <ac:chgData name="Steiner Andreas 6206 ED" userId="e6377c33-a923-4f14-8587-531c474c7b48" providerId="ADAL" clId="{6ECD27E6-B224-41CD-B4E0-E297462320DD}" dt="2023-11-24T08:40:54.598" v="41363"/>
          <ac:spMkLst>
            <pc:docMk/>
            <pc:sldMk cId="3298264326" sldId="2147478565"/>
            <ac:spMk id="279" creationId="{D307374C-D843-7316-24ED-EE98EE002FAC}"/>
          </ac:spMkLst>
        </pc:spChg>
        <pc:spChg chg="add del mod">
          <ac:chgData name="Steiner Andreas 6206 ED" userId="e6377c33-a923-4f14-8587-531c474c7b48" providerId="ADAL" clId="{6ECD27E6-B224-41CD-B4E0-E297462320DD}" dt="2023-11-24T08:40:57.056" v="41518"/>
          <ac:spMkLst>
            <pc:docMk/>
            <pc:sldMk cId="3298264326" sldId="2147478565"/>
            <ac:spMk id="280" creationId="{4A0914B0-8A83-6851-3E60-7C2A2ABCCC22}"/>
          </ac:spMkLst>
        </pc:spChg>
        <pc:spChg chg="add del mod">
          <ac:chgData name="Steiner Andreas 6206 ED" userId="e6377c33-a923-4f14-8587-531c474c7b48" providerId="ADAL" clId="{6ECD27E6-B224-41CD-B4E0-E297462320DD}" dt="2023-11-24T08:40:59.784" v="41673"/>
          <ac:spMkLst>
            <pc:docMk/>
            <pc:sldMk cId="3298264326" sldId="2147478565"/>
            <ac:spMk id="281" creationId="{28A55E02-C8E8-64EC-6414-C9A08330F584}"/>
          </ac:spMkLst>
        </pc:spChg>
        <pc:spChg chg="add del mod">
          <ac:chgData name="Steiner Andreas 6206 ED" userId="e6377c33-a923-4f14-8587-531c474c7b48" providerId="ADAL" clId="{6ECD27E6-B224-41CD-B4E0-E297462320DD}" dt="2023-11-24T08:41:02.790" v="41828"/>
          <ac:spMkLst>
            <pc:docMk/>
            <pc:sldMk cId="3298264326" sldId="2147478565"/>
            <ac:spMk id="282" creationId="{FFA2EF1E-6C9C-509C-B09E-43DF33AB98AE}"/>
          </ac:spMkLst>
        </pc:spChg>
        <pc:spChg chg="add del mod">
          <ac:chgData name="Steiner Andreas 6206 ED" userId="e6377c33-a923-4f14-8587-531c474c7b48" providerId="ADAL" clId="{6ECD27E6-B224-41CD-B4E0-E297462320DD}" dt="2023-11-24T08:41:05.511" v="41983"/>
          <ac:spMkLst>
            <pc:docMk/>
            <pc:sldMk cId="3298264326" sldId="2147478565"/>
            <ac:spMk id="283" creationId="{147AE588-8928-6260-00CF-D1E55D45903B}"/>
          </ac:spMkLst>
        </pc:spChg>
        <pc:spChg chg="add del mod">
          <ac:chgData name="Steiner Andreas 6206 ED" userId="e6377c33-a923-4f14-8587-531c474c7b48" providerId="ADAL" clId="{6ECD27E6-B224-41CD-B4E0-E297462320DD}" dt="2023-11-24T08:41:09.071" v="42138"/>
          <ac:spMkLst>
            <pc:docMk/>
            <pc:sldMk cId="3298264326" sldId="2147478565"/>
            <ac:spMk id="284" creationId="{6EE3FD97-336A-EF8B-A584-64289DD67B43}"/>
          </ac:spMkLst>
        </pc:spChg>
        <pc:spChg chg="add del mod">
          <ac:chgData name="Steiner Andreas 6206 ED" userId="e6377c33-a923-4f14-8587-531c474c7b48" providerId="ADAL" clId="{6ECD27E6-B224-41CD-B4E0-E297462320DD}" dt="2023-11-24T08:41:12.704" v="42293"/>
          <ac:spMkLst>
            <pc:docMk/>
            <pc:sldMk cId="3298264326" sldId="2147478565"/>
            <ac:spMk id="285" creationId="{5DCE409A-75C5-BF3A-EDAB-576D4BFA95A1}"/>
          </ac:spMkLst>
        </pc:spChg>
        <pc:spChg chg="add del mod">
          <ac:chgData name="Steiner Andreas 6206 ED" userId="e6377c33-a923-4f14-8587-531c474c7b48" providerId="ADAL" clId="{6ECD27E6-B224-41CD-B4E0-E297462320DD}" dt="2023-11-24T08:41:15.454" v="42448"/>
          <ac:spMkLst>
            <pc:docMk/>
            <pc:sldMk cId="3298264326" sldId="2147478565"/>
            <ac:spMk id="286" creationId="{3BD91F49-D0E2-BFD9-BB0C-C6AA395F27B6}"/>
          </ac:spMkLst>
        </pc:spChg>
        <pc:spChg chg="add del mod">
          <ac:chgData name="Steiner Andreas 6206 ED" userId="e6377c33-a923-4f14-8587-531c474c7b48" providerId="ADAL" clId="{6ECD27E6-B224-41CD-B4E0-E297462320DD}" dt="2023-11-24T08:41:17.633" v="42603"/>
          <ac:spMkLst>
            <pc:docMk/>
            <pc:sldMk cId="3298264326" sldId="2147478565"/>
            <ac:spMk id="287" creationId="{4C8F9BD1-03F7-9BC4-28F9-87991220E39A}"/>
          </ac:spMkLst>
        </pc:spChg>
        <pc:spChg chg="add del mod">
          <ac:chgData name="Steiner Andreas 6206 ED" userId="e6377c33-a923-4f14-8587-531c474c7b48" providerId="ADAL" clId="{6ECD27E6-B224-41CD-B4E0-E297462320DD}" dt="2023-11-24T08:41:19.973" v="42758"/>
          <ac:spMkLst>
            <pc:docMk/>
            <pc:sldMk cId="3298264326" sldId="2147478565"/>
            <ac:spMk id="288" creationId="{23D5837B-CFC1-C704-1E67-7CF319F736DE}"/>
          </ac:spMkLst>
        </pc:spChg>
        <pc:spChg chg="add del mod">
          <ac:chgData name="Steiner Andreas 6206 ED" userId="e6377c33-a923-4f14-8587-531c474c7b48" providerId="ADAL" clId="{6ECD27E6-B224-41CD-B4E0-E297462320DD}" dt="2023-11-24T08:41:22.317" v="42913"/>
          <ac:spMkLst>
            <pc:docMk/>
            <pc:sldMk cId="3298264326" sldId="2147478565"/>
            <ac:spMk id="289" creationId="{4634E01E-8201-8B01-ABD1-A65C42DB7964}"/>
          </ac:spMkLst>
        </pc:spChg>
        <pc:spChg chg="add del mod">
          <ac:chgData name="Steiner Andreas 6206 ED" userId="e6377c33-a923-4f14-8587-531c474c7b48" providerId="ADAL" clId="{6ECD27E6-B224-41CD-B4E0-E297462320DD}" dt="2023-11-24T08:41:24.434" v="43068"/>
          <ac:spMkLst>
            <pc:docMk/>
            <pc:sldMk cId="3298264326" sldId="2147478565"/>
            <ac:spMk id="290" creationId="{891A25C9-8C94-D8FF-886A-EEC4FEB66F44}"/>
          </ac:spMkLst>
        </pc:spChg>
        <pc:spChg chg="add del mod">
          <ac:chgData name="Steiner Andreas 6206 ED" userId="e6377c33-a923-4f14-8587-531c474c7b48" providerId="ADAL" clId="{6ECD27E6-B224-41CD-B4E0-E297462320DD}" dt="2023-11-24T08:41:26.996" v="43223"/>
          <ac:spMkLst>
            <pc:docMk/>
            <pc:sldMk cId="3298264326" sldId="2147478565"/>
            <ac:spMk id="291" creationId="{B06509DA-F981-E25C-DD14-60E54AB35B23}"/>
          </ac:spMkLst>
        </pc:spChg>
        <pc:spChg chg="add del mod">
          <ac:chgData name="Steiner Andreas 6206 ED" userId="e6377c33-a923-4f14-8587-531c474c7b48" providerId="ADAL" clId="{6ECD27E6-B224-41CD-B4E0-E297462320DD}" dt="2023-11-24T08:41:29.073" v="43378"/>
          <ac:spMkLst>
            <pc:docMk/>
            <pc:sldMk cId="3298264326" sldId="2147478565"/>
            <ac:spMk id="292" creationId="{9C142CFC-072D-3C06-AFA3-055003BA9D06}"/>
          </ac:spMkLst>
        </pc:spChg>
        <pc:spChg chg="add del mod">
          <ac:chgData name="Steiner Andreas 6206 ED" userId="e6377c33-a923-4f14-8587-531c474c7b48" providerId="ADAL" clId="{6ECD27E6-B224-41CD-B4E0-E297462320DD}" dt="2023-11-24T08:41:31.413" v="43533"/>
          <ac:spMkLst>
            <pc:docMk/>
            <pc:sldMk cId="3298264326" sldId="2147478565"/>
            <ac:spMk id="293" creationId="{1B08D394-B764-3A0A-CB54-3F63265EB576}"/>
          </ac:spMkLst>
        </pc:spChg>
        <pc:spChg chg="add del mod">
          <ac:chgData name="Steiner Andreas 6206 ED" userId="e6377c33-a923-4f14-8587-531c474c7b48" providerId="ADAL" clId="{6ECD27E6-B224-41CD-B4E0-E297462320DD}" dt="2023-11-24T08:41:35.746" v="43688"/>
          <ac:spMkLst>
            <pc:docMk/>
            <pc:sldMk cId="3298264326" sldId="2147478565"/>
            <ac:spMk id="294" creationId="{9FC90227-5DC5-A898-8315-3B96393F1E3A}"/>
          </ac:spMkLst>
        </pc:spChg>
        <pc:spChg chg="add del mod">
          <ac:chgData name="Steiner Andreas 6206 ED" userId="e6377c33-a923-4f14-8587-531c474c7b48" providerId="ADAL" clId="{6ECD27E6-B224-41CD-B4E0-E297462320DD}" dt="2023-11-24T08:41:38.763" v="43843"/>
          <ac:spMkLst>
            <pc:docMk/>
            <pc:sldMk cId="3298264326" sldId="2147478565"/>
            <ac:spMk id="295" creationId="{42FE3ABC-1715-BAAC-067D-78B8BA29B653}"/>
          </ac:spMkLst>
        </pc:spChg>
        <pc:spChg chg="add del mod">
          <ac:chgData name="Steiner Andreas 6206 ED" userId="e6377c33-a923-4f14-8587-531c474c7b48" providerId="ADAL" clId="{6ECD27E6-B224-41CD-B4E0-E297462320DD}" dt="2023-11-24T08:41:40.934" v="43998"/>
          <ac:spMkLst>
            <pc:docMk/>
            <pc:sldMk cId="3298264326" sldId="2147478565"/>
            <ac:spMk id="296" creationId="{A52E786E-F8F4-D862-F1BD-378A45825059}"/>
          </ac:spMkLst>
        </pc:spChg>
        <pc:spChg chg="add del mod">
          <ac:chgData name="Steiner Andreas 6206 ED" userId="e6377c33-a923-4f14-8587-531c474c7b48" providerId="ADAL" clId="{6ECD27E6-B224-41CD-B4E0-E297462320DD}" dt="2023-11-24T08:41:43.328" v="44153"/>
          <ac:spMkLst>
            <pc:docMk/>
            <pc:sldMk cId="3298264326" sldId="2147478565"/>
            <ac:spMk id="297" creationId="{A8942F25-776E-9F94-0934-D0798BF39C4B}"/>
          </ac:spMkLst>
        </pc:spChg>
        <pc:spChg chg="add del mod">
          <ac:chgData name="Steiner Andreas 6206 ED" userId="e6377c33-a923-4f14-8587-531c474c7b48" providerId="ADAL" clId="{6ECD27E6-B224-41CD-B4E0-E297462320DD}" dt="2023-11-24T08:41:45.227" v="44308"/>
          <ac:spMkLst>
            <pc:docMk/>
            <pc:sldMk cId="3298264326" sldId="2147478565"/>
            <ac:spMk id="298" creationId="{B1C47CB1-3CAB-8F7B-BD7A-9B085102FC56}"/>
          </ac:spMkLst>
        </pc:spChg>
        <pc:spChg chg="add del mod">
          <ac:chgData name="Steiner Andreas 6206 ED" userId="e6377c33-a923-4f14-8587-531c474c7b48" providerId="ADAL" clId="{6ECD27E6-B224-41CD-B4E0-E297462320DD}" dt="2023-11-24T08:41:47.162" v="44463"/>
          <ac:spMkLst>
            <pc:docMk/>
            <pc:sldMk cId="3298264326" sldId="2147478565"/>
            <ac:spMk id="299" creationId="{9D5C3C99-2B7D-DF1B-49AE-1F7C624C81E6}"/>
          </ac:spMkLst>
        </pc:spChg>
        <pc:spChg chg="add del mod">
          <ac:chgData name="Steiner Andreas 6206 ED" userId="e6377c33-a923-4f14-8587-531c474c7b48" providerId="ADAL" clId="{6ECD27E6-B224-41CD-B4E0-E297462320DD}" dt="2023-11-24T08:41:49.182" v="44618"/>
          <ac:spMkLst>
            <pc:docMk/>
            <pc:sldMk cId="3298264326" sldId="2147478565"/>
            <ac:spMk id="300" creationId="{CA33A1C3-7FBE-989D-31FC-E4E47EED7661}"/>
          </ac:spMkLst>
        </pc:spChg>
        <pc:spChg chg="add del mod">
          <ac:chgData name="Steiner Andreas 6206 ED" userId="e6377c33-a923-4f14-8587-531c474c7b48" providerId="ADAL" clId="{6ECD27E6-B224-41CD-B4E0-E297462320DD}" dt="2023-11-24T08:41:51.041" v="44773"/>
          <ac:spMkLst>
            <pc:docMk/>
            <pc:sldMk cId="3298264326" sldId="2147478565"/>
            <ac:spMk id="301" creationId="{FA50919A-94FA-D8FB-283E-1B6181713282}"/>
          </ac:spMkLst>
        </pc:spChg>
        <pc:spChg chg="add del mod">
          <ac:chgData name="Steiner Andreas 6206 ED" userId="e6377c33-a923-4f14-8587-531c474c7b48" providerId="ADAL" clId="{6ECD27E6-B224-41CD-B4E0-E297462320DD}" dt="2023-11-24T08:41:53.389" v="44928"/>
          <ac:spMkLst>
            <pc:docMk/>
            <pc:sldMk cId="3298264326" sldId="2147478565"/>
            <ac:spMk id="302" creationId="{A2DB3909-3D70-5639-5574-CEB7628D278E}"/>
          </ac:spMkLst>
        </pc:spChg>
        <pc:spChg chg="add del mod">
          <ac:chgData name="Steiner Andreas 6206 ED" userId="e6377c33-a923-4f14-8587-531c474c7b48" providerId="ADAL" clId="{6ECD27E6-B224-41CD-B4E0-E297462320DD}" dt="2023-11-24T08:41:55.328" v="45083"/>
          <ac:spMkLst>
            <pc:docMk/>
            <pc:sldMk cId="3298264326" sldId="2147478565"/>
            <ac:spMk id="303" creationId="{F7811404-2264-E7CC-037C-635B1344D0CB}"/>
          </ac:spMkLst>
        </pc:spChg>
        <pc:spChg chg="add del mod">
          <ac:chgData name="Steiner Andreas 6206 ED" userId="e6377c33-a923-4f14-8587-531c474c7b48" providerId="ADAL" clId="{6ECD27E6-B224-41CD-B4E0-E297462320DD}" dt="2023-11-24T08:41:57.597" v="45238"/>
          <ac:spMkLst>
            <pc:docMk/>
            <pc:sldMk cId="3298264326" sldId="2147478565"/>
            <ac:spMk id="304" creationId="{AFAB9707-6321-832F-C701-FCD881398209}"/>
          </ac:spMkLst>
        </pc:spChg>
        <pc:spChg chg="add del mod">
          <ac:chgData name="Steiner Andreas 6206 ED" userId="e6377c33-a923-4f14-8587-531c474c7b48" providerId="ADAL" clId="{6ECD27E6-B224-41CD-B4E0-E297462320DD}" dt="2023-11-24T08:41:59.828" v="45393"/>
          <ac:spMkLst>
            <pc:docMk/>
            <pc:sldMk cId="3298264326" sldId="2147478565"/>
            <ac:spMk id="305" creationId="{90F26C1D-3340-FC4A-8CC8-E0A8C81F5DC3}"/>
          </ac:spMkLst>
        </pc:spChg>
        <pc:spChg chg="add del mod">
          <ac:chgData name="Steiner Andreas 6206 ED" userId="e6377c33-a923-4f14-8587-531c474c7b48" providerId="ADAL" clId="{6ECD27E6-B224-41CD-B4E0-E297462320DD}" dt="2023-11-24T08:42:01.976" v="45548"/>
          <ac:spMkLst>
            <pc:docMk/>
            <pc:sldMk cId="3298264326" sldId="2147478565"/>
            <ac:spMk id="306" creationId="{975C3697-7279-6489-C9FE-E50FE3977DD6}"/>
          </ac:spMkLst>
        </pc:spChg>
        <pc:spChg chg="add del mod">
          <ac:chgData name="Steiner Andreas 6206 ED" userId="e6377c33-a923-4f14-8587-531c474c7b48" providerId="ADAL" clId="{6ECD27E6-B224-41CD-B4E0-E297462320DD}" dt="2023-11-24T08:42:03.997" v="45703"/>
          <ac:spMkLst>
            <pc:docMk/>
            <pc:sldMk cId="3298264326" sldId="2147478565"/>
            <ac:spMk id="307" creationId="{0651296E-8699-6F03-EB98-D091EA4AD66D}"/>
          </ac:spMkLst>
        </pc:spChg>
        <pc:spChg chg="add del mod">
          <ac:chgData name="Steiner Andreas 6206 ED" userId="e6377c33-a923-4f14-8587-531c474c7b48" providerId="ADAL" clId="{6ECD27E6-B224-41CD-B4E0-E297462320DD}" dt="2023-11-24T08:42:05.944" v="45858"/>
          <ac:spMkLst>
            <pc:docMk/>
            <pc:sldMk cId="3298264326" sldId="2147478565"/>
            <ac:spMk id="308" creationId="{90546840-3992-ACCE-BBC4-7A83083D0561}"/>
          </ac:spMkLst>
        </pc:spChg>
        <pc:spChg chg="add del mod">
          <ac:chgData name="Steiner Andreas 6206 ED" userId="e6377c33-a923-4f14-8587-531c474c7b48" providerId="ADAL" clId="{6ECD27E6-B224-41CD-B4E0-E297462320DD}" dt="2023-11-24T08:42:07.824" v="46013"/>
          <ac:spMkLst>
            <pc:docMk/>
            <pc:sldMk cId="3298264326" sldId="2147478565"/>
            <ac:spMk id="309" creationId="{4246F7FF-1A71-40B3-050E-5CA71C03B599}"/>
          </ac:spMkLst>
        </pc:spChg>
        <pc:spChg chg="add del mod">
          <ac:chgData name="Steiner Andreas 6206 ED" userId="e6377c33-a923-4f14-8587-531c474c7b48" providerId="ADAL" clId="{6ECD27E6-B224-41CD-B4E0-E297462320DD}" dt="2023-11-24T08:42:09.713" v="46168"/>
          <ac:spMkLst>
            <pc:docMk/>
            <pc:sldMk cId="3298264326" sldId="2147478565"/>
            <ac:spMk id="310" creationId="{B6C73541-A7A9-EBB6-1E1D-497F6A2B17B6}"/>
          </ac:spMkLst>
        </pc:spChg>
        <pc:spChg chg="add del mod">
          <ac:chgData name="Steiner Andreas 6206 ED" userId="e6377c33-a923-4f14-8587-531c474c7b48" providerId="ADAL" clId="{6ECD27E6-B224-41CD-B4E0-E297462320DD}" dt="2023-11-24T08:42:12.106" v="46323"/>
          <ac:spMkLst>
            <pc:docMk/>
            <pc:sldMk cId="3298264326" sldId="2147478565"/>
            <ac:spMk id="311" creationId="{208ED17A-4A96-8CDD-55AF-4C2AC9F0FE1E}"/>
          </ac:spMkLst>
        </pc:spChg>
        <pc:spChg chg="add del mod">
          <ac:chgData name="Steiner Andreas 6206 ED" userId="e6377c33-a923-4f14-8587-531c474c7b48" providerId="ADAL" clId="{6ECD27E6-B224-41CD-B4E0-E297462320DD}" dt="2023-11-24T08:42:14.669" v="46478"/>
          <ac:spMkLst>
            <pc:docMk/>
            <pc:sldMk cId="3298264326" sldId="2147478565"/>
            <ac:spMk id="312" creationId="{1C54D43D-05D9-DC25-3F5B-4CE6AAFBCA02}"/>
          </ac:spMkLst>
        </pc:spChg>
        <pc:spChg chg="add del mod">
          <ac:chgData name="Steiner Andreas 6206 ED" userId="e6377c33-a923-4f14-8587-531c474c7b48" providerId="ADAL" clId="{6ECD27E6-B224-41CD-B4E0-E297462320DD}" dt="2023-11-24T08:42:16.997" v="46633"/>
          <ac:spMkLst>
            <pc:docMk/>
            <pc:sldMk cId="3298264326" sldId="2147478565"/>
            <ac:spMk id="313" creationId="{1187D853-A3A2-D7AA-B67F-D4527301FB5B}"/>
          </ac:spMkLst>
        </pc:spChg>
        <pc:spChg chg="add del mod">
          <ac:chgData name="Steiner Andreas 6206 ED" userId="e6377c33-a923-4f14-8587-531c474c7b48" providerId="ADAL" clId="{6ECD27E6-B224-41CD-B4E0-E297462320DD}" dt="2023-11-24T08:42:19.146" v="46788"/>
          <ac:spMkLst>
            <pc:docMk/>
            <pc:sldMk cId="3298264326" sldId="2147478565"/>
            <ac:spMk id="314" creationId="{EACC286B-045B-9D17-9092-D76E4FF6B867}"/>
          </ac:spMkLst>
        </pc:spChg>
        <pc:spChg chg="add del mod">
          <ac:chgData name="Steiner Andreas 6206 ED" userId="e6377c33-a923-4f14-8587-531c474c7b48" providerId="ADAL" clId="{6ECD27E6-B224-41CD-B4E0-E297462320DD}" dt="2023-11-24T08:42:21.501" v="46943"/>
          <ac:spMkLst>
            <pc:docMk/>
            <pc:sldMk cId="3298264326" sldId="2147478565"/>
            <ac:spMk id="315" creationId="{10AC716F-945F-CBDF-32E3-31F790DBEA27}"/>
          </ac:spMkLst>
        </pc:spChg>
        <pc:spChg chg="add del mod">
          <ac:chgData name="Steiner Andreas 6206 ED" userId="e6377c33-a923-4f14-8587-531c474c7b48" providerId="ADAL" clId="{6ECD27E6-B224-41CD-B4E0-E297462320DD}" dt="2023-11-24T08:42:24.096" v="47098"/>
          <ac:spMkLst>
            <pc:docMk/>
            <pc:sldMk cId="3298264326" sldId="2147478565"/>
            <ac:spMk id="316" creationId="{0AFB05B7-AE72-18E6-9AC9-AB60AF5626A0}"/>
          </ac:spMkLst>
        </pc:spChg>
        <pc:spChg chg="add del mod">
          <ac:chgData name="Steiner Andreas 6206 ED" userId="e6377c33-a923-4f14-8587-531c474c7b48" providerId="ADAL" clId="{6ECD27E6-B224-41CD-B4E0-E297462320DD}" dt="2023-11-24T08:42:26.055" v="47253"/>
          <ac:spMkLst>
            <pc:docMk/>
            <pc:sldMk cId="3298264326" sldId="2147478565"/>
            <ac:spMk id="317" creationId="{C13F731A-536F-46A3-3D88-E38C2E7F2D66}"/>
          </ac:spMkLst>
        </pc:spChg>
        <pc:spChg chg="add del mod">
          <ac:chgData name="Steiner Andreas 6206 ED" userId="e6377c33-a923-4f14-8587-531c474c7b48" providerId="ADAL" clId="{6ECD27E6-B224-41CD-B4E0-E297462320DD}" dt="2023-11-24T08:42:27.955" v="47408"/>
          <ac:spMkLst>
            <pc:docMk/>
            <pc:sldMk cId="3298264326" sldId="2147478565"/>
            <ac:spMk id="318" creationId="{33C07D23-985D-C646-5D19-CB2CEF918383}"/>
          </ac:spMkLst>
        </pc:spChg>
        <pc:spChg chg="add del mod">
          <ac:chgData name="Steiner Andreas 6206 ED" userId="e6377c33-a923-4f14-8587-531c474c7b48" providerId="ADAL" clId="{6ECD27E6-B224-41CD-B4E0-E297462320DD}" dt="2023-11-24T08:42:29.725" v="47563"/>
          <ac:spMkLst>
            <pc:docMk/>
            <pc:sldMk cId="3298264326" sldId="2147478565"/>
            <ac:spMk id="319" creationId="{AE2DA3C4-DB81-2187-1AFF-76037D391F62}"/>
          </ac:spMkLst>
        </pc:spChg>
        <pc:spChg chg="add del mod">
          <ac:chgData name="Steiner Andreas 6206 ED" userId="e6377c33-a923-4f14-8587-531c474c7b48" providerId="ADAL" clId="{6ECD27E6-B224-41CD-B4E0-E297462320DD}" dt="2023-11-24T08:42:31.641" v="47718"/>
          <ac:spMkLst>
            <pc:docMk/>
            <pc:sldMk cId="3298264326" sldId="2147478565"/>
            <ac:spMk id="320" creationId="{01B2D752-4682-EE75-187B-FF70CF55BD8B}"/>
          </ac:spMkLst>
        </pc:spChg>
        <pc:spChg chg="add del mod">
          <ac:chgData name="Steiner Andreas 6206 ED" userId="e6377c33-a923-4f14-8587-531c474c7b48" providerId="ADAL" clId="{6ECD27E6-B224-41CD-B4E0-E297462320DD}" dt="2023-11-24T08:42:33.647" v="47873"/>
          <ac:spMkLst>
            <pc:docMk/>
            <pc:sldMk cId="3298264326" sldId="2147478565"/>
            <ac:spMk id="321" creationId="{A3BCDAD9-B902-6FA8-5611-48A718212EBB}"/>
          </ac:spMkLst>
        </pc:spChg>
        <pc:spChg chg="add del mod">
          <ac:chgData name="Steiner Andreas 6206 ED" userId="e6377c33-a923-4f14-8587-531c474c7b48" providerId="ADAL" clId="{6ECD27E6-B224-41CD-B4E0-E297462320DD}" dt="2023-11-24T08:42:35.677" v="48028"/>
          <ac:spMkLst>
            <pc:docMk/>
            <pc:sldMk cId="3298264326" sldId="2147478565"/>
            <ac:spMk id="322" creationId="{CAC48A75-B79A-5D28-FB00-AE89B2A116A0}"/>
          </ac:spMkLst>
        </pc:spChg>
        <pc:spChg chg="add del mod">
          <ac:chgData name="Steiner Andreas 6206 ED" userId="e6377c33-a923-4f14-8587-531c474c7b48" providerId="ADAL" clId="{6ECD27E6-B224-41CD-B4E0-E297462320DD}" dt="2023-11-24T08:42:37.552" v="48183"/>
          <ac:spMkLst>
            <pc:docMk/>
            <pc:sldMk cId="3298264326" sldId="2147478565"/>
            <ac:spMk id="323" creationId="{F14D1CAA-017E-6686-8AF0-B729AEF6C52F}"/>
          </ac:spMkLst>
        </pc:spChg>
        <pc:spChg chg="add del mod">
          <ac:chgData name="Steiner Andreas 6206 ED" userId="e6377c33-a923-4f14-8587-531c474c7b48" providerId="ADAL" clId="{6ECD27E6-B224-41CD-B4E0-E297462320DD}" dt="2023-11-24T08:42:39.414" v="48338"/>
          <ac:spMkLst>
            <pc:docMk/>
            <pc:sldMk cId="3298264326" sldId="2147478565"/>
            <ac:spMk id="324" creationId="{A6AF362F-B2FF-C117-1832-41735B2AE93B}"/>
          </ac:spMkLst>
        </pc:spChg>
        <pc:spChg chg="add del mod">
          <ac:chgData name="Steiner Andreas 6206 ED" userId="e6377c33-a923-4f14-8587-531c474c7b48" providerId="ADAL" clId="{6ECD27E6-B224-41CD-B4E0-E297462320DD}" dt="2023-11-24T08:42:41.554" v="48493"/>
          <ac:spMkLst>
            <pc:docMk/>
            <pc:sldMk cId="3298264326" sldId="2147478565"/>
            <ac:spMk id="325" creationId="{ED19846F-1A3D-EC0E-3BF4-8B25F2AE5148}"/>
          </ac:spMkLst>
        </pc:spChg>
        <pc:spChg chg="add del mod">
          <ac:chgData name="Steiner Andreas 6206 ED" userId="e6377c33-a923-4f14-8587-531c474c7b48" providerId="ADAL" clId="{6ECD27E6-B224-41CD-B4E0-E297462320DD}" dt="2023-11-24T08:42:43.656" v="48648"/>
          <ac:spMkLst>
            <pc:docMk/>
            <pc:sldMk cId="3298264326" sldId="2147478565"/>
            <ac:spMk id="326" creationId="{8468DCC0-DE03-D498-FFA5-80E31F7F549B}"/>
          </ac:spMkLst>
        </pc:spChg>
        <pc:spChg chg="add del mod">
          <ac:chgData name="Steiner Andreas 6206 ED" userId="e6377c33-a923-4f14-8587-531c474c7b48" providerId="ADAL" clId="{6ECD27E6-B224-41CD-B4E0-E297462320DD}" dt="2023-11-24T08:42:45.695" v="48803"/>
          <ac:spMkLst>
            <pc:docMk/>
            <pc:sldMk cId="3298264326" sldId="2147478565"/>
            <ac:spMk id="327" creationId="{35AC7A57-7719-5D21-9AF9-E11C6A03FB57}"/>
          </ac:spMkLst>
        </pc:spChg>
        <pc:spChg chg="add del mod">
          <ac:chgData name="Steiner Andreas 6206 ED" userId="e6377c33-a923-4f14-8587-531c474c7b48" providerId="ADAL" clId="{6ECD27E6-B224-41CD-B4E0-E297462320DD}" dt="2023-11-24T08:42:47.562" v="48958"/>
          <ac:spMkLst>
            <pc:docMk/>
            <pc:sldMk cId="3298264326" sldId="2147478565"/>
            <ac:spMk id="328" creationId="{622A5983-CE16-B373-6A4E-7215C15B3C39}"/>
          </ac:spMkLst>
        </pc:spChg>
        <pc:spChg chg="add del mod">
          <ac:chgData name="Steiner Andreas 6206 ED" userId="e6377c33-a923-4f14-8587-531c474c7b48" providerId="ADAL" clId="{6ECD27E6-B224-41CD-B4E0-E297462320DD}" dt="2023-11-24T08:42:49.368" v="49113"/>
          <ac:spMkLst>
            <pc:docMk/>
            <pc:sldMk cId="3298264326" sldId="2147478565"/>
            <ac:spMk id="329" creationId="{9C9D0948-89AB-19F3-24D0-3AD850323461}"/>
          </ac:spMkLst>
        </pc:spChg>
        <pc:spChg chg="add del mod">
          <ac:chgData name="Steiner Andreas 6206 ED" userId="e6377c33-a923-4f14-8587-531c474c7b48" providerId="ADAL" clId="{6ECD27E6-B224-41CD-B4E0-E297462320DD}" dt="2023-11-24T08:42:51.228" v="49268"/>
          <ac:spMkLst>
            <pc:docMk/>
            <pc:sldMk cId="3298264326" sldId="2147478565"/>
            <ac:spMk id="330" creationId="{EF0BF8B2-632F-5935-B3D9-2C9D8923A98C}"/>
          </ac:spMkLst>
        </pc:spChg>
        <pc:spChg chg="add del mod">
          <ac:chgData name="Steiner Andreas 6206 ED" userId="e6377c33-a923-4f14-8587-531c474c7b48" providerId="ADAL" clId="{6ECD27E6-B224-41CD-B4E0-E297462320DD}" dt="2023-11-24T08:42:53.356" v="49423"/>
          <ac:spMkLst>
            <pc:docMk/>
            <pc:sldMk cId="3298264326" sldId="2147478565"/>
            <ac:spMk id="331" creationId="{6394E888-8AEE-BDB7-F821-EFA98A6DEEAB}"/>
          </ac:spMkLst>
        </pc:spChg>
        <pc:spChg chg="add del mod">
          <ac:chgData name="Steiner Andreas 6206 ED" userId="e6377c33-a923-4f14-8587-531c474c7b48" providerId="ADAL" clId="{6ECD27E6-B224-41CD-B4E0-E297462320DD}" dt="2023-11-24T08:42:55.973" v="49578"/>
          <ac:spMkLst>
            <pc:docMk/>
            <pc:sldMk cId="3298264326" sldId="2147478565"/>
            <ac:spMk id="332" creationId="{774BDDCC-DC3A-0292-4B08-9ACD34D66D89}"/>
          </ac:spMkLst>
        </pc:spChg>
        <pc:spChg chg="add del mod">
          <ac:chgData name="Steiner Andreas 6206 ED" userId="e6377c33-a923-4f14-8587-531c474c7b48" providerId="ADAL" clId="{6ECD27E6-B224-41CD-B4E0-E297462320DD}" dt="2023-11-24T08:42:58.049" v="49733"/>
          <ac:spMkLst>
            <pc:docMk/>
            <pc:sldMk cId="3298264326" sldId="2147478565"/>
            <ac:spMk id="333" creationId="{458BAEA2-331D-FD4B-8E1F-E9C39AF3CE03}"/>
          </ac:spMkLst>
        </pc:spChg>
        <pc:spChg chg="add del mod">
          <ac:chgData name="Steiner Andreas 6206 ED" userId="e6377c33-a923-4f14-8587-531c474c7b48" providerId="ADAL" clId="{6ECD27E6-B224-41CD-B4E0-E297462320DD}" dt="2023-11-24T08:42:59.958" v="49888"/>
          <ac:spMkLst>
            <pc:docMk/>
            <pc:sldMk cId="3298264326" sldId="2147478565"/>
            <ac:spMk id="334" creationId="{01E7C5DD-DF27-01A7-7F6F-DA131CA07104}"/>
          </ac:spMkLst>
        </pc:spChg>
        <pc:spChg chg="add del mod">
          <ac:chgData name="Steiner Andreas 6206 ED" userId="e6377c33-a923-4f14-8587-531c474c7b48" providerId="ADAL" clId="{6ECD27E6-B224-41CD-B4E0-E297462320DD}" dt="2023-11-24T08:43:01.962" v="50043"/>
          <ac:spMkLst>
            <pc:docMk/>
            <pc:sldMk cId="3298264326" sldId="2147478565"/>
            <ac:spMk id="335" creationId="{328D83D8-6BB5-2B1C-F58F-8F8A960A31D1}"/>
          </ac:spMkLst>
        </pc:spChg>
        <pc:spChg chg="add del mod">
          <ac:chgData name="Steiner Andreas 6206 ED" userId="e6377c33-a923-4f14-8587-531c474c7b48" providerId="ADAL" clId="{6ECD27E6-B224-41CD-B4E0-E297462320DD}" dt="2023-11-24T08:43:03.941" v="50198"/>
          <ac:spMkLst>
            <pc:docMk/>
            <pc:sldMk cId="3298264326" sldId="2147478565"/>
            <ac:spMk id="336" creationId="{7734C509-34C4-A876-5E38-033E1619A22A}"/>
          </ac:spMkLst>
        </pc:spChg>
        <pc:spChg chg="add del mod">
          <ac:chgData name="Steiner Andreas 6206 ED" userId="e6377c33-a923-4f14-8587-531c474c7b48" providerId="ADAL" clId="{6ECD27E6-B224-41CD-B4E0-E297462320DD}" dt="2023-11-24T08:43:05.844" v="50353"/>
          <ac:spMkLst>
            <pc:docMk/>
            <pc:sldMk cId="3298264326" sldId="2147478565"/>
            <ac:spMk id="337" creationId="{4E5FDE43-3F28-5F54-E5CE-2A5162484C8E}"/>
          </ac:spMkLst>
        </pc:spChg>
        <pc:spChg chg="add del mod">
          <ac:chgData name="Steiner Andreas 6206 ED" userId="e6377c33-a923-4f14-8587-531c474c7b48" providerId="ADAL" clId="{6ECD27E6-B224-41CD-B4E0-E297462320DD}" dt="2023-11-24T08:43:08.105" v="50508"/>
          <ac:spMkLst>
            <pc:docMk/>
            <pc:sldMk cId="3298264326" sldId="2147478565"/>
            <ac:spMk id="338" creationId="{391E452F-30C1-9B7F-5E9C-60072C8EBEA8}"/>
          </ac:spMkLst>
        </pc:spChg>
        <pc:spChg chg="add del mod">
          <ac:chgData name="Steiner Andreas 6206 ED" userId="e6377c33-a923-4f14-8587-531c474c7b48" providerId="ADAL" clId="{6ECD27E6-B224-41CD-B4E0-E297462320DD}" dt="2023-11-24T08:43:10.086" v="50663"/>
          <ac:spMkLst>
            <pc:docMk/>
            <pc:sldMk cId="3298264326" sldId="2147478565"/>
            <ac:spMk id="339" creationId="{400D804E-A417-D2BB-A28C-375A78E054FE}"/>
          </ac:spMkLst>
        </pc:spChg>
        <pc:spChg chg="add del mod">
          <ac:chgData name="Steiner Andreas 6206 ED" userId="e6377c33-a923-4f14-8587-531c474c7b48" providerId="ADAL" clId="{6ECD27E6-B224-41CD-B4E0-E297462320DD}" dt="2023-11-24T08:43:11.935" v="50818"/>
          <ac:spMkLst>
            <pc:docMk/>
            <pc:sldMk cId="3298264326" sldId="2147478565"/>
            <ac:spMk id="340" creationId="{11547783-A495-E108-D575-A0A98FE301EB}"/>
          </ac:spMkLst>
        </pc:spChg>
        <pc:spChg chg="add del mod">
          <ac:chgData name="Steiner Andreas 6206 ED" userId="e6377c33-a923-4f14-8587-531c474c7b48" providerId="ADAL" clId="{6ECD27E6-B224-41CD-B4E0-E297462320DD}" dt="2023-11-24T08:43:13.997" v="50973"/>
          <ac:spMkLst>
            <pc:docMk/>
            <pc:sldMk cId="3298264326" sldId="2147478565"/>
            <ac:spMk id="341" creationId="{260E310B-8C4A-8287-B899-7E14C6673563}"/>
          </ac:spMkLst>
        </pc:spChg>
        <pc:spChg chg="add del mod">
          <ac:chgData name="Steiner Andreas 6206 ED" userId="e6377c33-a923-4f14-8587-531c474c7b48" providerId="ADAL" clId="{6ECD27E6-B224-41CD-B4E0-E297462320DD}" dt="2023-11-24T08:43:15.990" v="51128"/>
          <ac:spMkLst>
            <pc:docMk/>
            <pc:sldMk cId="3298264326" sldId="2147478565"/>
            <ac:spMk id="342" creationId="{F7C047B9-DFCA-C092-9D64-9A10CE96095E}"/>
          </ac:spMkLst>
        </pc:spChg>
        <pc:spChg chg="add del mod">
          <ac:chgData name="Steiner Andreas 6206 ED" userId="e6377c33-a923-4f14-8587-531c474c7b48" providerId="ADAL" clId="{6ECD27E6-B224-41CD-B4E0-E297462320DD}" dt="2023-11-24T08:43:18.039" v="51283"/>
          <ac:spMkLst>
            <pc:docMk/>
            <pc:sldMk cId="3298264326" sldId="2147478565"/>
            <ac:spMk id="343" creationId="{CB6A306F-4FFD-AB6A-276D-21A48F6BEF69}"/>
          </ac:spMkLst>
        </pc:spChg>
        <pc:spChg chg="add del mod">
          <ac:chgData name="Steiner Andreas 6206 ED" userId="e6377c33-a923-4f14-8587-531c474c7b48" providerId="ADAL" clId="{6ECD27E6-B224-41CD-B4E0-E297462320DD}" dt="2023-11-24T08:43:20.030" v="51438"/>
          <ac:spMkLst>
            <pc:docMk/>
            <pc:sldMk cId="3298264326" sldId="2147478565"/>
            <ac:spMk id="344" creationId="{772AF882-08FE-4F0C-E132-D3042016929F}"/>
          </ac:spMkLst>
        </pc:spChg>
        <pc:spChg chg="add del mod">
          <ac:chgData name="Steiner Andreas 6206 ED" userId="e6377c33-a923-4f14-8587-531c474c7b48" providerId="ADAL" clId="{6ECD27E6-B224-41CD-B4E0-E297462320DD}" dt="2023-11-24T08:43:21.934" v="51593"/>
          <ac:spMkLst>
            <pc:docMk/>
            <pc:sldMk cId="3298264326" sldId="2147478565"/>
            <ac:spMk id="345" creationId="{2BDE6AC7-08D6-17CA-EE58-13BD6E9C3FA5}"/>
          </ac:spMkLst>
        </pc:spChg>
        <pc:spChg chg="add del mod">
          <ac:chgData name="Steiner Andreas 6206 ED" userId="e6377c33-a923-4f14-8587-531c474c7b48" providerId="ADAL" clId="{6ECD27E6-B224-41CD-B4E0-E297462320DD}" dt="2023-11-24T08:43:23.889" v="51748"/>
          <ac:spMkLst>
            <pc:docMk/>
            <pc:sldMk cId="3298264326" sldId="2147478565"/>
            <ac:spMk id="346" creationId="{E5CD2844-5C6F-FB43-0970-F3A627E2B3B5}"/>
          </ac:spMkLst>
        </pc:spChg>
        <pc:spChg chg="add del mod">
          <ac:chgData name="Steiner Andreas 6206 ED" userId="e6377c33-a923-4f14-8587-531c474c7b48" providerId="ADAL" clId="{6ECD27E6-B224-41CD-B4E0-E297462320DD}" dt="2023-11-24T08:43:25.766" v="51903"/>
          <ac:spMkLst>
            <pc:docMk/>
            <pc:sldMk cId="3298264326" sldId="2147478565"/>
            <ac:spMk id="347" creationId="{2B5AFCC7-813B-7AA8-7D75-A1F4C0F369E0}"/>
          </ac:spMkLst>
        </pc:spChg>
        <pc:spChg chg="add del mod">
          <ac:chgData name="Steiner Andreas 6206 ED" userId="e6377c33-a923-4f14-8587-531c474c7b48" providerId="ADAL" clId="{6ECD27E6-B224-41CD-B4E0-E297462320DD}" dt="2023-11-24T08:43:27.592" v="52058"/>
          <ac:spMkLst>
            <pc:docMk/>
            <pc:sldMk cId="3298264326" sldId="2147478565"/>
            <ac:spMk id="348" creationId="{CBE57EC1-2582-152B-C507-968311A16BB5}"/>
          </ac:spMkLst>
        </pc:spChg>
        <pc:spChg chg="add del mod">
          <ac:chgData name="Steiner Andreas 6206 ED" userId="e6377c33-a923-4f14-8587-531c474c7b48" providerId="ADAL" clId="{6ECD27E6-B224-41CD-B4E0-E297462320DD}" dt="2023-11-24T08:43:29.383" v="52213"/>
          <ac:spMkLst>
            <pc:docMk/>
            <pc:sldMk cId="3298264326" sldId="2147478565"/>
            <ac:spMk id="349" creationId="{1FA1BC88-8ECB-E977-3152-7F01AEB74FDC}"/>
          </ac:spMkLst>
        </pc:spChg>
        <pc:spChg chg="add del mod">
          <ac:chgData name="Steiner Andreas 6206 ED" userId="e6377c33-a923-4f14-8587-531c474c7b48" providerId="ADAL" clId="{6ECD27E6-B224-41CD-B4E0-E297462320DD}" dt="2023-11-24T08:43:32.135" v="52368"/>
          <ac:spMkLst>
            <pc:docMk/>
            <pc:sldMk cId="3298264326" sldId="2147478565"/>
            <ac:spMk id="350" creationId="{1F7808A0-2CB0-CC29-A5FC-4E849E48A035}"/>
          </ac:spMkLst>
        </pc:spChg>
        <pc:spChg chg="add del mod">
          <ac:chgData name="Steiner Andreas 6206 ED" userId="e6377c33-a923-4f14-8587-531c474c7b48" providerId="ADAL" clId="{6ECD27E6-B224-41CD-B4E0-E297462320DD}" dt="2023-11-24T08:43:34.625" v="52523"/>
          <ac:spMkLst>
            <pc:docMk/>
            <pc:sldMk cId="3298264326" sldId="2147478565"/>
            <ac:spMk id="351" creationId="{CD3A4AD5-E828-3C5F-74CF-5451767774C0}"/>
          </ac:spMkLst>
        </pc:spChg>
        <pc:spChg chg="add del mod">
          <ac:chgData name="Steiner Andreas 6206 ED" userId="e6377c33-a923-4f14-8587-531c474c7b48" providerId="ADAL" clId="{6ECD27E6-B224-41CD-B4E0-E297462320DD}" dt="2023-11-24T08:43:36.704" v="52678"/>
          <ac:spMkLst>
            <pc:docMk/>
            <pc:sldMk cId="3298264326" sldId="2147478565"/>
            <ac:spMk id="352" creationId="{C549B4E3-3865-7BFE-9BA4-04BC85E436F6}"/>
          </ac:spMkLst>
        </pc:spChg>
        <pc:spChg chg="add del mod">
          <ac:chgData name="Steiner Andreas 6206 ED" userId="e6377c33-a923-4f14-8587-531c474c7b48" providerId="ADAL" clId="{6ECD27E6-B224-41CD-B4E0-E297462320DD}" dt="2023-11-24T08:43:38.828" v="52833"/>
          <ac:spMkLst>
            <pc:docMk/>
            <pc:sldMk cId="3298264326" sldId="2147478565"/>
            <ac:spMk id="353" creationId="{6F93F499-3F12-FB44-91DF-D0CE1F104D5A}"/>
          </ac:spMkLst>
        </pc:spChg>
        <pc:spChg chg="add del mod">
          <ac:chgData name="Steiner Andreas 6206 ED" userId="e6377c33-a923-4f14-8587-531c474c7b48" providerId="ADAL" clId="{6ECD27E6-B224-41CD-B4E0-E297462320DD}" dt="2023-11-24T08:43:40.927" v="52988"/>
          <ac:spMkLst>
            <pc:docMk/>
            <pc:sldMk cId="3298264326" sldId="2147478565"/>
            <ac:spMk id="354" creationId="{91BC4734-8A92-4BB6-DB1D-C4F6DB5F5931}"/>
          </ac:spMkLst>
        </pc:spChg>
        <pc:spChg chg="add del mod">
          <ac:chgData name="Steiner Andreas 6206 ED" userId="e6377c33-a923-4f14-8587-531c474c7b48" providerId="ADAL" clId="{6ECD27E6-B224-41CD-B4E0-E297462320DD}" dt="2023-11-24T08:43:42.885" v="53143"/>
          <ac:spMkLst>
            <pc:docMk/>
            <pc:sldMk cId="3298264326" sldId="2147478565"/>
            <ac:spMk id="355" creationId="{A27146CE-50BE-7B7A-A47D-CDDA59BD5D77}"/>
          </ac:spMkLst>
        </pc:spChg>
        <pc:spChg chg="add del mod">
          <ac:chgData name="Steiner Andreas 6206 ED" userId="e6377c33-a923-4f14-8587-531c474c7b48" providerId="ADAL" clId="{6ECD27E6-B224-41CD-B4E0-E297462320DD}" dt="2023-11-24T08:43:44.701" v="53298"/>
          <ac:spMkLst>
            <pc:docMk/>
            <pc:sldMk cId="3298264326" sldId="2147478565"/>
            <ac:spMk id="356" creationId="{EF9BED50-8826-D554-9744-DDEFD9377745}"/>
          </ac:spMkLst>
        </pc:spChg>
        <pc:spChg chg="add del mod">
          <ac:chgData name="Steiner Andreas 6206 ED" userId="e6377c33-a923-4f14-8587-531c474c7b48" providerId="ADAL" clId="{6ECD27E6-B224-41CD-B4E0-E297462320DD}" dt="2023-11-24T08:43:46.492" v="53453"/>
          <ac:spMkLst>
            <pc:docMk/>
            <pc:sldMk cId="3298264326" sldId="2147478565"/>
            <ac:spMk id="357" creationId="{69626046-2341-ABA6-4227-9B98FB91860B}"/>
          </ac:spMkLst>
        </pc:spChg>
        <pc:spChg chg="add del mod">
          <ac:chgData name="Steiner Andreas 6206 ED" userId="e6377c33-a923-4f14-8587-531c474c7b48" providerId="ADAL" clId="{6ECD27E6-B224-41CD-B4E0-E297462320DD}" dt="2023-11-24T08:43:48.463" v="53608"/>
          <ac:spMkLst>
            <pc:docMk/>
            <pc:sldMk cId="3298264326" sldId="2147478565"/>
            <ac:spMk id="358" creationId="{A7D5D86C-E457-4748-279D-F759F1B9A5F2}"/>
          </ac:spMkLst>
        </pc:spChg>
        <pc:spChg chg="add del mod">
          <ac:chgData name="Steiner Andreas 6206 ED" userId="e6377c33-a923-4f14-8587-531c474c7b48" providerId="ADAL" clId="{6ECD27E6-B224-41CD-B4E0-E297462320DD}" dt="2023-11-24T08:43:50.396" v="53763"/>
          <ac:spMkLst>
            <pc:docMk/>
            <pc:sldMk cId="3298264326" sldId="2147478565"/>
            <ac:spMk id="359" creationId="{8F735F16-4535-8767-6989-7E455AD00F0F}"/>
          </ac:spMkLst>
        </pc:spChg>
        <pc:spChg chg="add del mod">
          <ac:chgData name="Steiner Andreas 6206 ED" userId="e6377c33-a923-4f14-8587-531c474c7b48" providerId="ADAL" clId="{6ECD27E6-B224-41CD-B4E0-E297462320DD}" dt="2023-11-24T08:43:52.636" v="53918"/>
          <ac:spMkLst>
            <pc:docMk/>
            <pc:sldMk cId="3298264326" sldId="2147478565"/>
            <ac:spMk id="360" creationId="{4FB4CB0E-E0D4-E507-2FBE-7EE3563A02BC}"/>
          </ac:spMkLst>
        </pc:spChg>
        <pc:spChg chg="add del mod">
          <ac:chgData name="Steiner Andreas 6206 ED" userId="e6377c33-a923-4f14-8587-531c474c7b48" providerId="ADAL" clId="{6ECD27E6-B224-41CD-B4E0-E297462320DD}" dt="2023-11-24T08:43:55.234" v="54073"/>
          <ac:spMkLst>
            <pc:docMk/>
            <pc:sldMk cId="3298264326" sldId="2147478565"/>
            <ac:spMk id="361" creationId="{D283DEF7-E9BD-C3E0-3631-2CAFF5402589}"/>
          </ac:spMkLst>
        </pc:spChg>
        <pc:spChg chg="add del mod">
          <ac:chgData name="Steiner Andreas 6206 ED" userId="e6377c33-a923-4f14-8587-531c474c7b48" providerId="ADAL" clId="{6ECD27E6-B224-41CD-B4E0-E297462320DD}" dt="2023-11-24T08:43:57.263" v="54228"/>
          <ac:spMkLst>
            <pc:docMk/>
            <pc:sldMk cId="3298264326" sldId="2147478565"/>
            <ac:spMk id="362" creationId="{4B05D5E6-BDFB-93B8-5179-6BE337B02AA6}"/>
          </ac:spMkLst>
        </pc:spChg>
        <pc:spChg chg="add del mod">
          <ac:chgData name="Steiner Andreas 6206 ED" userId="e6377c33-a923-4f14-8587-531c474c7b48" providerId="ADAL" clId="{6ECD27E6-B224-41CD-B4E0-E297462320DD}" dt="2023-11-24T08:43:59.520" v="54383"/>
          <ac:spMkLst>
            <pc:docMk/>
            <pc:sldMk cId="3298264326" sldId="2147478565"/>
            <ac:spMk id="363" creationId="{59E13F1D-BDD7-A9F0-08CF-B3037580D47D}"/>
          </ac:spMkLst>
        </pc:spChg>
        <pc:spChg chg="add del mod">
          <ac:chgData name="Steiner Andreas 6206 ED" userId="e6377c33-a923-4f14-8587-531c474c7b48" providerId="ADAL" clId="{6ECD27E6-B224-41CD-B4E0-E297462320DD}" dt="2023-11-24T08:44:01.718" v="54538"/>
          <ac:spMkLst>
            <pc:docMk/>
            <pc:sldMk cId="3298264326" sldId="2147478565"/>
            <ac:spMk id="364" creationId="{2CC59E38-6924-B2AA-652F-EFD80C4A9CF6}"/>
          </ac:spMkLst>
        </pc:spChg>
        <pc:spChg chg="add del mod">
          <ac:chgData name="Steiner Andreas 6206 ED" userId="e6377c33-a923-4f14-8587-531c474c7b48" providerId="ADAL" clId="{6ECD27E6-B224-41CD-B4E0-E297462320DD}" dt="2023-11-24T08:44:03.910" v="54693"/>
          <ac:spMkLst>
            <pc:docMk/>
            <pc:sldMk cId="3298264326" sldId="2147478565"/>
            <ac:spMk id="365" creationId="{A45FC207-E9B2-3F92-2FFB-D6354D5B0B4C}"/>
          </ac:spMkLst>
        </pc:spChg>
        <pc:spChg chg="add del mod">
          <ac:chgData name="Steiner Andreas 6206 ED" userId="e6377c33-a923-4f14-8587-531c474c7b48" providerId="ADAL" clId="{6ECD27E6-B224-41CD-B4E0-E297462320DD}" dt="2023-11-24T08:44:05.959" v="54848"/>
          <ac:spMkLst>
            <pc:docMk/>
            <pc:sldMk cId="3298264326" sldId="2147478565"/>
            <ac:spMk id="366" creationId="{3D093BD8-B6DE-9F92-97D2-10DCB9268F79}"/>
          </ac:spMkLst>
        </pc:spChg>
        <pc:spChg chg="add del mod">
          <ac:chgData name="Steiner Andreas 6206 ED" userId="e6377c33-a923-4f14-8587-531c474c7b48" providerId="ADAL" clId="{6ECD27E6-B224-41CD-B4E0-E297462320DD}" dt="2023-11-24T08:44:07.930" v="55003"/>
          <ac:spMkLst>
            <pc:docMk/>
            <pc:sldMk cId="3298264326" sldId="2147478565"/>
            <ac:spMk id="367" creationId="{A8B0FDE7-FD4F-060B-9BE5-065A34153EC8}"/>
          </ac:spMkLst>
        </pc:spChg>
        <pc:spChg chg="add del mod">
          <ac:chgData name="Steiner Andreas 6206 ED" userId="e6377c33-a923-4f14-8587-531c474c7b48" providerId="ADAL" clId="{6ECD27E6-B224-41CD-B4E0-E297462320DD}" dt="2023-11-24T08:44:09.906" v="55158"/>
          <ac:spMkLst>
            <pc:docMk/>
            <pc:sldMk cId="3298264326" sldId="2147478565"/>
            <ac:spMk id="368" creationId="{9A97780C-62AE-6C1E-5384-C381A24AB676}"/>
          </ac:spMkLst>
        </pc:spChg>
        <pc:spChg chg="add del mod">
          <ac:chgData name="Steiner Andreas 6206 ED" userId="e6377c33-a923-4f14-8587-531c474c7b48" providerId="ADAL" clId="{6ECD27E6-B224-41CD-B4E0-E297462320DD}" dt="2023-11-24T08:44:11.923" v="55313"/>
          <ac:spMkLst>
            <pc:docMk/>
            <pc:sldMk cId="3298264326" sldId="2147478565"/>
            <ac:spMk id="369" creationId="{EC88DE34-914C-CB47-5694-A13413F450A6}"/>
          </ac:spMkLst>
        </pc:spChg>
        <pc:spChg chg="add del mod">
          <ac:chgData name="Steiner Andreas 6206 ED" userId="e6377c33-a923-4f14-8587-531c474c7b48" providerId="ADAL" clId="{6ECD27E6-B224-41CD-B4E0-E297462320DD}" dt="2023-11-24T08:44:14.056" v="55468"/>
          <ac:spMkLst>
            <pc:docMk/>
            <pc:sldMk cId="3298264326" sldId="2147478565"/>
            <ac:spMk id="370" creationId="{C1E699B2-CFA0-6092-AFCF-378AD8A58C86}"/>
          </ac:spMkLst>
        </pc:spChg>
        <pc:spChg chg="add del mod">
          <ac:chgData name="Steiner Andreas 6206 ED" userId="e6377c33-a923-4f14-8587-531c474c7b48" providerId="ADAL" clId="{6ECD27E6-B224-41CD-B4E0-E297462320DD}" dt="2023-11-24T08:44:16.157" v="55623"/>
          <ac:spMkLst>
            <pc:docMk/>
            <pc:sldMk cId="3298264326" sldId="2147478565"/>
            <ac:spMk id="371" creationId="{6FE3ECAD-9A6B-E8F1-E893-792F151FA28F}"/>
          </ac:spMkLst>
        </pc:spChg>
        <pc:spChg chg="add del mod">
          <ac:chgData name="Steiner Andreas 6206 ED" userId="e6377c33-a923-4f14-8587-531c474c7b48" providerId="ADAL" clId="{6ECD27E6-B224-41CD-B4E0-E297462320DD}" dt="2023-11-24T08:44:18.638" v="55778"/>
          <ac:spMkLst>
            <pc:docMk/>
            <pc:sldMk cId="3298264326" sldId="2147478565"/>
            <ac:spMk id="372" creationId="{09569FAD-8CDE-7067-9384-40C979A076A7}"/>
          </ac:spMkLst>
        </pc:spChg>
        <pc:spChg chg="add del mod">
          <ac:chgData name="Steiner Andreas 6206 ED" userId="e6377c33-a923-4f14-8587-531c474c7b48" providerId="ADAL" clId="{6ECD27E6-B224-41CD-B4E0-E297462320DD}" dt="2023-11-24T08:44:21.502" v="55933"/>
          <ac:spMkLst>
            <pc:docMk/>
            <pc:sldMk cId="3298264326" sldId="2147478565"/>
            <ac:spMk id="373" creationId="{F17B9681-B6D9-1C8E-4D25-E9019096E285}"/>
          </ac:spMkLst>
        </pc:spChg>
        <pc:spChg chg="add del mod">
          <ac:chgData name="Steiner Andreas 6206 ED" userId="e6377c33-a923-4f14-8587-531c474c7b48" providerId="ADAL" clId="{6ECD27E6-B224-41CD-B4E0-E297462320DD}" dt="2023-11-24T08:44:23.867" v="56088"/>
          <ac:spMkLst>
            <pc:docMk/>
            <pc:sldMk cId="3298264326" sldId="2147478565"/>
            <ac:spMk id="374" creationId="{149B24AC-5208-DA27-C9B9-194CC5325BBE}"/>
          </ac:spMkLst>
        </pc:spChg>
        <pc:spChg chg="add del mod">
          <ac:chgData name="Steiner Andreas 6206 ED" userId="e6377c33-a923-4f14-8587-531c474c7b48" providerId="ADAL" clId="{6ECD27E6-B224-41CD-B4E0-E297462320DD}" dt="2023-11-24T08:44:25.802" v="56243"/>
          <ac:spMkLst>
            <pc:docMk/>
            <pc:sldMk cId="3298264326" sldId="2147478565"/>
            <ac:spMk id="375" creationId="{0505554E-B129-39B0-B31A-E74DCF08E5C7}"/>
          </ac:spMkLst>
        </pc:spChg>
        <pc:spChg chg="add del mod">
          <ac:chgData name="Steiner Andreas 6206 ED" userId="e6377c33-a923-4f14-8587-531c474c7b48" providerId="ADAL" clId="{6ECD27E6-B224-41CD-B4E0-E297462320DD}" dt="2023-11-24T08:44:27.973" v="56398"/>
          <ac:spMkLst>
            <pc:docMk/>
            <pc:sldMk cId="3298264326" sldId="2147478565"/>
            <ac:spMk id="376" creationId="{B3AD5632-C1C4-A599-B30D-086F4DABE400}"/>
          </ac:spMkLst>
        </pc:spChg>
        <pc:spChg chg="add del mod">
          <ac:chgData name="Steiner Andreas 6206 ED" userId="e6377c33-a923-4f14-8587-531c474c7b48" providerId="ADAL" clId="{6ECD27E6-B224-41CD-B4E0-E297462320DD}" dt="2023-11-24T08:44:30.004" v="56553"/>
          <ac:spMkLst>
            <pc:docMk/>
            <pc:sldMk cId="3298264326" sldId="2147478565"/>
            <ac:spMk id="377" creationId="{FC5B405D-0D0D-CA0F-125F-2B9689F6A600}"/>
          </ac:spMkLst>
        </pc:spChg>
        <pc:spChg chg="add del mod">
          <ac:chgData name="Steiner Andreas 6206 ED" userId="e6377c33-a923-4f14-8587-531c474c7b48" providerId="ADAL" clId="{6ECD27E6-B224-41CD-B4E0-E297462320DD}" dt="2023-11-24T08:44:31.953" v="56708"/>
          <ac:spMkLst>
            <pc:docMk/>
            <pc:sldMk cId="3298264326" sldId="2147478565"/>
            <ac:spMk id="378" creationId="{02143525-05EB-B27F-53F2-0A24EB102ABB}"/>
          </ac:spMkLst>
        </pc:spChg>
        <pc:spChg chg="add del mod">
          <ac:chgData name="Steiner Andreas 6206 ED" userId="e6377c33-a923-4f14-8587-531c474c7b48" providerId="ADAL" clId="{6ECD27E6-B224-41CD-B4E0-E297462320DD}" dt="2023-11-24T08:44:33.916" v="56863"/>
          <ac:spMkLst>
            <pc:docMk/>
            <pc:sldMk cId="3298264326" sldId="2147478565"/>
            <ac:spMk id="379" creationId="{41C9A760-C790-26DD-CB96-648772D7769B}"/>
          </ac:spMkLst>
        </pc:spChg>
        <pc:spChg chg="add del mod">
          <ac:chgData name="Steiner Andreas 6206 ED" userId="e6377c33-a923-4f14-8587-531c474c7b48" providerId="ADAL" clId="{6ECD27E6-B224-41CD-B4E0-E297462320DD}" dt="2023-11-24T08:44:36.404" v="57018"/>
          <ac:spMkLst>
            <pc:docMk/>
            <pc:sldMk cId="3298264326" sldId="2147478565"/>
            <ac:spMk id="380" creationId="{7662E343-4F15-6B59-74CE-8C4782F2042C}"/>
          </ac:spMkLst>
        </pc:spChg>
        <pc:spChg chg="add del mod">
          <ac:chgData name="Steiner Andreas 6206 ED" userId="e6377c33-a923-4f14-8587-531c474c7b48" providerId="ADAL" clId="{6ECD27E6-B224-41CD-B4E0-E297462320DD}" dt="2023-11-24T08:44:39.026" v="57173"/>
          <ac:spMkLst>
            <pc:docMk/>
            <pc:sldMk cId="3298264326" sldId="2147478565"/>
            <ac:spMk id="381" creationId="{05204814-4CDF-5C9F-CA44-0246188D272B}"/>
          </ac:spMkLst>
        </pc:spChg>
        <pc:spChg chg="add del mod">
          <ac:chgData name="Steiner Andreas 6206 ED" userId="e6377c33-a923-4f14-8587-531c474c7b48" providerId="ADAL" clId="{6ECD27E6-B224-41CD-B4E0-E297462320DD}" dt="2023-11-24T08:44:41.287" v="57328"/>
          <ac:spMkLst>
            <pc:docMk/>
            <pc:sldMk cId="3298264326" sldId="2147478565"/>
            <ac:spMk id="382" creationId="{14D1E68E-B7ED-AAAA-65EA-C41C92D9082F}"/>
          </ac:spMkLst>
        </pc:spChg>
        <pc:spChg chg="add del mod">
          <ac:chgData name="Steiner Andreas 6206 ED" userId="e6377c33-a923-4f14-8587-531c474c7b48" providerId="ADAL" clId="{6ECD27E6-B224-41CD-B4E0-E297462320DD}" dt="2023-11-24T08:44:43.457" v="57483"/>
          <ac:spMkLst>
            <pc:docMk/>
            <pc:sldMk cId="3298264326" sldId="2147478565"/>
            <ac:spMk id="383" creationId="{13C2D158-FE4E-1C19-B8DD-06F21107AD2F}"/>
          </ac:spMkLst>
        </pc:spChg>
        <pc:spChg chg="add del mod">
          <ac:chgData name="Steiner Andreas 6206 ED" userId="e6377c33-a923-4f14-8587-531c474c7b48" providerId="ADAL" clId="{6ECD27E6-B224-41CD-B4E0-E297462320DD}" dt="2023-11-24T08:44:45.636" v="57638"/>
          <ac:spMkLst>
            <pc:docMk/>
            <pc:sldMk cId="3298264326" sldId="2147478565"/>
            <ac:spMk id="384" creationId="{09101383-0650-25CA-46EB-430A59D7DE0B}"/>
          </ac:spMkLst>
        </pc:spChg>
        <pc:spChg chg="add del mod">
          <ac:chgData name="Steiner Andreas 6206 ED" userId="e6377c33-a923-4f14-8587-531c474c7b48" providerId="ADAL" clId="{6ECD27E6-B224-41CD-B4E0-E297462320DD}" dt="2023-11-24T08:44:48.391" v="57793"/>
          <ac:spMkLst>
            <pc:docMk/>
            <pc:sldMk cId="3298264326" sldId="2147478565"/>
            <ac:spMk id="385" creationId="{B821F298-5883-B603-4AC7-236EB7F251BB}"/>
          </ac:spMkLst>
        </pc:spChg>
        <pc:spChg chg="add del mod">
          <ac:chgData name="Steiner Andreas 6206 ED" userId="e6377c33-a923-4f14-8587-531c474c7b48" providerId="ADAL" clId="{6ECD27E6-B224-41CD-B4E0-E297462320DD}" dt="2023-11-24T08:44:50.608" v="57948"/>
          <ac:spMkLst>
            <pc:docMk/>
            <pc:sldMk cId="3298264326" sldId="2147478565"/>
            <ac:spMk id="386" creationId="{44C92638-95DE-24E1-74A3-C2BBE4FDBE3E}"/>
          </ac:spMkLst>
        </pc:spChg>
        <pc:spChg chg="add del mod">
          <ac:chgData name="Steiner Andreas 6206 ED" userId="e6377c33-a923-4f14-8587-531c474c7b48" providerId="ADAL" clId="{6ECD27E6-B224-41CD-B4E0-E297462320DD}" dt="2023-11-24T08:44:52.760" v="58103"/>
          <ac:spMkLst>
            <pc:docMk/>
            <pc:sldMk cId="3298264326" sldId="2147478565"/>
            <ac:spMk id="387" creationId="{97F9B168-7450-9828-98C5-C7D4B49538FE}"/>
          </ac:spMkLst>
        </pc:spChg>
        <pc:spChg chg="add del mod">
          <ac:chgData name="Steiner Andreas 6206 ED" userId="e6377c33-a923-4f14-8587-531c474c7b48" providerId="ADAL" clId="{6ECD27E6-B224-41CD-B4E0-E297462320DD}" dt="2023-11-24T08:44:54.963" v="58258"/>
          <ac:spMkLst>
            <pc:docMk/>
            <pc:sldMk cId="3298264326" sldId="2147478565"/>
            <ac:spMk id="388" creationId="{7667577A-CF3A-3D05-C906-7111B1508B69}"/>
          </ac:spMkLst>
        </pc:spChg>
        <pc:spChg chg="add del mod">
          <ac:chgData name="Steiner Andreas 6206 ED" userId="e6377c33-a923-4f14-8587-531c474c7b48" providerId="ADAL" clId="{6ECD27E6-B224-41CD-B4E0-E297462320DD}" dt="2023-11-24T08:44:56.959" v="58413"/>
          <ac:spMkLst>
            <pc:docMk/>
            <pc:sldMk cId="3298264326" sldId="2147478565"/>
            <ac:spMk id="389" creationId="{7E26EBA5-3F1F-D379-9050-3D364794AF1A}"/>
          </ac:spMkLst>
        </pc:spChg>
        <pc:spChg chg="add del mod">
          <ac:chgData name="Steiner Andreas 6206 ED" userId="e6377c33-a923-4f14-8587-531c474c7b48" providerId="ADAL" clId="{6ECD27E6-B224-41CD-B4E0-E297462320DD}" dt="2023-11-24T08:44:58.897" v="58568"/>
          <ac:spMkLst>
            <pc:docMk/>
            <pc:sldMk cId="3298264326" sldId="2147478565"/>
            <ac:spMk id="390" creationId="{B4AF7D0E-ABC4-FB17-932E-DFCFB660495A}"/>
          </ac:spMkLst>
        </pc:spChg>
        <pc:spChg chg="add del mod">
          <ac:chgData name="Steiner Andreas 6206 ED" userId="e6377c33-a923-4f14-8587-531c474c7b48" providerId="ADAL" clId="{6ECD27E6-B224-41CD-B4E0-E297462320DD}" dt="2023-11-24T08:45:01.061" v="58723"/>
          <ac:spMkLst>
            <pc:docMk/>
            <pc:sldMk cId="3298264326" sldId="2147478565"/>
            <ac:spMk id="391" creationId="{0B49B2BD-DB76-0FAB-D3AD-AB540C244E2B}"/>
          </ac:spMkLst>
        </pc:spChg>
        <pc:spChg chg="add del mod">
          <ac:chgData name="Steiner Andreas 6206 ED" userId="e6377c33-a923-4f14-8587-531c474c7b48" providerId="ADAL" clId="{6ECD27E6-B224-41CD-B4E0-E297462320DD}" dt="2023-11-24T08:45:02.979" v="58878"/>
          <ac:spMkLst>
            <pc:docMk/>
            <pc:sldMk cId="3298264326" sldId="2147478565"/>
            <ac:spMk id="392" creationId="{A4EEE910-4A5B-D7A3-3389-9413403A2569}"/>
          </ac:spMkLst>
        </pc:spChg>
        <pc:spChg chg="add del mod">
          <ac:chgData name="Steiner Andreas 6206 ED" userId="e6377c33-a923-4f14-8587-531c474c7b48" providerId="ADAL" clId="{6ECD27E6-B224-41CD-B4E0-E297462320DD}" dt="2023-11-24T08:45:04.824" v="59033"/>
          <ac:spMkLst>
            <pc:docMk/>
            <pc:sldMk cId="3298264326" sldId="2147478565"/>
            <ac:spMk id="393" creationId="{316A8E16-E287-03DE-4987-A35D2E4D0996}"/>
          </ac:spMkLst>
        </pc:spChg>
        <pc:spChg chg="add del mod">
          <ac:chgData name="Steiner Andreas 6206 ED" userId="e6377c33-a923-4f14-8587-531c474c7b48" providerId="ADAL" clId="{6ECD27E6-B224-41CD-B4E0-E297462320DD}" dt="2023-11-24T08:45:06.676" v="59188"/>
          <ac:spMkLst>
            <pc:docMk/>
            <pc:sldMk cId="3298264326" sldId="2147478565"/>
            <ac:spMk id="394" creationId="{87A6D8D9-B353-969F-BD67-C997FAABE468}"/>
          </ac:spMkLst>
        </pc:spChg>
        <pc:spChg chg="add del mod">
          <ac:chgData name="Steiner Andreas 6206 ED" userId="e6377c33-a923-4f14-8587-531c474c7b48" providerId="ADAL" clId="{6ECD27E6-B224-41CD-B4E0-E297462320DD}" dt="2023-11-24T08:45:08.501" v="59343"/>
          <ac:spMkLst>
            <pc:docMk/>
            <pc:sldMk cId="3298264326" sldId="2147478565"/>
            <ac:spMk id="395" creationId="{EE29504E-7AED-99D6-CA93-D9C205DF1DED}"/>
          </ac:spMkLst>
        </pc:spChg>
        <pc:spChg chg="add del mod">
          <ac:chgData name="Steiner Andreas 6206 ED" userId="e6377c33-a923-4f14-8587-531c474c7b48" providerId="ADAL" clId="{6ECD27E6-B224-41CD-B4E0-E297462320DD}" dt="2023-11-24T08:45:10.336" v="59498"/>
          <ac:spMkLst>
            <pc:docMk/>
            <pc:sldMk cId="3298264326" sldId="2147478565"/>
            <ac:spMk id="396" creationId="{1D0048DC-4811-A212-2D64-808ABA7B9899}"/>
          </ac:spMkLst>
        </pc:spChg>
        <pc:spChg chg="add del mod">
          <ac:chgData name="Steiner Andreas 6206 ED" userId="e6377c33-a923-4f14-8587-531c474c7b48" providerId="ADAL" clId="{6ECD27E6-B224-41CD-B4E0-E297462320DD}" dt="2023-11-24T08:45:12.405" v="59653"/>
          <ac:spMkLst>
            <pc:docMk/>
            <pc:sldMk cId="3298264326" sldId="2147478565"/>
            <ac:spMk id="397" creationId="{71C69229-DDA0-C45E-B08B-B7B81F79D09C}"/>
          </ac:spMkLst>
        </pc:spChg>
        <pc:spChg chg="add del mod">
          <ac:chgData name="Steiner Andreas 6206 ED" userId="e6377c33-a923-4f14-8587-531c474c7b48" providerId="ADAL" clId="{6ECD27E6-B224-41CD-B4E0-E297462320DD}" dt="2023-11-24T08:45:14.344" v="59808"/>
          <ac:spMkLst>
            <pc:docMk/>
            <pc:sldMk cId="3298264326" sldId="2147478565"/>
            <ac:spMk id="398" creationId="{FCEAD341-A73A-628B-EE93-3E893DD79973}"/>
          </ac:spMkLst>
        </pc:spChg>
        <pc:spChg chg="add del mod">
          <ac:chgData name="Steiner Andreas 6206 ED" userId="e6377c33-a923-4f14-8587-531c474c7b48" providerId="ADAL" clId="{6ECD27E6-B224-41CD-B4E0-E297462320DD}" dt="2023-11-24T08:45:16.412" v="59963"/>
          <ac:spMkLst>
            <pc:docMk/>
            <pc:sldMk cId="3298264326" sldId="2147478565"/>
            <ac:spMk id="399" creationId="{7FA5AF29-C41D-42B8-3E38-CBBE2E32EDB5}"/>
          </ac:spMkLst>
        </pc:spChg>
        <pc:spChg chg="add del mod">
          <ac:chgData name="Steiner Andreas 6206 ED" userId="e6377c33-a923-4f14-8587-531c474c7b48" providerId="ADAL" clId="{6ECD27E6-B224-41CD-B4E0-E297462320DD}" dt="2023-11-24T08:45:18.355" v="60118"/>
          <ac:spMkLst>
            <pc:docMk/>
            <pc:sldMk cId="3298264326" sldId="2147478565"/>
            <ac:spMk id="400" creationId="{9824857F-BA98-DDEB-5EF1-440D58033B3A}"/>
          </ac:spMkLst>
        </pc:spChg>
        <pc:spChg chg="add del mod">
          <ac:chgData name="Steiner Andreas 6206 ED" userId="e6377c33-a923-4f14-8587-531c474c7b48" providerId="ADAL" clId="{6ECD27E6-B224-41CD-B4E0-E297462320DD}" dt="2023-11-24T08:45:20.248" v="60273"/>
          <ac:spMkLst>
            <pc:docMk/>
            <pc:sldMk cId="3298264326" sldId="2147478565"/>
            <ac:spMk id="401" creationId="{AF7DBA58-D1E4-F4D7-90C7-562492FCB3BE}"/>
          </ac:spMkLst>
        </pc:spChg>
        <pc:spChg chg="add del mod">
          <ac:chgData name="Steiner Andreas 6206 ED" userId="e6377c33-a923-4f14-8587-531c474c7b48" providerId="ADAL" clId="{6ECD27E6-B224-41CD-B4E0-E297462320DD}" dt="2023-11-24T08:45:22.454" v="60428"/>
          <ac:spMkLst>
            <pc:docMk/>
            <pc:sldMk cId="3298264326" sldId="2147478565"/>
            <ac:spMk id="402" creationId="{DD9BFA0C-1E87-ADF8-7976-73EA165937FA}"/>
          </ac:spMkLst>
        </pc:spChg>
        <pc:spChg chg="add del mod">
          <ac:chgData name="Steiner Andreas 6206 ED" userId="e6377c33-a923-4f14-8587-531c474c7b48" providerId="ADAL" clId="{6ECD27E6-B224-41CD-B4E0-E297462320DD}" dt="2023-11-24T08:45:24.623" v="60583"/>
          <ac:spMkLst>
            <pc:docMk/>
            <pc:sldMk cId="3298264326" sldId="2147478565"/>
            <ac:spMk id="403" creationId="{442AC044-2133-DC5E-DF2F-ADD90723846D}"/>
          </ac:spMkLst>
        </pc:spChg>
        <pc:spChg chg="add del mod">
          <ac:chgData name="Steiner Andreas 6206 ED" userId="e6377c33-a923-4f14-8587-531c474c7b48" providerId="ADAL" clId="{6ECD27E6-B224-41CD-B4E0-E297462320DD}" dt="2023-11-24T08:45:26.569" v="60738"/>
          <ac:spMkLst>
            <pc:docMk/>
            <pc:sldMk cId="3298264326" sldId="2147478565"/>
            <ac:spMk id="404" creationId="{F2DC98A3-5129-CA9A-BA6A-7E6065C54BE8}"/>
          </ac:spMkLst>
        </pc:spChg>
        <pc:spChg chg="add del mod">
          <ac:chgData name="Steiner Andreas 6206 ED" userId="e6377c33-a923-4f14-8587-531c474c7b48" providerId="ADAL" clId="{6ECD27E6-B224-41CD-B4E0-E297462320DD}" dt="2023-11-24T08:45:28.452" v="60893"/>
          <ac:spMkLst>
            <pc:docMk/>
            <pc:sldMk cId="3298264326" sldId="2147478565"/>
            <ac:spMk id="405" creationId="{3DB7D18C-C88B-BF23-7D9E-8733ED9DF68A}"/>
          </ac:spMkLst>
        </pc:spChg>
        <pc:spChg chg="add del mod">
          <ac:chgData name="Steiner Andreas 6206 ED" userId="e6377c33-a923-4f14-8587-531c474c7b48" providerId="ADAL" clId="{6ECD27E6-B224-41CD-B4E0-E297462320DD}" dt="2023-11-24T08:45:30.293" v="61048"/>
          <ac:spMkLst>
            <pc:docMk/>
            <pc:sldMk cId="3298264326" sldId="2147478565"/>
            <ac:spMk id="406" creationId="{00A49BB3-F1D8-EE66-BE0A-B579FEB01487}"/>
          </ac:spMkLst>
        </pc:spChg>
        <pc:spChg chg="add del mod">
          <ac:chgData name="Steiner Andreas 6206 ED" userId="e6377c33-a923-4f14-8587-531c474c7b48" providerId="ADAL" clId="{6ECD27E6-B224-41CD-B4E0-E297462320DD}" dt="2023-11-24T08:45:32.136" v="61203"/>
          <ac:spMkLst>
            <pc:docMk/>
            <pc:sldMk cId="3298264326" sldId="2147478565"/>
            <ac:spMk id="407" creationId="{50EA2400-5520-A54D-FF69-334A24A3EB83}"/>
          </ac:spMkLst>
        </pc:spChg>
        <pc:spChg chg="add del mod">
          <ac:chgData name="Steiner Andreas 6206 ED" userId="e6377c33-a923-4f14-8587-531c474c7b48" providerId="ADAL" clId="{6ECD27E6-B224-41CD-B4E0-E297462320DD}" dt="2023-11-24T08:45:34.293" v="61358"/>
          <ac:spMkLst>
            <pc:docMk/>
            <pc:sldMk cId="3298264326" sldId="2147478565"/>
            <ac:spMk id="408" creationId="{A386D324-50BE-FD1D-A3B8-B767206DB1C4}"/>
          </ac:spMkLst>
        </pc:spChg>
        <pc:spChg chg="add del mod">
          <ac:chgData name="Steiner Andreas 6206 ED" userId="e6377c33-a923-4f14-8587-531c474c7b48" providerId="ADAL" clId="{6ECD27E6-B224-41CD-B4E0-E297462320DD}" dt="2023-11-24T08:45:36.345" v="61513"/>
          <ac:spMkLst>
            <pc:docMk/>
            <pc:sldMk cId="3298264326" sldId="2147478565"/>
            <ac:spMk id="409" creationId="{7CF64101-2184-A576-3338-B611C57DB800}"/>
          </ac:spMkLst>
        </pc:spChg>
        <pc:spChg chg="add del mod">
          <ac:chgData name="Steiner Andreas 6206 ED" userId="e6377c33-a923-4f14-8587-531c474c7b48" providerId="ADAL" clId="{6ECD27E6-B224-41CD-B4E0-E297462320DD}" dt="2023-11-24T08:45:38.205" v="61668"/>
          <ac:spMkLst>
            <pc:docMk/>
            <pc:sldMk cId="3298264326" sldId="2147478565"/>
            <ac:spMk id="410" creationId="{84DDF2FB-E07B-2DB7-949F-B591365F65C0}"/>
          </ac:spMkLst>
        </pc:spChg>
        <pc:spChg chg="add del mod">
          <ac:chgData name="Steiner Andreas 6206 ED" userId="e6377c33-a923-4f14-8587-531c474c7b48" providerId="ADAL" clId="{6ECD27E6-B224-41CD-B4E0-E297462320DD}" dt="2023-11-24T08:45:40.098" v="61823"/>
          <ac:spMkLst>
            <pc:docMk/>
            <pc:sldMk cId="3298264326" sldId="2147478565"/>
            <ac:spMk id="411" creationId="{A4C98AC0-E92F-E061-AAF8-D8EB2EDF3E77}"/>
          </ac:spMkLst>
        </pc:spChg>
        <pc:spChg chg="add del mod">
          <ac:chgData name="Steiner Andreas 6206 ED" userId="e6377c33-a923-4f14-8587-531c474c7b48" providerId="ADAL" clId="{6ECD27E6-B224-41CD-B4E0-E297462320DD}" dt="2023-11-24T08:45:42.116" v="61978"/>
          <ac:spMkLst>
            <pc:docMk/>
            <pc:sldMk cId="3298264326" sldId="2147478565"/>
            <ac:spMk id="412" creationId="{9485CD39-AF58-46A3-259C-52DA770EF094}"/>
          </ac:spMkLst>
        </pc:spChg>
        <pc:spChg chg="add del mod">
          <ac:chgData name="Steiner Andreas 6206 ED" userId="e6377c33-a923-4f14-8587-531c474c7b48" providerId="ADAL" clId="{6ECD27E6-B224-41CD-B4E0-E297462320DD}" dt="2023-11-24T08:45:44.088" v="62133"/>
          <ac:spMkLst>
            <pc:docMk/>
            <pc:sldMk cId="3298264326" sldId="2147478565"/>
            <ac:spMk id="413" creationId="{062A171C-D922-01A8-6FCD-4470B40AB054}"/>
          </ac:spMkLst>
        </pc:spChg>
        <pc:spChg chg="add del mod">
          <ac:chgData name="Steiner Andreas 6206 ED" userId="e6377c33-a923-4f14-8587-531c474c7b48" providerId="ADAL" clId="{6ECD27E6-B224-41CD-B4E0-E297462320DD}" dt="2023-11-24T08:45:46.214" v="62288"/>
          <ac:spMkLst>
            <pc:docMk/>
            <pc:sldMk cId="3298264326" sldId="2147478565"/>
            <ac:spMk id="414" creationId="{A9D08C16-68EC-2756-E52E-89F706F4F631}"/>
          </ac:spMkLst>
        </pc:spChg>
        <pc:spChg chg="add del mod">
          <ac:chgData name="Steiner Andreas 6206 ED" userId="e6377c33-a923-4f14-8587-531c474c7b48" providerId="ADAL" clId="{6ECD27E6-B224-41CD-B4E0-E297462320DD}" dt="2023-11-24T08:45:48.110" v="62443"/>
          <ac:spMkLst>
            <pc:docMk/>
            <pc:sldMk cId="3298264326" sldId="2147478565"/>
            <ac:spMk id="415" creationId="{3F601AF1-72DC-000C-0D2C-FCF51E02FE2F}"/>
          </ac:spMkLst>
        </pc:spChg>
        <pc:spChg chg="add del mod">
          <ac:chgData name="Steiner Andreas 6206 ED" userId="e6377c33-a923-4f14-8587-531c474c7b48" providerId="ADAL" clId="{6ECD27E6-B224-41CD-B4E0-E297462320DD}" dt="2023-11-24T08:45:50.457" v="62598"/>
          <ac:spMkLst>
            <pc:docMk/>
            <pc:sldMk cId="3298264326" sldId="2147478565"/>
            <ac:spMk id="416" creationId="{A4536993-DCA9-58C7-258F-5F49A8044205}"/>
          </ac:spMkLst>
        </pc:spChg>
        <pc:spChg chg="add del mod">
          <ac:chgData name="Steiner Andreas 6206 ED" userId="e6377c33-a923-4f14-8587-531c474c7b48" providerId="ADAL" clId="{6ECD27E6-B224-41CD-B4E0-E297462320DD}" dt="2023-11-24T08:45:52.462" v="62753"/>
          <ac:spMkLst>
            <pc:docMk/>
            <pc:sldMk cId="3298264326" sldId="2147478565"/>
            <ac:spMk id="417" creationId="{7630B5E5-7A6A-FA8C-EFFB-E223C7A8307F}"/>
          </ac:spMkLst>
        </pc:spChg>
        <pc:spChg chg="add del mod">
          <ac:chgData name="Steiner Andreas 6206 ED" userId="e6377c33-a923-4f14-8587-531c474c7b48" providerId="ADAL" clId="{6ECD27E6-B224-41CD-B4E0-E297462320DD}" dt="2023-11-24T08:45:54.479" v="62908"/>
          <ac:spMkLst>
            <pc:docMk/>
            <pc:sldMk cId="3298264326" sldId="2147478565"/>
            <ac:spMk id="418" creationId="{0E19C800-43B5-739D-686E-88650867EE86}"/>
          </ac:spMkLst>
        </pc:spChg>
        <pc:spChg chg="add del mod">
          <ac:chgData name="Steiner Andreas 6206 ED" userId="e6377c33-a923-4f14-8587-531c474c7b48" providerId="ADAL" clId="{6ECD27E6-B224-41CD-B4E0-E297462320DD}" dt="2023-11-24T08:45:56.681" v="63063"/>
          <ac:spMkLst>
            <pc:docMk/>
            <pc:sldMk cId="3298264326" sldId="2147478565"/>
            <ac:spMk id="419" creationId="{043B1421-2890-DF7B-790D-C0F080109893}"/>
          </ac:spMkLst>
        </pc:spChg>
        <pc:spChg chg="add del mod">
          <ac:chgData name="Steiner Andreas 6206 ED" userId="e6377c33-a923-4f14-8587-531c474c7b48" providerId="ADAL" clId="{6ECD27E6-B224-41CD-B4E0-E297462320DD}" dt="2023-11-24T08:45:58.695" v="63218"/>
          <ac:spMkLst>
            <pc:docMk/>
            <pc:sldMk cId="3298264326" sldId="2147478565"/>
            <ac:spMk id="420" creationId="{F4F217A3-E0CA-A870-4EA0-4D51CC646617}"/>
          </ac:spMkLst>
        </pc:spChg>
        <pc:spChg chg="add del mod">
          <ac:chgData name="Steiner Andreas 6206 ED" userId="e6377c33-a923-4f14-8587-531c474c7b48" providerId="ADAL" clId="{6ECD27E6-B224-41CD-B4E0-E297462320DD}" dt="2023-11-24T08:46:00.796" v="63373"/>
          <ac:spMkLst>
            <pc:docMk/>
            <pc:sldMk cId="3298264326" sldId="2147478565"/>
            <ac:spMk id="421" creationId="{A1001EB0-18A1-F660-4AA3-DB02FA7ABCAE}"/>
          </ac:spMkLst>
        </pc:spChg>
        <pc:spChg chg="add del mod">
          <ac:chgData name="Steiner Andreas 6206 ED" userId="e6377c33-a923-4f14-8587-531c474c7b48" providerId="ADAL" clId="{6ECD27E6-B224-41CD-B4E0-E297462320DD}" dt="2023-11-24T08:46:02.854" v="63528"/>
          <ac:spMkLst>
            <pc:docMk/>
            <pc:sldMk cId="3298264326" sldId="2147478565"/>
            <ac:spMk id="422" creationId="{15A08C2C-6D60-7ABF-36E4-607E6148EF87}"/>
          </ac:spMkLst>
        </pc:spChg>
        <pc:spChg chg="add del mod">
          <ac:chgData name="Steiner Andreas 6206 ED" userId="e6377c33-a923-4f14-8587-531c474c7b48" providerId="ADAL" clId="{6ECD27E6-B224-41CD-B4E0-E297462320DD}" dt="2023-11-24T08:46:05.314" v="63683"/>
          <ac:spMkLst>
            <pc:docMk/>
            <pc:sldMk cId="3298264326" sldId="2147478565"/>
            <ac:spMk id="423" creationId="{7A9B7269-ACC7-4AA2-67D8-3A42A6286BCC}"/>
          </ac:spMkLst>
        </pc:spChg>
        <pc:spChg chg="add del mod">
          <ac:chgData name="Steiner Andreas 6206 ED" userId="e6377c33-a923-4f14-8587-531c474c7b48" providerId="ADAL" clId="{6ECD27E6-B224-41CD-B4E0-E297462320DD}" dt="2023-11-24T08:46:07.814" v="63838"/>
          <ac:spMkLst>
            <pc:docMk/>
            <pc:sldMk cId="3298264326" sldId="2147478565"/>
            <ac:spMk id="424" creationId="{74475CD0-FDC7-2A7D-1DC7-D01EDF67FF6F}"/>
          </ac:spMkLst>
        </pc:spChg>
        <pc:spChg chg="add del mod">
          <ac:chgData name="Steiner Andreas 6206 ED" userId="e6377c33-a923-4f14-8587-531c474c7b48" providerId="ADAL" clId="{6ECD27E6-B224-41CD-B4E0-E297462320DD}" dt="2023-11-24T08:46:09.961" v="63993"/>
          <ac:spMkLst>
            <pc:docMk/>
            <pc:sldMk cId="3298264326" sldId="2147478565"/>
            <ac:spMk id="425" creationId="{52A7925B-C922-D13B-0648-E1F88E98B96A}"/>
          </ac:spMkLst>
        </pc:spChg>
        <pc:spChg chg="add del mod">
          <ac:chgData name="Steiner Andreas 6206 ED" userId="e6377c33-a923-4f14-8587-531c474c7b48" providerId="ADAL" clId="{6ECD27E6-B224-41CD-B4E0-E297462320DD}" dt="2023-11-24T08:46:12.167" v="64148"/>
          <ac:spMkLst>
            <pc:docMk/>
            <pc:sldMk cId="3298264326" sldId="2147478565"/>
            <ac:spMk id="426" creationId="{8DD60AF4-65EC-0AA6-B903-1D00696C010F}"/>
          </ac:spMkLst>
        </pc:spChg>
        <pc:spChg chg="add del mod">
          <ac:chgData name="Steiner Andreas 6206 ED" userId="e6377c33-a923-4f14-8587-531c474c7b48" providerId="ADAL" clId="{6ECD27E6-B224-41CD-B4E0-E297462320DD}" dt="2023-11-24T08:46:14.335" v="64303"/>
          <ac:spMkLst>
            <pc:docMk/>
            <pc:sldMk cId="3298264326" sldId="2147478565"/>
            <ac:spMk id="427" creationId="{D7F94DE9-2270-E082-1D60-79EAE5B79004}"/>
          </ac:spMkLst>
        </pc:spChg>
        <pc:spChg chg="add del mod">
          <ac:chgData name="Steiner Andreas 6206 ED" userId="e6377c33-a923-4f14-8587-531c474c7b48" providerId="ADAL" clId="{6ECD27E6-B224-41CD-B4E0-E297462320DD}" dt="2023-11-24T08:46:16.533" v="64458"/>
          <ac:spMkLst>
            <pc:docMk/>
            <pc:sldMk cId="3298264326" sldId="2147478565"/>
            <ac:spMk id="428" creationId="{E401DB43-08E4-5AE3-D4E3-23BA446FCF84}"/>
          </ac:spMkLst>
        </pc:spChg>
        <pc:spChg chg="add del mod">
          <ac:chgData name="Steiner Andreas 6206 ED" userId="e6377c33-a923-4f14-8587-531c474c7b48" providerId="ADAL" clId="{6ECD27E6-B224-41CD-B4E0-E297462320DD}" dt="2023-11-24T08:46:18.423" v="64613"/>
          <ac:spMkLst>
            <pc:docMk/>
            <pc:sldMk cId="3298264326" sldId="2147478565"/>
            <ac:spMk id="429" creationId="{EE6466BD-AF0A-18B4-A536-0EF97AE6407B}"/>
          </ac:spMkLst>
        </pc:spChg>
        <pc:spChg chg="add del mod">
          <ac:chgData name="Steiner Andreas 6206 ED" userId="e6377c33-a923-4f14-8587-531c474c7b48" providerId="ADAL" clId="{6ECD27E6-B224-41CD-B4E0-E297462320DD}" dt="2023-11-24T08:46:20.965" v="64768"/>
          <ac:spMkLst>
            <pc:docMk/>
            <pc:sldMk cId="3298264326" sldId="2147478565"/>
            <ac:spMk id="430" creationId="{9FB1EB61-31A2-CC9C-13B6-914F6E590457}"/>
          </ac:spMkLst>
        </pc:spChg>
        <pc:spChg chg="add del mod">
          <ac:chgData name="Steiner Andreas 6206 ED" userId="e6377c33-a923-4f14-8587-531c474c7b48" providerId="ADAL" clId="{6ECD27E6-B224-41CD-B4E0-E297462320DD}" dt="2023-11-24T08:46:23.236" v="64923"/>
          <ac:spMkLst>
            <pc:docMk/>
            <pc:sldMk cId="3298264326" sldId="2147478565"/>
            <ac:spMk id="431" creationId="{B2F28847-D65D-CADA-7043-C5C795519AAE}"/>
          </ac:spMkLst>
        </pc:spChg>
        <pc:spChg chg="add del mod">
          <ac:chgData name="Steiner Andreas 6206 ED" userId="e6377c33-a923-4f14-8587-531c474c7b48" providerId="ADAL" clId="{6ECD27E6-B224-41CD-B4E0-E297462320DD}" dt="2023-11-24T08:46:25.440" v="65078"/>
          <ac:spMkLst>
            <pc:docMk/>
            <pc:sldMk cId="3298264326" sldId="2147478565"/>
            <ac:spMk id="432" creationId="{0464D7B1-8317-B8E2-A49F-45220ED0E480}"/>
          </ac:spMkLst>
        </pc:spChg>
        <pc:spChg chg="add del mod">
          <ac:chgData name="Steiner Andreas 6206 ED" userId="e6377c33-a923-4f14-8587-531c474c7b48" providerId="ADAL" clId="{6ECD27E6-B224-41CD-B4E0-E297462320DD}" dt="2023-11-24T08:46:27.763" v="65233"/>
          <ac:spMkLst>
            <pc:docMk/>
            <pc:sldMk cId="3298264326" sldId="2147478565"/>
            <ac:spMk id="433" creationId="{D95A3B0E-5BD2-6170-4E81-C6B7A91ED676}"/>
          </ac:spMkLst>
        </pc:spChg>
        <pc:spChg chg="add del mod">
          <ac:chgData name="Steiner Andreas 6206 ED" userId="e6377c33-a923-4f14-8587-531c474c7b48" providerId="ADAL" clId="{6ECD27E6-B224-41CD-B4E0-E297462320DD}" dt="2023-11-24T08:46:29.834" v="65388"/>
          <ac:spMkLst>
            <pc:docMk/>
            <pc:sldMk cId="3298264326" sldId="2147478565"/>
            <ac:spMk id="434" creationId="{7FD9A93C-A1ED-90A9-6BAE-421EB84C9B09}"/>
          </ac:spMkLst>
        </pc:spChg>
        <pc:spChg chg="add del mod">
          <ac:chgData name="Steiner Andreas 6206 ED" userId="e6377c33-a923-4f14-8587-531c474c7b48" providerId="ADAL" clId="{6ECD27E6-B224-41CD-B4E0-E297462320DD}" dt="2023-11-24T08:46:32.311" v="65543"/>
          <ac:spMkLst>
            <pc:docMk/>
            <pc:sldMk cId="3298264326" sldId="2147478565"/>
            <ac:spMk id="435" creationId="{6CC9B8DD-3F46-BEC1-DD68-0841B72A0F81}"/>
          </ac:spMkLst>
        </pc:spChg>
        <pc:spChg chg="add del mod">
          <ac:chgData name="Steiner Andreas 6206 ED" userId="e6377c33-a923-4f14-8587-531c474c7b48" providerId="ADAL" clId="{6ECD27E6-B224-41CD-B4E0-E297462320DD}" dt="2023-11-24T08:46:34.332" v="65698"/>
          <ac:spMkLst>
            <pc:docMk/>
            <pc:sldMk cId="3298264326" sldId="2147478565"/>
            <ac:spMk id="436" creationId="{AE6040AB-6908-E466-7294-3D6966614B46}"/>
          </ac:spMkLst>
        </pc:spChg>
        <pc:spChg chg="add del mod">
          <ac:chgData name="Steiner Andreas 6206 ED" userId="e6377c33-a923-4f14-8587-531c474c7b48" providerId="ADAL" clId="{6ECD27E6-B224-41CD-B4E0-E297462320DD}" dt="2023-11-24T08:46:36.257" v="65853"/>
          <ac:spMkLst>
            <pc:docMk/>
            <pc:sldMk cId="3298264326" sldId="2147478565"/>
            <ac:spMk id="437" creationId="{9B02A25F-4F91-2CB5-F1A2-42EFEFE1BEE2}"/>
          </ac:spMkLst>
        </pc:spChg>
        <pc:spChg chg="add del mod">
          <ac:chgData name="Steiner Andreas 6206 ED" userId="e6377c33-a923-4f14-8587-531c474c7b48" providerId="ADAL" clId="{6ECD27E6-B224-41CD-B4E0-E297462320DD}" dt="2023-11-24T08:46:38.345" v="66008"/>
          <ac:spMkLst>
            <pc:docMk/>
            <pc:sldMk cId="3298264326" sldId="2147478565"/>
            <ac:spMk id="438" creationId="{3B3088CF-F5F7-47FF-3450-52BA7895C23F}"/>
          </ac:spMkLst>
        </pc:spChg>
        <pc:spChg chg="add del mod">
          <ac:chgData name="Steiner Andreas 6206 ED" userId="e6377c33-a923-4f14-8587-531c474c7b48" providerId="ADAL" clId="{6ECD27E6-B224-41CD-B4E0-E297462320DD}" dt="2023-11-24T08:46:40.427" v="66163"/>
          <ac:spMkLst>
            <pc:docMk/>
            <pc:sldMk cId="3298264326" sldId="2147478565"/>
            <ac:spMk id="439" creationId="{258C3582-77A6-A99D-0EB4-2CFCC6293D81}"/>
          </ac:spMkLst>
        </pc:spChg>
        <pc:spChg chg="add del mod">
          <ac:chgData name="Steiner Andreas 6206 ED" userId="e6377c33-a923-4f14-8587-531c474c7b48" providerId="ADAL" clId="{6ECD27E6-B224-41CD-B4E0-E297462320DD}" dt="2023-11-24T08:46:42.712" v="66318"/>
          <ac:spMkLst>
            <pc:docMk/>
            <pc:sldMk cId="3298264326" sldId="2147478565"/>
            <ac:spMk id="440" creationId="{3EE51522-EF6A-3C84-399F-1BB093412C53}"/>
          </ac:spMkLst>
        </pc:spChg>
        <pc:spChg chg="add del mod">
          <ac:chgData name="Steiner Andreas 6206 ED" userId="e6377c33-a923-4f14-8587-531c474c7b48" providerId="ADAL" clId="{6ECD27E6-B224-41CD-B4E0-E297462320DD}" dt="2023-11-24T08:46:44.821" v="66473"/>
          <ac:spMkLst>
            <pc:docMk/>
            <pc:sldMk cId="3298264326" sldId="2147478565"/>
            <ac:spMk id="441" creationId="{F2DECB1A-6722-B30C-A145-D526F74298F1}"/>
          </ac:spMkLst>
        </pc:spChg>
        <pc:spChg chg="add del mod">
          <ac:chgData name="Steiner Andreas 6206 ED" userId="e6377c33-a923-4f14-8587-531c474c7b48" providerId="ADAL" clId="{6ECD27E6-B224-41CD-B4E0-E297462320DD}" dt="2023-11-24T08:46:46.900" v="66628"/>
          <ac:spMkLst>
            <pc:docMk/>
            <pc:sldMk cId="3298264326" sldId="2147478565"/>
            <ac:spMk id="442" creationId="{8AF39E3B-4CFA-DB2A-2953-8C1B7AAFA406}"/>
          </ac:spMkLst>
        </pc:spChg>
        <pc:spChg chg="add del mod">
          <ac:chgData name="Steiner Andreas 6206 ED" userId="e6377c33-a923-4f14-8587-531c474c7b48" providerId="ADAL" clId="{6ECD27E6-B224-41CD-B4E0-E297462320DD}" dt="2023-11-24T08:46:49.036" v="66783"/>
          <ac:spMkLst>
            <pc:docMk/>
            <pc:sldMk cId="3298264326" sldId="2147478565"/>
            <ac:spMk id="443" creationId="{8D0AE6E6-4991-4193-44DF-6B9E51D26ED9}"/>
          </ac:spMkLst>
        </pc:spChg>
        <pc:spChg chg="add del mod">
          <ac:chgData name="Steiner Andreas 6206 ED" userId="e6377c33-a923-4f14-8587-531c474c7b48" providerId="ADAL" clId="{6ECD27E6-B224-41CD-B4E0-E297462320DD}" dt="2023-11-24T08:46:51.091" v="66938"/>
          <ac:spMkLst>
            <pc:docMk/>
            <pc:sldMk cId="3298264326" sldId="2147478565"/>
            <ac:spMk id="444" creationId="{305CD0E5-B43F-73B1-2D0B-CA8566BB0613}"/>
          </ac:spMkLst>
        </pc:spChg>
        <pc:spChg chg="add del mod">
          <ac:chgData name="Steiner Andreas 6206 ED" userId="e6377c33-a923-4f14-8587-531c474c7b48" providerId="ADAL" clId="{6ECD27E6-B224-41CD-B4E0-E297462320DD}" dt="2023-11-24T08:46:53.119" v="67093"/>
          <ac:spMkLst>
            <pc:docMk/>
            <pc:sldMk cId="3298264326" sldId="2147478565"/>
            <ac:spMk id="445" creationId="{0F242E5B-2130-99B9-8F1D-99F40DB5AFBA}"/>
          </ac:spMkLst>
        </pc:spChg>
        <pc:spChg chg="add del mod">
          <ac:chgData name="Steiner Andreas 6206 ED" userId="e6377c33-a923-4f14-8587-531c474c7b48" providerId="ADAL" clId="{6ECD27E6-B224-41CD-B4E0-E297462320DD}" dt="2023-11-24T08:46:55.115" v="67248"/>
          <ac:spMkLst>
            <pc:docMk/>
            <pc:sldMk cId="3298264326" sldId="2147478565"/>
            <ac:spMk id="446" creationId="{5EE525CD-A5C3-A6B1-436C-19018A046652}"/>
          </ac:spMkLst>
        </pc:spChg>
        <pc:spChg chg="add del mod">
          <ac:chgData name="Steiner Andreas 6206 ED" userId="e6377c33-a923-4f14-8587-531c474c7b48" providerId="ADAL" clId="{6ECD27E6-B224-41CD-B4E0-E297462320DD}" dt="2023-11-24T08:46:57.059" v="67403"/>
          <ac:spMkLst>
            <pc:docMk/>
            <pc:sldMk cId="3298264326" sldId="2147478565"/>
            <ac:spMk id="447" creationId="{EEC9C56D-CA1E-5CF7-8655-03610C6E0B19}"/>
          </ac:spMkLst>
        </pc:spChg>
        <pc:spChg chg="add del mod">
          <ac:chgData name="Steiner Andreas 6206 ED" userId="e6377c33-a923-4f14-8587-531c474c7b48" providerId="ADAL" clId="{6ECD27E6-B224-41CD-B4E0-E297462320DD}" dt="2023-11-24T08:46:58.931" v="67558"/>
          <ac:spMkLst>
            <pc:docMk/>
            <pc:sldMk cId="3298264326" sldId="2147478565"/>
            <ac:spMk id="448" creationId="{93F95384-4F33-2B8C-4378-360B182FC3AF}"/>
          </ac:spMkLst>
        </pc:spChg>
        <pc:spChg chg="add del mod">
          <ac:chgData name="Steiner Andreas 6206 ED" userId="e6377c33-a923-4f14-8587-531c474c7b48" providerId="ADAL" clId="{6ECD27E6-B224-41CD-B4E0-E297462320DD}" dt="2023-11-24T08:47:01.038" v="67713"/>
          <ac:spMkLst>
            <pc:docMk/>
            <pc:sldMk cId="3298264326" sldId="2147478565"/>
            <ac:spMk id="449" creationId="{10CFB3E2-F4DB-DE87-1FD1-08EADA19F300}"/>
          </ac:spMkLst>
        </pc:spChg>
        <pc:spChg chg="add del mod">
          <ac:chgData name="Steiner Andreas 6206 ED" userId="e6377c33-a923-4f14-8587-531c474c7b48" providerId="ADAL" clId="{6ECD27E6-B224-41CD-B4E0-E297462320DD}" dt="2023-11-24T08:47:03.226" v="67868"/>
          <ac:spMkLst>
            <pc:docMk/>
            <pc:sldMk cId="3298264326" sldId="2147478565"/>
            <ac:spMk id="450" creationId="{4AE82D00-692E-7261-0E1F-F8F9404DDB7D}"/>
          </ac:spMkLst>
        </pc:spChg>
        <pc:spChg chg="add del mod">
          <ac:chgData name="Steiner Andreas 6206 ED" userId="e6377c33-a923-4f14-8587-531c474c7b48" providerId="ADAL" clId="{6ECD27E6-B224-41CD-B4E0-E297462320DD}" dt="2023-11-24T08:47:05.183" v="68023"/>
          <ac:spMkLst>
            <pc:docMk/>
            <pc:sldMk cId="3298264326" sldId="2147478565"/>
            <ac:spMk id="451" creationId="{CAB6959D-559A-263C-BFF7-3FCB35FE6186}"/>
          </ac:spMkLst>
        </pc:spChg>
        <pc:spChg chg="add del mod">
          <ac:chgData name="Steiner Andreas 6206 ED" userId="e6377c33-a923-4f14-8587-531c474c7b48" providerId="ADAL" clId="{6ECD27E6-B224-41CD-B4E0-E297462320DD}" dt="2023-11-24T08:47:06.960" v="68178"/>
          <ac:spMkLst>
            <pc:docMk/>
            <pc:sldMk cId="3298264326" sldId="2147478565"/>
            <ac:spMk id="452" creationId="{21343068-D16B-ECAC-F825-BC1119CF7F94}"/>
          </ac:spMkLst>
        </pc:spChg>
        <pc:spChg chg="add del mod">
          <ac:chgData name="Steiner Andreas 6206 ED" userId="e6377c33-a923-4f14-8587-531c474c7b48" providerId="ADAL" clId="{6ECD27E6-B224-41CD-B4E0-E297462320DD}" dt="2023-11-24T08:47:08.858" v="68333"/>
          <ac:spMkLst>
            <pc:docMk/>
            <pc:sldMk cId="3298264326" sldId="2147478565"/>
            <ac:spMk id="453" creationId="{FA263688-D13C-E328-B418-E6C117044C96}"/>
          </ac:spMkLst>
        </pc:spChg>
        <pc:spChg chg="add del mod">
          <ac:chgData name="Steiner Andreas 6206 ED" userId="e6377c33-a923-4f14-8587-531c474c7b48" providerId="ADAL" clId="{6ECD27E6-B224-41CD-B4E0-E297462320DD}" dt="2023-11-24T08:47:10.739" v="68488"/>
          <ac:spMkLst>
            <pc:docMk/>
            <pc:sldMk cId="3298264326" sldId="2147478565"/>
            <ac:spMk id="454" creationId="{393AEA6A-F748-9F16-F558-8126CD955881}"/>
          </ac:spMkLst>
        </pc:spChg>
        <pc:spChg chg="add del mod">
          <ac:chgData name="Steiner Andreas 6206 ED" userId="e6377c33-a923-4f14-8587-531c474c7b48" providerId="ADAL" clId="{6ECD27E6-B224-41CD-B4E0-E297462320DD}" dt="2023-11-24T08:47:12.618" v="68643"/>
          <ac:spMkLst>
            <pc:docMk/>
            <pc:sldMk cId="3298264326" sldId="2147478565"/>
            <ac:spMk id="455" creationId="{8196BC96-F55C-B835-550B-BA8071192679}"/>
          </ac:spMkLst>
        </pc:spChg>
        <pc:spChg chg="add del mod">
          <ac:chgData name="Steiner Andreas 6206 ED" userId="e6377c33-a923-4f14-8587-531c474c7b48" providerId="ADAL" clId="{6ECD27E6-B224-41CD-B4E0-E297462320DD}" dt="2023-11-24T08:47:14.789" v="68798"/>
          <ac:spMkLst>
            <pc:docMk/>
            <pc:sldMk cId="3298264326" sldId="2147478565"/>
            <ac:spMk id="456" creationId="{2CB2B4A4-208F-6B52-B526-245C48DFCBC1}"/>
          </ac:spMkLst>
        </pc:spChg>
        <pc:spChg chg="add del mod">
          <ac:chgData name="Steiner Andreas 6206 ED" userId="e6377c33-a923-4f14-8587-531c474c7b48" providerId="ADAL" clId="{6ECD27E6-B224-41CD-B4E0-E297462320DD}" dt="2023-11-24T08:47:16.735" v="68953"/>
          <ac:spMkLst>
            <pc:docMk/>
            <pc:sldMk cId="3298264326" sldId="2147478565"/>
            <ac:spMk id="457" creationId="{CB6CAB63-780B-9FA7-721C-0C53D9E2A9D7}"/>
          </ac:spMkLst>
        </pc:spChg>
        <pc:spChg chg="add del mod">
          <ac:chgData name="Steiner Andreas 6206 ED" userId="e6377c33-a923-4f14-8587-531c474c7b48" providerId="ADAL" clId="{6ECD27E6-B224-41CD-B4E0-E297462320DD}" dt="2023-11-24T08:47:18.676" v="69108"/>
          <ac:spMkLst>
            <pc:docMk/>
            <pc:sldMk cId="3298264326" sldId="2147478565"/>
            <ac:spMk id="458" creationId="{C5BCB3DE-E119-EE3B-9686-99DF9A9EEC8B}"/>
          </ac:spMkLst>
        </pc:spChg>
        <pc:spChg chg="add del mod">
          <ac:chgData name="Steiner Andreas 6206 ED" userId="e6377c33-a923-4f14-8587-531c474c7b48" providerId="ADAL" clId="{6ECD27E6-B224-41CD-B4E0-E297462320DD}" dt="2023-11-24T08:47:20.645" v="69263"/>
          <ac:spMkLst>
            <pc:docMk/>
            <pc:sldMk cId="3298264326" sldId="2147478565"/>
            <ac:spMk id="459" creationId="{C9A0CEF7-19A6-CDD7-C8D7-7AFA0189F6E2}"/>
          </ac:spMkLst>
        </pc:spChg>
        <pc:spChg chg="add del mod">
          <ac:chgData name="Steiner Andreas 6206 ED" userId="e6377c33-a923-4f14-8587-531c474c7b48" providerId="ADAL" clId="{6ECD27E6-B224-41CD-B4E0-E297462320DD}" dt="2023-11-24T08:47:23.071" v="69418"/>
          <ac:spMkLst>
            <pc:docMk/>
            <pc:sldMk cId="3298264326" sldId="2147478565"/>
            <ac:spMk id="460" creationId="{57A2DB3A-FAAB-4554-E3AD-FEEB4C2D1868}"/>
          </ac:spMkLst>
        </pc:spChg>
        <pc:spChg chg="add del mod">
          <ac:chgData name="Steiner Andreas 6206 ED" userId="e6377c33-a923-4f14-8587-531c474c7b48" providerId="ADAL" clId="{6ECD27E6-B224-41CD-B4E0-E297462320DD}" dt="2023-11-24T08:47:25.749" v="69573"/>
          <ac:spMkLst>
            <pc:docMk/>
            <pc:sldMk cId="3298264326" sldId="2147478565"/>
            <ac:spMk id="461" creationId="{DE93E7E4-C74C-7BC0-8B29-C3054B1597A7}"/>
          </ac:spMkLst>
        </pc:spChg>
        <pc:spChg chg="add del mod">
          <ac:chgData name="Steiner Andreas 6206 ED" userId="e6377c33-a923-4f14-8587-531c474c7b48" providerId="ADAL" clId="{6ECD27E6-B224-41CD-B4E0-E297462320DD}" dt="2023-11-24T08:47:27.922" v="69728"/>
          <ac:spMkLst>
            <pc:docMk/>
            <pc:sldMk cId="3298264326" sldId="2147478565"/>
            <ac:spMk id="462" creationId="{78ABDB2B-17DE-8678-14F4-20B67AAA9016}"/>
          </ac:spMkLst>
        </pc:spChg>
        <pc:spChg chg="add del mod">
          <ac:chgData name="Steiner Andreas 6206 ED" userId="e6377c33-a923-4f14-8587-531c474c7b48" providerId="ADAL" clId="{6ECD27E6-B224-41CD-B4E0-E297462320DD}" dt="2023-11-24T08:47:29.964" v="69883"/>
          <ac:spMkLst>
            <pc:docMk/>
            <pc:sldMk cId="3298264326" sldId="2147478565"/>
            <ac:spMk id="463" creationId="{713A0445-FF87-9994-7BFC-3B9EDFFDAAAC}"/>
          </ac:spMkLst>
        </pc:spChg>
        <pc:spChg chg="add del mod">
          <ac:chgData name="Steiner Andreas 6206 ED" userId="e6377c33-a923-4f14-8587-531c474c7b48" providerId="ADAL" clId="{6ECD27E6-B224-41CD-B4E0-E297462320DD}" dt="2023-11-24T08:47:31.936" v="70038"/>
          <ac:spMkLst>
            <pc:docMk/>
            <pc:sldMk cId="3298264326" sldId="2147478565"/>
            <ac:spMk id="464" creationId="{95EDA068-E97A-1021-529E-D7F45145CCE9}"/>
          </ac:spMkLst>
        </pc:spChg>
        <pc:spChg chg="add del mod">
          <ac:chgData name="Steiner Andreas 6206 ED" userId="e6377c33-a923-4f14-8587-531c474c7b48" providerId="ADAL" clId="{6ECD27E6-B224-41CD-B4E0-E297462320DD}" dt="2023-11-24T08:47:33.919" v="70193"/>
          <ac:spMkLst>
            <pc:docMk/>
            <pc:sldMk cId="3298264326" sldId="2147478565"/>
            <ac:spMk id="465" creationId="{53CF3342-2C27-12EC-91C5-0FD1693948D4}"/>
          </ac:spMkLst>
        </pc:spChg>
        <pc:spChg chg="add del mod">
          <ac:chgData name="Steiner Andreas 6206 ED" userId="e6377c33-a923-4f14-8587-531c474c7b48" providerId="ADAL" clId="{6ECD27E6-B224-41CD-B4E0-E297462320DD}" dt="2023-11-24T08:47:36.079" v="70348"/>
          <ac:spMkLst>
            <pc:docMk/>
            <pc:sldMk cId="3298264326" sldId="2147478565"/>
            <ac:spMk id="466" creationId="{3F2BC193-9B5A-311C-C331-EE2F89E91FD0}"/>
          </ac:spMkLst>
        </pc:spChg>
        <pc:spChg chg="add del mod">
          <ac:chgData name="Steiner Andreas 6206 ED" userId="e6377c33-a923-4f14-8587-531c474c7b48" providerId="ADAL" clId="{6ECD27E6-B224-41CD-B4E0-E297462320DD}" dt="2023-11-24T08:47:38.189" v="70503"/>
          <ac:spMkLst>
            <pc:docMk/>
            <pc:sldMk cId="3298264326" sldId="2147478565"/>
            <ac:spMk id="467" creationId="{F0C606D0-F78C-D16A-C9EB-D1D4CE826302}"/>
          </ac:spMkLst>
        </pc:spChg>
        <pc:spChg chg="add del mod">
          <ac:chgData name="Steiner Andreas 6206 ED" userId="e6377c33-a923-4f14-8587-531c474c7b48" providerId="ADAL" clId="{6ECD27E6-B224-41CD-B4E0-E297462320DD}" dt="2023-11-24T08:47:40.271" v="70658"/>
          <ac:spMkLst>
            <pc:docMk/>
            <pc:sldMk cId="3298264326" sldId="2147478565"/>
            <ac:spMk id="468" creationId="{A68D119D-5C22-245D-850F-586DDD63CFFA}"/>
          </ac:spMkLst>
        </pc:spChg>
        <pc:spChg chg="add del mod">
          <ac:chgData name="Steiner Andreas 6206 ED" userId="e6377c33-a923-4f14-8587-531c474c7b48" providerId="ADAL" clId="{6ECD27E6-B224-41CD-B4E0-E297462320DD}" dt="2023-11-24T08:47:42.174" v="70813"/>
          <ac:spMkLst>
            <pc:docMk/>
            <pc:sldMk cId="3298264326" sldId="2147478565"/>
            <ac:spMk id="469" creationId="{93F39ECB-6245-8B56-E964-18D6551E5DF1}"/>
          </ac:spMkLst>
        </pc:spChg>
        <pc:spChg chg="add del mod">
          <ac:chgData name="Steiner Andreas 6206 ED" userId="e6377c33-a923-4f14-8587-531c474c7b48" providerId="ADAL" clId="{6ECD27E6-B224-41CD-B4E0-E297462320DD}" dt="2023-11-24T08:47:44.098" v="70968"/>
          <ac:spMkLst>
            <pc:docMk/>
            <pc:sldMk cId="3298264326" sldId="2147478565"/>
            <ac:spMk id="470" creationId="{76A8E9F0-01AC-0E80-53B6-2EF89963AD79}"/>
          </ac:spMkLst>
        </pc:spChg>
        <pc:spChg chg="add del mod">
          <ac:chgData name="Steiner Andreas 6206 ED" userId="e6377c33-a923-4f14-8587-531c474c7b48" providerId="ADAL" clId="{6ECD27E6-B224-41CD-B4E0-E297462320DD}" dt="2023-11-24T08:47:46.048" v="71123"/>
          <ac:spMkLst>
            <pc:docMk/>
            <pc:sldMk cId="3298264326" sldId="2147478565"/>
            <ac:spMk id="471" creationId="{8E1E217F-A329-D485-94E9-22E3599BA994}"/>
          </ac:spMkLst>
        </pc:spChg>
        <pc:spChg chg="add del mod">
          <ac:chgData name="Steiner Andreas 6206 ED" userId="e6377c33-a923-4f14-8587-531c474c7b48" providerId="ADAL" clId="{6ECD27E6-B224-41CD-B4E0-E297462320DD}" dt="2023-11-24T08:47:48.146" v="71278"/>
          <ac:spMkLst>
            <pc:docMk/>
            <pc:sldMk cId="3298264326" sldId="2147478565"/>
            <ac:spMk id="472" creationId="{6BED41B5-CD38-7C84-03FF-F16D7EC23C41}"/>
          </ac:spMkLst>
        </pc:spChg>
        <pc:spChg chg="add del mod">
          <ac:chgData name="Steiner Andreas 6206 ED" userId="e6377c33-a923-4f14-8587-531c474c7b48" providerId="ADAL" clId="{6ECD27E6-B224-41CD-B4E0-E297462320DD}" dt="2023-11-24T08:47:50.236" v="71433"/>
          <ac:spMkLst>
            <pc:docMk/>
            <pc:sldMk cId="3298264326" sldId="2147478565"/>
            <ac:spMk id="473" creationId="{8F313633-693B-098A-23AE-832B287BFB5C}"/>
          </ac:spMkLst>
        </pc:spChg>
        <pc:spChg chg="add del mod">
          <ac:chgData name="Steiner Andreas 6206 ED" userId="e6377c33-a923-4f14-8587-531c474c7b48" providerId="ADAL" clId="{6ECD27E6-B224-41CD-B4E0-E297462320DD}" dt="2023-11-24T08:47:52.133" v="71588"/>
          <ac:spMkLst>
            <pc:docMk/>
            <pc:sldMk cId="3298264326" sldId="2147478565"/>
            <ac:spMk id="474" creationId="{154A3C44-5CA2-4106-F2D2-D32B361EEE6F}"/>
          </ac:spMkLst>
        </pc:spChg>
        <pc:spChg chg="add del mod">
          <ac:chgData name="Steiner Andreas 6206 ED" userId="e6377c33-a923-4f14-8587-531c474c7b48" providerId="ADAL" clId="{6ECD27E6-B224-41CD-B4E0-E297462320DD}" dt="2023-11-24T08:47:54.073" v="71743"/>
          <ac:spMkLst>
            <pc:docMk/>
            <pc:sldMk cId="3298264326" sldId="2147478565"/>
            <ac:spMk id="475" creationId="{85EEB132-84EC-7594-90E2-0FB6D190C43F}"/>
          </ac:spMkLst>
        </pc:spChg>
        <pc:spChg chg="add del mod">
          <ac:chgData name="Steiner Andreas 6206 ED" userId="e6377c33-a923-4f14-8587-531c474c7b48" providerId="ADAL" clId="{6ECD27E6-B224-41CD-B4E0-E297462320DD}" dt="2023-11-24T08:47:55.934" v="71898"/>
          <ac:spMkLst>
            <pc:docMk/>
            <pc:sldMk cId="3298264326" sldId="2147478565"/>
            <ac:spMk id="476" creationId="{E06DFFF2-6447-E1F7-F9B7-271E007FBCBD}"/>
          </ac:spMkLst>
        </pc:spChg>
        <pc:spChg chg="add del mod">
          <ac:chgData name="Steiner Andreas 6206 ED" userId="e6377c33-a923-4f14-8587-531c474c7b48" providerId="ADAL" clId="{6ECD27E6-B224-41CD-B4E0-E297462320DD}" dt="2023-11-24T08:47:57.925" v="72053"/>
          <ac:spMkLst>
            <pc:docMk/>
            <pc:sldMk cId="3298264326" sldId="2147478565"/>
            <ac:spMk id="477" creationId="{CDF038DD-B440-04B8-7E00-7CA986B67DDE}"/>
          </ac:spMkLst>
        </pc:spChg>
        <pc:spChg chg="add del mod">
          <ac:chgData name="Steiner Andreas 6206 ED" userId="e6377c33-a923-4f14-8587-531c474c7b48" providerId="ADAL" clId="{6ECD27E6-B224-41CD-B4E0-E297462320DD}" dt="2023-11-24T08:48:00.061" v="72208"/>
          <ac:spMkLst>
            <pc:docMk/>
            <pc:sldMk cId="3298264326" sldId="2147478565"/>
            <ac:spMk id="478" creationId="{2B9B125B-AD17-ABAB-4D6F-AA036665D802}"/>
          </ac:spMkLst>
        </pc:spChg>
        <pc:spChg chg="add del mod">
          <ac:chgData name="Steiner Andreas 6206 ED" userId="e6377c33-a923-4f14-8587-531c474c7b48" providerId="ADAL" clId="{6ECD27E6-B224-41CD-B4E0-E297462320DD}" dt="2023-11-24T08:48:02.196" v="72363"/>
          <ac:spMkLst>
            <pc:docMk/>
            <pc:sldMk cId="3298264326" sldId="2147478565"/>
            <ac:spMk id="479" creationId="{4B9F634F-BA69-3105-A829-673DEB06C215}"/>
          </ac:spMkLst>
        </pc:spChg>
        <pc:spChg chg="add del mod">
          <ac:chgData name="Steiner Andreas 6206 ED" userId="e6377c33-a923-4f14-8587-531c474c7b48" providerId="ADAL" clId="{6ECD27E6-B224-41CD-B4E0-E297462320DD}" dt="2023-11-24T08:48:04.212" v="72518"/>
          <ac:spMkLst>
            <pc:docMk/>
            <pc:sldMk cId="3298264326" sldId="2147478565"/>
            <ac:spMk id="480" creationId="{C05C7C1B-C02F-B57A-6051-6B8FEB24AA36}"/>
          </ac:spMkLst>
        </pc:spChg>
        <pc:spChg chg="add del mod">
          <ac:chgData name="Steiner Andreas 6206 ED" userId="e6377c33-a923-4f14-8587-531c474c7b48" providerId="ADAL" clId="{6ECD27E6-B224-41CD-B4E0-E297462320DD}" dt="2023-11-24T08:48:06.465" v="72673"/>
          <ac:spMkLst>
            <pc:docMk/>
            <pc:sldMk cId="3298264326" sldId="2147478565"/>
            <ac:spMk id="481" creationId="{16FDCB36-0BB5-F228-6912-BFCEC73A5506}"/>
          </ac:spMkLst>
        </pc:spChg>
        <pc:spChg chg="add del mod">
          <ac:chgData name="Steiner Andreas 6206 ED" userId="e6377c33-a923-4f14-8587-531c474c7b48" providerId="ADAL" clId="{6ECD27E6-B224-41CD-B4E0-E297462320DD}" dt="2023-11-24T08:48:08.567" v="72828"/>
          <ac:spMkLst>
            <pc:docMk/>
            <pc:sldMk cId="3298264326" sldId="2147478565"/>
            <ac:spMk id="482" creationId="{4D16D0D4-6165-5458-8EA9-2A2F57A033D4}"/>
          </ac:spMkLst>
        </pc:spChg>
        <pc:spChg chg="add del mod">
          <ac:chgData name="Steiner Andreas 6206 ED" userId="e6377c33-a923-4f14-8587-531c474c7b48" providerId="ADAL" clId="{6ECD27E6-B224-41CD-B4E0-E297462320DD}" dt="2023-11-24T08:48:10.670" v="72983"/>
          <ac:spMkLst>
            <pc:docMk/>
            <pc:sldMk cId="3298264326" sldId="2147478565"/>
            <ac:spMk id="483" creationId="{1D91D4B5-4BD9-633B-C7DD-B82E4081897A}"/>
          </ac:spMkLst>
        </pc:spChg>
        <pc:spChg chg="add del mod">
          <ac:chgData name="Steiner Andreas 6206 ED" userId="e6377c33-a923-4f14-8587-531c474c7b48" providerId="ADAL" clId="{6ECD27E6-B224-41CD-B4E0-E297462320DD}" dt="2023-11-24T08:48:12.596" v="73138"/>
          <ac:spMkLst>
            <pc:docMk/>
            <pc:sldMk cId="3298264326" sldId="2147478565"/>
            <ac:spMk id="484" creationId="{7657EB0E-9149-E74F-6BBD-12F272226D8C}"/>
          </ac:spMkLst>
        </pc:spChg>
        <pc:spChg chg="add del mod">
          <ac:chgData name="Steiner Andreas 6206 ED" userId="e6377c33-a923-4f14-8587-531c474c7b48" providerId="ADAL" clId="{6ECD27E6-B224-41CD-B4E0-E297462320DD}" dt="2023-11-24T08:48:15.199" v="73293"/>
          <ac:spMkLst>
            <pc:docMk/>
            <pc:sldMk cId="3298264326" sldId="2147478565"/>
            <ac:spMk id="485" creationId="{19732DF4-DEBA-8712-9F7E-933787074653}"/>
          </ac:spMkLst>
        </pc:spChg>
        <pc:spChg chg="add del mod">
          <ac:chgData name="Steiner Andreas 6206 ED" userId="e6377c33-a923-4f14-8587-531c474c7b48" providerId="ADAL" clId="{6ECD27E6-B224-41CD-B4E0-E297462320DD}" dt="2023-11-24T08:48:18.003" v="73448"/>
          <ac:spMkLst>
            <pc:docMk/>
            <pc:sldMk cId="3298264326" sldId="2147478565"/>
            <ac:spMk id="486" creationId="{ACCC1DDC-8B68-4AE0-F8D2-2223140BA2F8}"/>
          </ac:spMkLst>
        </pc:spChg>
        <pc:spChg chg="add del mod">
          <ac:chgData name="Steiner Andreas 6206 ED" userId="e6377c33-a923-4f14-8587-531c474c7b48" providerId="ADAL" clId="{6ECD27E6-B224-41CD-B4E0-E297462320DD}" dt="2023-11-24T08:48:20.434" v="73603"/>
          <ac:spMkLst>
            <pc:docMk/>
            <pc:sldMk cId="3298264326" sldId="2147478565"/>
            <ac:spMk id="487" creationId="{A083B62C-B7AF-6BB9-BCF6-0A0D2CBE16A6}"/>
          </ac:spMkLst>
        </pc:spChg>
        <pc:spChg chg="add del mod">
          <ac:chgData name="Steiner Andreas 6206 ED" userId="e6377c33-a923-4f14-8587-531c474c7b48" providerId="ADAL" clId="{6ECD27E6-B224-41CD-B4E0-E297462320DD}" dt="2023-11-24T08:48:22.580" v="73758"/>
          <ac:spMkLst>
            <pc:docMk/>
            <pc:sldMk cId="3298264326" sldId="2147478565"/>
            <ac:spMk id="488" creationId="{6DE94032-4340-F1E1-D059-45A237CD4883}"/>
          </ac:spMkLst>
        </pc:spChg>
        <pc:spChg chg="add del mod">
          <ac:chgData name="Steiner Andreas 6206 ED" userId="e6377c33-a923-4f14-8587-531c474c7b48" providerId="ADAL" clId="{6ECD27E6-B224-41CD-B4E0-E297462320DD}" dt="2023-11-24T08:48:24.648" v="73913"/>
          <ac:spMkLst>
            <pc:docMk/>
            <pc:sldMk cId="3298264326" sldId="2147478565"/>
            <ac:spMk id="489" creationId="{8D57F832-4D35-DEB0-3DD2-CA3660DF9879}"/>
          </ac:spMkLst>
        </pc:spChg>
        <pc:spChg chg="add del mod">
          <ac:chgData name="Steiner Andreas 6206 ED" userId="e6377c33-a923-4f14-8587-531c474c7b48" providerId="ADAL" clId="{6ECD27E6-B224-41CD-B4E0-E297462320DD}" dt="2023-11-24T08:48:26.752" v="74068"/>
          <ac:spMkLst>
            <pc:docMk/>
            <pc:sldMk cId="3298264326" sldId="2147478565"/>
            <ac:spMk id="490" creationId="{0F7DE8D6-DA95-74A9-5EC1-D5FA9768DDE5}"/>
          </ac:spMkLst>
        </pc:spChg>
        <pc:spChg chg="add del mod">
          <ac:chgData name="Steiner Andreas 6206 ED" userId="e6377c33-a923-4f14-8587-531c474c7b48" providerId="ADAL" clId="{6ECD27E6-B224-41CD-B4E0-E297462320DD}" dt="2023-11-24T08:48:28.748" v="74223"/>
          <ac:spMkLst>
            <pc:docMk/>
            <pc:sldMk cId="3298264326" sldId="2147478565"/>
            <ac:spMk id="491" creationId="{78817F36-8F75-7264-5B16-44943F284D07}"/>
          </ac:spMkLst>
        </pc:spChg>
        <pc:spChg chg="add del mod">
          <ac:chgData name="Steiner Andreas 6206 ED" userId="e6377c33-a923-4f14-8587-531c474c7b48" providerId="ADAL" clId="{6ECD27E6-B224-41CD-B4E0-E297462320DD}" dt="2023-11-24T08:48:30.621" v="74378"/>
          <ac:spMkLst>
            <pc:docMk/>
            <pc:sldMk cId="3298264326" sldId="2147478565"/>
            <ac:spMk id="492" creationId="{6026130D-9B54-D648-29B5-C88CDDCD5748}"/>
          </ac:spMkLst>
        </pc:spChg>
        <pc:spChg chg="add del mod">
          <ac:chgData name="Steiner Andreas 6206 ED" userId="e6377c33-a923-4f14-8587-531c474c7b48" providerId="ADAL" clId="{6ECD27E6-B224-41CD-B4E0-E297462320DD}" dt="2023-11-24T08:48:32.607" v="74533"/>
          <ac:spMkLst>
            <pc:docMk/>
            <pc:sldMk cId="3298264326" sldId="2147478565"/>
            <ac:spMk id="493" creationId="{228E97A1-5DC2-3AC5-DE8A-0978C5F1B52D}"/>
          </ac:spMkLst>
        </pc:spChg>
        <pc:spChg chg="add del mod">
          <ac:chgData name="Steiner Andreas 6206 ED" userId="e6377c33-a923-4f14-8587-531c474c7b48" providerId="ADAL" clId="{6ECD27E6-B224-41CD-B4E0-E297462320DD}" dt="2023-11-24T08:48:34.886" v="74688"/>
          <ac:spMkLst>
            <pc:docMk/>
            <pc:sldMk cId="3298264326" sldId="2147478565"/>
            <ac:spMk id="494" creationId="{E4FDDB06-2176-C442-C8E4-41484599B7D7}"/>
          </ac:spMkLst>
        </pc:spChg>
        <pc:spChg chg="add del mod">
          <ac:chgData name="Steiner Andreas 6206 ED" userId="e6377c33-a923-4f14-8587-531c474c7b48" providerId="ADAL" clId="{6ECD27E6-B224-41CD-B4E0-E297462320DD}" dt="2023-11-24T08:48:37.022" v="74843"/>
          <ac:spMkLst>
            <pc:docMk/>
            <pc:sldMk cId="3298264326" sldId="2147478565"/>
            <ac:spMk id="495" creationId="{482FC5BD-022B-BE73-71EE-231FADF95B76}"/>
          </ac:spMkLst>
        </pc:spChg>
        <pc:spChg chg="add del mod">
          <ac:chgData name="Steiner Andreas 6206 ED" userId="e6377c33-a923-4f14-8587-531c474c7b48" providerId="ADAL" clId="{6ECD27E6-B224-41CD-B4E0-E297462320DD}" dt="2023-11-24T08:48:39.078" v="74998"/>
          <ac:spMkLst>
            <pc:docMk/>
            <pc:sldMk cId="3298264326" sldId="2147478565"/>
            <ac:spMk id="496" creationId="{AD702801-4A08-D3EA-9288-8EAE21C5EE2F}"/>
          </ac:spMkLst>
        </pc:spChg>
        <pc:spChg chg="add del mod">
          <ac:chgData name="Steiner Andreas 6206 ED" userId="e6377c33-a923-4f14-8587-531c474c7b48" providerId="ADAL" clId="{6ECD27E6-B224-41CD-B4E0-E297462320DD}" dt="2023-11-24T08:48:41.266" v="75153"/>
          <ac:spMkLst>
            <pc:docMk/>
            <pc:sldMk cId="3298264326" sldId="2147478565"/>
            <ac:spMk id="497" creationId="{44F556CD-F735-5C81-A46E-B0A3BB1C12AD}"/>
          </ac:spMkLst>
        </pc:spChg>
        <pc:spChg chg="add del mod">
          <ac:chgData name="Steiner Andreas 6206 ED" userId="e6377c33-a923-4f14-8587-531c474c7b48" providerId="ADAL" clId="{6ECD27E6-B224-41CD-B4E0-E297462320DD}" dt="2023-11-24T08:48:43.682" v="75308"/>
          <ac:spMkLst>
            <pc:docMk/>
            <pc:sldMk cId="3298264326" sldId="2147478565"/>
            <ac:spMk id="498" creationId="{AB4EBEF8-8C09-978E-BAF3-EF3AB0FFD8AA}"/>
          </ac:spMkLst>
        </pc:spChg>
        <pc:spChg chg="add del mod">
          <ac:chgData name="Steiner Andreas 6206 ED" userId="e6377c33-a923-4f14-8587-531c474c7b48" providerId="ADAL" clId="{6ECD27E6-B224-41CD-B4E0-E297462320DD}" dt="2023-11-24T08:48:45.983" v="75463"/>
          <ac:spMkLst>
            <pc:docMk/>
            <pc:sldMk cId="3298264326" sldId="2147478565"/>
            <ac:spMk id="499" creationId="{6DED80B9-2FD6-CFAC-CFF1-764C262B2B4A}"/>
          </ac:spMkLst>
        </pc:spChg>
        <pc:spChg chg="add del mod">
          <ac:chgData name="Steiner Andreas 6206 ED" userId="e6377c33-a923-4f14-8587-531c474c7b48" providerId="ADAL" clId="{6ECD27E6-B224-41CD-B4E0-E297462320DD}" dt="2023-11-24T08:48:47.986" v="75618"/>
          <ac:spMkLst>
            <pc:docMk/>
            <pc:sldMk cId="3298264326" sldId="2147478565"/>
            <ac:spMk id="500" creationId="{37405F65-7D46-6433-6037-7BD7EC8DEF9F}"/>
          </ac:spMkLst>
        </pc:spChg>
        <pc:spChg chg="add del mod">
          <ac:chgData name="Steiner Andreas 6206 ED" userId="e6377c33-a923-4f14-8587-531c474c7b48" providerId="ADAL" clId="{6ECD27E6-B224-41CD-B4E0-E297462320DD}" dt="2023-11-24T08:48:49.986" v="75773"/>
          <ac:spMkLst>
            <pc:docMk/>
            <pc:sldMk cId="3298264326" sldId="2147478565"/>
            <ac:spMk id="501" creationId="{0831F50B-F139-9019-36BF-EF509C7A7F62}"/>
          </ac:spMkLst>
        </pc:spChg>
        <pc:spChg chg="add del mod">
          <ac:chgData name="Steiner Andreas 6206 ED" userId="e6377c33-a923-4f14-8587-531c474c7b48" providerId="ADAL" clId="{6ECD27E6-B224-41CD-B4E0-E297462320DD}" dt="2023-11-24T08:48:52.212" v="75928"/>
          <ac:spMkLst>
            <pc:docMk/>
            <pc:sldMk cId="3298264326" sldId="2147478565"/>
            <ac:spMk id="502" creationId="{52B2BAEC-36DB-9688-96AF-3885FDB2F6D5}"/>
          </ac:spMkLst>
        </pc:spChg>
        <pc:spChg chg="add del mod">
          <ac:chgData name="Steiner Andreas 6206 ED" userId="e6377c33-a923-4f14-8587-531c474c7b48" providerId="ADAL" clId="{6ECD27E6-B224-41CD-B4E0-E297462320DD}" dt="2023-11-24T08:48:54.086" v="76083"/>
          <ac:spMkLst>
            <pc:docMk/>
            <pc:sldMk cId="3298264326" sldId="2147478565"/>
            <ac:spMk id="503" creationId="{F38524A0-C95E-9565-824D-DEDA099584AD}"/>
          </ac:spMkLst>
        </pc:spChg>
        <pc:spChg chg="add del mod">
          <ac:chgData name="Steiner Andreas 6206 ED" userId="e6377c33-a923-4f14-8587-531c474c7b48" providerId="ADAL" clId="{6ECD27E6-B224-41CD-B4E0-E297462320DD}" dt="2023-11-24T08:48:56.105" v="76238"/>
          <ac:spMkLst>
            <pc:docMk/>
            <pc:sldMk cId="3298264326" sldId="2147478565"/>
            <ac:spMk id="504" creationId="{EC8DD31B-9CD8-4C41-FC07-0B525F995B3B}"/>
          </ac:spMkLst>
        </pc:spChg>
        <pc:spChg chg="add del mod">
          <ac:chgData name="Steiner Andreas 6206 ED" userId="e6377c33-a923-4f14-8587-531c474c7b48" providerId="ADAL" clId="{6ECD27E6-B224-41CD-B4E0-E297462320DD}" dt="2023-11-24T08:48:58.036" v="76393"/>
          <ac:spMkLst>
            <pc:docMk/>
            <pc:sldMk cId="3298264326" sldId="2147478565"/>
            <ac:spMk id="505" creationId="{2E79B51F-52BB-0BB3-72E9-5CEAFAB98816}"/>
          </ac:spMkLst>
        </pc:spChg>
        <pc:spChg chg="add del mod">
          <ac:chgData name="Steiner Andreas 6206 ED" userId="e6377c33-a923-4f14-8587-531c474c7b48" providerId="ADAL" clId="{6ECD27E6-B224-41CD-B4E0-E297462320DD}" dt="2023-11-24T08:49:00.098" v="76548"/>
          <ac:spMkLst>
            <pc:docMk/>
            <pc:sldMk cId="3298264326" sldId="2147478565"/>
            <ac:spMk id="506" creationId="{2FAFFAC3-4A5D-4742-883B-2199610B2A29}"/>
          </ac:spMkLst>
        </pc:spChg>
        <pc:spChg chg="add del mod">
          <ac:chgData name="Steiner Andreas 6206 ED" userId="e6377c33-a923-4f14-8587-531c474c7b48" providerId="ADAL" clId="{6ECD27E6-B224-41CD-B4E0-E297462320DD}" dt="2023-11-24T08:49:02.064" v="76703"/>
          <ac:spMkLst>
            <pc:docMk/>
            <pc:sldMk cId="3298264326" sldId="2147478565"/>
            <ac:spMk id="507" creationId="{42BF191C-7D5D-58C5-FE58-C4F907168FB9}"/>
          </ac:spMkLst>
        </pc:spChg>
        <pc:spChg chg="add del mod">
          <ac:chgData name="Steiner Andreas 6206 ED" userId="e6377c33-a923-4f14-8587-531c474c7b48" providerId="ADAL" clId="{6ECD27E6-B224-41CD-B4E0-E297462320DD}" dt="2023-11-24T08:49:04.031" v="76858"/>
          <ac:spMkLst>
            <pc:docMk/>
            <pc:sldMk cId="3298264326" sldId="2147478565"/>
            <ac:spMk id="508" creationId="{6F5D72DF-5110-4B93-7DFA-6FE75FD8D7B0}"/>
          </ac:spMkLst>
        </pc:spChg>
        <pc:spChg chg="add del mod">
          <ac:chgData name="Steiner Andreas 6206 ED" userId="e6377c33-a923-4f14-8587-531c474c7b48" providerId="ADAL" clId="{6ECD27E6-B224-41CD-B4E0-E297462320DD}" dt="2023-11-24T08:49:05.933" v="77013"/>
          <ac:spMkLst>
            <pc:docMk/>
            <pc:sldMk cId="3298264326" sldId="2147478565"/>
            <ac:spMk id="509" creationId="{1E559470-FF73-B499-7D85-251C81117B6C}"/>
          </ac:spMkLst>
        </pc:spChg>
        <pc:spChg chg="add del mod">
          <ac:chgData name="Steiner Andreas 6206 ED" userId="e6377c33-a923-4f14-8587-531c474c7b48" providerId="ADAL" clId="{6ECD27E6-B224-41CD-B4E0-E297462320DD}" dt="2023-11-24T08:49:08.036" v="77168"/>
          <ac:spMkLst>
            <pc:docMk/>
            <pc:sldMk cId="3298264326" sldId="2147478565"/>
            <ac:spMk id="510" creationId="{CDEB0D73-84FD-39B1-7411-F684D6E87288}"/>
          </ac:spMkLst>
        </pc:spChg>
        <pc:spChg chg="add del mod">
          <ac:chgData name="Steiner Andreas 6206 ED" userId="e6377c33-a923-4f14-8587-531c474c7b48" providerId="ADAL" clId="{6ECD27E6-B224-41CD-B4E0-E297462320DD}" dt="2023-11-24T08:49:09.921" v="77323"/>
          <ac:spMkLst>
            <pc:docMk/>
            <pc:sldMk cId="3298264326" sldId="2147478565"/>
            <ac:spMk id="511" creationId="{BFC006D5-038E-A018-5524-E2A9551CD878}"/>
          </ac:spMkLst>
        </pc:spChg>
        <pc:spChg chg="add del mod">
          <ac:chgData name="Steiner Andreas 6206 ED" userId="e6377c33-a923-4f14-8587-531c474c7b48" providerId="ADAL" clId="{6ECD27E6-B224-41CD-B4E0-E297462320DD}" dt="2023-11-24T08:49:11.698" v="77478"/>
          <ac:spMkLst>
            <pc:docMk/>
            <pc:sldMk cId="3298264326" sldId="2147478565"/>
            <ac:spMk id="512" creationId="{542ADB40-A56D-F14C-1560-8A2A8BA50677}"/>
          </ac:spMkLst>
        </pc:spChg>
        <pc:spChg chg="add del mod">
          <ac:chgData name="Steiner Andreas 6206 ED" userId="e6377c33-a923-4f14-8587-531c474c7b48" providerId="ADAL" clId="{6ECD27E6-B224-41CD-B4E0-E297462320DD}" dt="2023-11-24T08:49:13.817" v="77633"/>
          <ac:spMkLst>
            <pc:docMk/>
            <pc:sldMk cId="3298264326" sldId="2147478565"/>
            <ac:spMk id="513" creationId="{37D64632-B1A5-9BF2-B0BD-06D2D2FE9591}"/>
          </ac:spMkLst>
        </pc:spChg>
        <pc:spChg chg="add del mod">
          <ac:chgData name="Steiner Andreas 6206 ED" userId="e6377c33-a923-4f14-8587-531c474c7b48" providerId="ADAL" clId="{6ECD27E6-B224-41CD-B4E0-E297462320DD}" dt="2023-11-24T08:49:15.792" v="77788"/>
          <ac:spMkLst>
            <pc:docMk/>
            <pc:sldMk cId="3298264326" sldId="2147478565"/>
            <ac:spMk id="514" creationId="{28C929D6-11CE-4402-837B-B177D3A7003B}"/>
          </ac:spMkLst>
        </pc:spChg>
        <pc:spChg chg="add del mod">
          <ac:chgData name="Steiner Andreas 6206 ED" userId="e6377c33-a923-4f14-8587-531c474c7b48" providerId="ADAL" clId="{6ECD27E6-B224-41CD-B4E0-E297462320DD}" dt="2023-11-24T08:49:17.842" v="77943"/>
          <ac:spMkLst>
            <pc:docMk/>
            <pc:sldMk cId="3298264326" sldId="2147478565"/>
            <ac:spMk id="515" creationId="{D4D4C040-91C3-6AE8-2951-DC378F17FC79}"/>
          </ac:spMkLst>
        </pc:spChg>
        <pc:spChg chg="add del mod">
          <ac:chgData name="Steiner Andreas 6206 ED" userId="e6377c33-a923-4f14-8587-531c474c7b48" providerId="ADAL" clId="{6ECD27E6-B224-41CD-B4E0-E297462320DD}" dt="2023-11-24T08:49:19.869" v="78098"/>
          <ac:spMkLst>
            <pc:docMk/>
            <pc:sldMk cId="3298264326" sldId="2147478565"/>
            <ac:spMk id="516" creationId="{9356FCBC-023D-F46E-0A7E-3C62C6D43A61}"/>
          </ac:spMkLst>
        </pc:spChg>
        <pc:spChg chg="add del mod">
          <ac:chgData name="Steiner Andreas 6206 ED" userId="e6377c33-a923-4f14-8587-531c474c7b48" providerId="ADAL" clId="{6ECD27E6-B224-41CD-B4E0-E297462320DD}" dt="2023-11-24T08:49:21.753" v="78253"/>
          <ac:spMkLst>
            <pc:docMk/>
            <pc:sldMk cId="3298264326" sldId="2147478565"/>
            <ac:spMk id="517" creationId="{1207496B-D306-E231-FA24-262844572A9D}"/>
          </ac:spMkLst>
        </pc:spChg>
        <pc:spChg chg="add del mod">
          <ac:chgData name="Steiner Andreas 6206 ED" userId="e6377c33-a923-4f14-8587-531c474c7b48" providerId="ADAL" clId="{6ECD27E6-B224-41CD-B4E0-E297462320DD}" dt="2023-11-24T08:49:23.677" v="78408"/>
          <ac:spMkLst>
            <pc:docMk/>
            <pc:sldMk cId="3298264326" sldId="2147478565"/>
            <ac:spMk id="518" creationId="{A128D039-19DE-6989-8EE6-CD87357812DD}"/>
          </ac:spMkLst>
        </pc:spChg>
        <pc:spChg chg="add del mod">
          <ac:chgData name="Steiner Andreas 6206 ED" userId="e6377c33-a923-4f14-8587-531c474c7b48" providerId="ADAL" clId="{6ECD27E6-B224-41CD-B4E0-E297462320DD}" dt="2023-11-24T08:49:25.555" v="78563"/>
          <ac:spMkLst>
            <pc:docMk/>
            <pc:sldMk cId="3298264326" sldId="2147478565"/>
            <ac:spMk id="519" creationId="{D273FDBD-8A88-7BBF-E876-C40A3E67AFDA}"/>
          </ac:spMkLst>
        </pc:spChg>
        <pc:spChg chg="add del mod">
          <ac:chgData name="Steiner Andreas 6206 ED" userId="e6377c33-a923-4f14-8587-531c474c7b48" providerId="ADAL" clId="{6ECD27E6-B224-41CD-B4E0-E297462320DD}" dt="2023-11-24T08:49:27.629" v="78718"/>
          <ac:spMkLst>
            <pc:docMk/>
            <pc:sldMk cId="3298264326" sldId="2147478565"/>
            <ac:spMk id="520" creationId="{977E6D4A-C2A9-CED0-A0DC-34D33F170E16}"/>
          </ac:spMkLst>
        </pc:spChg>
        <pc:spChg chg="add del mod">
          <ac:chgData name="Steiner Andreas 6206 ED" userId="e6377c33-a923-4f14-8587-531c474c7b48" providerId="ADAL" clId="{6ECD27E6-B224-41CD-B4E0-E297462320DD}" dt="2023-11-24T08:49:29.670" v="78873"/>
          <ac:spMkLst>
            <pc:docMk/>
            <pc:sldMk cId="3298264326" sldId="2147478565"/>
            <ac:spMk id="521" creationId="{87EB228F-CA89-D14B-E3F9-47A2670251FA}"/>
          </ac:spMkLst>
        </pc:spChg>
        <pc:spChg chg="add del mod">
          <ac:chgData name="Steiner Andreas 6206 ED" userId="e6377c33-a923-4f14-8587-531c474c7b48" providerId="ADAL" clId="{6ECD27E6-B224-41CD-B4E0-E297462320DD}" dt="2023-11-24T08:49:31.573" v="79028"/>
          <ac:spMkLst>
            <pc:docMk/>
            <pc:sldMk cId="3298264326" sldId="2147478565"/>
            <ac:spMk id="522" creationId="{362C4103-82E3-165C-2D70-09F197EC3D12}"/>
          </ac:spMkLst>
        </pc:spChg>
        <pc:spChg chg="add del mod">
          <ac:chgData name="Steiner Andreas 6206 ED" userId="e6377c33-a923-4f14-8587-531c474c7b48" providerId="ADAL" clId="{6ECD27E6-B224-41CD-B4E0-E297462320DD}" dt="2023-11-24T08:49:33.486" v="79183"/>
          <ac:spMkLst>
            <pc:docMk/>
            <pc:sldMk cId="3298264326" sldId="2147478565"/>
            <ac:spMk id="523" creationId="{975EAA10-B5F8-D460-3DDF-77A85BC78569}"/>
          </ac:spMkLst>
        </pc:spChg>
        <pc:spChg chg="add del mod">
          <ac:chgData name="Steiner Andreas 6206 ED" userId="e6377c33-a923-4f14-8587-531c474c7b48" providerId="ADAL" clId="{6ECD27E6-B224-41CD-B4E0-E297462320DD}" dt="2023-11-24T08:49:35.382" v="79338"/>
          <ac:spMkLst>
            <pc:docMk/>
            <pc:sldMk cId="3298264326" sldId="2147478565"/>
            <ac:spMk id="524" creationId="{A2FBE5DE-B71B-FFC2-F7A9-410BA22F21FA}"/>
          </ac:spMkLst>
        </pc:spChg>
        <pc:spChg chg="add del mod">
          <ac:chgData name="Steiner Andreas 6206 ED" userId="e6377c33-a923-4f14-8587-531c474c7b48" providerId="ADAL" clId="{6ECD27E6-B224-41CD-B4E0-E297462320DD}" dt="2023-11-24T08:49:37.215" v="79493"/>
          <ac:spMkLst>
            <pc:docMk/>
            <pc:sldMk cId="3298264326" sldId="2147478565"/>
            <ac:spMk id="525" creationId="{B7B9872C-C771-738E-1D7B-D2C46BF3AE39}"/>
          </ac:spMkLst>
        </pc:spChg>
        <pc:spChg chg="add del mod">
          <ac:chgData name="Steiner Andreas 6206 ED" userId="e6377c33-a923-4f14-8587-531c474c7b48" providerId="ADAL" clId="{6ECD27E6-B224-41CD-B4E0-E297462320DD}" dt="2023-11-24T08:49:39.174" v="79648"/>
          <ac:spMkLst>
            <pc:docMk/>
            <pc:sldMk cId="3298264326" sldId="2147478565"/>
            <ac:spMk id="526" creationId="{1C8D7A54-4F70-4B67-B100-BD322636328F}"/>
          </ac:spMkLst>
        </pc:spChg>
        <pc:spChg chg="add del mod">
          <ac:chgData name="Steiner Andreas 6206 ED" userId="e6377c33-a923-4f14-8587-531c474c7b48" providerId="ADAL" clId="{6ECD27E6-B224-41CD-B4E0-E297462320DD}" dt="2023-11-24T08:49:41.283" v="79803"/>
          <ac:spMkLst>
            <pc:docMk/>
            <pc:sldMk cId="3298264326" sldId="2147478565"/>
            <ac:spMk id="527" creationId="{EA296122-EB3D-9B71-7393-AAC9CD3ADF8D}"/>
          </ac:spMkLst>
        </pc:spChg>
        <pc:spChg chg="add del mod">
          <ac:chgData name="Steiner Andreas 6206 ED" userId="e6377c33-a923-4f14-8587-531c474c7b48" providerId="ADAL" clId="{6ECD27E6-B224-41CD-B4E0-E297462320DD}" dt="2023-11-24T08:49:43.182" v="79958"/>
          <ac:spMkLst>
            <pc:docMk/>
            <pc:sldMk cId="3298264326" sldId="2147478565"/>
            <ac:spMk id="528" creationId="{7BF9880D-29DE-E1C0-29B1-21564FC91B71}"/>
          </ac:spMkLst>
        </pc:spChg>
        <pc:spChg chg="add del mod">
          <ac:chgData name="Steiner Andreas 6206 ED" userId="e6377c33-a923-4f14-8587-531c474c7b48" providerId="ADAL" clId="{6ECD27E6-B224-41CD-B4E0-E297462320DD}" dt="2023-11-24T08:49:45.122" v="80113"/>
          <ac:spMkLst>
            <pc:docMk/>
            <pc:sldMk cId="3298264326" sldId="2147478565"/>
            <ac:spMk id="529" creationId="{529F3337-08DB-911C-886E-8258B961C8C6}"/>
          </ac:spMkLst>
        </pc:spChg>
        <pc:spChg chg="add del mod">
          <ac:chgData name="Steiner Andreas 6206 ED" userId="e6377c33-a923-4f14-8587-531c474c7b48" providerId="ADAL" clId="{6ECD27E6-B224-41CD-B4E0-E297462320DD}" dt="2023-11-24T08:49:47.086" v="80268"/>
          <ac:spMkLst>
            <pc:docMk/>
            <pc:sldMk cId="3298264326" sldId="2147478565"/>
            <ac:spMk id="530" creationId="{10E6C74A-4106-21CC-6347-5340239F1102}"/>
          </ac:spMkLst>
        </pc:spChg>
        <pc:spChg chg="add del mod">
          <ac:chgData name="Steiner Andreas 6206 ED" userId="e6377c33-a923-4f14-8587-531c474c7b48" providerId="ADAL" clId="{6ECD27E6-B224-41CD-B4E0-E297462320DD}" dt="2023-11-24T08:49:48.981" v="80423"/>
          <ac:spMkLst>
            <pc:docMk/>
            <pc:sldMk cId="3298264326" sldId="2147478565"/>
            <ac:spMk id="531" creationId="{F930D1F9-AA77-51C3-E3CA-762F2CD5BBFB}"/>
          </ac:spMkLst>
        </pc:spChg>
        <pc:spChg chg="add del mod">
          <ac:chgData name="Steiner Andreas 6206 ED" userId="e6377c33-a923-4f14-8587-531c474c7b48" providerId="ADAL" clId="{6ECD27E6-B224-41CD-B4E0-E297462320DD}" dt="2023-11-24T08:49:50.857" v="80578"/>
          <ac:spMkLst>
            <pc:docMk/>
            <pc:sldMk cId="3298264326" sldId="2147478565"/>
            <ac:spMk id="532" creationId="{34221B48-5075-1A9D-B069-931AEFD8793C}"/>
          </ac:spMkLst>
        </pc:spChg>
        <pc:spChg chg="add del mod">
          <ac:chgData name="Steiner Andreas 6206 ED" userId="e6377c33-a923-4f14-8587-531c474c7b48" providerId="ADAL" clId="{6ECD27E6-B224-41CD-B4E0-E297462320DD}" dt="2023-11-24T08:49:52.779" v="80733"/>
          <ac:spMkLst>
            <pc:docMk/>
            <pc:sldMk cId="3298264326" sldId="2147478565"/>
            <ac:spMk id="533" creationId="{06F4C26C-54CE-3DF4-D786-0FC815D64B4C}"/>
          </ac:spMkLst>
        </pc:spChg>
        <pc:spChg chg="add del mod">
          <ac:chgData name="Steiner Andreas 6206 ED" userId="e6377c33-a923-4f14-8587-531c474c7b48" providerId="ADAL" clId="{6ECD27E6-B224-41CD-B4E0-E297462320DD}" dt="2023-11-24T08:49:54.712" v="80888"/>
          <ac:spMkLst>
            <pc:docMk/>
            <pc:sldMk cId="3298264326" sldId="2147478565"/>
            <ac:spMk id="534" creationId="{BE349531-9F83-C3BD-03B4-8C06916390B9}"/>
          </ac:spMkLst>
        </pc:spChg>
        <pc:spChg chg="add del mod">
          <ac:chgData name="Steiner Andreas 6206 ED" userId="e6377c33-a923-4f14-8587-531c474c7b48" providerId="ADAL" clId="{6ECD27E6-B224-41CD-B4E0-E297462320DD}" dt="2023-11-24T08:49:56.580" v="81043"/>
          <ac:spMkLst>
            <pc:docMk/>
            <pc:sldMk cId="3298264326" sldId="2147478565"/>
            <ac:spMk id="535" creationId="{9953E2AA-2FA5-B008-F952-E3B90B860D33}"/>
          </ac:spMkLst>
        </pc:spChg>
        <pc:spChg chg="add del mod">
          <ac:chgData name="Steiner Andreas 6206 ED" userId="e6377c33-a923-4f14-8587-531c474c7b48" providerId="ADAL" clId="{6ECD27E6-B224-41CD-B4E0-E297462320DD}" dt="2023-11-24T08:49:58.483" v="81198"/>
          <ac:spMkLst>
            <pc:docMk/>
            <pc:sldMk cId="3298264326" sldId="2147478565"/>
            <ac:spMk id="536" creationId="{1EBB2561-A2BE-1F5D-39BA-A6857DDAF667}"/>
          </ac:spMkLst>
        </pc:spChg>
        <pc:spChg chg="add del mod">
          <ac:chgData name="Steiner Andreas 6206 ED" userId="e6377c33-a923-4f14-8587-531c474c7b48" providerId="ADAL" clId="{6ECD27E6-B224-41CD-B4E0-E297462320DD}" dt="2023-11-24T08:50:00.404" v="81353"/>
          <ac:spMkLst>
            <pc:docMk/>
            <pc:sldMk cId="3298264326" sldId="2147478565"/>
            <ac:spMk id="537" creationId="{16641F65-E16C-11B9-2E3F-9E8982BCD1C0}"/>
          </ac:spMkLst>
        </pc:spChg>
        <pc:spChg chg="add del mod">
          <ac:chgData name="Steiner Andreas 6206 ED" userId="e6377c33-a923-4f14-8587-531c474c7b48" providerId="ADAL" clId="{6ECD27E6-B224-41CD-B4E0-E297462320DD}" dt="2023-11-24T08:50:02.493" v="81508"/>
          <ac:spMkLst>
            <pc:docMk/>
            <pc:sldMk cId="3298264326" sldId="2147478565"/>
            <ac:spMk id="538" creationId="{136CC079-CF9E-6743-1DEF-827960ADFBD8}"/>
          </ac:spMkLst>
        </pc:spChg>
        <pc:spChg chg="add del mod">
          <ac:chgData name="Steiner Andreas 6206 ED" userId="e6377c33-a923-4f14-8587-531c474c7b48" providerId="ADAL" clId="{6ECD27E6-B224-41CD-B4E0-E297462320DD}" dt="2023-11-24T08:50:04.553" v="81663"/>
          <ac:spMkLst>
            <pc:docMk/>
            <pc:sldMk cId="3298264326" sldId="2147478565"/>
            <ac:spMk id="539" creationId="{CBC26B86-E4A0-6CB0-44B7-FAAD43567797}"/>
          </ac:spMkLst>
        </pc:spChg>
        <pc:spChg chg="add del mod">
          <ac:chgData name="Steiner Andreas 6206 ED" userId="e6377c33-a923-4f14-8587-531c474c7b48" providerId="ADAL" clId="{6ECD27E6-B224-41CD-B4E0-E297462320DD}" dt="2023-11-24T08:50:06.491" v="81818"/>
          <ac:spMkLst>
            <pc:docMk/>
            <pc:sldMk cId="3298264326" sldId="2147478565"/>
            <ac:spMk id="540" creationId="{E31A1CBC-A9D6-7AA5-0EB5-21CB87831188}"/>
          </ac:spMkLst>
        </pc:spChg>
        <pc:spChg chg="add del mod">
          <ac:chgData name="Steiner Andreas 6206 ED" userId="e6377c33-a923-4f14-8587-531c474c7b48" providerId="ADAL" clId="{6ECD27E6-B224-41CD-B4E0-E297462320DD}" dt="2023-11-24T08:50:08.360" v="81973"/>
          <ac:spMkLst>
            <pc:docMk/>
            <pc:sldMk cId="3298264326" sldId="2147478565"/>
            <ac:spMk id="541" creationId="{E0E2E64B-408D-A7D2-B55C-787AFCC65A96}"/>
          </ac:spMkLst>
        </pc:spChg>
        <pc:spChg chg="add del mod">
          <ac:chgData name="Steiner Andreas 6206 ED" userId="e6377c33-a923-4f14-8587-531c474c7b48" providerId="ADAL" clId="{6ECD27E6-B224-41CD-B4E0-E297462320DD}" dt="2023-11-24T08:50:10.272" v="82128"/>
          <ac:spMkLst>
            <pc:docMk/>
            <pc:sldMk cId="3298264326" sldId="2147478565"/>
            <ac:spMk id="542" creationId="{222A5175-B2FB-1E81-8915-6C2DA3AEAD37}"/>
          </ac:spMkLst>
        </pc:spChg>
        <pc:spChg chg="add del mod">
          <ac:chgData name="Steiner Andreas 6206 ED" userId="e6377c33-a923-4f14-8587-531c474c7b48" providerId="ADAL" clId="{6ECD27E6-B224-41CD-B4E0-E297462320DD}" dt="2023-11-24T08:50:12.189" v="82283"/>
          <ac:spMkLst>
            <pc:docMk/>
            <pc:sldMk cId="3298264326" sldId="2147478565"/>
            <ac:spMk id="543" creationId="{6B639552-E2CE-C65B-E8F4-C0C6039A206F}"/>
          </ac:spMkLst>
        </pc:spChg>
        <pc:spChg chg="add del mod">
          <ac:chgData name="Steiner Andreas 6206 ED" userId="e6377c33-a923-4f14-8587-531c474c7b48" providerId="ADAL" clId="{6ECD27E6-B224-41CD-B4E0-E297462320DD}" dt="2023-11-24T08:50:14.250" v="82438"/>
          <ac:spMkLst>
            <pc:docMk/>
            <pc:sldMk cId="3298264326" sldId="2147478565"/>
            <ac:spMk id="544" creationId="{A95FE1F6-537B-165C-CE91-E41935E6CF10}"/>
          </ac:spMkLst>
        </pc:spChg>
        <pc:spChg chg="add del mod">
          <ac:chgData name="Steiner Andreas 6206 ED" userId="e6377c33-a923-4f14-8587-531c474c7b48" providerId="ADAL" clId="{6ECD27E6-B224-41CD-B4E0-E297462320DD}" dt="2023-11-24T08:50:16.190" v="82593"/>
          <ac:spMkLst>
            <pc:docMk/>
            <pc:sldMk cId="3298264326" sldId="2147478565"/>
            <ac:spMk id="545" creationId="{43673E56-27F3-E6D3-5091-576941B5BE18}"/>
          </ac:spMkLst>
        </pc:spChg>
        <pc:spChg chg="add del mod">
          <ac:chgData name="Steiner Andreas 6206 ED" userId="e6377c33-a923-4f14-8587-531c474c7b48" providerId="ADAL" clId="{6ECD27E6-B224-41CD-B4E0-E297462320DD}" dt="2023-11-24T08:50:18.188" v="82748"/>
          <ac:spMkLst>
            <pc:docMk/>
            <pc:sldMk cId="3298264326" sldId="2147478565"/>
            <ac:spMk id="546" creationId="{E6B67DA4-10AA-0DF8-D12A-B75B21EE36E2}"/>
          </ac:spMkLst>
        </pc:spChg>
        <pc:spChg chg="add del mod">
          <ac:chgData name="Steiner Andreas 6206 ED" userId="e6377c33-a923-4f14-8587-531c474c7b48" providerId="ADAL" clId="{6ECD27E6-B224-41CD-B4E0-E297462320DD}" dt="2023-11-24T08:50:20.403" v="82903"/>
          <ac:spMkLst>
            <pc:docMk/>
            <pc:sldMk cId="3298264326" sldId="2147478565"/>
            <ac:spMk id="547" creationId="{366924C5-665C-7B0B-C99E-D87C097A94B9}"/>
          </ac:spMkLst>
        </pc:spChg>
        <pc:spChg chg="add del mod">
          <ac:chgData name="Steiner Andreas 6206 ED" userId="e6377c33-a923-4f14-8587-531c474c7b48" providerId="ADAL" clId="{6ECD27E6-B224-41CD-B4E0-E297462320DD}" dt="2023-11-24T08:50:22.325" v="83058"/>
          <ac:spMkLst>
            <pc:docMk/>
            <pc:sldMk cId="3298264326" sldId="2147478565"/>
            <ac:spMk id="548" creationId="{425E208C-A463-AA70-3428-453276DB0B69}"/>
          </ac:spMkLst>
        </pc:spChg>
        <pc:spChg chg="add del mod">
          <ac:chgData name="Steiner Andreas 6206 ED" userId="e6377c33-a923-4f14-8587-531c474c7b48" providerId="ADAL" clId="{6ECD27E6-B224-41CD-B4E0-E297462320DD}" dt="2023-11-24T08:50:24.438" v="83213"/>
          <ac:spMkLst>
            <pc:docMk/>
            <pc:sldMk cId="3298264326" sldId="2147478565"/>
            <ac:spMk id="549" creationId="{418DA2B6-FAFA-7829-ADD0-6A7603311CA4}"/>
          </ac:spMkLst>
        </pc:spChg>
        <pc:spChg chg="add del mod">
          <ac:chgData name="Steiner Andreas 6206 ED" userId="e6377c33-a923-4f14-8587-531c474c7b48" providerId="ADAL" clId="{6ECD27E6-B224-41CD-B4E0-E297462320DD}" dt="2023-11-24T08:50:26.434" v="83368"/>
          <ac:spMkLst>
            <pc:docMk/>
            <pc:sldMk cId="3298264326" sldId="2147478565"/>
            <ac:spMk id="550" creationId="{0FC9E85C-E85B-40CC-8298-06053F3B5BF5}"/>
          </ac:spMkLst>
        </pc:spChg>
        <pc:spChg chg="add del mod">
          <ac:chgData name="Steiner Andreas 6206 ED" userId="e6377c33-a923-4f14-8587-531c474c7b48" providerId="ADAL" clId="{6ECD27E6-B224-41CD-B4E0-E297462320DD}" dt="2023-11-24T08:50:28.350" v="83523"/>
          <ac:spMkLst>
            <pc:docMk/>
            <pc:sldMk cId="3298264326" sldId="2147478565"/>
            <ac:spMk id="551" creationId="{966657B3-6169-82FD-E8D1-89F3A0FB2CE6}"/>
          </ac:spMkLst>
        </pc:spChg>
        <pc:spChg chg="add del mod">
          <ac:chgData name="Steiner Andreas 6206 ED" userId="e6377c33-a923-4f14-8587-531c474c7b48" providerId="ADAL" clId="{6ECD27E6-B224-41CD-B4E0-E297462320DD}" dt="2023-11-24T08:50:30.261" v="83678"/>
          <ac:spMkLst>
            <pc:docMk/>
            <pc:sldMk cId="3298264326" sldId="2147478565"/>
            <ac:spMk id="552" creationId="{FF09DC04-8389-ACFB-4045-11B60FA469F2}"/>
          </ac:spMkLst>
        </pc:spChg>
        <pc:spChg chg="add del mod">
          <ac:chgData name="Steiner Andreas 6206 ED" userId="e6377c33-a923-4f14-8587-531c474c7b48" providerId="ADAL" clId="{6ECD27E6-B224-41CD-B4E0-E297462320DD}" dt="2023-11-24T08:50:32.338" v="83833"/>
          <ac:spMkLst>
            <pc:docMk/>
            <pc:sldMk cId="3298264326" sldId="2147478565"/>
            <ac:spMk id="553" creationId="{EFFE7A3E-0138-7B30-E0F9-C0BBA360284A}"/>
          </ac:spMkLst>
        </pc:spChg>
        <pc:spChg chg="add del mod">
          <ac:chgData name="Steiner Andreas 6206 ED" userId="e6377c33-a923-4f14-8587-531c474c7b48" providerId="ADAL" clId="{6ECD27E6-B224-41CD-B4E0-E297462320DD}" dt="2023-11-24T08:50:34.355" v="83988"/>
          <ac:spMkLst>
            <pc:docMk/>
            <pc:sldMk cId="3298264326" sldId="2147478565"/>
            <ac:spMk id="554" creationId="{E6A739A3-98FE-B28F-B2A1-E42511D3D8B7}"/>
          </ac:spMkLst>
        </pc:spChg>
        <pc:spChg chg="add del mod">
          <ac:chgData name="Steiner Andreas 6206 ED" userId="e6377c33-a923-4f14-8587-531c474c7b48" providerId="ADAL" clId="{6ECD27E6-B224-41CD-B4E0-E297462320DD}" dt="2023-11-24T08:50:36.581" v="84143"/>
          <ac:spMkLst>
            <pc:docMk/>
            <pc:sldMk cId="3298264326" sldId="2147478565"/>
            <ac:spMk id="555" creationId="{E86E2A05-6B09-3576-96AF-D6D16207DF13}"/>
          </ac:spMkLst>
        </pc:spChg>
        <pc:spChg chg="add del mod">
          <ac:chgData name="Steiner Andreas 6206 ED" userId="e6377c33-a923-4f14-8587-531c474c7b48" providerId="ADAL" clId="{6ECD27E6-B224-41CD-B4E0-E297462320DD}" dt="2023-11-24T08:50:38.541" v="84298"/>
          <ac:spMkLst>
            <pc:docMk/>
            <pc:sldMk cId="3298264326" sldId="2147478565"/>
            <ac:spMk id="556" creationId="{99B2200D-2E4C-4C78-1892-2FD5CF0D37E3}"/>
          </ac:spMkLst>
        </pc:spChg>
        <pc:spChg chg="add del mod">
          <ac:chgData name="Steiner Andreas 6206 ED" userId="e6377c33-a923-4f14-8587-531c474c7b48" providerId="ADAL" clId="{6ECD27E6-B224-41CD-B4E0-E297462320DD}" dt="2023-11-24T08:50:40.530" v="84453"/>
          <ac:spMkLst>
            <pc:docMk/>
            <pc:sldMk cId="3298264326" sldId="2147478565"/>
            <ac:spMk id="557" creationId="{6822258C-7EFC-C882-769D-AEC8C022D7A3}"/>
          </ac:spMkLst>
        </pc:spChg>
        <pc:spChg chg="add del mod">
          <ac:chgData name="Steiner Andreas 6206 ED" userId="e6377c33-a923-4f14-8587-531c474c7b48" providerId="ADAL" clId="{6ECD27E6-B224-41CD-B4E0-E297462320DD}" dt="2023-11-24T08:50:42.520" v="84608"/>
          <ac:spMkLst>
            <pc:docMk/>
            <pc:sldMk cId="3298264326" sldId="2147478565"/>
            <ac:spMk id="558" creationId="{846117C2-415C-A635-72B6-007201FE618F}"/>
          </ac:spMkLst>
        </pc:spChg>
        <pc:spChg chg="add del mod">
          <ac:chgData name="Steiner Andreas 6206 ED" userId="e6377c33-a923-4f14-8587-531c474c7b48" providerId="ADAL" clId="{6ECD27E6-B224-41CD-B4E0-E297462320DD}" dt="2023-11-24T08:50:44.707" v="84763"/>
          <ac:spMkLst>
            <pc:docMk/>
            <pc:sldMk cId="3298264326" sldId="2147478565"/>
            <ac:spMk id="559" creationId="{0394839B-CA1B-6F9E-229B-1E66622AF20B}"/>
          </ac:spMkLst>
        </pc:spChg>
        <pc:spChg chg="add del mod">
          <ac:chgData name="Steiner Andreas 6206 ED" userId="e6377c33-a923-4f14-8587-531c474c7b48" providerId="ADAL" clId="{6ECD27E6-B224-41CD-B4E0-E297462320DD}" dt="2023-11-24T08:50:46.810" v="84918"/>
          <ac:spMkLst>
            <pc:docMk/>
            <pc:sldMk cId="3298264326" sldId="2147478565"/>
            <ac:spMk id="560" creationId="{018DE724-9436-5A0D-7873-FABDB11C3FAB}"/>
          </ac:spMkLst>
        </pc:spChg>
        <pc:spChg chg="add del mod">
          <ac:chgData name="Steiner Andreas 6206 ED" userId="e6377c33-a923-4f14-8587-531c474c7b48" providerId="ADAL" clId="{6ECD27E6-B224-41CD-B4E0-E297462320DD}" dt="2023-11-24T08:50:48.925" v="85073"/>
          <ac:spMkLst>
            <pc:docMk/>
            <pc:sldMk cId="3298264326" sldId="2147478565"/>
            <ac:spMk id="561" creationId="{15DFB3FB-462A-7562-CDA8-83D6DEC4C03E}"/>
          </ac:spMkLst>
        </pc:spChg>
        <pc:spChg chg="add del mod">
          <ac:chgData name="Steiner Andreas 6206 ED" userId="e6377c33-a923-4f14-8587-531c474c7b48" providerId="ADAL" clId="{6ECD27E6-B224-41CD-B4E0-E297462320DD}" dt="2023-11-24T08:50:51.023" v="85228"/>
          <ac:spMkLst>
            <pc:docMk/>
            <pc:sldMk cId="3298264326" sldId="2147478565"/>
            <ac:spMk id="562" creationId="{A3B9F27B-BFD3-A2D4-7BBC-81B71D153EE7}"/>
          </ac:spMkLst>
        </pc:spChg>
        <pc:spChg chg="add del mod">
          <ac:chgData name="Steiner Andreas 6206 ED" userId="e6377c33-a923-4f14-8587-531c474c7b48" providerId="ADAL" clId="{6ECD27E6-B224-41CD-B4E0-E297462320DD}" dt="2023-11-24T08:50:53.135" v="85383"/>
          <ac:spMkLst>
            <pc:docMk/>
            <pc:sldMk cId="3298264326" sldId="2147478565"/>
            <ac:spMk id="563" creationId="{70B7B587-6A6E-A855-FB1F-B1FB9A297498}"/>
          </ac:spMkLst>
        </pc:spChg>
        <pc:spChg chg="add del mod">
          <ac:chgData name="Steiner Andreas 6206 ED" userId="e6377c33-a923-4f14-8587-531c474c7b48" providerId="ADAL" clId="{6ECD27E6-B224-41CD-B4E0-E297462320DD}" dt="2023-11-24T08:50:55.043" v="85538"/>
          <ac:spMkLst>
            <pc:docMk/>
            <pc:sldMk cId="3298264326" sldId="2147478565"/>
            <ac:spMk id="564" creationId="{CEAC36C7-D525-BC6B-8211-F5045DCE08B3}"/>
          </ac:spMkLst>
        </pc:spChg>
        <pc:spChg chg="add del mod">
          <ac:chgData name="Steiner Andreas 6206 ED" userId="e6377c33-a923-4f14-8587-531c474c7b48" providerId="ADAL" clId="{6ECD27E6-B224-41CD-B4E0-E297462320DD}" dt="2023-11-24T08:50:56.955" v="85693"/>
          <ac:spMkLst>
            <pc:docMk/>
            <pc:sldMk cId="3298264326" sldId="2147478565"/>
            <ac:spMk id="565" creationId="{8A0D51CF-86CC-59CA-807E-2BCED558636E}"/>
          </ac:spMkLst>
        </pc:spChg>
        <pc:spChg chg="add del mod">
          <ac:chgData name="Steiner Andreas 6206 ED" userId="e6377c33-a923-4f14-8587-531c474c7b48" providerId="ADAL" clId="{6ECD27E6-B224-41CD-B4E0-E297462320DD}" dt="2023-11-24T08:50:59.152" v="85848"/>
          <ac:spMkLst>
            <pc:docMk/>
            <pc:sldMk cId="3298264326" sldId="2147478565"/>
            <ac:spMk id="566" creationId="{00B2A14A-86C5-CC6D-342A-DFD37D0E8EE5}"/>
          </ac:spMkLst>
        </pc:spChg>
        <pc:spChg chg="add del mod">
          <ac:chgData name="Steiner Andreas 6206 ED" userId="e6377c33-a923-4f14-8587-531c474c7b48" providerId="ADAL" clId="{6ECD27E6-B224-41CD-B4E0-E297462320DD}" dt="2023-11-24T08:51:01.096" v="86003"/>
          <ac:spMkLst>
            <pc:docMk/>
            <pc:sldMk cId="3298264326" sldId="2147478565"/>
            <ac:spMk id="567" creationId="{ABF09E34-0938-AC23-8720-AC4E1E575F08}"/>
          </ac:spMkLst>
        </pc:spChg>
        <pc:spChg chg="add del mod">
          <ac:chgData name="Steiner Andreas 6206 ED" userId="e6377c33-a923-4f14-8587-531c474c7b48" providerId="ADAL" clId="{6ECD27E6-B224-41CD-B4E0-E297462320DD}" dt="2023-11-24T08:51:03.075" v="86158"/>
          <ac:spMkLst>
            <pc:docMk/>
            <pc:sldMk cId="3298264326" sldId="2147478565"/>
            <ac:spMk id="568" creationId="{F6CD3B2E-F77C-7439-511A-6F3C46E71818}"/>
          </ac:spMkLst>
        </pc:spChg>
        <pc:spChg chg="add del mod">
          <ac:chgData name="Steiner Andreas 6206 ED" userId="e6377c33-a923-4f14-8587-531c474c7b48" providerId="ADAL" clId="{6ECD27E6-B224-41CD-B4E0-E297462320DD}" dt="2023-11-24T08:51:04.940" v="86313"/>
          <ac:spMkLst>
            <pc:docMk/>
            <pc:sldMk cId="3298264326" sldId="2147478565"/>
            <ac:spMk id="569" creationId="{87AD0EEC-3A8B-37CD-4E85-0C3CC728DB9F}"/>
          </ac:spMkLst>
        </pc:spChg>
        <pc:spChg chg="add del mod">
          <ac:chgData name="Steiner Andreas 6206 ED" userId="e6377c33-a923-4f14-8587-531c474c7b48" providerId="ADAL" clId="{6ECD27E6-B224-41CD-B4E0-E297462320DD}" dt="2023-11-24T08:51:06.838" v="86468"/>
          <ac:spMkLst>
            <pc:docMk/>
            <pc:sldMk cId="3298264326" sldId="2147478565"/>
            <ac:spMk id="570" creationId="{EE9E0024-A086-F28B-CE36-B3CBD05CEB7C}"/>
          </ac:spMkLst>
        </pc:spChg>
        <pc:spChg chg="add del mod">
          <ac:chgData name="Steiner Andreas 6206 ED" userId="e6377c33-a923-4f14-8587-531c474c7b48" providerId="ADAL" clId="{6ECD27E6-B224-41CD-B4E0-E297462320DD}" dt="2023-11-24T08:51:08.836" v="86623"/>
          <ac:spMkLst>
            <pc:docMk/>
            <pc:sldMk cId="3298264326" sldId="2147478565"/>
            <ac:spMk id="571" creationId="{5E229310-AC00-E33F-826C-4CBF12453992}"/>
          </ac:spMkLst>
        </pc:spChg>
        <pc:spChg chg="add del mod">
          <ac:chgData name="Steiner Andreas 6206 ED" userId="e6377c33-a923-4f14-8587-531c474c7b48" providerId="ADAL" clId="{6ECD27E6-B224-41CD-B4E0-E297462320DD}" dt="2023-11-24T08:51:10.858" v="86778"/>
          <ac:spMkLst>
            <pc:docMk/>
            <pc:sldMk cId="3298264326" sldId="2147478565"/>
            <ac:spMk id="572" creationId="{3A36302E-7A4C-0E6F-9A9D-929DAFCE30EF}"/>
          </ac:spMkLst>
        </pc:spChg>
        <pc:spChg chg="add del mod">
          <ac:chgData name="Steiner Andreas 6206 ED" userId="e6377c33-a923-4f14-8587-531c474c7b48" providerId="ADAL" clId="{6ECD27E6-B224-41CD-B4E0-E297462320DD}" dt="2023-11-24T08:51:12.769" v="86933"/>
          <ac:spMkLst>
            <pc:docMk/>
            <pc:sldMk cId="3298264326" sldId="2147478565"/>
            <ac:spMk id="573" creationId="{763BA9FA-163D-E238-E189-2BA278012739}"/>
          </ac:spMkLst>
        </pc:spChg>
        <pc:spChg chg="add del mod">
          <ac:chgData name="Steiner Andreas 6206 ED" userId="e6377c33-a923-4f14-8587-531c474c7b48" providerId="ADAL" clId="{6ECD27E6-B224-41CD-B4E0-E297462320DD}" dt="2023-11-24T08:51:14.960" v="87088"/>
          <ac:spMkLst>
            <pc:docMk/>
            <pc:sldMk cId="3298264326" sldId="2147478565"/>
            <ac:spMk id="574" creationId="{578A1288-707D-50B2-CB10-E401ED8EEF21}"/>
          </ac:spMkLst>
        </pc:spChg>
        <pc:spChg chg="add del mod">
          <ac:chgData name="Steiner Andreas 6206 ED" userId="e6377c33-a923-4f14-8587-531c474c7b48" providerId="ADAL" clId="{6ECD27E6-B224-41CD-B4E0-E297462320DD}" dt="2023-11-24T08:51:17.030" v="87243"/>
          <ac:spMkLst>
            <pc:docMk/>
            <pc:sldMk cId="3298264326" sldId="2147478565"/>
            <ac:spMk id="575" creationId="{78CE42D3-8419-31AC-6CA3-1B9CC807BD0F}"/>
          </ac:spMkLst>
        </pc:spChg>
        <pc:spChg chg="add del mod">
          <ac:chgData name="Steiner Andreas 6206 ED" userId="e6377c33-a923-4f14-8587-531c474c7b48" providerId="ADAL" clId="{6ECD27E6-B224-41CD-B4E0-E297462320DD}" dt="2023-11-24T08:51:18.954" v="87398"/>
          <ac:spMkLst>
            <pc:docMk/>
            <pc:sldMk cId="3298264326" sldId="2147478565"/>
            <ac:spMk id="576" creationId="{9373A817-4EF3-B846-8A2D-4A93C513FB8C}"/>
          </ac:spMkLst>
        </pc:spChg>
        <pc:spChg chg="add del mod">
          <ac:chgData name="Steiner Andreas 6206 ED" userId="e6377c33-a923-4f14-8587-531c474c7b48" providerId="ADAL" clId="{6ECD27E6-B224-41CD-B4E0-E297462320DD}" dt="2023-11-24T08:51:21.021" v="87553"/>
          <ac:spMkLst>
            <pc:docMk/>
            <pc:sldMk cId="3298264326" sldId="2147478565"/>
            <ac:spMk id="577" creationId="{F03AB268-5FCE-D9B0-976F-189EEAD123C6}"/>
          </ac:spMkLst>
        </pc:spChg>
        <pc:spChg chg="add del mod">
          <ac:chgData name="Steiner Andreas 6206 ED" userId="e6377c33-a923-4f14-8587-531c474c7b48" providerId="ADAL" clId="{6ECD27E6-B224-41CD-B4E0-E297462320DD}" dt="2023-11-24T08:51:22.971" v="87708"/>
          <ac:spMkLst>
            <pc:docMk/>
            <pc:sldMk cId="3298264326" sldId="2147478565"/>
            <ac:spMk id="578" creationId="{BC83718B-B4D6-3608-CB62-0B102B2D8B1E}"/>
          </ac:spMkLst>
        </pc:spChg>
        <pc:spChg chg="add del mod">
          <ac:chgData name="Steiner Andreas 6206 ED" userId="e6377c33-a923-4f14-8587-531c474c7b48" providerId="ADAL" clId="{6ECD27E6-B224-41CD-B4E0-E297462320DD}" dt="2023-11-24T08:51:24.865" v="87863"/>
          <ac:spMkLst>
            <pc:docMk/>
            <pc:sldMk cId="3298264326" sldId="2147478565"/>
            <ac:spMk id="579" creationId="{49CF2C81-C9BE-8FDF-E55D-21B755EF521E}"/>
          </ac:spMkLst>
        </pc:spChg>
        <pc:spChg chg="add del mod">
          <ac:chgData name="Steiner Andreas 6206 ED" userId="e6377c33-a923-4f14-8587-531c474c7b48" providerId="ADAL" clId="{6ECD27E6-B224-41CD-B4E0-E297462320DD}" dt="2023-11-24T08:51:26.746" v="88018"/>
          <ac:spMkLst>
            <pc:docMk/>
            <pc:sldMk cId="3298264326" sldId="2147478565"/>
            <ac:spMk id="580" creationId="{1F98838A-84F6-D9DC-FF61-FB08750DA71F}"/>
          </ac:spMkLst>
        </pc:spChg>
        <pc:spChg chg="add del mod">
          <ac:chgData name="Steiner Andreas 6206 ED" userId="e6377c33-a923-4f14-8587-531c474c7b48" providerId="ADAL" clId="{6ECD27E6-B224-41CD-B4E0-E297462320DD}" dt="2023-11-24T08:51:28.654" v="88173"/>
          <ac:spMkLst>
            <pc:docMk/>
            <pc:sldMk cId="3298264326" sldId="2147478565"/>
            <ac:spMk id="581" creationId="{118F0B22-7A70-B89A-7BFF-E3438A13FE6D}"/>
          </ac:spMkLst>
        </pc:spChg>
        <pc:spChg chg="add del mod">
          <ac:chgData name="Steiner Andreas 6206 ED" userId="e6377c33-a923-4f14-8587-531c474c7b48" providerId="ADAL" clId="{6ECD27E6-B224-41CD-B4E0-E297462320DD}" dt="2023-11-24T08:51:30.649" v="88328"/>
          <ac:spMkLst>
            <pc:docMk/>
            <pc:sldMk cId="3298264326" sldId="2147478565"/>
            <ac:spMk id="582" creationId="{5D2AD0A9-7927-1514-D7E0-FDEA8ADFC3BD}"/>
          </ac:spMkLst>
        </pc:spChg>
        <pc:spChg chg="add del mod">
          <ac:chgData name="Steiner Andreas 6206 ED" userId="e6377c33-a923-4f14-8587-531c474c7b48" providerId="ADAL" clId="{6ECD27E6-B224-41CD-B4E0-E297462320DD}" dt="2023-11-24T08:51:32.798" v="88483"/>
          <ac:spMkLst>
            <pc:docMk/>
            <pc:sldMk cId="3298264326" sldId="2147478565"/>
            <ac:spMk id="583" creationId="{DD57DB85-09D2-2D8D-A276-54245388BBDE}"/>
          </ac:spMkLst>
        </pc:spChg>
        <pc:spChg chg="add del mod">
          <ac:chgData name="Steiner Andreas 6206 ED" userId="e6377c33-a923-4f14-8587-531c474c7b48" providerId="ADAL" clId="{6ECD27E6-B224-41CD-B4E0-E297462320DD}" dt="2023-11-24T08:51:34.749" v="88638"/>
          <ac:spMkLst>
            <pc:docMk/>
            <pc:sldMk cId="3298264326" sldId="2147478565"/>
            <ac:spMk id="584" creationId="{FC202BA4-3FFF-7CF5-07C7-0E5E4584958E}"/>
          </ac:spMkLst>
        </pc:spChg>
        <pc:spChg chg="add del mod">
          <ac:chgData name="Steiner Andreas 6206 ED" userId="e6377c33-a923-4f14-8587-531c474c7b48" providerId="ADAL" clId="{6ECD27E6-B224-41CD-B4E0-E297462320DD}" dt="2023-11-24T08:51:36.626" v="88793"/>
          <ac:spMkLst>
            <pc:docMk/>
            <pc:sldMk cId="3298264326" sldId="2147478565"/>
            <ac:spMk id="585" creationId="{DEF04AF8-79B7-95A5-59A0-50407AAB50B8}"/>
          </ac:spMkLst>
        </pc:spChg>
        <pc:spChg chg="add del mod">
          <ac:chgData name="Steiner Andreas 6206 ED" userId="e6377c33-a923-4f14-8587-531c474c7b48" providerId="ADAL" clId="{6ECD27E6-B224-41CD-B4E0-E297462320DD}" dt="2023-11-24T08:51:38.580" v="88948"/>
          <ac:spMkLst>
            <pc:docMk/>
            <pc:sldMk cId="3298264326" sldId="2147478565"/>
            <ac:spMk id="586" creationId="{198CB2A6-7F72-1D2D-F5D2-FF9F293E6E26}"/>
          </ac:spMkLst>
        </pc:spChg>
        <pc:spChg chg="add del mod">
          <ac:chgData name="Steiner Andreas 6206 ED" userId="e6377c33-a923-4f14-8587-531c474c7b48" providerId="ADAL" clId="{6ECD27E6-B224-41CD-B4E0-E297462320DD}" dt="2023-11-24T08:51:40.513" v="89103"/>
          <ac:spMkLst>
            <pc:docMk/>
            <pc:sldMk cId="3298264326" sldId="2147478565"/>
            <ac:spMk id="587" creationId="{C6E0C008-8C85-3D61-9A74-EE788D839A32}"/>
          </ac:spMkLst>
        </pc:spChg>
        <pc:spChg chg="add del mod">
          <ac:chgData name="Steiner Andreas 6206 ED" userId="e6377c33-a923-4f14-8587-531c474c7b48" providerId="ADAL" clId="{6ECD27E6-B224-41CD-B4E0-E297462320DD}" dt="2023-11-24T08:51:42.521" v="89258"/>
          <ac:spMkLst>
            <pc:docMk/>
            <pc:sldMk cId="3298264326" sldId="2147478565"/>
            <ac:spMk id="588" creationId="{A18797D6-2AD5-7795-C9D4-CB34DC739388}"/>
          </ac:spMkLst>
        </pc:spChg>
        <pc:spChg chg="add del mod">
          <ac:chgData name="Steiner Andreas 6206 ED" userId="e6377c33-a923-4f14-8587-531c474c7b48" providerId="ADAL" clId="{6ECD27E6-B224-41CD-B4E0-E297462320DD}" dt="2023-11-24T08:51:44.629" v="89413"/>
          <ac:spMkLst>
            <pc:docMk/>
            <pc:sldMk cId="3298264326" sldId="2147478565"/>
            <ac:spMk id="589" creationId="{11D036F0-F261-F335-A013-6D99D6DB1970}"/>
          </ac:spMkLst>
        </pc:spChg>
        <pc:spChg chg="add del mod">
          <ac:chgData name="Steiner Andreas 6206 ED" userId="e6377c33-a923-4f14-8587-531c474c7b48" providerId="ADAL" clId="{6ECD27E6-B224-41CD-B4E0-E297462320DD}" dt="2023-11-24T08:51:46.579" v="89568"/>
          <ac:spMkLst>
            <pc:docMk/>
            <pc:sldMk cId="3298264326" sldId="2147478565"/>
            <ac:spMk id="590" creationId="{F264AFA9-65FC-605A-96A6-626EC31C237C}"/>
          </ac:spMkLst>
        </pc:spChg>
        <pc:spChg chg="add del mod">
          <ac:chgData name="Steiner Andreas 6206 ED" userId="e6377c33-a923-4f14-8587-531c474c7b48" providerId="ADAL" clId="{6ECD27E6-B224-41CD-B4E0-E297462320DD}" dt="2023-11-24T08:51:48.463" v="89723"/>
          <ac:spMkLst>
            <pc:docMk/>
            <pc:sldMk cId="3298264326" sldId="2147478565"/>
            <ac:spMk id="591" creationId="{F491A2C7-1269-6B06-BD3C-D2768BD33329}"/>
          </ac:spMkLst>
        </pc:spChg>
        <pc:spChg chg="add del mod">
          <ac:chgData name="Steiner Andreas 6206 ED" userId="e6377c33-a923-4f14-8587-531c474c7b48" providerId="ADAL" clId="{6ECD27E6-B224-41CD-B4E0-E297462320DD}" dt="2023-11-24T08:51:50.404" v="89878"/>
          <ac:spMkLst>
            <pc:docMk/>
            <pc:sldMk cId="3298264326" sldId="2147478565"/>
            <ac:spMk id="592" creationId="{FB1673CB-6337-079F-08AD-DE01DDD4F32D}"/>
          </ac:spMkLst>
        </pc:spChg>
        <pc:spChg chg="add del mod">
          <ac:chgData name="Steiner Andreas 6206 ED" userId="e6377c33-a923-4f14-8587-531c474c7b48" providerId="ADAL" clId="{6ECD27E6-B224-41CD-B4E0-E297462320DD}" dt="2023-11-24T08:51:52.294" v="90033"/>
          <ac:spMkLst>
            <pc:docMk/>
            <pc:sldMk cId="3298264326" sldId="2147478565"/>
            <ac:spMk id="593" creationId="{41083A5B-87F9-7877-63E4-003D39FFCE46}"/>
          </ac:spMkLst>
        </pc:spChg>
        <pc:spChg chg="add del mod">
          <ac:chgData name="Steiner Andreas 6206 ED" userId="e6377c33-a923-4f14-8587-531c474c7b48" providerId="ADAL" clId="{6ECD27E6-B224-41CD-B4E0-E297462320DD}" dt="2023-11-24T08:51:54.298" v="90188"/>
          <ac:spMkLst>
            <pc:docMk/>
            <pc:sldMk cId="3298264326" sldId="2147478565"/>
            <ac:spMk id="594" creationId="{69FB0DED-D03D-D951-E09C-B803259ACCC3}"/>
          </ac:spMkLst>
        </pc:spChg>
        <pc:spChg chg="add del mod">
          <ac:chgData name="Steiner Andreas 6206 ED" userId="e6377c33-a923-4f14-8587-531c474c7b48" providerId="ADAL" clId="{6ECD27E6-B224-41CD-B4E0-E297462320DD}" dt="2023-11-24T08:51:56.272" v="90343"/>
          <ac:spMkLst>
            <pc:docMk/>
            <pc:sldMk cId="3298264326" sldId="2147478565"/>
            <ac:spMk id="595" creationId="{75A11843-6953-A032-D55C-305EB81F69EC}"/>
          </ac:spMkLst>
        </pc:spChg>
        <pc:spChg chg="add del mod">
          <ac:chgData name="Steiner Andreas 6206 ED" userId="e6377c33-a923-4f14-8587-531c474c7b48" providerId="ADAL" clId="{6ECD27E6-B224-41CD-B4E0-E297462320DD}" dt="2023-11-24T08:51:58.205" v="90498"/>
          <ac:spMkLst>
            <pc:docMk/>
            <pc:sldMk cId="3298264326" sldId="2147478565"/>
            <ac:spMk id="596" creationId="{EBD34DFC-CA60-5CDB-C7D7-F5B45684508B}"/>
          </ac:spMkLst>
        </pc:spChg>
        <pc:spChg chg="add del mod">
          <ac:chgData name="Steiner Andreas 6206 ED" userId="e6377c33-a923-4f14-8587-531c474c7b48" providerId="ADAL" clId="{6ECD27E6-B224-41CD-B4E0-E297462320DD}" dt="2023-11-24T08:52:00.336" v="90653"/>
          <ac:spMkLst>
            <pc:docMk/>
            <pc:sldMk cId="3298264326" sldId="2147478565"/>
            <ac:spMk id="597" creationId="{7024DC43-DBB0-FEB8-31E1-2646E8988FBC}"/>
          </ac:spMkLst>
        </pc:spChg>
        <pc:spChg chg="add del mod">
          <ac:chgData name="Steiner Andreas 6206 ED" userId="e6377c33-a923-4f14-8587-531c474c7b48" providerId="ADAL" clId="{6ECD27E6-B224-41CD-B4E0-E297462320DD}" dt="2023-11-24T08:52:02.297" v="90808"/>
          <ac:spMkLst>
            <pc:docMk/>
            <pc:sldMk cId="3298264326" sldId="2147478565"/>
            <ac:spMk id="598" creationId="{7EEAC077-5ED0-DFB1-8016-5932319350A2}"/>
          </ac:spMkLst>
        </pc:spChg>
        <pc:spChg chg="add del mod">
          <ac:chgData name="Steiner Andreas 6206 ED" userId="e6377c33-a923-4f14-8587-531c474c7b48" providerId="ADAL" clId="{6ECD27E6-B224-41CD-B4E0-E297462320DD}" dt="2023-11-24T08:52:04.203" v="90963"/>
          <ac:spMkLst>
            <pc:docMk/>
            <pc:sldMk cId="3298264326" sldId="2147478565"/>
            <ac:spMk id="599" creationId="{B101DB59-B97C-7E74-0E29-E5E494C2B0A4}"/>
          </ac:spMkLst>
        </pc:spChg>
        <pc:spChg chg="add del mod">
          <ac:chgData name="Steiner Andreas 6206 ED" userId="e6377c33-a923-4f14-8587-531c474c7b48" providerId="ADAL" clId="{6ECD27E6-B224-41CD-B4E0-E297462320DD}" dt="2023-11-24T08:52:06.423" v="91118"/>
          <ac:spMkLst>
            <pc:docMk/>
            <pc:sldMk cId="3298264326" sldId="2147478565"/>
            <ac:spMk id="600" creationId="{8E8B4366-9806-355E-2638-7CF9DBD89DB4}"/>
          </ac:spMkLst>
        </pc:spChg>
        <pc:spChg chg="add del mod">
          <ac:chgData name="Steiner Andreas 6206 ED" userId="e6377c33-a923-4f14-8587-531c474c7b48" providerId="ADAL" clId="{6ECD27E6-B224-41CD-B4E0-E297462320DD}" dt="2023-11-24T08:52:08.378" v="91273"/>
          <ac:spMkLst>
            <pc:docMk/>
            <pc:sldMk cId="3298264326" sldId="2147478565"/>
            <ac:spMk id="601" creationId="{A4D237A6-47BB-D6CD-981B-A2BCC9F12463}"/>
          </ac:spMkLst>
        </pc:spChg>
        <pc:spChg chg="add del mod">
          <ac:chgData name="Steiner Andreas 6206 ED" userId="e6377c33-a923-4f14-8587-531c474c7b48" providerId="ADAL" clId="{6ECD27E6-B224-41CD-B4E0-E297462320DD}" dt="2023-11-24T08:52:10.257" v="91428"/>
          <ac:spMkLst>
            <pc:docMk/>
            <pc:sldMk cId="3298264326" sldId="2147478565"/>
            <ac:spMk id="602" creationId="{49590DBB-5C6D-BB90-5834-AE2AAE36E0BA}"/>
          </ac:spMkLst>
        </pc:spChg>
        <pc:spChg chg="add del mod">
          <ac:chgData name="Steiner Andreas 6206 ED" userId="e6377c33-a923-4f14-8587-531c474c7b48" providerId="ADAL" clId="{6ECD27E6-B224-41CD-B4E0-E297462320DD}" dt="2023-11-24T08:52:12.102" v="91583"/>
          <ac:spMkLst>
            <pc:docMk/>
            <pc:sldMk cId="3298264326" sldId="2147478565"/>
            <ac:spMk id="603" creationId="{F47769E5-333A-DC23-7330-B62CB431F0C7}"/>
          </ac:spMkLst>
        </pc:spChg>
        <pc:spChg chg="add del mod">
          <ac:chgData name="Steiner Andreas 6206 ED" userId="e6377c33-a923-4f14-8587-531c474c7b48" providerId="ADAL" clId="{6ECD27E6-B224-41CD-B4E0-E297462320DD}" dt="2023-11-24T08:52:14.049" v="91738"/>
          <ac:spMkLst>
            <pc:docMk/>
            <pc:sldMk cId="3298264326" sldId="2147478565"/>
            <ac:spMk id="604" creationId="{1691B4D4-B00B-80C2-B6D3-E0C825165773}"/>
          </ac:spMkLst>
        </pc:spChg>
        <pc:spChg chg="add del mod">
          <ac:chgData name="Steiner Andreas 6206 ED" userId="e6377c33-a923-4f14-8587-531c474c7b48" providerId="ADAL" clId="{6ECD27E6-B224-41CD-B4E0-E297462320DD}" dt="2023-11-24T08:52:15.967" v="91893"/>
          <ac:spMkLst>
            <pc:docMk/>
            <pc:sldMk cId="3298264326" sldId="2147478565"/>
            <ac:spMk id="605" creationId="{6AEC8B05-2CC7-F10A-43A0-60531694B632}"/>
          </ac:spMkLst>
        </pc:spChg>
        <pc:spChg chg="add del mod">
          <ac:chgData name="Steiner Andreas 6206 ED" userId="e6377c33-a923-4f14-8587-531c474c7b48" providerId="ADAL" clId="{6ECD27E6-B224-41CD-B4E0-E297462320DD}" dt="2023-11-24T08:52:18.118" v="92048"/>
          <ac:spMkLst>
            <pc:docMk/>
            <pc:sldMk cId="3298264326" sldId="2147478565"/>
            <ac:spMk id="606" creationId="{2B2FB9AC-74D2-7F13-2C02-269110E7CB42}"/>
          </ac:spMkLst>
        </pc:spChg>
        <pc:spChg chg="add del mod">
          <ac:chgData name="Steiner Andreas 6206 ED" userId="e6377c33-a923-4f14-8587-531c474c7b48" providerId="ADAL" clId="{6ECD27E6-B224-41CD-B4E0-E297462320DD}" dt="2023-11-24T08:52:20.082" v="92203"/>
          <ac:spMkLst>
            <pc:docMk/>
            <pc:sldMk cId="3298264326" sldId="2147478565"/>
            <ac:spMk id="607" creationId="{96CD2A38-4879-A0C5-7D6B-7A1322394B34}"/>
          </ac:spMkLst>
        </pc:spChg>
        <pc:spChg chg="add del mod">
          <ac:chgData name="Steiner Andreas 6206 ED" userId="e6377c33-a923-4f14-8587-531c474c7b48" providerId="ADAL" clId="{6ECD27E6-B224-41CD-B4E0-E297462320DD}" dt="2023-11-24T08:52:21.927" v="92358"/>
          <ac:spMkLst>
            <pc:docMk/>
            <pc:sldMk cId="3298264326" sldId="2147478565"/>
            <ac:spMk id="608" creationId="{31CEC49C-FCC2-1A67-7D8F-93A3644E6D75}"/>
          </ac:spMkLst>
        </pc:spChg>
        <pc:spChg chg="add del mod">
          <ac:chgData name="Steiner Andreas 6206 ED" userId="e6377c33-a923-4f14-8587-531c474c7b48" providerId="ADAL" clId="{6ECD27E6-B224-41CD-B4E0-E297462320DD}" dt="2023-11-24T08:52:23.979" v="92513"/>
          <ac:spMkLst>
            <pc:docMk/>
            <pc:sldMk cId="3298264326" sldId="2147478565"/>
            <ac:spMk id="609" creationId="{4388563A-02E7-D78D-74A1-52D4B10AF1AC}"/>
          </ac:spMkLst>
        </pc:spChg>
        <pc:spChg chg="add del mod">
          <ac:chgData name="Steiner Andreas 6206 ED" userId="e6377c33-a923-4f14-8587-531c474c7b48" providerId="ADAL" clId="{6ECD27E6-B224-41CD-B4E0-E297462320DD}" dt="2023-11-24T08:52:25.844" v="92668"/>
          <ac:spMkLst>
            <pc:docMk/>
            <pc:sldMk cId="3298264326" sldId="2147478565"/>
            <ac:spMk id="610" creationId="{2C84B63A-1266-B765-33E1-EBD21CD555A0}"/>
          </ac:spMkLst>
        </pc:spChg>
        <pc:spChg chg="add del mod">
          <ac:chgData name="Steiner Andreas 6206 ED" userId="e6377c33-a923-4f14-8587-531c474c7b48" providerId="ADAL" clId="{6ECD27E6-B224-41CD-B4E0-E297462320DD}" dt="2023-11-24T08:52:27.729" v="92823"/>
          <ac:spMkLst>
            <pc:docMk/>
            <pc:sldMk cId="3298264326" sldId="2147478565"/>
            <ac:spMk id="611" creationId="{0D44449E-6E62-17C1-92F3-EEFD3B1DF899}"/>
          </ac:spMkLst>
        </pc:spChg>
        <pc:spChg chg="add del mod">
          <ac:chgData name="Steiner Andreas 6206 ED" userId="e6377c33-a923-4f14-8587-531c474c7b48" providerId="ADAL" clId="{6ECD27E6-B224-41CD-B4E0-E297462320DD}" dt="2023-11-24T08:52:29.834" v="92978"/>
          <ac:spMkLst>
            <pc:docMk/>
            <pc:sldMk cId="3298264326" sldId="2147478565"/>
            <ac:spMk id="612" creationId="{DF11B8D4-FA59-DB8D-7734-ADF2B6AC76DA}"/>
          </ac:spMkLst>
        </pc:spChg>
        <pc:spChg chg="add del mod">
          <ac:chgData name="Steiner Andreas 6206 ED" userId="e6377c33-a923-4f14-8587-531c474c7b48" providerId="ADAL" clId="{6ECD27E6-B224-41CD-B4E0-E297462320DD}" dt="2023-11-24T08:52:31.747" v="93133"/>
          <ac:spMkLst>
            <pc:docMk/>
            <pc:sldMk cId="3298264326" sldId="2147478565"/>
            <ac:spMk id="613" creationId="{C2CF2083-C6CC-13AF-1736-BF9D21B9EF1E}"/>
          </ac:spMkLst>
        </pc:spChg>
        <pc:spChg chg="add del mod">
          <ac:chgData name="Steiner Andreas 6206 ED" userId="e6377c33-a923-4f14-8587-531c474c7b48" providerId="ADAL" clId="{6ECD27E6-B224-41CD-B4E0-E297462320DD}" dt="2023-11-24T08:52:33.662" v="93288"/>
          <ac:spMkLst>
            <pc:docMk/>
            <pc:sldMk cId="3298264326" sldId="2147478565"/>
            <ac:spMk id="614" creationId="{0EA83EC6-2606-FB68-8A41-98468877DF35}"/>
          </ac:spMkLst>
        </pc:spChg>
        <pc:spChg chg="add del mod">
          <ac:chgData name="Steiner Andreas 6206 ED" userId="e6377c33-a923-4f14-8587-531c474c7b48" providerId="ADAL" clId="{6ECD27E6-B224-41CD-B4E0-E297462320DD}" dt="2023-11-24T08:52:35.576" v="93443"/>
          <ac:spMkLst>
            <pc:docMk/>
            <pc:sldMk cId="3298264326" sldId="2147478565"/>
            <ac:spMk id="615" creationId="{B53205E4-C1AD-3299-7818-E02EB88A5073}"/>
          </ac:spMkLst>
        </pc:spChg>
        <pc:spChg chg="add del mod">
          <ac:chgData name="Steiner Andreas 6206 ED" userId="e6377c33-a923-4f14-8587-531c474c7b48" providerId="ADAL" clId="{6ECD27E6-B224-41CD-B4E0-E297462320DD}" dt="2023-11-24T08:52:37.493" v="93598"/>
          <ac:spMkLst>
            <pc:docMk/>
            <pc:sldMk cId="3298264326" sldId="2147478565"/>
            <ac:spMk id="616" creationId="{3C12A8A3-5861-C27E-0284-AB79B5780B81}"/>
          </ac:spMkLst>
        </pc:spChg>
        <pc:spChg chg="add del mod">
          <ac:chgData name="Steiner Andreas 6206 ED" userId="e6377c33-a923-4f14-8587-531c474c7b48" providerId="ADAL" clId="{6ECD27E6-B224-41CD-B4E0-E297462320DD}" dt="2023-11-24T08:52:39.423" v="93753"/>
          <ac:spMkLst>
            <pc:docMk/>
            <pc:sldMk cId="3298264326" sldId="2147478565"/>
            <ac:spMk id="617" creationId="{F5DF9CAF-D517-7A16-47AF-6A598E504D67}"/>
          </ac:spMkLst>
        </pc:spChg>
        <pc:spChg chg="add del mod">
          <ac:chgData name="Steiner Andreas 6206 ED" userId="e6377c33-a923-4f14-8587-531c474c7b48" providerId="ADAL" clId="{6ECD27E6-B224-41CD-B4E0-E297462320DD}" dt="2023-11-24T08:52:41.471" v="93908"/>
          <ac:spMkLst>
            <pc:docMk/>
            <pc:sldMk cId="3298264326" sldId="2147478565"/>
            <ac:spMk id="618" creationId="{34F1EC76-558A-67C5-EB5D-48E38031D14D}"/>
          </ac:spMkLst>
        </pc:spChg>
        <pc:spChg chg="add del mod">
          <ac:chgData name="Steiner Andreas 6206 ED" userId="e6377c33-a923-4f14-8587-531c474c7b48" providerId="ADAL" clId="{6ECD27E6-B224-41CD-B4E0-E297462320DD}" dt="2023-11-24T08:52:43.402" v="94063"/>
          <ac:spMkLst>
            <pc:docMk/>
            <pc:sldMk cId="3298264326" sldId="2147478565"/>
            <ac:spMk id="619" creationId="{02DD6AEC-A9FB-C8E1-7C51-B1F868DCB9C0}"/>
          </ac:spMkLst>
        </pc:spChg>
        <pc:spChg chg="add del mod">
          <ac:chgData name="Steiner Andreas 6206 ED" userId="e6377c33-a923-4f14-8587-531c474c7b48" providerId="ADAL" clId="{6ECD27E6-B224-41CD-B4E0-E297462320DD}" dt="2023-11-24T08:52:45.345" v="94218"/>
          <ac:spMkLst>
            <pc:docMk/>
            <pc:sldMk cId="3298264326" sldId="2147478565"/>
            <ac:spMk id="620" creationId="{E4C242F5-31BC-E36A-8EAF-A92166A2F0B8}"/>
          </ac:spMkLst>
        </pc:spChg>
        <pc:spChg chg="add del mod">
          <ac:chgData name="Steiner Andreas 6206 ED" userId="e6377c33-a923-4f14-8587-531c474c7b48" providerId="ADAL" clId="{6ECD27E6-B224-41CD-B4E0-E297462320DD}" dt="2023-11-24T08:52:47.306" v="94373"/>
          <ac:spMkLst>
            <pc:docMk/>
            <pc:sldMk cId="3298264326" sldId="2147478565"/>
            <ac:spMk id="621" creationId="{7847898F-15AB-D0D6-0DBC-F6A07241E28E}"/>
          </ac:spMkLst>
        </pc:spChg>
        <pc:spChg chg="add del mod">
          <ac:chgData name="Steiner Andreas 6206 ED" userId="e6377c33-a923-4f14-8587-531c474c7b48" providerId="ADAL" clId="{6ECD27E6-B224-41CD-B4E0-E297462320DD}" dt="2023-11-24T08:52:49.391" v="94528"/>
          <ac:spMkLst>
            <pc:docMk/>
            <pc:sldMk cId="3298264326" sldId="2147478565"/>
            <ac:spMk id="622" creationId="{5DD6E074-3BE6-9423-F52E-CE099D8F4B03}"/>
          </ac:spMkLst>
        </pc:spChg>
        <pc:spChg chg="add del mod">
          <ac:chgData name="Steiner Andreas 6206 ED" userId="e6377c33-a923-4f14-8587-531c474c7b48" providerId="ADAL" clId="{6ECD27E6-B224-41CD-B4E0-E297462320DD}" dt="2023-11-24T08:52:51.582" v="94683"/>
          <ac:spMkLst>
            <pc:docMk/>
            <pc:sldMk cId="3298264326" sldId="2147478565"/>
            <ac:spMk id="623" creationId="{280297B9-E2E1-8CA8-2EFA-6517EC612D75}"/>
          </ac:spMkLst>
        </pc:spChg>
        <pc:spChg chg="add del mod">
          <ac:chgData name="Steiner Andreas 6206 ED" userId="e6377c33-a923-4f14-8587-531c474c7b48" providerId="ADAL" clId="{6ECD27E6-B224-41CD-B4E0-E297462320DD}" dt="2023-11-24T08:52:53.528" v="94838"/>
          <ac:spMkLst>
            <pc:docMk/>
            <pc:sldMk cId="3298264326" sldId="2147478565"/>
            <ac:spMk id="624" creationId="{9A113295-C07D-1AF7-0E7B-A0A30EA7F6A8}"/>
          </ac:spMkLst>
        </pc:spChg>
        <pc:spChg chg="add del mod">
          <ac:chgData name="Steiner Andreas 6206 ED" userId="e6377c33-a923-4f14-8587-531c474c7b48" providerId="ADAL" clId="{6ECD27E6-B224-41CD-B4E0-E297462320DD}" dt="2023-11-24T08:52:55.467" v="94993"/>
          <ac:spMkLst>
            <pc:docMk/>
            <pc:sldMk cId="3298264326" sldId="2147478565"/>
            <ac:spMk id="625" creationId="{16794CF7-1C4C-D815-B5BF-9E030DD00F45}"/>
          </ac:spMkLst>
        </pc:spChg>
        <pc:spChg chg="add del mod">
          <ac:chgData name="Steiner Andreas 6206 ED" userId="e6377c33-a923-4f14-8587-531c474c7b48" providerId="ADAL" clId="{6ECD27E6-B224-41CD-B4E0-E297462320DD}" dt="2023-11-24T08:52:57.491" v="95148"/>
          <ac:spMkLst>
            <pc:docMk/>
            <pc:sldMk cId="3298264326" sldId="2147478565"/>
            <ac:spMk id="626" creationId="{4251E99D-58F2-3301-11F3-DA9A44ACBCBF}"/>
          </ac:spMkLst>
        </pc:spChg>
        <pc:spChg chg="add del mod">
          <ac:chgData name="Steiner Andreas 6206 ED" userId="e6377c33-a923-4f14-8587-531c474c7b48" providerId="ADAL" clId="{6ECD27E6-B224-41CD-B4E0-E297462320DD}" dt="2023-11-24T08:52:59.458" v="95303"/>
          <ac:spMkLst>
            <pc:docMk/>
            <pc:sldMk cId="3298264326" sldId="2147478565"/>
            <ac:spMk id="627" creationId="{E38BE31A-0CEF-B1F8-530A-340B93D8D19C}"/>
          </ac:spMkLst>
        </pc:spChg>
        <pc:spChg chg="add del mod">
          <ac:chgData name="Steiner Andreas 6206 ED" userId="e6377c33-a923-4f14-8587-531c474c7b48" providerId="ADAL" clId="{6ECD27E6-B224-41CD-B4E0-E297462320DD}" dt="2023-11-24T08:53:01.460" v="95458"/>
          <ac:spMkLst>
            <pc:docMk/>
            <pc:sldMk cId="3298264326" sldId="2147478565"/>
            <ac:spMk id="628" creationId="{A2B8A66C-46D9-4046-C1E7-05D1516B5D0A}"/>
          </ac:spMkLst>
        </pc:spChg>
        <pc:spChg chg="add del mod">
          <ac:chgData name="Steiner Andreas 6206 ED" userId="e6377c33-a923-4f14-8587-531c474c7b48" providerId="ADAL" clId="{6ECD27E6-B224-41CD-B4E0-E297462320DD}" dt="2023-11-24T08:53:03.581" v="95613"/>
          <ac:spMkLst>
            <pc:docMk/>
            <pc:sldMk cId="3298264326" sldId="2147478565"/>
            <ac:spMk id="629" creationId="{ED49C2A9-0578-434E-F566-9C0ECC83E3A7}"/>
          </ac:spMkLst>
        </pc:spChg>
        <pc:spChg chg="add del mod">
          <ac:chgData name="Steiner Andreas 6206 ED" userId="e6377c33-a923-4f14-8587-531c474c7b48" providerId="ADAL" clId="{6ECD27E6-B224-41CD-B4E0-E297462320DD}" dt="2023-11-24T08:53:05.525" v="95768"/>
          <ac:spMkLst>
            <pc:docMk/>
            <pc:sldMk cId="3298264326" sldId="2147478565"/>
            <ac:spMk id="630" creationId="{4483422C-D8CD-7A48-9574-FDD405B147AC}"/>
          </ac:spMkLst>
        </pc:spChg>
        <pc:spChg chg="add del mod">
          <ac:chgData name="Steiner Andreas 6206 ED" userId="e6377c33-a923-4f14-8587-531c474c7b48" providerId="ADAL" clId="{6ECD27E6-B224-41CD-B4E0-E297462320DD}" dt="2023-11-24T08:53:07.410" v="95923"/>
          <ac:spMkLst>
            <pc:docMk/>
            <pc:sldMk cId="3298264326" sldId="2147478565"/>
            <ac:spMk id="631" creationId="{C73E5261-F771-6CD1-DD3B-4E9C4DB68553}"/>
          </ac:spMkLst>
        </pc:spChg>
        <pc:spChg chg="add del mod">
          <ac:chgData name="Steiner Andreas 6206 ED" userId="e6377c33-a923-4f14-8587-531c474c7b48" providerId="ADAL" clId="{6ECD27E6-B224-41CD-B4E0-E297462320DD}" dt="2023-11-24T08:53:09.348" v="96078"/>
          <ac:spMkLst>
            <pc:docMk/>
            <pc:sldMk cId="3298264326" sldId="2147478565"/>
            <ac:spMk id="632" creationId="{A6A72281-8927-13F8-2926-1239A20D91FA}"/>
          </ac:spMkLst>
        </pc:spChg>
        <pc:spChg chg="add del mod">
          <ac:chgData name="Steiner Andreas 6206 ED" userId="e6377c33-a923-4f14-8587-531c474c7b48" providerId="ADAL" clId="{6ECD27E6-B224-41CD-B4E0-E297462320DD}" dt="2023-11-24T08:53:11.299" v="96233"/>
          <ac:spMkLst>
            <pc:docMk/>
            <pc:sldMk cId="3298264326" sldId="2147478565"/>
            <ac:spMk id="633" creationId="{0D9283AE-5D07-69F4-5004-7D571689E92D}"/>
          </ac:spMkLst>
        </pc:spChg>
        <pc:spChg chg="add del mod">
          <ac:chgData name="Steiner Andreas 6206 ED" userId="e6377c33-a923-4f14-8587-531c474c7b48" providerId="ADAL" clId="{6ECD27E6-B224-41CD-B4E0-E297462320DD}" dt="2023-11-24T08:53:13.327" v="96388"/>
          <ac:spMkLst>
            <pc:docMk/>
            <pc:sldMk cId="3298264326" sldId="2147478565"/>
            <ac:spMk id="634" creationId="{187CD604-6238-C2FC-0D52-170DE74B70AE}"/>
          </ac:spMkLst>
        </pc:spChg>
        <pc:spChg chg="add del mod">
          <ac:chgData name="Steiner Andreas 6206 ED" userId="e6377c33-a923-4f14-8587-531c474c7b48" providerId="ADAL" clId="{6ECD27E6-B224-41CD-B4E0-E297462320DD}" dt="2023-11-24T08:53:15.383" v="96543"/>
          <ac:spMkLst>
            <pc:docMk/>
            <pc:sldMk cId="3298264326" sldId="2147478565"/>
            <ac:spMk id="635" creationId="{D2BD9B7B-749B-6638-67FD-8104822CAF50}"/>
          </ac:spMkLst>
        </pc:spChg>
        <pc:spChg chg="add del mod">
          <ac:chgData name="Steiner Andreas 6206 ED" userId="e6377c33-a923-4f14-8587-531c474c7b48" providerId="ADAL" clId="{6ECD27E6-B224-41CD-B4E0-E297462320DD}" dt="2023-11-24T08:53:17.339" v="96698"/>
          <ac:spMkLst>
            <pc:docMk/>
            <pc:sldMk cId="3298264326" sldId="2147478565"/>
            <ac:spMk id="636" creationId="{42979AF5-BA4D-6107-45D9-2542B618410E}"/>
          </ac:spMkLst>
        </pc:spChg>
        <pc:spChg chg="add del mod">
          <ac:chgData name="Steiner Andreas 6206 ED" userId="e6377c33-a923-4f14-8587-531c474c7b48" providerId="ADAL" clId="{6ECD27E6-B224-41CD-B4E0-E297462320DD}" dt="2023-11-24T08:53:19.322" v="96853"/>
          <ac:spMkLst>
            <pc:docMk/>
            <pc:sldMk cId="3298264326" sldId="2147478565"/>
            <ac:spMk id="637" creationId="{D62AE88D-3D38-4B06-33E6-9F0D70EACD4F}"/>
          </ac:spMkLst>
        </pc:spChg>
        <pc:spChg chg="add del mod">
          <ac:chgData name="Steiner Andreas 6206 ED" userId="e6377c33-a923-4f14-8587-531c474c7b48" providerId="ADAL" clId="{6ECD27E6-B224-41CD-B4E0-E297462320DD}" dt="2023-11-24T08:53:21.270" v="97008"/>
          <ac:spMkLst>
            <pc:docMk/>
            <pc:sldMk cId="3298264326" sldId="2147478565"/>
            <ac:spMk id="638" creationId="{07FCAA36-9EBB-CEF0-13E1-C9C1692EA2F5}"/>
          </ac:spMkLst>
        </pc:spChg>
        <pc:spChg chg="add del mod">
          <ac:chgData name="Steiner Andreas 6206 ED" userId="e6377c33-a923-4f14-8587-531c474c7b48" providerId="ADAL" clId="{6ECD27E6-B224-41CD-B4E0-E297462320DD}" dt="2023-11-24T08:53:23.227" v="97163"/>
          <ac:spMkLst>
            <pc:docMk/>
            <pc:sldMk cId="3298264326" sldId="2147478565"/>
            <ac:spMk id="639" creationId="{56A59160-D705-5906-C9ED-00D2370B9CE8}"/>
          </ac:spMkLst>
        </pc:spChg>
        <pc:spChg chg="add del mod">
          <ac:chgData name="Steiner Andreas 6206 ED" userId="e6377c33-a923-4f14-8587-531c474c7b48" providerId="ADAL" clId="{6ECD27E6-B224-41CD-B4E0-E297462320DD}" dt="2023-11-24T08:53:25.353" v="97318"/>
          <ac:spMkLst>
            <pc:docMk/>
            <pc:sldMk cId="3298264326" sldId="2147478565"/>
            <ac:spMk id="640" creationId="{94411305-055F-4FC5-3D49-9C3F409FA106}"/>
          </ac:spMkLst>
        </pc:spChg>
        <pc:spChg chg="add del mod">
          <ac:chgData name="Steiner Andreas 6206 ED" userId="e6377c33-a923-4f14-8587-531c474c7b48" providerId="ADAL" clId="{6ECD27E6-B224-41CD-B4E0-E297462320DD}" dt="2023-11-24T08:53:27.330" v="97473"/>
          <ac:spMkLst>
            <pc:docMk/>
            <pc:sldMk cId="3298264326" sldId="2147478565"/>
            <ac:spMk id="641" creationId="{18A6EE73-568B-66BE-E20B-D8C1C9CF58C7}"/>
          </ac:spMkLst>
        </pc:spChg>
        <pc:spChg chg="add del mod">
          <ac:chgData name="Steiner Andreas 6206 ED" userId="e6377c33-a923-4f14-8587-531c474c7b48" providerId="ADAL" clId="{6ECD27E6-B224-41CD-B4E0-E297462320DD}" dt="2023-11-24T08:53:29.222" v="97628"/>
          <ac:spMkLst>
            <pc:docMk/>
            <pc:sldMk cId="3298264326" sldId="2147478565"/>
            <ac:spMk id="642" creationId="{8B55957D-84A5-464E-E858-E767545F8C2A}"/>
          </ac:spMkLst>
        </pc:spChg>
        <pc:spChg chg="add del mod">
          <ac:chgData name="Steiner Andreas 6206 ED" userId="e6377c33-a923-4f14-8587-531c474c7b48" providerId="ADAL" clId="{6ECD27E6-B224-41CD-B4E0-E297462320DD}" dt="2023-11-24T08:53:31.124" v="97783"/>
          <ac:spMkLst>
            <pc:docMk/>
            <pc:sldMk cId="3298264326" sldId="2147478565"/>
            <ac:spMk id="643" creationId="{606C3C7A-13C4-A92E-9CC5-D190C56507FD}"/>
          </ac:spMkLst>
        </pc:spChg>
        <pc:spChg chg="add del mod">
          <ac:chgData name="Steiner Andreas 6206 ED" userId="e6377c33-a923-4f14-8587-531c474c7b48" providerId="ADAL" clId="{6ECD27E6-B224-41CD-B4E0-E297462320DD}" dt="2023-11-24T08:53:33.063" v="97938"/>
          <ac:spMkLst>
            <pc:docMk/>
            <pc:sldMk cId="3298264326" sldId="2147478565"/>
            <ac:spMk id="644" creationId="{0BA3CEA1-A904-0276-760F-AF4A7D9FA732}"/>
          </ac:spMkLst>
        </pc:spChg>
        <pc:spChg chg="add del mod">
          <ac:chgData name="Steiner Andreas 6206 ED" userId="e6377c33-a923-4f14-8587-531c474c7b48" providerId="ADAL" clId="{6ECD27E6-B224-41CD-B4E0-E297462320DD}" dt="2023-11-24T08:53:34.986" v="98093"/>
          <ac:spMkLst>
            <pc:docMk/>
            <pc:sldMk cId="3298264326" sldId="2147478565"/>
            <ac:spMk id="645" creationId="{8EF7FCD8-AD9F-441E-40E1-9C23B067062D}"/>
          </ac:spMkLst>
        </pc:spChg>
        <pc:spChg chg="add del mod">
          <ac:chgData name="Steiner Andreas 6206 ED" userId="e6377c33-a923-4f14-8587-531c474c7b48" providerId="ADAL" clId="{6ECD27E6-B224-41CD-B4E0-E297462320DD}" dt="2023-11-24T08:53:37.109" v="98248"/>
          <ac:spMkLst>
            <pc:docMk/>
            <pc:sldMk cId="3298264326" sldId="2147478565"/>
            <ac:spMk id="646" creationId="{D4655F13-A7DB-2F29-88E3-ABEA6CE6659B}"/>
          </ac:spMkLst>
        </pc:spChg>
        <pc:spChg chg="add del mod">
          <ac:chgData name="Steiner Andreas 6206 ED" userId="e6377c33-a923-4f14-8587-531c474c7b48" providerId="ADAL" clId="{6ECD27E6-B224-41CD-B4E0-E297462320DD}" dt="2023-11-24T08:53:38.994" v="98403"/>
          <ac:spMkLst>
            <pc:docMk/>
            <pc:sldMk cId="3298264326" sldId="2147478565"/>
            <ac:spMk id="647" creationId="{41DCFA6B-CD21-29CB-52CD-0FD5CD9244F9}"/>
          </ac:spMkLst>
        </pc:spChg>
        <pc:spChg chg="add del mod">
          <ac:chgData name="Steiner Andreas 6206 ED" userId="e6377c33-a923-4f14-8587-531c474c7b48" providerId="ADAL" clId="{6ECD27E6-B224-41CD-B4E0-E297462320DD}" dt="2023-11-24T08:53:40.948" v="98558"/>
          <ac:spMkLst>
            <pc:docMk/>
            <pc:sldMk cId="3298264326" sldId="2147478565"/>
            <ac:spMk id="648" creationId="{9A50DBC6-07D0-C92B-8C49-0601939548B3}"/>
          </ac:spMkLst>
        </pc:spChg>
        <pc:spChg chg="add del mod">
          <ac:chgData name="Steiner Andreas 6206 ED" userId="e6377c33-a923-4f14-8587-531c474c7b48" providerId="ADAL" clId="{6ECD27E6-B224-41CD-B4E0-E297462320DD}" dt="2023-11-24T08:53:42.906" v="98713"/>
          <ac:spMkLst>
            <pc:docMk/>
            <pc:sldMk cId="3298264326" sldId="2147478565"/>
            <ac:spMk id="649" creationId="{374346E9-15B8-5B8C-347C-F746CB597EF0}"/>
          </ac:spMkLst>
        </pc:spChg>
        <pc:spChg chg="add del mod">
          <ac:chgData name="Steiner Andreas 6206 ED" userId="e6377c33-a923-4f14-8587-531c474c7b48" providerId="ADAL" clId="{6ECD27E6-B224-41CD-B4E0-E297462320DD}" dt="2023-11-24T08:53:44.841" v="98868"/>
          <ac:spMkLst>
            <pc:docMk/>
            <pc:sldMk cId="3298264326" sldId="2147478565"/>
            <ac:spMk id="650" creationId="{2913901B-11A1-75FF-F3BB-D61C02BDF31B}"/>
          </ac:spMkLst>
        </pc:spChg>
        <pc:spChg chg="add del mod">
          <ac:chgData name="Steiner Andreas 6206 ED" userId="e6377c33-a923-4f14-8587-531c474c7b48" providerId="ADAL" clId="{6ECD27E6-B224-41CD-B4E0-E297462320DD}" dt="2023-11-24T08:53:46.803" v="99023"/>
          <ac:spMkLst>
            <pc:docMk/>
            <pc:sldMk cId="3298264326" sldId="2147478565"/>
            <ac:spMk id="651" creationId="{A6A67970-2961-EDFC-178C-AB6D23EBB98F}"/>
          </ac:spMkLst>
        </pc:spChg>
        <pc:spChg chg="add del mod">
          <ac:chgData name="Steiner Andreas 6206 ED" userId="e6377c33-a923-4f14-8587-531c474c7b48" providerId="ADAL" clId="{6ECD27E6-B224-41CD-B4E0-E297462320DD}" dt="2023-11-24T08:53:48.847" v="99178"/>
          <ac:spMkLst>
            <pc:docMk/>
            <pc:sldMk cId="3298264326" sldId="2147478565"/>
            <ac:spMk id="652" creationId="{16F26161-E696-1E84-6037-6978975B2169}"/>
          </ac:spMkLst>
        </pc:spChg>
        <pc:spChg chg="add del mod">
          <ac:chgData name="Steiner Andreas 6206 ED" userId="e6377c33-a923-4f14-8587-531c474c7b48" providerId="ADAL" clId="{6ECD27E6-B224-41CD-B4E0-E297462320DD}" dt="2023-11-24T08:53:50.790" v="99333"/>
          <ac:spMkLst>
            <pc:docMk/>
            <pc:sldMk cId="3298264326" sldId="2147478565"/>
            <ac:spMk id="653" creationId="{9803EC00-F115-45EA-C9FB-C6D580D60EF6}"/>
          </ac:spMkLst>
        </pc:spChg>
        <pc:spChg chg="add del mod">
          <ac:chgData name="Steiner Andreas 6206 ED" userId="e6377c33-a923-4f14-8587-531c474c7b48" providerId="ADAL" clId="{6ECD27E6-B224-41CD-B4E0-E297462320DD}" dt="2023-11-24T08:53:52.792" v="99488"/>
          <ac:spMkLst>
            <pc:docMk/>
            <pc:sldMk cId="3298264326" sldId="2147478565"/>
            <ac:spMk id="654" creationId="{503CDD2A-8259-4E5C-05A3-0313BB5ECA28}"/>
          </ac:spMkLst>
        </pc:spChg>
        <pc:spChg chg="add del mod">
          <ac:chgData name="Steiner Andreas 6206 ED" userId="e6377c33-a923-4f14-8587-531c474c7b48" providerId="ADAL" clId="{6ECD27E6-B224-41CD-B4E0-E297462320DD}" dt="2023-11-24T08:53:54.751" v="99643"/>
          <ac:spMkLst>
            <pc:docMk/>
            <pc:sldMk cId="3298264326" sldId="2147478565"/>
            <ac:spMk id="655" creationId="{900F9632-56F8-8BF2-67F4-465EAE8CE4FA}"/>
          </ac:spMkLst>
        </pc:spChg>
        <pc:spChg chg="add del mod">
          <ac:chgData name="Steiner Andreas 6206 ED" userId="e6377c33-a923-4f14-8587-531c474c7b48" providerId="ADAL" clId="{6ECD27E6-B224-41CD-B4E0-E297462320DD}" dt="2023-11-24T08:53:56.685" v="99798"/>
          <ac:spMkLst>
            <pc:docMk/>
            <pc:sldMk cId="3298264326" sldId="2147478565"/>
            <ac:spMk id="656" creationId="{34891ACA-300D-61BA-29E1-C56BF71236B8}"/>
          </ac:spMkLst>
        </pc:spChg>
        <pc:spChg chg="add del mod">
          <ac:chgData name="Steiner Andreas 6206 ED" userId="e6377c33-a923-4f14-8587-531c474c7b48" providerId="ADAL" clId="{6ECD27E6-B224-41CD-B4E0-E297462320DD}" dt="2023-11-24T08:53:58.774" v="99953"/>
          <ac:spMkLst>
            <pc:docMk/>
            <pc:sldMk cId="3298264326" sldId="2147478565"/>
            <ac:spMk id="657" creationId="{8D3F0B78-0177-056D-D068-62B88902872B}"/>
          </ac:spMkLst>
        </pc:spChg>
        <pc:spChg chg="add del mod">
          <ac:chgData name="Steiner Andreas 6206 ED" userId="e6377c33-a923-4f14-8587-531c474c7b48" providerId="ADAL" clId="{6ECD27E6-B224-41CD-B4E0-E297462320DD}" dt="2023-11-24T08:54:00.848" v="100108"/>
          <ac:spMkLst>
            <pc:docMk/>
            <pc:sldMk cId="3298264326" sldId="2147478565"/>
            <ac:spMk id="658" creationId="{496D1868-67BE-1A2B-2029-BA0CDDD549B4}"/>
          </ac:spMkLst>
        </pc:spChg>
        <pc:spChg chg="add del mod">
          <ac:chgData name="Steiner Andreas 6206 ED" userId="e6377c33-a923-4f14-8587-531c474c7b48" providerId="ADAL" clId="{6ECD27E6-B224-41CD-B4E0-E297462320DD}" dt="2023-11-24T08:54:02.850" v="100263"/>
          <ac:spMkLst>
            <pc:docMk/>
            <pc:sldMk cId="3298264326" sldId="2147478565"/>
            <ac:spMk id="659" creationId="{8B0159FE-44F9-0BFF-F7D8-7352D98D169F}"/>
          </ac:spMkLst>
        </pc:spChg>
        <pc:spChg chg="add del mod">
          <ac:chgData name="Steiner Andreas 6206 ED" userId="e6377c33-a923-4f14-8587-531c474c7b48" providerId="ADAL" clId="{6ECD27E6-B224-41CD-B4E0-E297462320DD}" dt="2023-11-24T08:54:04.796" v="100418"/>
          <ac:spMkLst>
            <pc:docMk/>
            <pc:sldMk cId="3298264326" sldId="2147478565"/>
            <ac:spMk id="660" creationId="{BB7E1E80-E665-E3B5-AB76-24924782D1CE}"/>
          </ac:spMkLst>
        </pc:spChg>
        <pc:spChg chg="add del mod">
          <ac:chgData name="Steiner Andreas 6206 ED" userId="e6377c33-a923-4f14-8587-531c474c7b48" providerId="ADAL" clId="{6ECD27E6-B224-41CD-B4E0-E297462320DD}" dt="2023-11-24T08:54:06.763" v="100573"/>
          <ac:spMkLst>
            <pc:docMk/>
            <pc:sldMk cId="3298264326" sldId="2147478565"/>
            <ac:spMk id="661" creationId="{45DCEF22-C453-E249-771D-82C177FB71DB}"/>
          </ac:spMkLst>
        </pc:spChg>
        <pc:spChg chg="add del mod">
          <ac:chgData name="Steiner Andreas 6206 ED" userId="e6377c33-a923-4f14-8587-531c474c7b48" providerId="ADAL" clId="{6ECD27E6-B224-41CD-B4E0-E297462320DD}" dt="2023-11-24T08:54:08.777" v="100728"/>
          <ac:spMkLst>
            <pc:docMk/>
            <pc:sldMk cId="3298264326" sldId="2147478565"/>
            <ac:spMk id="662" creationId="{CBCC0A20-DB56-3817-B41E-E4F793E0BF40}"/>
          </ac:spMkLst>
        </pc:spChg>
        <pc:spChg chg="add del mod">
          <ac:chgData name="Steiner Andreas 6206 ED" userId="e6377c33-a923-4f14-8587-531c474c7b48" providerId="ADAL" clId="{6ECD27E6-B224-41CD-B4E0-E297462320DD}" dt="2023-11-24T08:54:10.888" v="100883"/>
          <ac:spMkLst>
            <pc:docMk/>
            <pc:sldMk cId="3298264326" sldId="2147478565"/>
            <ac:spMk id="663" creationId="{2FCD751A-55EA-2F58-D7A7-4C59D4BA6012}"/>
          </ac:spMkLst>
        </pc:spChg>
        <pc:spChg chg="add del mod">
          <ac:chgData name="Steiner Andreas 6206 ED" userId="e6377c33-a923-4f14-8587-531c474c7b48" providerId="ADAL" clId="{6ECD27E6-B224-41CD-B4E0-E297462320DD}" dt="2023-11-24T08:54:12.828" v="101038"/>
          <ac:spMkLst>
            <pc:docMk/>
            <pc:sldMk cId="3298264326" sldId="2147478565"/>
            <ac:spMk id="664" creationId="{9C245874-B21D-EBCA-8535-4AE5E3E60C3F}"/>
          </ac:spMkLst>
        </pc:spChg>
        <pc:spChg chg="add del mod">
          <ac:chgData name="Steiner Andreas 6206 ED" userId="e6377c33-a923-4f14-8587-531c474c7b48" providerId="ADAL" clId="{6ECD27E6-B224-41CD-B4E0-E297462320DD}" dt="2023-11-24T08:54:14.776" v="101193"/>
          <ac:spMkLst>
            <pc:docMk/>
            <pc:sldMk cId="3298264326" sldId="2147478565"/>
            <ac:spMk id="665" creationId="{C758BDBC-3FA2-5E3F-8ECD-78188547B128}"/>
          </ac:spMkLst>
        </pc:spChg>
        <pc:spChg chg="add del mod">
          <ac:chgData name="Steiner Andreas 6206 ED" userId="e6377c33-a923-4f14-8587-531c474c7b48" providerId="ADAL" clId="{6ECD27E6-B224-41CD-B4E0-E297462320DD}" dt="2023-11-24T08:54:16.669" v="101348"/>
          <ac:spMkLst>
            <pc:docMk/>
            <pc:sldMk cId="3298264326" sldId="2147478565"/>
            <ac:spMk id="666" creationId="{95005218-4541-8865-3D1D-1CDE0D8F146F}"/>
          </ac:spMkLst>
        </pc:spChg>
        <pc:spChg chg="add del mod">
          <ac:chgData name="Steiner Andreas 6206 ED" userId="e6377c33-a923-4f14-8587-531c474c7b48" providerId="ADAL" clId="{6ECD27E6-B224-41CD-B4E0-E297462320DD}" dt="2023-11-24T08:54:18.603" v="101503"/>
          <ac:spMkLst>
            <pc:docMk/>
            <pc:sldMk cId="3298264326" sldId="2147478565"/>
            <ac:spMk id="667" creationId="{FE275FED-4853-5B92-7978-A793DE4BD25D}"/>
          </ac:spMkLst>
        </pc:spChg>
        <pc:spChg chg="add del mod">
          <ac:chgData name="Steiner Andreas 6206 ED" userId="e6377c33-a923-4f14-8587-531c474c7b48" providerId="ADAL" clId="{6ECD27E6-B224-41CD-B4E0-E297462320DD}" dt="2023-11-24T08:54:20.569" v="101658"/>
          <ac:spMkLst>
            <pc:docMk/>
            <pc:sldMk cId="3298264326" sldId="2147478565"/>
            <ac:spMk id="668" creationId="{83517A21-2EE6-2B47-0CCA-DA90D24746E0}"/>
          </ac:spMkLst>
        </pc:spChg>
        <pc:spChg chg="add del mod">
          <ac:chgData name="Steiner Andreas 6206 ED" userId="e6377c33-a923-4f14-8587-531c474c7b48" providerId="ADAL" clId="{6ECD27E6-B224-41CD-B4E0-E297462320DD}" dt="2023-11-24T08:54:22.648" v="101813"/>
          <ac:spMkLst>
            <pc:docMk/>
            <pc:sldMk cId="3298264326" sldId="2147478565"/>
            <ac:spMk id="669" creationId="{66CA53BD-1CF3-08B1-13B5-3AC2C832B25B}"/>
          </ac:spMkLst>
        </pc:spChg>
        <pc:spChg chg="add del mod">
          <ac:chgData name="Steiner Andreas 6206 ED" userId="e6377c33-a923-4f14-8587-531c474c7b48" providerId="ADAL" clId="{6ECD27E6-B224-41CD-B4E0-E297462320DD}" dt="2023-11-24T08:54:24.627" v="101968"/>
          <ac:spMkLst>
            <pc:docMk/>
            <pc:sldMk cId="3298264326" sldId="2147478565"/>
            <ac:spMk id="670" creationId="{3CAF7080-8753-1BE0-7B47-6D7545991936}"/>
          </ac:spMkLst>
        </pc:spChg>
        <pc:spChg chg="add del mod">
          <ac:chgData name="Steiner Andreas 6206 ED" userId="e6377c33-a923-4f14-8587-531c474c7b48" providerId="ADAL" clId="{6ECD27E6-B224-41CD-B4E0-E297462320DD}" dt="2023-11-24T08:54:26.567" v="102123"/>
          <ac:spMkLst>
            <pc:docMk/>
            <pc:sldMk cId="3298264326" sldId="2147478565"/>
            <ac:spMk id="671" creationId="{A3FC5F0D-CB12-F8BD-5095-C2C52E7B9AC1}"/>
          </ac:spMkLst>
        </pc:spChg>
        <pc:spChg chg="add del mod">
          <ac:chgData name="Steiner Andreas 6206 ED" userId="e6377c33-a923-4f14-8587-531c474c7b48" providerId="ADAL" clId="{6ECD27E6-B224-41CD-B4E0-E297462320DD}" dt="2023-11-24T08:54:28.527" v="102278"/>
          <ac:spMkLst>
            <pc:docMk/>
            <pc:sldMk cId="3298264326" sldId="2147478565"/>
            <ac:spMk id="672" creationId="{45A5E245-E515-414D-7381-D423CABC70C3}"/>
          </ac:spMkLst>
        </pc:spChg>
        <pc:spChg chg="add del mod">
          <ac:chgData name="Steiner Andreas 6206 ED" userId="e6377c33-a923-4f14-8587-531c474c7b48" providerId="ADAL" clId="{6ECD27E6-B224-41CD-B4E0-E297462320DD}" dt="2023-11-24T08:54:30.452" v="102433"/>
          <ac:spMkLst>
            <pc:docMk/>
            <pc:sldMk cId="3298264326" sldId="2147478565"/>
            <ac:spMk id="673" creationId="{CE9E7AE6-3037-621A-328F-CA76D5DE9818}"/>
          </ac:spMkLst>
        </pc:spChg>
        <pc:spChg chg="add del mod">
          <ac:chgData name="Steiner Andreas 6206 ED" userId="e6377c33-a923-4f14-8587-531c474c7b48" providerId="ADAL" clId="{6ECD27E6-B224-41CD-B4E0-E297462320DD}" dt="2023-11-24T08:54:32.626" v="102588"/>
          <ac:spMkLst>
            <pc:docMk/>
            <pc:sldMk cId="3298264326" sldId="2147478565"/>
            <ac:spMk id="674" creationId="{D64BE7A3-4AFF-BFE1-18C5-DFCA96B5C32D}"/>
          </ac:spMkLst>
        </pc:spChg>
        <pc:spChg chg="add del mod">
          <ac:chgData name="Steiner Andreas 6206 ED" userId="e6377c33-a923-4f14-8587-531c474c7b48" providerId="ADAL" clId="{6ECD27E6-B224-41CD-B4E0-E297462320DD}" dt="2023-11-24T08:54:34.607" v="102743"/>
          <ac:spMkLst>
            <pc:docMk/>
            <pc:sldMk cId="3298264326" sldId="2147478565"/>
            <ac:spMk id="675" creationId="{626BB1DC-66F0-7E10-CF74-51775226E364}"/>
          </ac:spMkLst>
        </pc:spChg>
        <pc:spChg chg="add del mod">
          <ac:chgData name="Steiner Andreas 6206 ED" userId="e6377c33-a923-4f14-8587-531c474c7b48" providerId="ADAL" clId="{6ECD27E6-B224-41CD-B4E0-E297462320DD}" dt="2023-11-24T08:54:36.509" v="102898"/>
          <ac:spMkLst>
            <pc:docMk/>
            <pc:sldMk cId="3298264326" sldId="2147478565"/>
            <ac:spMk id="676" creationId="{D379D852-45B2-F1CD-E59E-DDEA4F4B32FB}"/>
          </ac:spMkLst>
        </pc:spChg>
        <pc:spChg chg="add del mod">
          <ac:chgData name="Steiner Andreas 6206 ED" userId="e6377c33-a923-4f14-8587-531c474c7b48" providerId="ADAL" clId="{6ECD27E6-B224-41CD-B4E0-E297462320DD}" dt="2023-11-24T08:54:38.763" v="103053"/>
          <ac:spMkLst>
            <pc:docMk/>
            <pc:sldMk cId="3298264326" sldId="2147478565"/>
            <ac:spMk id="677" creationId="{422D9669-B9F6-74D8-A6F5-324630690661}"/>
          </ac:spMkLst>
        </pc:spChg>
        <pc:spChg chg="add del mod">
          <ac:chgData name="Steiner Andreas 6206 ED" userId="e6377c33-a923-4f14-8587-531c474c7b48" providerId="ADAL" clId="{6ECD27E6-B224-41CD-B4E0-E297462320DD}" dt="2023-11-24T08:54:40.886" v="103208"/>
          <ac:spMkLst>
            <pc:docMk/>
            <pc:sldMk cId="3298264326" sldId="2147478565"/>
            <ac:spMk id="678" creationId="{75C18EB3-B8F8-9331-5C91-3F4BA5660713}"/>
          </ac:spMkLst>
        </pc:spChg>
        <pc:spChg chg="add del mod">
          <ac:chgData name="Steiner Andreas 6206 ED" userId="e6377c33-a923-4f14-8587-531c474c7b48" providerId="ADAL" clId="{6ECD27E6-B224-41CD-B4E0-E297462320DD}" dt="2023-11-24T08:54:42.821" v="103363"/>
          <ac:spMkLst>
            <pc:docMk/>
            <pc:sldMk cId="3298264326" sldId="2147478565"/>
            <ac:spMk id="679" creationId="{59EBBD13-18E9-4E1F-E514-8BB08CAE948E}"/>
          </ac:spMkLst>
        </pc:spChg>
        <pc:spChg chg="add del mod">
          <ac:chgData name="Steiner Andreas 6206 ED" userId="e6377c33-a923-4f14-8587-531c474c7b48" providerId="ADAL" clId="{6ECD27E6-B224-41CD-B4E0-E297462320DD}" dt="2023-11-24T08:54:45.086" v="103518"/>
          <ac:spMkLst>
            <pc:docMk/>
            <pc:sldMk cId="3298264326" sldId="2147478565"/>
            <ac:spMk id="680" creationId="{643A8CDF-C6B6-49DA-DCB5-5C3FA4832846}"/>
          </ac:spMkLst>
        </pc:spChg>
        <pc:spChg chg="add del mod">
          <ac:chgData name="Steiner Andreas 6206 ED" userId="e6377c33-a923-4f14-8587-531c474c7b48" providerId="ADAL" clId="{6ECD27E6-B224-41CD-B4E0-E297462320DD}" dt="2023-11-24T08:54:47.332" v="103673"/>
          <ac:spMkLst>
            <pc:docMk/>
            <pc:sldMk cId="3298264326" sldId="2147478565"/>
            <ac:spMk id="681" creationId="{69B5D867-D864-F2A5-5C66-AA319BCA0E64}"/>
          </ac:spMkLst>
        </pc:spChg>
        <pc:spChg chg="add del mod">
          <ac:chgData name="Steiner Andreas 6206 ED" userId="e6377c33-a923-4f14-8587-531c474c7b48" providerId="ADAL" clId="{6ECD27E6-B224-41CD-B4E0-E297462320DD}" dt="2023-11-24T08:54:49.429" v="103828"/>
          <ac:spMkLst>
            <pc:docMk/>
            <pc:sldMk cId="3298264326" sldId="2147478565"/>
            <ac:spMk id="682" creationId="{C3EA9EC8-6D79-EC5E-8E6D-9D763F50090E}"/>
          </ac:spMkLst>
        </pc:spChg>
        <pc:spChg chg="add del mod">
          <ac:chgData name="Steiner Andreas 6206 ED" userId="e6377c33-a923-4f14-8587-531c474c7b48" providerId="ADAL" clId="{6ECD27E6-B224-41CD-B4E0-E297462320DD}" dt="2023-11-24T08:54:51.809" v="103983"/>
          <ac:spMkLst>
            <pc:docMk/>
            <pc:sldMk cId="3298264326" sldId="2147478565"/>
            <ac:spMk id="683" creationId="{8B3F60E7-643E-B86D-F978-DE2CA09BB325}"/>
          </ac:spMkLst>
        </pc:spChg>
        <pc:spChg chg="add del mod">
          <ac:chgData name="Steiner Andreas 6206 ED" userId="e6377c33-a923-4f14-8587-531c474c7b48" providerId="ADAL" clId="{6ECD27E6-B224-41CD-B4E0-E297462320DD}" dt="2023-11-24T08:54:53.852" v="104138"/>
          <ac:spMkLst>
            <pc:docMk/>
            <pc:sldMk cId="3298264326" sldId="2147478565"/>
            <ac:spMk id="684" creationId="{E77F4C43-DC54-50F7-616B-B15F12B4C64F}"/>
          </ac:spMkLst>
        </pc:spChg>
        <pc:spChg chg="add del mod">
          <ac:chgData name="Steiner Andreas 6206 ED" userId="e6377c33-a923-4f14-8587-531c474c7b48" providerId="ADAL" clId="{6ECD27E6-B224-41CD-B4E0-E297462320DD}" dt="2023-11-24T08:54:55.975" v="104293"/>
          <ac:spMkLst>
            <pc:docMk/>
            <pc:sldMk cId="3298264326" sldId="2147478565"/>
            <ac:spMk id="685" creationId="{B6F04118-BB57-B162-3B12-21C73E3B2646}"/>
          </ac:spMkLst>
        </pc:spChg>
        <pc:spChg chg="add del mod">
          <ac:chgData name="Steiner Andreas 6206 ED" userId="e6377c33-a923-4f14-8587-531c474c7b48" providerId="ADAL" clId="{6ECD27E6-B224-41CD-B4E0-E297462320DD}" dt="2023-11-24T08:54:58.055" v="104448"/>
          <ac:spMkLst>
            <pc:docMk/>
            <pc:sldMk cId="3298264326" sldId="2147478565"/>
            <ac:spMk id="686" creationId="{0414244C-D79A-DE82-2F56-855CA63E45D4}"/>
          </ac:spMkLst>
        </pc:spChg>
        <pc:spChg chg="add del mod">
          <ac:chgData name="Steiner Andreas 6206 ED" userId="e6377c33-a923-4f14-8587-531c474c7b48" providerId="ADAL" clId="{6ECD27E6-B224-41CD-B4E0-E297462320DD}" dt="2023-11-24T08:55:00.057" v="104603"/>
          <ac:spMkLst>
            <pc:docMk/>
            <pc:sldMk cId="3298264326" sldId="2147478565"/>
            <ac:spMk id="687" creationId="{DE195AA4-BC65-3B01-2C6F-3FAB665F7086}"/>
          </ac:spMkLst>
        </pc:spChg>
        <pc:spChg chg="add del mod">
          <ac:chgData name="Steiner Andreas 6206 ED" userId="e6377c33-a923-4f14-8587-531c474c7b48" providerId="ADAL" clId="{6ECD27E6-B224-41CD-B4E0-E297462320DD}" dt="2023-11-24T08:55:02.008" v="104758"/>
          <ac:spMkLst>
            <pc:docMk/>
            <pc:sldMk cId="3298264326" sldId="2147478565"/>
            <ac:spMk id="688" creationId="{B8DC92C6-CEDE-A5CB-4AE2-AD1ECBEA1EF5}"/>
          </ac:spMkLst>
        </pc:spChg>
        <pc:spChg chg="add del mod">
          <ac:chgData name="Steiner Andreas 6206 ED" userId="e6377c33-a923-4f14-8587-531c474c7b48" providerId="ADAL" clId="{6ECD27E6-B224-41CD-B4E0-E297462320DD}" dt="2023-11-24T08:55:03.987" v="104913"/>
          <ac:spMkLst>
            <pc:docMk/>
            <pc:sldMk cId="3298264326" sldId="2147478565"/>
            <ac:spMk id="689" creationId="{2B3B490A-B18D-7273-198F-9B46422ED98F}"/>
          </ac:spMkLst>
        </pc:spChg>
        <pc:spChg chg="add del mod">
          <ac:chgData name="Steiner Andreas 6206 ED" userId="e6377c33-a923-4f14-8587-531c474c7b48" providerId="ADAL" clId="{6ECD27E6-B224-41CD-B4E0-E297462320DD}" dt="2023-11-24T08:55:06.117" v="105068"/>
          <ac:spMkLst>
            <pc:docMk/>
            <pc:sldMk cId="3298264326" sldId="2147478565"/>
            <ac:spMk id="690" creationId="{43F4F3F5-93A1-AB4F-8A1E-A988F347C51F}"/>
          </ac:spMkLst>
        </pc:spChg>
        <pc:spChg chg="add del mod">
          <ac:chgData name="Steiner Andreas 6206 ED" userId="e6377c33-a923-4f14-8587-531c474c7b48" providerId="ADAL" clId="{6ECD27E6-B224-41CD-B4E0-E297462320DD}" dt="2023-11-24T08:55:08.189" v="105223"/>
          <ac:spMkLst>
            <pc:docMk/>
            <pc:sldMk cId="3298264326" sldId="2147478565"/>
            <ac:spMk id="691" creationId="{EF101F48-6169-AE62-F538-9893AF40DEC0}"/>
          </ac:spMkLst>
        </pc:spChg>
        <pc:spChg chg="add del mod">
          <ac:chgData name="Steiner Andreas 6206 ED" userId="e6377c33-a923-4f14-8587-531c474c7b48" providerId="ADAL" clId="{6ECD27E6-B224-41CD-B4E0-E297462320DD}" dt="2023-11-24T08:55:10.187" v="105378"/>
          <ac:spMkLst>
            <pc:docMk/>
            <pc:sldMk cId="3298264326" sldId="2147478565"/>
            <ac:spMk id="692" creationId="{51F2831E-4E17-5247-3427-27C48CF39C2F}"/>
          </ac:spMkLst>
        </pc:spChg>
        <pc:spChg chg="add del mod">
          <ac:chgData name="Steiner Andreas 6206 ED" userId="e6377c33-a923-4f14-8587-531c474c7b48" providerId="ADAL" clId="{6ECD27E6-B224-41CD-B4E0-E297462320DD}" dt="2023-11-24T08:55:12.164" v="105533"/>
          <ac:spMkLst>
            <pc:docMk/>
            <pc:sldMk cId="3298264326" sldId="2147478565"/>
            <ac:spMk id="693" creationId="{0CB8BA90-BE12-2A47-719F-28486C2505FD}"/>
          </ac:spMkLst>
        </pc:spChg>
        <pc:spChg chg="add del mod">
          <ac:chgData name="Steiner Andreas 6206 ED" userId="e6377c33-a923-4f14-8587-531c474c7b48" providerId="ADAL" clId="{6ECD27E6-B224-41CD-B4E0-E297462320DD}" dt="2023-11-24T08:55:14.225" v="105688"/>
          <ac:spMkLst>
            <pc:docMk/>
            <pc:sldMk cId="3298264326" sldId="2147478565"/>
            <ac:spMk id="694" creationId="{3E16B9C6-F370-75FB-BAD8-300FC7B58C2C}"/>
          </ac:spMkLst>
        </pc:spChg>
        <pc:spChg chg="add del mod">
          <ac:chgData name="Steiner Andreas 6206 ED" userId="e6377c33-a923-4f14-8587-531c474c7b48" providerId="ADAL" clId="{6ECD27E6-B224-41CD-B4E0-E297462320DD}" dt="2023-11-24T08:55:16.290" v="105843"/>
          <ac:spMkLst>
            <pc:docMk/>
            <pc:sldMk cId="3298264326" sldId="2147478565"/>
            <ac:spMk id="695" creationId="{ACEAB11B-FB79-0220-9A56-7F8ADB574BFA}"/>
          </ac:spMkLst>
        </pc:spChg>
        <pc:spChg chg="add del mod">
          <ac:chgData name="Steiner Andreas 6206 ED" userId="e6377c33-a923-4f14-8587-531c474c7b48" providerId="ADAL" clId="{6ECD27E6-B224-41CD-B4E0-E297462320DD}" dt="2023-11-24T08:55:18.333" v="105998"/>
          <ac:spMkLst>
            <pc:docMk/>
            <pc:sldMk cId="3298264326" sldId="2147478565"/>
            <ac:spMk id="696" creationId="{E0475A79-949E-B3E7-9269-620177C70C44}"/>
          </ac:spMkLst>
        </pc:spChg>
        <pc:spChg chg="add del mod">
          <ac:chgData name="Steiner Andreas 6206 ED" userId="e6377c33-a923-4f14-8587-531c474c7b48" providerId="ADAL" clId="{6ECD27E6-B224-41CD-B4E0-E297462320DD}" dt="2023-11-24T08:55:20.340" v="106153"/>
          <ac:spMkLst>
            <pc:docMk/>
            <pc:sldMk cId="3298264326" sldId="2147478565"/>
            <ac:spMk id="697" creationId="{6733F179-850E-A6D5-8DCA-D95C117B17E4}"/>
          </ac:spMkLst>
        </pc:spChg>
        <pc:spChg chg="add del mod">
          <ac:chgData name="Steiner Andreas 6206 ED" userId="e6377c33-a923-4f14-8587-531c474c7b48" providerId="ADAL" clId="{6ECD27E6-B224-41CD-B4E0-E297462320DD}" dt="2023-11-24T08:55:22.292" v="106308"/>
          <ac:spMkLst>
            <pc:docMk/>
            <pc:sldMk cId="3298264326" sldId="2147478565"/>
            <ac:spMk id="698" creationId="{096F4A01-5D5D-C84C-A961-B4920D3BF28C}"/>
          </ac:spMkLst>
        </pc:spChg>
        <pc:spChg chg="add del mod">
          <ac:chgData name="Steiner Andreas 6206 ED" userId="e6377c33-a923-4f14-8587-531c474c7b48" providerId="ADAL" clId="{6ECD27E6-B224-41CD-B4E0-E297462320DD}" dt="2023-11-24T08:55:24.297" v="106463"/>
          <ac:spMkLst>
            <pc:docMk/>
            <pc:sldMk cId="3298264326" sldId="2147478565"/>
            <ac:spMk id="699" creationId="{65412B3B-D6CB-9DD1-4B8E-701FDC4EABD4}"/>
          </ac:spMkLst>
        </pc:spChg>
        <pc:spChg chg="add del mod">
          <ac:chgData name="Steiner Andreas 6206 ED" userId="e6377c33-a923-4f14-8587-531c474c7b48" providerId="ADAL" clId="{6ECD27E6-B224-41CD-B4E0-E297462320DD}" dt="2023-11-24T08:55:26.272" v="106618"/>
          <ac:spMkLst>
            <pc:docMk/>
            <pc:sldMk cId="3298264326" sldId="2147478565"/>
            <ac:spMk id="700" creationId="{8FA6740E-4297-2F08-2D1C-BE2853BEFBAA}"/>
          </ac:spMkLst>
        </pc:spChg>
        <pc:spChg chg="add del mod">
          <ac:chgData name="Steiner Andreas 6206 ED" userId="e6377c33-a923-4f14-8587-531c474c7b48" providerId="ADAL" clId="{6ECD27E6-B224-41CD-B4E0-E297462320DD}" dt="2023-11-24T08:55:28.418" v="106773"/>
          <ac:spMkLst>
            <pc:docMk/>
            <pc:sldMk cId="3298264326" sldId="2147478565"/>
            <ac:spMk id="701" creationId="{6716AA7F-DDD1-C04B-E9BD-060D4D1037D9}"/>
          </ac:spMkLst>
        </pc:spChg>
        <pc:spChg chg="add del mod">
          <ac:chgData name="Steiner Andreas 6206 ED" userId="e6377c33-a923-4f14-8587-531c474c7b48" providerId="ADAL" clId="{6ECD27E6-B224-41CD-B4E0-E297462320DD}" dt="2023-11-24T08:55:30.401" v="106928"/>
          <ac:spMkLst>
            <pc:docMk/>
            <pc:sldMk cId="3298264326" sldId="2147478565"/>
            <ac:spMk id="702" creationId="{A62E67BD-6FC8-635B-F2D8-626C730A98B9}"/>
          </ac:spMkLst>
        </pc:spChg>
        <pc:spChg chg="add del mod">
          <ac:chgData name="Steiner Andreas 6206 ED" userId="e6377c33-a923-4f14-8587-531c474c7b48" providerId="ADAL" clId="{6ECD27E6-B224-41CD-B4E0-E297462320DD}" dt="2023-11-24T08:55:32.590" v="107083"/>
          <ac:spMkLst>
            <pc:docMk/>
            <pc:sldMk cId="3298264326" sldId="2147478565"/>
            <ac:spMk id="703" creationId="{88BB809E-B797-4E11-5487-140FDC72F1D6}"/>
          </ac:spMkLst>
        </pc:spChg>
        <pc:spChg chg="add del mod">
          <ac:chgData name="Steiner Andreas 6206 ED" userId="e6377c33-a923-4f14-8587-531c474c7b48" providerId="ADAL" clId="{6ECD27E6-B224-41CD-B4E0-E297462320DD}" dt="2023-11-24T08:55:34.485" v="107238"/>
          <ac:spMkLst>
            <pc:docMk/>
            <pc:sldMk cId="3298264326" sldId="2147478565"/>
            <ac:spMk id="704" creationId="{5BF7C852-B13B-F270-FFC9-3AB0C3133C30}"/>
          </ac:spMkLst>
        </pc:spChg>
        <pc:spChg chg="add del mod">
          <ac:chgData name="Steiner Andreas 6206 ED" userId="e6377c33-a923-4f14-8587-531c474c7b48" providerId="ADAL" clId="{6ECD27E6-B224-41CD-B4E0-E297462320DD}" dt="2023-11-24T08:55:36.424" v="107393"/>
          <ac:spMkLst>
            <pc:docMk/>
            <pc:sldMk cId="3298264326" sldId="2147478565"/>
            <ac:spMk id="705" creationId="{D0707E40-81A1-9196-CA57-874A0804E408}"/>
          </ac:spMkLst>
        </pc:spChg>
        <pc:spChg chg="add del mod">
          <ac:chgData name="Steiner Andreas 6206 ED" userId="e6377c33-a923-4f14-8587-531c474c7b48" providerId="ADAL" clId="{6ECD27E6-B224-41CD-B4E0-E297462320DD}" dt="2023-11-24T08:55:38.459" v="107548"/>
          <ac:spMkLst>
            <pc:docMk/>
            <pc:sldMk cId="3298264326" sldId="2147478565"/>
            <ac:spMk id="706" creationId="{AD65F6B3-C75E-7899-D7A7-EFA599D29E40}"/>
          </ac:spMkLst>
        </pc:spChg>
        <pc:spChg chg="add del mod">
          <ac:chgData name="Steiner Andreas 6206 ED" userId="e6377c33-a923-4f14-8587-531c474c7b48" providerId="ADAL" clId="{6ECD27E6-B224-41CD-B4E0-E297462320DD}" dt="2023-11-24T08:55:40.504" v="107703"/>
          <ac:spMkLst>
            <pc:docMk/>
            <pc:sldMk cId="3298264326" sldId="2147478565"/>
            <ac:spMk id="707" creationId="{17A9BD44-765D-FFD4-39D3-2056FC519631}"/>
          </ac:spMkLst>
        </pc:spChg>
        <pc:spChg chg="add del mod">
          <ac:chgData name="Steiner Andreas 6206 ED" userId="e6377c33-a923-4f14-8587-531c474c7b48" providerId="ADAL" clId="{6ECD27E6-B224-41CD-B4E0-E297462320DD}" dt="2023-11-24T08:55:42.375" v="107858"/>
          <ac:spMkLst>
            <pc:docMk/>
            <pc:sldMk cId="3298264326" sldId="2147478565"/>
            <ac:spMk id="708" creationId="{43A27746-019F-477A-6B83-62EE92824418}"/>
          </ac:spMkLst>
        </pc:spChg>
        <pc:spChg chg="add del mod">
          <ac:chgData name="Steiner Andreas 6206 ED" userId="e6377c33-a923-4f14-8587-531c474c7b48" providerId="ADAL" clId="{6ECD27E6-B224-41CD-B4E0-E297462320DD}" dt="2023-11-24T08:55:44.341" v="108013"/>
          <ac:spMkLst>
            <pc:docMk/>
            <pc:sldMk cId="3298264326" sldId="2147478565"/>
            <ac:spMk id="709" creationId="{0B98F8FB-021C-1B02-8A17-517A5372CDC2}"/>
          </ac:spMkLst>
        </pc:spChg>
        <pc:spChg chg="add del mod">
          <ac:chgData name="Steiner Andreas 6206 ED" userId="e6377c33-a923-4f14-8587-531c474c7b48" providerId="ADAL" clId="{6ECD27E6-B224-41CD-B4E0-E297462320DD}" dt="2023-11-24T08:55:46.717" v="108168"/>
          <ac:spMkLst>
            <pc:docMk/>
            <pc:sldMk cId="3298264326" sldId="2147478565"/>
            <ac:spMk id="710" creationId="{169B9023-65E7-D823-819A-710F8274F1E9}"/>
          </ac:spMkLst>
        </pc:spChg>
        <pc:spChg chg="add del mod">
          <ac:chgData name="Steiner Andreas 6206 ED" userId="e6377c33-a923-4f14-8587-531c474c7b48" providerId="ADAL" clId="{6ECD27E6-B224-41CD-B4E0-E297462320DD}" dt="2023-11-24T08:55:48.894" v="108323"/>
          <ac:spMkLst>
            <pc:docMk/>
            <pc:sldMk cId="3298264326" sldId="2147478565"/>
            <ac:spMk id="711" creationId="{85F2BF33-6778-053F-97F6-282BE59A170E}"/>
          </ac:spMkLst>
        </pc:spChg>
        <pc:spChg chg="add del mod">
          <ac:chgData name="Steiner Andreas 6206 ED" userId="e6377c33-a923-4f14-8587-531c474c7b48" providerId="ADAL" clId="{6ECD27E6-B224-41CD-B4E0-E297462320DD}" dt="2023-11-24T08:55:51.317" v="108478"/>
          <ac:spMkLst>
            <pc:docMk/>
            <pc:sldMk cId="3298264326" sldId="2147478565"/>
            <ac:spMk id="712" creationId="{E9B164D1-F11E-5C9A-1030-60034DDF6D88}"/>
          </ac:spMkLst>
        </pc:spChg>
        <pc:spChg chg="add del mod">
          <ac:chgData name="Steiner Andreas 6206 ED" userId="e6377c33-a923-4f14-8587-531c474c7b48" providerId="ADAL" clId="{6ECD27E6-B224-41CD-B4E0-E297462320DD}" dt="2023-11-24T08:55:53.385" v="108633"/>
          <ac:spMkLst>
            <pc:docMk/>
            <pc:sldMk cId="3298264326" sldId="2147478565"/>
            <ac:spMk id="713" creationId="{70C3D4D9-0F48-4F0C-DE89-DC704BE68D1E}"/>
          </ac:spMkLst>
        </pc:spChg>
        <pc:spChg chg="add del mod">
          <ac:chgData name="Steiner Andreas 6206 ED" userId="e6377c33-a923-4f14-8587-531c474c7b48" providerId="ADAL" clId="{6ECD27E6-B224-41CD-B4E0-E297462320DD}" dt="2023-11-24T08:55:55.481" v="108788"/>
          <ac:spMkLst>
            <pc:docMk/>
            <pc:sldMk cId="3298264326" sldId="2147478565"/>
            <ac:spMk id="714" creationId="{B63979E0-E9C1-9D3A-CA9A-A5A0A80A4701}"/>
          </ac:spMkLst>
        </pc:spChg>
        <pc:spChg chg="add del mod">
          <ac:chgData name="Steiner Andreas 6206 ED" userId="e6377c33-a923-4f14-8587-531c474c7b48" providerId="ADAL" clId="{6ECD27E6-B224-41CD-B4E0-E297462320DD}" dt="2023-11-24T08:55:57.502" v="108943"/>
          <ac:spMkLst>
            <pc:docMk/>
            <pc:sldMk cId="3298264326" sldId="2147478565"/>
            <ac:spMk id="715" creationId="{EFE7C1E1-FDB0-B132-D1F3-3CA45C386862}"/>
          </ac:spMkLst>
        </pc:spChg>
        <pc:spChg chg="add del mod">
          <ac:chgData name="Steiner Andreas 6206 ED" userId="e6377c33-a923-4f14-8587-531c474c7b48" providerId="ADAL" clId="{6ECD27E6-B224-41CD-B4E0-E297462320DD}" dt="2023-11-24T08:55:59.588" v="109098"/>
          <ac:spMkLst>
            <pc:docMk/>
            <pc:sldMk cId="3298264326" sldId="2147478565"/>
            <ac:spMk id="716" creationId="{5AD50403-D165-65EC-5079-70CE34BDC02E}"/>
          </ac:spMkLst>
        </pc:spChg>
        <pc:spChg chg="add del mod">
          <ac:chgData name="Steiner Andreas 6206 ED" userId="e6377c33-a923-4f14-8587-531c474c7b48" providerId="ADAL" clId="{6ECD27E6-B224-41CD-B4E0-E297462320DD}" dt="2023-11-24T08:56:01.987" v="109253"/>
          <ac:spMkLst>
            <pc:docMk/>
            <pc:sldMk cId="3298264326" sldId="2147478565"/>
            <ac:spMk id="717" creationId="{DDCEDB8D-0767-EE4A-72D9-AB6E74BC8D11}"/>
          </ac:spMkLst>
        </pc:spChg>
        <pc:spChg chg="add del mod">
          <ac:chgData name="Steiner Andreas 6206 ED" userId="e6377c33-a923-4f14-8587-531c474c7b48" providerId="ADAL" clId="{6ECD27E6-B224-41CD-B4E0-E297462320DD}" dt="2023-11-24T08:56:04.224" v="109408"/>
          <ac:spMkLst>
            <pc:docMk/>
            <pc:sldMk cId="3298264326" sldId="2147478565"/>
            <ac:spMk id="718" creationId="{1C54A6FD-F4FA-FA40-595D-F1BFE67B4ACC}"/>
          </ac:spMkLst>
        </pc:spChg>
        <pc:spChg chg="add del mod">
          <ac:chgData name="Steiner Andreas 6206 ED" userId="e6377c33-a923-4f14-8587-531c474c7b48" providerId="ADAL" clId="{6ECD27E6-B224-41CD-B4E0-E297462320DD}" dt="2023-11-24T08:56:06.524" v="109563"/>
          <ac:spMkLst>
            <pc:docMk/>
            <pc:sldMk cId="3298264326" sldId="2147478565"/>
            <ac:spMk id="719" creationId="{6A7B66A5-F8E8-0E67-8B58-1A3FFB222978}"/>
          </ac:spMkLst>
        </pc:spChg>
        <pc:spChg chg="add del mod">
          <ac:chgData name="Steiner Andreas 6206 ED" userId="e6377c33-a923-4f14-8587-531c474c7b48" providerId="ADAL" clId="{6ECD27E6-B224-41CD-B4E0-E297462320DD}" dt="2023-11-24T08:56:08.799" v="109718"/>
          <ac:spMkLst>
            <pc:docMk/>
            <pc:sldMk cId="3298264326" sldId="2147478565"/>
            <ac:spMk id="720" creationId="{5E54DE16-5B9E-0DDE-4D44-DF99AEF15E89}"/>
          </ac:spMkLst>
        </pc:spChg>
        <pc:spChg chg="add del mod">
          <ac:chgData name="Steiner Andreas 6206 ED" userId="e6377c33-a923-4f14-8587-531c474c7b48" providerId="ADAL" clId="{6ECD27E6-B224-41CD-B4E0-E297462320DD}" dt="2023-11-24T08:56:10.847" v="109873"/>
          <ac:spMkLst>
            <pc:docMk/>
            <pc:sldMk cId="3298264326" sldId="2147478565"/>
            <ac:spMk id="721" creationId="{560C4A83-AC33-BD43-AA01-A91ABF533AC9}"/>
          </ac:spMkLst>
        </pc:spChg>
        <pc:spChg chg="add del mod">
          <ac:chgData name="Steiner Andreas 6206 ED" userId="e6377c33-a923-4f14-8587-531c474c7b48" providerId="ADAL" clId="{6ECD27E6-B224-41CD-B4E0-E297462320DD}" dt="2023-11-24T08:56:12.966" v="110028"/>
          <ac:spMkLst>
            <pc:docMk/>
            <pc:sldMk cId="3298264326" sldId="2147478565"/>
            <ac:spMk id="722" creationId="{60FB0719-216F-A729-37B8-A5753B53C38B}"/>
          </ac:spMkLst>
        </pc:spChg>
        <pc:spChg chg="add del mod">
          <ac:chgData name="Steiner Andreas 6206 ED" userId="e6377c33-a923-4f14-8587-531c474c7b48" providerId="ADAL" clId="{6ECD27E6-B224-41CD-B4E0-E297462320DD}" dt="2023-11-24T08:56:15.100" v="110183"/>
          <ac:spMkLst>
            <pc:docMk/>
            <pc:sldMk cId="3298264326" sldId="2147478565"/>
            <ac:spMk id="723" creationId="{E5D5C574-28C8-329A-D7E3-7F53FD56A866}"/>
          </ac:spMkLst>
        </pc:spChg>
        <pc:spChg chg="add del mod">
          <ac:chgData name="Steiner Andreas 6206 ED" userId="e6377c33-a923-4f14-8587-531c474c7b48" providerId="ADAL" clId="{6ECD27E6-B224-41CD-B4E0-E297462320DD}" dt="2023-11-24T08:56:17.060" v="110338"/>
          <ac:spMkLst>
            <pc:docMk/>
            <pc:sldMk cId="3298264326" sldId="2147478565"/>
            <ac:spMk id="724" creationId="{FA070DFA-54A1-CA7B-B5BC-BD8F0B23B06D}"/>
          </ac:spMkLst>
        </pc:spChg>
        <pc:spChg chg="add del mod">
          <ac:chgData name="Steiner Andreas 6206 ED" userId="e6377c33-a923-4f14-8587-531c474c7b48" providerId="ADAL" clId="{6ECD27E6-B224-41CD-B4E0-E297462320DD}" dt="2023-11-24T08:56:19.042" v="110493"/>
          <ac:spMkLst>
            <pc:docMk/>
            <pc:sldMk cId="3298264326" sldId="2147478565"/>
            <ac:spMk id="725" creationId="{FE6F1F2C-DB0E-AF54-1986-407005713116}"/>
          </ac:spMkLst>
        </pc:spChg>
        <pc:spChg chg="add del mod">
          <ac:chgData name="Steiner Andreas 6206 ED" userId="e6377c33-a923-4f14-8587-531c474c7b48" providerId="ADAL" clId="{6ECD27E6-B224-41CD-B4E0-E297462320DD}" dt="2023-11-24T08:56:20.982" v="110648"/>
          <ac:spMkLst>
            <pc:docMk/>
            <pc:sldMk cId="3298264326" sldId="2147478565"/>
            <ac:spMk id="726" creationId="{43CC25E7-D7C2-1EE4-1252-CC023E2E77A6}"/>
          </ac:spMkLst>
        </pc:spChg>
        <pc:spChg chg="add del mod">
          <ac:chgData name="Steiner Andreas 6206 ED" userId="e6377c33-a923-4f14-8587-531c474c7b48" providerId="ADAL" clId="{6ECD27E6-B224-41CD-B4E0-E297462320DD}" dt="2023-11-24T08:56:23.130" v="110803"/>
          <ac:spMkLst>
            <pc:docMk/>
            <pc:sldMk cId="3298264326" sldId="2147478565"/>
            <ac:spMk id="727" creationId="{ADD42EAC-FA5E-C64B-9EA7-38AAB74BE933}"/>
          </ac:spMkLst>
        </pc:spChg>
        <pc:spChg chg="add del mod">
          <ac:chgData name="Steiner Andreas 6206 ED" userId="e6377c33-a923-4f14-8587-531c474c7b48" providerId="ADAL" clId="{6ECD27E6-B224-41CD-B4E0-E297462320DD}" dt="2023-11-24T08:56:25.327" v="110958"/>
          <ac:spMkLst>
            <pc:docMk/>
            <pc:sldMk cId="3298264326" sldId="2147478565"/>
            <ac:spMk id="728" creationId="{FB3450E0-C62E-F890-41DE-C1A931757DA8}"/>
          </ac:spMkLst>
        </pc:spChg>
        <pc:spChg chg="add del mod">
          <ac:chgData name="Steiner Andreas 6206 ED" userId="e6377c33-a923-4f14-8587-531c474c7b48" providerId="ADAL" clId="{6ECD27E6-B224-41CD-B4E0-E297462320DD}" dt="2023-11-24T08:56:27.363" v="111113"/>
          <ac:spMkLst>
            <pc:docMk/>
            <pc:sldMk cId="3298264326" sldId="2147478565"/>
            <ac:spMk id="729" creationId="{9ED1C903-B3F3-5F92-0E8E-00A230831BFF}"/>
          </ac:spMkLst>
        </pc:spChg>
        <pc:spChg chg="add del mod">
          <ac:chgData name="Steiner Andreas 6206 ED" userId="e6377c33-a923-4f14-8587-531c474c7b48" providerId="ADAL" clId="{6ECD27E6-B224-41CD-B4E0-E297462320DD}" dt="2023-11-24T08:56:29.413" v="111268"/>
          <ac:spMkLst>
            <pc:docMk/>
            <pc:sldMk cId="3298264326" sldId="2147478565"/>
            <ac:spMk id="730" creationId="{E97D7284-9BB3-D1E3-ABF4-FA43C904F8A9}"/>
          </ac:spMkLst>
        </pc:spChg>
        <pc:spChg chg="add del mod">
          <ac:chgData name="Steiner Andreas 6206 ED" userId="e6377c33-a923-4f14-8587-531c474c7b48" providerId="ADAL" clId="{6ECD27E6-B224-41CD-B4E0-E297462320DD}" dt="2023-11-24T08:56:31.497" v="111423"/>
          <ac:spMkLst>
            <pc:docMk/>
            <pc:sldMk cId="3298264326" sldId="2147478565"/>
            <ac:spMk id="731" creationId="{C9795E48-C4BE-C190-2789-A794EEB87178}"/>
          </ac:spMkLst>
        </pc:spChg>
        <pc:spChg chg="add del mod">
          <ac:chgData name="Steiner Andreas 6206 ED" userId="e6377c33-a923-4f14-8587-531c474c7b48" providerId="ADAL" clId="{6ECD27E6-B224-41CD-B4E0-E297462320DD}" dt="2023-11-24T08:56:33.735" v="111578"/>
          <ac:spMkLst>
            <pc:docMk/>
            <pc:sldMk cId="3298264326" sldId="2147478565"/>
            <ac:spMk id="732" creationId="{6DF6908D-00C5-9D95-8D60-A4FA53CED8BC}"/>
          </ac:spMkLst>
        </pc:spChg>
        <pc:spChg chg="add del mod">
          <ac:chgData name="Steiner Andreas 6206 ED" userId="e6377c33-a923-4f14-8587-531c474c7b48" providerId="ADAL" clId="{6ECD27E6-B224-41CD-B4E0-E297462320DD}" dt="2023-11-24T08:56:35.917" v="111733"/>
          <ac:spMkLst>
            <pc:docMk/>
            <pc:sldMk cId="3298264326" sldId="2147478565"/>
            <ac:spMk id="733" creationId="{72DAFE7C-050E-3C3C-25F8-A6AED51B3142}"/>
          </ac:spMkLst>
        </pc:spChg>
        <pc:spChg chg="add del mod">
          <ac:chgData name="Steiner Andreas 6206 ED" userId="e6377c33-a923-4f14-8587-531c474c7b48" providerId="ADAL" clId="{6ECD27E6-B224-41CD-B4E0-E297462320DD}" dt="2023-11-24T08:56:37.974" v="111888"/>
          <ac:spMkLst>
            <pc:docMk/>
            <pc:sldMk cId="3298264326" sldId="2147478565"/>
            <ac:spMk id="734" creationId="{B8F63253-5499-EF83-A304-E3B749AE09FB}"/>
          </ac:spMkLst>
        </pc:spChg>
        <pc:spChg chg="add del mod">
          <ac:chgData name="Steiner Andreas 6206 ED" userId="e6377c33-a923-4f14-8587-531c474c7b48" providerId="ADAL" clId="{6ECD27E6-B224-41CD-B4E0-E297462320DD}" dt="2023-11-24T08:56:40.115" v="112043"/>
          <ac:spMkLst>
            <pc:docMk/>
            <pc:sldMk cId="3298264326" sldId="2147478565"/>
            <ac:spMk id="735" creationId="{CA7B66EF-F465-CABE-F7C6-4BDC83DCD85D}"/>
          </ac:spMkLst>
        </pc:spChg>
        <pc:spChg chg="add del mod">
          <ac:chgData name="Steiner Andreas 6206 ED" userId="e6377c33-a923-4f14-8587-531c474c7b48" providerId="ADAL" clId="{6ECD27E6-B224-41CD-B4E0-E297462320DD}" dt="2023-11-24T08:56:42.066" v="112198"/>
          <ac:spMkLst>
            <pc:docMk/>
            <pc:sldMk cId="3298264326" sldId="2147478565"/>
            <ac:spMk id="736" creationId="{3722A2A3-D8C7-7155-ADA7-1723C10A7738}"/>
          </ac:spMkLst>
        </pc:spChg>
        <pc:spChg chg="add del mod">
          <ac:chgData name="Steiner Andreas 6206 ED" userId="e6377c33-a923-4f14-8587-531c474c7b48" providerId="ADAL" clId="{6ECD27E6-B224-41CD-B4E0-E297462320DD}" dt="2023-11-24T08:56:44.070" v="112353"/>
          <ac:spMkLst>
            <pc:docMk/>
            <pc:sldMk cId="3298264326" sldId="2147478565"/>
            <ac:spMk id="737" creationId="{56F0054E-A0AA-9EBB-932D-6AE423D2BFE5}"/>
          </ac:spMkLst>
        </pc:spChg>
        <pc:spChg chg="add del mod">
          <ac:chgData name="Steiner Andreas 6206 ED" userId="e6377c33-a923-4f14-8587-531c474c7b48" providerId="ADAL" clId="{6ECD27E6-B224-41CD-B4E0-E297462320DD}" dt="2023-11-24T08:56:46.096" v="112508"/>
          <ac:spMkLst>
            <pc:docMk/>
            <pc:sldMk cId="3298264326" sldId="2147478565"/>
            <ac:spMk id="738" creationId="{F43191D5-1A76-6F73-BA95-017BF95BDC58}"/>
          </ac:spMkLst>
        </pc:spChg>
        <pc:spChg chg="add del mod">
          <ac:chgData name="Steiner Andreas 6206 ED" userId="e6377c33-a923-4f14-8587-531c474c7b48" providerId="ADAL" clId="{6ECD27E6-B224-41CD-B4E0-E297462320DD}" dt="2023-11-24T08:56:48.314" v="112663"/>
          <ac:spMkLst>
            <pc:docMk/>
            <pc:sldMk cId="3298264326" sldId="2147478565"/>
            <ac:spMk id="739" creationId="{DF19F9FC-81A7-657F-C230-DA378FB9B93C}"/>
          </ac:spMkLst>
        </pc:spChg>
        <pc:spChg chg="add del mod">
          <ac:chgData name="Steiner Andreas 6206 ED" userId="e6377c33-a923-4f14-8587-531c474c7b48" providerId="ADAL" clId="{6ECD27E6-B224-41CD-B4E0-E297462320DD}" dt="2023-11-24T08:56:50.367" v="112818"/>
          <ac:spMkLst>
            <pc:docMk/>
            <pc:sldMk cId="3298264326" sldId="2147478565"/>
            <ac:spMk id="740" creationId="{DED120E4-DB94-49C0-2A7E-77DF847B7AB3}"/>
          </ac:spMkLst>
        </pc:spChg>
        <pc:spChg chg="add del mod">
          <ac:chgData name="Steiner Andreas 6206 ED" userId="e6377c33-a923-4f14-8587-531c474c7b48" providerId="ADAL" clId="{6ECD27E6-B224-41CD-B4E0-E297462320DD}" dt="2023-11-24T08:56:52.296" v="112973"/>
          <ac:spMkLst>
            <pc:docMk/>
            <pc:sldMk cId="3298264326" sldId="2147478565"/>
            <ac:spMk id="741" creationId="{4956ADB9-6560-249F-1CAF-8630B7C33219}"/>
          </ac:spMkLst>
        </pc:spChg>
        <pc:spChg chg="add del mod">
          <ac:chgData name="Steiner Andreas 6206 ED" userId="e6377c33-a923-4f14-8587-531c474c7b48" providerId="ADAL" clId="{6ECD27E6-B224-41CD-B4E0-E297462320DD}" dt="2023-11-24T08:56:54.421" v="113128"/>
          <ac:spMkLst>
            <pc:docMk/>
            <pc:sldMk cId="3298264326" sldId="2147478565"/>
            <ac:spMk id="742" creationId="{8C9854AF-C155-3610-7E7C-14E2572A1F77}"/>
          </ac:spMkLst>
        </pc:spChg>
        <pc:spChg chg="add del mod">
          <ac:chgData name="Steiner Andreas 6206 ED" userId="e6377c33-a923-4f14-8587-531c474c7b48" providerId="ADAL" clId="{6ECD27E6-B224-41CD-B4E0-E297462320DD}" dt="2023-11-24T08:56:56.374" v="113283"/>
          <ac:spMkLst>
            <pc:docMk/>
            <pc:sldMk cId="3298264326" sldId="2147478565"/>
            <ac:spMk id="743" creationId="{B6839C6D-6A4B-F35C-FC86-858876B69210}"/>
          </ac:spMkLst>
        </pc:spChg>
        <pc:spChg chg="add del mod">
          <ac:chgData name="Steiner Andreas 6206 ED" userId="e6377c33-a923-4f14-8587-531c474c7b48" providerId="ADAL" clId="{6ECD27E6-B224-41CD-B4E0-E297462320DD}" dt="2023-11-24T08:56:58.522" v="113438"/>
          <ac:spMkLst>
            <pc:docMk/>
            <pc:sldMk cId="3298264326" sldId="2147478565"/>
            <ac:spMk id="744" creationId="{9106B912-D595-2F5D-11FD-17E20E3FBEAB}"/>
          </ac:spMkLst>
        </pc:spChg>
        <pc:spChg chg="add del mod">
          <ac:chgData name="Steiner Andreas 6206 ED" userId="e6377c33-a923-4f14-8587-531c474c7b48" providerId="ADAL" clId="{6ECD27E6-B224-41CD-B4E0-E297462320DD}" dt="2023-11-24T08:57:00.810" v="113593"/>
          <ac:spMkLst>
            <pc:docMk/>
            <pc:sldMk cId="3298264326" sldId="2147478565"/>
            <ac:spMk id="745" creationId="{9DC4315F-EFA6-9814-9341-DFF8DC0C4746}"/>
          </ac:spMkLst>
        </pc:spChg>
        <pc:spChg chg="add del mod">
          <ac:chgData name="Steiner Andreas 6206 ED" userId="e6377c33-a923-4f14-8587-531c474c7b48" providerId="ADAL" clId="{6ECD27E6-B224-41CD-B4E0-E297462320DD}" dt="2023-11-24T08:57:03.218" v="113748"/>
          <ac:spMkLst>
            <pc:docMk/>
            <pc:sldMk cId="3298264326" sldId="2147478565"/>
            <ac:spMk id="746" creationId="{D66D50C8-AA4D-0977-170E-D9EE5EAEA87B}"/>
          </ac:spMkLst>
        </pc:spChg>
        <pc:spChg chg="add del mod">
          <ac:chgData name="Steiner Andreas 6206 ED" userId="e6377c33-a923-4f14-8587-531c474c7b48" providerId="ADAL" clId="{6ECD27E6-B224-41CD-B4E0-E297462320DD}" dt="2023-11-24T09:02:21.798" v="113903"/>
          <ac:spMkLst>
            <pc:docMk/>
            <pc:sldMk cId="3298264326" sldId="2147478565"/>
            <ac:spMk id="747" creationId="{D4CC3A51-19B9-9B4D-A3E4-24D59D5A24A3}"/>
          </ac:spMkLst>
        </pc:spChg>
        <pc:spChg chg="add del mod">
          <ac:chgData name="Steiner Andreas 6206 ED" userId="e6377c33-a923-4f14-8587-531c474c7b48" providerId="ADAL" clId="{6ECD27E6-B224-41CD-B4E0-E297462320DD}" dt="2023-11-24T09:02:27.589" v="114058"/>
          <ac:spMkLst>
            <pc:docMk/>
            <pc:sldMk cId="3298264326" sldId="2147478565"/>
            <ac:spMk id="748" creationId="{48298BCC-F8D2-3C14-75CD-E92E617AE97C}"/>
          </ac:spMkLst>
        </pc:spChg>
        <pc:spChg chg="add del mod">
          <ac:chgData name="Steiner Andreas 6206 ED" userId="e6377c33-a923-4f14-8587-531c474c7b48" providerId="ADAL" clId="{6ECD27E6-B224-41CD-B4E0-E297462320DD}" dt="2023-11-24T09:02:30.203" v="114213"/>
          <ac:spMkLst>
            <pc:docMk/>
            <pc:sldMk cId="3298264326" sldId="2147478565"/>
            <ac:spMk id="749" creationId="{BC7591F1-B8AE-CD73-C2CA-B7B88D3304D7}"/>
          </ac:spMkLst>
        </pc:spChg>
        <pc:spChg chg="add del mod">
          <ac:chgData name="Steiner Andreas 6206 ED" userId="e6377c33-a923-4f14-8587-531c474c7b48" providerId="ADAL" clId="{6ECD27E6-B224-41CD-B4E0-E297462320DD}" dt="2023-11-24T09:02:33.580" v="114368"/>
          <ac:spMkLst>
            <pc:docMk/>
            <pc:sldMk cId="3298264326" sldId="2147478565"/>
            <ac:spMk id="750" creationId="{6097071B-CDCE-F7FF-32A3-9DBE0C82149C}"/>
          </ac:spMkLst>
        </pc:spChg>
        <pc:spChg chg="add del mod">
          <ac:chgData name="Steiner Andreas 6206 ED" userId="e6377c33-a923-4f14-8587-531c474c7b48" providerId="ADAL" clId="{6ECD27E6-B224-41CD-B4E0-E297462320DD}" dt="2023-11-24T09:02:36.933" v="114523"/>
          <ac:spMkLst>
            <pc:docMk/>
            <pc:sldMk cId="3298264326" sldId="2147478565"/>
            <ac:spMk id="751" creationId="{D44ADBC0-CAB3-6F58-62F9-CEAECF9C5E8E}"/>
          </ac:spMkLst>
        </pc:spChg>
        <pc:spChg chg="add del mod">
          <ac:chgData name="Steiner Andreas 6206 ED" userId="e6377c33-a923-4f14-8587-531c474c7b48" providerId="ADAL" clId="{6ECD27E6-B224-41CD-B4E0-E297462320DD}" dt="2023-11-24T11:31:22.725" v="114678"/>
          <ac:spMkLst>
            <pc:docMk/>
            <pc:sldMk cId="3298264326" sldId="2147478565"/>
            <ac:spMk id="752" creationId="{3B16B96C-A821-EB44-F4DC-D8997532B1B9}"/>
          </ac:spMkLst>
        </pc:spChg>
        <pc:spChg chg="add del mod">
          <ac:chgData name="Steiner Andreas 6206 ED" userId="e6377c33-a923-4f14-8587-531c474c7b48" providerId="ADAL" clId="{6ECD27E6-B224-41CD-B4E0-E297462320DD}" dt="2023-11-24T11:33:30.029" v="114833"/>
          <ac:spMkLst>
            <pc:docMk/>
            <pc:sldMk cId="3298264326" sldId="2147478565"/>
            <ac:spMk id="753" creationId="{4C27A4C7-B48A-6567-E923-E35B71702EB6}"/>
          </ac:spMkLst>
        </pc:spChg>
        <pc:spChg chg="add del mod">
          <ac:chgData name="Steiner Andreas 6206 ED" userId="e6377c33-a923-4f14-8587-531c474c7b48" providerId="ADAL" clId="{6ECD27E6-B224-41CD-B4E0-E297462320DD}" dt="2023-11-24T11:33:36.500" v="114988"/>
          <ac:spMkLst>
            <pc:docMk/>
            <pc:sldMk cId="3298264326" sldId="2147478565"/>
            <ac:spMk id="754" creationId="{2223FAA7-1B1E-0119-E46A-BC8353E8CA5A}"/>
          </ac:spMkLst>
        </pc:spChg>
        <pc:spChg chg="add del mod">
          <ac:chgData name="Steiner Andreas 6206 ED" userId="e6377c33-a923-4f14-8587-531c474c7b48" providerId="ADAL" clId="{6ECD27E6-B224-41CD-B4E0-E297462320DD}" dt="2023-11-24T11:33:39.631" v="115143"/>
          <ac:spMkLst>
            <pc:docMk/>
            <pc:sldMk cId="3298264326" sldId="2147478565"/>
            <ac:spMk id="755" creationId="{1B7280E5-BF88-9FEF-2F18-D3A51BAE3ED1}"/>
          </ac:spMkLst>
        </pc:spChg>
        <pc:spChg chg="add del mod">
          <ac:chgData name="Steiner Andreas 6206 ED" userId="e6377c33-a923-4f14-8587-531c474c7b48" providerId="ADAL" clId="{6ECD27E6-B224-41CD-B4E0-E297462320DD}" dt="2023-11-24T11:33:43.221" v="115298"/>
          <ac:spMkLst>
            <pc:docMk/>
            <pc:sldMk cId="3298264326" sldId="2147478565"/>
            <ac:spMk id="756" creationId="{28095F48-DC06-3D3B-5418-4BA21F52BCFD}"/>
          </ac:spMkLst>
        </pc:spChg>
        <pc:spChg chg="add del mod">
          <ac:chgData name="Steiner Andreas 6206 ED" userId="e6377c33-a923-4f14-8587-531c474c7b48" providerId="ADAL" clId="{6ECD27E6-B224-41CD-B4E0-E297462320DD}" dt="2023-11-24T11:33:46.397" v="115453"/>
          <ac:spMkLst>
            <pc:docMk/>
            <pc:sldMk cId="3298264326" sldId="2147478565"/>
            <ac:spMk id="757" creationId="{F38FF720-FE57-A059-0755-0FBFEFED98FA}"/>
          </ac:spMkLst>
        </pc:spChg>
        <pc:spChg chg="add del mod">
          <ac:chgData name="Steiner Andreas 6206 ED" userId="e6377c33-a923-4f14-8587-531c474c7b48" providerId="ADAL" clId="{6ECD27E6-B224-41CD-B4E0-E297462320DD}" dt="2023-11-24T11:33:49.464" v="115608"/>
          <ac:spMkLst>
            <pc:docMk/>
            <pc:sldMk cId="3298264326" sldId="2147478565"/>
            <ac:spMk id="758" creationId="{B2885577-90FC-A0C3-A12B-2A9FB49879B4}"/>
          </ac:spMkLst>
        </pc:spChg>
        <pc:spChg chg="add del mod">
          <ac:chgData name="Steiner Andreas 6206 ED" userId="e6377c33-a923-4f14-8587-531c474c7b48" providerId="ADAL" clId="{6ECD27E6-B224-41CD-B4E0-E297462320DD}" dt="2023-11-24T11:33:52.132" v="115763"/>
          <ac:spMkLst>
            <pc:docMk/>
            <pc:sldMk cId="3298264326" sldId="2147478565"/>
            <ac:spMk id="759" creationId="{EE3F50C9-89C6-9668-92BD-39D1E7E3522E}"/>
          </ac:spMkLst>
        </pc:spChg>
        <pc:spChg chg="add del mod">
          <ac:chgData name="Steiner Andreas 6206 ED" userId="e6377c33-a923-4f14-8587-531c474c7b48" providerId="ADAL" clId="{6ECD27E6-B224-41CD-B4E0-E297462320DD}" dt="2023-11-24T11:33:55.001" v="115918"/>
          <ac:spMkLst>
            <pc:docMk/>
            <pc:sldMk cId="3298264326" sldId="2147478565"/>
            <ac:spMk id="760" creationId="{AA0660B9-99BB-A725-930E-BADD739CFD81}"/>
          </ac:spMkLst>
        </pc:spChg>
        <pc:spChg chg="add del mod">
          <ac:chgData name="Steiner Andreas 6206 ED" userId="e6377c33-a923-4f14-8587-531c474c7b48" providerId="ADAL" clId="{6ECD27E6-B224-41CD-B4E0-E297462320DD}" dt="2023-11-24T11:33:57.463" v="116073"/>
          <ac:spMkLst>
            <pc:docMk/>
            <pc:sldMk cId="3298264326" sldId="2147478565"/>
            <ac:spMk id="761" creationId="{F80F70C4-1AEC-2CA5-CBEB-99BE9D2A0845}"/>
          </ac:spMkLst>
        </pc:spChg>
        <pc:spChg chg="add del mod">
          <ac:chgData name="Steiner Andreas 6206 ED" userId="e6377c33-a923-4f14-8587-531c474c7b48" providerId="ADAL" clId="{6ECD27E6-B224-41CD-B4E0-E297462320DD}" dt="2023-11-24T11:33:59.784" v="116228"/>
          <ac:spMkLst>
            <pc:docMk/>
            <pc:sldMk cId="3298264326" sldId="2147478565"/>
            <ac:spMk id="762" creationId="{FDE86957-7D66-6402-D751-3917E9689383}"/>
          </ac:spMkLst>
        </pc:spChg>
        <pc:spChg chg="add del mod">
          <ac:chgData name="Steiner Andreas 6206 ED" userId="e6377c33-a923-4f14-8587-531c474c7b48" providerId="ADAL" clId="{6ECD27E6-B224-41CD-B4E0-E297462320DD}" dt="2023-11-24T11:34:02.162" v="116383"/>
          <ac:spMkLst>
            <pc:docMk/>
            <pc:sldMk cId="3298264326" sldId="2147478565"/>
            <ac:spMk id="763" creationId="{75E2A63B-0CD0-0673-E117-5E629DBE686B}"/>
          </ac:spMkLst>
        </pc:spChg>
        <pc:spChg chg="add del mod">
          <ac:chgData name="Steiner Andreas 6206 ED" userId="e6377c33-a923-4f14-8587-531c474c7b48" providerId="ADAL" clId="{6ECD27E6-B224-41CD-B4E0-E297462320DD}" dt="2023-11-24T11:34:04.441" v="116538"/>
          <ac:spMkLst>
            <pc:docMk/>
            <pc:sldMk cId="3298264326" sldId="2147478565"/>
            <ac:spMk id="764" creationId="{28719CA1-C8E9-F241-C4CF-81ACE321CDA9}"/>
          </ac:spMkLst>
        </pc:spChg>
        <pc:spChg chg="add del mod">
          <ac:chgData name="Steiner Andreas 6206 ED" userId="e6377c33-a923-4f14-8587-531c474c7b48" providerId="ADAL" clId="{6ECD27E6-B224-41CD-B4E0-E297462320DD}" dt="2023-11-24T11:34:06.972" v="116693"/>
          <ac:spMkLst>
            <pc:docMk/>
            <pc:sldMk cId="3298264326" sldId="2147478565"/>
            <ac:spMk id="765" creationId="{B1E9BED4-D5B9-13A8-4B54-58C132202962}"/>
          </ac:spMkLst>
        </pc:spChg>
        <pc:spChg chg="add del mod">
          <ac:chgData name="Steiner Andreas 6206 ED" userId="e6377c33-a923-4f14-8587-531c474c7b48" providerId="ADAL" clId="{6ECD27E6-B224-41CD-B4E0-E297462320DD}" dt="2023-11-24T11:34:09.612" v="116848"/>
          <ac:spMkLst>
            <pc:docMk/>
            <pc:sldMk cId="3298264326" sldId="2147478565"/>
            <ac:spMk id="766" creationId="{B35405C5-08B2-70DD-0A24-2FE7749D6B42}"/>
          </ac:spMkLst>
        </pc:spChg>
        <pc:spChg chg="add del mod">
          <ac:chgData name="Steiner Andreas 6206 ED" userId="e6377c33-a923-4f14-8587-531c474c7b48" providerId="ADAL" clId="{6ECD27E6-B224-41CD-B4E0-E297462320DD}" dt="2023-11-24T11:34:11.478" v="117003"/>
          <ac:spMkLst>
            <pc:docMk/>
            <pc:sldMk cId="3298264326" sldId="2147478565"/>
            <ac:spMk id="767" creationId="{697B2F19-3CD0-EBC1-751E-DAE61012B34E}"/>
          </ac:spMkLst>
        </pc:spChg>
        <pc:spChg chg="add del mod">
          <ac:chgData name="Steiner Andreas 6206 ED" userId="e6377c33-a923-4f14-8587-531c474c7b48" providerId="ADAL" clId="{6ECD27E6-B224-41CD-B4E0-E297462320DD}" dt="2023-11-24T11:34:13.248" v="117158"/>
          <ac:spMkLst>
            <pc:docMk/>
            <pc:sldMk cId="3298264326" sldId="2147478565"/>
            <ac:spMk id="768" creationId="{4E2B25F0-3FD9-15B5-929E-3A2E5279E05C}"/>
          </ac:spMkLst>
        </pc:spChg>
        <pc:spChg chg="add del mod">
          <ac:chgData name="Steiner Andreas 6206 ED" userId="e6377c33-a923-4f14-8587-531c474c7b48" providerId="ADAL" clId="{6ECD27E6-B224-41CD-B4E0-E297462320DD}" dt="2023-11-24T11:34:15.050" v="117313"/>
          <ac:spMkLst>
            <pc:docMk/>
            <pc:sldMk cId="3298264326" sldId="2147478565"/>
            <ac:spMk id="769" creationId="{39F9B89B-FFB1-70C5-3FC5-652E5C342436}"/>
          </ac:spMkLst>
        </pc:spChg>
        <pc:spChg chg="add del mod">
          <ac:chgData name="Steiner Andreas 6206 ED" userId="e6377c33-a923-4f14-8587-531c474c7b48" providerId="ADAL" clId="{6ECD27E6-B224-41CD-B4E0-E297462320DD}" dt="2023-11-24T11:34:16.822" v="117468"/>
          <ac:spMkLst>
            <pc:docMk/>
            <pc:sldMk cId="3298264326" sldId="2147478565"/>
            <ac:spMk id="770" creationId="{61C732F2-60BD-7ABB-18DC-84DAB2CBD750}"/>
          </ac:spMkLst>
        </pc:spChg>
        <pc:spChg chg="add del mod">
          <ac:chgData name="Steiner Andreas 6206 ED" userId="e6377c33-a923-4f14-8587-531c474c7b48" providerId="ADAL" clId="{6ECD27E6-B224-41CD-B4E0-E297462320DD}" dt="2023-11-24T11:34:18.648" v="117623"/>
          <ac:spMkLst>
            <pc:docMk/>
            <pc:sldMk cId="3298264326" sldId="2147478565"/>
            <ac:spMk id="771" creationId="{C47C1E9D-876C-1496-2773-0C8374A555F6}"/>
          </ac:spMkLst>
        </pc:spChg>
        <pc:spChg chg="add del mod">
          <ac:chgData name="Steiner Andreas 6206 ED" userId="e6377c33-a923-4f14-8587-531c474c7b48" providerId="ADAL" clId="{6ECD27E6-B224-41CD-B4E0-E297462320DD}" dt="2023-11-24T11:34:20.789" v="117778"/>
          <ac:spMkLst>
            <pc:docMk/>
            <pc:sldMk cId="3298264326" sldId="2147478565"/>
            <ac:spMk id="772" creationId="{FAC1C9A4-3EBE-2540-E43D-B27D3E85BC3E}"/>
          </ac:spMkLst>
        </pc:spChg>
        <pc:spChg chg="add del mod">
          <ac:chgData name="Steiner Andreas 6206 ED" userId="e6377c33-a923-4f14-8587-531c474c7b48" providerId="ADAL" clId="{6ECD27E6-B224-41CD-B4E0-E297462320DD}" dt="2023-11-24T11:34:22.685" v="117933"/>
          <ac:spMkLst>
            <pc:docMk/>
            <pc:sldMk cId="3298264326" sldId="2147478565"/>
            <ac:spMk id="773" creationId="{5252AEE6-4A3A-B268-556C-0DC97653E6A7}"/>
          </ac:spMkLst>
        </pc:spChg>
        <pc:spChg chg="add del mod">
          <ac:chgData name="Steiner Andreas 6206 ED" userId="e6377c33-a923-4f14-8587-531c474c7b48" providerId="ADAL" clId="{6ECD27E6-B224-41CD-B4E0-E297462320DD}" dt="2023-11-24T11:34:24.794" v="118088"/>
          <ac:spMkLst>
            <pc:docMk/>
            <pc:sldMk cId="3298264326" sldId="2147478565"/>
            <ac:spMk id="774" creationId="{72C7C3ED-2094-4B94-EE81-D8EF9B22603B}"/>
          </ac:spMkLst>
        </pc:spChg>
        <pc:spChg chg="add del mod">
          <ac:chgData name="Steiner Andreas 6206 ED" userId="e6377c33-a923-4f14-8587-531c474c7b48" providerId="ADAL" clId="{6ECD27E6-B224-41CD-B4E0-E297462320DD}" dt="2023-11-24T11:34:27.406" v="118243"/>
          <ac:spMkLst>
            <pc:docMk/>
            <pc:sldMk cId="3298264326" sldId="2147478565"/>
            <ac:spMk id="775" creationId="{D30C77CD-76AE-7320-0724-4E0B8A432D37}"/>
          </ac:spMkLst>
        </pc:spChg>
        <pc:spChg chg="add del mod">
          <ac:chgData name="Steiner Andreas 6206 ED" userId="e6377c33-a923-4f14-8587-531c474c7b48" providerId="ADAL" clId="{6ECD27E6-B224-41CD-B4E0-E297462320DD}" dt="2023-11-24T11:34:29.408" v="118398"/>
          <ac:spMkLst>
            <pc:docMk/>
            <pc:sldMk cId="3298264326" sldId="2147478565"/>
            <ac:spMk id="776" creationId="{5AB71C70-9E56-441B-00EA-F445B672AFDC}"/>
          </ac:spMkLst>
        </pc:spChg>
        <pc:spChg chg="add del mod">
          <ac:chgData name="Steiner Andreas 6206 ED" userId="e6377c33-a923-4f14-8587-531c474c7b48" providerId="ADAL" clId="{6ECD27E6-B224-41CD-B4E0-E297462320DD}" dt="2023-11-24T11:34:31.699" v="118553"/>
          <ac:spMkLst>
            <pc:docMk/>
            <pc:sldMk cId="3298264326" sldId="2147478565"/>
            <ac:spMk id="777" creationId="{71FB9DE1-9251-2B64-987D-A0714815B54A}"/>
          </ac:spMkLst>
        </pc:spChg>
        <pc:spChg chg="add del mod">
          <ac:chgData name="Steiner Andreas 6206 ED" userId="e6377c33-a923-4f14-8587-531c474c7b48" providerId="ADAL" clId="{6ECD27E6-B224-41CD-B4E0-E297462320DD}" dt="2023-11-24T11:34:33.651" v="118708"/>
          <ac:spMkLst>
            <pc:docMk/>
            <pc:sldMk cId="3298264326" sldId="2147478565"/>
            <ac:spMk id="778" creationId="{9B9A3E59-8FC9-56A5-73B9-D681888E4ECE}"/>
          </ac:spMkLst>
        </pc:spChg>
        <pc:spChg chg="add del mod">
          <ac:chgData name="Steiner Andreas 6206 ED" userId="e6377c33-a923-4f14-8587-531c474c7b48" providerId="ADAL" clId="{6ECD27E6-B224-41CD-B4E0-E297462320DD}" dt="2023-11-24T11:34:35.644" v="118863"/>
          <ac:spMkLst>
            <pc:docMk/>
            <pc:sldMk cId="3298264326" sldId="2147478565"/>
            <ac:spMk id="779" creationId="{981300EA-101B-6321-9DD2-E3F4DD499327}"/>
          </ac:spMkLst>
        </pc:spChg>
        <pc:spChg chg="add del mod">
          <ac:chgData name="Steiner Andreas 6206 ED" userId="e6377c33-a923-4f14-8587-531c474c7b48" providerId="ADAL" clId="{6ECD27E6-B224-41CD-B4E0-E297462320DD}" dt="2023-11-24T11:34:37.729" v="119018"/>
          <ac:spMkLst>
            <pc:docMk/>
            <pc:sldMk cId="3298264326" sldId="2147478565"/>
            <ac:spMk id="780" creationId="{42345582-6F30-A742-CB57-4FDEC994BA46}"/>
          </ac:spMkLst>
        </pc:spChg>
        <pc:spChg chg="add del mod">
          <ac:chgData name="Steiner Andreas 6206 ED" userId="e6377c33-a923-4f14-8587-531c474c7b48" providerId="ADAL" clId="{6ECD27E6-B224-41CD-B4E0-E297462320DD}" dt="2023-11-24T11:34:39.694" v="119173"/>
          <ac:spMkLst>
            <pc:docMk/>
            <pc:sldMk cId="3298264326" sldId="2147478565"/>
            <ac:spMk id="781" creationId="{6B41E5ED-8473-EF49-871C-155F69CE7675}"/>
          </ac:spMkLst>
        </pc:spChg>
        <pc:spChg chg="add del mod">
          <ac:chgData name="Steiner Andreas 6206 ED" userId="e6377c33-a923-4f14-8587-531c474c7b48" providerId="ADAL" clId="{6ECD27E6-B224-41CD-B4E0-E297462320DD}" dt="2023-11-24T11:34:41.885" v="119328"/>
          <ac:spMkLst>
            <pc:docMk/>
            <pc:sldMk cId="3298264326" sldId="2147478565"/>
            <ac:spMk id="782" creationId="{C21E9118-356A-0E42-C9D3-3D11D7D4435B}"/>
          </ac:spMkLst>
        </pc:spChg>
        <pc:spChg chg="add del mod">
          <ac:chgData name="Steiner Andreas 6206 ED" userId="e6377c33-a923-4f14-8587-531c474c7b48" providerId="ADAL" clId="{6ECD27E6-B224-41CD-B4E0-E297462320DD}" dt="2023-11-24T11:34:44.018" v="119483"/>
          <ac:spMkLst>
            <pc:docMk/>
            <pc:sldMk cId="3298264326" sldId="2147478565"/>
            <ac:spMk id="783" creationId="{4CA29B43-82BA-42CB-5973-7723B69A6342}"/>
          </ac:spMkLst>
        </pc:spChg>
        <pc:spChg chg="add del mod">
          <ac:chgData name="Steiner Andreas 6206 ED" userId="e6377c33-a923-4f14-8587-531c474c7b48" providerId="ADAL" clId="{6ECD27E6-B224-41CD-B4E0-E297462320DD}" dt="2023-11-24T11:34:46.022" v="119638"/>
          <ac:spMkLst>
            <pc:docMk/>
            <pc:sldMk cId="3298264326" sldId="2147478565"/>
            <ac:spMk id="784" creationId="{65AF98A1-9C6C-A1E2-C3A3-E3BD92582051}"/>
          </ac:spMkLst>
        </pc:spChg>
        <pc:spChg chg="add del mod">
          <ac:chgData name="Steiner Andreas 6206 ED" userId="e6377c33-a923-4f14-8587-531c474c7b48" providerId="ADAL" clId="{6ECD27E6-B224-41CD-B4E0-E297462320DD}" dt="2023-11-24T11:34:47.932" v="119793"/>
          <ac:spMkLst>
            <pc:docMk/>
            <pc:sldMk cId="3298264326" sldId="2147478565"/>
            <ac:spMk id="785" creationId="{28A6CD62-6FFD-4BC2-695A-D3A1E04E8891}"/>
          </ac:spMkLst>
        </pc:spChg>
        <pc:spChg chg="add del mod">
          <ac:chgData name="Steiner Andreas 6206 ED" userId="e6377c33-a923-4f14-8587-531c474c7b48" providerId="ADAL" clId="{6ECD27E6-B224-41CD-B4E0-E297462320DD}" dt="2023-11-24T11:34:50.121" v="119948"/>
          <ac:spMkLst>
            <pc:docMk/>
            <pc:sldMk cId="3298264326" sldId="2147478565"/>
            <ac:spMk id="786" creationId="{7C41B5E8-BCC6-C2AF-2D2A-A4EABEE3208E}"/>
          </ac:spMkLst>
        </pc:spChg>
        <pc:spChg chg="add del mod">
          <ac:chgData name="Steiner Andreas 6206 ED" userId="e6377c33-a923-4f14-8587-531c474c7b48" providerId="ADAL" clId="{6ECD27E6-B224-41CD-B4E0-E297462320DD}" dt="2023-11-24T11:34:52.237" v="120103"/>
          <ac:spMkLst>
            <pc:docMk/>
            <pc:sldMk cId="3298264326" sldId="2147478565"/>
            <ac:spMk id="787" creationId="{F17292BA-71D2-C61C-4CC7-D2F4727E3AA2}"/>
          </ac:spMkLst>
        </pc:spChg>
        <pc:spChg chg="add del mod">
          <ac:chgData name="Steiner Andreas 6206 ED" userId="e6377c33-a923-4f14-8587-531c474c7b48" providerId="ADAL" clId="{6ECD27E6-B224-41CD-B4E0-E297462320DD}" dt="2023-11-24T11:34:54.172" v="120258"/>
          <ac:spMkLst>
            <pc:docMk/>
            <pc:sldMk cId="3298264326" sldId="2147478565"/>
            <ac:spMk id="788" creationId="{99DF8453-BC8C-4E4E-B768-5D6C446425F4}"/>
          </ac:spMkLst>
        </pc:spChg>
        <pc:spChg chg="add del mod">
          <ac:chgData name="Steiner Andreas 6206 ED" userId="e6377c33-a923-4f14-8587-531c474c7b48" providerId="ADAL" clId="{6ECD27E6-B224-41CD-B4E0-E297462320DD}" dt="2023-11-24T11:34:56.049" v="120413"/>
          <ac:spMkLst>
            <pc:docMk/>
            <pc:sldMk cId="3298264326" sldId="2147478565"/>
            <ac:spMk id="789" creationId="{654B69B9-29F9-EA86-DB24-D513F6F781AF}"/>
          </ac:spMkLst>
        </pc:spChg>
        <pc:spChg chg="add del mod">
          <ac:chgData name="Steiner Andreas 6206 ED" userId="e6377c33-a923-4f14-8587-531c474c7b48" providerId="ADAL" clId="{6ECD27E6-B224-41CD-B4E0-E297462320DD}" dt="2023-11-24T11:34:57.876" v="120568"/>
          <ac:spMkLst>
            <pc:docMk/>
            <pc:sldMk cId="3298264326" sldId="2147478565"/>
            <ac:spMk id="790" creationId="{D851E3DF-BC42-C8E0-0115-850C27B60705}"/>
          </ac:spMkLst>
        </pc:spChg>
        <pc:spChg chg="add del mod">
          <ac:chgData name="Steiner Andreas 6206 ED" userId="e6377c33-a923-4f14-8587-531c474c7b48" providerId="ADAL" clId="{6ECD27E6-B224-41CD-B4E0-E297462320DD}" dt="2023-11-24T11:34:59.728" v="120723"/>
          <ac:spMkLst>
            <pc:docMk/>
            <pc:sldMk cId="3298264326" sldId="2147478565"/>
            <ac:spMk id="791" creationId="{C11B993D-20F7-703D-39B9-4F9654CC6B28}"/>
          </ac:spMkLst>
        </pc:spChg>
        <pc:spChg chg="add del mod">
          <ac:chgData name="Steiner Andreas 6206 ED" userId="e6377c33-a923-4f14-8587-531c474c7b48" providerId="ADAL" clId="{6ECD27E6-B224-41CD-B4E0-E297462320DD}" dt="2023-11-24T11:35:01.578" v="120878"/>
          <ac:spMkLst>
            <pc:docMk/>
            <pc:sldMk cId="3298264326" sldId="2147478565"/>
            <ac:spMk id="792" creationId="{66DDE0B5-0CC3-0D6E-228E-2B4C6318FD95}"/>
          </ac:spMkLst>
        </pc:spChg>
        <pc:spChg chg="add del mod">
          <ac:chgData name="Steiner Andreas 6206 ED" userId="e6377c33-a923-4f14-8587-531c474c7b48" providerId="ADAL" clId="{6ECD27E6-B224-41CD-B4E0-E297462320DD}" dt="2023-11-24T11:35:03.449" v="121033"/>
          <ac:spMkLst>
            <pc:docMk/>
            <pc:sldMk cId="3298264326" sldId="2147478565"/>
            <ac:spMk id="793" creationId="{376FE9E6-1762-C955-3A29-C8FDD9847D62}"/>
          </ac:spMkLst>
        </pc:spChg>
        <pc:spChg chg="add del mod">
          <ac:chgData name="Steiner Andreas 6206 ED" userId="e6377c33-a923-4f14-8587-531c474c7b48" providerId="ADAL" clId="{6ECD27E6-B224-41CD-B4E0-E297462320DD}" dt="2023-11-24T11:35:05.340" v="121188"/>
          <ac:spMkLst>
            <pc:docMk/>
            <pc:sldMk cId="3298264326" sldId="2147478565"/>
            <ac:spMk id="794" creationId="{28EC37E8-09E0-C690-EB03-CF4F2E0FBFB0}"/>
          </ac:spMkLst>
        </pc:spChg>
        <pc:spChg chg="add del mod">
          <ac:chgData name="Steiner Andreas 6206 ED" userId="e6377c33-a923-4f14-8587-531c474c7b48" providerId="ADAL" clId="{6ECD27E6-B224-41CD-B4E0-E297462320DD}" dt="2023-11-24T11:35:07.554" v="121343"/>
          <ac:spMkLst>
            <pc:docMk/>
            <pc:sldMk cId="3298264326" sldId="2147478565"/>
            <ac:spMk id="795" creationId="{695416B8-81C2-4560-8A3F-1D14229E678D}"/>
          </ac:spMkLst>
        </pc:spChg>
        <pc:spChg chg="add del mod">
          <ac:chgData name="Steiner Andreas 6206 ED" userId="e6377c33-a923-4f14-8587-531c474c7b48" providerId="ADAL" clId="{6ECD27E6-B224-41CD-B4E0-E297462320DD}" dt="2023-11-24T11:35:09.501" v="121498"/>
          <ac:spMkLst>
            <pc:docMk/>
            <pc:sldMk cId="3298264326" sldId="2147478565"/>
            <ac:spMk id="796" creationId="{CA043B7B-E190-523B-2DAA-B6E5354B40B5}"/>
          </ac:spMkLst>
        </pc:spChg>
        <pc:spChg chg="add del mod">
          <ac:chgData name="Steiner Andreas 6206 ED" userId="e6377c33-a923-4f14-8587-531c474c7b48" providerId="ADAL" clId="{6ECD27E6-B224-41CD-B4E0-E297462320DD}" dt="2023-11-24T11:35:11.466" v="121653"/>
          <ac:spMkLst>
            <pc:docMk/>
            <pc:sldMk cId="3298264326" sldId="2147478565"/>
            <ac:spMk id="797" creationId="{4BF681C1-FB25-7012-6AC7-1BD2C62561AB}"/>
          </ac:spMkLst>
        </pc:spChg>
        <pc:spChg chg="add del mod">
          <ac:chgData name="Steiner Andreas 6206 ED" userId="e6377c33-a923-4f14-8587-531c474c7b48" providerId="ADAL" clId="{6ECD27E6-B224-41CD-B4E0-E297462320DD}" dt="2023-11-24T11:35:13.186" v="121808"/>
          <ac:spMkLst>
            <pc:docMk/>
            <pc:sldMk cId="3298264326" sldId="2147478565"/>
            <ac:spMk id="798" creationId="{E6430A7A-7F89-05D0-CB34-00CF52FA38DD}"/>
          </ac:spMkLst>
        </pc:spChg>
        <pc:spChg chg="add del mod">
          <ac:chgData name="Steiner Andreas 6206 ED" userId="e6377c33-a923-4f14-8587-531c474c7b48" providerId="ADAL" clId="{6ECD27E6-B224-41CD-B4E0-E297462320DD}" dt="2023-11-24T11:35:15.138" v="121963"/>
          <ac:spMkLst>
            <pc:docMk/>
            <pc:sldMk cId="3298264326" sldId="2147478565"/>
            <ac:spMk id="799" creationId="{7500AB85-5609-6217-16E5-FBD5EA480B1A}"/>
          </ac:spMkLst>
        </pc:spChg>
        <pc:spChg chg="add del mod">
          <ac:chgData name="Steiner Andreas 6206 ED" userId="e6377c33-a923-4f14-8587-531c474c7b48" providerId="ADAL" clId="{6ECD27E6-B224-41CD-B4E0-E297462320DD}" dt="2023-11-24T11:35:16.815" v="122118"/>
          <ac:spMkLst>
            <pc:docMk/>
            <pc:sldMk cId="3298264326" sldId="2147478565"/>
            <ac:spMk id="800" creationId="{074B250F-225C-A859-1225-5E757A27793A}"/>
          </ac:spMkLst>
        </pc:spChg>
        <pc:spChg chg="add del mod">
          <ac:chgData name="Steiner Andreas 6206 ED" userId="e6377c33-a923-4f14-8587-531c474c7b48" providerId="ADAL" clId="{6ECD27E6-B224-41CD-B4E0-E297462320DD}" dt="2023-11-24T11:35:18.497" v="122273"/>
          <ac:spMkLst>
            <pc:docMk/>
            <pc:sldMk cId="3298264326" sldId="2147478565"/>
            <ac:spMk id="801" creationId="{FE4E14FB-9334-AC62-82B1-0EAABF35E804}"/>
          </ac:spMkLst>
        </pc:spChg>
        <pc:spChg chg="add del mod">
          <ac:chgData name="Steiner Andreas 6206 ED" userId="e6377c33-a923-4f14-8587-531c474c7b48" providerId="ADAL" clId="{6ECD27E6-B224-41CD-B4E0-E297462320DD}" dt="2023-11-24T11:35:20.135" v="122428"/>
          <ac:spMkLst>
            <pc:docMk/>
            <pc:sldMk cId="3298264326" sldId="2147478565"/>
            <ac:spMk id="802" creationId="{2A3AFFEA-5CEB-C70C-56EA-41EA7DB7331C}"/>
          </ac:spMkLst>
        </pc:spChg>
        <pc:spChg chg="add del mod">
          <ac:chgData name="Steiner Andreas 6206 ED" userId="e6377c33-a923-4f14-8587-531c474c7b48" providerId="ADAL" clId="{6ECD27E6-B224-41CD-B4E0-E297462320DD}" dt="2023-11-24T11:35:21.772" v="122583"/>
          <ac:spMkLst>
            <pc:docMk/>
            <pc:sldMk cId="3298264326" sldId="2147478565"/>
            <ac:spMk id="803" creationId="{DB81A74C-3344-AFC6-2020-885A5CA870CF}"/>
          </ac:spMkLst>
        </pc:spChg>
        <pc:spChg chg="add del mod">
          <ac:chgData name="Steiner Andreas 6206 ED" userId="e6377c33-a923-4f14-8587-531c474c7b48" providerId="ADAL" clId="{6ECD27E6-B224-41CD-B4E0-E297462320DD}" dt="2023-11-24T11:35:23.486" v="122738"/>
          <ac:spMkLst>
            <pc:docMk/>
            <pc:sldMk cId="3298264326" sldId="2147478565"/>
            <ac:spMk id="804" creationId="{CB4643D1-F523-D17C-8418-6158D4C7CC5D}"/>
          </ac:spMkLst>
        </pc:spChg>
        <pc:spChg chg="add del mod">
          <ac:chgData name="Steiner Andreas 6206 ED" userId="e6377c33-a923-4f14-8587-531c474c7b48" providerId="ADAL" clId="{6ECD27E6-B224-41CD-B4E0-E297462320DD}" dt="2023-11-24T11:35:25.573" v="122893"/>
          <ac:spMkLst>
            <pc:docMk/>
            <pc:sldMk cId="3298264326" sldId="2147478565"/>
            <ac:spMk id="805" creationId="{A9E67B3A-2BA6-20AD-54F0-ACCC6424C8C2}"/>
          </ac:spMkLst>
        </pc:spChg>
        <pc:spChg chg="add del mod">
          <ac:chgData name="Steiner Andreas 6206 ED" userId="e6377c33-a923-4f14-8587-531c474c7b48" providerId="ADAL" clId="{6ECD27E6-B224-41CD-B4E0-E297462320DD}" dt="2023-11-24T11:35:27.571" v="123048"/>
          <ac:spMkLst>
            <pc:docMk/>
            <pc:sldMk cId="3298264326" sldId="2147478565"/>
            <ac:spMk id="806" creationId="{CD646D74-B4D7-D73E-7F88-16F611115F8F}"/>
          </ac:spMkLst>
        </pc:spChg>
        <pc:spChg chg="add del mod">
          <ac:chgData name="Steiner Andreas 6206 ED" userId="e6377c33-a923-4f14-8587-531c474c7b48" providerId="ADAL" clId="{6ECD27E6-B224-41CD-B4E0-E297462320DD}" dt="2023-11-24T11:35:29.440" v="123203"/>
          <ac:spMkLst>
            <pc:docMk/>
            <pc:sldMk cId="3298264326" sldId="2147478565"/>
            <ac:spMk id="807" creationId="{BA12434F-7A81-093D-0086-9DD5519E21DB}"/>
          </ac:spMkLst>
        </pc:spChg>
        <pc:spChg chg="add del mod">
          <ac:chgData name="Steiner Andreas 6206 ED" userId="e6377c33-a923-4f14-8587-531c474c7b48" providerId="ADAL" clId="{6ECD27E6-B224-41CD-B4E0-E297462320DD}" dt="2023-11-24T11:35:31.154" v="123358"/>
          <ac:spMkLst>
            <pc:docMk/>
            <pc:sldMk cId="3298264326" sldId="2147478565"/>
            <ac:spMk id="808" creationId="{BC78AED3-9D86-0685-02C6-4F82F0B2A4EE}"/>
          </ac:spMkLst>
        </pc:spChg>
        <pc:spChg chg="add del mod">
          <ac:chgData name="Steiner Andreas 6206 ED" userId="e6377c33-a923-4f14-8587-531c474c7b48" providerId="ADAL" clId="{6ECD27E6-B224-41CD-B4E0-E297462320DD}" dt="2023-11-24T11:35:34.126" v="123513"/>
          <ac:spMkLst>
            <pc:docMk/>
            <pc:sldMk cId="3298264326" sldId="2147478565"/>
            <ac:spMk id="809" creationId="{83A23526-9745-33EC-AD79-B4E2F6AAE036}"/>
          </ac:spMkLst>
        </pc:spChg>
        <pc:spChg chg="add del mod">
          <ac:chgData name="Steiner Andreas 6206 ED" userId="e6377c33-a923-4f14-8587-531c474c7b48" providerId="ADAL" clId="{6ECD27E6-B224-41CD-B4E0-E297462320DD}" dt="2023-11-24T11:35:35.918" v="123668"/>
          <ac:spMkLst>
            <pc:docMk/>
            <pc:sldMk cId="3298264326" sldId="2147478565"/>
            <ac:spMk id="810" creationId="{6F0595F1-9A33-BB70-2FD3-523F1F1042E8}"/>
          </ac:spMkLst>
        </pc:spChg>
        <pc:spChg chg="add del mod">
          <ac:chgData name="Steiner Andreas 6206 ED" userId="e6377c33-a923-4f14-8587-531c474c7b48" providerId="ADAL" clId="{6ECD27E6-B224-41CD-B4E0-E297462320DD}" dt="2023-11-24T11:35:37.572" v="123823"/>
          <ac:spMkLst>
            <pc:docMk/>
            <pc:sldMk cId="3298264326" sldId="2147478565"/>
            <ac:spMk id="811" creationId="{54A2B659-1F56-508D-7BA3-C4AA5A969E49}"/>
          </ac:spMkLst>
        </pc:spChg>
        <pc:spChg chg="add del mod">
          <ac:chgData name="Steiner Andreas 6206 ED" userId="e6377c33-a923-4f14-8587-531c474c7b48" providerId="ADAL" clId="{6ECD27E6-B224-41CD-B4E0-E297462320DD}" dt="2023-11-24T11:35:39.211" v="123978"/>
          <ac:spMkLst>
            <pc:docMk/>
            <pc:sldMk cId="3298264326" sldId="2147478565"/>
            <ac:spMk id="812" creationId="{61F1C814-2986-1372-CA6E-B4F99031EFEB}"/>
          </ac:spMkLst>
        </pc:spChg>
        <pc:spChg chg="add del mod">
          <ac:chgData name="Steiner Andreas 6206 ED" userId="e6377c33-a923-4f14-8587-531c474c7b48" providerId="ADAL" clId="{6ECD27E6-B224-41CD-B4E0-E297462320DD}" dt="2023-11-24T11:35:40.913" v="124133"/>
          <ac:spMkLst>
            <pc:docMk/>
            <pc:sldMk cId="3298264326" sldId="2147478565"/>
            <ac:spMk id="813" creationId="{D11FFD4D-17C2-2A16-16C2-1F3DF3F38C31}"/>
          </ac:spMkLst>
        </pc:spChg>
        <pc:spChg chg="add del mod">
          <ac:chgData name="Steiner Andreas 6206 ED" userId="e6377c33-a923-4f14-8587-531c474c7b48" providerId="ADAL" clId="{6ECD27E6-B224-41CD-B4E0-E297462320DD}" dt="2023-11-24T11:35:42.502" v="124288"/>
          <ac:spMkLst>
            <pc:docMk/>
            <pc:sldMk cId="3298264326" sldId="2147478565"/>
            <ac:spMk id="814" creationId="{A1DB6403-E0B0-015C-4067-34FBD3DD4186}"/>
          </ac:spMkLst>
        </pc:spChg>
        <pc:spChg chg="add del mod">
          <ac:chgData name="Steiner Andreas 6206 ED" userId="e6377c33-a923-4f14-8587-531c474c7b48" providerId="ADAL" clId="{6ECD27E6-B224-41CD-B4E0-E297462320DD}" dt="2023-11-24T11:35:44.207" v="124443"/>
          <ac:spMkLst>
            <pc:docMk/>
            <pc:sldMk cId="3298264326" sldId="2147478565"/>
            <ac:spMk id="815" creationId="{AF16EF8C-0A76-3CC1-BC6D-EE5994BFC575}"/>
          </ac:spMkLst>
        </pc:spChg>
        <pc:spChg chg="add del mod">
          <ac:chgData name="Steiner Andreas 6206 ED" userId="e6377c33-a923-4f14-8587-531c474c7b48" providerId="ADAL" clId="{6ECD27E6-B224-41CD-B4E0-E297462320DD}" dt="2023-11-24T11:35:45.841" v="124598"/>
          <ac:spMkLst>
            <pc:docMk/>
            <pc:sldMk cId="3298264326" sldId="2147478565"/>
            <ac:spMk id="816" creationId="{63F4BFB0-4F7B-7AA0-435F-4D7E75D58D0D}"/>
          </ac:spMkLst>
        </pc:spChg>
        <pc:spChg chg="add del mod">
          <ac:chgData name="Steiner Andreas 6206 ED" userId="e6377c33-a923-4f14-8587-531c474c7b48" providerId="ADAL" clId="{6ECD27E6-B224-41CD-B4E0-E297462320DD}" dt="2023-11-24T11:35:47.551" v="124753"/>
          <ac:spMkLst>
            <pc:docMk/>
            <pc:sldMk cId="3298264326" sldId="2147478565"/>
            <ac:spMk id="817" creationId="{2E1EBBA5-B2E1-CE52-88D7-47D307AB7CF5}"/>
          </ac:spMkLst>
        </pc:spChg>
        <pc:spChg chg="add del mod">
          <ac:chgData name="Steiner Andreas 6206 ED" userId="e6377c33-a923-4f14-8587-531c474c7b48" providerId="ADAL" clId="{6ECD27E6-B224-41CD-B4E0-E297462320DD}" dt="2023-11-24T11:35:49.351" v="124908"/>
          <ac:spMkLst>
            <pc:docMk/>
            <pc:sldMk cId="3298264326" sldId="2147478565"/>
            <ac:spMk id="818" creationId="{46611C6A-C611-E89A-0DEA-B231F480D59A}"/>
          </ac:spMkLst>
        </pc:spChg>
        <pc:spChg chg="add del mod">
          <ac:chgData name="Steiner Andreas 6206 ED" userId="e6377c33-a923-4f14-8587-531c474c7b48" providerId="ADAL" clId="{6ECD27E6-B224-41CD-B4E0-E297462320DD}" dt="2023-11-24T11:35:51.264" v="125063"/>
          <ac:spMkLst>
            <pc:docMk/>
            <pc:sldMk cId="3298264326" sldId="2147478565"/>
            <ac:spMk id="819" creationId="{6FFC9790-1E02-528E-7257-44E729EF5B67}"/>
          </ac:spMkLst>
        </pc:spChg>
        <pc:spChg chg="add del mod">
          <ac:chgData name="Steiner Andreas 6206 ED" userId="e6377c33-a923-4f14-8587-531c474c7b48" providerId="ADAL" clId="{6ECD27E6-B224-41CD-B4E0-E297462320DD}" dt="2023-11-24T11:35:52.973" v="125218"/>
          <ac:spMkLst>
            <pc:docMk/>
            <pc:sldMk cId="3298264326" sldId="2147478565"/>
            <ac:spMk id="820" creationId="{C8297BEE-2465-4DD5-C7CC-AFA0760B852C}"/>
          </ac:spMkLst>
        </pc:spChg>
        <pc:spChg chg="add del mod">
          <ac:chgData name="Steiner Andreas 6206 ED" userId="e6377c33-a923-4f14-8587-531c474c7b48" providerId="ADAL" clId="{6ECD27E6-B224-41CD-B4E0-E297462320DD}" dt="2023-11-24T11:35:55" v="125373"/>
          <ac:spMkLst>
            <pc:docMk/>
            <pc:sldMk cId="3298264326" sldId="2147478565"/>
            <ac:spMk id="821" creationId="{30FE7BFA-1A13-635E-B6F9-7E3F12CBF755}"/>
          </ac:spMkLst>
        </pc:spChg>
        <pc:spChg chg="add del mod">
          <ac:chgData name="Steiner Andreas 6206 ED" userId="e6377c33-a923-4f14-8587-531c474c7b48" providerId="ADAL" clId="{6ECD27E6-B224-41CD-B4E0-E297462320DD}" dt="2023-11-24T11:35:57.199" v="125528"/>
          <ac:spMkLst>
            <pc:docMk/>
            <pc:sldMk cId="3298264326" sldId="2147478565"/>
            <ac:spMk id="822" creationId="{E1C074E3-54A2-9CC9-21CA-E6FB63F54C61}"/>
          </ac:spMkLst>
        </pc:spChg>
        <pc:spChg chg="add del mod">
          <ac:chgData name="Steiner Andreas 6206 ED" userId="e6377c33-a923-4f14-8587-531c474c7b48" providerId="ADAL" clId="{6ECD27E6-B224-41CD-B4E0-E297462320DD}" dt="2023-11-24T11:35:58.951" v="125683"/>
          <ac:spMkLst>
            <pc:docMk/>
            <pc:sldMk cId="3298264326" sldId="2147478565"/>
            <ac:spMk id="823" creationId="{1243BB7E-D380-57B5-39CA-078276068B6D}"/>
          </ac:spMkLst>
        </pc:spChg>
        <pc:spChg chg="add del mod">
          <ac:chgData name="Steiner Andreas 6206 ED" userId="e6377c33-a923-4f14-8587-531c474c7b48" providerId="ADAL" clId="{6ECD27E6-B224-41CD-B4E0-E297462320DD}" dt="2023-11-24T11:36:00.692" v="125838"/>
          <ac:spMkLst>
            <pc:docMk/>
            <pc:sldMk cId="3298264326" sldId="2147478565"/>
            <ac:spMk id="824" creationId="{93435EB6-E3CC-B505-D1E6-E2EA6923984D}"/>
          </ac:spMkLst>
        </pc:spChg>
        <pc:spChg chg="add del mod">
          <ac:chgData name="Steiner Andreas 6206 ED" userId="e6377c33-a923-4f14-8587-531c474c7b48" providerId="ADAL" clId="{6ECD27E6-B224-41CD-B4E0-E297462320DD}" dt="2023-11-24T11:36:02.421" v="125993"/>
          <ac:spMkLst>
            <pc:docMk/>
            <pc:sldMk cId="3298264326" sldId="2147478565"/>
            <ac:spMk id="825" creationId="{836E3B5E-6431-1D7F-B5EE-5276480AA3B2}"/>
          </ac:spMkLst>
        </pc:spChg>
        <pc:spChg chg="add del mod">
          <ac:chgData name="Steiner Andreas 6206 ED" userId="e6377c33-a923-4f14-8587-531c474c7b48" providerId="ADAL" clId="{6ECD27E6-B224-41CD-B4E0-E297462320DD}" dt="2023-11-24T11:36:04.181" v="126148"/>
          <ac:spMkLst>
            <pc:docMk/>
            <pc:sldMk cId="3298264326" sldId="2147478565"/>
            <ac:spMk id="826" creationId="{47740EE7-0C2C-EB2D-108A-E81EA797EC44}"/>
          </ac:spMkLst>
        </pc:spChg>
        <pc:spChg chg="add del mod">
          <ac:chgData name="Steiner Andreas 6206 ED" userId="e6377c33-a923-4f14-8587-531c474c7b48" providerId="ADAL" clId="{6ECD27E6-B224-41CD-B4E0-E297462320DD}" dt="2023-11-24T11:36:05.944" v="126303"/>
          <ac:spMkLst>
            <pc:docMk/>
            <pc:sldMk cId="3298264326" sldId="2147478565"/>
            <ac:spMk id="827" creationId="{EF9B5941-255D-51FE-1FBA-2B68562296CE}"/>
          </ac:spMkLst>
        </pc:spChg>
        <pc:spChg chg="add del mod">
          <ac:chgData name="Steiner Andreas 6206 ED" userId="e6377c33-a923-4f14-8587-531c474c7b48" providerId="ADAL" clId="{6ECD27E6-B224-41CD-B4E0-E297462320DD}" dt="2023-11-24T11:36:07.655" v="126458"/>
          <ac:spMkLst>
            <pc:docMk/>
            <pc:sldMk cId="3298264326" sldId="2147478565"/>
            <ac:spMk id="828" creationId="{FC030C17-65CA-78DF-5F83-E7B0A0DBC9F9}"/>
          </ac:spMkLst>
        </pc:spChg>
        <pc:spChg chg="add del mod">
          <ac:chgData name="Steiner Andreas 6206 ED" userId="e6377c33-a923-4f14-8587-531c474c7b48" providerId="ADAL" clId="{6ECD27E6-B224-41CD-B4E0-E297462320DD}" dt="2023-11-24T11:36:09.479" v="126613"/>
          <ac:spMkLst>
            <pc:docMk/>
            <pc:sldMk cId="3298264326" sldId="2147478565"/>
            <ac:spMk id="829" creationId="{AFDDB3F4-3600-81B4-85F4-427E6189828D}"/>
          </ac:spMkLst>
        </pc:spChg>
        <pc:spChg chg="add del mod">
          <ac:chgData name="Steiner Andreas 6206 ED" userId="e6377c33-a923-4f14-8587-531c474c7b48" providerId="ADAL" clId="{6ECD27E6-B224-41CD-B4E0-E297462320DD}" dt="2023-11-24T11:36:11.344" v="126768"/>
          <ac:spMkLst>
            <pc:docMk/>
            <pc:sldMk cId="3298264326" sldId="2147478565"/>
            <ac:spMk id="830" creationId="{D07F48D7-83FB-E6CC-D892-D95DBAF1C240}"/>
          </ac:spMkLst>
        </pc:spChg>
        <pc:spChg chg="add del mod">
          <ac:chgData name="Steiner Andreas 6206 ED" userId="e6377c33-a923-4f14-8587-531c474c7b48" providerId="ADAL" clId="{6ECD27E6-B224-41CD-B4E0-E297462320DD}" dt="2023-11-24T11:36:13.200" v="126923"/>
          <ac:spMkLst>
            <pc:docMk/>
            <pc:sldMk cId="3298264326" sldId="2147478565"/>
            <ac:spMk id="831" creationId="{AD340C67-FD9F-A1BD-8F50-671691288AE7}"/>
          </ac:spMkLst>
        </pc:spChg>
        <pc:spChg chg="add del mod">
          <ac:chgData name="Steiner Andreas 6206 ED" userId="e6377c33-a923-4f14-8587-531c474c7b48" providerId="ADAL" clId="{6ECD27E6-B224-41CD-B4E0-E297462320DD}" dt="2023-11-24T11:36:15.078" v="127078"/>
          <ac:spMkLst>
            <pc:docMk/>
            <pc:sldMk cId="3298264326" sldId="2147478565"/>
            <ac:spMk id="832" creationId="{BB8D018D-0D2B-A2DA-3E01-6B4866EDD6E7}"/>
          </ac:spMkLst>
        </pc:spChg>
        <pc:spChg chg="add del mod">
          <ac:chgData name="Steiner Andreas 6206 ED" userId="e6377c33-a923-4f14-8587-531c474c7b48" providerId="ADAL" clId="{6ECD27E6-B224-41CD-B4E0-E297462320DD}" dt="2023-11-24T11:36:17.744" v="127233"/>
          <ac:spMkLst>
            <pc:docMk/>
            <pc:sldMk cId="3298264326" sldId="2147478565"/>
            <ac:spMk id="833" creationId="{379D6F3E-477B-5FDE-8E10-DCC4465BE84A}"/>
          </ac:spMkLst>
        </pc:spChg>
        <pc:spChg chg="add del mod">
          <ac:chgData name="Steiner Andreas 6206 ED" userId="e6377c33-a923-4f14-8587-531c474c7b48" providerId="ADAL" clId="{6ECD27E6-B224-41CD-B4E0-E297462320DD}" dt="2023-11-24T11:36:20.283" v="127388"/>
          <ac:spMkLst>
            <pc:docMk/>
            <pc:sldMk cId="3298264326" sldId="2147478565"/>
            <ac:spMk id="834" creationId="{D4869D5E-7225-ED55-7BA6-0EB3DD60B244}"/>
          </ac:spMkLst>
        </pc:spChg>
        <pc:spChg chg="add del mod">
          <ac:chgData name="Steiner Andreas 6206 ED" userId="e6377c33-a923-4f14-8587-531c474c7b48" providerId="ADAL" clId="{6ECD27E6-B224-41CD-B4E0-E297462320DD}" dt="2023-11-24T11:36:22.611" v="127543"/>
          <ac:spMkLst>
            <pc:docMk/>
            <pc:sldMk cId="3298264326" sldId="2147478565"/>
            <ac:spMk id="835" creationId="{8ED27307-E77C-1946-3943-71B25AEC3C5C}"/>
          </ac:spMkLst>
        </pc:spChg>
        <pc:spChg chg="add del mod">
          <ac:chgData name="Steiner Andreas 6206 ED" userId="e6377c33-a923-4f14-8587-531c474c7b48" providerId="ADAL" clId="{6ECD27E6-B224-41CD-B4E0-E297462320DD}" dt="2023-11-24T11:36:25.838" v="127698"/>
          <ac:spMkLst>
            <pc:docMk/>
            <pc:sldMk cId="3298264326" sldId="2147478565"/>
            <ac:spMk id="836" creationId="{554EE905-DBD0-DF4A-95B6-C3BF1A4ED03C}"/>
          </ac:spMkLst>
        </pc:spChg>
        <pc:spChg chg="add del mod">
          <ac:chgData name="Steiner Andreas 6206 ED" userId="e6377c33-a923-4f14-8587-531c474c7b48" providerId="ADAL" clId="{6ECD27E6-B224-41CD-B4E0-E297462320DD}" dt="2023-11-24T11:36:28.568" v="127853"/>
          <ac:spMkLst>
            <pc:docMk/>
            <pc:sldMk cId="3298264326" sldId="2147478565"/>
            <ac:spMk id="837" creationId="{C322A16E-45DF-EC9E-D7E4-01F326D8A956}"/>
          </ac:spMkLst>
        </pc:spChg>
        <pc:spChg chg="add del mod">
          <ac:chgData name="Steiner Andreas 6206 ED" userId="e6377c33-a923-4f14-8587-531c474c7b48" providerId="ADAL" clId="{6ECD27E6-B224-41CD-B4E0-E297462320DD}" dt="2023-11-24T11:36:31.237" v="128008"/>
          <ac:spMkLst>
            <pc:docMk/>
            <pc:sldMk cId="3298264326" sldId="2147478565"/>
            <ac:spMk id="838" creationId="{99AB1751-D28F-9354-CF93-42DF64A4057A}"/>
          </ac:spMkLst>
        </pc:spChg>
        <pc:spChg chg="add del mod">
          <ac:chgData name="Steiner Andreas 6206 ED" userId="e6377c33-a923-4f14-8587-531c474c7b48" providerId="ADAL" clId="{6ECD27E6-B224-41CD-B4E0-E297462320DD}" dt="2023-11-24T11:36:33.485" v="128163"/>
          <ac:spMkLst>
            <pc:docMk/>
            <pc:sldMk cId="3298264326" sldId="2147478565"/>
            <ac:spMk id="839" creationId="{24EE2576-C991-8FAD-993C-BC8BB0547D22}"/>
          </ac:spMkLst>
        </pc:spChg>
        <pc:spChg chg="add del mod">
          <ac:chgData name="Steiner Andreas 6206 ED" userId="e6377c33-a923-4f14-8587-531c474c7b48" providerId="ADAL" clId="{6ECD27E6-B224-41CD-B4E0-E297462320DD}" dt="2023-11-24T11:36:35.537" v="128318"/>
          <ac:spMkLst>
            <pc:docMk/>
            <pc:sldMk cId="3298264326" sldId="2147478565"/>
            <ac:spMk id="840" creationId="{B2254CD4-7A19-802E-9F03-0D1D22F6DD3A}"/>
          </ac:spMkLst>
        </pc:spChg>
        <pc:spChg chg="add del mod">
          <ac:chgData name="Steiner Andreas 6206 ED" userId="e6377c33-a923-4f14-8587-531c474c7b48" providerId="ADAL" clId="{6ECD27E6-B224-41CD-B4E0-E297462320DD}" dt="2023-11-24T11:36:37.690" v="128473"/>
          <ac:spMkLst>
            <pc:docMk/>
            <pc:sldMk cId="3298264326" sldId="2147478565"/>
            <ac:spMk id="841" creationId="{EA94609C-138A-9698-D03A-EC50D814FC27}"/>
          </ac:spMkLst>
        </pc:spChg>
        <pc:spChg chg="add del mod">
          <ac:chgData name="Steiner Andreas 6206 ED" userId="e6377c33-a923-4f14-8587-531c474c7b48" providerId="ADAL" clId="{6ECD27E6-B224-41CD-B4E0-E297462320DD}" dt="2023-11-24T11:36:39.893" v="128628"/>
          <ac:spMkLst>
            <pc:docMk/>
            <pc:sldMk cId="3298264326" sldId="2147478565"/>
            <ac:spMk id="842" creationId="{4247E48C-1C71-C383-E965-5B8CB771C5FA}"/>
          </ac:spMkLst>
        </pc:spChg>
        <pc:spChg chg="add del mod">
          <ac:chgData name="Steiner Andreas 6206 ED" userId="e6377c33-a923-4f14-8587-531c474c7b48" providerId="ADAL" clId="{6ECD27E6-B224-41CD-B4E0-E297462320DD}" dt="2023-11-24T11:36:42.435" v="128783"/>
          <ac:spMkLst>
            <pc:docMk/>
            <pc:sldMk cId="3298264326" sldId="2147478565"/>
            <ac:spMk id="843" creationId="{7A6B9DA6-DC87-02DA-5B03-7B6D20E93AF5}"/>
          </ac:spMkLst>
        </pc:spChg>
        <pc:spChg chg="add del mod">
          <ac:chgData name="Steiner Andreas 6206 ED" userId="e6377c33-a923-4f14-8587-531c474c7b48" providerId="ADAL" clId="{6ECD27E6-B224-41CD-B4E0-E297462320DD}" dt="2023-11-24T11:36:44.734" v="128938"/>
          <ac:spMkLst>
            <pc:docMk/>
            <pc:sldMk cId="3298264326" sldId="2147478565"/>
            <ac:spMk id="844" creationId="{44D65B9E-EF57-E64E-B592-9D8BF2A9FB33}"/>
          </ac:spMkLst>
        </pc:spChg>
        <pc:spChg chg="add del mod">
          <ac:chgData name="Steiner Andreas 6206 ED" userId="e6377c33-a923-4f14-8587-531c474c7b48" providerId="ADAL" clId="{6ECD27E6-B224-41CD-B4E0-E297462320DD}" dt="2023-11-24T11:36:46.680" v="129093"/>
          <ac:spMkLst>
            <pc:docMk/>
            <pc:sldMk cId="3298264326" sldId="2147478565"/>
            <ac:spMk id="845" creationId="{A694316A-9AB7-C9A8-83F7-40D7D847D7DF}"/>
          </ac:spMkLst>
        </pc:spChg>
        <pc:spChg chg="add del mod">
          <ac:chgData name="Steiner Andreas 6206 ED" userId="e6377c33-a923-4f14-8587-531c474c7b48" providerId="ADAL" clId="{6ECD27E6-B224-41CD-B4E0-E297462320DD}" dt="2023-11-24T11:36:48.660" v="129248"/>
          <ac:spMkLst>
            <pc:docMk/>
            <pc:sldMk cId="3298264326" sldId="2147478565"/>
            <ac:spMk id="846" creationId="{F9EBE7BA-49E1-1A7E-6561-A18C1B884B59}"/>
          </ac:spMkLst>
        </pc:spChg>
        <pc:spChg chg="add del mod">
          <ac:chgData name="Steiner Andreas 6206 ED" userId="e6377c33-a923-4f14-8587-531c474c7b48" providerId="ADAL" clId="{6ECD27E6-B224-41CD-B4E0-E297462320DD}" dt="2023-11-24T11:36:50.633" v="129403"/>
          <ac:spMkLst>
            <pc:docMk/>
            <pc:sldMk cId="3298264326" sldId="2147478565"/>
            <ac:spMk id="847" creationId="{2DA71814-5F49-A27C-49EB-A83ECD3FE1C2}"/>
          </ac:spMkLst>
        </pc:spChg>
        <pc:spChg chg="add del mod">
          <ac:chgData name="Steiner Andreas 6206 ED" userId="e6377c33-a923-4f14-8587-531c474c7b48" providerId="ADAL" clId="{6ECD27E6-B224-41CD-B4E0-E297462320DD}" dt="2023-11-24T11:36:52.775" v="129558"/>
          <ac:spMkLst>
            <pc:docMk/>
            <pc:sldMk cId="3298264326" sldId="2147478565"/>
            <ac:spMk id="848" creationId="{1079B9B1-37E6-474A-EF72-2FBE541FEDE2}"/>
          </ac:spMkLst>
        </pc:spChg>
        <pc:spChg chg="add del mod">
          <ac:chgData name="Steiner Andreas 6206 ED" userId="e6377c33-a923-4f14-8587-531c474c7b48" providerId="ADAL" clId="{6ECD27E6-B224-41CD-B4E0-E297462320DD}" dt="2023-11-24T11:36:55.683" v="129713"/>
          <ac:spMkLst>
            <pc:docMk/>
            <pc:sldMk cId="3298264326" sldId="2147478565"/>
            <ac:spMk id="849" creationId="{9B6F11B0-0FF1-55DC-1F20-254BBBC3663A}"/>
          </ac:spMkLst>
        </pc:spChg>
        <pc:spChg chg="add del mod">
          <ac:chgData name="Steiner Andreas 6206 ED" userId="e6377c33-a923-4f14-8587-531c474c7b48" providerId="ADAL" clId="{6ECD27E6-B224-41CD-B4E0-E297462320DD}" dt="2023-11-24T11:36:57.919" v="129868"/>
          <ac:spMkLst>
            <pc:docMk/>
            <pc:sldMk cId="3298264326" sldId="2147478565"/>
            <ac:spMk id="850" creationId="{CF960DFB-4349-A54A-EECD-2C0450D449E3}"/>
          </ac:spMkLst>
        </pc:spChg>
        <pc:spChg chg="add del mod">
          <ac:chgData name="Steiner Andreas 6206 ED" userId="e6377c33-a923-4f14-8587-531c474c7b48" providerId="ADAL" clId="{6ECD27E6-B224-41CD-B4E0-E297462320DD}" dt="2023-11-24T11:37:00.236" v="130023"/>
          <ac:spMkLst>
            <pc:docMk/>
            <pc:sldMk cId="3298264326" sldId="2147478565"/>
            <ac:spMk id="851" creationId="{FF589DB3-1739-B1BE-C635-AF3C7A264458}"/>
          </ac:spMkLst>
        </pc:spChg>
        <pc:spChg chg="add del mod">
          <ac:chgData name="Steiner Andreas 6206 ED" userId="e6377c33-a923-4f14-8587-531c474c7b48" providerId="ADAL" clId="{6ECD27E6-B224-41CD-B4E0-E297462320DD}" dt="2023-11-24T11:37:02.042" v="130178"/>
          <ac:spMkLst>
            <pc:docMk/>
            <pc:sldMk cId="3298264326" sldId="2147478565"/>
            <ac:spMk id="852" creationId="{4AF60AEC-16B2-06DE-DC23-6E2A6097B21E}"/>
          </ac:spMkLst>
        </pc:spChg>
        <pc:spChg chg="add del mod">
          <ac:chgData name="Steiner Andreas 6206 ED" userId="e6377c33-a923-4f14-8587-531c474c7b48" providerId="ADAL" clId="{6ECD27E6-B224-41CD-B4E0-E297462320DD}" dt="2023-11-24T11:37:03.786" v="130333"/>
          <ac:spMkLst>
            <pc:docMk/>
            <pc:sldMk cId="3298264326" sldId="2147478565"/>
            <ac:spMk id="853" creationId="{F92C9B9D-C057-7FDC-1C9C-9DA5F1860491}"/>
          </ac:spMkLst>
        </pc:spChg>
        <pc:spChg chg="add del mod">
          <ac:chgData name="Steiner Andreas 6206 ED" userId="e6377c33-a923-4f14-8587-531c474c7b48" providerId="ADAL" clId="{6ECD27E6-B224-41CD-B4E0-E297462320DD}" dt="2023-11-24T11:37:05.657" v="130488"/>
          <ac:spMkLst>
            <pc:docMk/>
            <pc:sldMk cId="3298264326" sldId="2147478565"/>
            <ac:spMk id="854" creationId="{39FF77A8-20B6-DAA3-68CD-8893C1FB1E15}"/>
          </ac:spMkLst>
        </pc:spChg>
        <pc:spChg chg="add del mod">
          <ac:chgData name="Steiner Andreas 6206 ED" userId="e6377c33-a923-4f14-8587-531c474c7b48" providerId="ADAL" clId="{6ECD27E6-B224-41CD-B4E0-E297462320DD}" dt="2023-11-24T11:37:07.432" v="130643"/>
          <ac:spMkLst>
            <pc:docMk/>
            <pc:sldMk cId="3298264326" sldId="2147478565"/>
            <ac:spMk id="855" creationId="{B38964EA-07C4-ED44-D509-D031B78DAB76}"/>
          </ac:spMkLst>
        </pc:spChg>
        <pc:spChg chg="add del mod">
          <ac:chgData name="Steiner Andreas 6206 ED" userId="e6377c33-a923-4f14-8587-531c474c7b48" providerId="ADAL" clId="{6ECD27E6-B224-41CD-B4E0-E297462320DD}" dt="2023-11-24T11:37:09.137" v="130798"/>
          <ac:spMkLst>
            <pc:docMk/>
            <pc:sldMk cId="3298264326" sldId="2147478565"/>
            <ac:spMk id="856" creationId="{432E88E9-9163-3295-57A2-53ADEC62D28C}"/>
          </ac:spMkLst>
        </pc:spChg>
        <pc:spChg chg="add del mod">
          <ac:chgData name="Steiner Andreas 6206 ED" userId="e6377c33-a923-4f14-8587-531c474c7b48" providerId="ADAL" clId="{6ECD27E6-B224-41CD-B4E0-E297462320DD}" dt="2023-11-24T11:37:10.814" v="130953"/>
          <ac:spMkLst>
            <pc:docMk/>
            <pc:sldMk cId="3298264326" sldId="2147478565"/>
            <ac:spMk id="857" creationId="{99DB6251-3D95-AAD5-B307-A489454DA986}"/>
          </ac:spMkLst>
        </pc:spChg>
        <pc:spChg chg="add del mod">
          <ac:chgData name="Steiner Andreas 6206 ED" userId="e6377c33-a923-4f14-8587-531c474c7b48" providerId="ADAL" clId="{6ECD27E6-B224-41CD-B4E0-E297462320DD}" dt="2023-11-24T11:37:12.495" v="131108"/>
          <ac:spMkLst>
            <pc:docMk/>
            <pc:sldMk cId="3298264326" sldId="2147478565"/>
            <ac:spMk id="858" creationId="{B95E0A4B-1BF2-2A5C-0466-85EF686955C5}"/>
          </ac:spMkLst>
        </pc:spChg>
        <pc:spChg chg="add del mod">
          <ac:chgData name="Steiner Andreas 6206 ED" userId="e6377c33-a923-4f14-8587-531c474c7b48" providerId="ADAL" clId="{6ECD27E6-B224-41CD-B4E0-E297462320DD}" dt="2023-11-24T11:37:14.173" v="131263"/>
          <ac:spMkLst>
            <pc:docMk/>
            <pc:sldMk cId="3298264326" sldId="2147478565"/>
            <ac:spMk id="859" creationId="{D3DAE530-E4C2-CEF0-D1F5-53265FFBAD0F}"/>
          </ac:spMkLst>
        </pc:spChg>
        <pc:spChg chg="add del mod">
          <ac:chgData name="Steiner Andreas 6206 ED" userId="e6377c33-a923-4f14-8587-531c474c7b48" providerId="ADAL" clId="{6ECD27E6-B224-41CD-B4E0-E297462320DD}" dt="2023-11-24T11:37:16.260" v="131418"/>
          <ac:spMkLst>
            <pc:docMk/>
            <pc:sldMk cId="3298264326" sldId="2147478565"/>
            <ac:spMk id="860" creationId="{69EB1FE1-15C1-F4F0-5059-637F8019C0EF}"/>
          </ac:spMkLst>
        </pc:spChg>
        <pc:spChg chg="add del mod">
          <ac:chgData name="Steiner Andreas 6206 ED" userId="e6377c33-a923-4f14-8587-531c474c7b48" providerId="ADAL" clId="{6ECD27E6-B224-41CD-B4E0-E297462320DD}" dt="2023-11-24T11:37:18.226" v="131573"/>
          <ac:spMkLst>
            <pc:docMk/>
            <pc:sldMk cId="3298264326" sldId="2147478565"/>
            <ac:spMk id="861" creationId="{B63A6A52-47F2-7487-A61B-DCC75E9851E9}"/>
          </ac:spMkLst>
        </pc:spChg>
        <pc:spChg chg="add del mod">
          <ac:chgData name="Steiner Andreas 6206 ED" userId="e6377c33-a923-4f14-8587-531c474c7b48" providerId="ADAL" clId="{6ECD27E6-B224-41CD-B4E0-E297462320DD}" dt="2023-11-24T11:37:20.109" v="131728"/>
          <ac:spMkLst>
            <pc:docMk/>
            <pc:sldMk cId="3298264326" sldId="2147478565"/>
            <ac:spMk id="862" creationId="{EF077E77-A68D-2F9A-00A4-D2E13D12597E}"/>
          </ac:spMkLst>
        </pc:spChg>
        <pc:spChg chg="add del mod">
          <ac:chgData name="Steiner Andreas 6206 ED" userId="e6377c33-a923-4f14-8587-531c474c7b48" providerId="ADAL" clId="{6ECD27E6-B224-41CD-B4E0-E297462320DD}" dt="2023-11-24T11:37:22.015" v="131883"/>
          <ac:spMkLst>
            <pc:docMk/>
            <pc:sldMk cId="3298264326" sldId="2147478565"/>
            <ac:spMk id="863" creationId="{3162748B-3886-23BA-C58D-8E676AADE4CF}"/>
          </ac:spMkLst>
        </pc:spChg>
        <pc:spChg chg="add del mod">
          <ac:chgData name="Steiner Andreas 6206 ED" userId="e6377c33-a923-4f14-8587-531c474c7b48" providerId="ADAL" clId="{6ECD27E6-B224-41CD-B4E0-E297462320DD}" dt="2023-11-24T11:37:23.778" v="132038"/>
          <ac:spMkLst>
            <pc:docMk/>
            <pc:sldMk cId="3298264326" sldId="2147478565"/>
            <ac:spMk id="864" creationId="{11461421-64D7-9F1C-25E7-57DAD3565FC6}"/>
          </ac:spMkLst>
        </pc:spChg>
        <pc:spChg chg="add del mod">
          <ac:chgData name="Steiner Andreas 6206 ED" userId="e6377c33-a923-4f14-8587-531c474c7b48" providerId="ADAL" clId="{6ECD27E6-B224-41CD-B4E0-E297462320DD}" dt="2023-11-24T11:37:25.489" v="132193"/>
          <ac:spMkLst>
            <pc:docMk/>
            <pc:sldMk cId="3298264326" sldId="2147478565"/>
            <ac:spMk id="865" creationId="{50CFFD1E-6610-4C7E-6E6D-1B43F019B316}"/>
          </ac:spMkLst>
        </pc:spChg>
        <pc:spChg chg="add del mod">
          <ac:chgData name="Steiner Andreas 6206 ED" userId="e6377c33-a923-4f14-8587-531c474c7b48" providerId="ADAL" clId="{6ECD27E6-B224-41CD-B4E0-E297462320DD}" dt="2023-11-24T11:37:27.481" v="132348"/>
          <ac:spMkLst>
            <pc:docMk/>
            <pc:sldMk cId="3298264326" sldId="2147478565"/>
            <ac:spMk id="866" creationId="{6652CB3A-3993-20B0-4E09-1D133DF965AE}"/>
          </ac:spMkLst>
        </pc:spChg>
        <pc:spChg chg="add del mod">
          <ac:chgData name="Steiner Andreas 6206 ED" userId="e6377c33-a923-4f14-8587-531c474c7b48" providerId="ADAL" clId="{6ECD27E6-B224-41CD-B4E0-E297462320DD}" dt="2023-11-24T11:37:30.206" v="132503"/>
          <ac:spMkLst>
            <pc:docMk/>
            <pc:sldMk cId="3298264326" sldId="2147478565"/>
            <ac:spMk id="867" creationId="{71E914FC-4FB8-C7CB-F4EE-2CE19DDDB6B7}"/>
          </ac:spMkLst>
        </pc:spChg>
        <pc:spChg chg="add del mod">
          <ac:chgData name="Steiner Andreas 6206 ED" userId="e6377c33-a923-4f14-8587-531c474c7b48" providerId="ADAL" clId="{6ECD27E6-B224-41CD-B4E0-E297462320DD}" dt="2023-11-24T11:37:32.833" v="132658"/>
          <ac:spMkLst>
            <pc:docMk/>
            <pc:sldMk cId="3298264326" sldId="2147478565"/>
            <ac:spMk id="868" creationId="{959F77B7-4871-D7BB-0527-442C73CF4220}"/>
          </ac:spMkLst>
        </pc:spChg>
        <pc:spChg chg="add del mod">
          <ac:chgData name="Steiner Andreas 6206 ED" userId="e6377c33-a923-4f14-8587-531c474c7b48" providerId="ADAL" clId="{6ECD27E6-B224-41CD-B4E0-E297462320DD}" dt="2023-11-24T11:37:35.685" v="132813"/>
          <ac:spMkLst>
            <pc:docMk/>
            <pc:sldMk cId="3298264326" sldId="2147478565"/>
            <ac:spMk id="869" creationId="{CC73CFF5-B4FB-BF68-A029-42C47A9675FC}"/>
          </ac:spMkLst>
        </pc:spChg>
        <pc:spChg chg="add del mod">
          <ac:chgData name="Steiner Andreas 6206 ED" userId="e6377c33-a923-4f14-8587-531c474c7b48" providerId="ADAL" clId="{6ECD27E6-B224-41CD-B4E0-E297462320DD}" dt="2023-11-24T11:37:38.446" v="132968"/>
          <ac:spMkLst>
            <pc:docMk/>
            <pc:sldMk cId="3298264326" sldId="2147478565"/>
            <ac:spMk id="870" creationId="{93227F9A-7EA1-EDBF-70CD-3E7EE345952D}"/>
          </ac:spMkLst>
        </pc:spChg>
        <pc:spChg chg="add del mod">
          <ac:chgData name="Steiner Andreas 6206 ED" userId="e6377c33-a923-4f14-8587-531c474c7b48" providerId="ADAL" clId="{6ECD27E6-B224-41CD-B4E0-E297462320DD}" dt="2023-11-24T11:37:40.959" v="133123"/>
          <ac:spMkLst>
            <pc:docMk/>
            <pc:sldMk cId="3298264326" sldId="2147478565"/>
            <ac:spMk id="871" creationId="{D81D5984-5653-6A7F-3104-82D636B6BC6F}"/>
          </ac:spMkLst>
        </pc:spChg>
        <pc:spChg chg="add del mod">
          <ac:chgData name="Steiner Andreas 6206 ED" userId="e6377c33-a923-4f14-8587-531c474c7b48" providerId="ADAL" clId="{6ECD27E6-B224-41CD-B4E0-E297462320DD}" dt="2023-11-24T11:37:44.093" v="133278"/>
          <ac:spMkLst>
            <pc:docMk/>
            <pc:sldMk cId="3298264326" sldId="2147478565"/>
            <ac:spMk id="872" creationId="{E4EEB92B-628A-6590-2ACD-DD06F2222A67}"/>
          </ac:spMkLst>
        </pc:spChg>
        <pc:spChg chg="add del mod">
          <ac:chgData name="Steiner Andreas 6206 ED" userId="e6377c33-a923-4f14-8587-531c474c7b48" providerId="ADAL" clId="{6ECD27E6-B224-41CD-B4E0-E297462320DD}" dt="2023-11-24T11:37:48.172" v="133433"/>
          <ac:spMkLst>
            <pc:docMk/>
            <pc:sldMk cId="3298264326" sldId="2147478565"/>
            <ac:spMk id="873" creationId="{C3BC1DCA-B8F9-1099-0C81-C6B77FEB05BE}"/>
          </ac:spMkLst>
        </pc:spChg>
        <pc:spChg chg="add del mod">
          <ac:chgData name="Steiner Andreas 6206 ED" userId="e6377c33-a923-4f14-8587-531c474c7b48" providerId="ADAL" clId="{6ECD27E6-B224-41CD-B4E0-E297462320DD}" dt="2023-11-24T11:37:51.371" v="133588"/>
          <ac:spMkLst>
            <pc:docMk/>
            <pc:sldMk cId="3298264326" sldId="2147478565"/>
            <ac:spMk id="874" creationId="{51EFB46F-83C1-C5AF-B069-C75D93B8BAB2}"/>
          </ac:spMkLst>
        </pc:spChg>
        <pc:spChg chg="add del mod">
          <ac:chgData name="Steiner Andreas 6206 ED" userId="e6377c33-a923-4f14-8587-531c474c7b48" providerId="ADAL" clId="{6ECD27E6-B224-41CD-B4E0-E297462320DD}" dt="2023-11-24T11:37:54.164" v="133743"/>
          <ac:spMkLst>
            <pc:docMk/>
            <pc:sldMk cId="3298264326" sldId="2147478565"/>
            <ac:spMk id="875" creationId="{634D68AB-9018-588C-1FB4-49D697ABE5F8}"/>
          </ac:spMkLst>
        </pc:spChg>
        <pc:spChg chg="add del mod">
          <ac:chgData name="Steiner Andreas 6206 ED" userId="e6377c33-a923-4f14-8587-531c474c7b48" providerId="ADAL" clId="{6ECD27E6-B224-41CD-B4E0-E297462320DD}" dt="2023-11-24T11:37:56.542" v="133898"/>
          <ac:spMkLst>
            <pc:docMk/>
            <pc:sldMk cId="3298264326" sldId="2147478565"/>
            <ac:spMk id="876" creationId="{52331390-B3A0-23AA-4DEB-8D5AD22A7F5D}"/>
          </ac:spMkLst>
        </pc:spChg>
        <pc:spChg chg="add del mod">
          <ac:chgData name="Steiner Andreas 6206 ED" userId="e6377c33-a923-4f14-8587-531c474c7b48" providerId="ADAL" clId="{6ECD27E6-B224-41CD-B4E0-E297462320DD}" dt="2023-11-24T11:37:59.142" v="134053"/>
          <ac:spMkLst>
            <pc:docMk/>
            <pc:sldMk cId="3298264326" sldId="2147478565"/>
            <ac:spMk id="877" creationId="{7B82CC22-64DE-37E8-B165-0DE8F1F1C673}"/>
          </ac:spMkLst>
        </pc:spChg>
        <pc:spChg chg="add del mod">
          <ac:chgData name="Steiner Andreas 6206 ED" userId="e6377c33-a923-4f14-8587-531c474c7b48" providerId="ADAL" clId="{6ECD27E6-B224-41CD-B4E0-E297462320DD}" dt="2023-11-24T11:38:01.372" v="134208"/>
          <ac:spMkLst>
            <pc:docMk/>
            <pc:sldMk cId="3298264326" sldId="2147478565"/>
            <ac:spMk id="878" creationId="{D9BF473F-4BFE-1CB6-DFCB-6B3086AF9D44}"/>
          </ac:spMkLst>
        </pc:spChg>
        <pc:spChg chg="add del mod">
          <ac:chgData name="Steiner Andreas 6206 ED" userId="e6377c33-a923-4f14-8587-531c474c7b48" providerId="ADAL" clId="{6ECD27E6-B224-41CD-B4E0-E297462320DD}" dt="2023-11-24T11:38:03.926" v="134363"/>
          <ac:spMkLst>
            <pc:docMk/>
            <pc:sldMk cId="3298264326" sldId="2147478565"/>
            <ac:spMk id="879" creationId="{27710CB9-FBC4-853C-3865-5713E93FE87F}"/>
          </ac:spMkLst>
        </pc:spChg>
        <pc:spChg chg="add del mod">
          <ac:chgData name="Steiner Andreas 6206 ED" userId="e6377c33-a923-4f14-8587-531c474c7b48" providerId="ADAL" clId="{6ECD27E6-B224-41CD-B4E0-E297462320DD}" dt="2023-11-24T11:38:06.368" v="134518"/>
          <ac:spMkLst>
            <pc:docMk/>
            <pc:sldMk cId="3298264326" sldId="2147478565"/>
            <ac:spMk id="880" creationId="{4A1C6E81-0B10-1B4A-83D9-F278BC287D98}"/>
          </ac:spMkLst>
        </pc:spChg>
        <pc:spChg chg="add del mod">
          <ac:chgData name="Steiner Andreas 6206 ED" userId="e6377c33-a923-4f14-8587-531c474c7b48" providerId="ADAL" clId="{6ECD27E6-B224-41CD-B4E0-E297462320DD}" dt="2023-11-24T11:38:09.300" v="134673"/>
          <ac:spMkLst>
            <pc:docMk/>
            <pc:sldMk cId="3298264326" sldId="2147478565"/>
            <ac:spMk id="881" creationId="{65B65D3F-3DA6-A579-3547-772BFC6C4690}"/>
          </ac:spMkLst>
        </pc:spChg>
        <pc:spChg chg="add del mod">
          <ac:chgData name="Steiner Andreas 6206 ED" userId="e6377c33-a923-4f14-8587-531c474c7b48" providerId="ADAL" clId="{6ECD27E6-B224-41CD-B4E0-E297462320DD}" dt="2023-11-24T11:38:12.023" v="134828"/>
          <ac:spMkLst>
            <pc:docMk/>
            <pc:sldMk cId="3298264326" sldId="2147478565"/>
            <ac:spMk id="882" creationId="{99D2906B-09BB-B967-31BB-09210D668E23}"/>
          </ac:spMkLst>
        </pc:spChg>
        <pc:spChg chg="add del mod">
          <ac:chgData name="Steiner Andreas 6206 ED" userId="e6377c33-a923-4f14-8587-531c474c7b48" providerId="ADAL" clId="{6ECD27E6-B224-41CD-B4E0-E297462320DD}" dt="2023-11-24T11:38:14.293" v="134983"/>
          <ac:spMkLst>
            <pc:docMk/>
            <pc:sldMk cId="3298264326" sldId="2147478565"/>
            <ac:spMk id="883" creationId="{E89717D7-2FAC-2787-0342-CF81AF83AC1D}"/>
          </ac:spMkLst>
        </pc:spChg>
        <pc:spChg chg="add del mod">
          <ac:chgData name="Steiner Andreas 6206 ED" userId="e6377c33-a923-4f14-8587-531c474c7b48" providerId="ADAL" clId="{6ECD27E6-B224-41CD-B4E0-E297462320DD}" dt="2023-11-24T11:38:16.733" v="135138"/>
          <ac:spMkLst>
            <pc:docMk/>
            <pc:sldMk cId="3298264326" sldId="2147478565"/>
            <ac:spMk id="884" creationId="{5D13FD04-4CC6-88BB-273C-25AC1AC27BC0}"/>
          </ac:spMkLst>
        </pc:spChg>
        <pc:spChg chg="add del mod">
          <ac:chgData name="Steiner Andreas 6206 ED" userId="e6377c33-a923-4f14-8587-531c474c7b48" providerId="ADAL" clId="{6ECD27E6-B224-41CD-B4E0-E297462320DD}" dt="2023-11-24T11:38:19.650" v="135293"/>
          <ac:spMkLst>
            <pc:docMk/>
            <pc:sldMk cId="3298264326" sldId="2147478565"/>
            <ac:spMk id="885" creationId="{F4A365BE-7E40-7A3C-2FC3-DD4A24E7DF10}"/>
          </ac:spMkLst>
        </pc:spChg>
        <pc:spChg chg="add del mod">
          <ac:chgData name="Steiner Andreas 6206 ED" userId="e6377c33-a923-4f14-8587-531c474c7b48" providerId="ADAL" clId="{6ECD27E6-B224-41CD-B4E0-E297462320DD}" dt="2023-11-24T11:38:22.225" v="135448"/>
          <ac:spMkLst>
            <pc:docMk/>
            <pc:sldMk cId="3298264326" sldId="2147478565"/>
            <ac:spMk id="886" creationId="{67B117ED-AC10-76F5-35C3-6E7D45CF0D1F}"/>
          </ac:spMkLst>
        </pc:spChg>
        <pc:spChg chg="add del mod">
          <ac:chgData name="Steiner Andreas 6206 ED" userId="e6377c33-a923-4f14-8587-531c474c7b48" providerId="ADAL" clId="{6ECD27E6-B224-41CD-B4E0-E297462320DD}" dt="2023-11-24T11:38:24.976" v="135603"/>
          <ac:spMkLst>
            <pc:docMk/>
            <pc:sldMk cId="3298264326" sldId="2147478565"/>
            <ac:spMk id="887" creationId="{4DD8B339-CD0C-55A9-8EC9-ECDEAC925D5F}"/>
          </ac:spMkLst>
        </pc:spChg>
        <pc:spChg chg="add del mod">
          <ac:chgData name="Steiner Andreas 6206 ED" userId="e6377c33-a923-4f14-8587-531c474c7b48" providerId="ADAL" clId="{6ECD27E6-B224-41CD-B4E0-E297462320DD}" dt="2023-11-24T11:38:27.724" v="135758"/>
          <ac:spMkLst>
            <pc:docMk/>
            <pc:sldMk cId="3298264326" sldId="2147478565"/>
            <ac:spMk id="888" creationId="{C70300E3-C3E2-0C99-E248-4D2DE02C5E1F}"/>
          </ac:spMkLst>
        </pc:spChg>
        <pc:spChg chg="add del mod">
          <ac:chgData name="Steiner Andreas 6206 ED" userId="e6377c33-a923-4f14-8587-531c474c7b48" providerId="ADAL" clId="{6ECD27E6-B224-41CD-B4E0-E297462320DD}" dt="2023-11-24T11:38:30.413" v="135913"/>
          <ac:spMkLst>
            <pc:docMk/>
            <pc:sldMk cId="3298264326" sldId="2147478565"/>
            <ac:spMk id="889" creationId="{AA556695-ECD9-B177-5FDD-0D51A39BB563}"/>
          </ac:spMkLst>
        </pc:spChg>
        <pc:spChg chg="add del mod">
          <ac:chgData name="Steiner Andreas 6206 ED" userId="e6377c33-a923-4f14-8587-531c474c7b48" providerId="ADAL" clId="{6ECD27E6-B224-41CD-B4E0-E297462320DD}" dt="2023-11-24T11:38:32.737" v="136068"/>
          <ac:spMkLst>
            <pc:docMk/>
            <pc:sldMk cId="3298264326" sldId="2147478565"/>
            <ac:spMk id="890" creationId="{C4802224-D659-4207-305E-5991EE7FCB01}"/>
          </ac:spMkLst>
        </pc:spChg>
        <pc:spChg chg="add del mod">
          <ac:chgData name="Steiner Andreas 6206 ED" userId="e6377c33-a923-4f14-8587-531c474c7b48" providerId="ADAL" clId="{6ECD27E6-B224-41CD-B4E0-E297462320DD}" dt="2023-11-24T11:38:35.211" v="136223"/>
          <ac:spMkLst>
            <pc:docMk/>
            <pc:sldMk cId="3298264326" sldId="2147478565"/>
            <ac:spMk id="891" creationId="{FE2368A6-073C-8F1A-F963-5C858EDFB5F8}"/>
          </ac:spMkLst>
        </pc:spChg>
        <pc:spChg chg="add del mod">
          <ac:chgData name="Steiner Andreas 6206 ED" userId="e6377c33-a923-4f14-8587-531c474c7b48" providerId="ADAL" clId="{6ECD27E6-B224-41CD-B4E0-E297462320DD}" dt="2023-11-24T11:38:38.037" v="136378"/>
          <ac:spMkLst>
            <pc:docMk/>
            <pc:sldMk cId="3298264326" sldId="2147478565"/>
            <ac:spMk id="892" creationId="{4D89A6FC-EAB4-5CC4-FE19-CC313FD0C26C}"/>
          </ac:spMkLst>
        </pc:spChg>
        <pc:spChg chg="add del mod">
          <ac:chgData name="Steiner Andreas 6206 ED" userId="e6377c33-a923-4f14-8587-531c474c7b48" providerId="ADAL" clId="{6ECD27E6-B224-41CD-B4E0-E297462320DD}" dt="2023-11-24T11:38:40.647" v="136533"/>
          <ac:spMkLst>
            <pc:docMk/>
            <pc:sldMk cId="3298264326" sldId="2147478565"/>
            <ac:spMk id="893" creationId="{9208C8C0-5910-29A8-1EB4-36AEF9C23451}"/>
          </ac:spMkLst>
        </pc:spChg>
        <pc:spChg chg="add del mod">
          <ac:chgData name="Steiner Andreas 6206 ED" userId="e6377c33-a923-4f14-8587-531c474c7b48" providerId="ADAL" clId="{6ECD27E6-B224-41CD-B4E0-E297462320DD}" dt="2023-11-24T11:38:43.034" v="136688"/>
          <ac:spMkLst>
            <pc:docMk/>
            <pc:sldMk cId="3298264326" sldId="2147478565"/>
            <ac:spMk id="894" creationId="{44E45A71-90EF-363B-53B7-FEC6A642F330}"/>
          </ac:spMkLst>
        </pc:spChg>
        <pc:spChg chg="add del mod">
          <ac:chgData name="Steiner Andreas 6206 ED" userId="e6377c33-a923-4f14-8587-531c474c7b48" providerId="ADAL" clId="{6ECD27E6-B224-41CD-B4E0-E297462320DD}" dt="2023-11-24T11:38:45.453" v="136843"/>
          <ac:spMkLst>
            <pc:docMk/>
            <pc:sldMk cId="3298264326" sldId="2147478565"/>
            <ac:spMk id="895" creationId="{709AE22C-BDA6-5AEF-BBB3-005984B17C67}"/>
          </ac:spMkLst>
        </pc:spChg>
        <pc:spChg chg="add del mod">
          <ac:chgData name="Steiner Andreas 6206 ED" userId="e6377c33-a923-4f14-8587-531c474c7b48" providerId="ADAL" clId="{6ECD27E6-B224-41CD-B4E0-E297462320DD}" dt="2023-11-24T11:38:47.788" v="136998"/>
          <ac:spMkLst>
            <pc:docMk/>
            <pc:sldMk cId="3298264326" sldId="2147478565"/>
            <ac:spMk id="896" creationId="{7BD75B15-797D-CD39-32D4-0BF2B31F0515}"/>
          </ac:spMkLst>
        </pc:spChg>
        <pc:spChg chg="add del mod">
          <ac:chgData name="Steiner Andreas 6206 ED" userId="e6377c33-a923-4f14-8587-531c474c7b48" providerId="ADAL" clId="{6ECD27E6-B224-41CD-B4E0-E297462320DD}" dt="2023-11-24T11:38:50.848" v="137153"/>
          <ac:spMkLst>
            <pc:docMk/>
            <pc:sldMk cId="3298264326" sldId="2147478565"/>
            <ac:spMk id="897" creationId="{BED7A1EB-0C77-4519-5355-4B2FA4C6119E}"/>
          </ac:spMkLst>
        </pc:spChg>
        <pc:spChg chg="add del mod">
          <ac:chgData name="Steiner Andreas 6206 ED" userId="e6377c33-a923-4f14-8587-531c474c7b48" providerId="ADAL" clId="{6ECD27E6-B224-41CD-B4E0-E297462320DD}" dt="2023-11-24T11:38:53.246" v="137308"/>
          <ac:spMkLst>
            <pc:docMk/>
            <pc:sldMk cId="3298264326" sldId="2147478565"/>
            <ac:spMk id="898" creationId="{724CA9F5-43BF-D05A-0271-F2E97D85FB3F}"/>
          </ac:spMkLst>
        </pc:spChg>
        <pc:spChg chg="add del mod">
          <ac:chgData name="Steiner Andreas 6206 ED" userId="e6377c33-a923-4f14-8587-531c474c7b48" providerId="ADAL" clId="{6ECD27E6-B224-41CD-B4E0-E297462320DD}" dt="2023-11-24T11:38:55.722" v="137463"/>
          <ac:spMkLst>
            <pc:docMk/>
            <pc:sldMk cId="3298264326" sldId="2147478565"/>
            <ac:spMk id="899" creationId="{C6B79983-E376-A48C-291A-70D3962DE157}"/>
          </ac:spMkLst>
        </pc:spChg>
        <pc:spChg chg="add del mod">
          <ac:chgData name="Steiner Andreas 6206 ED" userId="e6377c33-a923-4f14-8587-531c474c7b48" providerId="ADAL" clId="{6ECD27E6-B224-41CD-B4E0-E297462320DD}" dt="2023-11-24T11:38:58.294" v="137618"/>
          <ac:spMkLst>
            <pc:docMk/>
            <pc:sldMk cId="3298264326" sldId="2147478565"/>
            <ac:spMk id="900" creationId="{88F6F659-6D34-7BE2-B1D4-1573123C0FA5}"/>
          </ac:spMkLst>
        </pc:spChg>
        <pc:spChg chg="add del mod">
          <ac:chgData name="Steiner Andreas 6206 ED" userId="e6377c33-a923-4f14-8587-531c474c7b48" providerId="ADAL" clId="{6ECD27E6-B224-41CD-B4E0-E297462320DD}" dt="2023-11-24T11:39:00.572" v="137773"/>
          <ac:spMkLst>
            <pc:docMk/>
            <pc:sldMk cId="3298264326" sldId="2147478565"/>
            <ac:spMk id="901" creationId="{F3C59CE9-16B4-2AF7-E215-B0A058B423C8}"/>
          </ac:spMkLst>
        </pc:spChg>
        <pc:spChg chg="add del mod">
          <ac:chgData name="Steiner Andreas 6206 ED" userId="e6377c33-a923-4f14-8587-531c474c7b48" providerId="ADAL" clId="{6ECD27E6-B224-41CD-B4E0-E297462320DD}" dt="2023-11-24T11:39:03.620" v="137928"/>
          <ac:spMkLst>
            <pc:docMk/>
            <pc:sldMk cId="3298264326" sldId="2147478565"/>
            <ac:spMk id="902" creationId="{9D746906-4645-84FC-E5CC-5A190ABAD470}"/>
          </ac:spMkLst>
        </pc:spChg>
        <pc:spChg chg="add del mod">
          <ac:chgData name="Steiner Andreas 6206 ED" userId="e6377c33-a923-4f14-8587-531c474c7b48" providerId="ADAL" clId="{6ECD27E6-B224-41CD-B4E0-E297462320DD}" dt="2023-11-24T11:39:06.254" v="138083"/>
          <ac:spMkLst>
            <pc:docMk/>
            <pc:sldMk cId="3298264326" sldId="2147478565"/>
            <ac:spMk id="903" creationId="{585DB01C-58B0-0C20-4218-EDD2F548C3FC}"/>
          </ac:spMkLst>
        </pc:spChg>
        <pc:spChg chg="add del mod">
          <ac:chgData name="Steiner Andreas 6206 ED" userId="e6377c33-a923-4f14-8587-531c474c7b48" providerId="ADAL" clId="{6ECD27E6-B224-41CD-B4E0-E297462320DD}" dt="2023-11-24T11:39:08.748" v="138238"/>
          <ac:spMkLst>
            <pc:docMk/>
            <pc:sldMk cId="3298264326" sldId="2147478565"/>
            <ac:spMk id="904" creationId="{BEEDCB75-7986-CA7E-8472-6E2AF57CD8DA}"/>
          </ac:spMkLst>
        </pc:spChg>
        <pc:spChg chg="add del mod">
          <ac:chgData name="Steiner Andreas 6206 ED" userId="e6377c33-a923-4f14-8587-531c474c7b48" providerId="ADAL" clId="{6ECD27E6-B224-41CD-B4E0-E297462320DD}" dt="2023-11-24T11:39:11.119" v="138393"/>
          <ac:spMkLst>
            <pc:docMk/>
            <pc:sldMk cId="3298264326" sldId="2147478565"/>
            <ac:spMk id="905" creationId="{54299A61-1195-DADC-2530-61A7E9CD7735}"/>
          </ac:spMkLst>
        </pc:spChg>
        <pc:spChg chg="add del mod">
          <ac:chgData name="Steiner Andreas 6206 ED" userId="e6377c33-a923-4f14-8587-531c474c7b48" providerId="ADAL" clId="{6ECD27E6-B224-41CD-B4E0-E297462320DD}" dt="2023-11-24T11:39:13.605" v="138548"/>
          <ac:spMkLst>
            <pc:docMk/>
            <pc:sldMk cId="3298264326" sldId="2147478565"/>
            <ac:spMk id="906" creationId="{CDBE61DB-6AE3-67C8-2768-A2BD3E796A8F}"/>
          </ac:spMkLst>
        </pc:spChg>
        <pc:spChg chg="add del mod">
          <ac:chgData name="Steiner Andreas 6206 ED" userId="e6377c33-a923-4f14-8587-531c474c7b48" providerId="ADAL" clId="{6ECD27E6-B224-41CD-B4E0-E297462320DD}" dt="2023-11-24T11:39:16.301" v="138703"/>
          <ac:spMkLst>
            <pc:docMk/>
            <pc:sldMk cId="3298264326" sldId="2147478565"/>
            <ac:spMk id="907" creationId="{3D535B39-4D30-70D5-1F55-F281E01F7C29}"/>
          </ac:spMkLst>
        </pc:spChg>
        <pc:spChg chg="add del mod">
          <ac:chgData name="Steiner Andreas 6206 ED" userId="e6377c33-a923-4f14-8587-531c474c7b48" providerId="ADAL" clId="{6ECD27E6-B224-41CD-B4E0-E297462320DD}" dt="2023-11-24T11:39:19.111" v="138858"/>
          <ac:spMkLst>
            <pc:docMk/>
            <pc:sldMk cId="3298264326" sldId="2147478565"/>
            <ac:spMk id="908" creationId="{F41BE2E9-D594-2268-EC1B-0B84604EBD5C}"/>
          </ac:spMkLst>
        </pc:spChg>
        <pc:spChg chg="add del mod">
          <ac:chgData name="Steiner Andreas 6206 ED" userId="e6377c33-a923-4f14-8587-531c474c7b48" providerId="ADAL" clId="{6ECD27E6-B224-41CD-B4E0-E297462320DD}" dt="2023-11-24T11:39:21.791" v="139013"/>
          <ac:spMkLst>
            <pc:docMk/>
            <pc:sldMk cId="3298264326" sldId="2147478565"/>
            <ac:spMk id="909" creationId="{7F3B78CD-6C1B-D73A-A1D3-D8C7C26E4139}"/>
          </ac:spMkLst>
        </pc:spChg>
        <pc:spChg chg="add del mod">
          <ac:chgData name="Steiner Andreas 6206 ED" userId="e6377c33-a923-4f14-8587-531c474c7b48" providerId="ADAL" clId="{6ECD27E6-B224-41CD-B4E0-E297462320DD}" dt="2023-11-24T11:39:24.392" v="139168"/>
          <ac:spMkLst>
            <pc:docMk/>
            <pc:sldMk cId="3298264326" sldId="2147478565"/>
            <ac:spMk id="910" creationId="{48642C63-7691-291B-9144-510751CAC083}"/>
          </ac:spMkLst>
        </pc:spChg>
        <pc:spChg chg="add del mod">
          <ac:chgData name="Steiner Andreas 6206 ED" userId="e6377c33-a923-4f14-8587-531c474c7b48" providerId="ADAL" clId="{6ECD27E6-B224-41CD-B4E0-E297462320DD}" dt="2023-11-24T11:39:27.115" v="139323"/>
          <ac:spMkLst>
            <pc:docMk/>
            <pc:sldMk cId="3298264326" sldId="2147478565"/>
            <ac:spMk id="911" creationId="{57445E9D-2D57-BEFB-378A-13E71F0CAAF6}"/>
          </ac:spMkLst>
        </pc:spChg>
        <pc:spChg chg="add del mod">
          <ac:chgData name="Steiner Andreas 6206 ED" userId="e6377c33-a923-4f14-8587-531c474c7b48" providerId="ADAL" clId="{6ECD27E6-B224-41CD-B4E0-E297462320DD}" dt="2023-11-24T11:39:29.760" v="139478"/>
          <ac:spMkLst>
            <pc:docMk/>
            <pc:sldMk cId="3298264326" sldId="2147478565"/>
            <ac:spMk id="912" creationId="{A5C7939C-C727-D2A4-A573-F75CE7815720}"/>
          </ac:spMkLst>
        </pc:spChg>
        <pc:spChg chg="add del mod">
          <ac:chgData name="Steiner Andreas 6206 ED" userId="e6377c33-a923-4f14-8587-531c474c7b48" providerId="ADAL" clId="{6ECD27E6-B224-41CD-B4E0-E297462320DD}" dt="2023-11-24T11:39:32.840" v="139633"/>
          <ac:spMkLst>
            <pc:docMk/>
            <pc:sldMk cId="3298264326" sldId="2147478565"/>
            <ac:spMk id="913" creationId="{98BE50FF-085F-AF46-67BA-BED4E3160060}"/>
          </ac:spMkLst>
        </pc:spChg>
        <pc:spChg chg="add del mod">
          <ac:chgData name="Steiner Andreas 6206 ED" userId="e6377c33-a923-4f14-8587-531c474c7b48" providerId="ADAL" clId="{6ECD27E6-B224-41CD-B4E0-E297462320DD}" dt="2023-11-24T11:39:35.480" v="139788"/>
          <ac:spMkLst>
            <pc:docMk/>
            <pc:sldMk cId="3298264326" sldId="2147478565"/>
            <ac:spMk id="914" creationId="{E5F68519-05EB-554C-33E7-0DE5E5BC5006}"/>
          </ac:spMkLst>
        </pc:spChg>
        <pc:spChg chg="add del mod">
          <ac:chgData name="Steiner Andreas 6206 ED" userId="e6377c33-a923-4f14-8587-531c474c7b48" providerId="ADAL" clId="{6ECD27E6-B224-41CD-B4E0-E297462320DD}" dt="2023-11-24T11:39:38.439" v="139943"/>
          <ac:spMkLst>
            <pc:docMk/>
            <pc:sldMk cId="3298264326" sldId="2147478565"/>
            <ac:spMk id="915" creationId="{3889BCCE-F86D-C3FD-734D-99A1BB44433A}"/>
          </ac:spMkLst>
        </pc:spChg>
        <pc:spChg chg="add del mod">
          <ac:chgData name="Steiner Andreas 6206 ED" userId="e6377c33-a923-4f14-8587-531c474c7b48" providerId="ADAL" clId="{6ECD27E6-B224-41CD-B4E0-E297462320DD}" dt="2023-11-24T11:39:41.089" v="140098"/>
          <ac:spMkLst>
            <pc:docMk/>
            <pc:sldMk cId="3298264326" sldId="2147478565"/>
            <ac:spMk id="916" creationId="{2C938EF0-C58B-F12C-69B3-76EF6D432888}"/>
          </ac:spMkLst>
        </pc:spChg>
        <pc:spChg chg="add del mod">
          <ac:chgData name="Steiner Andreas 6206 ED" userId="e6377c33-a923-4f14-8587-531c474c7b48" providerId="ADAL" clId="{6ECD27E6-B224-41CD-B4E0-E297462320DD}" dt="2023-11-24T11:39:43.769" v="140253"/>
          <ac:spMkLst>
            <pc:docMk/>
            <pc:sldMk cId="3298264326" sldId="2147478565"/>
            <ac:spMk id="917" creationId="{89F19212-D9A4-4682-5359-F2900DE5D58E}"/>
          </ac:spMkLst>
        </pc:spChg>
        <pc:spChg chg="add del mod">
          <ac:chgData name="Steiner Andreas 6206 ED" userId="e6377c33-a923-4f14-8587-531c474c7b48" providerId="ADAL" clId="{6ECD27E6-B224-41CD-B4E0-E297462320DD}" dt="2023-11-24T11:39:46.263" v="140408"/>
          <ac:spMkLst>
            <pc:docMk/>
            <pc:sldMk cId="3298264326" sldId="2147478565"/>
            <ac:spMk id="918" creationId="{92CB219C-2E9B-4066-A7A8-80BBE7F1E8C1}"/>
          </ac:spMkLst>
        </pc:spChg>
        <pc:spChg chg="add del mod">
          <ac:chgData name="Steiner Andreas 6206 ED" userId="e6377c33-a923-4f14-8587-531c474c7b48" providerId="ADAL" clId="{6ECD27E6-B224-41CD-B4E0-E297462320DD}" dt="2023-11-24T11:39:48.701" v="140563"/>
          <ac:spMkLst>
            <pc:docMk/>
            <pc:sldMk cId="3298264326" sldId="2147478565"/>
            <ac:spMk id="919" creationId="{2473B8E1-545E-43DB-652F-D59A8105C28E}"/>
          </ac:spMkLst>
        </pc:spChg>
        <pc:spChg chg="add del mod">
          <ac:chgData name="Steiner Andreas 6206 ED" userId="e6377c33-a923-4f14-8587-531c474c7b48" providerId="ADAL" clId="{6ECD27E6-B224-41CD-B4E0-E297462320DD}" dt="2023-11-24T11:39:51.693" v="140718"/>
          <ac:spMkLst>
            <pc:docMk/>
            <pc:sldMk cId="3298264326" sldId="2147478565"/>
            <ac:spMk id="920" creationId="{A2033385-13E1-9FAB-5438-5298C8D7E26B}"/>
          </ac:spMkLst>
        </pc:spChg>
        <pc:spChg chg="add del mod">
          <ac:chgData name="Steiner Andreas 6206 ED" userId="e6377c33-a923-4f14-8587-531c474c7b48" providerId="ADAL" clId="{6ECD27E6-B224-41CD-B4E0-E297462320DD}" dt="2023-11-24T11:39:54.602" v="140873"/>
          <ac:spMkLst>
            <pc:docMk/>
            <pc:sldMk cId="3298264326" sldId="2147478565"/>
            <ac:spMk id="921" creationId="{CB5B8CC9-0E8F-488E-5E6C-B8C456D01A20}"/>
          </ac:spMkLst>
        </pc:spChg>
        <pc:spChg chg="add del mod">
          <ac:chgData name="Steiner Andreas 6206 ED" userId="e6377c33-a923-4f14-8587-531c474c7b48" providerId="ADAL" clId="{6ECD27E6-B224-41CD-B4E0-E297462320DD}" dt="2023-11-24T11:39:57.094" v="141028"/>
          <ac:spMkLst>
            <pc:docMk/>
            <pc:sldMk cId="3298264326" sldId="2147478565"/>
            <ac:spMk id="922" creationId="{F77B4567-E710-A04E-97F5-A80C57665954}"/>
          </ac:spMkLst>
        </pc:spChg>
        <pc:spChg chg="add del mod">
          <ac:chgData name="Steiner Andreas 6206 ED" userId="e6377c33-a923-4f14-8587-531c474c7b48" providerId="ADAL" clId="{6ECD27E6-B224-41CD-B4E0-E297462320DD}" dt="2023-11-24T11:39:59.463" v="141183"/>
          <ac:spMkLst>
            <pc:docMk/>
            <pc:sldMk cId="3298264326" sldId="2147478565"/>
            <ac:spMk id="923" creationId="{B0202ED0-69D7-C7A5-B7CC-B8107764A94E}"/>
          </ac:spMkLst>
        </pc:spChg>
        <pc:spChg chg="add del mod">
          <ac:chgData name="Steiner Andreas 6206 ED" userId="e6377c33-a923-4f14-8587-531c474c7b48" providerId="ADAL" clId="{6ECD27E6-B224-41CD-B4E0-E297462320DD}" dt="2023-11-24T11:40:02.266" v="141338"/>
          <ac:spMkLst>
            <pc:docMk/>
            <pc:sldMk cId="3298264326" sldId="2147478565"/>
            <ac:spMk id="924" creationId="{2110F0DD-0700-96FD-BE7E-352FF9AE69FE}"/>
          </ac:spMkLst>
        </pc:spChg>
        <pc:spChg chg="add del mod">
          <ac:chgData name="Steiner Andreas 6206 ED" userId="e6377c33-a923-4f14-8587-531c474c7b48" providerId="ADAL" clId="{6ECD27E6-B224-41CD-B4E0-E297462320DD}" dt="2023-11-24T11:40:05.067" v="141493"/>
          <ac:spMkLst>
            <pc:docMk/>
            <pc:sldMk cId="3298264326" sldId="2147478565"/>
            <ac:spMk id="925" creationId="{7C04A5B0-4195-9DA7-1ABB-0C9708C78AA4}"/>
          </ac:spMkLst>
        </pc:spChg>
        <pc:spChg chg="add del mod">
          <ac:chgData name="Steiner Andreas 6206 ED" userId="e6377c33-a923-4f14-8587-531c474c7b48" providerId="ADAL" clId="{6ECD27E6-B224-41CD-B4E0-E297462320DD}" dt="2023-11-24T11:40:07.811" v="141648"/>
          <ac:spMkLst>
            <pc:docMk/>
            <pc:sldMk cId="3298264326" sldId="2147478565"/>
            <ac:spMk id="926" creationId="{53CEF938-B8B0-219B-4623-95FAAC8CB3EE}"/>
          </ac:spMkLst>
        </pc:spChg>
        <pc:spChg chg="add del mod">
          <ac:chgData name="Steiner Andreas 6206 ED" userId="e6377c33-a923-4f14-8587-531c474c7b48" providerId="ADAL" clId="{6ECD27E6-B224-41CD-B4E0-E297462320DD}" dt="2023-11-24T11:40:10.264" v="141803"/>
          <ac:spMkLst>
            <pc:docMk/>
            <pc:sldMk cId="3298264326" sldId="2147478565"/>
            <ac:spMk id="927" creationId="{D714D739-A441-5418-11C8-CE0766EAD6CD}"/>
          </ac:spMkLst>
        </pc:spChg>
        <pc:spChg chg="add del mod">
          <ac:chgData name="Steiner Andreas 6206 ED" userId="e6377c33-a923-4f14-8587-531c474c7b48" providerId="ADAL" clId="{6ECD27E6-B224-41CD-B4E0-E297462320DD}" dt="2023-11-24T11:40:12.728" v="141958"/>
          <ac:spMkLst>
            <pc:docMk/>
            <pc:sldMk cId="3298264326" sldId="2147478565"/>
            <ac:spMk id="928" creationId="{2B1A48B7-2E5C-6D83-B19D-DA2DFDB5D0C1}"/>
          </ac:spMkLst>
        </pc:spChg>
        <pc:spChg chg="add del mod">
          <ac:chgData name="Steiner Andreas 6206 ED" userId="e6377c33-a923-4f14-8587-531c474c7b48" providerId="ADAL" clId="{6ECD27E6-B224-41CD-B4E0-E297462320DD}" dt="2023-11-24T11:40:16.660" v="142113"/>
          <ac:spMkLst>
            <pc:docMk/>
            <pc:sldMk cId="3298264326" sldId="2147478565"/>
            <ac:spMk id="929" creationId="{F4385C3E-B2D9-2F22-9A80-AD62ABE93093}"/>
          </ac:spMkLst>
        </pc:spChg>
        <pc:spChg chg="add del mod">
          <ac:chgData name="Steiner Andreas 6206 ED" userId="e6377c33-a923-4f14-8587-531c474c7b48" providerId="ADAL" clId="{6ECD27E6-B224-41CD-B4E0-E297462320DD}" dt="2023-11-24T11:40:19.922" v="142268"/>
          <ac:spMkLst>
            <pc:docMk/>
            <pc:sldMk cId="3298264326" sldId="2147478565"/>
            <ac:spMk id="930" creationId="{7F19127C-2CB5-32B0-DB75-32EDA3D78E71}"/>
          </ac:spMkLst>
        </pc:spChg>
        <pc:spChg chg="add del mod">
          <ac:chgData name="Steiner Andreas 6206 ED" userId="e6377c33-a923-4f14-8587-531c474c7b48" providerId="ADAL" clId="{6ECD27E6-B224-41CD-B4E0-E297462320DD}" dt="2023-11-24T11:40:22.684" v="142423"/>
          <ac:spMkLst>
            <pc:docMk/>
            <pc:sldMk cId="3298264326" sldId="2147478565"/>
            <ac:spMk id="931" creationId="{2C47206E-7777-7384-0537-2196AE1B0108}"/>
          </ac:spMkLst>
        </pc:spChg>
        <pc:spChg chg="add del mod">
          <ac:chgData name="Steiner Andreas 6206 ED" userId="e6377c33-a923-4f14-8587-531c474c7b48" providerId="ADAL" clId="{6ECD27E6-B224-41CD-B4E0-E297462320DD}" dt="2023-11-24T11:40:25.388" v="142578"/>
          <ac:spMkLst>
            <pc:docMk/>
            <pc:sldMk cId="3298264326" sldId="2147478565"/>
            <ac:spMk id="932" creationId="{7E1E1FB3-7998-D70E-E298-B8D639214529}"/>
          </ac:spMkLst>
        </pc:spChg>
        <pc:spChg chg="add del mod">
          <ac:chgData name="Steiner Andreas 6206 ED" userId="e6377c33-a923-4f14-8587-531c474c7b48" providerId="ADAL" clId="{6ECD27E6-B224-41CD-B4E0-E297462320DD}" dt="2023-11-24T11:40:28.483" v="142733"/>
          <ac:spMkLst>
            <pc:docMk/>
            <pc:sldMk cId="3298264326" sldId="2147478565"/>
            <ac:spMk id="933" creationId="{F07D929A-F1E5-64DC-90A8-5FD83C838B14}"/>
          </ac:spMkLst>
        </pc:spChg>
        <pc:spChg chg="add del mod">
          <ac:chgData name="Steiner Andreas 6206 ED" userId="e6377c33-a923-4f14-8587-531c474c7b48" providerId="ADAL" clId="{6ECD27E6-B224-41CD-B4E0-E297462320DD}" dt="2023-11-24T11:40:31.132" v="142888"/>
          <ac:spMkLst>
            <pc:docMk/>
            <pc:sldMk cId="3298264326" sldId="2147478565"/>
            <ac:spMk id="934" creationId="{D8E4C1F1-05EF-7C75-487E-D0853F2F2385}"/>
          </ac:spMkLst>
        </pc:spChg>
        <pc:spChg chg="add del mod">
          <ac:chgData name="Steiner Andreas 6206 ED" userId="e6377c33-a923-4f14-8587-531c474c7b48" providerId="ADAL" clId="{6ECD27E6-B224-41CD-B4E0-E297462320DD}" dt="2023-11-24T11:40:33.681" v="143043"/>
          <ac:spMkLst>
            <pc:docMk/>
            <pc:sldMk cId="3298264326" sldId="2147478565"/>
            <ac:spMk id="935" creationId="{0E56E31F-A770-89CA-BE21-66327CA5D5CB}"/>
          </ac:spMkLst>
        </pc:spChg>
        <pc:spChg chg="add del mod">
          <ac:chgData name="Steiner Andreas 6206 ED" userId="e6377c33-a923-4f14-8587-531c474c7b48" providerId="ADAL" clId="{6ECD27E6-B224-41CD-B4E0-E297462320DD}" dt="2023-11-24T11:40:36.478" v="143198"/>
          <ac:spMkLst>
            <pc:docMk/>
            <pc:sldMk cId="3298264326" sldId="2147478565"/>
            <ac:spMk id="936" creationId="{1E5BB2BD-FFDA-51B8-40BC-5AF0E7D3F4C3}"/>
          </ac:spMkLst>
        </pc:spChg>
        <pc:spChg chg="add del mod">
          <ac:chgData name="Steiner Andreas 6206 ED" userId="e6377c33-a923-4f14-8587-531c474c7b48" providerId="ADAL" clId="{6ECD27E6-B224-41CD-B4E0-E297462320DD}" dt="2023-11-24T11:40:39.516" v="143353"/>
          <ac:spMkLst>
            <pc:docMk/>
            <pc:sldMk cId="3298264326" sldId="2147478565"/>
            <ac:spMk id="937" creationId="{F02395D4-5A74-1087-BA16-09A48ABF896B}"/>
          </ac:spMkLst>
        </pc:spChg>
        <pc:spChg chg="add del mod">
          <ac:chgData name="Steiner Andreas 6206 ED" userId="e6377c33-a923-4f14-8587-531c474c7b48" providerId="ADAL" clId="{6ECD27E6-B224-41CD-B4E0-E297462320DD}" dt="2023-11-24T11:40:42.410" v="143508"/>
          <ac:spMkLst>
            <pc:docMk/>
            <pc:sldMk cId="3298264326" sldId="2147478565"/>
            <ac:spMk id="938" creationId="{6F9BCE76-AE86-2688-40F0-70B7F6A19466}"/>
          </ac:spMkLst>
        </pc:spChg>
        <pc:spChg chg="add del mod">
          <ac:chgData name="Steiner Andreas 6206 ED" userId="e6377c33-a923-4f14-8587-531c474c7b48" providerId="ADAL" clId="{6ECD27E6-B224-41CD-B4E0-E297462320DD}" dt="2023-11-24T11:40:45.071" v="143663"/>
          <ac:spMkLst>
            <pc:docMk/>
            <pc:sldMk cId="3298264326" sldId="2147478565"/>
            <ac:spMk id="939" creationId="{5A4B70E5-AA0A-4B96-A307-EC7FCBC8FDDF}"/>
          </ac:spMkLst>
        </pc:spChg>
        <pc:spChg chg="add del mod">
          <ac:chgData name="Steiner Andreas 6206 ED" userId="e6377c33-a923-4f14-8587-531c474c7b48" providerId="ADAL" clId="{6ECD27E6-B224-41CD-B4E0-E297462320DD}" dt="2023-11-24T11:40:47.833" v="143818"/>
          <ac:spMkLst>
            <pc:docMk/>
            <pc:sldMk cId="3298264326" sldId="2147478565"/>
            <ac:spMk id="940" creationId="{F5D89AC2-FE55-FCE7-44F5-407FF80E0294}"/>
          </ac:spMkLst>
        </pc:spChg>
        <pc:spChg chg="add del mod">
          <ac:chgData name="Steiner Andreas 6206 ED" userId="e6377c33-a923-4f14-8587-531c474c7b48" providerId="ADAL" clId="{6ECD27E6-B224-41CD-B4E0-E297462320DD}" dt="2023-11-24T11:40:50.633" v="143973"/>
          <ac:spMkLst>
            <pc:docMk/>
            <pc:sldMk cId="3298264326" sldId="2147478565"/>
            <ac:spMk id="941" creationId="{EF7C4F6E-E89C-0965-F273-F67C10BBCDE5}"/>
          </ac:spMkLst>
        </pc:spChg>
        <pc:spChg chg="add del mod">
          <ac:chgData name="Steiner Andreas 6206 ED" userId="e6377c33-a923-4f14-8587-531c474c7b48" providerId="ADAL" clId="{6ECD27E6-B224-41CD-B4E0-E297462320DD}" dt="2023-11-24T11:40:53.494" v="144128"/>
          <ac:spMkLst>
            <pc:docMk/>
            <pc:sldMk cId="3298264326" sldId="2147478565"/>
            <ac:spMk id="942" creationId="{DF80D091-9394-D795-8337-8E2E67060B2D}"/>
          </ac:spMkLst>
        </pc:spChg>
        <pc:spChg chg="add del mod">
          <ac:chgData name="Steiner Andreas 6206 ED" userId="e6377c33-a923-4f14-8587-531c474c7b48" providerId="ADAL" clId="{6ECD27E6-B224-41CD-B4E0-E297462320DD}" dt="2023-11-24T11:40:56.231" v="144283"/>
          <ac:spMkLst>
            <pc:docMk/>
            <pc:sldMk cId="3298264326" sldId="2147478565"/>
            <ac:spMk id="943" creationId="{AEE2BF71-3F4E-F3FB-2961-8E5DB6067CE2}"/>
          </ac:spMkLst>
        </pc:spChg>
        <pc:spChg chg="add del mod">
          <ac:chgData name="Steiner Andreas 6206 ED" userId="e6377c33-a923-4f14-8587-531c474c7b48" providerId="ADAL" clId="{6ECD27E6-B224-41CD-B4E0-E297462320DD}" dt="2023-11-24T11:40:58.758" v="144438"/>
          <ac:spMkLst>
            <pc:docMk/>
            <pc:sldMk cId="3298264326" sldId="2147478565"/>
            <ac:spMk id="944" creationId="{C01DF57D-EB56-83F1-25C8-48628666D0DB}"/>
          </ac:spMkLst>
        </pc:spChg>
        <pc:spChg chg="add del mod">
          <ac:chgData name="Steiner Andreas 6206 ED" userId="e6377c33-a923-4f14-8587-531c474c7b48" providerId="ADAL" clId="{6ECD27E6-B224-41CD-B4E0-E297462320DD}" dt="2023-11-24T11:41:01.349" v="144593"/>
          <ac:spMkLst>
            <pc:docMk/>
            <pc:sldMk cId="3298264326" sldId="2147478565"/>
            <ac:spMk id="945" creationId="{5EE0A51B-FFC7-CA2E-BFB7-2649C407ADE0}"/>
          </ac:spMkLst>
        </pc:spChg>
        <pc:spChg chg="add del mod">
          <ac:chgData name="Steiner Andreas 6206 ED" userId="e6377c33-a923-4f14-8587-531c474c7b48" providerId="ADAL" clId="{6ECD27E6-B224-41CD-B4E0-E297462320DD}" dt="2023-11-24T11:41:04.065" v="144748"/>
          <ac:spMkLst>
            <pc:docMk/>
            <pc:sldMk cId="3298264326" sldId="2147478565"/>
            <ac:spMk id="946" creationId="{034A01B8-E1F2-6227-A0F3-CC8DA04484B2}"/>
          </ac:spMkLst>
        </pc:spChg>
        <pc:spChg chg="add del mod">
          <ac:chgData name="Steiner Andreas 6206 ED" userId="e6377c33-a923-4f14-8587-531c474c7b48" providerId="ADAL" clId="{6ECD27E6-B224-41CD-B4E0-E297462320DD}" dt="2023-11-24T11:41:07.127" v="144903"/>
          <ac:spMkLst>
            <pc:docMk/>
            <pc:sldMk cId="3298264326" sldId="2147478565"/>
            <ac:spMk id="947" creationId="{503D33D1-566D-A172-B1B3-A6BEB2638DF2}"/>
          </ac:spMkLst>
        </pc:spChg>
        <pc:spChg chg="add del mod">
          <ac:chgData name="Steiner Andreas 6206 ED" userId="e6377c33-a923-4f14-8587-531c474c7b48" providerId="ADAL" clId="{6ECD27E6-B224-41CD-B4E0-E297462320DD}" dt="2023-11-24T11:41:10.230" v="145058"/>
          <ac:spMkLst>
            <pc:docMk/>
            <pc:sldMk cId="3298264326" sldId="2147478565"/>
            <ac:spMk id="948" creationId="{88E4EE32-F871-8150-7D3E-70770AC4146D}"/>
          </ac:spMkLst>
        </pc:spChg>
        <pc:spChg chg="add del mod">
          <ac:chgData name="Steiner Andreas 6206 ED" userId="e6377c33-a923-4f14-8587-531c474c7b48" providerId="ADAL" clId="{6ECD27E6-B224-41CD-B4E0-E297462320DD}" dt="2023-11-24T11:41:13.128" v="145213"/>
          <ac:spMkLst>
            <pc:docMk/>
            <pc:sldMk cId="3298264326" sldId="2147478565"/>
            <ac:spMk id="949" creationId="{A9C0C1D9-CA89-1757-0801-C32C36F28863}"/>
          </ac:spMkLst>
        </pc:spChg>
        <pc:spChg chg="add del mod">
          <ac:chgData name="Steiner Andreas 6206 ED" userId="e6377c33-a923-4f14-8587-531c474c7b48" providerId="ADAL" clId="{6ECD27E6-B224-41CD-B4E0-E297462320DD}" dt="2023-11-24T11:41:16.151" v="145368"/>
          <ac:spMkLst>
            <pc:docMk/>
            <pc:sldMk cId="3298264326" sldId="2147478565"/>
            <ac:spMk id="950" creationId="{B6FFCA18-EEA1-4033-F845-2D139CDA1873}"/>
          </ac:spMkLst>
        </pc:spChg>
        <pc:spChg chg="add del mod">
          <ac:chgData name="Steiner Andreas 6206 ED" userId="e6377c33-a923-4f14-8587-531c474c7b48" providerId="ADAL" clId="{6ECD27E6-B224-41CD-B4E0-E297462320DD}" dt="2023-11-24T11:41:19.400" v="145523"/>
          <ac:spMkLst>
            <pc:docMk/>
            <pc:sldMk cId="3298264326" sldId="2147478565"/>
            <ac:spMk id="951" creationId="{18EF7A0B-184E-5523-9615-B84CFACE6CFF}"/>
          </ac:spMkLst>
        </pc:spChg>
        <pc:spChg chg="add del mod">
          <ac:chgData name="Steiner Andreas 6206 ED" userId="e6377c33-a923-4f14-8587-531c474c7b48" providerId="ADAL" clId="{6ECD27E6-B224-41CD-B4E0-E297462320DD}" dt="2023-11-24T11:41:21.932" v="145678"/>
          <ac:spMkLst>
            <pc:docMk/>
            <pc:sldMk cId="3298264326" sldId="2147478565"/>
            <ac:spMk id="952" creationId="{E02B59B6-12AA-A659-A4E2-ED1F739DC998}"/>
          </ac:spMkLst>
        </pc:spChg>
        <pc:spChg chg="add del mod">
          <ac:chgData name="Steiner Andreas 6206 ED" userId="e6377c33-a923-4f14-8587-531c474c7b48" providerId="ADAL" clId="{6ECD27E6-B224-41CD-B4E0-E297462320DD}" dt="2023-11-24T11:41:25.790" v="145833"/>
          <ac:spMkLst>
            <pc:docMk/>
            <pc:sldMk cId="3298264326" sldId="2147478565"/>
            <ac:spMk id="953" creationId="{662EE3B7-A2A1-DE0B-61D4-E6DF40D67731}"/>
          </ac:spMkLst>
        </pc:spChg>
        <pc:spChg chg="add del mod">
          <ac:chgData name="Steiner Andreas 6206 ED" userId="e6377c33-a923-4f14-8587-531c474c7b48" providerId="ADAL" clId="{6ECD27E6-B224-41CD-B4E0-E297462320DD}" dt="2023-11-24T11:41:28.849" v="145988"/>
          <ac:spMkLst>
            <pc:docMk/>
            <pc:sldMk cId="3298264326" sldId="2147478565"/>
            <ac:spMk id="954" creationId="{3E4D933D-C0E6-0AAA-744F-2C6E2B64E7B0}"/>
          </ac:spMkLst>
        </pc:spChg>
        <pc:spChg chg="add del mod">
          <ac:chgData name="Steiner Andreas 6206 ED" userId="e6377c33-a923-4f14-8587-531c474c7b48" providerId="ADAL" clId="{6ECD27E6-B224-41CD-B4E0-E297462320DD}" dt="2023-11-24T11:41:31.457" v="146143"/>
          <ac:spMkLst>
            <pc:docMk/>
            <pc:sldMk cId="3298264326" sldId="2147478565"/>
            <ac:spMk id="955" creationId="{63EA4EF0-52C3-A280-4B34-56CC9A262FE6}"/>
          </ac:spMkLst>
        </pc:spChg>
        <pc:spChg chg="add del mod">
          <ac:chgData name="Steiner Andreas 6206 ED" userId="e6377c33-a923-4f14-8587-531c474c7b48" providerId="ADAL" clId="{6ECD27E6-B224-41CD-B4E0-E297462320DD}" dt="2023-11-24T11:41:33.615" v="146298"/>
          <ac:spMkLst>
            <pc:docMk/>
            <pc:sldMk cId="3298264326" sldId="2147478565"/>
            <ac:spMk id="956" creationId="{10E88298-6607-A726-4BA7-04F4F76C4731}"/>
          </ac:spMkLst>
        </pc:spChg>
        <pc:spChg chg="add del mod">
          <ac:chgData name="Steiner Andreas 6206 ED" userId="e6377c33-a923-4f14-8587-531c474c7b48" providerId="ADAL" clId="{6ECD27E6-B224-41CD-B4E0-E297462320DD}" dt="2023-11-24T11:41:35.739" v="146453"/>
          <ac:spMkLst>
            <pc:docMk/>
            <pc:sldMk cId="3298264326" sldId="2147478565"/>
            <ac:spMk id="957" creationId="{1EFA3CDC-86E8-D1E9-76AB-598610F4C8CA}"/>
          </ac:spMkLst>
        </pc:spChg>
        <pc:spChg chg="add del mod">
          <ac:chgData name="Steiner Andreas 6206 ED" userId="e6377c33-a923-4f14-8587-531c474c7b48" providerId="ADAL" clId="{6ECD27E6-B224-41CD-B4E0-E297462320DD}" dt="2023-11-24T11:41:37.958" v="146608"/>
          <ac:spMkLst>
            <pc:docMk/>
            <pc:sldMk cId="3298264326" sldId="2147478565"/>
            <ac:spMk id="958" creationId="{9AFD50AB-41E2-9797-FFB8-904509542567}"/>
          </ac:spMkLst>
        </pc:spChg>
        <pc:spChg chg="add del mod">
          <ac:chgData name="Steiner Andreas 6206 ED" userId="e6377c33-a923-4f14-8587-531c474c7b48" providerId="ADAL" clId="{6ECD27E6-B224-41CD-B4E0-E297462320DD}" dt="2023-11-24T11:41:40.747" v="146763"/>
          <ac:spMkLst>
            <pc:docMk/>
            <pc:sldMk cId="3298264326" sldId="2147478565"/>
            <ac:spMk id="959" creationId="{21484FA6-DDB7-F54C-A249-09C8DEC91666}"/>
          </ac:spMkLst>
        </pc:spChg>
        <pc:spChg chg="add del mod">
          <ac:chgData name="Steiner Andreas 6206 ED" userId="e6377c33-a923-4f14-8587-531c474c7b48" providerId="ADAL" clId="{6ECD27E6-B224-41CD-B4E0-E297462320DD}" dt="2023-11-24T11:41:42.865" v="146918"/>
          <ac:spMkLst>
            <pc:docMk/>
            <pc:sldMk cId="3298264326" sldId="2147478565"/>
            <ac:spMk id="960" creationId="{D43F6AD6-66E6-FD34-0FD9-A4369F0B68C0}"/>
          </ac:spMkLst>
        </pc:spChg>
        <pc:spChg chg="add del mod">
          <ac:chgData name="Steiner Andreas 6206 ED" userId="e6377c33-a923-4f14-8587-531c474c7b48" providerId="ADAL" clId="{6ECD27E6-B224-41CD-B4E0-E297462320DD}" dt="2023-11-24T11:41:44.938" v="147073"/>
          <ac:spMkLst>
            <pc:docMk/>
            <pc:sldMk cId="3298264326" sldId="2147478565"/>
            <ac:spMk id="961" creationId="{5A84E09A-C5E5-739D-61A2-849465676C5F}"/>
          </ac:spMkLst>
        </pc:spChg>
        <pc:spChg chg="add del mod">
          <ac:chgData name="Steiner Andreas 6206 ED" userId="e6377c33-a923-4f14-8587-531c474c7b48" providerId="ADAL" clId="{6ECD27E6-B224-41CD-B4E0-E297462320DD}" dt="2023-11-24T11:41:47.466" v="147228"/>
          <ac:spMkLst>
            <pc:docMk/>
            <pc:sldMk cId="3298264326" sldId="2147478565"/>
            <ac:spMk id="962" creationId="{D769D006-A54C-3528-4F1B-342CBB4ACA1A}"/>
          </ac:spMkLst>
        </pc:spChg>
        <pc:spChg chg="add del mod">
          <ac:chgData name="Steiner Andreas 6206 ED" userId="e6377c33-a923-4f14-8587-531c474c7b48" providerId="ADAL" clId="{6ECD27E6-B224-41CD-B4E0-E297462320DD}" dt="2023-11-24T11:41:49.564" v="147383"/>
          <ac:spMkLst>
            <pc:docMk/>
            <pc:sldMk cId="3298264326" sldId="2147478565"/>
            <ac:spMk id="963" creationId="{F829F823-EB14-37F8-8B75-8C39C2F0FC69}"/>
          </ac:spMkLst>
        </pc:spChg>
        <pc:spChg chg="add del mod">
          <ac:chgData name="Steiner Andreas 6206 ED" userId="e6377c33-a923-4f14-8587-531c474c7b48" providerId="ADAL" clId="{6ECD27E6-B224-41CD-B4E0-E297462320DD}" dt="2023-11-24T11:41:51.933" v="147538"/>
          <ac:spMkLst>
            <pc:docMk/>
            <pc:sldMk cId="3298264326" sldId="2147478565"/>
            <ac:spMk id="964" creationId="{BAE70E1C-BE47-4A61-731D-43209FAB6A2D}"/>
          </ac:spMkLst>
        </pc:spChg>
        <pc:spChg chg="add del mod">
          <ac:chgData name="Steiner Andreas 6206 ED" userId="e6377c33-a923-4f14-8587-531c474c7b48" providerId="ADAL" clId="{6ECD27E6-B224-41CD-B4E0-E297462320DD}" dt="2023-11-24T11:41:54.302" v="147693"/>
          <ac:spMkLst>
            <pc:docMk/>
            <pc:sldMk cId="3298264326" sldId="2147478565"/>
            <ac:spMk id="965" creationId="{0075F95C-ED15-D9A2-63EC-FF4977B01351}"/>
          </ac:spMkLst>
        </pc:spChg>
        <pc:spChg chg="add del mod">
          <ac:chgData name="Steiner Andreas 6206 ED" userId="e6377c33-a923-4f14-8587-531c474c7b48" providerId="ADAL" clId="{6ECD27E6-B224-41CD-B4E0-E297462320DD}" dt="2023-11-24T11:41:57.508" v="147848"/>
          <ac:spMkLst>
            <pc:docMk/>
            <pc:sldMk cId="3298264326" sldId="2147478565"/>
            <ac:spMk id="966" creationId="{58145E13-5EAC-ED8A-71AC-96B8C6513A02}"/>
          </ac:spMkLst>
        </pc:spChg>
        <pc:spChg chg="add del mod">
          <ac:chgData name="Steiner Andreas 6206 ED" userId="e6377c33-a923-4f14-8587-531c474c7b48" providerId="ADAL" clId="{6ECD27E6-B224-41CD-B4E0-E297462320DD}" dt="2023-11-24T11:42:00.918" v="148003"/>
          <ac:spMkLst>
            <pc:docMk/>
            <pc:sldMk cId="3298264326" sldId="2147478565"/>
            <ac:spMk id="967" creationId="{3C42449C-9F00-77B9-BF28-DD4713BEF780}"/>
          </ac:spMkLst>
        </pc:spChg>
        <pc:spChg chg="add del mod">
          <ac:chgData name="Steiner Andreas 6206 ED" userId="e6377c33-a923-4f14-8587-531c474c7b48" providerId="ADAL" clId="{6ECD27E6-B224-41CD-B4E0-E297462320DD}" dt="2023-11-24T11:42:04.129" v="148158"/>
          <ac:spMkLst>
            <pc:docMk/>
            <pc:sldMk cId="3298264326" sldId="2147478565"/>
            <ac:spMk id="968" creationId="{0612008F-2395-74E7-A2A7-B097176AAFED}"/>
          </ac:spMkLst>
        </pc:spChg>
        <pc:spChg chg="add del mod">
          <ac:chgData name="Steiner Andreas 6206 ED" userId="e6377c33-a923-4f14-8587-531c474c7b48" providerId="ADAL" clId="{6ECD27E6-B224-41CD-B4E0-E297462320DD}" dt="2023-11-24T11:42:06.635" v="148313"/>
          <ac:spMkLst>
            <pc:docMk/>
            <pc:sldMk cId="3298264326" sldId="2147478565"/>
            <ac:spMk id="969" creationId="{BC23CF9D-B885-61EE-B247-974A34B7A1DE}"/>
          </ac:spMkLst>
        </pc:spChg>
        <pc:spChg chg="add del mod">
          <ac:chgData name="Steiner Andreas 6206 ED" userId="e6377c33-a923-4f14-8587-531c474c7b48" providerId="ADAL" clId="{6ECD27E6-B224-41CD-B4E0-E297462320DD}" dt="2023-11-24T11:42:08.890" v="148468"/>
          <ac:spMkLst>
            <pc:docMk/>
            <pc:sldMk cId="3298264326" sldId="2147478565"/>
            <ac:spMk id="970" creationId="{B7720FA5-B1EE-1AEC-B67F-9AFA1AC8009B}"/>
          </ac:spMkLst>
        </pc:spChg>
        <pc:spChg chg="add del mod">
          <ac:chgData name="Steiner Andreas 6206 ED" userId="e6377c33-a923-4f14-8587-531c474c7b48" providerId="ADAL" clId="{6ECD27E6-B224-41CD-B4E0-E297462320DD}" dt="2023-11-24T11:42:11.485" v="148623"/>
          <ac:spMkLst>
            <pc:docMk/>
            <pc:sldMk cId="3298264326" sldId="2147478565"/>
            <ac:spMk id="971" creationId="{F2EA4C85-9E1C-5643-9403-E11B7A5FFC25}"/>
          </ac:spMkLst>
        </pc:spChg>
        <pc:spChg chg="add del mod">
          <ac:chgData name="Steiner Andreas 6206 ED" userId="e6377c33-a923-4f14-8587-531c474c7b48" providerId="ADAL" clId="{6ECD27E6-B224-41CD-B4E0-E297462320DD}" dt="2023-11-24T11:42:14.104" v="148778"/>
          <ac:spMkLst>
            <pc:docMk/>
            <pc:sldMk cId="3298264326" sldId="2147478565"/>
            <ac:spMk id="972" creationId="{ACC24429-7F7A-246D-34E1-A4C886DE122E}"/>
          </ac:spMkLst>
        </pc:spChg>
        <pc:spChg chg="add del mod">
          <ac:chgData name="Steiner Andreas 6206 ED" userId="e6377c33-a923-4f14-8587-531c474c7b48" providerId="ADAL" clId="{6ECD27E6-B224-41CD-B4E0-E297462320DD}" dt="2023-11-24T11:42:16.358" v="148933"/>
          <ac:spMkLst>
            <pc:docMk/>
            <pc:sldMk cId="3298264326" sldId="2147478565"/>
            <ac:spMk id="973" creationId="{28B9C3DF-5A04-A459-14B0-7ABDCBB946B9}"/>
          </ac:spMkLst>
        </pc:spChg>
        <pc:spChg chg="add del mod">
          <ac:chgData name="Steiner Andreas 6206 ED" userId="e6377c33-a923-4f14-8587-531c474c7b48" providerId="ADAL" clId="{6ECD27E6-B224-41CD-B4E0-E297462320DD}" dt="2023-11-24T11:42:18.482" v="149088"/>
          <ac:spMkLst>
            <pc:docMk/>
            <pc:sldMk cId="3298264326" sldId="2147478565"/>
            <ac:spMk id="974" creationId="{E1BBEED7-64A1-54B5-D5BD-78C946E56CEA}"/>
          </ac:spMkLst>
        </pc:spChg>
        <pc:spChg chg="add del mod">
          <ac:chgData name="Steiner Andreas 6206 ED" userId="e6377c33-a923-4f14-8587-531c474c7b48" providerId="ADAL" clId="{6ECD27E6-B224-41CD-B4E0-E297462320DD}" dt="2023-11-24T11:42:20.517" v="149243"/>
          <ac:spMkLst>
            <pc:docMk/>
            <pc:sldMk cId="3298264326" sldId="2147478565"/>
            <ac:spMk id="975" creationId="{BC43FF5B-0234-F50B-F728-D48C55881326}"/>
          </ac:spMkLst>
        </pc:spChg>
        <pc:spChg chg="add del mod">
          <ac:chgData name="Steiner Andreas 6206 ED" userId="e6377c33-a923-4f14-8587-531c474c7b48" providerId="ADAL" clId="{6ECD27E6-B224-41CD-B4E0-E297462320DD}" dt="2023-11-24T11:42:22.591" v="149398"/>
          <ac:spMkLst>
            <pc:docMk/>
            <pc:sldMk cId="3298264326" sldId="2147478565"/>
            <ac:spMk id="976" creationId="{E7C85C97-1390-C08E-9B54-60C114DA4E1B}"/>
          </ac:spMkLst>
        </pc:spChg>
        <pc:spChg chg="add del mod">
          <ac:chgData name="Steiner Andreas 6206 ED" userId="e6377c33-a923-4f14-8587-531c474c7b48" providerId="ADAL" clId="{6ECD27E6-B224-41CD-B4E0-E297462320DD}" dt="2023-11-24T11:42:24.528" v="149553"/>
          <ac:spMkLst>
            <pc:docMk/>
            <pc:sldMk cId="3298264326" sldId="2147478565"/>
            <ac:spMk id="977" creationId="{31F309BC-BEA2-1390-4049-C1E2971535EA}"/>
          </ac:spMkLst>
        </pc:spChg>
        <pc:spChg chg="add del mod">
          <ac:chgData name="Steiner Andreas 6206 ED" userId="e6377c33-a923-4f14-8587-531c474c7b48" providerId="ADAL" clId="{6ECD27E6-B224-41CD-B4E0-E297462320DD}" dt="2023-11-24T11:42:26.453" v="149708"/>
          <ac:spMkLst>
            <pc:docMk/>
            <pc:sldMk cId="3298264326" sldId="2147478565"/>
            <ac:spMk id="978" creationId="{D986D678-E494-0586-E277-C4488199EF17}"/>
          </ac:spMkLst>
        </pc:spChg>
        <pc:spChg chg="add del mod">
          <ac:chgData name="Steiner Andreas 6206 ED" userId="e6377c33-a923-4f14-8587-531c474c7b48" providerId="ADAL" clId="{6ECD27E6-B224-41CD-B4E0-E297462320DD}" dt="2023-11-24T11:42:29.625" v="149863"/>
          <ac:spMkLst>
            <pc:docMk/>
            <pc:sldMk cId="3298264326" sldId="2147478565"/>
            <ac:spMk id="979" creationId="{B68016C7-F5E4-9A59-D188-FC7DBC9FC071}"/>
          </ac:spMkLst>
        </pc:spChg>
        <pc:spChg chg="add del mod">
          <ac:chgData name="Steiner Andreas 6206 ED" userId="e6377c33-a923-4f14-8587-531c474c7b48" providerId="ADAL" clId="{6ECD27E6-B224-41CD-B4E0-E297462320DD}" dt="2023-11-24T11:42:32.633" v="150018"/>
          <ac:spMkLst>
            <pc:docMk/>
            <pc:sldMk cId="3298264326" sldId="2147478565"/>
            <ac:spMk id="980" creationId="{BA8ED2F2-AB1E-A02B-9D86-594F80D5716A}"/>
          </ac:spMkLst>
        </pc:spChg>
        <pc:spChg chg="add del mod">
          <ac:chgData name="Steiner Andreas 6206 ED" userId="e6377c33-a923-4f14-8587-531c474c7b48" providerId="ADAL" clId="{6ECD27E6-B224-41CD-B4E0-E297462320DD}" dt="2023-11-24T11:42:35.850" v="150173"/>
          <ac:spMkLst>
            <pc:docMk/>
            <pc:sldMk cId="3298264326" sldId="2147478565"/>
            <ac:spMk id="981" creationId="{70E93090-5413-D957-2394-3B7FCFB703C7}"/>
          </ac:spMkLst>
        </pc:spChg>
        <pc:spChg chg="add del mod">
          <ac:chgData name="Steiner Andreas 6206 ED" userId="e6377c33-a923-4f14-8587-531c474c7b48" providerId="ADAL" clId="{6ECD27E6-B224-41CD-B4E0-E297462320DD}" dt="2023-11-24T11:42:38.169" v="150328"/>
          <ac:spMkLst>
            <pc:docMk/>
            <pc:sldMk cId="3298264326" sldId="2147478565"/>
            <ac:spMk id="982" creationId="{2CF41CA6-03B9-78DC-6722-07CE69E7A299}"/>
          </ac:spMkLst>
        </pc:spChg>
        <pc:spChg chg="add del mod">
          <ac:chgData name="Steiner Andreas 6206 ED" userId="e6377c33-a923-4f14-8587-531c474c7b48" providerId="ADAL" clId="{6ECD27E6-B224-41CD-B4E0-E297462320DD}" dt="2023-11-24T11:42:40.247" v="150483"/>
          <ac:spMkLst>
            <pc:docMk/>
            <pc:sldMk cId="3298264326" sldId="2147478565"/>
            <ac:spMk id="983" creationId="{7ABA4168-0908-AE85-C365-98A70CF60E24}"/>
          </ac:spMkLst>
        </pc:spChg>
        <pc:spChg chg="add del mod">
          <ac:chgData name="Steiner Andreas 6206 ED" userId="e6377c33-a923-4f14-8587-531c474c7b48" providerId="ADAL" clId="{6ECD27E6-B224-41CD-B4E0-E297462320DD}" dt="2023-11-24T11:42:42.283" v="150638"/>
          <ac:spMkLst>
            <pc:docMk/>
            <pc:sldMk cId="3298264326" sldId="2147478565"/>
            <ac:spMk id="984" creationId="{ED7A984E-735B-3543-C0F9-57394AD29F18}"/>
          </ac:spMkLst>
        </pc:spChg>
        <pc:spChg chg="add del mod">
          <ac:chgData name="Steiner Andreas 6206 ED" userId="e6377c33-a923-4f14-8587-531c474c7b48" providerId="ADAL" clId="{6ECD27E6-B224-41CD-B4E0-E297462320DD}" dt="2023-11-24T11:42:44.381" v="150793"/>
          <ac:spMkLst>
            <pc:docMk/>
            <pc:sldMk cId="3298264326" sldId="2147478565"/>
            <ac:spMk id="985" creationId="{E50AAB94-914C-5D1C-50DB-E1C7FBFB2A79}"/>
          </ac:spMkLst>
        </pc:spChg>
        <pc:spChg chg="add del mod">
          <ac:chgData name="Steiner Andreas 6206 ED" userId="e6377c33-a923-4f14-8587-531c474c7b48" providerId="ADAL" clId="{6ECD27E6-B224-41CD-B4E0-E297462320DD}" dt="2023-11-24T11:42:46.667" v="150948"/>
          <ac:spMkLst>
            <pc:docMk/>
            <pc:sldMk cId="3298264326" sldId="2147478565"/>
            <ac:spMk id="986" creationId="{2C65B8B0-39C7-A140-585E-19E58EDC7F2F}"/>
          </ac:spMkLst>
        </pc:spChg>
        <pc:spChg chg="add del mod">
          <ac:chgData name="Steiner Andreas 6206 ED" userId="e6377c33-a923-4f14-8587-531c474c7b48" providerId="ADAL" clId="{6ECD27E6-B224-41CD-B4E0-E297462320DD}" dt="2023-11-24T11:42:48.856" v="151103"/>
          <ac:spMkLst>
            <pc:docMk/>
            <pc:sldMk cId="3298264326" sldId="2147478565"/>
            <ac:spMk id="987" creationId="{EBECF049-56E8-BF15-243E-66FC3D0BF1D5}"/>
          </ac:spMkLst>
        </pc:spChg>
        <pc:spChg chg="add del mod">
          <ac:chgData name="Steiner Andreas 6206 ED" userId="e6377c33-a923-4f14-8587-531c474c7b48" providerId="ADAL" clId="{6ECD27E6-B224-41CD-B4E0-E297462320DD}" dt="2023-11-24T11:42:51.163" v="151258"/>
          <ac:spMkLst>
            <pc:docMk/>
            <pc:sldMk cId="3298264326" sldId="2147478565"/>
            <ac:spMk id="988" creationId="{B41B9B45-06D5-E63F-5E3C-3A71D52AEB76}"/>
          </ac:spMkLst>
        </pc:spChg>
        <pc:spChg chg="add del mod">
          <ac:chgData name="Steiner Andreas 6206 ED" userId="e6377c33-a923-4f14-8587-531c474c7b48" providerId="ADAL" clId="{6ECD27E6-B224-41CD-B4E0-E297462320DD}" dt="2023-11-24T11:42:53.471" v="151413"/>
          <ac:spMkLst>
            <pc:docMk/>
            <pc:sldMk cId="3298264326" sldId="2147478565"/>
            <ac:spMk id="989" creationId="{A11424E3-6A30-82F2-E6DB-C408EF0D6B96}"/>
          </ac:spMkLst>
        </pc:spChg>
        <pc:spChg chg="add del mod">
          <ac:chgData name="Steiner Andreas 6206 ED" userId="e6377c33-a923-4f14-8587-531c474c7b48" providerId="ADAL" clId="{6ECD27E6-B224-41CD-B4E0-E297462320DD}" dt="2023-11-24T11:42:55.708" v="151568"/>
          <ac:spMkLst>
            <pc:docMk/>
            <pc:sldMk cId="3298264326" sldId="2147478565"/>
            <ac:spMk id="990" creationId="{F50720ED-FEC6-C8C4-B320-1C48E999478A}"/>
          </ac:spMkLst>
        </pc:spChg>
        <pc:spChg chg="add del mod">
          <ac:chgData name="Steiner Andreas 6206 ED" userId="e6377c33-a923-4f14-8587-531c474c7b48" providerId="ADAL" clId="{6ECD27E6-B224-41CD-B4E0-E297462320DD}" dt="2023-11-24T11:42:58.175" v="151723"/>
          <ac:spMkLst>
            <pc:docMk/>
            <pc:sldMk cId="3298264326" sldId="2147478565"/>
            <ac:spMk id="991" creationId="{462EE01F-264F-AE89-9BC7-0A94C8C24E40}"/>
          </ac:spMkLst>
        </pc:spChg>
        <pc:spChg chg="add del mod">
          <ac:chgData name="Steiner Andreas 6206 ED" userId="e6377c33-a923-4f14-8587-531c474c7b48" providerId="ADAL" clId="{6ECD27E6-B224-41CD-B4E0-E297462320DD}" dt="2023-11-24T11:43:01.892" v="151878"/>
          <ac:spMkLst>
            <pc:docMk/>
            <pc:sldMk cId="3298264326" sldId="2147478565"/>
            <ac:spMk id="992" creationId="{B87DBBEE-2660-6585-633F-E963791EE402}"/>
          </ac:spMkLst>
        </pc:spChg>
        <pc:spChg chg="add del mod">
          <ac:chgData name="Steiner Andreas 6206 ED" userId="e6377c33-a923-4f14-8587-531c474c7b48" providerId="ADAL" clId="{6ECD27E6-B224-41CD-B4E0-E297462320DD}" dt="2023-11-24T11:43:04.252" v="152033"/>
          <ac:spMkLst>
            <pc:docMk/>
            <pc:sldMk cId="3298264326" sldId="2147478565"/>
            <ac:spMk id="993" creationId="{B25E8F9D-193F-BB48-9415-2C4A15612ACE}"/>
          </ac:spMkLst>
        </pc:spChg>
        <pc:spChg chg="add del mod">
          <ac:chgData name="Steiner Andreas 6206 ED" userId="e6377c33-a923-4f14-8587-531c474c7b48" providerId="ADAL" clId="{6ECD27E6-B224-41CD-B4E0-E297462320DD}" dt="2023-11-24T11:43:06.400" v="152188"/>
          <ac:spMkLst>
            <pc:docMk/>
            <pc:sldMk cId="3298264326" sldId="2147478565"/>
            <ac:spMk id="994" creationId="{9C6654B4-5829-A379-ED4B-B175C6BD5463}"/>
          </ac:spMkLst>
        </pc:spChg>
        <pc:spChg chg="add del mod">
          <ac:chgData name="Steiner Andreas 6206 ED" userId="e6377c33-a923-4f14-8587-531c474c7b48" providerId="ADAL" clId="{6ECD27E6-B224-41CD-B4E0-E297462320DD}" dt="2023-11-24T11:43:08.520" v="152343"/>
          <ac:spMkLst>
            <pc:docMk/>
            <pc:sldMk cId="3298264326" sldId="2147478565"/>
            <ac:spMk id="995" creationId="{3054526D-4C82-FA05-0A0C-EE23705C96D9}"/>
          </ac:spMkLst>
        </pc:spChg>
        <pc:spChg chg="add del mod">
          <ac:chgData name="Steiner Andreas 6206 ED" userId="e6377c33-a923-4f14-8587-531c474c7b48" providerId="ADAL" clId="{6ECD27E6-B224-41CD-B4E0-E297462320DD}" dt="2023-11-24T11:43:10.681" v="152498"/>
          <ac:spMkLst>
            <pc:docMk/>
            <pc:sldMk cId="3298264326" sldId="2147478565"/>
            <ac:spMk id="996" creationId="{24B6BD30-867D-239D-4F1E-737BB278BE9D}"/>
          </ac:spMkLst>
        </pc:spChg>
        <pc:spChg chg="add del mod">
          <ac:chgData name="Steiner Andreas 6206 ED" userId="e6377c33-a923-4f14-8587-531c474c7b48" providerId="ADAL" clId="{6ECD27E6-B224-41CD-B4E0-E297462320DD}" dt="2023-11-24T11:43:12.903" v="152653"/>
          <ac:spMkLst>
            <pc:docMk/>
            <pc:sldMk cId="3298264326" sldId="2147478565"/>
            <ac:spMk id="997" creationId="{F8BB2FB6-7DE7-7235-FB0C-21CDD2701F23}"/>
          </ac:spMkLst>
        </pc:spChg>
        <pc:spChg chg="add del mod">
          <ac:chgData name="Steiner Andreas 6206 ED" userId="e6377c33-a923-4f14-8587-531c474c7b48" providerId="ADAL" clId="{6ECD27E6-B224-41CD-B4E0-E297462320DD}" dt="2023-11-24T11:43:15.247" v="152808"/>
          <ac:spMkLst>
            <pc:docMk/>
            <pc:sldMk cId="3298264326" sldId="2147478565"/>
            <ac:spMk id="998" creationId="{4081222A-3BB5-578F-FBA4-06BF030613CE}"/>
          </ac:spMkLst>
        </pc:spChg>
        <pc:spChg chg="add del mod">
          <ac:chgData name="Steiner Andreas 6206 ED" userId="e6377c33-a923-4f14-8587-531c474c7b48" providerId="ADAL" clId="{6ECD27E6-B224-41CD-B4E0-E297462320DD}" dt="2023-11-24T11:43:18.376" v="152963"/>
          <ac:spMkLst>
            <pc:docMk/>
            <pc:sldMk cId="3298264326" sldId="2147478565"/>
            <ac:spMk id="999" creationId="{93261161-E92E-79EF-2B6C-BDECD07D43E4}"/>
          </ac:spMkLst>
        </pc:spChg>
        <pc:spChg chg="add del mod">
          <ac:chgData name="Steiner Andreas 6206 ED" userId="e6377c33-a923-4f14-8587-531c474c7b48" providerId="ADAL" clId="{6ECD27E6-B224-41CD-B4E0-E297462320DD}" dt="2023-11-24T11:43:22.488" v="153118"/>
          <ac:spMkLst>
            <pc:docMk/>
            <pc:sldMk cId="3298264326" sldId="2147478565"/>
            <ac:spMk id="1000" creationId="{71A76C87-3CD1-9DAB-86D5-50E48CD2F325}"/>
          </ac:spMkLst>
        </pc:spChg>
        <pc:spChg chg="add del mod">
          <ac:chgData name="Steiner Andreas 6206 ED" userId="e6377c33-a923-4f14-8587-531c474c7b48" providerId="ADAL" clId="{6ECD27E6-B224-41CD-B4E0-E297462320DD}" dt="2023-11-24T11:43:24.928" v="153273"/>
          <ac:spMkLst>
            <pc:docMk/>
            <pc:sldMk cId="3298264326" sldId="2147478565"/>
            <ac:spMk id="1001" creationId="{CCFAA312-414D-6E0B-BC0B-E1DADE5ADC4F}"/>
          </ac:spMkLst>
        </pc:spChg>
        <pc:spChg chg="add del mod">
          <ac:chgData name="Steiner Andreas 6206 ED" userId="e6377c33-a923-4f14-8587-531c474c7b48" providerId="ADAL" clId="{6ECD27E6-B224-41CD-B4E0-E297462320DD}" dt="2023-11-24T11:43:27.175" v="153428"/>
          <ac:spMkLst>
            <pc:docMk/>
            <pc:sldMk cId="3298264326" sldId="2147478565"/>
            <ac:spMk id="1002" creationId="{D657EBC2-9535-7D53-0F93-8E0BA8C225C0}"/>
          </ac:spMkLst>
        </pc:spChg>
        <pc:spChg chg="add del mod">
          <ac:chgData name="Steiner Andreas 6206 ED" userId="e6377c33-a923-4f14-8587-531c474c7b48" providerId="ADAL" clId="{6ECD27E6-B224-41CD-B4E0-E297462320DD}" dt="2023-11-24T11:43:29.454" v="153583"/>
          <ac:spMkLst>
            <pc:docMk/>
            <pc:sldMk cId="3298264326" sldId="2147478565"/>
            <ac:spMk id="1003" creationId="{2766F6D5-E1D5-BC83-A9AE-4154C64394C6}"/>
          </ac:spMkLst>
        </pc:spChg>
        <pc:spChg chg="add del mod">
          <ac:chgData name="Steiner Andreas 6206 ED" userId="e6377c33-a923-4f14-8587-531c474c7b48" providerId="ADAL" clId="{6ECD27E6-B224-41CD-B4E0-E297462320DD}" dt="2023-11-24T11:43:31.698" v="153738"/>
          <ac:spMkLst>
            <pc:docMk/>
            <pc:sldMk cId="3298264326" sldId="2147478565"/>
            <ac:spMk id="1004" creationId="{1B2A7C38-8144-E012-5503-4AFB5A8BED72}"/>
          </ac:spMkLst>
        </pc:spChg>
        <pc:spChg chg="add del mod">
          <ac:chgData name="Steiner Andreas 6206 ED" userId="e6377c33-a923-4f14-8587-531c474c7b48" providerId="ADAL" clId="{6ECD27E6-B224-41CD-B4E0-E297462320DD}" dt="2023-11-24T11:43:34.449" v="153893"/>
          <ac:spMkLst>
            <pc:docMk/>
            <pc:sldMk cId="3298264326" sldId="2147478565"/>
            <ac:spMk id="1005" creationId="{257C63B8-375D-6414-96EE-7A0244F585DF}"/>
          </ac:spMkLst>
        </pc:spChg>
        <pc:spChg chg="add del mod">
          <ac:chgData name="Steiner Andreas 6206 ED" userId="e6377c33-a923-4f14-8587-531c474c7b48" providerId="ADAL" clId="{6ECD27E6-B224-41CD-B4E0-E297462320DD}" dt="2023-11-24T11:43:36.576" v="154048"/>
          <ac:spMkLst>
            <pc:docMk/>
            <pc:sldMk cId="3298264326" sldId="2147478565"/>
            <ac:spMk id="1006" creationId="{45F00B22-B11A-0311-8300-FA91F3DE4D70}"/>
          </ac:spMkLst>
        </pc:spChg>
        <pc:spChg chg="add del mod">
          <ac:chgData name="Steiner Andreas 6206 ED" userId="e6377c33-a923-4f14-8587-531c474c7b48" providerId="ADAL" clId="{6ECD27E6-B224-41CD-B4E0-E297462320DD}" dt="2023-11-24T11:43:38.761" v="154203"/>
          <ac:spMkLst>
            <pc:docMk/>
            <pc:sldMk cId="3298264326" sldId="2147478565"/>
            <ac:spMk id="1007" creationId="{D6766575-7F52-1009-75B6-81BF4F30FCB6}"/>
          </ac:spMkLst>
        </pc:spChg>
        <pc:spChg chg="add del mod">
          <ac:chgData name="Steiner Andreas 6206 ED" userId="e6377c33-a923-4f14-8587-531c474c7b48" providerId="ADAL" clId="{6ECD27E6-B224-41CD-B4E0-E297462320DD}" dt="2023-11-24T11:43:41.152" v="154358"/>
          <ac:spMkLst>
            <pc:docMk/>
            <pc:sldMk cId="3298264326" sldId="2147478565"/>
            <ac:spMk id="1008" creationId="{380CFAB3-D8F8-92CA-103E-EB3F5851D657}"/>
          </ac:spMkLst>
        </pc:spChg>
        <pc:spChg chg="add del mod">
          <ac:chgData name="Steiner Andreas 6206 ED" userId="e6377c33-a923-4f14-8587-531c474c7b48" providerId="ADAL" clId="{6ECD27E6-B224-41CD-B4E0-E297462320DD}" dt="2023-11-24T11:43:44.070" v="154513"/>
          <ac:spMkLst>
            <pc:docMk/>
            <pc:sldMk cId="3298264326" sldId="2147478565"/>
            <ac:spMk id="1009" creationId="{A65C8EB4-B867-D993-0A46-B2BAF2CD4A6E}"/>
          </ac:spMkLst>
        </pc:spChg>
        <pc:spChg chg="add del mod">
          <ac:chgData name="Steiner Andreas 6206 ED" userId="e6377c33-a923-4f14-8587-531c474c7b48" providerId="ADAL" clId="{6ECD27E6-B224-41CD-B4E0-E297462320DD}" dt="2023-11-24T11:43:46.402" v="154668"/>
          <ac:spMkLst>
            <pc:docMk/>
            <pc:sldMk cId="3298264326" sldId="2147478565"/>
            <ac:spMk id="1010" creationId="{7257DE2B-4289-33EE-3BBB-06EA4F1FBE7A}"/>
          </ac:spMkLst>
        </pc:spChg>
        <pc:spChg chg="add del mod">
          <ac:chgData name="Steiner Andreas 6206 ED" userId="e6377c33-a923-4f14-8587-531c474c7b48" providerId="ADAL" clId="{6ECD27E6-B224-41CD-B4E0-E297462320DD}" dt="2023-11-24T11:43:48.698" v="154823"/>
          <ac:spMkLst>
            <pc:docMk/>
            <pc:sldMk cId="3298264326" sldId="2147478565"/>
            <ac:spMk id="1011" creationId="{86439FA3-93D4-F28C-5F47-6B772EF514C0}"/>
          </ac:spMkLst>
        </pc:spChg>
        <pc:spChg chg="add del mod">
          <ac:chgData name="Steiner Andreas 6206 ED" userId="e6377c33-a923-4f14-8587-531c474c7b48" providerId="ADAL" clId="{6ECD27E6-B224-41CD-B4E0-E297462320DD}" dt="2023-11-24T11:43:50.747" v="154978"/>
          <ac:spMkLst>
            <pc:docMk/>
            <pc:sldMk cId="3298264326" sldId="2147478565"/>
            <ac:spMk id="1012" creationId="{78DA08A3-FB33-E580-7158-A6C6651924B5}"/>
          </ac:spMkLst>
        </pc:spChg>
        <pc:spChg chg="add del mod">
          <ac:chgData name="Steiner Andreas 6206 ED" userId="e6377c33-a923-4f14-8587-531c474c7b48" providerId="ADAL" clId="{6ECD27E6-B224-41CD-B4E0-E297462320DD}" dt="2023-11-24T11:43:52.942" v="155133"/>
          <ac:spMkLst>
            <pc:docMk/>
            <pc:sldMk cId="3298264326" sldId="2147478565"/>
            <ac:spMk id="1013" creationId="{933B60E3-6546-3617-13A5-F054242217DF}"/>
          </ac:spMkLst>
        </pc:spChg>
        <pc:spChg chg="add del mod">
          <ac:chgData name="Steiner Andreas 6206 ED" userId="e6377c33-a923-4f14-8587-531c474c7b48" providerId="ADAL" clId="{6ECD27E6-B224-41CD-B4E0-E297462320DD}" dt="2023-11-24T11:43:55.985" v="155288"/>
          <ac:spMkLst>
            <pc:docMk/>
            <pc:sldMk cId="3298264326" sldId="2147478565"/>
            <ac:spMk id="1014" creationId="{CA64B985-4009-6313-5E17-40456A465D96}"/>
          </ac:spMkLst>
        </pc:spChg>
        <pc:spChg chg="add del mod">
          <ac:chgData name="Steiner Andreas 6206 ED" userId="e6377c33-a923-4f14-8587-531c474c7b48" providerId="ADAL" clId="{6ECD27E6-B224-41CD-B4E0-E297462320DD}" dt="2023-11-24T11:43:58.312" v="155443"/>
          <ac:spMkLst>
            <pc:docMk/>
            <pc:sldMk cId="3298264326" sldId="2147478565"/>
            <ac:spMk id="1015" creationId="{8458F37A-1E64-51F3-2ADE-E292E1A2D5CA}"/>
          </ac:spMkLst>
        </pc:spChg>
        <pc:spChg chg="add del mod">
          <ac:chgData name="Steiner Andreas 6206 ED" userId="e6377c33-a923-4f14-8587-531c474c7b48" providerId="ADAL" clId="{6ECD27E6-B224-41CD-B4E0-E297462320DD}" dt="2023-11-24T11:44:00.383" v="155598"/>
          <ac:spMkLst>
            <pc:docMk/>
            <pc:sldMk cId="3298264326" sldId="2147478565"/>
            <ac:spMk id="1016" creationId="{240FC4FB-6EA1-7A6F-14E4-A4C63C37C097}"/>
          </ac:spMkLst>
        </pc:spChg>
        <pc:spChg chg="add del mod">
          <ac:chgData name="Steiner Andreas 6206 ED" userId="e6377c33-a923-4f14-8587-531c474c7b48" providerId="ADAL" clId="{6ECD27E6-B224-41CD-B4E0-E297462320DD}" dt="2023-11-24T11:44:02.388" v="155753"/>
          <ac:spMkLst>
            <pc:docMk/>
            <pc:sldMk cId="3298264326" sldId="2147478565"/>
            <ac:spMk id="1017" creationId="{EE6A92BE-6F59-43C1-C837-F5FB5B9180B0}"/>
          </ac:spMkLst>
        </pc:spChg>
        <pc:spChg chg="add del mod">
          <ac:chgData name="Steiner Andreas 6206 ED" userId="e6377c33-a923-4f14-8587-531c474c7b48" providerId="ADAL" clId="{6ECD27E6-B224-41CD-B4E0-E297462320DD}" dt="2023-11-24T11:44:04.445" v="155908"/>
          <ac:spMkLst>
            <pc:docMk/>
            <pc:sldMk cId="3298264326" sldId="2147478565"/>
            <ac:spMk id="1018" creationId="{C2BD823A-E885-F14A-2330-03D1C0D2D561}"/>
          </ac:spMkLst>
        </pc:spChg>
        <pc:spChg chg="add del mod">
          <ac:chgData name="Steiner Andreas 6206 ED" userId="e6377c33-a923-4f14-8587-531c474c7b48" providerId="ADAL" clId="{6ECD27E6-B224-41CD-B4E0-E297462320DD}" dt="2023-11-24T11:44:06.442" v="156063"/>
          <ac:spMkLst>
            <pc:docMk/>
            <pc:sldMk cId="3298264326" sldId="2147478565"/>
            <ac:spMk id="1019" creationId="{59AD645F-2FE6-0653-0B57-3FB2F4D56DE7}"/>
          </ac:spMkLst>
        </pc:spChg>
        <pc:spChg chg="add del mod">
          <ac:chgData name="Steiner Andreas 6206 ED" userId="e6377c33-a923-4f14-8587-531c474c7b48" providerId="ADAL" clId="{6ECD27E6-B224-41CD-B4E0-E297462320DD}" dt="2023-11-24T11:44:08.633" v="156218"/>
          <ac:spMkLst>
            <pc:docMk/>
            <pc:sldMk cId="3298264326" sldId="2147478565"/>
            <ac:spMk id="1020" creationId="{33F7B83D-0036-97B6-6C12-C608FEC2150E}"/>
          </ac:spMkLst>
        </pc:spChg>
        <pc:spChg chg="add del mod">
          <ac:chgData name="Steiner Andreas 6206 ED" userId="e6377c33-a923-4f14-8587-531c474c7b48" providerId="ADAL" clId="{6ECD27E6-B224-41CD-B4E0-E297462320DD}" dt="2023-11-24T11:44:10.676" v="156373"/>
          <ac:spMkLst>
            <pc:docMk/>
            <pc:sldMk cId="3298264326" sldId="2147478565"/>
            <ac:spMk id="1021" creationId="{CF515974-59DB-066A-175C-C2FF551E40E5}"/>
          </ac:spMkLst>
        </pc:spChg>
        <pc:spChg chg="add del mod">
          <ac:chgData name="Steiner Andreas 6206 ED" userId="e6377c33-a923-4f14-8587-531c474c7b48" providerId="ADAL" clId="{6ECD27E6-B224-41CD-B4E0-E297462320DD}" dt="2023-11-24T11:44:12.693" v="156528"/>
          <ac:spMkLst>
            <pc:docMk/>
            <pc:sldMk cId="3298264326" sldId="2147478565"/>
            <ac:spMk id="1022" creationId="{1A568BFF-4581-7CF9-8ECE-A8E3319C0C08}"/>
          </ac:spMkLst>
        </pc:spChg>
        <pc:spChg chg="add del mod">
          <ac:chgData name="Steiner Andreas 6206 ED" userId="e6377c33-a923-4f14-8587-531c474c7b48" providerId="ADAL" clId="{6ECD27E6-B224-41CD-B4E0-E297462320DD}" dt="2023-11-24T11:44:14.691" v="156683"/>
          <ac:spMkLst>
            <pc:docMk/>
            <pc:sldMk cId="3298264326" sldId="2147478565"/>
            <ac:spMk id="1023" creationId="{7CB5540C-51B2-0116-08D6-1B4BCB43919B}"/>
          </ac:spMkLst>
        </pc:spChg>
        <pc:spChg chg="add del mod">
          <ac:chgData name="Steiner Andreas 6206 ED" userId="e6377c33-a923-4f14-8587-531c474c7b48" providerId="ADAL" clId="{6ECD27E6-B224-41CD-B4E0-E297462320DD}" dt="2023-11-24T11:44:16.676" v="156838"/>
          <ac:spMkLst>
            <pc:docMk/>
            <pc:sldMk cId="3298264326" sldId="2147478565"/>
            <ac:spMk id="1024" creationId="{AB0B2DE7-3E4A-C97D-DAE9-5F7A4E6E761E}"/>
          </ac:spMkLst>
        </pc:spChg>
        <pc:spChg chg="add del mod">
          <ac:chgData name="Steiner Andreas 6206 ED" userId="e6377c33-a923-4f14-8587-531c474c7b48" providerId="ADAL" clId="{6ECD27E6-B224-41CD-B4E0-E297462320DD}" dt="2023-11-24T11:44:18.788" v="156993"/>
          <ac:spMkLst>
            <pc:docMk/>
            <pc:sldMk cId="3298264326" sldId="2147478565"/>
            <ac:spMk id="1025" creationId="{A202345E-62AE-BEEB-9876-DCBF790CFA86}"/>
          </ac:spMkLst>
        </pc:spChg>
        <pc:spChg chg="add del mod">
          <ac:chgData name="Steiner Andreas 6206 ED" userId="e6377c33-a923-4f14-8587-531c474c7b48" providerId="ADAL" clId="{6ECD27E6-B224-41CD-B4E0-E297462320DD}" dt="2023-11-24T11:44:20.892" v="157148"/>
          <ac:spMkLst>
            <pc:docMk/>
            <pc:sldMk cId="3298264326" sldId="2147478565"/>
            <ac:spMk id="1026" creationId="{86C9CB39-DCC7-96EF-FB57-F6ACCF49702F}"/>
          </ac:spMkLst>
        </pc:spChg>
        <pc:spChg chg="add del mod">
          <ac:chgData name="Steiner Andreas 6206 ED" userId="e6377c33-a923-4f14-8587-531c474c7b48" providerId="ADAL" clId="{6ECD27E6-B224-41CD-B4E0-E297462320DD}" dt="2023-11-24T11:44:23.230" v="157303"/>
          <ac:spMkLst>
            <pc:docMk/>
            <pc:sldMk cId="3298264326" sldId="2147478565"/>
            <ac:spMk id="1027" creationId="{FAFC1E10-1A8A-7F6C-29B9-EF968059E9BF}"/>
          </ac:spMkLst>
        </pc:spChg>
        <pc:spChg chg="add del mod">
          <ac:chgData name="Steiner Andreas 6206 ED" userId="e6377c33-a923-4f14-8587-531c474c7b48" providerId="ADAL" clId="{6ECD27E6-B224-41CD-B4E0-E297462320DD}" dt="2023-11-24T11:44:25.368" v="157458"/>
          <ac:spMkLst>
            <pc:docMk/>
            <pc:sldMk cId="3298264326" sldId="2147478565"/>
            <ac:spMk id="1028" creationId="{7C215E37-2331-FFE9-4AB6-7B03F82935B3}"/>
          </ac:spMkLst>
        </pc:spChg>
        <pc:spChg chg="add del mod">
          <ac:chgData name="Steiner Andreas 6206 ED" userId="e6377c33-a923-4f14-8587-531c474c7b48" providerId="ADAL" clId="{6ECD27E6-B224-41CD-B4E0-E297462320DD}" dt="2023-11-24T11:44:30.800" v="157613"/>
          <ac:spMkLst>
            <pc:docMk/>
            <pc:sldMk cId="3298264326" sldId="2147478565"/>
            <ac:spMk id="1029" creationId="{74B2F7FD-6B75-38B1-D421-4900B4F01165}"/>
          </ac:spMkLst>
        </pc:spChg>
        <pc:spChg chg="add mod">
          <ac:chgData name="Steiner Andreas 6206 ED" userId="e6377c33-a923-4f14-8587-531c474c7b48" providerId="ADAL" clId="{6ECD27E6-B224-41CD-B4E0-E297462320DD}" dt="2023-11-24T11:44:30.800" v="157614"/>
          <ac:spMkLst>
            <pc:docMk/>
            <pc:sldMk cId="3298264326" sldId="2147478565"/>
            <ac:spMk id="1030" creationId="{7BC98E23-5E8A-D528-0BAE-CC76301C95FD}"/>
          </ac:spMkLst>
        </pc:spChg>
      </pc:sldChg>
      <pc:sldChg chg="addSp delSp modSp mod">
        <pc:chgData name="Steiner Andreas 6206 ED" userId="e6377c33-a923-4f14-8587-531c474c7b48" providerId="ADAL" clId="{6ECD27E6-B224-41CD-B4E0-E297462320DD}" dt="2023-11-24T11:44:30.836" v="157639"/>
        <pc:sldMkLst>
          <pc:docMk/>
          <pc:sldMk cId="2225815222" sldId="2147478566"/>
        </pc:sldMkLst>
        <pc:spChg chg="mod">
          <ac:chgData name="Steiner Andreas 6206 ED" userId="e6377c33-a923-4f14-8587-531c474c7b48" providerId="ADAL" clId="{6ECD27E6-B224-41CD-B4E0-E297462320DD}" dt="2023-11-24T11:44:30.836" v="157635" actId="20577"/>
          <ac:spMkLst>
            <pc:docMk/>
            <pc:sldMk cId="2225815222" sldId="2147478566"/>
            <ac:spMk id="3" creationId="{4E8CC9C0-365F-2AE2-45F2-482F3CE5F5BC}"/>
          </ac:spMkLst>
        </pc:spChg>
        <pc:spChg chg="del">
          <ac:chgData name="Steiner Andreas 6206 ED" userId="e6377c33-a923-4f14-8587-531c474c7b48" providerId="ADAL" clId="{6ECD27E6-B224-41CD-B4E0-E297462320DD}" dt="2023-11-23T19:49:53.653" v="175"/>
          <ac:spMkLst>
            <pc:docMk/>
            <pc:sldMk cId="2225815222" sldId="2147478566"/>
            <ac:spMk id="5" creationId="{64E93222-32B7-20A4-715C-D9A68AE48A8A}"/>
          </ac:spMkLst>
        </pc:spChg>
        <pc:spChg chg="add del mod">
          <ac:chgData name="Steiner Andreas 6206 ED" userId="e6377c33-a923-4f14-8587-531c474c7b48" providerId="ADAL" clId="{6ECD27E6-B224-41CD-B4E0-E297462320DD}" dt="2023-11-23T19:49:53.655" v="178"/>
          <ac:spMkLst>
            <pc:docMk/>
            <pc:sldMk cId="2225815222" sldId="2147478566"/>
            <ac:spMk id="7" creationId="{79B37F13-575B-9877-6476-C326260DA112}"/>
          </ac:spMkLst>
        </pc:spChg>
        <pc:spChg chg="add del mod">
          <ac:chgData name="Steiner Andreas 6206 ED" userId="e6377c33-a923-4f14-8587-531c474c7b48" providerId="ADAL" clId="{6ECD27E6-B224-41CD-B4E0-E297462320DD}" dt="2023-11-23T19:49:54.540" v="313"/>
          <ac:spMkLst>
            <pc:docMk/>
            <pc:sldMk cId="2225815222" sldId="2147478566"/>
            <ac:spMk id="10" creationId="{81CAC967-51F2-12A4-FBE9-D9A3D85B87B6}"/>
          </ac:spMkLst>
        </pc:spChg>
        <pc:spChg chg="add del mod">
          <ac:chgData name="Steiner Andreas 6206 ED" userId="e6377c33-a923-4f14-8587-531c474c7b48" providerId="ADAL" clId="{6ECD27E6-B224-41CD-B4E0-E297462320DD}" dt="2023-11-23T19:50:25.405" v="468"/>
          <ac:spMkLst>
            <pc:docMk/>
            <pc:sldMk cId="2225815222" sldId="2147478566"/>
            <ac:spMk id="11" creationId="{12D435EE-2C2C-466D-82FF-8EC919A7C5B9}"/>
          </ac:spMkLst>
        </pc:spChg>
        <pc:spChg chg="add del mod">
          <ac:chgData name="Steiner Andreas 6206 ED" userId="e6377c33-a923-4f14-8587-531c474c7b48" providerId="ADAL" clId="{6ECD27E6-B224-41CD-B4E0-E297462320DD}" dt="2023-11-23T19:50:35.196" v="623"/>
          <ac:spMkLst>
            <pc:docMk/>
            <pc:sldMk cId="2225815222" sldId="2147478566"/>
            <ac:spMk id="12" creationId="{95979CA1-8B47-6C86-E0FB-8061AAA107BA}"/>
          </ac:spMkLst>
        </pc:spChg>
        <pc:spChg chg="add del mod">
          <ac:chgData name="Steiner Andreas 6206 ED" userId="e6377c33-a923-4f14-8587-531c474c7b48" providerId="ADAL" clId="{6ECD27E6-B224-41CD-B4E0-E297462320DD}" dt="2023-11-23T19:50:46.859" v="778"/>
          <ac:spMkLst>
            <pc:docMk/>
            <pc:sldMk cId="2225815222" sldId="2147478566"/>
            <ac:spMk id="13" creationId="{DE07A869-B369-E275-DCB9-91863E67906C}"/>
          </ac:spMkLst>
        </pc:spChg>
        <pc:spChg chg="add del mod">
          <ac:chgData name="Steiner Andreas 6206 ED" userId="e6377c33-a923-4f14-8587-531c474c7b48" providerId="ADAL" clId="{6ECD27E6-B224-41CD-B4E0-E297462320DD}" dt="2023-11-23T19:50:58.569" v="933"/>
          <ac:spMkLst>
            <pc:docMk/>
            <pc:sldMk cId="2225815222" sldId="2147478566"/>
            <ac:spMk id="14" creationId="{D27A5224-C3CE-CC6E-07BE-C1FC52DF9365}"/>
          </ac:spMkLst>
        </pc:spChg>
        <pc:spChg chg="add del mod">
          <ac:chgData name="Steiner Andreas 6206 ED" userId="e6377c33-a923-4f14-8587-531c474c7b48" providerId="ADAL" clId="{6ECD27E6-B224-41CD-B4E0-E297462320DD}" dt="2023-11-23T19:51:09.249" v="1088"/>
          <ac:spMkLst>
            <pc:docMk/>
            <pc:sldMk cId="2225815222" sldId="2147478566"/>
            <ac:spMk id="15" creationId="{85FC34E8-D226-ADF6-6E38-3F1D95579FF3}"/>
          </ac:spMkLst>
        </pc:spChg>
        <pc:spChg chg="add del mod">
          <ac:chgData name="Steiner Andreas 6206 ED" userId="e6377c33-a923-4f14-8587-531c474c7b48" providerId="ADAL" clId="{6ECD27E6-B224-41CD-B4E0-E297462320DD}" dt="2023-11-23T19:51:20.270" v="1243"/>
          <ac:spMkLst>
            <pc:docMk/>
            <pc:sldMk cId="2225815222" sldId="2147478566"/>
            <ac:spMk id="16" creationId="{25C95677-C18A-946E-DAC2-A37F37CAD3D4}"/>
          </ac:spMkLst>
        </pc:spChg>
        <pc:spChg chg="add del mod">
          <ac:chgData name="Steiner Andreas 6206 ED" userId="e6377c33-a923-4f14-8587-531c474c7b48" providerId="ADAL" clId="{6ECD27E6-B224-41CD-B4E0-E297462320DD}" dt="2023-11-23T19:51:31.699" v="1398"/>
          <ac:spMkLst>
            <pc:docMk/>
            <pc:sldMk cId="2225815222" sldId="2147478566"/>
            <ac:spMk id="17" creationId="{282EC9ED-077E-0BB2-4190-AD0257777424}"/>
          </ac:spMkLst>
        </pc:spChg>
        <pc:spChg chg="add del mod">
          <ac:chgData name="Steiner Andreas 6206 ED" userId="e6377c33-a923-4f14-8587-531c474c7b48" providerId="ADAL" clId="{6ECD27E6-B224-41CD-B4E0-E297462320DD}" dt="2023-11-23T19:51:42.376" v="1553"/>
          <ac:spMkLst>
            <pc:docMk/>
            <pc:sldMk cId="2225815222" sldId="2147478566"/>
            <ac:spMk id="18" creationId="{03A3A44C-EF9D-24CF-D35C-8886487A5D7C}"/>
          </ac:spMkLst>
        </pc:spChg>
        <pc:spChg chg="add del mod">
          <ac:chgData name="Steiner Andreas 6206 ED" userId="e6377c33-a923-4f14-8587-531c474c7b48" providerId="ADAL" clId="{6ECD27E6-B224-41CD-B4E0-E297462320DD}" dt="2023-11-23T19:51:53.666" v="1708"/>
          <ac:spMkLst>
            <pc:docMk/>
            <pc:sldMk cId="2225815222" sldId="2147478566"/>
            <ac:spMk id="19" creationId="{13D19C85-966A-B5FD-9DC4-A720AD456802}"/>
          </ac:spMkLst>
        </pc:spChg>
        <pc:spChg chg="add del mod">
          <ac:chgData name="Steiner Andreas 6206 ED" userId="e6377c33-a923-4f14-8587-531c474c7b48" providerId="ADAL" clId="{6ECD27E6-B224-41CD-B4E0-E297462320DD}" dt="2023-11-23T19:52:05.361" v="1863"/>
          <ac:spMkLst>
            <pc:docMk/>
            <pc:sldMk cId="2225815222" sldId="2147478566"/>
            <ac:spMk id="20" creationId="{AE99C9FD-122F-7C98-5C1B-FBB4F1D0E34D}"/>
          </ac:spMkLst>
        </pc:spChg>
        <pc:spChg chg="add del mod">
          <ac:chgData name="Steiner Andreas 6206 ED" userId="e6377c33-a923-4f14-8587-531c474c7b48" providerId="ADAL" clId="{6ECD27E6-B224-41CD-B4E0-E297462320DD}" dt="2023-11-23T19:52:17.079" v="2018"/>
          <ac:spMkLst>
            <pc:docMk/>
            <pc:sldMk cId="2225815222" sldId="2147478566"/>
            <ac:spMk id="21" creationId="{038531B1-D02A-E299-742C-BFC0BF110BED}"/>
          </ac:spMkLst>
        </pc:spChg>
        <pc:spChg chg="add del mod">
          <ac:chgData name="Steiner Andreas 6206 ED" userId="e6377c33-a923-4f14-8587-531c474c7b48" providerId="ADAL" clId="{6ECD27E6-B224-41CD-B4E0-E297462320DD}" dt="2023-11-23T19:52:28.760" v="2173"/>
          <ac:spMkLst>
            <pc:docMk/>
            <pc:sldMk cId="2225815222" sldId="2147478566"/>
            <ac:spMk id="22" creationId="{E213E1ED-7C72-9243-518B-A109187BB5E2}"/>
          </ac:spMkLst>
        </pc:spChg>
        <pc:spChg chg="add del mod">
          <ac:chgData name="Steiner Andreas 6206 ED" userId="e6377c33-a923-4f14-8587-531c474c7b48" providerId="ADAL" clId="{6ECD27E6-B224-41CD-B4E0-E297462320DD}" dt="2023-11-23T19:52:40.448" v="2328"/>
          <ac:spMkLst>
            <pc:docMk/>
            <pc:sldMk cId="2225815222" sldId="2147478566"/>
            <ac:spMk id="23" creationId="{EA9DCA41-5790-8E7B-2C16-DE7B16EA664F}"/>
          </ac:spMkLst>
        </pc:spChg>
        <pc:spChg chg="add del mod">
          <ac:chgData name="Steiner Andreas 6206 ED" userId="e6377c33-a923-4f14-8587-531c474c7b48" providerId="ADAL" clId="{6ECD27E6-B224-41CD-B4E0-E297462320DD}" dt="2023-11-23T19:52:51.800" v="2483"/>
          <ac:spMkLst>
            <pc:docMk/>
            <pc:sldMk cId="2225815222" sldId="2147478566"/>
            <ac:spMk id="24" creationId="{4CFC1E96-5073-E3CD-3B4A-84E325F0CEC7}"/>
          </ac:spMkLst>
        </pc:spChg>
        <pc:spChg chg="add del mod">
          <ac:chgData name="Steiner Andreas 6206 ED" userId="e6377c33-a923-4f14-8587-531c474c7b48" providerId="ADAL" clId="{6ECD27E6-B224-41CD-B4E0-E297462320DD}" dt="2023-11-23T19:53:03.512" v="2638"/>
          <ac:spMkLst>
            <pc:docMk/>
            <pc:sldMk cId="2225815222" sldId="2147478566"/>
            <ac:spMk id="25" creationId="{8C85FA6C-CA06-405C-A025-174B722AC567}"/>
          </ac:spMkLst>
        </pc:spChg>
        <pc:spChg chg="add del mod">
          <ac:chgData name="Steiner Andreas 6206 ED" userId="e6377c33-a923-4f14-8587-531c474c7b48" providerId="ADAL" clId="{6ECD27E6-B224-41CD-B4E0-E297462320DD}" dt="2023-11-23T19:53:15.243" v="2793"/>
          <ac:spMkLst>
            <pc:docMk/>
            <pc:sldMk cId="2225815222" sldId="2147478566"/>
            <ac:spMk id="26" creationId="{02E9704B-D387-D532-6FB0-91D837FF22D8}"/>
          </ac:spMkLst>
        </pc:spChg>
        <pc:spChg chg="add del mod">
          <ac:chgData name="Steiner Andreas 6206 ED" userId="e6377c33-a923-4f14-8587-531c474c7b48" providerId="ADAL" clId="{6ECD27E6-B224-41CD-B4E0-E297462320DD}" dt="2023-11-23T19:53:26.923" v="2948"/>
          <ac:spMkLst>
            <pc:docMk/>
            <pc:sldMk cId="2225815222" sldId="2147478566"/>
            <ac:spMk id="27" creationId="{B3451A67-CC38-D826-DE5A-AEB9A5DA845E}"/>
          </ac:spMkLst>
        </pc:spChg>
        <pc:spChg chg="add del mod">
          <ac:chgData name="Steiner Andreas 6206 ED" userId="e6377c33-a923-4f14-8587-531c474c7b48" providerId="ADAL" clId="{6ECD27E6-B224-41CD-B4E0-E297462320DD}" dt="2023-11-23T19:53:38.580" v="3103"/>
          <ac:spMkLst>
            <pc:docMk/>
            <pc:sldMk cId="2225815222" sldId="2147478566"/>
            <ac:spMk id="28" creationId="{4FF22E9C-29E6-F5F9-F9A5-D101270C2EBC}"/>
          </ac:spMkLst>
        </pc:spChg>
        <pc:spChg chg="add del mod">
          <ac:chgData name="Steiner Andreas 6206 ED" userId="e6377c33-a923-4f14-8587-531c474c7b48" providerId="ADAL" clId="{6ECD27E6-B224-41CD-B4E0-E297462320DD}" dt="2023-11-23T19:53:50.243" v="3258"/>
          <ac:spMkLst>
            <pc:docMk/>
            <pc:sldMk cId="2225815222" sldId="2147478566"/>
            <ac:spMk id="29" creationId="{EA29996E-54DF-033F-7CED-692D5153373D}"/>
          </ac:spMkLst>
        </pc:spChg>
        <pc:spChg chg="add del mod">
          <ac:chgData name="Steiner Andreas 6206 ED" userId="e6377c33-a923-4f14-8587-531c474c7b48" providerId="ADAL" clId="{6ECD27E6-B224-41CD-B4E0-E297462320DD}" dt="2023-11-23T19:54:01.917" v="3413"/>
          <ac:spMkLst>
            <pc:docMk/>
            <pc:sldMk cId="2225815222" sldId="2147478566"/>
            <ac:spMk id="30" creationId="{77EE6363-2E88-A27B-EAB1-C47AC6EEC60E}"/>
          </ac:spMkLst>
        </pc:spChg>
        <pc:spChg chg="add del mod">
          <ac:chgData name="Steiner Andreas 6206 ED" userId="e6377c33-a923-4f14-8587-531c474c7b48" providerId="ADAL" clId="{6ECD27E6-B224-41CD-B4E0-E297462320DD}" dt="2023-11-23T19:54:13.609" v="3568"/>
          <ac:spMkLst>
            <pc:docMk/>
            <pc:sldMk cId="2225815222" sldId="2147478566"/>
            <ac:spMk id="31" creationId="{277BB593-577E-1D8E-9D03-21AAF37ADA75}"/>
          </ac:spMkLst>
        </pc:spChg>
        <pc:spChg chg="add del mod">
          <ac:chgData name="Steiner Andreas 6206 ED" userId="e6377c33-a923-4f14-8587-531c474c7b48" providerId="ADAL" clId="{6ECD27E6-B224-41CD-B4E0-E297462320DD}" dt="2023-11-23T19:54:25.268" v="3723"/>
          <ac:spMkLst>
            <pc:docMk/>
            <pc:sldMk cId="2225815222" sldId="2147478566"/>
            <ac:spMk id="32" creationId="{BA6FE019-76F2-E21B-09A8-0EE3BCE8B8D6}"/>
          </ac:spMkLst>
        </pc:spChg>
        <pc:spChg chg="add del mod">
          <ac:chgData name="Steiner Andreas 6206 ED" userId="e6377c33-a923-4f14-8587-531c474c7b48" providerId="ADAL" clId="{6ECD27E6-B224-41CD-B4E0-E297462320DD}" dt="2023-11-23T19:54:36.991" v="3878"/>
          <ac:spMkLst>
            <pc:docMk/>
            <pc:sldMk cId="2225815222" sldId="2147478566"/>
            <ac:spMk id="33" creationId="{72EE4D55-5BEB-8CA8-8AE6-C770A6CA126B}"/>
          </ac:spMkLst>
        </pc:spChg>
        <pc:spChg chg="add del mod">
          <ac:chgData name="Steiner Andreas 6206 ED" userId="e6377c33-a923-4f14-8587-531c474c7b48" providerId="ADAL" clId="{6ECD27E6-B224-41CD-B4E0-E297462320DD}" dt="2023-11-23T19:54:48.284" v="4033"/>
          <ac:spMkLst>
            <pc:docMk/>
            <pc:sldMk cId="2225815222" sldId="2147478566"/>
            <ac:spMk id="34" creationId="{B99851B1-8BE2-E3FE-AF47-9F847F3EE111}"/>
          </ac:spMkLst>
        </pc:spChg>
        <pc:spChg chg="add del mod">
          <ac:chgData name="Steiner Andreas 6206 ED" userId="e6377c33-a923-4f14-8587-531c474c7b48" providerId="ADAL" clId="{6ECD27E6-B224-41CD-B4E0-E297462320DD}" dt="2023-11-23T19:54:59.972" v="4188"/>
          <ac:spMkLst>
            <pc:docMk/>
            <pc:sldMk cId="2225815222" sldId="2147478566"/>
            <ac:spMk id="35" creationId="{EAC4FE1D-86ED-A6EF-9371-7F610106959B}"/>
          </ac:spMkLst>
        </pc:spChg>
        <pc:spChg chg="add del mod">
          <ac:chgData name="Steiner Andreas 6206 ED" userId="e6377c33-a923-4f14-8587-531c474c7b48" providerId="ADAL" clId="{6ECD27E6-B224-41CD-B4E0-E297462320DD}" dt="2023-11-23T19:55:11.701" v="4343"/>
          <ac:spMkLst>
            <pc:docMk/>
            <pc:sldMk cId="2225815222" sldId="2147478566"/>
            <ac:spMk id="36" creationId="{BE41202E-B68C-671A-FC3A-0A7A2474E652}"/>
          </ac:spMkLst>
        </pc:spChg>
        <pc:spChg chg="add del mod">
          <ac:chgData name="Steiner Andreas 6206 ED" userId="e6377c33-a923-4f14-8587-531c474c7b48" providerId="ADAL" clId="{6ECD27E6-B224-41CD-B4E0-E297462320DD}" dt="2023-11-23T19:55:23.374" v="4498"/>
          <ac:spMkLst>
            <pc:docMk/>
            <pc:sldMk cId="2225815222" sldId="2147478566"/>
            <ac:spMk id="37" creationId="{6F62A3C0-D9C1-3858-38D3-A3A7F187C27D}"/>
          </ac:spMkLst>
        </pc:spChg>
        <pc:spChg chg="add del mod">
          <ac:chgData name="Steiner Andreas 6206 ED" userId="e6377c33-a923-4f14-8587-531c474c7b48" providerId="ADAL" clId="{6ECD27E6-B224-41CD-B4E0-E297462320DD}" dt="2023-11-23T19:55:35.040" v="4653"/>
          <ac:spMkLst>
            <pc:docMk/>
            <pc:sldMk cId="2225815222" sldId="2147478566"/>
            <ac:spMk id="38" creationId="{34A6D1E4-DE51-1A16-F840-08C1A3EA29AF}"/>
          </ac:spMkLst>
        </pc:spChg>
        <pc:spChg chg="add del mod">
          <ac:chgData name="Steiner Andreas 6206 ED" userId="e6377c33-a923-4f14-8587-531c474c7b48" providerId="ADAL" clId="{6ECD27E6-B224-41CD-B4E0-E297462320DD}" dt="2023-11-23T19:55:46.315" v="4808"/>
          <ac:spMkLst>
            <pc:docMk/>
            <pc:sldMk cId="2225815222" sldId="2147478566"/>
            <ac:spMk id="39" creationId="{240548EB-6FA7-8C19-7271-3B94889A975E}"/>
          </ac:spMkLst>
        </pc:spChg>
        <pc:spChg chg="add del mod">
          <ac:chgData name="Steiner Andreas 6206 ED" userId="e6377c33-a923-4f14-8587-531c474c7b48" providerId="ADAL" clId="{6ECD27E6-B224-41CD-B4E0-E297462320DD}" dt="2023-11-23T19:55:58.016" v="4963"/>
          <ac:spMkLst>
            <pc:docMk/>
            <pc:sldMk cId="2225815222" sldId="2147478566"/>
            <ac:spMk id="40" creationId="{03B581A5-2BB1-7FEE-2128-7BD1B14EC435}"/>
          </ac:spMkLst>
        </pc:spChg>
        <pc:spChg chg="add del mod">
          <ac:chgData name="Steiner Andreas 6206 ED" userId="e6377c33-a923-4f14-8587-531c474c7b48" providerId="ADAL" clId="{6ECD27E6-B224-41CD-B4E0-E297462320DD}" dt="2023-11-23T19:56:09.696" v="5118"/>
          <ac:spMkLst>
            <pc:docMk/>
            <pc:sldMk cId="2225815222" sldId="2147478566"/>
            <ac:spMk id="41" creationId="{23B82F9A-90A5-F9AE-427A-4308EA98A672}"/>
          </ac:spMkLst>
        </pc:spChg>
        <pc:spChg chg="add del mod">
          <ac:chgData name="Steiner Andreas 6206 ED" userId="e6377c33-a923-4f14-8587-531c474c7b48" providerId="ADAL" clId="{6ECD27E6-B224-41CD-B4E0-E297462320DD}" dt="2023-11-23T19:56:21.384" v="5273"/>
          <ac:spMkLst>
            <pc:docMk/>
            <pc:sldMk cId="2225815222" sldId="2147478566"/>
            <ac:spMk id="42" creationId="{84A3C637-A840-2611-B664-87E95B6086E7}"/>
          </ac:spMkLst>
        </pc:spChg>
        <pc:spChg chg="add del mod">
          <ac:chgData name="Steiner Andreas 6206 ED" userId="e6377c33-a923-4f14-8587-531c474c7b48" providerId="ADAL" clId="{6ECD27E6-B224-41CD-B4E0-E297462320DD}" dt="2023-11-23T19:56:33.066" v="5428"/>
          <ac:spMkLst>
            <pc:docMk/>
            <pc:sldMk cId="2225815222" sldId="2147478566"/>
            <ac:spMk id="43" creationId="{B48ADA6F-CC81-56CE-8027-9B519EA53485}"/>
          </ac:spMkLst>
        </pc:spChg>
        <pc:spChg chg="add del mod">
          <ac:chgData name="Steiner Andreas 6206 ED" userId="e6377c33-a923-4f14-8587-531c474c7b48" providerId="ADAL" clId="{6ECD27E6-B224-41CD-B4E0-E297462320DD}" dt="2023-11-23T19:56:44.394" v="5583"/>
          <ac:spMkLst>
            <pc:docMk/>
            <pc:sldMk cId="2225815222" sldId="2147478566"/>
            <ac:spMk id="44" creationId="{E9306EF7-1AA7-0F56-3766-CEDD8AEF88D2}"/>
          </ac:spMkLst>
        </pc:spChg>
        <pc:spChg chg="add del mod">
          <ac:chgData name="Steiner Andreas 6206 ED" userId="e6377c33-a923-4f14-8587-531c474c7b48" providerId="ADAL" clId="{6ECD27E6-B224-41CD-B4E0-E297462320DD}" dt="2023-11-23T19:56:54.803" v="5738"/>
          <ac:spMkLst>
            <pc:docMk/>
            <pc:sldMk cId="2225815222" sldId="2147478566"/>
            <ac:spMk id="45" creationId="{4550F343-6D90-3740-46E8-DD631BF754FA}"/>
          </ac:spMkLst>
        </pc:spChg>
        <pc:spChg chg="add del mod">
          <ac:chgData name="Steiner Andreas 6206 ED" userId="e6377c33-a923-4f14-8587-531c474c7b48" providerId="ADAL" clId="{6ECD27E6-B224-41CD-B4E0-E297462320DD}" dt="2023-11-23T19:57:06.267" v="5893"/>
          <ac:spMkLst>
            <pc:docMk/>
            <pc:sldMk cId="2225815222" sldId="2147478566"/>
            <ac:spMk id="46" creationId="{ED954AE7-AE11-7C80-2F25-7328476C1D30}"/>
          </ac:spMkLst>
        </pc:spChg>
        <pc:spChg chg="add del mod">
          <ac:chgData name="Steiner Andreas 6206 ED" userId="e6377c33-a923-4f14-8587-531c474c7b48" providerId="ADAL" clId="{6ECD27E6-B224-41CD-B4E0-E297462320DD}" dt="2023-11-23T19:57:17.970" v="6048"/>
          <ac:spMkLst>
            <pc:docMk/>
            <pc:sldMk cId="2225815222" sldId="2147478566"/>
            <ac:spMk id="47" creationId="{60BF2058-CC7D-4B40-F1FD-F36BFA29D67D}"/>
          </ac:spMkLst>
        </pc:spChg>
        <pc:spChg chg="add del mod">
          <ac:chgData name="Steiner Andreas 6206 ED" userId="e6377c33-a923-4f14-8587-531c474c7b48" providerId="ADAL" clId="{6ECD27E6-B224-41CD-B4E0-E297462320DD}" dt="2023-11-23T19:57:29.377" v="6203"/>
          <ac:spMkLst>
            <pc:docMk/>
            <pc:sldMk cId="2225815222" sldId="2147478566"/>
            <ac:spMk id="48" creationId="{3ADFDF64-5E76-AFF4-6B9B-0F54F4964487}"/>
          </ac:spMkLst>
        </pc:spChg>
        <pc:spChg chg="add del mod">
          <ac:chgData name="Steiner Andreas 6206 ED" userId="e6377c33-a923-4f14-8587-531c474c7b48" providerId="ADAL" clId="{6ECD27E6-B224-41CD-B4E0-E297462320DD}" dt="2023-11-23T19:57:41.036" v="6358"/>
          <ac:spMkLst>
            <pc:docMk/>
            <pc:sldMk cId="2225815222" sldId="2147478566"/>
            <ac:spMk id="49" creationId="{37EE3E6F-17EB-E5D2-683A-904BEE314AF6}"/>
          </ac:spMkLst>
        </pc:spChg>
        <pc:spChg chg="add del mod">
          <ac:chgData name="Steiner Andreas 6206 ED" userId="e6377c33-a923-4f14-8587-531c474c7b48" providerId="ADAL" clId="{6ECD27E6-B224-41CD-B4E0-E297462320DD}" dt="2023-11-23T19:57:52.702" v="6513"/>
          <ac:spMkLst>
            <pc:docMk/>
            <pc:sldMk cId="2225815222" sldId="2147478566"/>
            <ac:spMk id="50" creationId="{9AA12AFA-A255-DC72-4DC1-E15DA8A8A171}"/>
          </ac:spMkLst>
        </pc:spChg>
        <pc:spChg chg="add del mod">
          <ac:chgData name="Steiner Andreas 6206 ED" userId="e6377c33-a923-4f14-8587-531c474c7b48" providerId="ADAL" clId="{6ECD27E6-B224-41CD-B4E0-E297462320DD}" dt="2023-11-23T19:58:04.416" v="6668"/>
          <ac:spMkLst>
            <pc:docMk/>
            <pc:sldMk cId="2225815222" sldId="2147478566"/>
            <ac:spMk id="51" creationId="{B77EDFF0-F0DF-ABE3-FC4A-EA7AA01BF2F0}"/>
          </ac:spMkLst>
        </pc:spChg>
        <pc:spChg chg="add del mod">
          <ac:chgData name="Steiner Andreas 6206 ED" userId="e6377c33-a923-4f14-8587-531c474c7b48" providerId="ADAL" clId="{6ECD27E6-B224-41CD-B4E0-E297462320DD}" dt="2023-11-23T19:58:15.774" v="6823"/>
          <ac:spMkLst>
            <pc:docMk/>
            <pc:sldMk cId="2225815222" sldId="2147478566"/>
            <ac:spMk id="52" creationId="{20C8B530-5528-62B7-F8CD-6831ACE6AC0B}"/>
          </ac:spMkLst>
        </pc:spChg>
        <pc:spChg chg="add del mod">
          <ac:chgData name="Steiner Andreas 6206 ED" userId="e6377c33-a923-4f14-8587-531c474c7b48" providerId="ADAL" clId="{6ECD27E6-B224-41CD-B4E0-E297462320DD}" dt="2023-11-23T19:58:27.934" v="6978"/>
          <ac:spMkLst>
            <pc:docMk/>
            <pc:sldMk cId="2225815222" sldId="2147478566"/>
            <ac:spMk id="53" creationId="{4B2CCFE6-9D4B-BABB-B623-6D42F05AC688}"/>
          </ac:spMkLst>
        </pc:spChg>
        <pc:spChg chg="add del mod">
          <ac:chgData name="Steiner Andreas 6206 ED" userId="e6377c33-a923-4f14-8587-531c474c7b48" providerId="ADAL" clId="{6ECD27E6-B224-41CD-B4E0-E297462320DD}" dt="2023-11-23T19:58:39.666" v="7133"/>
          <ac:spMkLst>
            <pc:docMk/>
            <pc:sldMk cId="2225815222" sldId="2147478566"/>
            <ac:spMk id="54" creationId="{1B5285C1-3177-A6D2-FBA8-0D11A4FCC034}"/>
          </ac:spMkLst>
        </pc:spChg>
        <pc:spChg chg="add del mod">
          <ac:chgData name="Steiner Andreas 6206 ED" userId="e6377c33-a923-4f14-8587-531c474c7b48" providerId="ADAL" clId="{6ECD27E6-B224-41CD-B4E0-E297462320DD}" dt="2023-11-23T19:58:51.357" v="7288"/>
          <ac:spMkLst>
            <pc:docMk/>
            <pc:sldMk cId="2225815222" sldId="2147478566"/>
            <ac:spMk id="55" creationId="{349BB274-433B-AB9F-0DB2-8CADB2CC3639}"/>
          </ac:spMkLst>
        </pc:spChg>
        <pc:spChg chg="add del mod">
          <ac:chgData name="Steiner Andreas 6206 ED" userId="e6377c33-a923-4f14-8587-531c474c7b48" providerId="ADAL" clId="{6ECD27E6-B224-41CD-B4E0-E297462320DD}" dt="2023-11-23T19:59:02.690" v="7443"/>
          <ac:spMkLst>
            <pc:docMk/>
            <pc:sldMk cId="2225815222" sldId="2147478566"/>
            <ac:spMk id="56" creationId="{75BF5457-A36C-09DD-B43C-286BE6927F14}"/>
          </ac:spMkLst>
        </pc:spChg>
        <pc:spChg chg="add del mod">
          <ac:chgData name="Steiner Andreas 6206 ED" userId="e6377c33-a923-4f14-8587-531c474c7b48" providerId="ADAL" clId="{6ECD27E6-B224-41CD-B4E0-E297462320DD}" dt="2023-11-24T08:31:41.591" v="7598"/>
          <ac:spMkLst>
            <pc:docMk/>
            <pc:sldMk cId="2225815222" sldId="2147478566"/>
            <ac:spMk id="57" creationId="{F1A99244-FB13-E817-0442-FFD4FA771A15}"/>
          </ac:spMkLst>
        </pc:spChg>
        <pc:spChg chg="add del mod">
          <ac:chgData name="Steiner Andreas 6206 ED" userId="e6377c33-a923-4f14-8587-531c474c7b48" providerId="ADAL" clId="{6ECD27E6-B224-41CD-B4E0-E297462320DD}" dt="2023-11-24T08:31:45.276" v="7753"/>
          <ac:spMkLst>
            <pc:docMk/>
            <pc:sldMk cId="2225815222" sldId="2147478566"/>
            <ac:spMk id="58" creationId="{62A7CBFF-A7AF-CF4A-08A6-A381A4C8A43E}"/>
          </ac:spMkLst>
        </pc:spChg>
        <pc:spChg chg="add del mod">
          <ac:chgData name="Steiner Andreas 6206 ED" userId="e6377c33-a923-4f14-8587-531c474c7b48" providerId="ADAL" clId="{6ECD27E6-B224-41CD-B4E0-E297462320DD}" dt="2023-11-24T08:31:47.111" v="7908"/>
          <ac:spMkLst>
            <pc:docMk/>
            <pc:sldMk cId="2225815222" sldId="2147478566"/>
            <ac:spMk id="59" creationId="{66B7D381-6DC9-D726-14C4-112C16A00EE1}"/>
          </ac:spMkLst>
        </pc:spChg>
        <pc:spChg chg="add del mod">
          <ac:chgData name="Steiner Andreas 6206 ED" userId="e6377c33-a923-4f14-8587-531c474c7b48" providerId="ADAL" clId="{6ECD27E6-B224-41CD-B4E0-E297462320DD}" dt="2023-11-24T08:31:49.002" v="8063"/>
          <ac:spMkLst>
            <pc:docMk/>
            <pc:sldMk cId="2225815222" sldId="2147478566"/>
            <ac:spMk id="60" creationId="{AE702A17-A5B3-0CE8-3111-E3F17AD43BC7}"/>
          </ac:spMkLst>
        </pc:spChg>
        <pc:spChg chg="add del mod">
          <ac:chgData name="Steiner Andreas 6206 ED" userId="e6377c33-a923-4f14-8587-531c474c7b48" providerId="ADAL" clId="{6ECD27E6-B224-41CD-B4E0-E297462320DD}" dt="2023-11-24T08:31:50.837" v="8218"/>
          <ac:spMkLst>
            <pc:docMk/>
            <pc:sldMk cId="2225815222" sldId="2147478566"/>
            <ac:spMk id="61" creationId="{35E44869-A238-61AF-43BB-2D798FD2AC8B}"/>
          </ac:spMkLst>
        </pc:spChg>
        <pc:spChg chg="add del mod">
          <ac:chgData name="Steiner Andreas 6206 ED" userId="e6377c33-a923-4f14-8587-531c474c7b48" providerId="ADAL" clId="{6ECD27E6-B224-41CD-B4E0-E297462320DD}" dt="2023-11-24T08:31:52.652" v="8373"/>
          <ac:spMkLst>
            <pc:docMk/>
            <pc:sldMk cId="2225815222" sldId="2147478566"/>
            <ac:spMk id="62" creationId="{B74588E2-BDA6-16DB-5AD3-384237DAF1D4}"/>
          </ac:spMkLst>
        </pc:spChg>
        <pc:spChg chg="add del mod">
          <ac:chgData name="Steiner Andreas 6206 ED" userId="e6377c33-a923-4f14-8587-531c474c7b48" providerId="ADAL" clId="{6ECD27E6-B224-41CD-B4E0-E297462320DD}" dt="2023-11-24T08:31:54.443" v="8528"/>
          <ac:spMkLst>
            <pc:docMk/>
            <pc:sldMk cId="2225815222" sldId="2147478566"/>
            <ac:spMk id="63" creationId="{C890FAB4-2E43-4B0F-75CA-653B2AF36E52}"/>
          </ac:spMkLst>
        </pc:spChg>
        <pc:spChg chg="add del mod">
          <ac:chgData name="Steiner Andreas 6206 ED" userId="e6377c33-a923-4f14-8587-531c474c7b48" providerId="ADAL" clId="{6ECD27E6-B224-41CD-B4E0-E297462320DD}" dt="2023-11-24T08:31:56.287" v="8683"/>
          <ac:spMkLst>
            <pc:docMk/>
            <pc:sldMk cId="2225815222" sldId="2147478566"/>
            <ac:spMk id="64" creationId="{BB406922-C55C-F219-28DD-9781A0FEA5DC}"/>
          </ac:spMkLst>
        </pc:spChg>
        <pc:spChg chg="add del mod">
          <ac:chgData name="Steiner Andreas 6206 ED" userId="e6377c33-a923-4f14-8587-531c474c7b48" providerId="ADAL" clId="{6ECD27E6-B224-41CD-B4E0-E297462320DD}" dt="2023-11-24T08:31:58.178" v="8838"/>
          <ac:spMkLst>
            <pc:docMk/>
            <pc:sldMk cId="2225815222" sldId="2147478566"/>
            <ac:spMk id="65" creationId="{89E9622A-724C-134A-C182-BFE5F4A15DDF}"/>
          </ac:spMkLst>
        </pc:spChg>
        <pc:spChg chg="add del mod">
          <ac:chgData name="Steiner Andreas 6206 ED" userId="e6377c33-a923-4f14-8587-531c474c7b48" providerId="ADAL" clId="{6ECD27E6-B224-41CD-B4E0-E297462320DD}" dt="2023-11-24T08:32:00.971" v="8993"/>
          <ac:spMkLst>
            <pc:docMk/>
            <pc:sldMk cId="2225815222" sldId="2147478566"/>
            <ac:spMk id="66" creationId="{ABC7AF56-F56E-BB52-913F-A66AE8A62FD2}"/>
          </ac:spMkLst>
        </pc:spChg>
        <pc:spChg chg="add del mod">
          <ac:chgData name="Steiner Andreas 6206 ED" userId="e6377c33-a923-4f14-8587-531c474c7b48" providerId="ADAL" clId="{6ECD27E6-B224-41CD-B4E0-E297462320DD}" dt="2023-11-24T08:32:03.262" v="9148"/>
          <ac:spMkLst>
            <pc:docMk/>
            <pc:sldMk cId="2225815222" sldId="2147478566"/>
            <ac:spMk id="67" creationId="{9954E6B5-B5B8-02C5-AF9C-4E6210725AB5}"/>
          </ac:spMkLst>
        </pc:spChg>
        <pc:spChg chg="add del mod">
          <ac:chgData name="Steiner Andreas 6206 ED" userId="e6377c33-a923-4f14-8587-531c474c7b48" providerId="ADAL" clId="{6ECD27E6-B224-41CD-B4E0-E297462320DD}" dt="2023-11-24T08:32:05.282" v="9303"/>
          <ac:spMkLst>
            <pc:docMk/>
            <pc:sldMk cId="2225815222" sldId="2147478566"/>
            <ac:spMk id="68" creationId="{933702EE-B5F2-0CA9-8A12-ABD35D16D9A1}"/>
          </ac:spMkLst>
        </pc:spChg>
        <pc:spChg chg="add del mod">
          <ac:chgData name="Steiner Andreas 6206 ED" userId="e6377c33-a923-4f14-8587-531c474c7b48" providerId="ADAL" clId="{6ECD27E6-B224-41CD-B4E0-E297462320DD}" dt="2023-11-24T08:32:07.233" v="9458"/>
          <ac:spMkLst>
            <pc:docMk/>
            <pc:sldMk cId="2225815222" sldId="2147478566"/>
            <ac:spMk id="69" creationId="{69479011-BDFE-08AA-D90D-FF3F333E4E45}"/>
          </ac:spMkLst>
        </pc:spChg>
        <pc:spChg chg="add del mod">
          <ac:chgData name="Steiner Andreas 6206 ED" userId="e6377c33-a923-4f14-8587-531c474c7b48" providerId="ADAL" clId="{6ECD27E6-B224-41CD-B4E0-E297462320DD}" dt="2023-11-24T08:32:09.570" v="9613"/>
          <ac:spMkLst>
            <pc:docMk/>
            <pc:sldMk cId="2225815222" sldId="2147478566"/>
            <ac:spMk id="70" creationId="{509839DF-DE14-2BF4-32A8-CCDE18B98EAD}"/>
          </ac:spMkLst>
        </pc:spChg>
        <pc:spChg chg="add del mod">
          <ac:chgData name="Steiner Andreas 6206 ED" userId="e6377c33-a923-4f14-8587-531c474c7b48" providerId="ADAL" clId="{6ECD27E6-B224-41CD-B4E0-E297462320DD}" dt="2023-11-24T08:32:11.879" v="9768"/>
          <ac:spMkLst>
            <pc:docMk/>
            <pc:sldMk cId="2225815222" sldId="2147478566"/>
            <ac:spMk id="71" creationId="{B5CBC875-8DC5-A02C-93FE-CB1A0619C24A}"/>
          </ac:spMkLst>
        </pc:spChg>
        <pc:spChg chg="add del mod">
          <ac:chgData name="Steiner Andreas 6206 ED" userId="e6377c33-a923-4f14-8587-531c474c7b48" providerId="ADAL" clId="{6ECD27E6-B224-41CD-B4E0-E297462320DD}" dt="2023-11-24T08:32:14.027" v="9923"/>
          <ac:spMkLst>
            <pc:docMk/>
            <pc:sldMk cId="2225815222" sldId="2147478566"/>
            <ac:spMk id="72" creationId="{B488EB15-04FC-C6E6-AD49-37C36915779D}"/>
          </ac:spMkLst>
        </pc:spChg>
        <pc:spChg chg="add del mod">
          <ac:chgData name="Steiner Andreas 6206 ED" userId="e6377c33-a923-4f14-8587-531c474c7b48" providerId="ADAL" clId="{6ECD27E6-B224-41CD-B4E0-E297462320DD}" dt="2023-11-24T08:32:15.970" v="10078"/>
          <ac:spMkLst>
            <pc:docMk/>
            <pc:sldMk cId="2225815222" sldId="2147478566"/>
            <ac:spMk id="73" creationId="{E653DCEB-964D-4C50-7F4A-F46A522F1C28}"/>
          </ac:spMkLst>
        </pc:spChg>
        <pc:spChg chg="add del mod">
          <ac:chgData name="Steiner Andreas 6206 ED" userId="e6377c33-a923-4f14-8587-531c474c7b48" providerId="ADAL" clId="{6ECD27E6-B224-41CD-B4E0-E297462320DD}" dt="2023-11-24T08:32:17.959" v="10233"/>
          <ac:spMkLst>
            <pc:docMk/>
            <pc:sldMk cId="2225815222" sldId="2147478566"/>
            <ac:spMk id="74" creationId="{2E69B961-45AE-767E-5FEB-26E75C8B00F3}"/>
          </ac:spMkLst>
        </pc:spChg>
        <pc:spChg chg="add del mod">
          <ac:chgData name="Steiner Andreas 6206 ED" userId="e6377c33-a923-4f14-8587-531c474c7b48" providerId="ADAL" clId="{6ECD27E6-B224-41CD-B4E0-E297462320DD}" dt="2023-11-24T08:32:19.936" v="10388"/>
          <ac:spMkLst>
            <pc:docMk/>
            <pc:sldMk cId="2225815222" sldId="2147478566"/>
            <ac:spMk id="75" creationId="{F39FE7AA-EDDB-51C7-821E-E3D8B7088148}"/>
          </ac:spMkLst>
        </pc:spChg>
        <pc:spChg chg="add del mod">
          <ac:chgData name="Steiner Andreas 6206 ED" userId="e6377c33-a923-4f14-8587-531c474c7b48" providerId="ADAL" clId="{6ECD27E6-B224-41CD-B4E0-E297462320DD}" dt="2023-11-24T08:32:21.879" v="10543"/>
          <ac:spMkLst>
            <pc:docMk/>
            <pc:sldMk cId="2225815222" sldId="2147478566"/>
            <ac:spMk id="76" creationId="{A517E8EF-AB52-9550-ADF9-51B31395B524}"/>
          </ac:spMkLst>
        </pc:spChg>
        <pc:spChg chg="add del mod">
          <ac:chgData name="Steiner Andreas 6206 ED" userId="e6377c33-a923-4f14-8587-531c474c7b48" providerId="ADAL" clId="{6ECD27E6-B224-41CD-B4E0-E297462320DD}" dt="2023-11-24T08:32:24.067" v="10698"/>
          <ac:spMkLst>
            <pc:docMk/>
            <pc:sldMk cId="2225815222" sldId="2147478566"/>
            <ac:spMk id="77" creationId="{87D8EADE-5A39-CE8C-3CCC-555804E1B553}"/>
          </ac:spMkLst>
        </pc:spChg>
        <pc:spChg chg="add del mod">
          <ac:chgData name="Steiner Andreas 6206 ED" userId="e6377c33-a923-4f14-8587-531c474c7b48" providerId="ADAL" clId="{6ECD27E6-B224-41CD-B4E0-E297462320DD}" dt="2023-11-24T08:32:26.007" v="10853"/>
          <ac:spMkLst>
            <pc:docMk/>
            <pc:sldMk cId="2225815222" sldId="2147478566"/>
            <ac:spMk id="78" creationId="{55C55CAD-609D-6274-A16C-EAB3CA654BD3}"/>
          </ac:spMkLst>
        </pc:spChg>
        <pc:spChg chg="add del mod">
          <ac:chgData name="Steiner Andreas 6206 ED" userId="e6377c33-a923-4f14-8587-531c474c7b48" providerId="ADAL" clId="{6ECD27E6-B224-41CD-B4E0-E297462320DD}" dt="2023-11-24T08:32:28.006" v="11008"/>
          <ac:spMkLst>
            <pc:docMk/>
            <pc:sldMk cId="2225815222" sldId="2147478566"/>
            <ac:spMk id="79" creationId="{472177D9-96D8-9884-4A0F-AB4BFD7B4A77}"/>
          </ac:spMkLst>
        </pc:spChg>
        <pc:spChg chg="add del mod">
          <ac:chgData name="Steiner Andreas 6206 ED" userId="e6377c33-a923-4f14-8587-531c474c7b48" providerId="ADAL" clId="{6ECD27E6-B224-41CD-B4E0-E297462320DD}" dt="2023-11-24T08:32:29.900" v="11163"/>
          <ac:spMkLst>
            <pc:docMk/>
            <pc:sldMk cId="2225815222" sldId="2147478566"/>
            <ac:spMk id="80" creationId="{B4873317-E928-2FDB-A21F-1F3C95AFAFF2}"/>
          </ac:spMkLst>
        </pc:spChg>
        <pc:spChg chg="add del mod">
          <ac:chgData name="Steiner Andreas 6206 ED" userId="e6377c33-a923-4f14-8587-531c474c7b48" providerId="ADAL" clId="{6ECD27E6-B224-41CD-B4E0-E297462320DD}" dt="2023-11-24T08:32:32.039" v="11318"/>
          <ac:spMkLst>
            <pc:docMk/>
            <pc:sldMk cId="2225815222" sldId="2147478566"/>
            <ac:spMk id="81" creationId="{362DFE00-056D-3887-9B86-3278A82CE9F5}"/>
          </ac:spMkLst>
        </pc:spChg>
        <pc:spChg chg="add del mod">
          <ac:chgData name="Steiner Andreas 6206 ED" userId="e6377c33-a923-4f14-8587-531c474c7b48" providerId="ADAL" clId="{6ECD27E6-B224-41CD-B4E0-E297462320DD}" dt="2023-11-24T08:32:34.432" v="11473"/>
          <ac:spMkLst>
            <pc:docMk/>
            <pc:sldMk cId="2225815222" sldId="2147478566"/>
            <ac:spMk id="82" creationId="{7EEBF5C9-F2EA-DF5B-1165-EF68159C66E7}"/>
          </ac:spMkLst>
        </pc:spChg>
        <pc:spChg chg="add del mod">
          <ac:chgData name="Steiner Andreas 6206 ED" userId="e6377c33-a923-4f14-8587-531c474c7b48" providerId="ADAL" clId="{6ECD27E6-B224-41CD-B4E0-E297462320DD}" dt="2023-11-24T08:32:36.753" v="11628"/>
          <ac:spMkLst>
            <pc:docMk/>
            <pc:sldMk cId="2225815222" sldId="2147478566"/>
            <ac:spMk id="83" creationId="{DF209FC9-7A36-BF78-2F9F-8DE18D780F2D}"/>
          </ac:spMkLst>
        </pc:spChg>
        <pc:spChg chg="add del mod">
          <ac:chgData name="Steiner Andreas 6206 ED" userId="e6377c33-a923-4f14-8587-531c474c7b48" providerId="ADAL" clId="{6ECD27E6-B224-41CD-B4E0-E297462320DD}" dt="2023-11-24T08:32:38.677" v="11783"/>
          <ac:spMkLst>
            <pc:docMk/>
            <pc:sldMk cId="2225815222" sldId="2147478566"/>
            <ac:spMk id="84" creationId="{2180FA0D-3AF1-83C5-F692-1507EC81638C}"/>
          </ac:spMkLst>
        </pc:spChg>
        <pc:spChg chg="add del mod">
          <ac:chgData name="Steiner Andreas 6206 ED" userId="e6377c33-a923-4f14-8587-531c474c7b48" providerId="ADAL" clId="{6ECD27E6-B224-41CD-B4E0-E297462320DD}" dt="2023-11-24T08:32:40.796" v="11938"/>
          <ac:spMkLst>
            <pc:docMk/>
            <pc:sldMk cId="2225815222" sldId="2147478566"/>
            <ac:spMk id="85" creationId="{1BB99011-5BAA-3B28-2173-1194CCB2DF66}"/>
          </ac:spMkLst>
        </pc:spChg>
        <pc:spChg chg="add del mod">
          <ac:chgData name="Steiner Andreas 6206 ED" userId="e6377c33-a923-4f14-8587-531c474c7b48" providerId="ADAL" clId="{6ECD27E6-B224-41CD-B4E0-E297462320DD}" dt="2023-11-24T08:32:42.952" v="12093"/>
          <ac:spMkLst>
            <pc:docMk/>
            <pc:sldMk cId="2225815222" sldId="2147478566"/>
            <ac:spMk id="86" creationId="{17723A96-1BC7-DC5A-E220-8BBFFDDE49D7}"/>
          </ac:spMkLst>
        </pc:spChg>
        <pc:spChg chg="add del mod">
          <ac:chgData name="Steiner Andreas 6206 ED" userId="e6377c33-a923-4f14-8587-531c474c7b48" providerId="ADAL" clId="{6ECD27E6-B224-41CD-B4E0-E297462320DD}" dt="2023-11-24T08:32:45.084" v="12248"/>
          <ac:spMkLst>
            <pc:docMk/>
            <pc:sldMk cId="2225815222" sldId="2147478566"/>
            <ac:spMk id="87" creationId="{A7E0263A-CB6E-11C8-950D-5849C5862462}"/>
          </ac:spMkLst>
        </pc:spChg>
        <pc:spChg chg="add del mod">
          <ac:chgData name="Steiner Andreas 6206 ED" userId="e6377c33-a923-4f14-8587-531c474c7b48" providerId="ADAL" clId="{6ECD27E6-B224-41CD-B4E0-E297462320DD}" dt="2023-11-24T08:32:47.278" v="12403"/>
          <ac:spMkLst>
            <pc:docMk/>
            <pc:sldMk cId="2225815222" sldId="2147478566"/>
            <ac:spMk id="88" creationId="{430158D9-38CA-DF15-0482-F0E6729CE3E5}"/>
          </ac:spMkLst>
        </pc:spChg>
        <pc:spChg chg="add del mod">
          <ac:chgData name="Steiner Andreas 6206 ED" userId="e6377c33-a923-4f14-8587-531c474c7b48" providerId="ADAL" clId="{6ECD27E6-B224-41CD-B4E0-E297462320DD}" dt="2023-11-24T08:32:49.333" v="12558"/>
          <ac:spMkLst>
            <pc:docMk/>
            <pc:sldMk cId="2225815222" sldId="2147478566"/>
            <ac:spMk id="89" creationId="{E7FEB84E-B6D3-4998-E1BF-97DE19B20420}"/>
          </ac:spMkLst>
        </pc:spChg>
        <pc:spChg chg="add del mod">
          <ac:chgData name="Steiner Andreas 6206 ED" userId="e6377c33-a923-4f14-8587-531c474c7b48" providerId="ADAL" clId="{6ECD27E6-B224-41CD-B4E0-E297462320DD}" dt="2023-11-24T08:32:51.267" v="12713"/>
          <ac:spMkLst>
            <pc:docMk/>
            <pc:sldMk cId="2225815222" sldId="2147478566"/>
            <ac:spMk id="90" creationId="{B87C565F-702D-FBF2-BBDE-C4B0D24E89B8}"/>
          </ac:spMkLst>
        </pc:spChg>
        <pc:spChg chg="add del mod">
          <ac:chgData name="Steiner Andreas 6206 ED" userId="e6377c33-a923-4f14-8587-531c474c7b48" providerId="ADAL" clId="{6ECD27E6-B224-41CD-B4E0-E297462320DD}" dt="2023-11-24T08:32:53.277" v="12868"/>
          <ac:spMkLst>
            <pc:docMk/>
            <pc:sldMk cId="2225815222" sldId="2147478566"/>
            <ac:spMk id="91" creationId="{5070175E-E366-1C5F-3BA5-D70D3FACEE2D}"/>
          </ac:spMkLst>
        </pc:spChg>
        <pc:spChg chg="add del mod">
          <ac:chgData name="Steiner Andreas 6206 ED" userId="e6377c33-a923-4f14-8587-531c474c7b48" providerId="ADAL" clId="{6ECD27E6-B224-41CD-B4E0-E297462320DD}" dt="2023-11-24T08:32:55.270" v="13023"/>
          <ac:spMkLst>
            <pc:docMk/>
            <pc:sldMk cId="2225815222" sldId="2147478566"/>
            <ac:spMk id="92" creationId="{928A84ED-BA21-FC54-B44B-72B8DA031817}"/>
          </ac:spMkLst>
        </pc:spChg>
        <pc:spChg chg="add del mod">
          <ac:chgData name="Steiner Andreas 6206 ED" userId="e6377c33-a923-4f14-8587-531c474c7b48" providerId="ADAL" clId="{6ECD27E6-B224-41CD-B4E0-E297462320DD}" dt="2023-11-24T08:32:57.195" v="13178"/>
          <ac:spMkLst>
            <pc:docMk/>
            <pc:sldMk cId="2225815222" sldId="2147478566"/>
            <ac:spMk id="93" creationId="{521C1A83-1035-90D3-5BAD-462EF8A06FD5}"/>
          </ac:spMkLst>
        </pc:spChg>
        <pc:spChg chg="add del mod">
          <ac:chgData name="Steiner Andreas 6206 ED" userId="e6377c33-a923-4f14-8587-531c474c7b48" providerId="ADAL" clId="{6ECD27E6-B224-41CD-B4E0-E297462320DD}" dt="2023-11-24T08:32:59.301" v="13333"/>
          <ac:spMkLst>
            <pc:docMk/>
            <pc:sldMk cId="2225815222" sldId="2147478566"/>
            <ac:spMk id="94" creationId="{945E11E8-6833-A077-EBAB-CB3568D8B77B}"/>
          </ac:spMkLst>
        </pc:spChg>
        <pc:spChg chg="add del mod">
          <ac:chgData name="Steiner Andreas 6206 ED" userId="e6377c33-a923-4f14-8587-531c474c7b48" providerId="ADAL" clId="{6ECD27E6-B224-41CD-B4E0-E297462320DD}" dt="2023-11-24T08:33:01.448" v="13488"/>
          <ac:spMkLst>
            <pc:docMk/>
            <pc:sldMk cId="2225815222" sldId="2147478566"/>
            <ac:spMk id="95" creationId="{29BB0356-1EB8-0A92-A2E2-66387A75B098}"/>
          </ac:spMkLst>
        </pc:spChg>
        <pc:spChg chg="add del mod">
          <ac:chgData name="Steiner Andreas 6206 ED" userId="e6377c33-a923-4f14-8587-531c474c7b48" providerId="ADAL" clId="{6ECD27E6-B224-41CD-B4E0-E297462320DD}" dt="2023-11-24T08:33:03.791" v="13643"/>
          <ac:spMkLst>
            <pc:docMk/>
            <pc:sldMk cId="2225815222" sldId="2147478566"/>
            <ac:spMk id="96" creationId="{29ED4133-970B-FAA9-E776-1287AC14B31A}"/>
          </ac:spMkLst>
        </pc:spChg>
        <pc:spChg chg="add del mod">
          <ac:chgData name="Steiner Andreas 6206 ED" userId="e6377c33-a923-4f14-8587-531c474c7b48" providerId="ADAL" clId="{6ECD27E6-B224-41CD-B4E0-E297462320DD}" dt="2023-11-24T08:33:06.161" v="13798"/>
          <ac:spMkLst>
            <pc:docMk/>
            <pc:sldMk cId="2225815222" sldId="2147478566"/>
            <ac:spMk id="97" creationId="{9BE2B86E-B522-C66D-B88C-CE9C1A18F9ED}"/>
          </ac:spMkLst>
        </pc:spChg>
        <pc:spChg chg="add del mod">
          <ac:chgData name="Steiner Andreas 6206 ED" userId="e6377c33-a923-4f14-8587-531c474c7b48" providerId="ADAL" clId="{6ECD27E6-B224-41CD-B4E0-E297462320DD}" dt="2023-11-24T08:33:08.393" v="13953"/>
          <ac:spMkLst>
            <pc:docMk/>
            <pc:sldMk cId="2225815222" sldId="2147478566"/>
            <ac:spMk id="98" creationId="{57142722-D044-60B6-41A7-836330B0EAA7}"/>
          </ac:spMkLst>
        </pc:spChg>
        <pc:spChg chg="add del mod">
          <ac:chgData name="Steiner Andreas 6206 ED" userId="e6377c33-a923-4f14-8587-531c474c7b48" providerId="ADAL" clId="{6ECD27E6-B224-41CD-B4E0-E297462320DD}" dt="2023-11-24T08:33:10.815" v="14108"/>
          <ac:spMkLst>
            <pc:docMk/>
            <pc:sldMk cId="2225815222" sldId="2147478566"/>
            <ac:spMk id="99" creationId="{9DCA4058-6E8D-0F4A-60AE-21D27028AEAE}"/>
          </ac:spMkLst>
        </pc:spChg>
        <pc:spChg chg="add del mod">
          <ac:chgData name="Steiner Andreas 6206 ED" userId="e6377c33-a923-4f14-8587-531c474c7b48" providerId="ADAL" clId="{6ECD27E6-B224-41CD-B4E0-E297462320DD}" dt="2023-11-24T08:33:12.762" v="14263"/>
          <ac:spMkLst>
            <pc:docMk/>
            <pc:sldMk cId="2225815222" sldId="2147478566"/>
            <ac:spMk id="100" creationId="{A0D0AA8B-7E46-CBB1-B0BD-34E30E7C30B9}"/>
          </ac:spMkLst>
        </pc:spChg>
        <pc:spChg chg="add del mod">
          <ac:chgData name="Steiner Andreas 6206 ED" userId="e6377c33-a923-4f14-8587-531c474c7b48" providerId="ADAL" clId="{6ECD27E6-B224-41CD-B4E0-E297462320DD}" dt="2023-11-24T08:33:14.649" v="14418"/>
          <ac:spMkLst>
            <pc:docMk/>
            <pc:sldMk cId="2225815222" sldId="2147478566"/>
            <ac:spMk id="101" creationId="{75C23AF7-6AC1-E50F-5F0B-32BB5FA0C79D}"/>
          </ac:spMkLst>
        </pc:spChg>
        <pc:spChg chg="add del mod">
          <ac:chgData name="Steiner Andreas 6206 ED" userId="e6377c33-a923-4f14-8587-531c474c7b48" providerId="ADAL" clId="{6ECD27E6-B224-41CD-B4E0-E297462320DD}" dt="2023-11-24T08:33:16.681" v="14573"/>
          <ac:spMkLst>
            <pc:docMk/>
            <pc:sldMk cId="2225815222" sldId="2147478566"/>
            <ac:spMk id="102" creationId="{36E625FB-D4DA-9EC2-B45D-26F63842C7CB}"/>
          </ac:spMkLst>
        </pc:spChg>
        <pc:spChg chg="add del mod">
          <ac:chgData name="Steiner Andreas 6206 ED" userId="e6377c33-a923-4f14-8587-531c474c7b48" providerId="ADAL" clId="{6ECD27E6-B224-41CD-B4E0-E297462320DD}" dt="2023-11-24T08:33:18.995" v="14728"/>
          <ac:spMkLst>
            <pc:docMk/>
            <pc:sldMk cId="2225815222" sldId="2147478566"/>
            <ac:spMk id="103" creationId="{A5848F6C-C166-B9D2-4C85-643BB9727918}"/>
          </ac:spMkLst>
        </pc:spChg>
        <pc:spChg chg="add del mod">
          <ac:chgData name="Steiner Andreas 6206 ED" userId="e6377c33-a923-4f14-8587-531c474c7b48" providerId="ADAL" clId="{6ECD27E6-B224-41CD-B4E0-E297462320DD}" dt="2023-11-24T08:33:21.453" v="14883"/>
          <ac:spMkLst>
            <pc:docMk/>
            <pc:sldMk cId="2225815222" sldId="2147478566"/>
            <ac:spMk id="104" creationId="{E299B84E-8153-7280-CDE4-131D3EA57819}"/>
          </ac:spMkLst>
        </pc:spChg>
        <pc:spChg chg="add del mod">
          <ac:chgData name="Steiner Andreas 6206 ED" userId="e6377c33-a923-4f14-8587-531c474c7b48" providerId="ADAL" clId="{6ECD27E6-B224-41CD-B4E0-E297462320DD}" dt="2023-11-24T08:33:23.795" v="15038"/>
          <ac:spMkLst>
            <pc:docMk/>
            <pc:sldMk cId="2225815222" sldId="2147478566"/>
            <ac:spMk id="105" creationId="{C092C46A-A5EF-9FBF-DC6B-756F78EAB5D3}"/>
          </ac:spMkLst>
        </pc:spChg>
        <pc:spChg chg="add del mod">
          <ac:chgData name="Steiner Andreas 6206 ED" userId="e6377c33-a923-4f14-8587-531c474c7b48" providerId="ADAL" clId="{6ECD27E6-B224-41CD-B4E0-E297462320DD}" dt="2023-11-24T08:33:26.138" v="15193"/>
          <ac:spMkLst>
            <pc:docMk/>
            <pc:sldMk cId="2225815222" sldId="2147478566"/>
            <ac:spMk id="106" creationId="{C265EB07-3E21-7022-69AF-BFA945F7B153}"/>
          </ac:spMkLst>
        </pc:spChg>
        <pc:spChg chg="add del mod">
          <ac:chgData name="Steiner Andreas 6206 ED" userId="e6377c33-a923-4f14-8587-531c474c7b48" providerId="ADAL" clId="{6ECD27E6-B224-41CD-B4E0-E297462320DD}" dt="2023-11-24T08:33:28.480" v="15348"/>
          <ac:spMkLst>
            <pc:docMk/>
            <pc:sldMk cId="2225815222" sldId="2147478566"/>
            <ac:spMk id="107" creationId="{0F6D609B-FBCE-6C4E-7E7C-97DC64D99D64}"/>
          </ac:spMkLst>
        </pc:spChg>
        <pc:spChg chg="add del mod">
          <ac:chgData name="Steiner Andreas 6206 ED" userId="e6377c33-a923-4f14-8587-531c474c7b48" providerId="ADAL" clId="{6ECD27E6-B224-41CD-B4E0-E297462320DD}" dt="2023-11-24T08:33:30.937" v="15503"/>
          <ac:spMkLst>
            <pc:docMk/>
            <pc:sldMk cId="2225815222" sldId="2147478566"/>
            <ac:spMk id="108" creationId="{73260AF6-20A8-BB5F-A89F-D362EA1B2E69}"/>
          </ac:spMkLst>
        </pc:spChg>
        <pc:spChg chg="add del mod">
          <ac:chgData name="Steiner Andreas 6206 ED" userId="e6377c33-a923-4f14-8587-531c474c7b48" providerId="ADAL" clId="{6ECD27E6-B224-41CD-B4E0-E297462320DD}" dt="2023-11-24T08:33:33.679" v="15658"/>
          <ac:spMkLst>
            <pc:docMk/>
            <pc:sldMk cId="2225815222" sldId="2147478566"/>
            <ac:spMk id="109" creationId="{7B1229B4-D416-28B5-A9BE-5EC94D2DDCB9}"/>
          </ac:spMkLst>
        </pc:spChg>
        <pc:spChg chg="add del mod">
          <ac:chgData name="Steiner Andreas 6206 ED" userId="e6377c33-a923-4f14-8587-531c474c7b48" providerId="ADAL" clId="{6ECD27E6-B224-41CD-B4E0-E297462320DD}" dt="2023-11-24T08:33:35.970" v="15813"/>
          <ac:spMkLst>
            <pc:docMk/>
            <pc:sldMk cId="2225815222" sldId="2147478566"/>
            <ac:spMk id="110" creationId="{2E98CB38-A879-9570-98DB-053A00521C95}"/>
          </ac:spMkLst>
        </pc:spChg>
        <pc:spChg chg="add del mod">
          <ac:chgData name="Steiner Andreas 6206 ED" userId="e6377c33-a923-4f14-8587-531c474c7b48" providerId="ADAL" clId="{6ECD27E6-B224-41CD-B4E0-E297462320DD}" dt="2023-11-24T08:33:38.078" v="15968"/>
          <ac:spMkLst>
            <pc:docMk/>
            <pc:sldMk cId="2225815222" sldId="2147478566"/>
            <ac:spMk id="111" creationId="{A9B20B0A-DAC8-310B-5A5B-617F612D3EFF}"/>
          </ac:spMkLst>
        </pc:spChg>
        <pc:spChg chg="add del mod">
          <ac:chgData name="Steiner Andreas 6206 ED" userId="e6377c33-a923-4f14-8587-531c474c7b48" providerId="ADAL" clId="{6ECD27E6-B224-41CD-B4E0-E297462320DD}" dt="2023-11-24T08:33:40.522" v="16123"/>
          <ac:spMkLst>
            <pc:docMk/>
            <pc:sldMk cId="2225815222" sldId="2147478566"/>
            <ac:spMk id="112" creationId="{FCB0A369-4A20-445F-8F8B-3D0052767A08}"/>
          </ac:spMkLst>
        </pc:spChg>
        <pc:spChg chg="add del mod">
          <ac:chgData name="Steiner Andreas 6206 ED" userId="e6377c33-a923-4f14-8587-531c474c7b48" providerId="ADAL" clId="{6ECD27E6-B224-41CD-B4E0-E297462320DD}" dt="2023-11-24T08:33:43.197" v="16278"/>
          <ac:spMkLst>
            <pc:docMk/>
            <pc:sldMk cId="2225815222" sldId="2147478566"/>
            <ac:spMk id="113" creationId="{5E434172-2154-5BC7-4695-0524A08D6744}"/>
          </ac:spMkLst>
        </pc:spChg>
        <pc:spChg chg="add del mod">
          <ac:chgData name="Steiner Andreas 6206 ED" userId="e6377c33-a923-4f14-8587-531c474c7b48" providerId="ADAL" clId="{6ECD27E6-B224-41CD-B4E0-E297462320DD}" dt="2023-11-24T08:33:45.608" v="16433"/>
          <ac:spMkLst>
            <pc:docMk/>
            <pc:sldMk cId="2225815222" sldId="2147478566"/>
            <ac:spMk id="114" creationId="{ECD76620-060A-5504-F5A4-66125CD0B9D3}"/>
          </ac:spMkLst>
        </pc:spChg>
        <pc:spChg chg="add del mod">
          <ac:chgData name="Steiner Andreas 6206 ED" userId="e6377c33-a923-4f14-8587-531c474c7b48" providerId="ADAL" clId="{6ECD27E6-B224-41CD-B4E0-E297462320DD}" dt="2023-11-24T08:33:47.802" v="16588"/>
          <ac:spMkLst>
            <pc:docMk/>
            <pc:sldMk cId="2225815222" sldId="2147478566"/>
            <ac:spMk id="115" creationId="{6B749F02-6CEE-8309-316F-EB10245B104F}"/>
          </ac:spMkLst>
        </pc:spChg>
        <pc:spChg chg="add del mod">
          <ac:chgData name="Steiner Andreas 6206 ED" userId="e6377c33-a923-4f14-8587-531c474c7b48" providerId="ADAL" clId="{6ECD27E6-B224-41CD-B4E0-E297462320DD}" dt="2023-11-24T08:33:50.586" v="16743"/>
          <ac:spMkLst>
            <pc:docMk/>
            <pc:sldMk cId="2225815222" sldId="2147478566"/>
            <ac:spMk id="116" creationId="{7C90A9A9-6533-A168-7FBB-B14C879EC11F}"/>
          </ac:spMkLst>
        </pc:spChg>
        <pc:spChg chg="add del mod">
          <ac:chgData name="Steiner Andreas 6206 ED" userId="e6377c33-a923-4f14-8587-531c474c7b48" providerId="ADAL" clId="{6ECD27E6-B224-41CD-B4E0-E297462320DD}" dt="2023-11-24T08:33:52.939" v="16898"/>
          <ac:spMkLst>
            <pc:docMk/>
            <pc:sldMk cId="2225815222" sldId="2147478566"/>
            <ac:spMk id="117" creationId="{28BFECE1-5CFD-2ECF-3764-0AA9DC42C7BE}"/>
          </ac:spMkLst>
        </pc:spChg>
        <pc:spChg chg="add del mod">
          <ac:chgData name="Steiner Andreas 6206 ED" userId="e6377c33-a923-4f14-8587-531c474c7b48" providerId="ADAL" clId="{6ECD27E6-B224-41CD-B4E0-E297462320DD}" dt="2023-11-24T08:33:55.103" v="17053"/>
          <ac:spMkLst>
            <pc:docMk/>
            <pc:sldMk cId="2225815222" sldId="2147478566"/>
            <ac:spMk id="118" creationId="{08603980-A796-17F2-9DCD-A6C19BC41025}"/>
          </ac:spMkLst>
        </pc:spChg>
        <pc:spChg chg="add del mod">
          <ac:chgData name="Steiner Andreas 6206 ED" userId="e6377c33-a923-4f14-8587-531c474c7b48" providerId="ADAL" clId="{6ECD27E6-B224-41CD-B4E0-E297462320DD}" dt="2023-11-24T08:33:57.487" v="17208"/>
          <ac:spMkLst>
            <pc:docMk/>
            <pc:sldMk cId="2225815222" sldId="2147478566"/>
            <ac:spMk id="119" creationId="{25F9E449-BD90-4204-74DB-1567D296EE38}"/>
          </ac:spMkLst>
        </pc:spChg>
        <pc:spChg chg="add del mod">
          <ac:chgData name="Steiner Andreas 6206 ED" userId="e6377c33-a923-4f14-8587-531c474c7b48" providerId="ADAL" clId="{6ECD27E6-B224-41CD-B4E0-E297462320DD}" dt="2023-11-24T08:33:59.918" v="17363"/>
          <ac:spMkLst>
            <pc:docMk/>
            <pc:sldMk cId="2225815222" sldId="2147478566"/>
            <ac:spMk id="120" creationId="{7BAFD884-9AC5-C191-CC48-B4C90334F4A7}"/>
          </ac:spMkLst>
        </pc:spChg>
        <pc:spChg chg="add del mod">
          <ac:chgData name="Steiner Andreas 6206 ED" userId="e6377c33-a923-4f14-8587-531c474c7b48" providerId="ADAL" clId="{6ECD27E6-B224-41CD-B4E0-E297462320DD}" dt="2023-11-24T08:34:01.979" v="17518"/>
          <ac:spMkLst>
            <pc:docMk/>
            <pc:sldMk cId="2225815222" sldId="2147478566"/>
            <ac:spMk id="121" creationId="{A62F1EAA-0663-E1F4-9B1F-70463F57567C}"/>
          </ac:spMkLst>
        </pc:spChg>
        <pc:spChg chg="add del mod">
          <ac:chgData name="Steiner Andreas 6206 ED" userId="e6377c33-a923-4f14-8587-531c474c7b48" providerId="ADAL" clId="{6ECD27E6-B224-41CD-B4E0-E297462320DD}" dt="2023-11-24T08:34:04.266" v="17673"/>
          <ac:spMkLst>
            <pc:docMk/>
            <pc:sldMk cId="2225815222" sldId="2147478566"/>
            <ac:spMk id="122" creationId="{B433874B-E54D-E65D-EE6C-6F1CE2BCC1B7}"/>
          </ac:spMkLst>
        </pc:spChg>
        <pc:spChg chg="add del mod">
          <ac:chgData name="Steiner Andreas 6206 ED" userId="e6377c33-a923-4f14-8587-531c474c7b48" providerId="ADAL" clId="{6ECD27E6-B224-41CD-B4E0-E297462320DD}" dt="2023-11-24T08:34:06.155" v="17828"/>
          <ac:spMkLst>
            <pc:docMk/>
            <pc:sldMk cId="2225815222" sldId="2147478566"/>
            <ac:spMk id="123" creationId="{EB33DC28-94E9-0BDB-8FA7-1DB7977CE639}"/>
          </ac:spMkLst>
        </pc:spChg>
        <pc:spChg chg="add del mod">
          <ac:chgData name="Steiner Andreas 6206 ED" userId="e6377c33-a923-4f14-8587-531c474c7b48" providerId="ADAL" clId="{6ECD27E6-B224-41CD-B4E0-E297462320DD}" dt="2023-11-24T08:34:08.239" v="17983"/>
          <ac:spMkLst>
            <pc:docMk/>
            <pc:sldMk cId="2225815222" sldId="2147478566"/>
            <ac:spMk id="124" creationId="{58544A92-E3EC-88CC-8A02-F58553685AD4}"/>
          </ac:spMkLst>
        </pc:spChg>
        <pc:spChg chg="add del mod">
          <ac:chgData name="Steiner Andreas 6206 ED" userId="e6377c33-a923-4f14-8587-531c474c7b48" providerId="ADAL" clId="{6ECD27E6-B224-41CD-B4E0-E297462320DD}" dt="2023-11-24T08:34:10.183" v="18138"/>
          <ac:spMkLst>
            <pc:docMk/>
            <pc:sldMk cId="2225815222" sldId="2147478566"/>
            <ac:spMk id="125" creationId="{F97E3EC8-37EF-40A7-C86F-9DD28362A02A}"/>
          </ac:spMkLst>
        </pc:spChg>
        <pc:spChg chg="add del mod">
          <ac:chgData name="Steiner Andreas 6206 ED" userId="e6377c33-a923-4f14-8587-531c474c7b48" providerId="ADAL" clId="{6ECD27E6-B224-41CD-B4E0-E297462320DD}" dt="2023-11-24T08:34:12.316" v="18293"/>
          <ac:spMkLst>
            <pc:docMk/>
            <pc:sldMk cId="2225815222" sldId="2147478566"/>
            <ac:spMk id="126" creationId="{5E71EE59-A427-8181-BAC7-EF60AE566282}"/>
          </ac:spMkLst>
        </pc:spChg>
        <pc:spChg chg="add del mod">
          <ac:chgData name="Steiner Andreas 6206 ED" userId="e6377c33-a923-4f14-8587-531c474c7b48" providerId="ADAL" clId="{6ECD27E6-B224-41CD-B4E0-E297462320DD}" dt="2023-11-24T08:34:14.636" v="18448"/>
          <ac:spMkLst>
            <pc:docMk/>
            <pc:sldMk cId="2225815222" sldId="2147478566"/>
            <ac:spMk id="127" creationId="{9ED225B4-2E22-30CE-95A3-B8E3C136394E}"/>
          </ac:spMkLst>
        </pc:spChg>
        <pc:spChg chg="add del mod">
          <ac:chgData name="Steiner Andreas 6206 ED" userId="e6377c33-a923-4f14-8587-531c474c7b48" providerId="ADAL" clId="{6ECD27E6-B224-41CD-B4E0-E297462320DD}" dt="2023-11-24T08:34:16.638" v="18603"/>
          <ac:spMkLst>
            <pc:docMk/>
            <pc:sldMk cId="2225815222" sldId="2147478566"/>
            <ac:spMk id="128" creationId="{F45DF92A-303A-A49C-7967-70E784101089}"/>
          </ac:spMkLst>
        </pc:spChg>
        <pc:spChg chg="add del mod">
          <ac:chgData name="Steiner Andreas 6206 ED" userId="e6377c33-a923-4f14-8587-531c474c7b48" providerId="ADAL" clId="{6ECD27E6-B224-41CD-B4E0-E297462320DD}" dt="2023-11-24T08:34:18.906" v="18758"/>
          <ac:spMkLst>
            <pc:docMk/>
            <pc:sldMk cId="2225815222" sldId="2147478566"/>
            <ac:spMk id="129" creationId="{E3F3951A-E921-C51C-733C-C6A1533A81E1}"/>
          </ac:spMkLst>
        </pc:spChg>
        <pc:spChg chg="add del mod">
          <ac:chgData name="Steiner Andreas 6206 ED" userId="e6377c33-a923-4f14-8587-531c474c7b48" providerId="ADAL" clId="{6ECD27E6-B224-41CD-B4E0-E297462320DD}" dt="2023-11-24T08:34:20.948" v="18913"/>
          <ac:spMkLst>
            <pc:docMk/>
            <pc:sldMk cId="2225815222" sldId="2147478566"/>
            <ac:spMk id="130" creationId="{5BE42577-A54E-B9AC-9218-FAE5CE7FE142}"/>
          </ac:spMkLst>
        </pc:spChg>
        <pc:spChg chg="add del mod">
          <ac:chgData name="Steiner Andreas 6206 ED" userId="e6377c33-a923-4f14-8587-531c474c7b48" providerId="ADAL" clId="{6ECD27E6-B224-41CD-B4E0-E297462320DD}" dt="2023-11-24T08:34:23.079" v="19068"/>
          <ac:spMkLst>
            <pc:docMk/>
            <pc:sldMk cId="2225815222" sldId="2147478566"/>
            <ac:spMk id="131" creationId="{AF85AFC2-A435-67A4-E371-E4ACC1A127A9}"/>
          </ac:spMkLst>
        </pc:spChg>
        <pc:spChg chg="add del mod">
          <ac:chgData name="Steiner Andreas 6206 ED" userId="e6377c33-a923-4f14-8587-531c474c7b48" providerId="ADAL" clId="{6ECD27E6-B224-41CD-B4E0-E297462320DD}" dt="2023-11-24T08:34:26.393" v="19223"/>
          <ac:spMkLst>
            <pc:docMk/>
            <pc:sldMk cId="2225815222" sldId="2147478566"/>
            <ac:spMk id="132" creationId="{230CD125-ED1C-E888-9997-72DA566BEBFE}"/>
          </ac:spMkLst>
        </pc:spChg>
        <pc:spChg chg="add del mod">
          <ac:chgData name="Steiner Andreas 6206 ED" userId="e6377c33-a923-4f14-8587-531c474c7b48" providerId="ADAL" clId="{6ECD27E6-B224-41CD-B4E0-E297462320DD}" dt="2023-11-24T08:34:29.046" v="19378"/>
          <ac:spMkLst>
            <pc:docMk/>
            <pc:sldMk cId="2225815222" sldId="2147478566"/>
            <ac:spMk id="133" creationId="{7FECA682-4A3B-ADDA-9946-4F9F3CAF61FB}"/>
          </ac:spMkLst>
        </pc:spChg>
        <pc:spChg chg="add del mod">
          <ac:chgData name="Steiner Andreas 6206 ED" userId="e6377c33-a923-4f14-8587-531c474c7b48" providerId="ADAL" clId="{6ECD27E6-B224-41CD-B4E0-E297462320DD}" dt="2023-11-24T08:34:31.648" v="19533"/>
          <ac:spMkLst>
            <pc:docMk/>
            <pc:sldMk cId="2225815222" sldId="2147478566"/>
            <ac:spMk id="134" creationId="{BD0A9262-6EA8-1D6A-069C-1E75DCAA5C1F}"/>
          </ac:spMkLst>
        </pc:spChg>
        <pc:spChg chg="add del mod">
          <ac:chgData name="Steiner Andreas 6206 ED" userId="e6377c33-a923-4f14-8587-531c474c7b48" providerId="ADAL" clId="{6ECD27E6-B224-41CD-B4E0-E297462320DD}" dt="2023-11-24T08:34:33.859" v="19688"/>
          <ac:spMkLst>
            <pc:docMk/>
            <pc:sldMk cId="2225815222" sldId="2147478566"/>
            <ac:spMk id="135" creationId="{C6A7B772-1D35-15D4-632B-285972838EC8}"/>
          </ac:spMkLst>
        </pc:spChg>
        <pc:spChg chg="add del mod">
          <ac:chgData name="Steiner Andreas 6206 ED" userId="e6377c33-a923-4f14-8587-531c474c7b48" providerId="ADAL" clId="{6ECD27E6-B224-41CD-B4E0-E297462320DD}" dt="2023-11-24T08:34:36.115" v="19843"/>
          <ac:spMkLst>
            <pc:docMk/>
            <pc:sldMk cId="2225815222" sldId="2147478566"/>
            <ac:spMk id="136" creationId="{6C12EBCE-1D8F-9FA1-0AC2-DD3EF137A021}"/>
          </ac:spMkLst>
        </pc:spChg>
        <pc:spChg chg="add del mod">
          <ac:chgData name="Steiner Andreas 6206 ED" userId="e6377c33-a923-4f14-8587-531c474c7b48" providerId="ADAL" clId="{6ECD27E6-B224-41CD-B4E0-E297462320DD}" dt="2023-11-24T08:34:38.344" v="19998"/>
          <ac:spMkLst>
            <pc:docMk/>
            <pc:sldMk cId="2225815222" sldId="2147478566"/>
            <ac:spMk id="137" creationId="{E2A6CEE0-0B71-1224-D053-00A34C2B5162}"/>
          </ac:spMkLst>
        </pc:spChg>
        <pc:spChg chg="add del mod">
          <ac:chgData name="Steiner Andreas 6206 ED" userId="e6377c33-a923-4f14-8587-531c474c7b48" providerId="ADAL" clId="{6ECD27E6-B224-41CD-B4E0-E297462320DD}" dt="2023-11-24T08:34:40.708" v="20153"/>
          <ac:spMkLst>
            <pc:docMk/>
            <pc:sldMk cId="2225815222" sldId="2147478566"/>
            <ac:spMk id="138" creationId="{85CEBFAF-0B63-D9F5-79B4-AD9C8C0D79CB}"/>
          </ac:spMkLst>
        </pc:spChg>
        <pc:spChg chg="add del mod">
          <ac:chgData name="Steiner Andreas 6206 ED" userId="e6377c33-a923-4f14-8587-531c474c7b48" providerId="ADAL" clId="{6ECD27E6-B224-41CD-B4E0-E297462320DD}" dt="2023-11-24T08:34:43.397" v="20308"/>
          <ac:spMkLst>
            <pc:docMk/>
            <pc:sldMk cId="2225815222" sldId="2147478566"/>
            <ac:spMk id="139" creationId="{A38C6176-2799-98E1-7F45-08C73DE2C174}"/>
          </ac:spMkLst>
        </pc:spChg>
        <pc:spChg chg="add del mod">
          <ac:chgData name="Steiner Andreas 6206 ED" userId="e6377c33-a923-4f14-8587-531c474c7b48" providerId="ADAL" clId="{6ECD27E6-B224-41CD-B4E0-E297462320DD}" dt="2023-11-24T08:34:45.760" v="20463"/>
          <ac:spMkLst>
            <pc:docMk/>
            <pc:sldMk cId="2225815222" sldId="2147478566"/>
            <ac:spMk id="140" creationId="{D34C3346-A7D2-28DE-5B7C-F9B5E897A27A}"/>
          </ac:spMkLst>
        </pc:spChg>
        <pc:spChg chg="add del mod">
          <ac:chgData name="Steiner Andreas 6206 ED" userId="e6377c33-a923-4f14-8587-531c474c7b48" providerId="ADAL" clId="{6ECD27E6-B224-41CD-B4E0-E297462320DD}" dt="2023-11-24T08:34:47.969" v="20618"/>
          <ac:spMkLst>
            <pc:docMk/>
            <pc:sldMk cId="2225815222" sldId="2147478566"/>
            <ac:spMk id="141" creationId="{4AB72FB6-1529-A6A4-2421-8BF65A0DC379}"/>
          </ac:spMkLst>
        </pc:spChg>
        <pc:spChg chg="add del mod">
          <ac:chgData name="Steiner Andreas 6206 ED" userId="e6377c33-a923-4f14-8587-531c474c7b48" providerId="ADAL" clId="{6ECD27E6-B224-41CD-B4E0-E297462320DD}" dt="2023-11-24T08:34:50.433" v="20773"/>
          <ac:spMkLst>
            <pc:docMk/>
            <pc:sldMk cId="2225815222" sldId="2147478566"/>
            <ac:spMk id="142" creationId="{4DEA5210-6492-80D8-930A-D7F08242FBAC}"/>
          </ac:spMkLst>
        </pc:spChg>
        <pc:spChg chg="add del mod">
          <ac:chgData name="Steiner Andreas 6206 ED" userId="e6377c33-a923-4f14-8587-531c474c7b48" providerId="ADAL" clId="{6ECD27E6-B224-41CD-B4E0-E297462320DD}" dt="2023-11-24T08:34:53.027" v="20928"/>
          <ac:spMkLst>
            <pc:docMk/>
            <pc:sldMk cId="2225815222" sldId="2147478566"/>
            <ac:spMk id="143" creationId="{46A73A1E-34C8-DC7B-57B2-176835573DAB}"/>
          </ac:spMkLst>
        </pc:spChg>
        <pc:spChg chg="add del mod">
          <ac:chgData name="Steiner Andreas 6206 ED" userId="e6377c33-a923-4f14-8587-531c474c7b48" providerId="ADAL" clId="{6ECD27E6-B224-41CD-B4E0-E297462320DD}" dt="2023-11-24T08:34:55.436" v="21083"/>
          <ac:spMkLst>
            <pc:docMk/>
            <pc:sldMk cId="2225815222" sldId="2147478566"/>
            <ac:spMk id="144" creationId="{0BCA45E8-CA3B-A85E-6504-E03631EA8394}"/>
          </ac:spMkLst>
        </pc:spChg>
        <pc:spChg chg="add del mod">
          <ac:chgData name="Steiner Andreas 6206 ED" userId="e6377c33-a923-4f14-8587-531c474c7b48" providerId="ADAL" clId="{6ECD27E6-B224-41CD-B4E0-E297462320DD}" dt="2023-11-24T08:34:57.839" v="21238"/>
          <ac:spMkLst>
            <pc:docMk/>
            <pc:sldMk cId="2225815222" sldId="2147478566"/>
            <ac:spMk id="145" creationId="{F27F9D35-DAF4-18C3-CAC1-A974B038B5AA}"/>
          </ac:spMkLst>
        </pc:spChg>
        <pc:spChg chg="add del mod">
          <ac:chgData name="Steiner Andreas 6206 ED" userId="e6377c33-a923-4f14-8587-531c474c7b48" providerId="ADAL" clId="{6ECD27E6-B224-41CD-B4E0-E297462320DD}" dt="2023-11-24T08:35:00.402" v="21393"/>
          <ac:spMkLst>
            <pc:docMk/>
            <pc:sldMk cId="2225815222" sldId="2147478566"/>
            <ac:spMk id="146" creationId="{92866BE8-C9AC-796F-59DC-654632A93378}"/>
          </ac:spMkLst>
        </pc:spChg>
        <pc:spChg chg="add del mod">
          <ac:chgData name="Steiner Andreas 6206 ED" userId="e6377c33-a923-4f14-8587-531c474c7b48" providerId="ADAL" clId="{6ECD27E6-B224-41CD-B4E0-E297462320DD}" dt="2023-11-24T08:35:02.910" v="21548"/>
          <ac:spMkLst>
            <pc:docMk/>
            <pc:sldMk cId="2225815222" sldId="2147478566"/>
            <ac:spMk id="147" creationId="{174DF4D0-848C-6502-A753-04D488AD926A}"/>
          </ac:spMkLst>
        </pc:spChg>
        <pc:spChg chg="add del mod">
          <ac:chgData name="Steiner Andreas 6206 ED" userId="e6377c33-a923-4f14-8587-531c474c7b48" providerId="ADAL" clId="{6ECD27E6-B224-41CD-B4E0-E297462320DD}" dt="2023-11-24T08:35:05.395" v="21703"/>
          <ac:spMkLst>
            <pc:docMk/>
            <pc:sldMk cId="2225815222" sldId="2147478566"/>
            <ac:spMk id="148" creationId="{743D18C6-9CE0-54AB-44CB-F9F2CB762801}"/>
          </ac:spMkLst>
        </pc:spChg>
        <pc:spChg chg="add del mod">
          <ac:chgData name="Steiner Andreas 6206 ED" userId="e6377c33-a923-4f14-8587-531c474c7b48" providerId="ADAL" clId="{6ECD27E6-B224-41CD-B4E0-E297462320DD}" dt="2023-11-24T08:35:07.934" v="21858"/>
          <ac:spMkLst>
            <pc:docMk/>
            <pc:sldMk cId="2225815222" sldId="2147478566"/>
            <ac:spMk id="149" creationId="{47BB4DD3-B193-B3F9-0717-7EA18B551803}"/>
          </ac:spMkLst>
        </pc:spChg>
        <pc:spChg chg="add del mod">
          <ac:chgData name="Steiner Andreas 6206 ED" userId="e6377c33-a923-4f14-8587-531c474c7b48" providerId="ADAL" clId="{6ECD27E6-B224-41CD-B4E0-E297462320DD}" dt="2023-11-24T08:35:10.408" v="22013"/>
          <ac:spMkLst>
            <pc:docMk/>
            <pc:sldMk cId="2225815222" sldId="2147478566"/>
            <ac:spMk id="150" creationId="{50ECFBE4-0CB2-C9FB-767C-BC757FAA1129}"/>
          </ac:spMkLst>
        </pc:spChg>
        <pc:spChg chg="add del mod">
          <ac:chgData name="Steiner Andreas 6206 ED" userId="e6377c33-a923-4f14-8587-531c474c7b48" providerId="ADAL" clId="{6ECD27E6-B224-41CD-B4E0-E297462320DD}" dt="2023-11-24T08:35:12.869" v="22168"/>
          <ac:spMkLst>
            <pc:docMk/>
            <pc:sldMk cId="2225815222" sldId="2147478566"/>
            <ac:spMk id="151" creationId="{E2B09747-0297-E3E5-7D01-9A791CDBD840}"/>
          </ac:spMkLst>
        </pc:spChg>
        <pc:spChg chg="add del mod">
          <ac:chgData name="Steiner Andreas 6206 ED" userId="e6377c33-a923-4f14-8587-531c474c7b48" providerId="ADAL" clId="{6ECD27E6-B224-41CD-B4E0-E297462320DD}" dt="2023-11-24T08:35:14.978" v="22323"/>
          <ac:spMkLst>
            <pc:docMk/>
            <pc:sldMk cId="2225815222" sldId="2147478566"/>
            <ac:spMk id="152" creationId="{EBF2FBFA-082C-326E-4A31-13366CD00839}"/>
          </ac:spMkLst>
        </pc:spChg>
        <pc:spChg chg="add del mod">
          <ac:chgData name="Steiner Andreas 6206 ED" userId="e6377c33-a923-4f14-8587-531c474c7b48" providerId="ADAL" clId="{6ECD27E6-B224-41CD-B4E0-E297462320DD}" dt="2023-11-24T08:35:17.418" v="22478"/>
          <ac:spMkLst>
            <pc:docMk/>
            <pc:sldMk cId="2225815222" sldId="2147478566"/>
            <ac:spMk id="153" creationId="{FF6E4595-C005-F2F7-627D-988E186F5214}"/>
          </ac:spMkLst>
        </pc:spChg>
        <pc:spChg chg="add del mod">
          <ac:chgData name="Steiner Andreas 6206 ED" userId="e6377c33-a923-4f14-8587-531c474c7b48" providerId="ADAL" clId="{6ECD27E6-B224-41CD-B4E0-E297462320DD}" dt="2023-11-24T08:35:19.815" v="22633"/>
          <ac:spMkLst>
            <pc:docMk/>
            <pc:sldMk cId="2225815222" sldId="2147478566"/>
            <ac:spMk id="154" creationId="{2342739A-77E4-4237-7599-875C5746598A}"/>
          </ac:spMkLst>
        </pc:spChg>
        <pc:spChg chg="add del mod">
          <ac:chgData name="Steiner Andreas 6206 ED" userId="e6377c33-a923-4f14-8587-531c474c7b48" providerId="ADAL" clId="{6ECD27E6-B224-41CD-B4E0-E297462320DD}" dt="2023-11-24T08:35:22.215" v="22788"/>
          <ac:spMkLst>
            <pc:docMk/>
            <pc:sldMk cId="2225815222" sldId="2147478566"/>
            <ac:spMk id="155" creationId="{CACE6978-C911-5101-5930-8970938B0E41}"/>
          </ac:spMkLst>
        </pc:spChg>
        <pc:spChg chg="add del mod">
          <ac:chgData name="Steiner Andreas 6206 ED" userId="e6377c33-a923-4f14-8587-531c474c7b48" providerId="ADAL" clId="{6ECD27E6-B224-41CD-B4E0-E297462320DD}" dt="2023-11-24T08:35:24.618" v="22943"/>
          <ac:spMkLst>
            <pc:docMk/>
            <pc:sldMk cId="2225815222" sldId="2147478566"/>
            <ac:spMk id="156" creationId="{879363CA-AB4D-1EEF-E307-DFDF8F0DCFB1}"/>
          </ac:spMkLst>
        </pc:spChg>
        <pc:spChg chg="add del mod">
          <ac:chgData name="Steiner Andreas 6206 ED" userId="e6377c33-a923-4f14-8587-531c474c7b48" providerId="ADAL" clId="{6ECD27E6-B224-41CD-B4E0-E297462320DD}" dt="2023-11-24T08:35:27.211" v="23098"/>
          <ac:spMkLst>
            <pc:docMk/>
            <pc:sldMk cId="2225815222" sldId="2147478566"/>
            <ac:spMk id="157" creationId="{581E5144-19E2-E37A-1DF7-1ED45BE89F50}"/>
          </ac:spMkLst>
        </pc:spChg>
        <pc:spChg chg="add del mod">
          <ac:chgData name="Steiner Andreas 6206 ED" userId="e6377c33-a923-4f14-8587-531c474c7b48" providerId="ADAL" clId="{6ECD27E6-B224-41CD-B4E0-E297462320DD}" dt="2023-11-24T08:35:29.922" v="23253"/>
          <ac:spMkLst>
            <pc:docMk/>
            <pc:sldMk cId="2225815222" sldId="2147478566"/>
            <ac:spMk id="158" creationId="{387ECD83-0E72-7753-2453-8C4F0B3A4D58}"/>
          </ac:spMkLst>
        </pc:spChg>
        <pc:spChg chg="add del mod">
          <ac:chgData name="Steiner Andreas 6206 ED" userId="e6377c33-a923-4f14-8587-531c474c7b48" providerId="ADAL" clId="{6ECD27E6-B224-41CD-B4E0-E297462320DD}" dt="2023-11-24T08:35:32.275" v="23408"/>
          <ac:spMkLst>
            <pc:docMk/>
            <pc:sldMk cId="2225815222" sldId="2147478566"/>
            <ac:spMk id="159" creationId="{CCF122DB-1104-D40C-EDF1-F6A7D35791FA}"/>
          </ac:spMkLst>
        </pc:spChg>
        <pc:spChg chg="add del mod">
          <ac:chgData name="Steiner Andreas 6206 ED" userId="e6377c33-a923-4f14-8587-531c474c7b48" providerId="ADAL" clId="{6ECD27E6-B224-41CD-B4E0-E297462320DD}" dt="2023-11-24T08:35:34.668" v="23563"/>
          <ac:spMkLst>
            <pc:docMk/>
            <pc:sldMk cId="2225815222" sldId="2147478566"/>
            <ac:spMk id="160" creationId="{24B58869-7FD7-C803-7CDD-8A3DC9106C75}"/>
          </ac:spMkLst>
        </pc:spChg>
        <pc:spChg chg="add del mod">
          <ac:chgData name="Steiner Andreas 6206 ED" userId="e6377c33-a923-4f14-8587-531c474c7b48" providerId="ADAL" clId="{6ECD27E6-B224-41CD-B4E0-E297462320DD}" dt="2023-11-24T08:35:36.990" v="23718"/>
          <ac:spMkLst>
            <pc:docMk/>
            <pc:sldMk cId="2225815222" sldId="2147478566"/>
            <ac:spMk id="161" creationId="{28406F2A-8003-FB81-6D8E-2778FA8C4098}"/>
          </ac:spMkLst>
        </pc:spChg>
        <pc:spChg chg="add del mod">
          <ac:chgData name="Steiner Andreas 6206 ED" userId="e6377c33-a923-4f14-8587-531c474c7b48" providerId="ADAL" clId="{6ECD27E6-B224-41CD-B4E0-E297462320DD}" dt="2023-11-24T08:35:39.403" v="23873"/>
          <ac:spMkLst>
            <pc:docMk/>
            <pc:sldMk cId="2225815222" sldId="2147478566"/>
            <ac:spMk id="162" creationId="{F8441F78-2D75-E16C-FCE4-B4FADD8D29A8}"/>
          </ac:spMkLst>
        </pc:spChg>
        <pc:spChg chg="add del mod">
          <ac:chgData name="Steiner Andreas 6206 ED" userId="e6377c33-a923-4f14-8587-531c474c7b48" providerId="ADAL" clId="{6ECD27E6-B224-41CD-B4E0-E297462320DD}" dt="2023-11-24T08:35:42.070" v="24028"/>
          <ac:spMkLst>
            <pc:docMk/>
            <pc:sldMk cId="2225815222" sldId="2147478566"/>
            <ac:spMk id="163" creationId="{B778FAE2-D36D-7097-EB20-AAFB0F6C3247}"/>
          </ac:spMkLst>
        </pc:spChg>
        <pc:spChg chg="add del mod">
          <ac:chgData name="Steiner Andreas 6206 ED" userId="e6377c33-a923-4f14-8587-531c474c7b48" providerId="ADAL" clId="{6ECD27E6-B224-41CD-B4E0-E297462320DD}" dt="2023-11-24T08:35:44.539" v="24183"/>
          <ac:spMkLst>
            <pc:docMk/>
            <pc:sldMk cId="2225815222" sldId="2147478566"/>
            <ac:spMk id="164" creationId="{B178C98D-9BE5-0588-1BA2-7A29D6E6E9B6}"/>
          </ac:spMkLst>
        </pc:spChg>
        <pc:spChg chg="add del mod">
          <ac:chgData name="Steiner Andreas 6206 ED" userId="e6377c33-a923-4f14-8587-531c474c7b48" providerId="ADAL" clId="{6ECD27E6-B224-41CD-B4E0-E297462320DD}" dt="2023-11-24T08:35:46.812" v="24338"/>
          <ac:spMkLst>
            <pc:docMk/>
            <pc:sldMk cId="2225815222" sldId="2147478566"/>
            <ac:spMk id="165" creationId="{82CB6A77-59BA-A209-FC2D-358FD89EFC56}"/>
          </ac:spMkLst>
        </pc:spChg>
        <pc:spChg chg="add del mod">
          <ac:chgData name="Steiner Andreas 6206 ED" userId="e6377c33-a923-4f14-8587-531c474c7b48" providerId="ADAL" clId="{6ECD27E6-B224-41CD-B4E0-E297462320DD}" dt="2023-11-24T08:35:49.067" v="24493"/>
          <ac:spMkLst>
            <pc:docMk/>
            <pc:sldMk cId="2225815222" sldId="2147478566"/>
            <ac:spMk id="166" creationId="{80741587-7BEC-0539-A1A0-FD314B675DA9}"/>
          </ac:spMkLst>
        </pc:spChg>
        <pc:spChg chg="add del mod">
          <ac:chgData name="Steiner Andreas 6206 ED" userId="e6377c33-a923-4f14-8587-531c474c7b48" providerId="ADAL" clId="{6ECD27E6-B224-41CD-B4E0-E297462320DD}" dt="2023-11-24T08:35:51.353" v="24648"/>
          <ac:spMkLst>
            <pc:docMk/>
            <pc:sldMk cId="2225815222" sldId="2147478566"/>
            <ac:spMk id="167" creationId="{D09C0B81-1785-DF32-6BC9-6C473E1BB095}"/>
          </ac:spMkLst>
        </pc:spChg>
        <pc:spChg chg="add del mod">
          <ac:chgData name="Steiner Andreas 6206 ED" userId="e6377c33-a923-4f14-8587-531c474c7b48" providerId="ADAL" clId="{6ECD27E6-B224-41CD-B4E0-E297462320DD}" dt="2023-11-24T08:35:54.290" v="24803"/>
          <ac:spMkLst>
            <pc:docMk/>
            <pc:sldMk cId="2225815222" sldId="2147478566"/>
            <ac:spMk id="168" creationId="{E3032AF3-C2A0-B886-BD84-C80F81C7C6A8}"/>
          </ac:spMkLst>
        </pc:spChg>
        <pc:spChg chg="add del mod">
          <ac:chgData name="Steiner Andreas 6206 ED" userId="e6377c33-a923-4f14-8587-531c474c7b48" providerId="ADAL" clId="{6ECD27E6-B224-41CD-B4E0-E297462320DD}" dt="2023-11-24T08:35:56.747" v="24958"/>
          <ac:spMkLst>
            <pc:docMk/>
            <pc:sldMk cId="2225815222" sldId="2147478566"/>
            <ac:spMk id="169" creationId="{ED34F4EF-D586-5EEA-1001-C9D8E30EF51A}"/>
          </ac:spMkLst>
        </pc:spChg>
        <pc:spChg chg="add del mod">
          <ac:chgData name="Steiner Andreas 6206 ED" userId="e6377c33-a923-4f14-8587-531c474c7b48" providerId="ADAL" clId="{6ECD27E6-B224-41CD-B4E0-E297462320DD}" dt="2023-11-24T08:35:59.293" v="25113"/>
          <ac:spMkLst>
            <pc:docMk/>
            <pc:sldMk cId="2225815222" sldId="2147478566"/>
            <ac:spMk id="170" creationId="{E5BCB32E-BBD1-9B27-3DBB-8B94B6B8EB2B}"/>
          </ac:spMkLst>
        </pc:spChg>
        <pc:spChg chg="add del mod">
          <ac:chgData name="Steiner Andreas 6206 ED" userId="e6377c33-a923-4f14-8587-531c474c7b48" providerId="ADAL" clId="{6ECD27E6-B224-41CD-B4E0-E297462320DD}" dt="2023-11-24T08:36:01.804" v="25268"/>
          <ac:spMkLst>
            <pc:docMk/>
            <pc:sldMk cId="2225815222" sldId="2147478566"/>
            <ac:spMk id="171" creationId="{57FEEC29-5B71-4218-724B-6D8A98912060}"/>
          </ac:spMkLst>
        </pc:spChg>
        <pc:spChg chg="add del mod">
          <ac:chgData name="Steiner Andreas 6206 ED" userId="e6377c33-a923-4f14-8587-531c474c7b48" providerId="ADAL" clId="{6ECD27E6-B224-41CD-B4E0-E297462320DD}" dt="2023-11-24T08:36:04.405" v="25423"/>
          <ac:spMkLst>
            <pc:docMk/>
            <pc:sldMk cId="2225815222" sldId="2147478566"/>
            <ac:spMk id="172" creationId="{595CC2F9-1AD0-6BE7-9A94-AC96D8449235}"/>
          </ac:spMkLst>
        </pc:spChg>
        <pc:spChg chg="add del mod">
          <ac:chgData name="Steiner Andreas 6206 ED" userId="e6377c33-a923-4f14-8587-531c474c7b48" providerId="ADAL" clId="{6ECD27E6-B224-41CD-B4E0-E297462320DD}" dt="2023-11-24T08:36:06.905" v="25578"/>
          <ac:spMkLst>
            <pc:docMk/>
            <pc:sldMk cId="2225815222" sldId="2147478566"/>
            <ac:spMk id="173" creationId="{9BCCF3F6-8251-1191-9BC0-8BBE87C5B00F}"/>
          </ac:spMkLst>
        </pc:spChg>
        <pc:spChg chg="add del mod">
          <ac:chgData name="Steiner Andreas 6206 ED" userId="e6377c33-a923-4f14-8587-531c474c7b48" providerId="ADAL" clId="{6ECD27E6-B224-41CD-B4E0-E297462320DD}" dt="2023-11-24T08:36:09.402" v="25733"/>
          <ac:spMkLst>
            <pc:docMk/>
            <pc:sldMk cId="2225815222" sldId="2147478566"/>
            <ac:spMk id="174" creationId="{C8440642-1866-2091-A8E0-857224092D4A}"/>
          </ac:spMkLst>
        </pc:spChg>
        <pc:spChg chg="add del mod">
          <ac:chgData name="Steiner Andreas 6206 ED" userId="e6377c33-a923-4f14-8587-531c474c7b48" providerId="ADAL" clId="{6ECD27E6-B224-41CD-B4E0-E297462320DD}" dt="2023-11-24T08:36:11.919" v="25888"/>
          <ac:spMkLst>
            <pc:docMk/>
            <pc:sldMk cId="2225815222" sldId="2147478566"/>
            <ac:spMk id="175" creationId="{1C65C0CC-FDF9-5C12-86C9-D6E143DCF624}"/>
          </ac:spMkLst>
        </pc:spChg>
        <pc:spChg chg="add del mod">
          <ac:chgData name="Steiner Andreas 6206 ED" userId="e6377c33-a923-4f14-8587-531c474c7b48" providerId="ADAL" clId="{6ECD27E6-B224-41CD-B4E0-E297462320DD}" dt="2023-11-24T08:36:14.307" v="26043"/>
          <ac:spMkLst>
            <pc:docMk/>
            <pc:sldMk cId="2225815222" sldId="2147478566"/>
            <ac:spMk id="176" creationId="{6627BB3E-BAE4-A42F-5A19-AE613B7E2728}"/>
          </ac:spMkLst>
        </pc:spChg>
        <pc:spChg chg="add del mod">
          <ac:chgData name="Steiner Andreas 6206 ED" userId="e6377c33-a923-4f14-8587-531c474c7b48" providerId="ADAL" clId="{6ECD27E6-B224-41CD-B4E0-E297462320DD}" dt="2023-11-24T08:36:17.160" v="26198"/>
          <ac:spMkLst>
            <pc:docMk/>
            <pc:sldMk cId="2225815222" sldId="2147478566"/>
            <ac:spMk id="177" creationId="{534B3EA4-C5DE-D755-C811-F46544115D30}"/>
          </ac:spMkLst>
        </pc:spChg>
        <pc:spChg chg="add del mod">
          <ac:chgData name="Steiner Andreas 6206 ED" userId="e6377c33-a923-4f14-8587-531c474c7b48" providerId="ADAL" clId="{6ECD27E6-B224-41CD-B4E0-E297462320DD}" dt="2023-11-24T08:36:19.535" v="26353"/>
          <ac:spMkLst>
            <pc:docMk/>
            <pc:sldMk cId="2225815222" sldId="2147478566"/>
            <ac:spMk id="178" creationId="{40F0743F-C847-A08F-2322-F913F54ABA6E}"/>
          </ac:spMkLst>
        </pc:spChg>
        <pc:spChg chg="add del mod">
          <ac:chgData name="Steiner Andreas 6206 ED" userId="e6377c33-a923-4f14-8587-531c474c7b48" providerId="ADAL" clId="{6ECD27E6-B224-41CD-B4E0-E297462320DD}" dt="2023-11-24T08:36:21.821" v="26508"/>
          <ac:spMkLst>
            <pc:docMk/>
            <pc:sldMk cId="2225815222" sldId="2147478566"/>
            <ac:spMk id="179" creationId="{2D208036-2CFF-EF64-16C0-3BD5E5C9F3E5}"/>
          </ac:spMkLst>
        </pc:spChg>
        <pc:spChg chg="add del mod">
          <ac:chgData name="Steiner Andreas 6206 ED" userId="e6377c33-a923-4f14-8587-531c474c7b48" providerId="ADAL" clId="{6ECD27E6-B224-41CD-B4E0-E297462320DD}" dt="2023-11-24T08:36:24.315" v="26663"/>
          <ac:spMkLst>
            <pc:docMk/>
            <pc:sldMk cId="2225815222" sldId="2147478566"/>
            <ac:spMk id="180" creationId="{77703CEC-AED7-C296-CB7E-55807457041E}"/>
          </ac:spMkLst>
        </pc:spChg>
        <pc:spChg chg="add del mod">
          <ac:chgData name="Steiner Andreas 6206 ED" userId="e6377c33-a923-4f14-8587-531c474c7b48" providerId="ADAL" clId="{6ECD27E6-B224-41CD-B4E0-E297462320DD}" dt="2023-11-24T08:36:26.868" v="26818"/>
          <ac:spMkLst>
            <pc:docMk/>
            <pc:sldMk cId="2225815222" sldId="2147478566"/>
            <ac:spMk id="181" creationId="{F444C793-8193-E195-854F-176AE67AC33E}"/>
          </ac:spMkLst>
        </pc:spChg>
        <pc:spChg chg="add del mod">
          <ac:chgData name="Steiner Andreas 6206 ED" userId="e6377c33-a923-4f14-8587-531c474c7b48" providerId="ADAL" clId="{6ECD27E6-B224-41CD-B4E0-E297462320DD}" dt="2023-11-24T08:36:29.728" v="26973"/>
          <ac:spMkLst>
            <pc:docMk/>
            <pc:sldMk cId="2225815222" sldId="2147478566"/>
            <ac:spMk id="182" creationId="{8A8E1E20-8C50-3091-0225-A35240586DCE}"/>
          </ac:spMkLst>
        </pc:spChg>
        <pc:spChg chg="add del mod">
          <ac:chgData name="Steiner Andreas 6206 ED" userId="e6377c33-a923-4f14-8587-531c474c7b48" providerId="ADAL" clId="{6ECD27E6-B224-41CD-B4E0-E297462320DD}" dt="2023-11-24T08:36:32.475" v="27128"/>
          <ac:spMkLst>
            <pc:docMk/>
            <pc:sldMk cId="2225815222" sldId="2147478566"/>
            <ac:spMk id="183" creationId="{B8C51BE6-6262-FBD9-DA30-15151F4A7B7B}"/>
          </ac:spMkLst>
        </pc:spChg>
        <pc:spChg chg="add del mod">
          <ac:chgData name="Steiner Andreas 6206 ED" userId="e6377c33-a923-4f14-8587-531c474c7b48" providerId="ADAL" clId="{6ECD27E6-B224-41CD-B4E0-E297462320DD}" dt="2023-11-24T08:36:34.989" v="27283"/>
          <ac:spMkLst>
            <pc:docMk/>
            <pc:sldMk cId="2225815222" sldId="2147478566"/>
            <ac:spMk id="184" creationId="{11505F16-DBA6-D486-4608-5202E32495FD}"/>
          </ac:spMkLst>
        </pc:spChg>
        <pc:spChg chg="add del mod">
          <ac:chgData name="Steiner Andreas 6206 ED" userId="e6377c33-a923-4f14-8587-531c474c7b48" providerId="ADAL" clId="{6ECD27E6-B224-41CD-B4E0-E297462320DD}" dt="2023-11-24T08:36:37.548" v="27438"/>
          <ac:spMkLst>
            <pc:docMk/>
            <pc:sldMk cId="2225815222" sldId="2147478566"/>
            <ac:spMk id="185" creationId="{F521A7D6-5836-D5A5-8C1E-6B323D7E57A5}"/>
          </ac:spMkLst>
        </pc:spChg>
        <pc:spChg chg="add del mod">
          <ac:chgData name="Steiner Andreas 6206 ED" userId="e6377c33-a923-4f14-8587-531c474c7b48" providerId="ADAL" clId="{6ECD27E6-B224-41CD-B4E0-E297462320DD}" dt="2023-11-24T08:36:40.196" v="27593"/>
          <ac:spMkLst>
            <pc:docMk/>
            <pc:sldMk cId="2225815222" sldId="2147478566"/>
            <ac:spMk id="186" creationId="{3C73835D-6FFC-2EFB-25D6-5CADEC031D60}"/>
          </ac:spMkLst>
        </pc:spChg>
        <pc:spChg chg="add del mod">
          <ac:chgData name="Steiner Andreas 6206 ED" userId="e6377c33-a923-4f14-8587-531c474c7b48" providerId="ADAL" clId="{6ECD27E6-B224-41CD-B4E0-E297462320DD}" dt="2023-11-24T08:36:42.885" v="27748"/>
          <ac:spMkLst>
            <pc:docMk/>
            <pc:sldMk cId="2225815222" sldId="2147478566"/>
            <ac:spMk id="187" creationId="{30D137B7-A1D6-02A7-6655-26F963977336}"/>
          </ac:spMkLst>
        </pc:spChg>
        <pc:spChg chg="add del mod">
          <ac:chgData name="Steiner Andreas 6206 ED" userId="e6377c33-a923-4f14-8587-531c474c7b48" providerId="ADAL" clId="{6ECD27E6-B224-41CD-B4E0-E297462320DD}" dt="2023-11-24T08:36:45.378" v="27903"/>
          <ac:spMkLst>
            <pc:docMk/>
            <pc:sldMk cId="2225815222" sldId="2147478566"/>
            <ac:spMk id="188" creationId="{C5B56443-AA50-5080-959F-4E0645854CA4}"/>
          </ac:spMkLst>
        </pc:spChg>
        <pc:spChg chg="add del mod">
          <ac:chgData name="Steiner Andreas 6206 ED" userId="e6377c33-a923-4f14-8587-531c474c7b48" providerId="ADAL" clId="{6ECD27E6-B224-41CD-B4E0-E297462320DD}" dt="2023-11-24T08:36:47.800" v="28058"/>
          <ac:spMkLst>
            <pc:docMk/>
            <pc:sldMk cId="2225815222" sldId="2147478566"/>
            <ac:spMk id="189" creationId="{DC903C92-1278-1662-E2D6-72343E2B31D0}"/>
          </ac:spMkLst>
        </pc:spChg>
        <pc:spChg chg="add del mod">
          <ac:chgData name="Steiner Andreas 6206 ED" userId="e6377c33-a923-4f14-8587-531c474c7b48" providerId="ADAL" clId="{6ECD27E6-B224-41CD-B4E0-E297462320DD}" dt="2023-11-24T08:36:50.312" v="28213"/>
          <ac:spMkLst>
            <pc:docMk/>
            <pc:sldMk cId="2225815222" sldId="2147478566"/>
            <ac:spMk id="190" creationId="{D27C408D-A138-C983-59F5-6FDDD4E6CA2A}"/>
          </ac:spMkLst>
        </pc:spChg>
        <pc:spChg chg="add del mod">
          <ac:chgData name="Steiner Andreas 6206 ED" userId="e6377c33-a923-4f14-8587-531c474c7b48" providerId="ADAL" clId="{6ECD27E6-B224-41CD-B4E0-E297462320DD}" dt="2023-11-24T08:36:53.360" v="28368"/>
          <ac:spMkLst>
            <pc:docMk/>
            <pc:sldMk cId="2225815222" sldId="2147478566"/>
            <ac:spMk id="191" creationId="{A661516F-5324-2632-9412-30E933E97400}"/>
          </ac:spMkLst>
        </pc:spChg>
        <pc:spChg chg="add del mod">
          <ac:chgData name="Steiner Andreas 6206 ED" userId="e6377c33-a923-4f14-8587-531c474c7b48" providerId="ADAL" clId="{6ECD27E6-B224-41CD-B4E0-E297462320DD}" dt="2023-11-24T08:36:56.442" v="28523"/>
          <ac:spMkLst>
            <pc:docMk/>
            <pc:sldMk cId="2225815222" sldId="2147478566"/>
            <ac:spMk id="192" creationId="{57AD08D1-B19D-B678-DB20-63E20AB0DCA7}"/>
          </ac:spMkLst>
        </pc:spChg>
        <pc:spChg chg="add del mod">
          <ac:chgData name="Steiner Andreas 6206 ED" userId="e6377c33-a923-4f14-8587-531c474c7b48" providerId="ADAL" clId="{6ECD27E6-B224-41CD-B4E0-E297462320DD}" dt="2023-11-24T08:36:59.348" v="28678"/>
          <ac:spMkLst>
            <pc:docMk/>
            <pc:sldMk cId="2225815222" sldId="2147478566"/>
            <ac:spMk id="193" creationId="{DE43716C-3757-A975-D98D-E5EF38C8CE33}"/>
          </ac:spMkLst>
        </pc:spChg>
        <pc:spChg chg="add del mod">
          <ac:chgData name="Steiner Andreas 6206 ED" userId="e6377c33-a923-4f14-8587-531c474c7b48" providerId="ADAL" clId="{6ECD27E6-B224-41CD-B4E0-E297462320DD}" dt="2023-11-24T08:37:01.979" v="28833"/>
          <ac:spMkLst>
            <pc:docMk/>
            <pc:sldMk cId="2225815222" sldId="2147478566"/>
            <ac:spMk id="194" creationId="{36A4A019-BA93-11C9-80C4-17C9EA1C2B6B}"/>
          </ac:spMkLst>
        </pc:spChg>
        <pc:spChg chg="add del mod">
          <ac:chgData name="Steiner Andreas 6206 ED" userId="e6377c33-a923-4f14-8587-531c474c7b48" providerId="ADAL" clId="{6ECD27E6-B224-41CD-B4E0-E297462320DD}" dt="2023-11-24T08:37:04.733" v="28988"/>
          <ac:spMkLst>
            <pc:docMk/>
            <pc:sldMk cId="2225815222" sldId="2147478566"/>
            <ac:spMk id="195" creationId="{4984CAF9-A620-5483-1205-CADF458C593D}"/>
          </ac:spMkLst>
        </pc:spChg>
        <pc:spChg chg="add del mod">
          <ac:chgData name="Steiner Andreas 6206 ED" userId="e6377c33-a923-4f14-8587-531c474c7b48" providerId="ADAL" clId="{6ECD27E6-B224-41CD-B4E0-E297462320DD}" dt="2023-11-24T08:37:07.545" v="29143"/>
          <ac:spMkLst>
            <pc:docMk/>
            <pc:sldMk cId="2225815222" sldId="2147478566"/>
            <ac:spMk id="196" creationId="{D9910EDC-4FB8-A1A8-7E72-14120B518E45}"/>
          </ac:spMkLst>
        </pc:spChg>
        <pc:spChg chg="add del mod">
          <ac:chgData name="Steiner Andreas 6206 ED" userId="e6377c33-a923-4f14-8587-531c474c7b48" providerId="ADAL" clId="{6ECD27E6-B224-41CD-B4E0-E297462320DD}" dt="2023-11-24T08:37:10.198" v="29298"/>
          <ac:spMkLst>
            <pc:docMk/>
            <pc:sldMk cId="2225815222" sldId="2147478566"/>
            <ac:spMk id="197" creationId="{804C8C81-7813-29B7-5BD2-FC4D58D78DA2}"/>
          </ac:spMkLst>
        </pc:spChg>
        <pc:spChg chg="add del mod">
          <ac:chgData name="Steiner Andreas 6206 ED" userId="e6377c33-a923-4f14-8587-531c474c7b48" providerId="ADAL" clId="{6ECD27E6-B224-41CD-B4E0-E297462320DD}" dt="2023-11-24T08:37:12.854" v="29453"/>
          <ac:spMkLst>
            <pc:docMk/>
            <pc:sldMk cId="2225815222" sldId="2147478566"/>
            <ac:spMk id="198" creationId="{CED32299-0A8A-FCA4-1F4D-CD9DF90BA555}"/>
          </ac:spMkLst>
        </pc:spChg>
        <pc:spChg chg="add del mod">
          <ac:chgData name="Steiner Andreas 6206 ED" userId="e6377c33-a923-4f14-8587-531c474c7b48" providerId="ADAL" clId="{6ECD27E6-B224-41CD-B4E0-E297462320DD}" dt="2023-11-24T08:37:16.217" v="29608"/>
          <ac:spMkLst>
            <pc:docMk/>
            <pc:sldMk cId="2225815222" sldId="2147478566"/>
            <ac:spMk id="199" creationId="{50854504-CEFF-0C63-36C0-7B956D1247F4}"/>
          </ac:spMkLst>
        </pc:spChg>
        <pc:spChg chg="add del mod">
          <ac:chgData name="Steiner Andreas 6206 ED" userId="e6377c33-a923-4f14-8587-531c474c7b48" providerId="ADAL" clId="{6ECD27E6-B224-41CD-B4E0-E297462320DD}" dt="2023-11-24T08:37:18.959" v="29763"/>
          <ac:spMkLst>
            <pc:docMk/>
            <pc:sldMk cId="2225815222" sldId="2147478566"/>
            <ac:spMk id="200" creationId="{336633C5-6D15-D52C-0CFD-5E8CDC19CAD6}"/>
          </ac:spMkLst>
        </pc:spChg>
        <pc:spChg chg="add del mod">
          <ac:chgData name="Steiner Andreas 6206 ED" userId="e6377c33-a923-4f14-8587-531c474c7b48" providerId="ADAL" clId="{6ECD27E6-B224-41CD-B4E0-E297462320DD}" dt="2023-11-24T08:37:21.410" v="29918"/>
          <ac:spMkLst>
            <pc:docMk/>
            <pc:sldMk cId="2225815222" sldId="2147478566"/>
            <ac:spMk id="201" creationId="{5027FA52-1ADD-AF19-892A-6D5E19C2C830}"/>
          </ac:spMkLst>
        </pc:spChg>
        <pc:spChg chg="add del mod">
          <ac:chgData name="Steiner Andreas 6206 ED" userId="e6377c33-a923-4f14-8587-531c474c7b48" providerId="ADAL" clId="{6ECD27E6-B224-41CD-B4E0-E297462320DD}" dt="2023-11-24T08:37:24.260" v="30073"/>
          <ac:spMkLst>
            <pc:docMk/>
            <pc:sldMk cId="2225815222" sldId="2147478566"/>
            <ac:spMk id="202" creationId="{01EDAD7C-4141-6B36-8EC2-990626129220}"/>
          </ac:spMkLst>
        </pc:spChg>
        <pc:spChg chg="add del mod">
          <ac:chgData name="Steiner Andreas 6206 ED" userId="e6377c33-a923-4f14-8587-531c474c7b48" providerId="ADAL" clId="{6ECD27E6-B224-41CD-B4E0-E297462320DD}" dt="2023-11-24T08:37:26.824" v="30228"/>
          <ac:spMkLst>
            <pc:docMk/>
            <pc:sldMk cId="2225815222" sldId="2147478566"/>
            <ac:spMk id="203" creationId="{80C538BC-6D63-3772-6571-0B188BF598AA}"/>
          </ac:spMkLst>
        </pc:spChg>
        <pc:spChg chg="add del mod">
          <ac:chgData name="Steiner Andreas 6206 ED" userId="e6377c33-a923-4f14-8587-531c474c7b48" providerId="ADAL" clId="{6ECD27E6-B224-41CD-B4E0-E297462320DD}" dt="2023-11-24T08:37:30.152" v="30383"/>
          <ac:spMkLst>
            <pc:docMk/>
            <pc:sldMk cId="2225815222" sldId="2147478566"/>
            <ac:spMk id="204" creationId="{EB72AC5E-832D-2322-7808-9912F3A8BAC2}"/>
          </ac:spMkLst>
        </pc:spChg>
        <pc:spChg chg="add del mod">
          <ac:chgData name="Steiner Andreas 6206 ED" userId="e6377c33-a923-4f14-8587-531c474c7b48" providerId="ADAL" clId="{6ECD27E6-B224-41CD-B4E0-E297462320DD}" dt="2023-11-24T08:37:32.982" v="30538"/>
          <ac:spMkLst>
            <pc:docMk/>
            <pc:sldMk cId="2225815222" sldId="2147478566"/>
            <ac:spMk id="205" creationId="{0CBE8224-986C-26A9-4F68-23BCFEC91103}"/>
          </ac:spMkLst>
        </pc:spChg>
        <pc:spChg chg="add del mod">
          <ac:chgData name="Steiner Andreas 6206 ED" userId="e6377c33-a923-4f14-8587-531c474c7b48" providerId="ADAL" clId="{6ECD27E6-B224-41CD-B4E0-E297462320DD}" dt="2023-11-24T08:37:35.641" v="30693"/>
          <ac:spMkLst>
            <pc:docMk/>
            <pc:sldMk cId="2225815222" sldId="2147478566"/>
            <ac:spMk id="206" creationId="{76D3ABE3-B08C-8882-62B8-2705A015B4CC}"/>
          </ac:spMkLst>
        </pc:spChg>
        <pc:spChg chg="add del mod">
          <ac:chgData name="Steiner Andreas 6206 ED" userId="e6377c33-a923-4f14-8587-531c474c7b48" providerId="ADAL" clId="{6ECD27E6-B224-41CD-B4E0-E297462320DD}" dt="2023-11-24T08:37:38.209" v="30848"/>
          <ac:spMkLst>
            <pc:docMk/>
            <pc:sldMk cId="2225815222" sldId="2147478566"/>
            <ac:spMk id="207" creationId="{0CF6FAFE-3F64-66F5-6D5E-9C74C36B38AD}"/>
          </ac:spMkLst>
        </pc:spChg>
        <pc:spChg chg="add del mod">
          <ac:chgData name="Steiner Andreas 6206 ED" userId="e6377c33-a923-4f14-8587-531c474c7b48" providerId="ADAL" clId="{6ECD27E6-B224-41CD-B4E0-E297462320DD}" dt="2023-11-24T08:37:42.331" v="31003"/>
          <ac:spMkLst>
            <pc:docMk/>
            <pc:sldMk cId="2225815222" sldId="2147478566"/>
            <ac:spMk id="208" creationId="{0A95CC83-FEB3-4D53-11ED-BCCD80180DF1}"/>
          </ac:spMkLst>
        </pc:spChg>
        <pc:spChg chg="add del mod">
          <ac:chgData name="Steiner Andreas 6206 ED" userId="e6377c33-a923-4f14-8587-531c474c7b48" providerId="ADAL" clId="{6ECD27E6-B224-41CD-B4E0-E297462320DD}" dt="2023-11-24T08:37:45.187" v="31158"/>
          <ac:spMkLst>
            <pc:docMk/>
            <pc:sldMk cId="2225815222" sldId="2147478566"/>
            <ac:spMk id="209" creationId="{8051E07F-03CA-74A5-2AA6-5C637BDE7623}"/>
          </ac:spMkLst>
        </pc:spChg>
        <pc:spChg chg="add del mod">
          <ac:chgData name="Steiner Andreas 6206 ED" userId="e6377c33-a923-4f14-8587-531c474c7b48" providerId="ADAL" clId="{6ECD27E6-B224-41CD-B4E0-E297462320DD}" dt="2023-11-24T08:37:48.038" v="31313"/>
          <ac:spMkLst>
            <pc:docMk/>
            <pc:sldMk cId="2225815222" sldId="2147478566"/>
            <ac:spMk id="210" creationId="{55582A42-E247-949F-8CB1-8A16C08B3F63}"/>
          </ac:spMkLst>
        </pc:spChg>
        <pc:spChg chg="add del mod">
          <ac:chgData name="Steiner Andreas 6206 ED" userId="e6377c33-a923-4f14-8587-531c474c7b48" providerId="ADAL" clId="{6ECD27E6-B224-41CD-B4E0-E297462320DD}" dt="2023-11-24T08:37:50.723" v="31468"/>
          <ac:spMkLst>
            <pc:docMk/>
            <pc:sldMk cId="2225815222" sldId="2147478566"/>
            <ac:spMk id="211" creationId="{D2807EB1-A3BA-8E28-6B97-2AB4047B7D66}"/>
          </ac:spMkLst>
        </pc:spChg>
        <pc:spChg chg="add del mod">
          <ac:chgData name="Steiner Andreas 6206 ED" userId="e6377c33-a923-4f14-8587-531c474c7b48" providerId="ADAL" clId="{6ECD27E6-B224-41CD-B4E0-E297462320DD}" dt="2023-11-24T08:37:53.358" v="31623"/>
          <ac:spMkLst>
            <pc:docMk/>
            <pc:sldMk cId="2225815222" sldId="2147478566"/>
            <ac:spMk id="212" creationId="{463F3FA2-972B-64A3-38BF-F8304B7182C4}"/>
          </ac:spMkLst>
        </pc:spChg>
        <pc:spChg chg="add del mod">
          <ac:chgData name="Steiner Andreas 6206 ED" userId="e6377c33-a923-4f14-8587-531c474c7b48" providerId="ADAL" clId="{6ECD27E6-B224-41CD-B4E0-E297462320DD}" dt="2023-11-24T08:37:57.468" v="31778"/>
          <ac:spMkLst>
            <pc:docMk/>
            <pc:sldMk cId="2225815222" sldId="2147478566"/>
            <ac:spMk id="213" creationId="{8BB09578-3438-5EF3-1211-ABB529E54BED}"/>
          </ac:spMkLst>
        </pc:spChg>
        <pc:spChg chg="add del mod">
          <ac:chgData name="Steiner Andreas 6206 ED" userId="e6377c33-a923-4f14-8587-531c474c7b48" providerId="ADAL" clId="{6ECD27E6-B224-41CD-B4E0-E297462320DD}" dt="2023-11-24T08:38:00.233" v="31933"/>
          <ac:spMkLst>
            <pc:docMk/>
            <pc:sldMk cId="2225815222" sldId="2147478566"/>
            <ac:spMk id="214" creationId="{4660AC68-6880-237F-482D-7891E312E74A}"/>
          </ac:spMkLst>
        </pc:spChg>
        <pc:spChg chg="add del mod">
          <ac:chgData name="Steiner Andreas 6206 ED" userId="e6377c33-a923-4f14-8587-531c474c7b48" providerId="ADAL" clId="{6ECD27E6-B224-41CD-B4E0-E297462320DD}" dt="2023-11-24T08:38:03.172" v="32088"/>
          <ac:spMkLst>
            <pc:docMk/>
            <pc:sldMk cId="2225815222" sldId="2147478566"/>
            <ac:spMk id="215" creationId="{2E4C2F79-0F5D-6876-AD5C-20990C223953}"/>
          </ac:spMkLst>
        </pc:spChg>
        <pc:spChg chg="add del mod">
          <ac:chgData name="Steiner Andreas 6206 ED" userId="e6377c33-a923-4f14-8587-531c474c7b48" providerId="ADAL" clId="{6ECD27E6-B224-41CD-B4E0-E297462320DD}" dt="2023-11-24T08:38:06.078" v="32243"/>
          <ac:spMkLst>
            <pc:docMk/>
            <pc:sldMk cId="2225815222" sldId="2147478566"/>
            <ac:spMk id="216" creationId="{765BC71B-B8A0-8A8A-8680-B7072A7CBA73}"/>
          </ac:spMkLst>
        </pc:spChg>
        <pc:spChg chg="add del mod">
          <ac:chgData name="Steiner Andreas 6206 ED" userId="e6377c33-a923-4f14-8587-531c474c7b48" providerId="ADAL" clId="{6ECD27E6-B224-41CD-B4E0-E297462320DD}" dt="2023-11-24T08:38:09.298" v="32398"/>
          <ac:spMkLst>
            <pc:docMk/>
            <pc:sldMk cId="2225815222" sldId="2147478566"/>
            <ac:spMk id="217" creationId="{5B2926F1-2ED8-9DC3-6D34-1EDCD826060E}"/>
          </ac:spMkLst>
        </pc:spChg>
        <pc:spChg chg="add del mod">
          <ac:chgData name="Steiner Andreas 6206 ED" userId="e6377c33-a923-4f14-8587-531c474c7b48" providerId="ADAL" clId="{6ECD27E6-B224-41CD-B4E0-E297462320DD}" dt="2023-11-24T08:38:11.985" v="32553"/>
          <ac:spMkLst>
            <pc:docMk/>
            <pc:sldMk cId="2225815222" sldId="2147478566"/>
            <ac:spMk id="218" creationId="{B99DBF99-03C0-0569-9226-741ED53F6D09}"/>
          </ac:spMkLst>
        </pc:spChg>
        <pc:spChg chg="add del mod">
          <ac:chgData name="Steiner Andreas 6206 ED" userId="e6377c33-a923-4f14-8587-531c474c7b48" providerId="ADAL" clId="{6ECD27E6-B224-41CD-B4E0-E297462320DD}" dt="2023-11-24T08:38:14.595" v="32708"/>
          <ac:spMkLst>
            <pc:docMk/>
            <pc:sldMk cId="2225815222" sldId="2147478566"/>
            <ac:spMk id="219" creationId="{A230F54F-D639-446B-BC3A-B50EFE9355AF}"/>
          </ac:spMkLst>
        </pc:spChg>
        <pc:spChg chg="add del mod">
          <ac:chgData name="Steiner Andreas 6206 ED" userId="e6377c33-a923-4f14-8587-531c474c7b48" providerId="ADAL" clId="{6ECD27E6-B224-41CD-B4E0-E297462320DD}" dt="2023-11-24T08:38:17.315" v="32863"/>
          <ac:spMkLst>
            <pc:docMk/>
            <pc:sldMk cId="2225815222" sldId="2147478566"/>
            <ac:spMk id="220" creationId="{C7515158-B4C2-39DA-A003-3EDCF139B719}"/>
          </ac:spMkLst>
        </pc:spChg>
        <pc:spChg chg="add del mod">
          <ac:chgData name="Steiner Andreas 6206 ED" userId="e6377c33-a923-4f14-8587-531c474c7b48" providerId="ADAL" clId="{6ECD27E6-B224-41CD-B4E0-E297462320DD}" dt="2023-11-24T08:38:20.310" v="33018"/>
          <ac:spMkLst>
            <pc:docMk/>
            <pc:sldMk cId="2225815222" sldId="2147478566"/>
            <ac:spMk id="221" creationId="{1BE23CC8-8F7C-6686-FA80-F3A820E18CD2}"/>
          </ac:spMkLst>
        </pc:spChg>
        <pc:spChg chg="add del mod">
          <ac:chgData name="Steiner Andreas 6206 ED" userId="e6377c33-a923-4f14-8587-531c474c7b48" providerId="ADAL" clId="{6ECD27E6-B224-41CD-B4E0-E297462320DD}" dt="2023-11-24T08:38:23.161" v="33173"/>
          <ac:spMkLst>
            <pc:docMk/>
            <pc:sldMk cId="2225815222" sldId="2147478566"/>
            <ac:spMk id="222" creationId="{D9CA1FD4-0D6F-36F4-86A6-73D22B7F37AE}"/>
          </ac:spMkLst>
        </pc:spChg>
        <pc:spChg chg="add del mod">
          <ac:chgData name="Steiner Andreas 6206 ED" userId="e6377c33-a923-4f14-8587-531c474c7b48" providerId="ADAL" clId="{6ECD27E6-B224-41CD-B4E0-E297462320DD}" dt="2023-11-24T08:38:26.031" v="33328"/>
          <ac:spMkLst>
            <pc:docMk/>
            <pc:sldMk cId="2225815222" sldId="2147478566"/>
            <ac:spMk id="223" creationId="{7197EF3A-41DA-FD1D-19EB-5C6D254C3E19}"/>
          </ac:spMkLst>
        </pc:spChg>
        <pc:spChg chg="add del mod">
          <ac:chgData name="Steiner Andreas 6206 ED" userId="e6377c33-a923-4f14-8587-531c474c7b48" providerId="ADAL" clId="{6ECD27E6-B224-41CD-B4E0-E297462320DD}" dt="2023-11-24T08:38:29.646" v="33483"/>
          <ac:spMkLst>
            <pc:docMk/>
            <pc:sldMk cId="2225815222" sldId="2147478566"/>
            <ac:spMk id="224" creationId="{6D3640E8-5300-0FD6-FDE8-02DC65A1C8E5}"/>
          </ac:spMkLst>
        </pc:spChg>
        <pc:spChg chg="add del mod">
          <ac:chgData name="Steiner Andreas 6206 ED" userId="e6377c33-a923-4f14-8587-531c474c7b48" providerId="ADAL" clId="{6ECD27E6-B224-41CD-B4E0-E297462320DD}" dt="2023-11-24T08:38:32.727" v="33638"/>
          <ac:spMkLst>
            <pc:docMk/>
            <pc:sldMk cId="2225815222" sldId="2147478566"/>
            <ac:spMk id="225" creationId="{1C235676-2527-3D58-464A-13B1E5F5CDD5}"/>
          </ac:spMkLst>
        </pc:spChg>
        <pc:spChg chg="add del mod">
          <ac:chgData name="Steiner Andreas 6206 ED" userId="e6377c33-a923-4f14-8587-531c474c7b48" providerId="ADAL" clId="{6ECD27E6-B224-41CD-B4E0-E297462320DD}" dt="2023-11-24T08:38:35.356" v="33793"/>
          <ac:spMkLst>
            <pc:docMk/>
            <pc:sldMk cId="2225815222" sldId="2147478566"/>
            <ac:spMk id="226" creationId="{F7B0E77A-EF21-ADCF-AD18-8570E3420A3D}"/>
          </ac:spMkLst>
        </pc:spChg>
        <pc:spChg chg="add del mod">
          <ac:chgData name="Steiner Andreas 6206 ED" userId="e6377c33-a923-4f14-8587-531c474c7b48" providerId="ADAL" clId="{6ECD27E6-B224-41CD-B4E0-E297462320DD}" dt="2023-11-24T08:38:38.003" v="33948"/>
          <ac:spMkLst>
            <pc:docMk/>
            <pc:sldMk cId="2225815222" sldId="2147478566"/>
            <ac:spMk id="227" creationId="{C10544D5-5823-19DC-74D4-931A15545980}"/>
          </ac:spMkLst>
        </pc:spChg>
        <pc:spChg chg="add del mod">
          <ac:chgData name="Steiner Andreas 6206 ED" userId="e6377c33-a923-4f14-8587-531c474c7b48" providerId="ADAL" clId="{6ECD27E6-B224-41CD-B4E0-E297462320DD}" dt="2023-11-24T08:38:40.550" v="34103"/>
          <ac:spMkLst>
            <pc:docMk/>
            <pc:sldMk cId="2225815222" sldId="2147478566"/>
            <ac:spMk id="228" creationId="{0310CA94-1CD7-70FF-E73B-D13F2C2A1949}"/>
          </ac:spMkLst>
        </pc:spChg>
        <pc:spChg chg="add del mod">
          <ac:chgData name="Steiner Andreas 6206 ED" userId="e6377c33-a923-4f14-8587-531c474c7b48" providerId="ADAL" clId="{6ECD27E6-B224-41CD-B4E0-E297462320DD}" dt="2023-11-24T08:38:43.180" v="34258"/>
          <ac:spMkLst>
            <pc:docMk/>
            <pc:sldMk cId="2225815222" sldId="2147478566"/>
            <ac:spMk id="229" creationId="{70FD58E7-1714-217F-03B5-7EA55BAF42BC}"/>
          </ac:spMkLst>
        </pc:spChg>
        <pc:spChg chg="add del mod">
          <ac:chgData name="Steiner Andreas 6206 ED" userId="e6377c33-a923-4f14-8587-531c474c7b48" providerId="ADAL" clId="{6ECD27E6-B224-41CD-B4E0-E297462320DD}" dt="2023-11-24T08:38:47.089" v="34413"/>
          <ac:spMkLst>
            <pc:docMk/>
            <pc:sldMk cId="2225815222" sldId="2147478566"/>
            <ac:spMk id="230" creationId="{D32D2944-9694-342D-7152-F90BA04089DA}"/>
          </ac:spMkLst>
        </pc:spChg>
        <pc:spChg chg="add del mod">
          <ac:chgData name="Steiner Andreas 6206 ED" userId="e6377c33-a923-4f14-8587-531c474c7b48" providerId="ADAL" clId="{6ECD27E6-B224-41CD-B4E0-E297462320DD}" dt="2023-11-24T08:38:49.784" v="34568"/>
          <ac:spMkLst>
            <pc:docMk/>
            <pc:sldMk cId="2225815222" sldId="2147478566"/>
            <ac:spMk id="231" creationId="{BED46F95-E7AB-9C40-01EC-A918CC5805BC}"/>
          </ac:spMkLst>
        </pc:spChg>
        <pc:spChg chg="add del mod">
          <ac:chgData name="Steiner Andreas 6206 ED" userId="e6377c33-a923-4f14-8587-531c474c7b48" providerId="ADAL" clId="{6ECD27E6-B224-41CD-B4E0-E297462320DD}" dt="2023-11-24T08:38:52.614" v="34723"/>
          <ac:spMkLst>
            <pc:docMk/>
            <pc:sldMk cId="2225815222" sldId="2147478566"/>
            <ac:spMk id="232" creationId="{AE070978-E29B-4799-5F77-0AC22A3A12FC}"/>
          </ac:spMkLst>
        </pc:spChg>
        <pc:spChg chg="add del mod">
          <ac:chgData name="Steiner Andreas 6206 ED" userId="e6377c33-a923-4f14-8587-531c474c7b48" providerId="ADAL" clId="{6ECD27E6-B224-41CD-B4E0-E297462320DD}" dt="2023-11-24T08:38:55.561" v="34878"/>
          <ac:spMkLst>
            <pc:docMk/>
            <pc:sldMk cId="2225815222" sldId="2147478566"/>
            <ac:spMk id="233" creationId="{C4B32187-E935-F454-B10C-5F3E127BB873}"/>
          </ac:spMkLst>
        </pc:spChg>
        <pc:spChg chg="add del mod">
          <ac:chgData name="Steiner Andreas 6206 ED" userId="e6377c33-a923-4f14-8587-531c474c7b48" providerId="ADAL" clId="{6ECD27E6-B224-41CD-B4E0-E297462320DD}" dt="2023-11-24T08:38:58.805" v="35033"/>
          <ac:spMkLst>
            <pc:docMk/>
            <pc:sldMk cId="2225815222" sldId="2147478566"/>
            <ac:spMk id="234" creationId="{719664E4-D9AD-4E8E-B38D-BF0D8219251A}"/>
          </ac:spMkLst>
        </pc:spChg>
        <pc:spChg chg="add del mod">
          <ac:chgData name="Steiner Andreas 6206 ED" userId="e6377c33-a923-4f14-8587-531c474c7b48" providerId="ADAL" clId="{6ECD27E6-B224-41CD-B4E0-E297462320DD}" dt="2023-11-24T08:39:02.444" v="35188"/>
          <ac:spMkLst>
            <pc:docMk/>
            <pc:sldMk cId="2225815222" sldId="2147478566"/>
            <ac:spMk id="235" creationId="{43AB5A71-4D48-3E46-D9A2-3FB379F4E7B4}"/>
          </ac:spMkLst>
        </pc:spChg>
        <pc:spChg chg="add del mod">
          <ac:chgData name="Steiner Andreas 6206 ED" userId="e6377c33-a923-4f14-8587-531c474c7b48" providerId="ADAL" clId="{6ECD27E6-B224-41CD-B4E0-E297462320DD}" dt="2023-11-24T08:39:05.452" v="35343"/>
          <ac:spMkLst>
            <pc:docMk/>
            <pc:sldMk cId="2225815222" sldId="2147478566"/>
            <ac:spMk id="236" creationId="{4C4D3199-1D75-30AA-B484-99CE6FF6E70C}"/>
          </ac:spMkLst>
        </pc:spChg>
        <pc:spChg chg="add del mod">
          <ac:chgData name="Steiner Andreas 6206 ED" userId="e6377c33-a923-4f14-8587-531c474c7b48" providerId="ADAL" clId="{6ECD27E6-B224-41CD-B4E0-E297462320DD}" dt="2023-11-24T08:39:08.395" v="35498"/>
          <ac:spMkLst>
            <pc:docMk/>
            <pc:sldMk cId="2225815222" sldId="2147478566"/>
            <ac:spMk id="237" creationId="{1987D61F-D262-A0A4-CBD8-9E065F29183D}"/>
          </ac:spMkLst>
        </pc:spChg>
        <pc:spChg chg="add del mod">
          <ac:chgData name="Steiner Andreas 6206 ED" userId="e6377c33-a923-4f14-8587-531c474c7b48" providerId="ADAL" clId="{6ECD27E6-B224-41CD-B4E0-E297462320DD}" dt="2023-11-24T08:39:12.931" v="35653"/>
          <ac:spMkLst>
            <pc:docMk/>
            <pc:sldMk cId="2225815222" sldId="2147478566"/>
            <ac:spMk id="238" creationId="{30C8E6F0-75A2-17AB-0EAB-DE3E6C1F917D}"/>
          </ac:spMkLst>
        </pc:spChg>
        <pc:spChg chg="add del mod">
          <ac:chgData name="Steiner Andreas 6206 ED" userId="e6377c33-a923-4f14-8587-531c474c7b48" providerId="ADAL" clId="{6ECD27E6-B224-41CD-B4E0-E297462320DD}" dt="2023-11-24T08:39:15.588" v="35808"/>
          <ac:spMkLst>
            <pc:docMk/>
            <pc:sldMk cId="2225815222" sldId="2147478566"/>
            <ac:spMk id="239" creationId="{55C1E31B-7C6D-191D-68DF-EE1000F357EA}"/>
          </ac:spMkLst>
        </pc:spChg>
        <pc:spChg chg="add del mod">
          <ac:chgData name="Steiner Andreas 6206 ED" userId="e6377c33-a923-4f14-8587-531c474c7b48" providerId="ADAL" clId="{6ECD27E6-B224-41CD-B4E0-E297462320DD}" dt="2023-11-24T08:39:18.268" v="35963"/>
          <ac:spMkLst>
            <pc:docMk/>
            <pc:sldMk cId="2225815222" sldId="2147478566"/>
            <ac:spMk id="240" creationId="{04101D86-DCE8-4C4B-F2DE-0E4F3E981D48}"/>
          </ac:spMkLst>
        </pc:spChg>
        <pc:spChg chg="add del mod">
          <ac:chgData name="Steiner Andreas 6206 ED" userId="e6377c33-a923-4f14-8587-531c474c7b48" providerId="ADAL" clId="{6ECD27E6-B224-41CD-B4E0-E297462320DD}" dt="2023-11-24T08:39:20.912" v="36118"/>
          <ac:spMkLst>
            <pc:docMk/>
            <pc:sldMk cId="2225815222" sldId="2147478566"/>
            <ac:spMk id="241" creationId="{799EF805-DD37-EE4A-FE21-804A133451BA}"/>
          </ac:spMkLst>
        </pc:spChg>
        <pc:spChg chg="add del mod">
          <ac:chgData name="Steiner Andreas 6206 ED" userId="e6377c33-a923-4f14-8587-531c474c7b48" providerId="ADAL" clId="{6ECD27E6-B224-41CD-B4E0-E297462320DD}" dt="2023-11-24T08:39:24.061" v="36273"/>
          <ac:spMkLst>
            <pc:docMk/>
            <pc:sldMk cId="2225815222" sldId="2147478566"/>
            <ac:spMk id="242" creationId="{DF2E1895-906C-E043-A724-2AF2CD905BA0}"/>
          </ac:spMkLst>
        </pc:spChg>
        <pc:spChg chg="add del mod">
          <ac:chgData name="Steiner Andreas 6206 ED" userId="e6377c33-a923-4f14-8587-531c474c7b48" providerId="ADAL" clId="{6ECD27E6-B224-41CD-B4E0-E297462320DD}" dt="2023-11-24T08:39:26.787" v="36428"/>
          <ac:spMkLst>
            <pc:docMk/>
            <pc:sldMk cId="2225815222" sldId="2147478566"/>
            <ac:spMk id="243" creationId="{A14C5FEE-2EBC-34A6-C960-C8A388973D59}"/>
          </ac:spMkLst>
        </pc:spChg>
        <pc:spChg chg="add del mod">
          <ac:chgData name="Steiner Andreas 6206 ED" userId="e6377c33-a923-4f14-8587-531c474c7b48" providerId="ADAL" clId="{6ECD27E6-B224-41CD-B4E0-E297462320DD}" dt="2023-11-24T08:39:29.536" v="36583"/>
          <ac:spMkLst>
            <pc:docMk/>
            <pc:sldMk cId="2225815222" sldId="2147478566"/>
            <ac:spMk id="244" creationId="{39DC2329-07B2-2B2B-55BB-5C9D5F6ADDA1}"/>
          </ac:spMkLst>
        </pc:spChg>
        <pc:spChg chg="add del mod">
          <ac:chgData name="Steiner Andreas 6206 ED" userId="e6377c33-a923-4f14-8587-531c474c7b48" providerId="ADAL" clId="{6ECD27E6-B224-41CD-B4E0-E297462320DD}" dt="2023-11-24T08:39:32.108" v="36738"/>
          <ac:spMkLst>
            <pc:docMk/>
            <pc:sldMk cId="2225815222" sldId="2147478566"/>
            <ac:spMk id="245" creationId="{B443BD60-FC9C-EB8F-1FB3-EF15EF5B7E93}"/>
          </ac:spMkLst>
        </pc:spChg>
        <pc:spChg chg="add del mod">
          <ac:chgData name="Steiner Andreas 6206 ED" userId="e6377c33-a923-4f14-8587-531c474c7b48" providerId="ADAL" clId="{6ECD27E6-B224-41CD-B4E0-E297462320DD}" dt="2023-11-24T08:39:34.617" v="36893"/>
          <ac:spMkLst>
            <pc:docMk/>
            <pc:sldMk cId="2225815222" sldId="2147478566"/>
            <ac:spMk id="246" creationId="{01C9ABFE-F364-7AEE-374E-E0625DCE7B4B}"/>
          </ac:spMkLst>
        </pc:spChg>
        <pc:spChg chg="add del mod">
          <ac:chgData name="Steiner Andreas 6206 ED" userId="e6377c33-a923-4f14-8587-531c474c7b48" providerId="ADAL" clId="{6ECD27E6-B224-41CD-B4E0-E297462320DD}" dt="2023-11-24T08:39:37.537" v="37048"/>
          <ac:spMkLst>
            <pc:docMk/>
            <pc:sldMk cId="2225815222" sldId="2147478566"/>
            <ac:spMk id="247" creationId="{21B4E94C-2B4F-48C7-6506-F13189B67E5E}"/>
          </ac:spMkLst>
        </pc:spChg>
        <pc:spChg chg="add del mod">
          <ac:chgData name="Steiner Andreas 6206 ED" userId="e6377c33-a923-4f14-8587-531c474c7b48" providerId="ADAL" clId="{6ECD27E6-B224-41CD-B4E0-E297462320DD}" dt="2023-11-24T08:39:40.168" v="37203"/>
          <ac:spMkLst>
            <pc:docMk/>
            <pc:sldMk cId="2225815222" sldId="2147478566"/>
            <ac:spMk id="248" creationId="{C7701AE0-EC8C-AEBA-B1D5-B318EBDDB2BA}"/>
          </ac:spMkLst>
        </pc:spChg>
        <pc:spChg chg="add del mod">
          <ac:chgData name="Steiner Andreas 6206 ED" userId="e6377c33-a923-4f14-8587-531c474c7b48" providerId="ADAL" clId="{6ECD27E6-B224-41CD-B4E0-E297462320DD}" dt="2023-11-24T08:39:42.610" v="37358"/>
          <ac:spMkLst>
            <pc:docMk/>
            <pc:sldMk cId="2225815222" sldId="2147478566"/>
            <ac:spMk id="249" creationId="{6FD72874-4F65-70BC-5F5B-8C2E6CFB701B}"/>
          </ac:spMkLst>
        </pc:spChg>
        <pc:spChg chg="add del mod">
          <ac:chgData name="Steiner Andreas 6206 ED" userId="e6377c33-a923-4f14-8587-531c474c7b48" providerId="ADAL" clId="{6ECD27E6-B224-41CD-B4E0-E297462320DD}" dt="2023-11-24T08:39:45.169" v="37513"/>
          <ac:spMkLst>
            <pc:docMk/>
            <pc:sldMk cId="2225815222" sldId="2147478566"/>
            <ac:spMk id="250" creationId="{E62F2291-2E07-A788-F192-666513147A48}"/>
          </ac:spMkLst>
        </pc:spChg>
        <pc:spChg chg="add del mod">
          <ac:chgData name="Steiner Andreas 6206 ED" userId="e6377c33-a923-4f14-8587-531c474c7b48" providerId="ADAL" clId="{6ECD27E6-B224-41CD-B4E0-E297462320DD}" dt="2023-11-24T08:39:48.204" v="37668"/>
          <ac:spMkLst>
            <pc:docMk/>
            <pc:sldMk cId="2225815222" sldId="2147478566"/>
            <ac:spMk id="251" creationId="{FC026E2C-BAF0-23CC-E1AC-62B950FD6701}"/>
          </ac:spMkLst>
        </pc:spChg>
        <pc:spChg chg="add del mod">
          <ac:chgData name="Steiner Andreas 6206 ED" userId="e6377c33-a923-4f14-8587-531c474c7b48" providerId="ADAL" clId="{6ECD27E6-B224-41CD-B4E0-E297462320DD}" dt="2023-11-24T08:39:50.902" v="37823"/>
          <ac:spMkLst>
            <pc:docMk/>
            <pc:sldMk cId="2225815222" sldId="2147478566"/>
            <ac:spMk id="252" creationId="{D83C3E69-BE1C-A27E-2A17-D3511A13357E}"/>
          </ac:spMkLst>
        </pc:spChg>
        <pc:spChg chg="add del mod">
          <ac:chgData name="Steiner Andreas 6206 ED" userId="e6377c33-a923-4f14-8587-531c474c7b48" providerId="ADAL" clId="{6ECD27E6-B224-41CD-B4E0-E297462320DD}" dt="2023-11-24T08:39:53.553" v="37978"/>
          <ac:spMkLst>
            <pc:docMk/>
            <pc:sldMk cId="2225815222" sldId="2147478566"/>
            <ac:spMk id="253" creationId="{F64DEB00-A510-45E2-5395-D91030FB5A14}"/>
          </ac:spMkLst>
        </pc:spChg>
        <pc:spChg chg="add del mod">
          <ac:chgData name="Steiner Andreas 6206 ED" userId="e6377c33-a923-4f14-8587-531c474c7b48" providerId="ADAL" clId="{6ECD27E6-B224-41CD-B4E0-E297462320DD}" dt="2023-11-24T08:39:56.498" v="38133"/>
          <ac:spMkLst>
            <pc:docMk/>
            <pc:sldMk cId="2225815222" sldId="2147478566"/>
            <ac:spMk id="254" creationId="{B9ED656A-694F-7703-DEB5-86435CEB4D59}"/>
          </ac:spMkLst>
        </pc:spChg>
        <pc:spChg chg="add del mod">
          <ac:chgData name="Steiner Andreas 6206 ED" userId="e6377c33-a923-4f14-8587-531c474c7b48" providerId="ADAL" clId="{6ECD27E6-B224-41CD-B4E0-E297462320DD}" dt="2023-11-24T08:39:59.829" v="38288"/>
          <ac:spMkLst>
            <pc:docMk/>
            <pc:sldMk cId="2225815222" sldId="2147478566"/>
            <ac:spMk id="255" creationId="{68DBDB1D-1A59-659B-5732-06AE2CBE64A8}"/>
          </ac:spMkLst>
        </pc:spChg>
        <pc:spChg chg="add del mod">
          <ac:chgData name="Steiner Andreas 6206 ED" userId="e6377c33-a923-4f14-8587-531c474c7b48" providerId="ADAL" clId="{6ECD27E6-B224-41CD-B4E0-E297462320DD}" dt="2023-11-24T08:40:02.935" v="38443"/>
          <ac:spMkLst>
            <pc:docMk/>
            <pc:sldMk cId="2225815222" sldId="2147478566"/>
            <ac:spMk id="256" creationId="{EB6CD1EE-4316-06C0-4A27-748241B72EF1}"/>
          </ac:spMkLst>
        </pc:spChg>
        <pc:spChg chg="add del mod">
          <ac:chgData name="Steiner Andreas 6206 ED" userId="e6377c33-a923-4f14-8587-531c474c7b48" providerId="ADAL" clId="{6ECD27E6-B224-41CD-B4E0-E297462320DD}" dt="2023-11-24T08:40:05.680" v="38598"/>
          <ac:spMkLst>
            <pc:docMk/>
            <pc:sldMk cId="2225815222" sldId="2147478566"/>
            <ac:spMk id="257" creationId="{C60FB050-6762-4E9E-5AEA-99A69363EE98}"/>
          </ac:spMkLst>
        </pc:spChg>
        <pc:spChg chg="add del mod">
          <ac:chgData name="Steiner Andreas 6206 ED" userId="e6377c33-a923-4f14-8587-531c474c7b48" providerId="ADAL" clId="{6ECD27E6-B224-41CD-B4E0-E297462320DD}" dt="2023-11-24T08:40:08.243" v="38753"/>
          <ac:spMkLst>
            <pc:docMk/>
            <pc:sldMk cId="2225815222" sldId="2147478566"/>
            <ac:spMk id="258" creationId="{1D6BE7E5-1435-3CA3-3B4B-11A9367682D8}"/>
          </ac:spMkLst>
        </pc:spChg>
        <pc:spChg chg="add del mod">
          <ac:chgData name="Steiner Andreas 6206 ED" userId="e6377c33-a923-4f14-8587-531c474c7b48" providerId="ADAL" clId="{6ECD27E6-B224-41CD-B4E0-E297462320DD}" dt="2023-11-24T08:40:10.987" v="38908"/>
          <ac:spMkLst>
            <pc:docMk/>
            <pc:sldMk cId="2225815222" sldId="2147478566"/>
            <ac:spMk id="259" creationId="{B5EE81E1-23A2-716D-4AFE-439E3CFFDA75}"/>
          </ac:spMkLst>
        </pc:spChg>
        <pc:spChg chg="add del mod">
          <ac:chgData name="Steiner Andreas 6206 ED" userId="e6377c33-a923-4f14-8587-531c474c7b48" providerId="ADAL" clId="{6ECD27E6-B224-41CD-B4E0-E297462320DD}" dt="2023-11-24T08:40:14.164" v="39063"/>
          <ac:spMkLst>
            <pc:docMk/>
            <pc:sldMk cId="2225815222" sldId="2147478566"/>
            <ac:spMk id="260" creationId="{5875C094-E163-81C1-2B74-1A6971A603AB}"/>
          </ac:spMkLst>
        </pc:spChg>
        <pc:spChg chg="add del mod">
          <ac:chgData name="Steiner Andreas 6206 ED" userId="e6377c33-a923-4f14-8587-531c474c7b48" providerId="ADAL" clId="{6ECD27E6-B224-41CD-B4E0-E297462320DD}" dt="2023-11-24T08:40:16.823" v="39218"/>
          <ac:spMkLst>
            <pc:docMk/>
            <pc:sldMk cId="2225815222" sldId="2147478566"/>
            <ac:spMk id="261" creationId="{48AE1B6C-486F-F675-625C-4F4ACE027224}"/>
          </ac:spMkLst>
        </pc:spChg>
        <pc:spChg chg="add del mod">
          <ac:chgData name="Steiner Andreas 6206 ED" userId="e6377c33-a923-4f14-8587-531c474c7b48" providerId="ADAL" clId="{6ECD27E6-B224-41CD-B4E0-E297462320DD}" dt="2023-11-24T08:40:19.320" v="39373"/>
          <ac:spMkLst>
            <pc:docMk/>
            <pc:sldMk cId="2225815222" sldId="2147478566"/>
            <ac:spMk id="262" creationId="{1BB9FDC6-49D0-A9C4-99EB-135DB9617AAA}"/>
          </ac:spMkLst>
        </pc:spChg>
        <pc:spChg chg="add del mod">
          <ac:chgData name="Steiner Andreas 6206 ED" userId="e6377c33-a923-4f14-8587-531c474c7b48" providerId="ADAL" clId="{6ECD27E6-B224-41CD-B4E0-E297462320DD}" dt="2023-11-24T08:40:21.760" v="39528"/>
          <ac:spMkLst>
            <pc:docMk/>
            <pc:sldMk cId="2225815222" sldId="2147478566"/>
            <ac:spMk id="263" creationId="{2394320B-48F2-383C-06D0-BC73759908BE}"/>
          </ac:spMkLst>
        </pc:spChg>
        <pc:spChg chg="add del mod">
          <ac:chgData name="Steiner Andreas 6206 ED" userId="e6377c33-a923-4f14-8587-531c474c7b48" providerId="ADAL" clId="{6ECD27E6-B224-41CD-B4E0-E297462320DD}" dt="2023-11-24T08:40:24.541" v="39683"/>
          <ac:spMkLst>
            <pc:docMk/>
            <pc:sldMk cId="2225815222" sldId="2147478566"/>
            <ac:spMk id="264" creationId="{DFC095F0-0436-D762-087A-7D02A8E3549A}"/>
          </ac:spMkLst>
        </pc:spChg>
        <pc:spChg chg="add del mod">
          <ac:chgData name="Steiner Andreas 6206 ED" userId="e6377c33-a923-4f14-8587-531c474c7b48" providerId="ADAL" clId="{6ECD27E6-B224-41CD-B4E0-E297462320DD}" dt="2023-11-24T08:40:27.473" v="39838"/>
          <ac:spMkLst>
            <pc:docMk/>
            <pc:sldMk cId="2225815222" sldId="2147478566"/>
            <ac:spMk id="265" creationId="{4AA7DB29-B429-7999-DDCA-37CA66DA5AEC}"/>
          </ac:spMkLst>
        </pc:spChg>
        <pc:spChg chg="add del mod">
          <ac:chgData name="Steiner Andreas 6206 ED" userId="e6377c33-a923-4f14-8587-531c474c7b48" providerId="ADAL" clId="{6ECD27E6-B224-41CD-B4E0-E297462320DD}" dt="2023-11-24T08:40:30.016" v="39993"/>
          <ac:spMkLst>
            <pc:docMk/>
            <pc:sldMk cId="2225815222" sldId="2147478566"/>
            <ac:spMk id="266" creationId="{78056BCF-5E90-0EA9-A31E-C3B31DED249B}"/>
          </ac:spMkLst>
        </pc:spChg>
        <pc:spChg chg="add del mod">
          <ac:chgData name="Steiner Andreas 6206 ED" userId="e6377c33-a923-4f14-8587-531c474c7b48" providerId="ADAL" clId="{6ECD27E6-B224-41CD-B4E0-E297462320DD}" dt="2023-11-24T08:40:32.663" v="40148"/>
          <ac:spMkLst>
            <pc:docMk/>
            <pc:sldMk cId="2225815222" sldId="2147478566"/>
            <ac:spMk id="267" creationId="{6D7BA1DF-C5E5-EF97-D852-48A67BE179D9}"/>
          </ac:spMkLst>
        </pc:spChg>
        <pc:spChg chg="add del mod">
          <ac:chgData name="Steiner Andreas 6206 ED" userId="e6377c33-a923-4f14-8587-531c474c7b48" providerId="ADAL" clId="{6ECD27E6-B224-41CD-B4E0-E297462320DD}" dt="2023-11-24T08:40:35.142" v="40303"/>
          <ac:spMkLst>
            <pc:docMk/>
            <pc:sldMk cId="2225815222" sldId="2147478566"/>
            <ac:spMk id="268" creationId="{140A0714-458C-0403-B77F-025FD84EB9BF}"/>
          </ac:spMkLst>
        </pc:spChg>
        <pc:spChg chg="add del mod">
          <ac:chgData name="Steiner Andreas 6206 ED" userId="e6377c33-a923-4f14-8587-531c474c7b48" providerId="ADAL" clId="{6ECD27E6-B224-41CD-B4E0-E297462320DD}" dt="2023-11-24T08:40:38.561" v="40458"/>
          <ac:spMkLst>
            <pc:docMk/>
            <pc:sldMk cId="2225815222" sldId="2147478566"/>
            <ac:spMk id="269" creationId="{5D1B809B-E2AA-0FA9-C424-BFA80EAC49D1}"/>
          </ac:spMkLst>
        </pc:spChg>
        <pc:spChg chg="add del mod">
          <ac:chgData name="Steiner Andreas 6206 ED" userId="e6377c33-a923-4f14-8587-531c474c7b48" providerId="ADAL" clId="{6ECD27E6-B224-41CD-B4E0-E297462320DD}" dt="2023-11-24T08:40:41.334" v="40613"/>
          <ac:spMkLst>
            <pc:docMk/>
            <pc:sldMk cId="2225815222" sldId="2147478566"/>
            <ac:spMk id="270" creationId="{F85F5DDD-1116-0C47-335E-A67627C9E80D}"/>
          </ac:spMkLst>
        </pc:spChg>
        <pc:spChg chg="add del mod">
          <ac:chgData name="Steiner Andreas 6206 ED" userId="e6377c33-a923-4f14-8587-531c474c7b48" providerId="ADAL" clId="{6ECD27E6-B224-41CD-B4E0-E297462320DD}" dt="2023-11-24T08:40:44.046" v="40768"/>
          <ac:spMkLst>
            <pc:docMk/>
            <pc:sldMk cId="2225815222" sldId="2147478566"/>
            <ac:spMk id="271" creationId="{7800E363-362D-8CD7-DFD4-982B5D181C06}"/>
          </ac:spMkLst>
        </pc:spChg>
        <pc:spChg chg="add del mod">
          <ac:chgData name="Steiner Andreas 6206 ED" userId="e6377c33-a923-4f14-8587-531c474c7b48" providerId="ADAL" clId="{6ECD27E6-B224-41CD-B4E0-E297462320DD}" dt="2023-11-24T08:40:46.504" v="40923"/>
          <ac:spMkLst>
            <pc:docMk/>
            <pc:sldMk cId="2225815222" sldId="2147478566"/>
            <ac:spMk id="272" creationId="{1DD63379-7397-9608-EED2-A41E4AEC2098}"/>
          </ac:spMkLst>
        </pc:spChg>
        <pc:spChg chg="add del mod">
          <ac:chgData name="Steiner Andreas 6206 ED" userId="e6377c33-a923-4f14-8587-531c474c7b48" providerId="ADAL" clId="{6ECD27E6-B224-41CD-B4E0-E297462320DD}" dt="2023-11-24T08:40:49.434" v="41078"/>
          <ac:spMkLst>
            <pc:docMk/>
            <pc:sldMk cId="2225815222" sldId="2147478566"/>
            <ac:spMk id="273" creationId="{17AEDF0F-410E-35E5-422B-019772E2CB6A}"/>
          </ac:spMkLst>
        </pc:spChg>
        <pc:spChg chg="add del mod">
          <ac:chgData name="Steiner Andreas 6206 ED" userId="e6377c33-a923-4f14-8587-531c474c7b48" providerId="ADAL" clId="{6ECD27E6-B224-41CD-B4E0-E297462320DD}" dt="2023-11-24T08:40:52.153" v="41233"/>
          <ac:spMkLst>
            <pc:docMk/>
            <pc:sldMk cId="2225815222" sldId="2147478566"/>
            <ac:spMk id="274" creationId="{6832580A-92B7-040E-5021-F3D611F7A808}"/>
          </ac:spMkLst>
        </pc:spChg>
        <pc:spChg chg="add del mod">
          <ac:chgData name="Steiner Andreas 6206 ED" userId="e6377c33-a923-4f14-8587-531c474c7b48" providerId="ADAL" clId="{6ECD27E6-B224-41CD-B4E0-E297462320DD}" dt="2023-11-24T08:40:54.666" v="41388"/>
          <ac:spMkLst>
            <pc:docMk/>
            <pc:sldMk cId="2225815222" sldId="2147478566"/>
            <ac:spMk id="275" creationId="{0E0EFE0A-65BC-B127-B5D5-0EE2A44D9D86}"/>
          </ac:spMkLst>
        </pc:spChg>
        <pc:spChg chg="add del mod">
          <ac:chgData name="Steiner Andreas 6206 ED" userId="e6377c33-a923-4f14-8587-531c474c7b48" providerId="ADAL" clId="{6ECD27E6-B224-41CD-B4E0-E297462320DD}" dt="2023-11-24T08:40:57.140" v="41543"/>
          <ac:spMkLst>
            <pc:docMk/>
            <pc:sldMk cId="2225815222" sldId="2147478566"/>
            <ac:spMk id="276" creationId="{301A28C6-5141-BCA0-77CD-5229FE46B5C7}"/>
          </ac:spMkLst>
        </pc:spChg>
        <pc:spChg chg="add del mod">
          <ac:chgData name="Steiner Andreas 6206 ED" userId="e6377c33-a923-4f14-8587-531c474c7b48" providerId="ADAL" clId="{6ECD27E6-B224-41CD-B4E0-E297462320DD}" dt="2023-11-24T08:40:59.846" v="41698"/>
          <ac:spMkLst>
            <pc:docMk/>
            <pc:sldMk cId="2225815222" sldId="2147478566"/>
            <ac:spMk id="277" creationId="{3823631D-BD95-519C-87BC-354DC843230D}"/>
          </ac:spMkLst>
        </pc:spChg>
        <pc:spChg chg="add del mod">
          <ac:chgData name="Steiner Andreas 6206 ED" userId="e6377c33-a923-4f14-8587-531c474c7b48" providerId="ADAL" clId="{6ECD27E6-B224-41CD-B4E0-E297462320DD}" dt="2023-11-24T08:41:02.858" v="41853"/>
          <ac:spMkLst>
            <pc:docMk/>
            <pc:sldMk cId="2225815222" sldId="2147478566"/>
            <ac:spMk id="278" creationId="{7B80C5D5-0B17-201C-89D9-CAEA4BAFFF66}"/>
          </ac:spMkLst>
        </pc:spChg>
        <pc:spChg chg="add del mod">
          <ac:chgData name="Steiner Andreas 6206 ED" userId="e6377c33-a923-4f14-8587-531c474c7b48" providerId="ADAL" clId="{6ECD27E6-B224-41CD-B4E0-E297462320DD}" dt="2023-11-24T08:41:05.620" v="42008"/>
          <ac:spMkLst>
            <pc:docMk/>
            <pc:sldMk cId="2225815222" sldId="2147478566"/>
            <ac:spMk id="279" creationId="{DA6828DA-9AEE-5318-61DB-A38B004E6FB2}"/>
          </ac:spMkLst>
        </pc:spChg>
        <pc:spChg chg="add del mod">
          <ac:chgData name="Steiner Andreas 6206 ED" userId="e6377c33-a923-4f14-8587-531c474c7b48" providerId="ADAL" clId="{6ECD27E6-B224-41CD-B4E0-E297462320DD}" dt="2023-11-24T08:41:09.183" v="42163"/>
          <ac:spMkLst>
            <pc:docMk/>
            <pc:sldMk cId="2225815222" sldId="2147478566"/>
            <ac:spMk id="280" creationId="{AA9A48B6-13B9-F3D2-DAB6-D35F82CC2529}"/>
          </ac:spMkLst>
        </pc:spChg>
        <pc:spChg chg="add del mod">
          <ac:chgData name="Steiner Andreas 6206 ED" userId="e6377c33-a923-4f14-8587-531c474c7b48" providerId="ADAL" clId="{6ECD27E6-B224-41CD-B4E0-E297462320DD}" dt="2023-11-24T08:41:12.779" v="42318"/>
          <ac:spMkLst>
            <pc:docMk/>
            <pc:sldMk cId="2225815222" sldId="2147478566"/>
            <ac:spMk id="281" creationId="{3B7BA3F1-F955-8C6B-52A2-3BB1AA3C1461}"/>
          </ac:spMkLst>
        </pc:spChg>
        <pc:spChg chg="add del mod">
          <ac:chgData name="Steiner Andreas 6206 ED" userId="e6377c33-a923-4f14-8587-531c474c7b48" providerId="ADAL" clId="{6ECD27E6-B224-41CD-B4E0-E297462320DD}" dt="2023-11-24T08:41:15.518" v="42473"/>
          <ac:spMkLst>
            <pc:docMk/>
            <pc:sldMk cId="2225815222" sldId="2147478566"/>
            <ac:spMk id="282" creationId="{7EAC38AF-C0AD-58AA-A189-772D67ED740C}"/>
          </ac:spMkLst>
        </pc:spChg>
        <pc:spChg chg="add del mod">
          <ac:chgData name="Steiner Andreas 6206 ED" userId="e6377c33-a923-4f14-8587-531c474c7b48" providerId="ADAL" clId="{6ECD27E6-B224-41CD-B4E0-E297462320DD}" dt="2023-11-24T08:41:17.700" v="42628"/>
          <ac:spMkLst>
            <pc:docMk/>
            <pc:sldMk cId="2225815222" sldId="2147478566"/>
            <ac:spMk id="283" creationId="{7F16B42C-9591-2F76-3BD7-2D57863143FE}"/>
          </ac:spMkLst>
        </pc:spChg>
        <pc:spChg chg="add del mod">
          <ac:chgData name="Steiner Andreas 6206 ED" userId="e6377c33-a923-4f14-8587-531c474c7b48" providerId="ADAL" clId="{6ECD27E6-B224-41CD-B4E0-E297462320DD}" dt="2023-11-24T08:41:20.028" v="42783"/>
          <ac:spMkLst>
            <pc:docMk/>
            <pc:sldMk cId="2225815222" sldId="2147478566"/>
            <ac:spMk id="284" creationId="{3AC68C22-67CE-DB92-59B6-A08225948819}"/>
          </ac:spMkLst>
        </pc:spChg>
        <pc:spChg chg="add del mod">
          <ac:chgData name="Steiner Andreas 6206 ED" userId="e6377c33-a923-4f14-8587-531c474c7b48" providerId="ADAL" clId="{6ECD27E6-B224-41CD-B4E0-E297462320DD}" dt="2023-11-24T08:41:22.377" v="42938"/>
          <ac:spMkLst>
            <pc:docMk/>
            <pc:sldMk cId="2225815222" sldId="2147478566"/>
            <ac:spMk id="285" creationId="{1522861A-798D-68B0-41B6-F3AF9219192D}"/>
          </ac:spMkLst>
        </pc:spChg>
        <pc:spChg chg="add del mod">
          <ac:chgData name="Steiner Andreas 6206 ED" userId="e6377c33-a923-4f14-8587-531c474c7b48" providerId="ADAL" clId="{6ECD27E6-B224-41CD-B4E0-E297462320DD}" dt="2023-11-24T08:41:24.486" v="43093"/>
          <ac:spMkLst>
            <pc:docMk/>
            <pc:sldMk cId="2225815222" sldId="2147478566"/>
            <ac:spMk id="286" creationId="{498A9BA3-031F-4EE9-1854-C0DD604BC433}"/>
          </ac:spMkLst>
        </pc:spChg>
        <pc:spChg chg="add del mod">
          <ac:chgData name="Steiner Andreas 6206 ED" userId="e6377c33-a923-4f14-8587-531c474c7b48" providerId="ADAL" clId="{6ECD27E6-B224-41CD-B4E0-E297462320DD}" dt="2023-11-24T08:41:27.051" v="43248"/>
          <ac:spMkLst>
            <pc:docMk/>
            <pc:sldMk cId="2225815222" sldId="2147478566"/>
            <ac:spMk id="287" creationId="{FC3EB0A9-43F3-32FB-0311-0DCFD9007778}"/>
          </ac:spMkLst>
        </pc:spChg>
        <pc:spChg chg="add del mod">
          <ac:chgData name="Steiner Andreas 6206 ED" userId="e6377c33-a923-4f14-8587-531c474c7b48" providerId="ADAL" clId="{6ECD27E6-B224-41CD-B4E0-E297462320DD}" dt="2023-11-24T08:41:29.118" v="43403"/>
          <ac:spMkLst>
            <pc:docMk/>
            <pc:sldMk cId="2225815222" sldId="2147478566"/>
            <ac:spMk id="288" creationId="{39BD3BBD-7348-8654-00BA-403A2065C4BA}"/>
          </ac:spMkLst>
        </pc:spChg>
        <pc:spChg chg="add del mod">
          <ac:chgData name="Steiner Andreas 6206 ED" userId="e6377c33-a923-4f14-8587-531c474c7b48" providerId="ADAL" clId="{6ECD27E6-B224-41CD-B4E0-E297462320DD}" dt="2023-11-24T08:41:31.491" v="43558"/>
          <ac:spMkLst>
            <pc:docMk/>
            <pc:sldMk cId="2225815222" sldId="2147478566"/>
            <ac:spMk id="289" creationId="{048CF6FF-C7B2-01D8-22BD-DE3D3AF340F6}"/>
          </ac:spMkLst>
        </pc:spChg>
        <pc:spChg chg="add del mod">
          <ac:chgData name="Steiner Andreas 6206 ED" userId="e6377c33-a923-4f14-8587-531c474c7b48" providerId="ADAL" clId="{6ECD27E6-B224-41CD-B4E0-E297462320DD}" dt="2023-11-24T08:41:35.793" v="43713"/>
          <ac:spMkLst>
            <pc:docMk/>
            <pc:sldMk cId="2225815222" sldId="2147478566"/>
            <ac:spMk id="290" creationId="{AE00B71D-B110-E9C4-7B3D-31330C86D1C1}"/>
          </ac:spMkLst>
        </pc:spChg>
        <pc:spChg chg="add del mod">
          <ac:chgData name="Steiner Andreas 6206 ED" userId="e6377c33-a923-4f14-8587-531c474c7b48" providerId="ADAL" clId="{6ECD27E6-B224-41CD-B4E0-E297462320DD}" dt="2023-11-24T08:41:38.821" v="43868"/>
          <ac:spMkLst>
            <pc:docMk/>
            <pc:sldMk cId="2225815222" sldId="2147478566"/>
            <ac:spMk id="291" creationId="{B42B6667-C5F0-CB7C-79F9-3491C74649BD}"/>
          </ac:spMkLst>
        </pc:spChg>
        <pc:spChg chg="add del mod">
          <ac:chgData name="Steiner Andreas 6206 ED" userId="e6377c33-a923-4f14-8587-531c474c7b48" providerId="ADAL" clId="{6ECD27E6-B224-41CD-B4E0-E297462320DD}" dt="2023-11-24T08:41:40.987" v="44023"/>
          <ac:spMkLst>
            <pc:docMk/>
            <pc:sldMk cId="2225815222" sldId="2147478566"/>
            <ac:spMk id="292" creationId="{52977420-03C9-EC23-3E6C-08DE7F0A74C3}"/>
          </ac:spMkLst>
        </pc:spChg>
        <pc:spChg chg="add del mod">
          <ac:chgData name="Steiner Andreas 6206 ED" userId="e6377c33-a923-4f14-8587-531c474c7b48" providerId="ADAL" clId="{6ECD27E6-B224-41CD-B4E0-E297462320DD}" dt="2023-11-24T08:41:43.366" v="44178"/>
          <ac:spMkLst>
            <pc:docMk/>
            <pc:sldMk cId="2225815222" sldId="2147478566"/>
            <ac:spMk id="293" creationId="{E7A1F288-2939-E794-708A-69551EC048C3}"/>
          </ac:spMkLst>
        </pc:spChg>
        <pc:spChg chg="add del mod">
          <ac:chgData name="Steiner Andreas 6206 ED" userId="e6377c33-a923-4f14-8587-531c474c7b48" providerId="ADAL" clId="{6ECD27E6-B224-41CD-B4E0-E297462320DD}" dt="2023-11-24T08:41:45.274" v="44333"/>
          <ac:spMkLst>
            <pc:docMk/>
            <pc:sldMk cId="2225815222" sldId="2147478566"/>
            <ac:spMk id="294" creationId="{08EF1270-5D7B-07E5-3945-837B20376E3D}"/>
          </ac:spMkLst>
        </pc:spChg>
        <pc:spChg chg="add del mod">
          <ac:chgData name="Steiner Andreas 6206 ED" userId="e6377c33-a923-4f14-8587-531c474c7b48" providerId="ADAL" clId="{6ECD27E6-B224-41CD-B4E0-E297462320DD}" dt="2023-11-24T08:41:47.211" v="44488"/>
          <ac:spMkLst>
            <pc:docMk/>
            <pc:sldMk cId="2225815222" sldId="2147478566"/>
            <ac:spMk id="295" creationId="{ACA5A256-E7BF-C6C1-E3A4-FBE2CF96497D}"/>
          </ac:spMkLst>
        </pc:spChg>
        <pc:spChg chg="add del mod">
          <ac:chgData name="Steiner Andreas 6206 ED" userId="e6377c33-a923-4f14-8587-531c474c7b48" providerId="ADAL" clId="{6ECD27E6-B224-41CD-B4E0-E297462320DD}" dt="2023-11-24T08:41:49.226" v="44643"/>
          <ac:spMkLst>
            <pc:docMk/>
            <pc:sldMk cId="2225815222" sldId="2147478566"/>
            <ac:spMk id="296" creationId="{173BF5AB-83E5-C279-CB78-DFA9E6350056}"/>
          </ac:spMkLst>
        </pc:spChg>
        <pc:spChg chg="add del mod">
          <ac:chgData name="Steiner Andreas 6206 ED" userId="e6377c33-a923-4f14-8587-531c474c7b48" providerId="ADAL" clId="{6ECD27E6-B224-41CD-B4E0-E297462320DD}" dt="2023-11-24T08:41:51.086" v="44798"/>
          <ac:spMkLst>
            <pc:docMk/>
            <pc:sldMk cId="2225815222" sldId="2147478566"/>
            <ac:spMk id="297" creationId="{9A193688-7B24-8B9B-E7B9-A5068C1CCC6F}"/>
          </ac:spMkLst>
        </pc:spChg>
        <pc:spChg chg="add del mod">
          <ac:chgData name="Steiner Andreas 6206 ED" userId="e6377c33-a923-4f14-8587-531c474c7b48" providerId="ADAL" clId="{6ECD27E6-B224-41CD-B4E0-E297462320DD}" dt="2023-11-24T08:41:53.436" v="44953"/>
          <ac:spMkLst>
            <pc:docMk/>
            <pc:sldMk cId="2225815222" sldId="2147478566"/>
            <ac:spMk id="298" creationId="{DEDC90EC-646D-E557-8524-4C0F27AC11B3}"/>
          </ac:spMkLst>
        </pc:spChg>
        <pc:spChg chg="add del mod">
          <ac:chgData name="Steiner Andreas 6206 ED" userId="e6377c33-a923-4f14-8587-531c474c7b48" providerId="ADAL" clId="{6ECD27E6-B224-41CD-B4E0-E297462320DD}" dt="2023-11-24T08:41:55.406" v="45108"/>
          <ac:spMkLst>
            <pc:docMk/>
            <pc:sldMk cId="2225815222" sldId="2147478566"/>
            <ac:spMk id="299" creationId="{2D17C6AB-2161-A2AE-90B6-93BCD9AB0BC7}"/>
          </ac:spMkLst>
        </pc:spChg>
        <pc:spChg chg="add del mod">
          <ac:chgData name="Steiner Andreas 6206 ED" userId="e6377c33-a923-4f14-8587-531c474c7b48" providerId="ADAL" clId="{6ECD27E6-B224-41CD-B4E0-E297462320DD}" dt="2023-11-24T08:41:57.658" v="45263"/>
          <ac:spMkLst>
            <pc:docMk/>
            <pc:sldMk cId="2225815222" sldId="2147478566"/>
            <ac:spMk id="300" creationId="{5105100D-0A0F-3C86-EE0D-D09B296DCB57}"/>
          </ac:spMkLst>
        </pc:spChg>
        <pc:spChg chg="add del mod">
          <ac:chgData name="Steiner Andreas 6206 ED" userId="e6377c33-a923-4f14-8587-531c474c7b48" providerId="ADAL" clId="{6ECD27E6-B224-41CD-B4E0-E297462320DD}" dt="2023-11-24T08:41:59.883" v="45418"/>
          <ac:spMkLst>
            <pc:docMk/>
            <pc:sldMk cId="2225815222" sldId="2147478566"/>
            <ac:spMk id="301" creationId="{B6D84066-00F4-E00E-655C-606AAB56E63A}"/>
          </ac:spMkLst>
        </pc:spChg>
        <pc:spChg chg="add del mod">
          <ac:chgData name="Steiner Andreas 6206 ED" userId="e6377c33-a923-4f14-8587-531c474c7b48" providerId="ADAL" clId="{6ECD27E6-B224-41CD-B4E0-E297462320DD}" dt="2023-11-24T08:42:02.027" v="45573"/>
          <ac:spMkLst>
            <pc:docMk/>
            <pc:sldMk cId="2225815222" sldId="2147478566"/>
            <ac:spMk id="302" creationId="{D0987A28-0BE4-91AB-8152-2A6D3892A66A}"/>
          </ac:spMkLst>
        </pc:spChg>
        <pc:spChg chg="add del mod">
          <ac:chgData name="Steiner Andreas 6206 ED" userId="e6377c33-a923-4f14-8587-531c474c7b48" providerId="ADAL" clId="{6ECD27E6-B224-41CD-B4E0-E297462320DD}" dt="2023-11-24T08:42:04.048" v="45728"/>
          <ac:spMkLst>
            <pc:docMk/>
            <pc:sldMk cId="2225815222" sldId="2147478566"/>
            <ac:spMk id="303" creationId="{B356A23F-8332-77F4-E35A-18CCF707AC5E}"/>
          </ac:spMkLst>
        </pc:spChg>
        <pc:spChg chg="add del mod">
          <ac:chgData name="Steiner Andreas 6206 ED" userId="e6377c33-a923-4f14-8587-531c474c7b48" providerId="ADAL" clId="{6ECD27E6-B224-41CD-B4E0-E297462320DD}" dt="2023-11-24T08:42:05.990" v="45883"/>
          <ac:spMkLst>
            <pc:docMk/>
            <pc:sldMk cId="2225815222" sldId="2147478566"/>
            <ac:spMk id="304" creationId="{89B2022C-D29B-981C-319E-88A04D92D2FE}"/>
          </ac:spMkLst>
        </pc:spChg>
        <pc:spChg chg="add del mod">
          <ac:chgData name="Steiner Andreas 6206 ED" userId="e6377c33-a923-4f14-8587-531c474c7b48" providerId="ADAL" clId="{6ECD27E6-B224-41CD-B4E0-E297462320DD}" dt="2023-11-24T08:42:07.863" v="46038"/>
          <ac:spMkLst>
            <pc:docMk/>
            <pc:sldMk cId="2225815222" sldId="2147478566"/>
            <ac:spMk id="305" creationId="{E3E09DB7-2A0F-E3BC-BFBD-75C42A91D8FD}"/>
          </ac:spMkLst>
        </pc:spChg>
        <pc:spChg chg="add del mod">
          <ac:chgData name="Steiner Andreas 6206 ED" userId="e6377c33-a923-4f14-8587-531c474c7b48" providerId="ADAL" clId="{6ECD27E6-B224-41CD-B4E0-E297462320DD}" dt="2023-11-24T08:42:09.778" v="46193"/>
          <ac:spMkLst>
            <pc:docMk/>
            <pc:sldMk cId="2225815222" sldId="2147478566"/>
            <ac:spMk id="306" creationId="{792CAC77-4653-AF4E-218C-FE91C0D8AEA6}"/>
          </ac:spMkLst>
        </pc:spChg>
        <pc:spChg chg="add del mod">
          <ac:chgData name="Steiner Andreas 6206 ED" userId="e6377c33-a923-4f14-8587-531c474c7b48" providerId="ADAL" clId="{6ECD27E6-B224-41CD-B4E0-E297462320DD}" dt="2023-11-24T08:42:12.156" v="46348"/>
          <ac:spMkLst>
            <pc:docMk/>
            <pc:sldMk cId="2225815222" sldId="2147478566"/>
            <ac:spMk id="307" creationId="{C08BA8AF-B435-152C-D607-BF66BFF19C7C}"/>
          </ac:spMkLst>
        </pc:spChg>
        <pc:spChg chg="add del mod">
          <ac:chgData name="Steiner Andreas 6206 ED" userId="e6377c33-a923-4f14-8587-531c474c7b48" providerId="ADAL" clId="{6ECD27E6-B224-41CD-B4E0-E297462320DD}" dt="2023-11-24T08:42:14.730" v="46503"/>
          <ac:spMkLst>
            <pc:docMk/>
            <pc:sldMk cId="2225815222" sldId="2147478566"/>
            <ac:spMk id="308" creationId="{459DDD8F-969B-4C2A-11C8-AEC48AFA44BE}"/>
          </ac:spMkLst>
        </pc:spChg>
        <pc:spChg chg="add del mod">
          <ac:chgData name="Steiner Andreas 6206 ED" userId="e6377c33-a923-4f14-8587-531c474c7b48" providerId="ADAL" clId="{6ECD27E6-B224-41CD-B4E0-E297462320DD}" dt="2023-11-24T08:42:17.044" v="46658"/>
          <ac:spMkLst>
            <pc:docMk/>
            <pc:sldMk cId="2225815222" sldId="2147478566"/>
            <ac:spMk id="309" creationId="{F6CE4452-05C4-8325-FB2E-1D468054D1B7}"/>
          </ac:spMkLst>
        </pc:spChg>
        <pc:spChg chg="add del mod">
          <ac:chgData name="Steiner Andreas 6206 ED" userId="e6377c33-a923-4f14-8587-531c474c7b48" providerId="ADAL" clId="{6ECD27E6-B224-41CD-B4E0-E297462320DD}" dt="2023-11-24T08:42:19.211" v="46813"/>
          <ac:spMkLst>
            <pc:docMk/>
            <pc:sldMk cId="2225815222" sldId="2147478566"/>
            <ac:spMk id="310" creationId="{10B8D270-4968-B76D-0278-86676A2786E3}"/>
          </ac:spMkLst>
        </pc:spChg>
        <pc:spChg chg="add del mod">
          <ac:chgData name="Steiner Andreas 6206 ED" userId="e6377c33-a923-4f14-8587-531c474c7b48" providerId="ADAL" clId="{6ECD27E6-B224-41CD-B4E0-E297462320DD}" dt="2023-11-24T08:42:21.559" v="46968"/>
          <ac:spMkLst>
            <pc:docMk/>
            <pc:sldMk cId="2225815222" sldId="2147478566"/>
            <ac:spMk id="311" creationId="{629B86C8-DDB0-839A-2336-10C58C71553C}"/>
          </ac:spMkLst>
        </pc:spChg>
        <pc:spChg chg="add del mod">
          <ac:chgData name="Steiner Andreas 6206 ED" userId="e6377c33-a923-4f14-8587-531c474c7b48" providerId="ADAL" clId="{6ECD27E6-B224-41CD-B4E0-E297462320DD}" dt="2023-11-24T08:42:24.141" v="47123"/>
          <ac:spMkLst>
            <pc:docMk/>
            <pc:sldMk cId="2225815222" sldId="2147478566"/>
            <ac:spMk id="312" creationId="{8237D36D-A749-CE39-5F86-C352EA85D4B4}"/>
          </ac:spMkLst>
        </pc:spChg>
        <pc:spChg chg="add del mod">
          <ac:chgData name="Steiner Andreas 6206 ED" userId="e6377c33-a923-4f14-8587-531c474c7b48" providerId="ADAL" clId="{6ECD27E6-B224-41CD-B4E0-E297462320DD}" dt="2023-11-24T08:42:26.096" v="47278"/>
          <ac:spMkLst>
            <pc:docMk/>
            <pc:sldMk cId="2225815222" sldId="2147478566"/>
            <ac:spMk id="313" creationId="{66187A9C-F29A-8224-DB99-EF08E4AD8D0E}"/>
          </ac:spMkLst>
        </pc:spChg>
        <pc:spChg chg="add del mod">
          <ac:chgData name="Steiner Andreas 6206 ED" userId="e6377c33-a923-4f14-8587-531c474c7b48" providerId="ADAL" clId="{6ECD27E6-B224-41CD-B4E0-E297462320DD}" dt="2023-11-24T08:42:27.994" v="47433"/>
          <ac:spMkLst>
            <pc:docMk/>
            <pc:sldMk cId="2225815222" sldId="2147478566"/>
            <ac:spMk id="314" creationId="{13C6F339-45FE-8256-792B-F4056A86BEB4}"/>
          </ac:spMkLst>
        </pc:spChg>
        <pc:spChg chg="add del mod">
          <ac:chgData name="Steiner Andreas 6206 ED" userId="e6377c33-a923-4f14-8587-531c474c7b48" providerId="ADAL" clId="{6ECD27E6-B224-41CD-B4E0-E297462320DD}" dt="2023-11-24T08:42:29.770" v="47588"/>
          <ac:spMkLst>
            <pc:docMk/>
            <pc:sldMk cId="2225815222" sldId="2147478566"/>
            <ac:spMk id="315" creationId="{99A39685-F3CD-D25C-80AB-565622903379}"/>
          </ac:spMkLst>
        </pc:spChg>
        <pc:spChg chg="add del mod">
          <ac:chgData name="Steiner Andreas 6206 ED" userId="e6377c33-a923-4f14-8587-531c474c7b48" providerId="ADAL" clId="{6ECD27E6-B224-41CD-B4E0-E297462320DD}" dt="2023-11-24T08:42:31.688" v="47743"/>
          <ac:spMkLst>
            <pc:docMk/>
            <pc:sldMk cId="2225815222" sldId="2147478566"/>
            <ac:spMk id="316" creationId="{7FF6BF80-704C-A6A0-6855-FF78CD24B958}"/>
          </ac:spMkLst>
        </pc:spChg>
        <pc:spChg chg="add del mod">
          <ac:chgData name="Steiner Andreas 6206 ED" userId="e6377c33-a923-4f14-8587-531c474c7b48" providerId="ADAL" clId="{6ECD27E6-B224-41CD-B4E0-E297462320DD}" dt="2023-11-24T08:42:33.697" v="47898"/>
          <ac:spMkLst>
            <pc:docMk/>
            <pc:sldMk cId="2225815222" sldId="2147478566"/>
            <ac:spMk id="317" creationId="{7400EAA0-7F8C-9F9B-CA0D-07541DF52C59}"/>
          </ac:spMkLst>
        </pc:spChg>
        <pc:spChg chg="add del mod">
          <ac:chgData name="Steiner Andreas 6206 ED" userId="e6377c33-a923-4f14-8587-531c474c7b48" providerId="ADAL" clId="{6ECD27E6-B224-41CD-B4E0-E297462320DD}" dt="2023-11-24T08:42:35.725" v="48053"/>
          <ac:spMkLst>
            <pc:docMk/>
            <pc:sldMk cId="2225815222" sldId="2147478566"/>
            <ac:spMk id="318" creationId="{EA7F9D74-8AB7-76DF-4254-5C4551DBFC90}"/>
          </ac:spMkLst>
        </pc:spChg>
        <pc:spChg chg="add del mod">
          <ac:chgData name="Steiner Andreas 6206 ED" userId="e6377c33-a923-4f14-8587-531c474c7b48" providerId="ADAL" clId="{6ECD27E6-B224-41CD-B4E0-E297462320DD}" dt="2023-11-24T08:42:37.602" v="48208"/>
          <ac:spMkLst>
            <pc:docMk/>
            <pc:sldMk cId="2225815222" sldId="2147478566"/>
            <ac:spMk id="319" creationId="{8FEE6459-0222-6093-9ED5-841DEE580467}"/>
          </ac:spMkLst>
        </pc:spChg>
        <pc:spChg chg="add del mod">
          <ac:chgData name="Steiner Andreas 6206 ED" userId="e6377c33-a923-4f14-8587-531c474c7b48" providerId="ADAL" clId="{6ECD27E6-B224-41CD-B4E0-E297462320DD}" dt="2023-11-24T08:42:39.464" v="48363"/>
          <ac:spMkLst>
            <pc:docMk/>
            <pc:sldMk cId="2225815222" sldId="2147478566"/>
            <ac:spMk id="320" creationId="{1E9885E7-E078-CEC9-A4FB-4F6C0E797A8C}"/>
          </ac:spMkLst>
        </pc:spChg>
        <pc:spChg chg="add del mod">
          <ac:chgData name="Steiner Andreas 6206 ED" userId="e6377c33-a923-4f14-8587-531c474c7b48" providerId="ADAL" clId="{6ECD27E6-B224-41CD-B4E0-E297462320DD}" dt="2023-11-24T08:42:41.604" v="48518"/>
          <ac:spMkLst>
            <pc:docMk/>
            <pc:sldMk cId="2225815222" sldId="2147478566"/>
            <ac:spMk id="321" creationId="{52B84844-2E6B-E8EB-5478-7D5645B95E93}"/>
          </ac:spMkLst>
        </pc:spChg>
        <pc:spChg chg="add del mod">
          <ac:chgData name="Steiner Andreas 6206 ED" userId="e6377c33-a923-4f14-8587-531c474c7b48" providerId="ADAL" clId="{6ECD27E6-B224-41CD-B4E0-E297462320DD}" dt="2023-11-24T08:42:43.709" v="48673"/>
          <ac:spMkLst>
            <pc:docMk/>
            <pc:sldMk cId="2225815222" sldId="2147478566"/>
            <ac:spMk id="322" creationId="{0E5EECB3-90D3-4A90-8D6E-98F56D6459FF}"/>
          </ac:spMkLst>
        </pc:spChg>
        <pc:spChg chg="add del mod">
          <ac:chgData name="Steiner Andreas 6206 ED" userId="e6377c33-a923-4f14-8587-531c474c7b48" providerId="ADAL" clId="{6ECD27E6-B224-41CD-B4E0-E297462320DD}" dt="2023-11-24T08:42:45.747" v="48828"/>
          <ac:spMkLst>
            <pc:docMk/>
            <pc:sldMk cId="2225815222" sldId="2147478566"/>
            <ac:spMk id="323" creationId="{ABD03628-D6E1-40E1-D1B1-ABD67A9B4172}"/>
          </ac:spMkLst>
        </pc:spChg>
        <pc:spChg chg="add del mod">
          <ac:chgData name="Steiner Andreas 6206 ED" userId="e6377c33-a923-4f14-8587-531c474c7b48" providerId="ADAL" clId="{6ECD27E6-B224-41CD-B4E0-E297462320DD}" dt="2023-11-24T08:42:47.600" v="48983"/>
          <ac:spMkLst>
            <pc:docMk/>
            <pc:sldMk cId="2225815222" sldId="2147478566"/>
            <ac:spMk id="324" creationId="{B9FE8C0A-5AC9-3B63-9884-941AFDC34DFF}"/>
          </ac:spMkLst>
        </pc:spChg>
        <pc:spChg chg="add del mod">
          <ac:chgData name="Steiner Andreas 6206 ED" userId="e6377c33-a923-4f14-8587-531c474c7b48" providerId="ADAL" clId="{6ECD27E6-B224-41CD-B4E0-E297462320DD}" dt="2023-11-24T08:42:49.413" v="49138"/>
          <ac:spMkLst>
            <pc:docMk/>
            <pc:sldMk cId="2225815222" sldId="2147478566"/>
            <ac:spMk id="325" creationId="{68292458-A0CD-B352-4D6D-28B79BC5E876}"/>
          </ac:spMkLst>
        </pc:spChg>
        <pc:spChg chg="add del mod">
          <ac:chgData name="Steiner Andreas 6206 ED" userId="e6377c33-a923-4f14-8587-531c474c7b48" providerId="ADAL" clId="{6ECD27E6-B224-41CD-B4E0-E297462320DD}" dt="2023-11-24T08:42:51.279" v="49293"/>
          <ac:spMkLst>
            <pc:docMk/>
            <pc:sldMk cId="2225815222" sldId="2147478566"/>
            <ac:spMk id="326" creationId="{5E4466CC-1915-4DEB-76A4-F431CBB90B37}"/>
          </ac:spMkLst>
        </pc:spChg>
        <pc:spChg chg="add del mod">
          <ac:chgData name="Steiner Andreas 6206 ED" userId="e6377c33-a923-4f14-8587-531c474c7b48" providerId="ADAL" clId="{6ECD27E6-B224-41CD-B4E0-E297462320DD}" dt="2023-11-24T08:42:53.403" v="49448"/>
          <ac:spMkLst>
            <pc:docMk/>
            <pc:sldMk cId="2225815222" sldId="2147478566"/>
            <ac:spMk id="327" creationId="{ED7F09D2-10EF-EAEE-7F1E-C3BEA5EEAB12}"/>
          </ac:spMkLst>
        </pc:spChg>
        <pc:spChg chg="add del mod">
          <ac:chgData name="Steiner Andreas 6206 ED" userId="e6377c33-a923-4f14-8587-531c474c7b48" providerId="ADAL" clId="{6ECD27E6-B224-41CD-B4E0-E297462320DD}" dt="2023-11-24T08:42:56.049" v="49603"/>
          <ac:spMkLst>
            <pc:docMk/>
            <pc:sldMk cId="2225815222" sldId="2147478566"/>
            <ac:spMk id="328" creationId="{1229923E-2FFE-6125-BE0E-40144B92288D}"/>
          </ac:spMkLst>
        </pc:spChg>
        <pc:spChg chg="add del mod">
          <ac:chgData name="Steiner Andreas 6206 ED" userId="e6377c33-a923-4f14-8587-531c474c7b48" providerId="ADAL" clId="{6ECD27E6-B224-41CD-B4E0-E297462320DD}" dt="2023-11-24T08:42:58.099" v="49758"/>
          <ac:spMkLst>
            <pc:docMk/>
            <pc:sldMk cId="2225815222" sldId="2147478566"/>
            <ac:spMk id="329" creationId="{2E8DBD0E-A032-57AF-2136-125C6EC7A9F2}"/>
          </ac:spMkLst>
        </pc:spChg>
        <pc:spChg chg="add del mod">
          <ac:chgData name="Steiner Andreas 6206 ED" userId="e6377c33-a923-4f14-8587-531c474c7b48" providerId="ADAL" clId="{6ECD27E6-B224-41CD-B4E0-E297462320DD}" dt="2023-11-24T08:43:00.009" v="49913"/>
          <ac:spMkLst>
            <pc:docMk/>
            <pc:sldMk cId="2225815222" sldId="2147478566"/>
            <ac:spMk id="330" creationId="{7E6CEEC4-2476-F795-E603-375780ED8350}"/>
          </ac:spMkLst>
        </pc:spChg>
        <pc:spChg chg="add del mod">
          <ac:chgData name="Steiner Andreas 6206 ED" userId="e6377c33-a923-4f14-8587-531c474c7b48" providerId="ADAL" clId="{6ECD27E6-B224-41CD-B4E0-E297462320DD}" dt="2023-11-24T08:43:02.013" v="50068"/>
          <ac:spMkLst>
            <pc:docMk/>
            <pc:sldMk cId="2225815222" sldId="2147478566"/>
            <ac:spMk id="331" creationId="{09E677D5-893B-54E6-C008-B67241B8E5A0}"/>
          </ac:spMkLst>
        </pc:spChg>
        <pc:spChg chg="add del mod">
          <ac:chgData name="Steiner Andreas 6206 ED" userId="e6377c33-a923-4f14-8587-531c474c7b48" providerId="ADAL" clId="{6ECD27E6-B224-41CD-B4E0-E297462320DD}" dt="2023-11-24T08:43:03.985" v="50223"/>
          <ac:spMkLst>
            <pc:docMk/>
            <pc:sldMk cId="2225815222" sldId="2147478566"/>
            <ac:spMk id="332" creationId="{B0A3C0F1-431E-B064-59AC-26E465EEC16B}"/>
          </ac:spMkLst>
        </pc:spChg>
        <pc:spChg chg="add del mod">
          <ac:chgData name="Steiner Andreas 6206 ED" userId="e6377c33-a923-4f14-8587-531c474c7b48" providerId="ADAL" clId="{6ECD27E6-B224-41CD-B4E0-E297462320DD}" dt="2023-11-24T08:43:05.891" v="50378"/>
          <ac:spMkLst>
            <pc:docMk/>
            <pc:sldMk cId="2225815222" sldId="2147478566"/>
            <ac:spMk id="333" creationId="{CB06BBC0-8C19-0F84-1C34-4E3307ED7DA6}"/>
          </ac:spMkLst>
        </pc:spChg>
        <pc:spChg chg="add del mod">
          <ac:chgData name="Steiner Andreas 6206 ED" userId="e6377c33-a923-4f14-8587-531c474c7b48" providerId="ADAL" clId="{6ECD27E6-B224-41CD-B4E0-E297462320DD}" dt="2023-11-24T08:43:08.167" v="50533"/>
          <ac:spMkLst>
            <pc:docMk/>
            <pc:sldMk cId="2225815222" sldId="2147478566"/>
            <ac:spMk id="334" creationId="{48EC1306-CECF-8CDE-0851-389A4DF2EFAA}"/>
          </ac:spMkLst>
        </pc:spChg>
        <pc:spChg chg="add del mod">
          <ac:chgData name="Steiner Andreas 6206 ED" userId="e6377c33-a923-4f14-8587-531c474c7b48" providerId="ADAL" clId="{6ECD27E6-B224-41CD-B4E0-E297462320DD}" dt="2023-11-24T08:43:10.131" v="50688"/>
          <ac:spMkLst>
            <pc:docMk/>
            <pc:sldMk cId="2225815222" sldId="2147478566"/>
            <ac:spMk id="335" creationId="{BAB6D67C-0A0A-FD9C-03AA-1345A435BCF5}"/>
          </ac:spMkLst>
        </pc:spChg>
        <pc:spChg chg="add del mod">
          <ac:chgData name="Steiner Andreas 6206 ED" userId="e6377c33-a923-4f14-8587-531c474c7b48" providerId="ADAL" clId="{6ECD27E6-B224-41CD-B4E0-E297462320DD}" dt="2023-11-24T08:43:11.992" v="50843"/>
          <ac:spMkLst>
            <pc:docMk/>
            <pc:sldMk cId="2225815222" sldId="2147478566"/>
            <ac:spMk id="336" creationId="{12D76BE0-9910-3C13-FBA5-4500A362D842}"/>
          </ac:spMkLst>
        </pc:spChg>
        <pc:spChg chg="add del mod">
          <ac:chgData name="Steiner Andreas 6206 ED" userId="e6377c33-a923-4f14-8587-531c474c7b48" providerId="ADAL" clId="{6ECD27E6-B224-41CD-B4E0-E297462320DD}" dt="2023-11-24T08:43:14.047" v="50998"/>
          <ac:spMkLst>
            <pc:docMk/>
            <pc:sldMk cId="2225815222" sldId="2147478566"/>
            <ac:spMk id="337" creationId="{BE20D407-78DF-3DA0-D58F-A2E3A2514B75}"/>
          </ac:spMkLst>
        </pc:spChg>
        <pc:spChg chg="add del mod">
          <ac:chgData name="Steiner Andreas 6206 ED" userId="e6377c33-a923-4f14-8587-531c474c7b48" providerId="ADAL" clId="{6ECD27E6-B224-41CD-B4E0-E297462320DD}" dt="2023-11-24T08:43:16.040" v="51153"/>
          <ac:spMkLst>
            <pc:docMk/>
            <pc:sldMk cId="2225815222" sldId="2147478566"/>
            <ac:spMk id="338" creationId="{EBD0FD92-27F5-79B8-3342-EB6A0F0D375A}"/>
          </ac:spMkLst>
        </pc:spChg>
        <pc:spChg chg="add del mod">
          <ac:chgData name="Steiner Andreas 6206 ED" userId="e6377c33-a923-4f14-8587-531c474c7b48" providerId="ADAL" clId="{6ECD27E6-B224-41CD-B4E0-E297462320DD}" dt="2023-11-24T08:43:18.084" v="51308"/>
          <ac:spMkLst>
            <pc:docMk/>
            <pc:sldMk cId="2225815222" sldId="2147478566"/>
            <ac:spMk id="339" creationId="{C6CFC839-C516-278D-5F25-EA4591422CB4}"/>
          </ac:spMkLst>
        </pc:spChg>
        <pc:spChg chg="add del mod">
          <ac:chgData name="Steiner Andreas 6206 ED" userId="e6377c33-a923-4f14-8587-531c474c7b48" providerId="ADAL" clId="{6ECD27E6-B224-41CD-B4E0-E297462320DD}" dt="2023-11-24T08:43:20.079" v="51463"/>
          <ac:spMkLst>
            <pc:docMk/>
            <pc:sldMk cId="2225815222" sldId="2147478566"/>
            <ac:spMk id="340" creationId="{EB9EFE03-EC41-4658-C03B-45A2A2FEE79B}"/>
          </ac:spMkLst>
        </pc:spChg>
        <pc:spChg chg="add del mod">
          <ac:chgData name="Steiner Andreas 6206 ED" userId="e6377c33-a923-4f14-8587-531c474c7b48" providerId="ADAL" clId="{6ECD27E6-B224-41CD-B4E0-E297462320DD}" dt="2023-11-24T08:43:21.977" v="51618"/>
          <ac:spMkLst>
            <pc:docMk/>
            <pc:sldMk cId="2225815222" sldId="2147478566"/>
            <ac:spMk id="341" creationId="{497098D9-F60D-A341-64FC-B5D620EDB183}"/>
          </ac:spMkLst>
        </pc:spChg>
        <pc:spChg chg="add del mod">
          <ac:chgData name="Steiner Andreas 6206 ED" userId="e6377c33-a923-4f14-8587-531c474c7b48" providerId="ADAL" clId="{6ECD27E6-B224-41CD-B4E0-E297462320DD}" dt="2023-11-24T08:43:23.932" v="51773"/>
          <ac:spMkLst>
            <pc:docMk/>
            <pc:sldMk cId="2225815222" sldId="2147478566"/>
            <ac:spMk id="342" creationId="{A760F51C-939C-FEEE-852C-4AA041FAFBAB}"/>
          </ac:spMkLst>
        </pc:spChg>
        <pc:spChg chg="add del mod">
          <ac:chgData name="Steiner Andreas 6206 ED" userId="e6377c33-a923-4f14-8587-531c474c7b48" providerId="ADAL" clId="{6ECD27E6-B224-41CD-B4E0-E297462320DD}" dt="2023-11-24T08:43:25.814" v="51928"/>
          <ac:spMkLst>
            <pc:docMk/>
            <pc:sldMk cId="2225815222" sldId="2147478566"/>
            <ac:spMk id="343" creationId="{8C3D76CA-407C-545B-FB54-A596A753F834}"/>
          </ac:spMkLst>
        </pc:spChg>
        <pc:spChg chg="add del mod">
          <ac:chgData name="Steiner Andreas 6206 ED" userId="e6377c33-a923-4f14-8587-531c474c7b48" providerId="ADAL" clId="{6ECD27E6-B224-41CD-B4E0-E297462320DD}" dt="2023-11-24T08:43:27.632" v="52083"/>
          <ac:spMkLst>
            <pc:docMk/>
            <pc:sldMk cId="2225815222" sldId="2147478566"/>
            <ac:spMk id="344" creationId="{E62A13D7-51BE-EF33-9240-8E612FAB6528}"/>
          </ac:spMkLst>
        </pc:spChg>
        <pc:spChg chg="add del mod">
          <ac:chgData name="Steiner Andreas 6206 ED" userId="e6377c33-a923-4f14-8587-531c474c7b48" providerId="ADAL" clId="{6ECD27E6-B224-41CD-B4E0-E297462320DD}" dt="2023-11-24T08:43:29.424" v="52238"/>
          <ac:spMkLst>
            <pc:docMk/>
            <pc:sldMk cId="2225815222" sldId="2147478566"/>
            <ac:spMk id="345" creationId="{BD6BBCF8-0A40-CEF0-053E-8A0AD82C2D37}"/>
          </ac:spMkLst>
        </pc:spChg>
        <pc:spChg chg="add del mod">
          <ac:chgData name="Steiner Andreas 6206 ED" userId="e6377c33-a923-4f14-8587-531c474c7b48" providerId="ADAL" clId="{6ECD27E6-B224-41CD-B4E0-E297462320DD}" dt="2023-11-24T08:43:32.195" v="52393"/>
          <ac:spMkLst>
            <pc:docMk/>
            <pc:sldMk cId="2225815222" sldId="2147478566"/>
            <ac:spMk id="346" creationId="{C21A006F-4571-0A86-5067-5AB3B939233C}"/>
          </ac:spMkLst>
        </pc:spChg>
        <pc:spChg chg="add del mod">
          <ac:chgData name="Steiner Andreas 6206 ED" userId="e6377c33-a923-4f14-8587-531c474c7b48" providerId="ADAL" clId="{6ECD27E6-B224-41CD-B4E0-E297462320DD}" dt="2023-11-24T08:43:34.669" v="52548"/>
          <ac:spMkLst>
            <pc:docMk/>
            <pc:sldMk cId="2225815222" sldId="2147478566"/>
            <ac:spMk id="347" creationId="{92990AC1-0B43-0CBB-B708-1CFB507743BC}"/>
          </ac:spMkLst>
        </pc:spChg>
        <pc:spChg chg="add del mod">
          <ac:chgData name="Steiner Andreas 6206 ED" userId="e6377c33-a923-4f14-8587-531c474c7b48" providerId="ADAL" clId="{6ECD27E6-B224-41CD-B4E0-E297462320DD}" dt="2023-11-24T08:43:36.751" v="52703"/>
          <ac:spMkLst>
            <pc:docMk/>
            <pc:sldMk cId="2225815222" sldId="2147478566"/>
            <ac:spMk id="348" creationId="{142E7E5B-8B99-F859-0DDE-229346DB47EC}"/>
          </ac:spMkLst>
        </pc:spChg>
        <pc:spChg chg="add del mod">
          <ac:chgData name="Steiner Andreas 6206 ED" userId="e6377c33-a923-4f14-8587-531c474c7b48" providerId="ADAL" clId="{6ECD27E6-B224-41CD-B4E0-E297462320DD}" dt="2023-11-24T08:43:38.876" v="52858"/>
          <ac:spMkLst>
            <pc:docMk/>
            <pc:sldMk cId="2225815222" sldId="2147478566"/>
            <ac:spMk id="349" creationId="{626B93C7-430D-833A-D1D4-0645F56A05E3}"/>
          </ac:spMkLst>
        </pc:spChg>
        <pc:spChg chg="add del mod">
          <ac:chgData name="Steiner Andreas 6206 ED" userId="e6377c33-a923-4f14-8587-531c474c7b48" providerId="ADAL" clId="{6ECD27E6-B224-41CD-B4E0-E297462320DD}" dt="2023-11-24T08:43:40.988" v="53013"/>
          <ac:spMkLst>
            <pc:docMk/>
            <pc:sldMk cId="2225815222" sldId="2147478566"/>
            <ac:spMk id="350" creationId="{40A1C7BA-78E8-EC27-A49A-7D42231BFAF2}"/>
          </ac:spMkLst>
        </pc:spChg>
        <pc:spChg chg="add del mod">
          <ac:chgData name="Steiner Andreas 6206 ED" userId="e6377c33-a923-4f14-8587-531c474c7b48" providerId="ADAL" clId="{6ECD27E6-B224-41CD-B4E0-E297462320DD}" dt="2023-11-24T08:43:42.934" v="53168"/>
          <ac:spMkLst>
            <pc:docMk/>
            <pc:sldMk cId="2225815222" sldId="2147478566"/>
            <ac:spMk id="351" creationId="{1D0780EE-331A-1B07-7EBD-C832926A25C4}"/>
          </ac:spMkLst>
        </pc:spChg>
        <pc:spChg chg="add del mod">
          <ac:chgData name="Steiner Andreas 6206 ED" userId="e6377c33-a923-4f14-8587-531c474c7b48" providerId="ADAL" clId="{6ECD27E6-B224-41CD-B4E0-E297462320DD}" dt="2023-11-24T08:43:44.749" v="53323"/>
          <ac:spMkLst>
            <pc:docMk/>
            <pc:sldMk cId="2225815222" sldId="2147478566"/>
            <ac:spMk id="352" creationId="{93E12687-F20F-635F-37F1-71AD45A92CE4}"/>
          </ac:spMkLst>
        </pc:spChg>
        <pc:spChg chg="add del mod">
          <ac:chgData name="Steiner Andreas 6206 ED" userId="e6377c33-a923-4f14-8587-531c474c7b48" providerId="ADAL" clId="{6ECD27E6-B224-41CD-B4E0-E297462320DD}" dt="2023-11-24T08:43:46.536" v="53478"/>
          <ac:spMkLst>
            <pc:docMk/>
            <pc:sldMk cId="2225815222" sldId="2147478566"/>
            <ac:spMk id="353" creationId="{F1D41D67-E119-DF1C-737F-9E676A623215}"/>
          </ac:spMkLst>
        </pc:spChg>
        <pc:spChg chg="add del mod">
          <ac:chgData name="Steiner Andreas 6206 ED" userId="e6377c33-a923-4f14-8587-531c474c7b48" providerId="ADAL" clId="{6ECD27E6-B224-41CD-B4E0-E297462320DD}" dt="2023-11-24T08:43:48.511" v="53633"/>
          <ac:spMkLst>
            <pc:docMk/>
            <pc:sldMk cId="2225815222" sldId="2147478566"/>
            <ac:spMk id="354" creationId="{E75BCDD2-01F9-B24D-C7AF-9BE01CEB0B7C}"/>
          </ac:spMkLst>
        </pc:spChg>
        <pc:spChg chg="add del mod">
          <ac:chgData name="Steiner Andreas 6206 ED" userId="e6377c33-a923-4f14-8587-531c474c7b48" providerId="ADAL" clId="{6ECD27E6-B224-41CD-B4E0-E297462320DD}" dt="2023-11-24T08:43:50.441" v="53788"/>
          <ac:spMkLst>
            <pc:docMk/>
            <pc:sldMk cId="2225815222" sldId="2147478566"/>
            <ac:spMk id="355" creationId="{1337F194-9B1C-E8B9-5B15-951AF27A91ED}"/>
          </ac:spMkLst>
        </pc:spChg>
        <pc:spChg chg="add del mod">
          <ac:chgData name="Steiner Andreas 6206 ED" userId="e6377c33-a923-4f14-8587-531c474c7b48" providerId="ADAL" clId="{6ECD27E6-B224-41CD-B4E0-E297462320DD}" dt="2023-11-24T08:43:52.708" v="53943"/>
          <ac:spMkLst>
            <pc:docMk/>
            <pc:sldMk cId="2225815222" sldId="2147478566"/>
            <ac:spMk id="356" creationId="{D6EBC6C3-41C2-7169-75E5-525E84E518CB}"/>
          </ac:spMkLst>
        </pc:spChg>
        <pc:spChg chg="add del mod">
          <ac:chgData name="Steiner Andreas 6206 ED" userId="e6377c33-a923-4f14-8587-531c474c7b48" providerId="ADAL" clId="{6ECD27E6-B224-41CD-B4E0-E297462320DD}" dt="2023-11-24T08:43:55.281" v="54098"/>
          <ac:spMkLst>
            <pc:docMk/>
            <pc:sldMk cId="2225815222" sldId="2147478566"/>
            <ac:spMk id="357" creationId="{4C76F8FC-4D36-F17B-4F3E-417E6AF2B709}"/>
          </ac:spMkLst>
        </pc:spChg>
        <pc:spChg chg="add del mod">
          <ac:chgData name="Steiner Andreas 6206 ED" userId="e6377c33-a923-4f14-8587-531c474c7b48" providerId="ADAL" clId="{6ECD27E6-B224-41CD-B4E0-E297462320DD}" dt="2023-11-24T08:43:57.309" v="54253"/>
          <ac:spMkLst>
            <pc:docMk/>
            <pc:sldMk cId="2225815222" sldId="2147478566"/>
            <ac:spMk id="358" creationId="{C841CE22-7B46-5ADF-44CC-F9F34F68AA21}"/>
          </ac:spMkLst>
        </pc:spChg>
        <pc:spChg chg="add del mod">
          <ac:chgData name="Steiner Andreas 6206 ED" userId="e6377c33-a923-4f14-8587-531c474c7b48" providerId="ADAL" clId="{6ECD27E6-B224-41CD-B4E0-E297462320DD}" dt="2023-11-24T08:43:59.601" v="54408"/>
          <ac:spMkLst>
            <pc:docMk/>
            <pc:sldMk cId="2225815222" sldId="2147478566"/>
            <ac:spMk id="359" creationId="{43406EBE-4C00-1792-B34C-05D67FE6B4AD}"/>
          </ac:spMkLst>
        </pc:spChg>
        <pc:spChg chg="add del mod">
          <ac:chgData name="Steiner Andreas 6206 ED" userId="e6377c33-a923-4f14-8587-531c474c7b48" providerId="ADAL" clId="{6ECD27E6-B224-41CD-B4E0-E297462320DD}" dt="2023-11-24T08:44:01.776" v="54563"/>
          <ac:spMkLst>
            <pc:docMk/>
            <pc:sldMk cId="2225815222" sldId="2147478566"/>
            <ac:spMk id="360" creationId="{B3C9A0C0-74EF-9603-D32D-72813CAA329D}"/>
          </ac:spMkLst>
        </pc:spChg>
        <pc:spChg chg="add del mod">
          <ac:chgData name="Steiner Andreas 6206 ED" userId="e6377c33-a923-4f14-8587-531c474c7b48" providerId="ADAL" clId="{6ECD27E6-B224-41CD-B4E0-E297462320DD}" dt="2023-11-24T08:44:03.984" v="54718"/>
          <ac:spMkLst>
            <pc:docMk/>
            <pc:sldMk cId="2225815222" sldId="2147478566"/>
            <ac:spMk id="361" creationId="{860ADF06-04AC-957E-6682-AC0D04F2C130}"/>
          </ac:spMkLst>
        </pc:spChg>
        <pc:spChg chg="add del mod">
          <ac:chgData name="Steiner Andreas 6206 ED" userId="e6377c33-a923-4f14-8587-531c474c7b48" providerId="ADAL" clId="{6ECD27E6-B224-41CD-B4E0-E297462320DD}" dt="2023-11-24T08:44:06.010" v="54873"/>
          <ac:spMkLst>
            <pc:docMk/>
            <pc:sldMk cId="2225815222" sldId="2147478566"/>
            <ac:spMk id="362" creationId="{08BB1221-2D0D-36D0-E8F3-F0A889A7CCCD}"/>
          </ac:spMkLst>
        </pc:spChg>
        <pc:spChg chg="add del mod">
          <ac:chgData name="Steiner Andreas 6206 ED" userId="e6377c33-a923-4f14-8587-531c474c7b48" providerId="ADAL" clId="{6ECD27E6-B224-41CD-B4E0-E297462320DD}" dt="2023-11-24T08:44:07.982" v="55028"/>
          <ac:spMkLst>
            <pc:docMk/>
            <pc:sldMk cId="2225815222" sldId="2147478566"/>
            <ac:spMk id="363" creationId="{3DEF4DF8-9842-5EC7-8C69-F779CF426C96}"/>
          </ac:spMkLst>
        </pc:spChg>
        <pc:spChg chg="add del mod">
          <ac:chgData name="Steiner Andreas 6206 ED" userId="e6377c33-a923-4f14-8587-531c474c7b48" providerId="ADAL" clId="{6ECD27E6-B224-41CD-B4E0-E297462320DD}" dt="2023-11-24T08:44:09.951" v="55183"/>
          <ac:spMkLst>
            <pc:docMk/>
            <pc:sldMk cId="2225815222" sldId="2147478566"/>
            <ac:spMk id="364" creationId="{AFB0C91E-0EDD-8FC7-AFDB-4E219DACA7EC}"/>
          </ac:spMkLst>
        </pc:spChg>
        <pc:spChg chg="add del mod">
          <ac:chgData name="Steiner Andreas 6206 ED" userId="e6377c33-a923-4f14-8587-531c474c7b48" providerId="ADAL" clId="{6ECD27E6-B224-41CD-B4E0-E297462320DD}" dt="2023-11-24T08:44:11.977" v="55338"/>
          <ac:spMkLst>
            <pc:docMk/>
            <pc:sldMk cId="2225815222" sldId="2147478566"/>
            <ac:spMk id="365" creationId="{80F6D0AA-D2B7-9055-2B19-37B3436FBCDD}"/>
          </ac:spMkLst>
        </pc:spChg>
        <pc:spChg chg="add del mod">
          <ac:chgData name="Steiner Andreas 6206 ED" userId="e6377c33-a923-4f14-8587-531c474c7b48" providerId="ADAL" clId="{6ECD27E6-B224-41CD-B4E0-E297462320DD}" dt="2023-11-24T08:44:14.107" v="55493"/>
          <ac:spMkLst>
            <pc:docMk/>
            <pc:sldMk cId="2225815222" sldId="2147478566"/>
            <ac:spMk id="366" creationId="{B52E04E4-4008-6CC1-1596-A85FDFC7CABA}"/>
          </ac:spMkLst>
        </pc:spChg>
        <pc:spChg chg="add del mod">
          <ac:chgData name="Steiner Andreas 6206 ED" userId="e6377c33-a923-4f14-8587-531c474c7b48" providerId="ADAL" clId="{6ECD27E6-B224-41CD-B4E0-E297462320DD}" dt="2023-11-24T08:44:16.211" v="55648"/>
          <ac:spMkLst>
            <pc:docMk/>
            <pc:sldMk cId="2225815222" sldId="2147478566"/>
            <ac:spMk id="367" creationId="{75C2F347-CD05-C002-97CB-A9A9BC6D699E}"/>
          </ac:spMkLst>
        </pc:spChg>
        <pc:spChg chg="add del mod">
          <ac:chgData name="Steiner Andreas 6206 ED" userId="e6377c33-a923-4f14-8587-531c474c7b48" providerId="ADAL" clId="{6ECD27E6-B224-41CD-B4E0-E297462320DD}" dt="2023-11-24T08:44:18.701" v="55803"/>
          <ac:spMkLst>
            <pc:docMk/>
            <pc:sldMk cId="2225815222" sldId="2147478566"/>
            <ac:spMk id="368" creationId="{38DAA601-22FD-109D-7C26-E72AB011D158}"/>
          </ac:spMkLst>
        </pc:spChg>
        <pc:spChg chg="add del mod">
          <ac:chgData name="Steiner Andreas 6206 ED" userId="e6377c33-a923-4f14-8587-531c474c7b48" providerId="ADAL" clId="{6ECD27E6-B224-41CD-B4E0-E297462320DD}" dt="2023-11-24T08:44:21.563" v="55958"/>
          <ac:spMkLst>
            <pc:docMk/>
            <pc:sldMk cId="2225815222" sldId="2147478566"/>
            <ac:spMk id="369" creationId="{952B3C99-2920-C2C2-F451-7D30FB3A977C}"/>
          </ac:spMkLst>
        </pc:spChg>
        <pc:spChg chg="add del mod">
          <ac:chgData name="Steiner Andreas 6206 ED" userId="e6377c33-a923-4f14-8587-531c474c7b48" providerId="ADAL" clId="{6ECD27E6-B224-41CD-B4E0-E297462320DD}" dt="2023-11-24T08:44:23.918" v="56113"/>
          <ac:spMkLst>
            <pc:docMk/>
            <pc:sldMk cId="2225815222" sldId="2147478566"/>
            <ac:spMk id="370" creationId="{DBEF8CDA-2721-AB35-FBB6-7A0FC0C4385E}"/>
          </ac:spMkLst>
        </pc:spChg>
        <pc:spChg chg="add del mod">
          <ac:chgData name="Steiner Andreas 6206 ED" userId="e6377c33-a923-4f14-8587-531c474c7b48" providerId="ADAL" clId="{6ECD27E6-B224-41CD-B4E0-E297462320DD}" dt="2023-11-24T08:44:25.849" v="56268"/>
          <ac:spMkLst>
            <pc:docMk/>
            <pc:sldMk cId="2225815222" sldId="2147478566"/>
            <ac:spMk id="371" creationId="{C365972A-C07C-8A2B-517A-86CEEE115A3D}"/>
          </ac:spMkLst>
        </pc:spChg>
        <pc:spChg chg="add del mod">
          <ac:chgData name="Steiner Andreas 6206 ED" userId="e6377c33-a923-4f14-8587-531c474c7b48" providerId="ADAL" clId="{6ECD27E6-B224-41CD-B4E0-E297462320DD}" dt="2023-11-24T08:44:28.030" v="56423"/>
          <ac:spMkLst>
            <pc:docMk/>
            <pc:sldMk cId="2225815222" sldId="2147478566"/>
            <ac:spMk id="372" creationId="{944A62A6-A0D5-B14F-5C96-FECF296E4064}"/>
          </ac:spMkLst>
        </pc:spChg>
        <pc:spChg chg="add del mod">
          <ac:chgData name="Steiner Andreas 6206 ED" userId="e6377c33-a923-4f14-8587-531c474c7b48" providerId="ADAL" clId="{6ECD27E6-B224-41CD-B4E0-E297462320DD}" dt="2023-11-24T08:44:30.053" v="56578"/>
          <ac:spMkLst>
            <pc:docMk/>
            <pc:sldMk cId="2225815222" sldId="2147478566"/>
            <ac:spMk id="373" creationId="{0BB1C144-C1F1-899C-E101-8E74F74BB2BF}"/>
          </ac:spMkLst>
        </pc:spChg>
        <pc:spChg chg="add del mod">
          <ac:chgData name="Steiner Andreas 6206 ED" userId="e6377c33-a923-4f14-8587-531c474c7b48" providerId="ADAL" clId="{6ECD27E6-B224-41CD-B4E0-E297462320DD}" dt="2023-11-24T08:44:32" v="56733"/>
          <ac:spMkLst>
            <pc:docMk/>
            <pc:sldMk cId="2225815222" sldId="2147478566"/>
            <ac:spMk id="374" creationId="{7DD6384E-F8FA-2246-D5D3-A2F83366AEA2}"/>
          </ac:spMkLst>
        </pc:spChg>
        <pc:spChg chg="add del mod">
          <ac:chgData name="Steiner Andreas 6206 ED" userId="e6377c33-a923-4f14-8587-531c474c7b48" providerId="ADAL" clId="{6ECD27E6-B224-41CD-B4E0-E297462320DD}" dt="2023-11-24T08:44:33.965" v="56888"/>
          <ac:spMkLst>
            <pc:docMk/>
            <pc:sldMk cId="2225815222" sldId="2147478566"/>
            <ac:spMk id="375" creationId="{045A2EF8-8752-1DC2-A9AA-2A0491F28235}"/>
          </ac:spMkLst>
        </pc:spChg>
        <pc:spChg chg="add del mod">
          <ac:chgData name="Steiner Andreas 6206 ED" userId="e6377c33-a923-4f14-8587-531c474c7b48" providerId="ADAL" clId="{6ECD27E6-B224-41CD-B4E0-E297462320DD}" dt="2023-11-24T08:44:36.480" v="57043"/>
          <ac:spMkLst>
            <pc:docMk/>
            <pc:sldMk cId="2225815222" sldId="2147478566"/>
            <ac:spMk id="376" creationId="{8161322F-F8B4-F4E5-091B-F92375B75C7E}"/>
          </ac:spMkLst>
        </pc:spChg>
        <pc:spChg chg="add del mod">
          <ac:chgData name="Steiner Andreas 6206 ED" userId="e6377c33-a923-4f14-8587-531c474c7b48" providerId="ADAL" clId="{6ECD27E6-B224-41CD-B4E0-E297462320DD}" dt="2023-11-24T08:44:39.106" v="57198"/>
          <ac:spMkLst>
            <pc:docMk/>
            <pc:sldMk cId="2225815222" sldId="2147478566"/>
            <ac:spMk id="377" creationId="{FA84D585-506B-8607-4E84-2612CA424980}"/>
          </ac:spMkLst>
        </pc:spChg>
        <pc:spChg chg="add del mod">
          <ac:chgData name="Steiner Andreas 6206 ED" userId="e6377c33-a923-4f14-8587-531c474c7b48" providerId="ADAL" clId="{6ECD27E6-B224-41CD-B4E0-E297462320DD}" dt="2023-11-24T08:44:41.366" v="57353"/>
          <ac:spMkLst>
            <pc:docMk/>
            <pc:sldMk cId="2225815222" sldId="2147478566"/>
            <ac:spMk id="378" creationId="{928901FE-7366-0A54-A82A-9A399C1FF121}"/>
          </ac:spMkLst>
        </pc:spChg>
        <pc:spChg chg="add del mod">
          <ac:chgData name="Steiner Andreas 6206 ED" userId="e6377c33-a923-4f14-8587-531c474c7b48" providerId="ADAL" clId="{6ECD27E6-B224-41CD-B4E0-E297462320DD}" dt="2023-11-24T08:44:43.510" v="57508"/>
          <ac:spMkLst>
            <pc:docMk/>
            <pc:sldMk cId="2225815222" sldId="2147478566"/>
            <ac:spMk id="379" creationId="{79B8DB10-4648-F3AE-9709-D71A8DD060DE}"/>
          </ac:spMkLst>
        </pc:spChg>
        <pc:spChg chg="add del mod">
          <ac:chgData name="Steiner Andreas 6206 ED" userId="e6377c33-a923-4f14-8587-531c474c7b48" providerId="ADAL" clId="{6ECD27E6-B224-41CD-B4E0-E297462320DD}" dt="2023-11-24T08:44:45.687" v="57663"/>
          <ac:spMkLst>
            <pc:docMk/>
            <pc:sldMk cId="2225815222" sldId="2147478566"/>
            <ac:spMk id="380" creationId="{82D8D9B6-5C4F-FF3C-338D-B4679DF835D2}"/>
          </ac:spMkLst>
        </pc:spChg>
        <pc:spChg chg="add del mod">
          <ac:chgData name="Steiner Andreas 6206 ED" userId="e6377c33-a923-4f14-8587-531c474c7b48" providerId="ADAL" clId="{6ECD27E6-B224-41CD-B4E0-E297462320DD}" dt="2023-11-24T08:44:48.445" v="57818"/>
          <ac:spMkLst>
            <pc:docMk/>
            <pc:sldMk cId="2225815222" sldId="2147478566"/>
            <ac:spMk id="381" creationId="{832E0AC5-218A-9285-9513-3BE85D652676}"/>
          </ac:spMkLst>
        </pc:spChg>
        <pc:spChg chg="add del mod">
          <ac:chgData name="Steiner Andreas 6206 ED" userId="e6377c33-a923-4f14-8587-531c474c7b48" providerId="ADAL" clId="{6ECD27E6-B224-41CD-B4E0-E297462320DD}" dt="2023-11-24T08:44:50.659" v="57973"/>
          <ac:spMkLst>
            <pc:docMk/>
            <pc:sldMk cId="2225815222" sldId="2147478566"/>
            <ac:spMk id="382" creationId="{AD303E0E-FA98-A37D-7AA8-532F2D32EDAE}"/>
          </ac:spMkLst>
        </pc:spChg>
        <pc:spChg chg="add del mod">
          <ac:chgData name="Steiner Andreas 6206 ED" userId="e6377c33-a923-4f14-8587-531c474c7b48" providerId="ADAL" clId="{6ECD27E6-B224-41CD-B4E0-E297462320DD}" dt="2023-11-24T08:44:52.808" v="58128"/>
          <ac:spMkLst>
            <pc:docMk/>
            <pc:sldMk cId="2225815222" sldId="2147478566"/>
            <ac:spMk id="383" creationId="{71019257-0A41-2E64-DACF-738321328583}"/>
          </ac:spMkLst>
        </pc:spChg>
        <pc:spChg chg="add del mod">
          <ac:chgData name="Steiner Andreas 6206 ED" userId="e6377c33-a923-4f14-8587-531c474c7b48" providerId="ADAL" clId="{6ECD27E6-B224-41CD-B4E0-E297462320DD}" dt="2023-11-24T08:44:55.018" v="58283"/>
          <ac:spMkLst>
            <pc:docMk/>
            <pc:sldMk cId="2225815222" sldId="2147478566"/>
            <ac:spMk id="384" creationId="{7C0B1E71-5527-B542-EE6D-C3B65B58D173}"/>
          </ac:spMkLst>
        </pc:spChg>
        <pc:spChg chg="add del mod">
          <ac:chgData name="Steiner Andreas 6206 ED" userId="e6377c33-a923-4f14-8587-531c474c7b48" providerId="ADAL" clId="{6ECD27E6-B224-41CD-B4E0-E297462320DD}" dt="2023-11-24T08:44:57.006" v="58438"/>
          <ac:spMkLst>
            <pc:docMk/>
            <pc:sldMk cId="2225815222" sldId="2147478566"/>
            <ac:spMk id="385" creationId="{0743F11E-8773-21AA-4FCD-3C51B8F78883}"/>
          </ac:spMkLst>
        </pc:spChg>
        <pc:spChg chg="add del mod">
          <ac:chgData name="Steiner Andreas 6206 ED" userId="e6377c33-a923-4f14-8587-531c474c7b48" providerId="ADAL" clId="{6ECD27E6-B224-41CD-B4E0-E297462320DD}" dt="2023-11-24T08:44:58.946" v="58593"/>
          <ac:spMkLst>
            <pc:docMk/>
            <pc:sldMk cId="2225815222" sldId="2147478566"/>
            <ac:spMk id="386" creationId="{E3CED87C-4656-CAB8-D21E-5C682F89E05D}"/>
          </ac:spMkLst>
        </pc:spChg>
        <pc:spChg chg="add del mod">
          <ac:chgData name="Steiner Andreas 6206 ED" userId="e6377c33-a923-4f14-8587-531c474c7b48" providerId="ADAL" clId="{6ECD27E6-B224-41CD-B4E0-E297462320DD}" dt="2023-11-24T08:45:01.110" v="58748"/>
          <ac:spMkLst>
            <pc:docMk/>
            <pc:sldMk cId="2225815222" sldId="2147478566"/>
            <ac:spMk id="387" creationId="{B931D268-D6E6-1076-3EB2-A51E031D0D14}"/>
          </ac:spMkLst>
        </pc:spChg>
        <pc:spChg chg="add del mod">
          <ac:chgData name="Steiner Andreas 6206 ED" userId="e6377c33-a923-4f14-8587-531c474c7b48" providerId="ADAL" clId="{6ECD27E6-B224-41CD-B4E0-E297462320DD}" dt="2023-11-24T08:45:03.024" v="58903"/>
          <ac:spMkLst>
            <pc:docMk/>
            <pc:sldMk cId="2225815222" sldId="2147478566"/>
            <ac:spMk id="388" creationId="{C3B8277A-C528-DB47-672F-CC40F6D65EF2}"/>
          </ac:spMkLst>
        </pc:spChg>
        <pc:spChg chg="add del mod">
          <ac:chgData name="Steiner Andreas 6206 ED" userId="e6377c33-a923-4f14-8587-531c474c7b48" providerId="ADAL" clId="{6ECD27E6-B224-41CD-B4E0-E297462320DD}" dt="2023-11-24T08:45:04.868" v="59058"/>
          <ac:spMkLst>
            <pc:docMk/>
            <pc:sldMk cId="2225815222" sldId="2147478566"/>
            <ac:spMk id="389" creationId="{14C2C79A-CA6B-CA61-64C9-CB8404C0131A}"/>
          </ac:spMkLst>
        </pc:spChg>
        <pc:spChg chg="add del mod">
          <ac:chgData name="Steiner Andreas 6206 ED" userId="e6377c33-a923-4f14-8587-531c474c7b48" providerId="ADAL" clId="{6ECD27E6-B224-41CD-B4E0-E297462320DD}" dt="2023-11-24T08:45:06.715" v="59213"/>
          <ac:spMkLst>
            <pc:docMk/>
            <pc:sldMk cId="2225815222" sldId="2147478566"/>
            <ac:spMk id="390" creationId="{348A73DE-8F18-DDAE-A84D-C83F4EF94575}"/>
          </ac:spMkLst>
        </pc:spChg>
        <pc:spChg chg="add del mod">
          <ac:chgData name="Steiner Andreas 6206 ED" userId="e6377c33-a923-4f14-8587-531c474c7b48" providerId="ADAL" clId="{6ECD27E6-B224-41CD-B4E0-E297462320DD}" dt="2023-11-24T08:45:08.550" v="59368"/>
          <ac:spMkLst>
            <pc:docMk/>
            <pc:sldMk cId="2225815222" sldId="2147478566"/>
            <ac:spMk id="391" creationId="{2F9BD134-BA82-1CB7-ECD7-3F3126F91B67}"/>
          </ac:spMkLst>
        </pc:spChg>
        <pc:spChg chg="add del mod">
          <ac:chgData name="Steiner Andreas 6206 ED" userId="e6377c33-a923-4f14-8587-531c474c7b48" providerId="ADAL" clId="{6ECD27E6-B224-41CD-B4E0-E297462320DD}" dt="2023-11-24T08:45:10.397" v="59523"/>
          <ac:spMkLst>
            <pc:docMk/>
            <pc:sldMk cId="2225815222" sldId="2147478566"/>
            <ac:spMk id="392" creationId="{F1AC76EF-D34D-49E8-0DCB-A6B2D107143D}"/>
          </ac:spMkLst>
        </pc:spChg>
        <pc:spChg chg="add del mod">
          <ac:chgData name="Steiner Andreas 6206 ED" userId="e6377c33-a923-4f14-8587-531c474c7b48" providerId="ADAL" clId="{6ECD27E6-B224-41CD-B4E0-E297462320DD}" dt="2023-11-24T08:45:12.450" v="59678"/>
          <ac:spMkLst>
            <pc:docMk/>
            <pc:sldMk cId="2225815222" sldId="2147478566"/>
            <ac:spMk id="393" creationId="{C80230F8-2EB1-9C04-8AC5-899C8E899342}"/>
          </ac:spMkLst>
        </pc:spChg>
        <pc:spChg chg="add del mod">
          <ac:chgData name="Steiner Andreas 6206 ED" userId="e6377c33-a923-4f14-8587-531c474c7b48" providerId="ADAL" clId="{6ECD27E6-B224-41CD-B4E0-E297462320DD}" dt="2023-11-24T08:45:14.392" v="59833"/>
          <ac:spMkLst>
            <pc:docMk/>
            <pc:sldMk cId="2225815222" sldId="2147478566"/>
            <ac:spMk id="394" creationId="{13D18241-0DB2-7C37-32D7-A7084DF677AF}"/>
          </ac:spMkLst>
        </pc:spChg>
        <pc:spChg chg="add del mod">
          <ac:chgData name="Steiner Andreas 6206 ED" userId="e6377c33-a923-4f14-8587-531c474c7b48" providerId="ADAL" clId="{6ECD27E6-B224-41CD-B4E0-E297462320DD}" dt="2023-11-24T08:45:16.456" v="59988"/>
          <ac:spMkLst>
            <pc:docMk/>
            <pc:sldMk cId="2225815222" sldId="2147478566"/>
            <ac:spMk id="395" creationId="{15B91623-8F04-083E-1C91-26325EF60252}"/>
          </ac:spMkLst>
        </pc:spChg>
        <pc:spChg chg="add del mod">
          <ac:chgData name="Steiner Andreas 6206 ED" userId="e6377c33-a923-4f14-8587-531c474c7b48" providerId="ADAL" clId="{6ECD27E6-B224-41CD-B4E0-E297462320DD}" dt="2023-11-24T08:45:18.403" v="60143"/>
          <ac:spMkLst>
            <pc:docMk/>
            <pc:sldMk cId="2225815222" sldId="2147478566"/>
            <ac:spMk id="396" creationId="{5BD49F1F-7B87-59FB-87FF-4A50C9D165D4}"/>
          </ac:spMkLst>
        </pc:spChg>
        <pc:spChg chg="add del mod">
          <ac:chgData name="Steiner Andreas 6206 ED" userId="e6377c33-a923-4f14-8587-531c474c7b48" providerId="ADAL" clId="{6ECD27E6-B224-41CD-B4E0-E297462320DD}" dt="2023-11-24T08:45:20.292" v="60298"/>
          <ac:spMkLst>
            <pc:docMk/>
            <pc:sldMk cId="2225815222" sldId="2147478566"/>
            <ac:spMk id="397" creationId="{4D765F51-2E0C-1103-02BF-A00D45CCD30A}"/>
          </ac:spMkLst>
        </pc:spChg>
        <pc:spChg chg="add del mod">
          <ac:chgData name="Steiner Andreas 6206 ED" userId="e6377c33-a923-4f14-8587-531c474c7b48" providerId="ADAL" clId="{6ECD27E6-B224-41CD-B4E0-E297462320DD}" dt="2023-11-24T08:45:22.509" v="60453"/>
          <ac:spMkLst>
            <pc:docMk/>
            <pc:sldMk cId="2225815222" sldId="2147478566"/>
            <ac:spMk id="398" creationId="{08BAF765-8AA6-6FEC-5DD6-73D85A4C4150}"/>
          </ac:spMkLst>
        </pc:spChg>
        <pc:spChg chg="add del mod">
          <ac:chgData name="Steiner Andreas 6206 ED" userId="e6377c33-a923-4f14-8587-531c474c7b48" providerId="ADAL" clId="{6ECD27E6-B224-41CD-B4E0-E297462320DD}" dt="2023-11-24T08:45:24.680" v="60608"/>
          <ac:spMkLst>
            <pc:docMk/>
            <pc:sldMk cId="2225815222" sldId="2147478566"/>
            <ac:spMk id="399" creationId="{F18FFC2A-A496-7EF5-DE5E-E02C410A5E02}"/>
          </ac:spMkLst>
        </pc:spChg>
        <pc:spChg chg="add del mod">
          <ac:chgData name="Steiner Andreas 6206 ED" userId="e6377c33-a923-4f14-8587-531c474c7b48" providerId="ADAL" clId="{6ECD27E6-B224-41CD-B4E0-E297462320DD}" dt="2023-11-24T08:45:26.616" v="60763"/>
          <ac:spMkLst>
            <pc:docMk/>
            <pc:sldMk cId="2225815222" sldId="2147478566"/>
            <ac:spMk id="400" creationId="{BCD12ADC-0E2F-83D0-42B3-3497A50F1F0A}"/>
          </ac:spMkLst>
        </pc:spChg>
        <pc:spChg chg="add del mod">
          <ac:chgData name="Steiner Andreas 6206 ED" userId="e6377c33-a923-4f14-8587-531c474c7b48" providerId="ADAL" clId="{6ECD27E6-B224-41CD-B4E0-E297462320DD}" dt="2023-11-24T08:45:28.494" v="60918"/>
          <ac:spMkLst>
            <pc:docMk/>
            <pc:sldMk cId="2225815222" sldId="2147478566"/>
            <ac:spMk id="401" creationId="{E5570C40-36DC-0753-4155-439A1723BCA9}"/>
          </ac:spMkLst>
        </pc:spChg>
        <pc:spChg chg="add del mod">
          <ac:chgData name="Steiner Andreas 6206 ED" userId="e6377c33-a923-4f14-8587-531c474c7b48" providerId="ADAL" clId="{6ECD27E6-B224-41CD-B4E0-E297462320DD}" dt="2023-11-24T08:45:30.340" v="61073"/>
          <ac:spMkLst>
            <pc:docMk/>
            <pc:sldMk cId="2225815222" sldId="2147478566"/>
            <ac:spMk id="402" creationId="{4025E97A-67E9-CE8A-B1B7-7BB56B5D710B}"/>
          </ac:spMkLst>
        </pc:spChg>
        <pc:spChg chg="add del mod">
          <ac:chgData name="Steiner Andreas 6206 ED" userId="e6377c33-a923-4f14-8587-531c474c7b48" providerId="ADAL" clId="{6ECD27E6-B224-41CD-B4E0-E297462320DD}" dt="2023-11-24T08:45:32.176" v="61228"/>
          <ac:spMkLst>
            <pc:docMk/>
            <pc:sldMk cId="2225815222" sldId="2147478566"/>
            <ac:spMk id="403" creationId="{5807486F-BCE8-81EC-7CCA-95B6F0A01725}"/>
          </ac:spMkLst>
        </pc:spChg>
        <pc:spChg chg="add del mod">
          <ac:chgData name="Steiner Andreas 6206 ED" userId="e6377c33-a923-4f14-8587-531c474c7b48" providerId="ADAL" clId="{6ECD27E6-B224-41CD-B4E0-E297462320DD}" dt="2023-11-24T08:45:34.352" v="61383"/>
          <ac:spMkLst>
            <pc:docMk/>
            <pc:sldMk cId="2225815222" sldId="2147478566"/>
            <ac:spMk id="404" creationId="{4F0558B7-C9D0-1769-9EAE-5185F9796426}"/>
          </ac:spMkLst>
        </pc:spChg>
        <pc:spChg chg="add del mod">
          <ac:chgData name="Steiner Andreas 6206 ED" userId="e6377c33-a923-4f14-8587-531c474c7b48" providerId="ADAL" clId="{6ECD27E6-B224-41CD-B4E0-E297462320DD}" dt="2023-11-24T08:45:36.397" v="61538"/>
          <ac:spMkLst>
            <pc:docMk/>
            <pc:sldMk cId="2225815222" sldId="2147478566"/>
            <ac:spMk id="405" creationId="{A0DCDC6C-5D99-D6A6-DB40-4AD359BF264E}"/>
          </ac:spMkLst>
        </pc:spChg>
        <pc:spChg chg="add del mod">
          <ac:chgData name="Steiner Andreas 6206 ED" userId="e6377c33-a923-4f14-8587-531c474c7b48" providerId="ADAL" clId="{6ECD27E6-B224-41CD-B4E0-E297462320DD}" dt="2023-11-24T08:45:38.246" v="61693"/>
          <ac:spMkLst>
            <pc:docMk/>
            <pc:sldMk cId="2225815222" sldId="2147478566"/>
            <ac:spMk id="406" creationId="{FC9A0B08-52CD-4047-23F0-17AF22EDF366}"/>
          </ac:spMkLst>
        </pc:spChg>
        <pc:spChg chg="add del mod">
          <ac:chgData name="Steiner Andreas 6206 ED" userId="e6377c33-a923-4f14-8587-531c474c7b48" providerId="ADAL" clId="{6ECD27E6-B224-41CD-B4E0-E297462320DD}" dt="2023-11-24T08:45:40.142" v="61848"/>
          <ac:spMkLst>
            <pc:docMk/>
            <pc:sldMk cId="2225815222" sldId="2147478566"/>
            <ac:spMk id="407" creationId="{933977F0-366B-E210-B1B5-3B19A68D1462}"/>
          </ac:spMkLst>
        </pc:spChg>
        <pc:spChg chg="add del mod">
          <ac:chgData name="Steiner Andreas 6206 ED" userId="e6377c33-a923-4f14-8587-531c474c7b48" providerId="ADAL" clId="{6ECD27E6-B224-41CD-B4E0-E297462320DD}" dt="2023-11-24T08:45:42.171" v="62003"/>
          <ac:spMkLst>
            <pc:docMk/>
            <pc:sldMk cId="2225815222" sldId="2147478566"/>
            <ac:spMk id="408" creationId="{6491D00D-AEFA-DAA3-CDD2-CC6F00158B08}"/>
          </ac:spMkLst>
        </pc:spChg>
        <pc:spChg chg="add del mod">
          <ac:chgData name="Steiner Andreas 6206 ED" userId="e6377c33-a923-4f14-8587-531c474c7b48" providerId="ADAL" clId="{6ECD27E6-B224-41CD-B4E0-E297462320DD}" dt="2023-11-24T08:45:44.138" v="62158"/>
          <ac:spMkLst>
            <pc:docMk/>
            <pc:sldMk cId="2225815222" sldId="2147478566"/>
            <ac:spMk id="409" creationId="{289B6473-1476-00D0-885D-BDB11D01C5B1}"/>
          </ac:spMkLst>
        </pc:spChg>
        <pc:spChg chg="add del mod">
          <ac:chgData name="Steiner Andreas 6206 ED" userId="e6377c33-a923-4f14-8587-531c474c7b48" providerId="ADAL" clId="{6ECD27E6-B224-41CD-B4E0-E297462320DD}" dt="2023-11-24T08:45:46.260" v="62313"/>
          <ac:spMkLst>
            <pc:docMk/>
            <pc:sldMk cId="2225815222" sldId="2147478566"/>
            <ac:spMk id="410" creationId="{A9EF42A3-23E2-A3F4-9E56-73B8C0CC489A}"/>
          </ac:spMkLst>
        </pc:spChg>
        <pc:spChg chg="add del mod">
          <ac:chgData name="Steiner Andreas 6206 ED" userId="e6377c33-a923-4f14-8587-531c474c7b48" providerId="ADAL" clId="{6ECD27E6-B224-41CD-B4E0-E297462320DD}" dt="2023-11-24T08:45:48.158" v="62468"/>
          <ac:spMkLst>
            <pc:docMk/>
            <pc:sldMk cId="2225815222" sldId="2147478566"/>
            <ac:spMk id="411" creationId="{79928A07-8FB2-4506-88C4-6CAA4497C37E}"/>
          </ac:spMkLst>
        </pc:spChg>
        <pc:spChg chg="add del mod">
          <ac:chgData name="Steiner Andreas 6206 ED" userId="e6377c33-a923-4f14-8587-531c474c7b48" providerId="ADAL" clId="{6ECD27E6-B224-41CD-B4E0-E297462320DD}" dt="2023-11-24T08:45:50.510" v="62623"/>
          <ac:spMkLst>
            <pc:docMk/>
            <pc:sldMk cId="2225815222" sldId="2147478566"/>
            <ac:spMk id="412" creationId="{F20AC561-E498-DE9E-3946-9580E90810E9}"/>
          </ac:spMkLst>
        </pc:spChg>
        <pc:spChg chg="add del mod">
          <ac:chgData name="Steiner Andreas 6206 ED" userId="e6377c33-a923-4f14-8587-531c474c7b48" providerId="ADAL" clId="{6ECD27E6-B224-41CD-B4E0-E297462320DD}" dt="2023-11-24T08:45:52.515" v="62778"/>
          <ac:spMkLst>
            <pc:docMk/>
            <pc:sldMk cId="2225815222" sldId="2147478566"/>
            <ac:spMk id="413" creationId="{BF4A9F17-4140-CDB0-33CE-16FFE598CED9}"/>
          </ac:spMkLst>
        </pc:spChg>
        <pc:spChg chg="add del mod">
          <ac:chgData name="Steiner Andreas 6206 ED" userId="e6377c33-a923-4f14-8587-531c474c7b48" providerId="ADAL" clId="{6ECD27E6-B224-41CD-B4E0-E297462320DD}" dt="2023-11-24T08:45:54.529" v="62933"/>
          <ac:spMkLst>
            <pc:docMk/>
            <pc:sldMk cId="2225815222" sldId="2147478566"/>
            <ac:spMk id="414" creationId="{F9494E96-AA63-FC7C-04EE-B177607406A1}"/>
          </ac:spMkLst>
        </pc:spChg>
        <pc:spChg chg="add del mod">
          <ac:chgData name="Steiner Andreas 6206 ED" userId="e6377c33-a923-4f14-8587-531c474c7b48" providerId="ADAL" clId="{6ECD27E6-B224-41CD-B4E0-E297462320DD}" dt="2023-11-24T08:45:56.738" v="63088"/>
          <ac:spMkLst>
            <pc:docMk/>
            <pc:sldMk cId="2225815222" sldId="2147478566"/>
            <ac:spMk id="415" creationId="{6D410618-B01A-225B-C54F-493353AD5150}"/>
          </ac:spMkLst>
        </pc:spChg>
        <pc:spChg chg="add del mod">
          <ac:chgData name="Steiner Andreas 6206 ED" userId="e6377c33-a923-4f14-8587-531c474c7b48" providerId="ADAL" clId="{6ECD27E6-B224-41CD-B4E0-E297462320DD}" dt="2023-11-24T08:45:58.754" v="63243"/>
          <ac:spMkLst>
            <pc:docMk/>
            <pc:sldMk cId="2225815222" sldId="2147478566"/>
            <ac:spMk id="416" creationId="{C6B4E453-1E43-3B1B-37E5-C2AFF9E3CEC4}"/>
          </ac:spMkLst>
        </pc:spChg>
        <pc:spChg chg="add del mod">
          <ac:chgData name="Steiner Andreas 6206 ED" userId="e6377c33-a923-4f14-8587-531c474c7b48" providerId="ADAL" clId="{6ECD27E6-B224-41CD-B4E0-E297462320DD}" dt="2023-11-24T08:46:00.846" v="63398"/>
          <ac:spMkLst>
            <pc:docMk/>
            <pc:sldMk cId="2225815222" sldId="2147478566"/>
            <ac:spMk id="417" creationId="{ECEC5A61-17B0-DA15-4BEA-B30BFD6015B0}"/>
          </ac:spMkLst>
        </pc:spChg>
        <pc:spChg chg="add del mod">
          <ac:chgData name="Steiner Andreas 6206 ED" userId="e6377c33-a923-4f14-8587-531c474c7b48" providerId="ADAL" clId="{6ECD27E6-B224-41CD-B4E0-E297462320DD}" dt="2023-11-24T08:46:02.915" v="63553"/>
          <ac:spMkLst>
            <pc:docMk/>
            <pc:sldMk cId="2225815222" sldId="2147478566"/>
            <ac:spMk id="418" creationId="{35AFBA7D-3B83-FF4B-FA40-7E99C7C84EC7}"/>
          </ac:spMkLst>
        </pc:spChg>
        <pc:spChg chg="add del mod">
          <ac:chgData name="Steiner Andreas 6206 ED" userId="e6377c33-a923-4f14-8587-531c474c7b48" providerId="ADAL" clId="{6ECD27E6-B224-41CD-B4E0-E297462320DD}" dt="2023-11-24T08:46:05.375" v="63708"/>
          <ac:spMkLst>
            <pc:docMk/>
            <pc:sldMk cId="2225815222" sldId="2147478566"/>
            <ac:spMk id="419" creationId="{2B888D3A-D502-11A0-49C2-534BD509C3B8}"/>
          </ac:spMkLst>
        </pc:spChg>
        <pc:spChg chg="add del mod">
          <ac:chgData name="Steiner Andreas 6206 ED" userId="e6377c33-a923-4f14-8587-531c474c7b48" providerId="ADAL" clId="{6ECD27E6-B224-41CD-B4E0-E297462320DD}" dt="2023-11-24T08:46:07.886" v="63863"/>
          <ac:spMkLst>
            <pc:docMk/>
            <pc:sldMk cId="2225815222" sldId="2147478566"/>
            <ac:spMk id="420" creationId="{9EE79741-EE30-2872-17F7-8B17FD2BEBEA}"/>
          </ac:spMkLst>
        </pc:spChg>
        <pc:spChg chg="add del mod">
          <ac:chgData name="Steiner Andreas 6206 ED" userId="e6377c33-a923-4f14-8587-531c474c7b48" providerId="ADAL" clId="{6ECD27E6-B224-41CD-B4E0-E297462320DD}" dt="2023-11-24T08:46:10.015" v="64018"/>
          <ac:spMkLst>
            <pc:docMk/>
            <pc:sldMk cId="2225815222" sldId="2147478566"/>
            <ac:spMk id="421" creationId="{7275D1F3-7452-83BD-323D-F716BD9E6D9D}"/>
          </ac:spMkLst>
        </pc:spChg>
        <pc:spChg chg="add del mod">
          <ac:chgData name="Steiner Andreas 6206 ED" userId="e6377c33-a923-4f14-8587-531c474c7b48" providerId="ADAL" clId="{6ECD27E6-B224-41CD-B4E0-E297462320DD}" dt="2023-11-24T08:46:12.230" v="64173"/>
          <ac:spMkLst>
            <pc:docMk/>
            <pc:sldMk cId="2225815222" sldId="2147478566"/>
            <ac:spMk id="422" creationId="{DD1B4B64-A6C9-066B-5CDF-25DCA3068A19}"/>
          </ac:spMkLst>
        </pc:spChg>
        <pc:spChg chg="add del mod">
          <ac:chgData name="Steiner Andreas 6206 ED" userId="e6377c33-a923-4f14-8587-531c474c7b48" providerId="ADAL" clId="{6ECD27E6-B224-41CD-B4E0-E297462320DD}" dt="2023-11-24T08:46:14.400" v="64328"/>
          <ac:spMkLst>
            <pc:docMk/>
            <pc:sldMk cId="2225815222" sldId="2147478566"/>
            <ac:spMk id="423" creationId="{5595A114-C59E-C1CF-E0E0-E86AA58929D0}"/>
          </ac:spMkLst>
        </pc:spChg>
        <pc:spChg chg="add del mod">
          <ac:chgData name="Steiner Andreas 6206 ED" userId="e6377c33-a923-4f14-8587-531c474c7b48" providerId="ADAL" clId="{6ECD27E6-B224-41CD-B4E0-E297462320DD}" dt="2023-11-24T08:46:16.581" v="64483"/>
          <ac:spMkLst>
            <pc:docMk/>
            <pc:sldMk cId="2225815222" sldId="2147478566"/>
            <ac:spMk id="424" creationId="{E4949E51-D21D-A014-4BAB-A5DF4BA64FFD}"/>
          </ac:spMkLst>
        </pc:spChg>
        <pc:spChg chg="add del mod">
          <ac:chgData name="Steiner Andreas 6206 ED" userId="e6377c33-a923-4f14-8587-531c474c7b48" providerId="ADAL" clId="{6ECD27E6-B224-41CD-B4E0-E297462320DD}" dt="2023-11-24T08:46:18.473" v="64638"/>
          <ac:spMkLst>
            <pc:docMk/>
            <pc:sldMk cId="2225815222" sldId="2147478566"/>
            <ac:spMk id="425" creationId="{7DF81165-9E62-0D39-C382-1623195FE062}"/>
          </ac:spMkLst>
        </pc:spChg>
        <pc:spChg chg="add del mod">
          <ac:chgData name="Steiner Andreas 6206 ED" userId="e6377c33-a923-4f14-8587-531c474c7b48" providerId="ADAL" clId="{6ECD27E6-B224-41CD-B4E0-E297462320DD}" dt="2023-11-24T08:46:21.016" v="64793"/>
          <ac:spMkLst>
            <pc:docMk/>
            <pc:sldMk cId="2225815222" sldId="2147478566"/>
            <ac:spMk id="426" creationId="{89052E4B-A83F-8C14-6749-6DA6A9981808}"/>
          </ac:spMkLst>
        </pc:spChg>
        <pc:spChg chg="add del mod">
          <ac:chgData name="Steiner Andreas 6206 ED" userId="e6377c33-a923-4f14-8587-531c474c7b48" providerId="ADAL" clId="{6ECD27E6-B224-41CD-B4E0-E297462320DD}" dt="2023-11-24T08:46:23.346" v="64948"/>
          <ac:spMkLst>
            <pc:docMk/>
            <pc:sldMk cId="2225815222" sldId="2147478566"/>
            <ac:spMk id="427" creationId="{066C3326-1322-B12C-11C2-C82D32DB3A45}"/>
          </ac:spMkLst>
        </pc:spChg>
        <pc:spChg chg="add del mod">
          <ac:chgData name="Steiner Andreas 6206 ED" userId="e6377c33-a923-4f14-8587-531c474c7b48" providerId="ADAL" clId="{6ECD27E6-B224-41CD-B4E0-E297462320DD}" dt="2023-11-24T08:46:25.492" v="65103"/>
          <ac:spMkLst>
            <pc:docMk/>
            <pc:sldMk cId="2225815222" sldId="2147478566"/>
            <ac:spMk id="428" creationId="{AAD700C8-F07A-BFF3-72E0-C0F8CC5A35B7}"/>
          </ac:spMkLst>
        </pc:spChg>
        <pc:spChg chg="add del mod">
          <ac:chgData name="Steiner Andreas 6206 ED" userId="e6377c33-a923-4f14-8587-531c474c7b48" providerId="ADAL" clId="{6ECD27E6-B224-41CD-B4E0-E297462320DD}" dt="2023-11-24T08:46:27.811" v="65258"/>
          <ac:spMkLst>
            <pc:docMk/>
            <pc:sldMk cId="2225815222" sldId="2147478566"/>
            <ac:spMk id="429" creationId="{AD73CD11-5529-3B95-1C09-DE48E6D59444}"/>
          </ac:spMkLst>
        </pc:spChg>
        <pc:spChg chg="add del mod">
          <ac:chgData name="Steiner Andreas 6206 ED" userId="e6377c33-a923-4f14-8587-531c474c7b48" providerId="ADAL" clId="{6ECD27E6-B224-41CD-B4E0-E297462320DD}" dt="2023-11-24T08:46:29.898" v="65413"/>
          <ac:spMkLst>
            <pc:docMk/>
            <pc:sldMk cId="2225815222" sldId="2147478566"/>
            <ac:spMk id="430" creationId="{7B8A7FE3-22E1-E59B-F101-C236D595E166}"/>
          </ac:spMkLst>
        </pc:spChg>
        <pc:spChg chg="add del mod">
          <ac:chgData name="Steiner Andreas 6206 ED" userId="e6377c33-a923-4f14-8587-531c474c7b48" providerId="ADAL" clId="{6ECD27E6-B224-41CD-B4E0-E297462320DD}" dt="2023-11-24T08:46:32.363" v="65568"/>
          <ac:spMkLst>
            <pc:docMk/>
            <pc:sldMk cId="2225815222" sldId="2147478566"/>
            <ac:spMk id="431" creationId="{4AFCFAC7-7570-4727-5BFC-2CC851196DDC}"/>
          </ac:spMkLst>
        </pc:spChg>
        <pc:spChg chg="add del mod">
          <ac:chgData name="Steiner Andreas 6206 ED" userId="e6377c33-a923-4f14-8587-531c474c7b48" providerId="ADAL" clId="{6ECD27E6-B224-41CD-B4E0-E297462320DD}" dt="2023-11-24T08:46:34.375" v="65723"/>
          <ac:spMkLst>
            <pc:docMk/>
            <pc:sldMk cId="2225815222" sldId="2147478566"/>
            <ac:spMk id="432" creationId="{43BEB721-3478-678D-2AC3-C6BA3FF7B656}"/>
          </ac:spMkLst>
        </pc:spChg>
        <pc:spChg chg="add del mod">
          <ac:chgData name="Steiner Andreas 6206 ED" userId="e6377c33-a923-4f14-8587-531c474c7b48" providerId="ADAL" clId="{6ECD27E6-B224-41CD-B4E0-E297462320DD}" dt="2023-11-24T08:46:36.299" v="65878"/>
          <ac:spMkLst>
            <pc:docMk/>
            <pc:sldMk cId="2225815222" sldId="2147478566"/>
            <ac:spMk id="433" creationId="{C5AB0C46-C06E-C696-F1B3-4A5E1F071CFD}"/>
          </ac:spMkLst>
        </pc:spChg>
        <pc:spChg chg="add del mod">
          <ac:chgData name="Steiner Andreas 6206 ED" userId="e6377c33-a923-4f14-8587-531c474c7b48" providerId="ADAL" clId="{6ECD27E6-B224-41CD-B4E0-E297462320DD}" dt="2023-11-24T08:46:38.394" v="66033"/>
          <ac:spMkLst>
            <pc:docMk/>
            <pc:sldMk cId="2225815222" sldId="2147478566"/>
            <ac:spMk id="434" creationId="{95A0E108-CBB8-243C-05BD-4731652EB5F8}"/>
          </ac:spMkLst>
        </pc:spChg>
        <pc:spChg chg="add del mod">
          <ac:chgData name="Steiner Andreas 6206 ED" userId="e6377c33-a923-4f14-8587-531c474c7b48" providerId="ADAL" clId="{6ECD27E6-B224-41CD-B4E0-E297462320DD}" dt="2023-11-24T08:46:40.509" v="66188"/>
          <ac:spMkLst>
            <pc:docMk/>
            <pc:sldMk cId="2225815222" sldId="2147478566"/>
            <ac:spMk id="435" creationId="{428CB04B-8769-752B-4BDE-2B596F4DFB0A}"/>
          </ac:spMkLst>
        </pc:spChg>
        <pc:spChg chg="add del mod">
          <ac:chgData name="Steiner Andreas 6206 ED" userId="e6377c33-a923-4f14-8587-531c474c7b48" providerId="ADAL" clId="{6ECD27E6-B224-41CD-B4E0-E297462320DD}" dt="2023-11-24T08:46:42.772" v="66343"/>
          <ac:spMkLst>
            <pc:docMk/>
            <pc:sldMk cId="2225815222" sldId="2147478566"/>
            <ac:spMk id="436" creationId="{BBC17D65-F54F-B5B4-63D1-D9A5ADDFABFB}"/>
          </ac:spMkLst>
        </pc:spChg>
        <pc:spChg chg="add del mod">
          <ac:chgData name="Steiner Andreas 6206 ED" userId="e6377c33-a923-4f14-8587-531c474c7b48" providerId="ADAL" clId="{6ECD27E6-B224-41CD-B4E0-E297462320DD}" dt="2023-11-24T08:46:44.872" v="66498"/>
          <ac:spMkLst>
            <pc:docMk/>
            <pc:sldMk cId="2225815222" sldId="2147478566"/>
            <ac:spMk id="437" creationId="{4436E7AC-F381-5D66-7275-7245CE2D7A4B}"/>
          </ac:spMkLst>
        </pc:spChg>
        <pc:spChg chg="add del mod">
          <ac:chgData name="Steiner Andreas 6206 ED" userId="e6377c33-a923-4f14-8587-531c474c7b48" providerId="ADAL" clId="{6ECD27E6-B224-41CD-B4E0-E297462320DD}" dt="2023-11-24T08:46:46.950" v="66653"/>
          <ac:spMkLst>
            <pc:docMk/>
            <pc:sldMk cId="2225815222" sldId="2147478566"/>
            <ac:spMk id="438" creationId="{768B3E8C-A248-A8AA-EE1D-21E880351D04}"/>
          </ac:spMkLst>
        </pc:spChg>
        <pc:spChg chg="add del mod">
          <ac:chgData name="Steiner Andreas 6206 ED" userId="e6377c33-a923-4f14-8587-531c474c7b48" providerId="ADAL" clId="{6ECD27E6-B224-41CD-B4E0-E297462320DD}" dt="2023-11-24T08:46:49.078" v="66808"/>
          <ac:spMkLst>
            <pc:docMk/>
            <pc:sldMk cId="2225815222" sldId="2147478566"/>
            <ac:spMk id="439" creationId="{607E1C72-A5BB-5FEC-FC4E-6741E9C8F6C0}"/>
          </ac:spMkLst>
        </pc:spChg>
        <pc:spChg chg="add del mod">
          <ac:chgData name="Steiner Andreas 6206 ED" userId="e6377c33-a923-4f14-8587-531c474c7b48" providerId="ADAL" clId="{6ECD27E6-B224-41CD-B4E0-E297462320DD}" dt="2023-11-24T08:46:51.140" v="66963"/>
          <ac:spMkLst>
            <pc:docMk/>
            <pc:sldMk cId="2225815222" sldId="2147478566"/>
            <ac:spMk id="440" creationId="{7731A33C-FE6B-D0AC-2D8B-A9D5D836131C}"/>
          </ac:spMkLst>
        </pc:spChg>
        <pc:spChg chg="add del mod">
          <ac:chgData name="Steiner Andreas 6206 ED" userId="e6377c33-a923-4f14-8587-531c474c7b48" providerId="ADAL" clId="{6ECD27E6-B224-41CD-B4E0-E297462320DD}" dt="2023-11-24T08:46:53.162" v="67118"/>
          <ac:spMkLst>
            <pc:docMk/>
            <pc:sldMk cId="2225815222" sldId="2147478566"/>
            <ac:spMk id="441" creationId="{7695F84C-178D-0884-6F5B-8CE8AEB66D3A}"/>
          </ac:spMkLst>
        </pc:spChg>
        <pc:spChg chg="add del mod">
          <ac:chgData name="Steiner Andreas 6206 ED" userId="e6377c33-a923-4f14-8587-531c474c7b48" providerId="ADAL" clId="{6ECD27E6-B224-41CD-B4E0-E297462320DD}" dt="2023-11-24T08:46:55.165" v="67273"/>
          <ac:spMkLst>
            <pc:docMk/>
            <pc:sldMk cId="2225815222" sldId="2147478566"/>
            <ac:spMk id="442" creationId="{D94FBDDE-2CD5-DCF6-9449-46663C58F1F9}"/>
          </ac:spMkLst>
        </pc:spChg>
        <pc:spChg chg="add del mod">
          <ac:chgData name="Steiner Andreas 6206 ED" userId="e6377c33-a923-4f14-8587-531c474c7b48" providerId="ADAL" clId="{6ECD27E6-B224-41CD-B4E0-E297462320DD}" dt="2023-11-24T08:46:57.102" v="67428"/>
          <ac:spMkLst>
            <pc:docMk/>
            <pc:sldMk cId="2225815222" sldId="2147478566"/>
            <ac:spMk id="443" creationId="{97D18CE8-31ED-ED17-9E49-2683ED8F689F}"/>
          </ac:spMkLst>
        </pc:spChg>
        <pc:spChg chg="add del mod">
          <ac:chgData name="Steiner Andreas 6206 ED" userId="e6377c33-a923-4f14-8587-531c474c7b48" providerId="ADAL" clId="{6ECD27E6-B224-41CD-B4E0-E297462320DD}" dt="2023-11-24T08:46:58.977" v="67583"/>
          <ac:spMkLst>
            <pc:docMk/>
            <pc:sldMk cId="2225815222" sldId="2147478566"/>
            <ac:spMk id="444" creationId="{652FDCA0-D5FF-9874-C430-BED14B64552E}"/>
          </ac:spMkLst>
        </pc:spChg>
        <pc:spChg chg="add del mod">
          <ac:chgData name="Steiner Andreas 6206 ED" userId="e6377c33-a923-4f14-8587-531c474c7b48" providerId="ADAL" clId="{6ECD27E6-B224-41CD-B4E0-E297462320DD}" dt="2023-11-24T08:47:01.084" v="67738"/>
          <ac:spMkLst>
            <pc:docMk/>
            <pc:sldMk cId="2225815222" sldId="2147478566"/>
            <ac:spMk id="445" creationId="{67575BFA-BE51-A57B-6FD7-2985C06FCF2D}"/>
          </ac:spMkLst>
        </pc:spChg>
        <pc:spChg chg="add del mod">
          <ac:chgData name="Steiner Andreas 6206 ED" userId="e6377c33-a923-4f14-8587-531c474c7b48" providerId="ADAL" clId="{6ECD27E6-B224-41CD-B4E0-E297462320DD}" dt="2023-11-24T08:47:03.293" v="67893"/>
          <ac:spMkLst>
            <pc:docMk/>
            <pc:sldMk cId="2225815222" sldId="2147478566"/>
            <ac:spMk id="446" creationId="{54B137B5-16ED-9679-6605-6D9EF5B71403}"/>
          </ac:spMkLst>
        </pc:spChg>
        <pc:spChg chg="add del mod">
          <ac:chgData name="Steiner Andreas 6206 ED" userId="e6377c33-a923-4f14-8587-531c474c7b48" providerId="ADAL" clId="{6ECD27E6-B224-41CD-B4E0-E297462320DD}" dt="2023-11-24T08:47:05.225" v="68048"/>
          <ac:spMkLst>
            <pc:docMk/>
            <pc:sldMk cId="2225815222" sldId="2147478566"/>
            <ac:spMk id="447" creationId="{E6772837-0257-BF12-5588-18D924FCA841}"/>
          </ac:spMkLst>
        </pc:spChg>
        <pc:spChg chg="add del mod">
          <ac:chgData name="Steiner Andreas 6206 ED" userId="e6377c33-a923-4f14-8587-531c474c7b48" providerId="ADAL" clId="{6ECD27E6-B224-41CD-B4E0-E297462320DD}" dt="2023-11-24T08:47:07.002" v="68203"/>
          <ac:spMkLst>
            <pc:docMk/>
            <pc:sldMk cId="2225815222" sldId="2147478566"/>
            <ac:spMk id="448" creationId="{4A7AD0C4-881B-807A-BA55-0A8F7DA57F06}"/>
          </ac:spMkLst>
        </pc:spChg>
        <pc:spChg chg="add del mod">
          <ac:chgData name="Steiner Andreas 6206 ED" userId="e6377c33-a923-4f14-8587-531c474c7b48" providerId="ADAL" clId="{6ECD27E6-B224-41CD-B4E0-E297462320DD}" dt="2023-11-24T08:47:08.906" v="68358"/>
          <ac:spMkLst>
            <pc:docMk/>
            <pc:sldMk cId="2225815222" sldId="2147478566"/>
            <ac:spMk id="449" creationId="{59F67687-4DBD-8904-A47D-E41A473AB560}"/>
          </ac:spMkLst>
        </pc:spChg>
        <pc:spChg chg="add del mod">
          <ac:chgData name="Steiner Andreas 6206 ED" userId="e6377c33-a923-4f14-8587-531c474c7b48" providerId="ADAL" clId="{6ECD27E6-B224-41CD-B4E0-E297462320DD}" dt="2023-11-24T08:47:10.782" v="68513"/>
          <ac:spMkLst>
            <pc:docMk/>
            <pc:sldMk cId="2225815222" sldId="2147478566"/>
            <ac:spMk id="450" creationId="{C4067101-5BA6-229F-2088-DA8F4BDAA45F}"/>
          </ac:spMkLst>
        </pc:spChg>
        <pc:spChg chg="add del mod">
          <ac:chgData name="Steiner Andreas 6206 ED" userId="e6377c33-a923-4f14-8587-531c474c7b48" providerId="ADAL" clId="{6ECD27E6-B224-41CD-B4E0-E297462320DD}" dt="2023-11-24T08:47:12.667" v="68668"/>
          <ac:spMkLst>
            <pc:docMk/>
            <pc:sldMk cId="2225815222" sldId="2147478566"/>
            <ac:spMk id="451" creationId="{12E34EA1-E7E9-F0E5-CC44-87DA7527E750}"/>
          </ac:spMkLst>
        </pc:spChg>
        <pc:spChg chg="add del mod">
          <ac:chgData name="Steiner Andreas 6206 ED" userId="e6377c33-a923-4f14-8587-531c474c7b48" providerId="ADAL" clId="{6ECD27E6-B224-41CD-B4E0-E297462320DD}" dt="2023-11-24T08:47:14.838" v="68823"/>
          <ac:spMkLst>
            <pc:docMk/>
            <pc:sldMk cId="2225815222" sldId="2147478566"/>
            <ac:spMk id="452" creationId="{E9CD765E-6CDC-0132-C80D-A4E9D7ADF795}"/>
          </ac:spMkLst>
        </pc:spChg>
        <pc:spChg chg="add del mod">
          <ac:chgData name="Steiner Andreas 6206 ED" userId="e6377c33-a923-4f14-8587-531c474c7b48" providerId="ADAL" clId="{6ECD27E6-B224-41CD-B4E0-E297462320DD}" dt="2023-11-24T08:47:16.777" v="68978"/>
          <ac:spMkLst>
            <pc:docMk/>
            <pc:sldMk cId="2225815222" sldId="2147478566"/>
            <ac:spMk id="453" creationId="{B4ECE74E-766B-776F-043D-DE06DDD3DA65}"/>
          </ac:spMkLst>
        </pc:spChg>
        <pc:spChg chg="add del mod">
          <ac:chgData name="Steiner Andreas 6206 ED" userId="e6377c33-a923-4f14-8587-531c474c7b48" providerId="ADAL" clId="{6ECD27E6-B224-41CD-B4E0-E297462320DD}" dt="2023-11-24T08:47:18.736" v="69133"/>
          <ac:spMkLst>
            <pc:docMk/>
            <pc:sldMk cId="2225815222" sldId="2147478566"/>
            <ac:spMk id="454" creationId="{974E8C01-4D71-D411-792C-3C28AC3621E2}"/>
          </ac:spMkLst>
        </pc:spChg>
        <pc:spChg chg="add del mod">
          <ac:chgData name="Steiner Andreas 6206 ED" userId="e6377c33-a923-4f14-8587-531c474c7b48" providerId="ADAL" clId="{6ECD27E6-B224-41CD-B4E0-E297462320DD}" dt="2023-11-24T08:47:20.687" v="69288"/>
          <ac:spMkLst>
            <pc:docMk/>
            <pc:sldMk cId="2225815222" sldId="2147478566"/>
            <ac:spMk id="455" creationId="{95635AED-3AA3-4E4B-FB5D-AE3585AB62BE}"/>
          </ac:spMkLst>
        </pc:spChg>
        <pc:spChg chg="add del mod">
          <ac:chgData name="Steiner Andreas 6206 ED" userId="e6377c33-a923-4f14-8587-531c474c7b48" providerId="ADAL" clId="{6ECD27E6-B224-41CD-B4E0-E297462320DD}" dt="2023-11-24T08:47:23.150" v="69443"/>
          <ac:spMkLst>
            <pc:docMk/>
            <pc:sldMk cId="2225815222" sldId="2147478566"/>
            <ac:spMk id="456" creationId="{C3B9B0EE-FEDF-8049-097B-749DEF1D8638}"/>
          </ac:spMkLst>
        </pc:spChg>
        <pc:spChg chg="add del mod">
          <ac:chgData name="Steiner Andreas 6206 ED" userId="e6377c33-a923-4f14-8587-531c474c7b48" providerId="ADAL" clId="{6ECD27E6-B224-41CD-B4E0-E297462320DD}" dt="2023-11-24T08:47:25.814" v="69598"/>
          <ac:spMkLst>
            <pc:docMk/>
            <pc:sldMk cId="2225815222" sldId="2147478566"/>
            <ac:spMk id="457" creationId="{0A4E4DC7-507E-3D04-BE3C-7A23CBD39BEB}"/>
          </ac:spMkLst>
        </pc:spChg>
        <pc:spChg chg="add del mod">
          <ac:chgData name="Steiner Andreas 6206 ED" userId="e6377c33-a923-4f14-8587-531c474c7b48" providerId="ADAL" clId="{6ECD27E6-B224-41CD-B4E0-E297462320DD}" dt="2023-11-24T08:47:27.978" v="69753"/>
          <ac:spMkLst>
            <pc:docMk/>
            <pc:sldMk cId="2225815222" sldId="2147478566"/>
            <ac:spMk id="458" creationId="{CA54E73D-1932-0B3D-F423-E4F1460F38DF}"/>
          </ac:spMkLst>
        </pc:spChg>
        <pc:spChg chg="add del mod">
          <ac:chgData name="Steiner Andreas 6206 ED" userId="e6377c33-a923-4f14-8587-531c474c7b48" providerId="ADAL" clId="{6ECD27E6-B224-41CD-B4E0-E297462320DD}" dt="2023-11-24T08:47:30.012" v="69908"/>
          <ac:spMkLst>
            <pc:docMk/>
            <pc:sldMk cId="2225815222" sldId="2147478566"/>
            <ac:spMk id="459" creationId="{2CF93ACC-777E-CC2C-B0A2-CDED8D101484}"/>
          </ac:spMkLst>
        </pc:spChg>
        <pc:spChg chg="add del mod">
          <ac:chgData name="Steiner Andreas 6206 ED" userId="e6377c33-a923-4f14-8587-531c474c7b48" providerId="ADAL" clId="{6ECD27E6-B224-41CD-B4E0-E297462320DD}" dt="2023-11-24T08:47:32.005" v="70063"/>
          <ac:spMkLst>
            <pc:docMk/>
            <pc:sldMk cId="2225815222" sldId="2147478566"/>
            <ac:spMk id="460" creationId="{A72B2B94-FE8A-1459-2999-CD8A627273AC}"/>
          </ac:spMkLst>
        </pc:spChg>
        <pc:spChg chg="add del mod">
          <ac:chgData name="Steiner Andreas 6206 ED" userId="e6377c33-a923-4f14-8587-531c474c7b48" providerId="ADAL" clId="{6ECD27E6-B224-41CD-B4E0-E297462320DD}" dt="2023-11-24T08:47:33.964" v="70218"/>
          <ac:spMkLst>
            <pc:docMk/>
            <pc:sldMk cId="2225815222" sldId="2147478566"/>
            <ac:spMk id="461" creationId="{956C2F52-E575-CA71-1E1D-D88CF997B998}"/>
          </ac:spMkLst>
        </pc:spChg>
        <pc:spChg chg="add del mod">
          <ac:chgData name="Steiner Andreas 6206 ED" userId="e6377c33-a923-4f14-8587-531c474c7b48" providerId="ADAL" clId="{6ECD27E6-B224-41CD-B4E0-E297462320DD}" dt="2023-11-24T08:47:36.128" v="70373"/>
          <ac:spMkLst>
            <pc:docMk/>
            <pc:sldMk cId="2225815222" sldId="2147478566"/>
            <ac:spMk id="462" creationId="{CC72E6E2-BE96-3F38-A3AB-B5A8293E2E8E}"/>
          </ac:spMkLst>
        </pc:spChg>
        <pc:spChg chg="add del mod">
          <ac:chgData name="Steiner Andreas 6206 ED" userId="e6377c33-a923-4f14-8587-531c474c7b48" providerId="ADAL" clId="{6ECD27E6-B224-41CD-B4E0-E297462320DD}" dt="2023-11-24T08:47:38.232" v="70528"/>
          <ac:spMkLst>
            <pc:docMk/>
            <pc:sldMk cId="2225815222" sldId="2147478566"/>
            <ac:spMk id="463" creationId="{F94C957D-0D7B-DE16-CD69-418BBF3C436D}"/>
          </ac:spMkLst>
        </pc:spChg>
        <pc:spChg chg="add del mod">
          <ac:chgData name="Steiner Andreas 6206 ED" userId="e6377c33-a923-4f14-8587-531c474c7b48" providerId="ADAL" clId="{6ECD27E6-B224-41CD-B4E0-E297462320DD}" dt="2023-11-24T08:47:40.321" v="70683"/>
          <ac:spMkLst>
            <pc:docMk/>
            <pc:sldMk cId="2225815222" sldId="2147478566"/>
            <ac:spMk id="464" creationId="{75175B1A-171D-16D6-F492-2BFF1154745C}"/>
          </ac:spMkLst>
        </pc:spChg>
        <pc:spChg chg="add del mod">
          <ac:chgData name="Steiner Andreas 6206 ED" userId="e6377c33-a923-4f14-8587-531c474c7b48" providerId="ADAL" clId="{6ECD27E6-B224-41CD-B4E0-E297462320DD}" dt="2023-11-24T08:47:42.216" v="70838"/>
          <ac:spMkLst>
            <pc:docMk/>
            <pc:sldMk cId="2225815222" sldId="2147478566"/>
            <ac:spMk id="465" creationId="{ACACE7E1-F8D5-51B6-23BC-E7B410DA8942}"/>
          </ac:spMkLst>
        </pc:spChg>
        <pc:spChg chg="add del mod">
          <ac:chgData name="Steiner Andreas 6206 ED" userId="e6377c33-a923-4f14-8587-531c474c7b48" providerId="ADAL" clId="{6ECD27E6-B224-41CD-B4E0-E297462320DD}" dt="2023-11-24T08:47:44.146" v="70993"/>
          <ac:spMkLst>
            <pc:docMk/>
            <pc:sldMk cId="2225815222" sldId="2147478566"/>
            <ac:spMk id="466" creationId="{36B8BBAF-EC9B-6CDF-66DD-3498F2556338}"/>
          </ac:spMkLst>
        </pc:spChg>
        <pc:spChg chg="add del mod">
          <ac:chgData name="Steiner Andreas 6206 ED" userId="e6377c33-a923-4f14-8587-531c474c7b48" providerId="ADAL" clId="{6ECD27E6-B224-41CD-B4E0-E297462320DD}" dt="2023-11-24T08:47:46.098" v="71148"/>
          <ac:spMkLst>
            <pc:docMk/>
            <pc:sldMk cId="2225815222" sldId="2147478566"/>
            <ac:spMk id="467" creationId="{0954E2F4-EB16-B9D6-5951-4962A1577E10}"/>
          </ac:spMkLst>
        </pc:spChg>
        <pc:spChg chg="add del mod">
          <ac:chgData name="Steiner Andreas 6206 ED" userId="e6377c33-a923-4f14-8587-531c474c7b48" providerId="ADAL" clId="{6ECD27E6-B224-41CD-B4E0-E297462320DD}" dt="2023-11-24T08:47:48.210" v="71303"/>
          <ac:spMkLst>
            <pc:docMk/>
            <pc:sldMk cId="2225815222" sldId="2147478566"/>
            <ac:spMk id="468" creationId="{3E6DC634-916A-AA2A-127A-642AF7C71704}"/>
          </ac:spMkLst>
        </pc:spChg>
        <pc:spChg chg="add del mod">
          <ac:chgData name="Steiner Andreas 6206 ED" userId="e6377c33-a923-4f14-8587-531c474c7b48" providerId="ADAL" clId="{6ECD27E6-B224-41CD-B4E0-E297462320DD}" dt="2023-11-24T08:47:50.288" v="71458"/>
          <ac:spMkLst>
            <pc:docMk/>
            <pc:sldMk cId="2225815222" sldId="2147478566"/>
            <ac:spMk id="469" creationId="{70306869-DD32-0771-8373-F51D931B90C5}"/>
          </ac:spMkLst>
        </pc:spChg>
        <pc:spChg chg="add del mod">
          <ac:chgData name="Steiner Andreas 6206 ED" userId="e6377c33-a923-4f14-8587-531c474c7b48" providerId="ADAL" clId="{6ECD27E6-B224-41CD-B4E0-E297462320DD}" dt="2023-11-24T08:47:52.182" v="71613"/>
          <ac:spMkLst>
            <pc:docMk/>
            <pc:sldMk cId="2225815222" sldId="2147478566"/>
            <ac:spMk id="470" creationId="{30E4ECAE-4785-CB94-0B85-4945E5A88348}"/>
          </ac:spMkLst>
        </pc:spChg>
        <pc:spChg chg="add del mod">
          <ac:chgData name="Steiner Andreas 6206 ED" userId="e6377c33-a923-4f14-8587-531c474c7b48" providerId="ADAL" clId="{6ECD27E6-B224-41CD-B4E0-E297462320DD}" dt="2023-11-24T08:47:54.113" v="71768"/>
          <ac:spMkLst>
            <pc:docMk/>
            <pc:sldMk cId="2225815222" sldId="2147478566"/>
            <ac:spMk id="471" creationId="{4BBD7D1F-5BC1-6172-95D4-C5AC6B6C4CAF}"/>
          </ac:spMkLst>
        </pc:spChg>
        <pc:spChg chg="add del mod">
          <ac:chgData name="Steiner Andreas 6206 ED" userId="e6377c33-a923-4f14-8587-531c474c7b48" providerId="ADAL" clId="{6ECD27E6-B224-41CD-B4E0-E297462320DD}" dt="2023-11-24T08:47:55.985" v="71923"/>
          <ac:spMkLst>
            <pc:docMk/>
            <pc:sldMk cId="2225815222" sldId="2147478566"/>
            <ac:spMk id="472" creationId="{292556AE-F229-3C94-A7FD-68F690E21773}"/>
          </ac:spMkLst>
        </pc:spChg>
        <pc:spChg chg="add del mod">
          <ac:chgData name="Steiner Andreas 6206 ED" userId="e6377c33-a923-4f14-8587-531c474c7b48" providerId="ADAL" clId="{6ECD27E6-B224-41CD-B4E0-E297462320DD}" dt="2023-11-24T08:47:57.972" v="72078"/>
          <ac:spMkLst>
            <pc:docMk/>
            <pc:sldMk cId="2225815222" sldId="2147478566"/>
            <ac:spMk id="473" creationId="{B9CCF5EE-F281-DB45-9FC6-231279FB920F}"/>
          </ac:spMkLst>
        </pc:spChg>
        <pc:spChg chg="add del mod">
          <ac:chgData name="Steiner Andreas 6206 ED" userId="e6377c33-a923-4f14-8587-531c474c7b48" providerId="ADAL" clId="{6ECD27E6-B224-41CD-B4E0-E297462320DD}" dt="2023-11-24T08:48:00.114" v="72233"/>
          <ac:spMkLst>
            <pc:docMk/>
            <pc:sldMk cId="2225815222" sldId="2147478566"/>
            <ac:spMk id="474" creationId="{17BECCAB-828C-E444-3F37-32212F3FE661}"/>
          </ac:spMkLst>
        </pc:spChg>
        <pc:spChg chg="add del mod">
          <ac:chgData name="Steiner Andreas 6206 ED" userId="e6377c33-a923-4f14-8587-531c474c7b48" providerId="ADAL" clId="{6ECD27E6-B224-41CD-B4E0-E297462320DD}" dt="2023-11-24T08:48:02.247" v="72388"/>
          <ac:spMkLst>
            <pc:docMk/>
            <pc:sldMk cId="2225815222" sldId="2147478566"/>
            <ac:spMk id="475" creationId="{31C43130-7CFF-A2D3-38CD-42CED6993618}"/>
          </ac:spMkLst>
        </pc:spChg>
        <pc:spChg chg="add del mod">
          <ac:chgData name="Steiner Andreas 6206 ED" userId="e6377c33-a923-4f14-8587-531c474c7b48" providerId="ADAL" clId="{6ECD27E6-B224-41CD-B4E0-E297462320DD}" dt="2023-11-24T08:48:04.262" v="72543"/>
          <ac:spMkLst>
            <pc:docMk/>
            <pc:sldMk cId="2225815222" sldId="2147478566"/>
            <ac:spMk id="476" creationId="{A7BD53D0-60A0-0F91-9232-94298AA7AE5A}"/>
          </ac:spMkLst>
        </pc:spChg>
        <pc:spChg chg="add del mod">
          <ac:chgData name="Steiner Andreas 6206 ED" userId="e6377c33-a923-4f14-8587-531c474c7b48" providerId="ADAL" clId="{6ECD27E6-B224-41CD-B4E0-E297462320DD}" dt="2023-11-24T08:48:06.522" v="72698"/>
          <ac:spMkLst>
            <pc:docMk/>
            <pc:sldMk cId="2225815222" sldId="2147478566"/>
            <ac:spMk id="477" creationId="{15C75D2F-E74F-E421-27E1-EAFF29B5A4C3}"/>
          </ac:spMkLst>
        </pc:spChg>
        <pc:spChg chg="add del mod">
          <ac:chgData name="Steiner Andreas 6206 ED" userId="e6377c33-a923-4f14-8587-531c474c7b48" providerId="ADAL" clId="{6ECD27E6-B224-41CD-B4E0-E297462320DD}" dt="2023-11-24T08:48:08.615" v="72853"/>
          <ac:spMkLst>
            <pc:docMk/>
            <pc:sldMk cId="2225815222" sldId="2147478566"/>
            <ac:spMk id="478" creationId="{C2E4116E-5F09-82FB-3962-195C4ED42971}"/>
          </ac:spMkLst>
        </pc:spChg>
        <pc:spChg chg="add del mod">
          <ac:chgData name="Steiner Andreas 6206 ED" userId="e6377c33-a923-4f14-8587-531c474c7b48" providerId="ADAL" clId="{6ECD27E6-B224-41CD-B4E0-E297462320DD}" dt="2023-11-24T08:48:10.727" v="73008"/>
          <ac:spMkLst>
            <pc:docMk/>
            <pc:sldMk cId="2225815222" sldId="2147478566"/>
            <ac:spMk id="479" creationId="{E68C6942-8328-FB42-5475-FF5F1A16AFD0}"/>
          </ac:spMkLst>
        </pc:spChg>
        <pc:spChg chg="add del mod">
          <ac:chgData name="Steiner Andreas 6206 ED" userId="e6377c33-a923-4f14-8587-531c474c7b48" providerId="ADAL" clId="{6ECD27E6-B224-41CD-B4E0-E297462320DD}" dt="2023-11-24T08:48:12.649" v="73163"/>
          <ac:spMkLst>
            <pc:docMk/>
            <pc:sldMk cId="2225815222" sldId="2147478566"/>
            <ac:spMk id="480" creationId="{85249CA4-B037-DE07-E8DB-FE1DDEF37D61}"/>
          </ac:spMkLst>
        </pc:spChg>
        <pc:spChg chg="add del mod">
          <ac:chgData name="Steiner Andreas 6206 ED" userId="e6377c33-a923-4f14-8587-531c474c7b48" providerId="ADAL" clId="{6ECD27E6-B224-41CD-B4E0-E297462320DD}" dt="2023-11-24T08:48:15.289" v="73318"/>
          <ac:spMkLst>
            <pc:docMk/>
            <pc:sldMk cId="2225815222" sldId="2147478566"/>
            <ac:spMk id="481" creationId="{9B49B7EF-8B50-6C04-CF42-E9596AAE3AC7}"/>
          </ac:spMkLst>
        </pc:spChg>
        <pc:spChg chg="add del mod">
          <ac:chgData name="Steiner Andreas 6206 ED" userId="e6377c33-a923-4f14-8587-531c474c7b48" providerId="ADAL" clId="{6ECD27E6-B224-41CD-B4E0-E297462320DD}" dt="2023-11-24T08:48:18.078" v="73473"/>
          <ac:spMkLst>
            <pc:docMk/>
            <pc:sldMk cId="2225815222" sldId="2147478566"/>
            <ac:spMk id="482" creationId="{A66525D8-C8BA-9B26-CC93-F464C1F0CDBD}"/>
          </ac:spMkLst>
        </pc:spChg>
        <pc:spChg chg="add del mod">
          <ac:chgData name="Steiner Andreas 6206 ED" userId="e6377c33-a923-4f14-8587-531c474c7b48" providerId="ADAL" clId="{6ECD27E6-B224-41CD-B4E0-E297462320DD}" dt="2023-11-24T08:48:20.481" v="73628"/>
          <ac:spMkLst>
            <pc:docMk/>
            <pc:sldMk cId="2225815222" sldId="2147478566"/>
            <ac:spMk id="483" creationId="{3741F4FE-1D71-8FD2-AA6F-D35C968F46BB}"/>
          </ac:spMkLst>
        </pc:spChg>
        <pc:spChg chg="add del mod">
          <ac:chgData name="Steiner Andreas 6206 ED" userId="e6377c33-a923-4f14-8587-531c474c7b48" providerId="ADAL" clId="{6ECD27E6-B224-41CD-B4E0-E297462320DD}" dt="2023-11-24T08:48:22.630" v="73783"/>
          <ac:spMkLst>
            <pc:docMk/>
            <pc:sldMk cId="2225815222" sldId="2147478566"/>
            <ac:spMk id="484" creationId="{A3600907-EBA7-0AEE-35EC-08B5F90B08D8}"/>
          </ac:spMkLst>
        </pc:spChg>
        <pc:spChg chg="add del mod">
          <ac:chgData name="Steiner Andreas 6206 ED" userId="e6377c33-a923-4f14-8587-531c474c7b48" providerId="ADAL" clId="{6ECD27E6-B224-41CD-B4E0-E297462320DD}" dt="2023-11-24T08:48:24.704" v="73938"/>
          <ac:spMkLst>
            <pc:docMk/>
            <pc:sldMk cId="2225815222" sldId="2147478566"/>
            <ac:spMk id="485" creationId="{15C96F83-4968-F428-CF40-37B199F42047}"/>
          </ac:spMkLst>
        </pc:spChg>
        <pc:spChg chg="add del mod">
          <ac:chgData name="Steiner Andreas 6206 ED" userId="e6377c33-a923-4f14-8587-531c474c7b48" providerId="ADAL" clId="{6ECD27E6-B224-41CD-B4E0-E297462320DD}" dt="2023-11-24T08:48:26.799" v="74093"/>
          <ac:spMkLst>
            <pc:docMk/>
            <pc:sldMk cId="2225815222" sldId="2147478566"/>
            <ac:spMk id="486" creationId="{85091C62-50CC-9B37-D39C-34F48608F923}"/>
          </ac:spMkLst>
        </pc:spChg>
        <pc:spChg chg="add del mod">
          <ac:chgData name="Steiner Andreas 6206 ED" userId="e6377c33-a923-4f14-8587-531c474c7b48" providerId="ADAL" clId="{6ECD27E6-B224-41CD-B4E0-E297462320DD}" dt="2023-11-24T08:48:28.790" v="74248"/>
          <ac:spMkLst>
            <pc:docMk/>
            <pc:sldMk cId="2225815222" sldId="2147478566"/>
            <ac:spMk id="487" creationId="{C25579D2-C5AB-92E3-2361-BAE7C6BCFA2B}"/>
          </ac:spMkLst>
        </pc:spChg>
        <pc:spChg chg="add del mod">
          <ac:chgData name="Steiner Andreas 6206 ED" userId="e6377c33-a923-4f14-8587-531c474c7b48" providerId="ADAL" clId="{6ECD27E6-B224-41CD-B4E0-E297462320DD}" dt="2023-11-24T08:48:30.663" v="74403"/>
          <ac:spMkLst>
            <pc:docMk/>
            <pc:sldMk cId="2225815222" sldId="2147478566"/>
            <ac:spMk id="488" creationId="{450C9FFE-7BD1-377D-6C40-EC1523553908}"/>
          </ac:spMkLst>
        </pc:spChg>
        <pc:spChg chg="add del mod">
          <ac:chgData name="Steiner Andreas 6206 ED" userId="e6377c33-a923-4f14-8587-531c474c7b48" providerId="ADAL" clId="{6ECD27E6-B224-41CD-B4E0-E297462320DD}" dt="2023-11-24T08:48:32.653" v="74558"/>
          <ac:spMkLst>
            <pc:docMk/>
            <pc:sldMk cId="2225815222" sldId="2147478566"/>
            <ac:spMk id="489" creationId="{CA90DF63-0CD4-4AEB-B66D-0CD895AA045D}"/>
          </ac:spMkLst>
        </pc:spChg>
        <pc:spChg chg="add del mod">
          <ac:chgData name="Steiner Andreas 6206 ED" userId="e6377c33-a923-4f14-8587-531c474c7b48" providerId="ADAL" clId="{6ECD27E6-B224-41CD-B4E0-E297462320DD}" dt="2023-11-24T08:48:34.934" v="74713"/>
          <ac:spMkLst>
            <pc:docMk/>
            <pc:sldMk cId="2225815222" sldId="2147478566"/>
            <ac:spMk id="490" creationId="{8606C822-F299-E2ED-5132-4E2EA301066F}"/>
          </ac:spMkLst>
        </pc:spChg>
        <pc:spChg chg="add del mod">
          <ac:chgData name="Steiner Andreas 6206 ED" userId="e6377c33-a923-4f14-8587-531c474c7b48" providerId="ADAL" clId="{6ECD27E6-B224-41CD-B4E0-E297462320DD}" dt="2023-11-24T08:48:37.070" v="74868"/>
          <ac:spMkLst>
            <pc:docMk/>
            <pc:sldMk cId="2225815222" sldId="2147478566"/>
            <ac:spMk id="491" creationId="{E4789107-B78E-A7AB-EC8E-D9F2443E81B0}"/>
          </ac:spMkLst>
        </pc:spChg>
        <pc:spChg chg="add del mod">
          <ac:chgData name="Steiner Andreas 6206 ED" userId="e6377c33-a923-4f14-8587-531c474c7b48" providerId="ADAL" clId="{6ECD27E6-B224-41CD-B4E0-E297462320DD}" dt="2023-11-24T08:48:39.122" v="75023"/>
          <ac:spMkLst>
            <pc:docMk/>
            <pc:sldMk cId="2225815222" sldId="2147478566"/>
            <ac:spMk id="492" creationId="{67785E0F-C48F-5B51-0F4C-F86C985013EE}"/>
          </ac:spMkLst>
        </pc:spChg>
        <pc:spChg chg="add del mod">
          <ac:chgData name="Steiner Andreas 6206 ED" userId="e6377c33-a923-4f14-8587-531c474c7b48" providerId="ADAL" clId="{6ECD27E6-B224-41CD-B4E0-E297462320DD}" dt="2023-11-24T08:48:41.345" v="75178"/>
          <ac:spMkLst>
            <pc:docMk/>
            <pc:sldMk cId="2225815222" sldId="2147478566"/>
            <ac:spMk id="493" creationId="{C23EF9FE-7474-643F-5CB4-2512C2974946}"/>
          </ac:spMkLst>
        </pc:spChg>
        <pc:spChg chg="add del mod">
          <ac:chgData name="Steiner Andreas 6206 ED" userId="e6377c33-a923-4f14-8587-531c474c7b48" providerId="ADAL" clId="{6ECD27E6-B224-41CD-B4E0-E297462320DD}" dt="2023-11-24T08:48:43.742" v="75333"/>
          <ac:spMkLst>
            <pc:docMk/>
            <pc:sldMk cId="2225815222" sldId="2147478566"/>
            <ac:spMk id="494" creationId="{AE48995C-9ABB-270B-C44E-1C9B1C9C60BF}"/>
          </ac:spMkLst>
        </pc:spChg>
        <pc:spChg chg="add del mod">
          <ac:chgData name="Steiner Andreas 6206 ED" userId="e6377c33-a923-4f14-8587-531c474c7b48" providerId="ADAL" clId="{6ECD27E6-B224-41CD-B4E0-E297462320DD}" dt="2023-11-24T08:48:46.040" v="75488"/>
          <ac:spMkLst>
            <pc:docMk/>
            <pc:sldMk cId="2225815222" sldId="2147478566"/>
            <ac:spMk id="495" creationId="{F08A6BD3-E9DE-6ADE-97D0-79A6AABC992D}"/>
          </ac:spMkLst>
        </pc:spChg>
        <pc:spChg chg="add del mod">
          <ac:chgData name="Steiner Andreas 6206 ED" userId="e6377c33-a923-4f14-8587-531c474c7b48" providerId="ADAL" clId="{6ECD27E6-B224-41CD-B4E0-E297462320DD}" dt="2023-11-24T08:48:48.027" v="75643"/>
          <ac:spMkLst>
            <pc:docMk/>
            <pc:sldMk cId="2225815222" sldId="2147478566"/>
            <ac:spMk id="496" creationId="{7277F0F1-CD18-8FDC-DFE5-E260113F57E4}"/>
          </ac:spMkLst>
        </pc:spChg>
        <pc:spChg chg="add del mod">
          <ac:chgData name="Steiner Andreas 6206 ED" userId="e6377c33-a923-4f14-8587-531c474c7b48" providerId="ADAL" clId="{6ECD27E6-B224-41CD-B4E0-E297462320DD}" dt="2023-11-24T08:48:50.077" v="75798"/>
          <ac:spMkLst>
            <pc:docMk/>
            <pc:sldMk cId="2225815222" sldId="2147478566"/>
            <ac:spMk id="497" creationId="{77227058-4F1D-B6DC-8B24-A94CBD45DAD3}"/>
          </ac:spMkLst>
        </pc:spChg>
        <pc:spChg chg="add del mod">
          <ac:chgData name="Steiner Andreas 6206 ED" userId="e6377c33-a923-4f14-8587-531c474c7b48" providerId="ADAL" clId="{6ECD27E6-B224-41CD-B4E0-E297462320DD}" dt="2023-11-24T08:48:52.264" v="75953"/>
          <ac:spMkLst>
            <pc:docMk/>
            <pc:sldMk cId="2225815222" sldId="2147478566"/>
            <ac:spMk id="498" creationId="{A591D983-1F7B-45EC-B068-CDA94951CE01}"/>
          </ac:spMkLst>
        </pc:spChg>
        <pc:spChg chg="add del mod">
          <ac:chgData name="Steiner Andreas 6206 ED" userId="e6377c33-a923-4f14-8587-531c474c7b48" providerId="ADAL" clId="{6ECD27E6-B224-41CD-B4E0-E297462320DD}" dt="2023-11-24T08:48:54.125" v="76108"/>
          <ac:spMkLst>
            <pc:docMk/>
            <pc:sldMk cId="2225815222" sldId="2147478566"/>
            <ac:spMk id="499" creationId="{2F735207-90D4-3E3E-16E3-D6DD4A722329}"/>
          </ac:spMkLst>
        </pc:spChg>
        <pc:spChg chg="add del mod">
          <ac:chgData name="Steiner Andreas 6206 ED" userId="e6377c33-a923-4f14-8587-531c474c7b48" providerId="ADAL" clId="{6ECD27E6-B224-41CD-B4E0-E297462320DD}" dt="2023-11-24T08:48:56.155" v="76263"/>
          <ac:spMkLst>
            <pc:docMk/>
            <pc:sldMk cId="2225815222" sldId="2147478566"/>
            <ac:spMk id="500" creationId="{FC7C6812-65C7-32E6-F867-6373D57C9DBC}"/>
          </ac:spMkLst>
        </pc:spChg>
        <pc:spChg chg="add del mod">
          <ac:chgData name="Steiner Andreas 6206 ED" userId="e6377c33-a923-4f14-8587-531c474c7b48" providerId="ADAL" clId="{6ECD27E6-B224-41CD-B4E0-E297462320DD}" dt="2023-11-24T08:48:58.075" v="76418"/>
          <ac:spMkLst>
            <pc:docMk/>
            <pc:sldMk cId="2225815222" sldId="2147478566"/>
            <ac:spMk id="501" creationId="{AC72A8B3-BA1A-8AE0-EBA1-69B26A6DDEEB}"/>
          </ac:spMkLst>
        </pc:spChg>
        <pc:spChg chg="add del mod">
          <ac:chgData name="Steiner Andreas 6206 ED" userId="e6377c33-a923-4f14-8587-531c474c7b48" providerId="ADAL" clId="{6ECD27E6-B224-41CD-B4E0-E297462320DD}" dt="2023-11-24T08:49:00.153" v="76573"/>
          <ac:spMkLst>
            <pc:docMk/>
            <pc:sldMk cId="2225815222" sldId="2147478566"/>
            <ac:spMk id="502" creationId="{0AAE5273-1E1A-65BE-566A-A464F9124C11}"/>
          </ac:spMkLst>
        </pc:spChg>
        <pc:spChg chg="add del mod">
          <ac:chgData name="Steiner Andreas 6206 ED" userId="e6377c33-a923-4f14-8587-531c474c7b48" providerId="ADAL" clId="{6ECD27E6-B224-41CD-B4E0-E297462320DD}" dt="2023-11-24T08:49:02.105" v="76728"/>
          <ac:spMkLst>
            <pc:docMk/>
            <pc:sldMk cId="2225815222" sldId="2147478566"/>
            <ac:spMk id="503" creationId="{457FCE43-93B4-E923-1EBF-4159BA65D8B8}"/>
          </ac:spMkLst>
        </pc:spChg>
        <pc:spChg chg="add del mod">
          <ac:chgData name="Steiner Andreas 6206 ED" userId="e6377c33-a923-4f14-8587-531c474c7b48" providerId="ADAL" clId="{6ECD27E6-B224-41CD-B4E0-E297462320DD}" dt="2023-11-24T08:49:04.073" v="76883"/>
          <ac:spMkLst>
            <pc:docMk/>
            <pc:sldMk cId="2225815222" sldId="2147478566"/>
            <ac:spMk id="504" creationId="{3677D87B-C48C-0722-DB23-17F75BB85AC8}"/>
          </ac:spMkLst>
        </pc:spChg>
        <pc:spChg chg="add del mod">
          <ac:chgData name="Steiner Andreas 6206 ED" userId="e6377c33-a923-4f14-8587-531c474c7b48" providerId="ADAL" clId="{6ECD27E6-B224-41CD-B4E0-E297462320DD}" dt="2023-11-24T08:49:05.982" v="77038"/>
          <ac:spMkLst>
            <pc:docMk/>
            <pc:sldMk cId="2225815222" sldId="2147478566"/>
            <ac:spMk id="505" creationId="{5C52A65C-420C-FC84-0222-0E00B6B91E48}"/>
          </ac:spMkLst>
        </pc:spChg>
        <pc:spChg chg="add del mod">
          <ac:chgData name="Steiner Andreas 6206 ED" userId="e6377c33-a923-4f14-8587-531c474c7b48" providerId="ADAL" clId="{6ECD27E6-B224-41CD-B4E0-E297462320DD}" dt="2023-11-24T08:49:08.081" v="77193"/>
          <ac:spMkLst>
            <pc:docMk/>
            <pc:sldMk cId="2225815222" sldId="2147478566"/>
            <ac:spMk id="506" creationId="{E80AE3EF-F828-89DB-EA0B-3E6B8D012B87}"/>
          </ac:spMkLst>
        </pc:spChg>
        <pc:spChg chg="add del mod">
          <ac:chgData name="Steiner Andreas 6206 ED" userId="e6377c33-a923-4f14-8587-531c474c7b48" providerId="ADAL" clId="{6ECD27E6-B224-41CD-B4E0-E297462320DD}" dt="2023-11-24T08:49:09.968" v="77348"/>
          <ac:spMkLst>
            <pc:docMk/>
            <pc:sldMk cId="2225815222" sldId="2147478566"/>
            <ac:spMk id="507" creationId="{481353E1-9925-911E-AB51-02DFB8B169E7}"/>
          </ac:spMkLst>
        </pc:spChg>
        <pc:spChg chg="add del mod">
          <ac:chgData name="Steiner Andreas 6206 ED" userId="e6377c33-a923-4f14-8587-531c474c7b48" providerId="ADAL" clId="{6ECD27E6-B224-41CD-B4E0-E297462320DD}" dt="2023-11-24T08:49:11.740" v="77503"/>
          <ac:spMkLst>
            <pc:docMk/>
            <pc:sldMk cId="2225815222" sldId="2147478566"/>
            <ac:spMk id="508" creationId="{F5AFF52C-D42F-1FB2-1869-D777477ABE88}"/>
          </ac:spMkLst>
        </pc:spChg>
        <pc:spChg chg="add del mod">
          <ac:chgData name="Steiner Andreas 6206 ED" userId="e6377c33-a923-4f14-8587-531c474c7b48" providerId="ADAL" clId="{6ECD27E6-B224-41CD-B4E0-E297462320DD}" dt="2023-11-24T08:49:13.865" v="77658"/>
          <ac:spMkLst>
            <pc:docMk/>
            <pc:sldMk cId="2225815222" sldId="2147478566"/>
            <ac:spMk id="509" creationId="{0FBC7397-7099-CA0A-2D49-D19AB59FD663}"/>
          </ac:spMkLst>
        </pc:spChg>
        <pc:spChg chg="add del mod">
          <ac:chgData name="Steiner Andreas 6206 ED" userId="e6377c33-a923-4f14-8587-531c474c7b48" providerId="ADAL" clId="{6ECD27E6-B224-41CD-B4E0-E297462320DD}" dt="2023-11-24T08:49:15.831" v="77813"/>
          <ac:spMkLst>
            <pc:docMk/>
            <pc:sldMk cId="2225815222" sldId="2147478566"/>
            <ac:spMk id="510" creationId="{6E0ACEC3-C606-2899-81C1-D2A0230E49CB}"/>
          </ac:spMkLst>
        </pc:spChg>
        <pc:spChg chg="add del mod">
          <ac:chgData name="Steiner Andreas 6206 ED" userId="e6377c33-a923-4f14-8587-531c474c7b48" providerId="ADAL" clId="{6ECD27E6-B224-41CD-B4E0-E297462320DD}" dt="2023-11-24T08:49:17.903" v="77968"/>
          <ac:spMkLst>
            <pc:docMk/>
            <pc:sldMk cId="2225815222" sldId="2147478566"/>
            <ac:spMk id="511" creationId="{C3EF96D7-0DFB-D68F-0791-09875A757AA4}"/>
          </ac:spMkLst>
        </pc:spChg>
        <pc:spChg chg="add del mod">
          <ac:chgData name="Steiner Andreas 6206 ED" userId="e6377c33-a923-4f14-8587-531c474c7b48" providerId="ADAL" clId="{6ECD27E6-B224-41CD-B4E0-E297462320DD}" dt="2023-11-24T08:49:19.915" v="78123"/>
          <ac:spMkLst>
            <pc:docMk/>
            <pc:sldMk cId="2225815222" sldId="2147478566"/>
            <ac:spMk id="512" creationId="{6602F44D-B14B-5881-3A83-376CBA3945ED}"/>
          </ac:spMkLst>
        </pc:spChg>
        <pc:spChg chg="add del mod">
          <ac:chgData name="Steiner Andreas 6206 ED" userId="e6377c33-a923-4f14-8587-531c474c7b48" providerId="ADAL" clId="{6ECD27E6-B224-41CD-B4E0-E297462320DD}" dt="2023-11-24T08:49:21.789" v="78278"/>
          <ac:spMkLst>
            <pc:docMk/>
            <pc:sldMk cId="2225815222" sldId="2147478566"/>
            <ac:spMk id="513" creationId="{4DAEB6F2-F9B4-FC64-10EC-816267601DF2}"/>
          </ac:spMkLst>
        </pc:spChg>
        <pc:spChg chg="add del mod">
          <ac:chgData name="Steiner Andreas 6206 ED" userId="e6377c33-a923-4f14-8587-531c474c7b48" providerId="ADAL" clId="{6ECD27E6-B224-41CD-B4E0-E297462320DD}" dt="2023-11-24T08:49:23.722" v="78433"/>
          <ac:spMkLst>
            <pc:docMk/>
            <pc:sldMk cId="2225815222" sldId="2147478566"/>
            <ac:spMk id="514" creationId="{BBC3FC1D-1898-BCE6-223B-9E287E1C3581}"/>
          </ac:spMkLst>
        </pc:spChg>
        <pc:spChg chg="add del mod">
          <ac:chgData name="Steiner Andreas 6206 ED" userId="e6377c33-a923-4f14-8587-531c474c7b48" providerId="ADAL" clId="{6ECD27E6-B224-41CD-B4E0-E297462320DD}" dt="2023-11-24T08:49:25.600" v="78588"/>
          <ac:spMkLst>
            <pc:docMk/>
            <pc:sldMk cId="2225815222" sldId="2147478566"/>
            <ac:spMk id="515" creationId="{F7A073A4-BAAC-600C-60A8-BD36F5ABEBAE}"/>
          </ac:spMkLst>
        </pc:spChg>
        <pc:spChg chg="add del mod">
          <ac:chgData name="Steiner Andreas 6206 ED" userId="e6377c33-a923-4f14-8587-531c474c7b48" providerId="ADAL" clId="{6ECD27E6-B224-41CD-B4E0-E297462320DD}" dt="2023-11-24T08:49:27.680" v="78743"/>
          <ac:spMkLst>
            <pc:docMk/>
            <pc:sldMk cId="2225815222" sldId="2147478566"/>
            <ac:spMk id="516" creationId="{81E2D4D8-BB05-F50E-AD0E-5CAF243C48AA}"/>
          </ac:spMkLst>
        </pc:spChg>
        <pc:spChg chg="add del mod">
          <ac:chgData name="Steiner Andreas 6206 ED" userId="e6377c33-a923-4f14-8587-531c474c7b48" providerId="ADAL" clId="{6ECD27E6-B224-41CD-B4E0-E297462320DD}" dt="2023-11-24T08:49:29.728" v="78898"/>
          <ac:spMkLst>
            <pc:docMk/>
            <pc:sldMk cId="2225815222" sldId="2147478566"/>
            <ac:spMk id="517" creationId="{5A1C6D94-40FF-58AB-E51E-2A23DFCB364E}"/>
          </ac:spMkLst>
        </pc:spChg>
        <pc:spChg chg="add del mod">
          <ac:chgData name="Steiner Andreas 6206 ED" userId="e6377c33-a923-4f14-8587-531c474c7b48" providerId="ADAL" clId="{6ECD27E6-B224-41CD-B4E0-E297462320DD}" dt="2023-11-24T08:49:31.608" v="79053"/>
          <ac:spMkLst>
            <pc:docMk/>
            <pc:sldMk cId="2225815222" sldId="2147478566"/>
            <ac:spMk id="518" creationId="{E5104622-7AB2-FF50-38AC-D299C5309D5C}"/>
          </ac:spMkLst>
        </pc:spChg>
        <pc:spChg chg="add del mod">
          <ac:chgData name="Steiner Andreas 6206 ED" userId="e6377c33-a923-4f14-8587-531c474c7b48" providerId="ADAL" clId="{6ECD27E6-B224-41CD-B4E0-E297462320DD}" dt="2023-11-24T08:49:33.527" v="79208"/>
          <ac:spMkLst>
            <pc:docMk/>
            <pc:sldMk cId="2225815222" sldId="2147478566"/>
            <ac:spMk id="519" creationId="{72631401-0126-EC74-9ABC-13396466D61B}"/>
          </ac:spMkLst>
        </pc:spChg>
        <pc:spChg chg="add del mod">
          <ac:chgData name="Steiner Andreas 6206 ED" userId="e6377c33-a923-4f14-8587-531c474c7b48" providerId="ADAL" clId="{6ECD27E6-B224-41CD-B4E0-E297462320DD}" dt="2023-11-24T08:49:35.417" v="79363"/>
          <ac:spMkLst>
            <pc:docMk/>
            <pc:sldMk cId="2225815222" sldId="2147478566"/>
            <ac:spMk id="520" creationId="{7A6AF527-3D0B-1163-2161-866C34BF4B23}"/>
          </ac:spMkLst>
        </pc:spChg>
        <pc:spChg chg="add del mod">
          <ac:chgData name="Steiner Andreas 6206 ED" userId="e6377c33-a923-4f14-8587-531c474c7b48" providerId="ADAL" clId="{6ECD27E6-B224-41CD-B4E0-E297462320DD}" dt="2023-11-24T08:49:37.262" v="79518"/>
          <ac:spMkLst>
            <pc:docMk/>
            <pc:sldMk cId="2225815222" sldId="2147478566"/>
            <ac:spMk id="521" creationId="{26C49BAE-B9AF-D3A0-98D3-1C2DCD2529CB}"/>
          </ac:spMkLst>
        </pc:spChg>
        <pc:spChg chg="add del mod">
          <ac:chgData name="Steiner Andreas 6206 ED" userId="e6377c33-a923-4f14-8587-531c474c7b48" providerId="ADAL" clId="{6ECD27E6-B224-41CD-B4E0-E297462320DD}" dt="2023-11-24T08:49:39.213" v="79673"/>
          <ac:spMkLst>
            <pc:docMk/>
            <pc:sldMk cId="2225815222" sldId="2147478566"/>
            <ac:spMk id="522" creationId="{7837162E-B49D-9A24-9489-D0CEA453EAC7}"/>
          </ac:spMkLst>
        </pc:spChg>
        <pc:spChg chg="add del mod">
          <ac:chgData name="Steiner Andreas 6206 ED" userId="e6377c33-a923-4f14-8587-531c474c7b48" providerId="ADAL" clId="{6ECD27E6-B224-41CD-B4E0-E297462320DD}" dt="2023-11-24T08:49:41.331" v="79828"/>
          <ac:spMkLst>
            <pc:docMk/>
            <pc:sldMk cId="2225815222" sldId="2147478566"/>
            <ac:spMk id="523" creationId="{28F89FE5-4DEF-7718-833D-2D75E4CC9FC8}"/>
          </ac:spMkLst>
        </pc:spChg>
        <pc:spChg chg="add del mod">
          <ac:chgData name="Steiner Andreas 6206 ED" userId="e6377c33-a923-4f14-8587-531c474c7b48" providerId="ADAL" clId="{6ECD27E6-B224-41CD-B4E0-E297462320DD}" dt="2023-11-24T08:49:43.222" v="79983"/>
          <ac:spMkLst>
            <pc:docMk/>
            <pc:sldMk cId="2225815222" sldId="2147478566"/>
            <ac:spMk id="524" creationId="{1B6C773B-B549-DC77-09FF-0E77E60809BE}"/>
          </ac:spMkLst>
        </pc:spChg>
        <pc:spChg chg="add del mod">
          <ac:chgData name="Steiner Andreas 6206 ED" userId="e6377c33-a923-4f14-8587-531c474c7b48" providerId="ADAL" clId="{6ECD27E6-B224-41CD-B4E0-E297462320DD}" dt="2023-11-24T08:49:45.163" v="80138"/>
          <ac:spMkLst>
            <pc:docMk/>
            <pc:sldMk cId="2225815222" sldId="2147478566"/>
            <ac:spMk id="525" creationId="{8735880C-9BC3-2A81-1437-2A85E722AA38}"/>
          </ac:spMkLst>
        </pc:spChg>
        <pc:spChg chg="add del mod">
          <ac:chgData name="Steiner Andreas 6206 ED" userId="e6377c33-a923-4f14-8587-531c474c7b48" providerId="ADAL" clId="{6ECD27E6-B224-41CD-B4E0-E297462320DD}" dt="2023-11-24T08:49:47.129" v="80293"/>
          <ac:spMkLst>
            <pc:docMk/>
            <pc:sldMk cId="2225815222" sldId="2147478566"/>
            <ac:spMk id="526" creationId="{6015967B-23C3-1CB7-BD71-5111D2CFAB41}"/>
          </ac:spMkLst>
        </pc:spChg>
        <pc:spChg chg="add del mod">
          <ac:chgData name="Steiner Andreas 6206 ED" userId="e6377c33-a923-4f14-8587-531c474c7b48" providerId="ADAL" clId="{6ECD27E6-B224-41CD-B4E0-E297462320DD}" dt="2023-11-24T08:49:49.026" v="80448"/>
          <ac:spMkLst>
            <pc:docMk/>
            <pc:sldMk cId="2225815222" sldId="2147478566"/>
            <ac:spMk id="527" creationId="{E6B1FA95-7193-4F48-5E58-59F5B9B7294E}"/>
          </ac:spMkLst>
        </pc:spChg>
        <pc:spChg chg="add del mod">
          <ac:chgData name="Steiner Andreas 6206 ED" userId="e6377c33-a923-4f14-8587-531c474c7b48" providerId="ADAL" clId="{6ECD27E6-B224-41CD-B4E0-E297462320DD}" dt="2023-11-24T08:49:50.896" v="80603"/>
          <ac:spMkLst>
            <pc:docMk/>
            <pc:sldMk cId="2225815222" sldId="2147478566"/>
            <ac:spMk id="528" creationId="{058E793A-C7BD-94CE-24FA-A39AE79B8C4E}"/>
          </ac:spMkLst>
        </pc:spChg>
        <pc:spChg chg="add del mod">
          <ac:chgData name="Steiner Andreas 6206 ED" userId="e6377c33-a923-4f14-8587-531c474c7b48" providerId="ADAL" clId="{6ECD27E6-B224-41CD-B4E0-E297462320DD}" dt="2023-11-24T08:49:52.817" v="80758"/>
          <ac:spMkLst>
            <pc:docMk/>
            <pc:sldMk cId="2225815222" sldId="2147478566"/>
            <ac:spMk id="529" creationId="{C6E31C03-4A87-25F2-5F3A-6BB9AA137DF3}"/>
          </ac:spMkLst>
        </pc:spChg>
        <pc:spChg chg="add del mod">
          <ac:chgData name="Steiner Andreas 6206 ED" userId="e6377c33-a923-4f14-8587-531c474c7b48" providerId="ADAL" clId="{6ECD27E6-B224-41CD-B4E0-E297462320DD}" dt="2023-11-24T08:49:54.748" v="80913"/>
          <ac:spMkLst>
            <pc:docMk/>
            <pc:sldMk cId="2225815222" sldId="2147478566"/>
            <ac:spMk id="530" creationId="{D402038E-D3AE-DA88-84D0-36ACF64F47F7}"/>
          </ac:spMkLst>
        </pc:spChg>
        <pc:spChg chg="add del mod">
          <ac:chgData name="Steiner Andreas 6206 ED" userId="e6377c33-a923-4f14-8587-531c474c7b48" providerId="ADAL" clId="{6ECD27E6-B224-41CD-B4E0-E297462320DD}" dt="2023-11-24T08:49:56.615" v="81068"/>
          <ac:spMkLst>
            <pc:docMk/>
            <pc:sldMk cId="2225815222" sldId="2147478566"/>
            <ac:spMk id="531" creationId="{C392733A-0A19-661E-E236-753602FD6F69}"/>
          </ac:spMkLst>
        </pc:spChg>
        <pc:spChg chg="add del mod">
          <ac:chgData name="Steiner Andreas 6206 ED" userId="e6377c33-a923-4f14-8587-531c474c7b48" providerId="ADAL" clId="{6ECD27E6-B224-41CD-B4E0-E297462320DD}" dt="2023-11-24T08:49:58.522" v="81223"/>
          <ac:spMkLst>
            <pc:docMk/>
            <pc:sldMk cId="2225815222" sldId="2147478566"/>
            <ac:spMk id="532" creationId="{0DFDE4C3-D052-C852-FC61-464E7C10C448}"/>
          </ac:spMkLst>
        </pc:spChg>
        <pc:spChg chg="add del mod">
          <ac:chgData name="Steiner Andreas 6206 ED" userId="e6377c33-a923-4f14-8587-531c474c7b48" providerId="ADAL" clId="{6ECD27E6-B224-41CD-B4E0-E297462320DD}" dt="2023-11-24T08:50:00.444" v="81378"/>
          <ac:spMkLst>
            <pc:docMk/>
            <pc:sldMk cId="2225815222" sldId="2147478566"/>
            <ac:spMk id="533" creationId="{96019750-F4DD-6A37-CBB6-147C244693D2}"/>
          </ac:spMkLst>
        </pc:spChg>
        <pc:spChg chg="add del mod">
          <ac:chgData name="Steiner Andreas 6206 ED" userId="e6377c33-a923-4f14-8587-531c474c7b48" providerId="ADAL" clId="{6ECD27E6-B224-41CD-B4E0-E297462320DD}" dt="2023-11-24T08:50:02.536" v="81533"/>
          <ac:spMkLst>
            <pc:docMk/>
            <pc:sldMk cId="2225815222" sldId="2147478566"/>
            <ac:spMk id="534" creationId="{3619E640-F41E-30F0-F1FC-D7B7D3BFC5CA}"/>
          </ac:spMkLst>
        </pc:spChg>
        <pc:spChg chg="add del mod">
          <ac:chgData name="Steiner Andreas 6206 ED" userId="e6377c33-a923-4f14-8587-531c474c7b48" providerId="ADAL" clId="{6ECD27E6-B224-41CD-B4E0-E297462320DD}" dt="2023-11-24T08:50:04.600" v="81688"/>
          <ac:spMkLst>
            <pc:docMk/>
            <pc:sldMk cId="2225815222" sldId="2147478566"/>
            <ac:spMk id="535" creationId="{0340286D-B1C1-078B-DE76-2F76D9A69722}"/>
          </ac:spMkLst>
        </pc:spChg>
        <pc:spChg chg="add del mod">
          <ac:chgData name="Steiner Andreas 6206 ED" userId="e6377c33-a923-4f14-8587-531c474c7b48" providerId="ADAL" clId="{6ECD27E6-B224-41CD-B4E0-E297462320DD}" dt="2023-11-24T08:50:06.534" v="81843"/>
          <ac:spMkLst>
            <pc:docMk/>
            <pc:sldMk cId="2225815222" sldId="2147478566"/>
            <ac:spMk id="536" creationId="{A73047FA-F067-6414-2A7B-CDC49B190991}"/>
          </ac:spMkLst>
        </pc:spChg>
        <pc:spChg chg="add del mod">
          <ac:chgData name="Steiner Andreas 6206 ED" userId="e6377c33-a923-4f14-8587-531c474c7b48" providerId="ADAL" clId="{6ECD27E6-B224-41CD-B4E0-E297462320DD}" dt="2023-11-24T08:50:08.401" v="81998"/>
          <ac:spMkLst>
            <pc:docMk/>
            <pc:sldMk cId="2225815222" sldId="2147478566"/>
            <ac:spMk id="537" creationId="{6809D367-8D50-8115-D7D7-C390F69B34DB}"/>
          </ac:spMkLst>
        </pc:spChg>
        <pc:spChg chg="add del mod">
          <ac:chgData name="Steiner Andreas 6206 ED" userId="e6377c33-a923-4f14-8587-531c474c7b48" providerId="ADAL" clId="{6ECD27E6-B224-41CD-B4E0-E297462320DD}" dt="2023-11-24T08:50:10.310" v="82153"/>
          <ac:spMkLst>
            <pc:docMk/>
            <pc:sldMk cId="2225815222" sldId="2147478566"/>
            <ac:spMk id="538" creationId="{6F22F4FD-112F-70B9-8468-7264ED9D275A}"/>
          </ac:spMkLst>
        </pc:spChg>
        <pc:spChg chg="add del mod">
          <ac:chgData name="Steiner Andreas 6206 ED" userId="e6377c33-a923-4f14-8587-531c474c7b48" providerId="ADAL" clId="{6ECD27E6-B224-41CD-B4E0-E297462320DD}" dt="2023-11-24T08:50:12.230" v="82308"/>
          <ac:spMkLst>
            <pc:docMk/>
            <pc:sldMk cId="2225815222" sldId="2147478566"/>
            <ac:spMk id="539" creationId="{BB22C311-A3B5-4735-33CC-472C51007802}"/>
          </ac:spMkLst>
        </pc:spChg>
        <pc:spChg chg="add del mod">
          <ac:chgData name="Steiner Andreas 6206 ED" userId="e6377c33-a923-4f14-8587-531c474c7b48" providerId="ADAL" clId="{6ECD27E6-B224-41CD-B4E0-E297462320DD}" dt="2023-11-24T08:50:14.290" v="82463"/>
          <ac:spMkLst>
            <pc:docMk/>
            <pc:sldMk cId="2225815222" sldId="2147478566"/>
            <ac:spMk id="540" creationId="{C9D81890-F510-AE53-688D-5E763097F7D3}"/>
          </ac:spMkLst>
        </pc:spChg>
        <pc:spChg chg="add del mod">
          <ac:chgData name="Steiner Andreas 6206 ED" userId="e6377c33-a923-4f14-8587-531c474c7b48" providerId="ADAL" clId="{6ECD27E6-B224-41CD-B4E0-E297462320DD}" dt="2023-11-24T08:50:16.226" v="82618"/>
          <ac:spMkLst>
            <pc:docMk/>
            <pc:sldMk cId="2225815222" sldId="2147478566"/>
            <ac:spMk id="541" creationId="{71272705-0EEA-6AFE-AAA9-A6B4DB82656C}"/>
          </ac:spMkLst>
        </pc:spChg>
        <pc:spChg chg="add del mod">
          <ac:chgData name="Steiner Andreas 6206 ED" userId="e6377c33-a923-4f14-8587-531c474c7b48" providerId="ADAL" clId="{6ECD27E6-B224-41CD-B4E0-E297462320DD}" dt="2023-11-24T08:50:18.228" v="82773"/>
          <ac:spMkLst>
            <pc:docMk/>
            <pc:sldMk cId="2225815222" sldId="2147478566"/>
            <ac:spMk id="542" creationId="{657F9747-2275-02B8-90D9-A0B85B749558}"/>
          </ac:spMkLst>
        </pc:spChg>
        <pc:spChg chg="add del mod">
          <ac:chgData name="Steiner Andreas 6206 ED" userId="e6377c33-a923-4f14-8587-531c474c7b48" providerId="ADAL" clId="{6ECD27E6-B224-41CD-B4E0-E297462320DD}" dt="2023-11-24T08:50:20.455" v="82928"/>
          <ac:spMkLst>
            <pc:docMk/>
            <pc:sldMk cId="2225815222" sldId="2147478566"/>
            <ac:spMk id="543" creationId="{E660A988-3F12-2DEF-3BE8-53A500FC6469}"/>
          </ac:spMkLst>
        </pc:spChg>
        <pc:spChg chg="add del mod">
          <ac:chgData name="Steiner Andreas 6206 ED" userId="e6377c33-a923-4f14-8587-531c474c7b48" providerId="ADAL" clId="{6ECD27E6-B224-41CD-B4E0-E297462320DD}" dt="2023-11-24T08:50:22.363" v="83083"/>
          <ac:spMkLst>
            <pc:docMk/>
            <pc:sldMk cId="2225815222" sldId="2147478566"/>
            <ac:spMk id="544" creationId="{4D3E9D31-5926-930E-4156-583AD9E529F7}"/>
          </ac:spMkLst>
        </pc:spChg>
        <pc:spChg chg="add del mod">
          <ac:chgData name="Steiner Andreas 6206 ED" userId="e6377c33-a923-4f14-8587-531c474c7b48" providerId="ADAL" clId="{6ECD27E6-B224-41CD-B4E0-E297462320DD}" dt="2023-11-24T08:50:24.502" v="83238"/>
          <ac:spMkLst>
            <pc:docMk/>
            <pc:sldMk cId="2225815222" sldId="2147478566"/>
            <ac:spMk id="545" creationId="{D572EBE2-4399-0677-1DFC-C75D5E2D393F}"/>
          </ac:spMkLst>
        </pc:spChg>
        <pc:spChg chg="add del mod">
          <ac:chgData name="Steiner Andreas 6206 ED" userId="e6377c33-a923-4f14-8587-531c474c7b48" providerId="ADAL" clId="{6ECD27E6-B224-41CD-B4E0-E297462320DD}" dt="2023-11-24T08:50:26.474" v="83393"/>
          <ac:spMkLst>
            <pc:docMk/>
            <pc:sldMk cId="2225815222" sldId="2147478566"/>
            <ac:spMk id="546" creationId="{3FEB78CC-FDB0-CE28-9E37-1AC1BC8259A6}"/>
          </ac:spMkLst>
        </pc:spChg>
        <pc:spChg chg="add del mod">
          <ac:chgData name="Steiner Andreas 6206 ED" userId="e6377c33-a923-4f14-8587-531c474c7b48" providerId="ADAL" clId="{6ECD27E6-B224-41CD-B4E0-E297462320DD}" dt="2023-11-24T08:50:28.391" v="83548"/>
          <ac:spMkLst>
            <pc:docMk/>
            <pc:sldMk cId="2225815222" sldId="2147478566"/>
            <ac:spMk id="547" creationId="{7BDD8CFC-7475-ED8B-F9F0-6804FB0CD042}"/>
          </ac:spMkLst>
        </pc:spChg>
        <pc:spChg chg="add del mod">
          <ac:chgData name="Steiner Andreas 6206 ED" userId="e6377c33-a923-4f14-8587-531c474c7b48" providerId="ADAL" clId="{6ECD27E6-B224-41CD-B4E0-E297462320DD}" dt="2023-11-24T08:50:30.309" v="83703"/>
          <ac:spMkLst>
            <pc:docMk/>
            <pc:sldMk cId="2225815222" sldId="2147478566"/>
            <ac:spMk id="548" creationId="{C3B3B793-5289-8124-80A3-04A2EEA96DB0}"/>
          </ac:spMkLst>
        </pc:spChg>
        <pc:spChg chg="add del mod">
          <ac:chgData name="Steiner Andreas 6206 ED" userId="e6377c33-a923-4f14-8587-531c474c7b48" providerId="ADAL" clId="{6ECD27E6-B224-41CD-B4E0-E297462320DD}" dt="2023-11-24T08:50:32.394" v="83858"/>
          <ac:spMkLst>
            <pc:docMk/>
            <pc:sldMk cId="2225815222" sldId="2147478566"/>
            <ac:spMk id="549" creationId="{2CA82F3B-07C8-F1E8-560F-93A526BD0F51}"/>
          </ac:spMkLst>
        </pc:spChg>
        <pc:spChg chg="add del mod">
          <ac:chgData name="Steiner Andreas 6206 ED" userId="e6377c33-a923-4f14-8587-531c474c7b48" providerId="ADAL" clId="{6ECD27E6-B224-41CD-B4E0-E297462320DD}" dt="2023-11-24T08:50:34.413" v="84013"/>
          <ac:spMkLst>
            <pc:docMk/>
            <pc:sldMk cId="2225815222" sldId="2147478566"/>
            <ac:spMk id="550" creationId="{5C8AC886-F2DF-EF88-8922-52CFA09CFD9F}"/>
          </ac:spMkLst>
        </pc:spChg>
        <pc:spChg chg="add del mod">
          <ac:chgData name="Steiner Andreas 6206 ED" userId="e6377c33-a923-4f14-8587-531c474c7b48" providerId="ADAL" clId="{6ECD27E6-B224-41CD-B4E0-E297462320DD}" dt="2023-11-24T08:50:36.626" v="84168"/>
          <ac:spMkLst>
            <pc:docMk/>
            <pc:sldMk cId="2225815222" sldId="2147478566"/>
            <ac:spMk id="551" creationId="{EE803104-B46F-5F50-4EB8-65972C131CD2}"/>
          </ac:spMkLst>
        </pc:spChg>
        <pc:spChg chg="add del mod">
          <ac:chgData name="Steiner Andreas 6206 ED" userId="e6377c33-a923-4f14-8587-531c474c7b48" providerId="ADAL" clId="{6ECD27E6-B224-41CD-B4E0-E297462320DD}" dt="2023-11-24T08:50:38.583" v="84323"/>
          <ac:spMkLst>
            <pc:docMk/>
            <pc:sldMk cId="2225815222" sldId="2147478566"/>
            <ac:spMk id="552" creationId="{C28F92EB-F9AF-5CB2-4839-6602A1FDCE1B}"/>
          </ac:spMkLst>
        </pc:spChg>
        <pc:spChg chg="add del mod">
          <ac:chgData name="Steiner Andreas 6206 ED" userId="e6377c33-a923-4f14-8587-531c474c7b48" providerId="ADAL" clId="{6ECD27E6-B224-41CD-B4E0-E297462320DD}" dt="2023-11-24T08:50:40.571" v="84478"/>
          <ac:spMkLst>
            <pc:docMk/>
            <pc:sldMk cId="2225815222" sldId="2147478566"/>
            <ac:spMk id="553" creationId="{C08BDD5A-E5EE-FD5D-7F68-6D8967C48E17}"/>
          </ac:spMkLst>
        </pc:spChg>
        <pc:spChg chg="add del mod">
          <ac:chgData name="Steiner Andreas 6206 ED" userId="e6377c33-a923-4f14-8587-531c474c7b48" providerId="ADAL" clId="{6ECD27E6-B224-41CD-B4E0-E297462320DD}" dt="2023-11-24T08:50:42.567" v="84633"/>
          <ac:spMkLst>
            <pc:docMk/>
            <pc:sldMk cId="2225815222" sldId="2147478566"/>
            <ac:spMk id="554" creationId="{5937679D-A2FB-40C3-7859-E1B739EE5E2C}"/>
          </ac:spMkLst>
        </pc:spChg>
        <pc:spChg chg="add del mod">
          <ac:chgData name="Steiner Andreas 6206 ED" userId="e6377c33-a923-4f14-8587-531c474c7b48" providerId="ADAL" clId="{6ECD27E6-B224-41CD-B4E0-E297462320DD}" dt="2023-11-24T08:50:44.762" v="84788"/>
          <ac:spMkLst>
            <pc:docMk/>
            <pc:sldMk cId="2225815222" sldId="2147478566"/>
            <ac:spMk id="555" creationId="{B78FBFCB-519D-CFD2-3955-8FFF14C39BCB}"/>
          </ac:spMkLst>
        </pc:spChg>
        <pc:spChg chg="add del mod">
          <ac:chgData name="Steiner Andreas 6206 ED" userId="e6377c33-a923-4f14-8587-531c474c7b48" providerId="ADAL" clId="{6ECD27E6-B224-41CD-B4E0-E297462320DD}" dt="2023-11-24T08:50:46.865" v="84943"/>
          <ac:spMkLst>
            <pc:docMk/>
            <pc:sldMk cId="2225815222" sldId="2147478566"/>
            <ac:spMk id="556" creationId="{3124EE96-ED2A-7D92-125B-3849BE5E6D72}"/>
          </ac:spMkLst>
        </pc:spChg>
        <pc:spChg chg="add del mod">
          <ac:chgData name="Steiner Andreas 6206 ED" userId="e6377c33-a923-4f14-8587-531c474c7b48" providerId="ADAL" clId="{6ECD27E6-B224-41CD-B4E0-E297462320DD}" dt="2023-11-24T08:50:48.963" v="85098"/>
          <ac:spMkLst>
            <pc:docMk/>
            <pc:sldMk cId="2225815222" sldId="2147478566"/>
            <ac:spMk id="557" creationId="{B4166C5E-ABB4-3680-9E46-B3BF0AD4EE16}"/>
          </ac:spMkLst>
        </pc:spChg>
        <pc:spChg chg="add del mod">
          <ac:chgData name="Steiner Andreas 6206 ED" userId="e6377c33-a923-4f14-8587-531c474c7b48" providerId="ADAL" clId="{6ECD27E6-B224-41CD-B4E0-E297462320DD}" dt="2023-11-24T08:50:51.068" v="85253"/>
          <ac:spMkLst>
            <pc:docMk/>
            <pc:sldMk cId="2225815222" sldId="2147478566"/>
            <ac:spMk id="558" creationId="{BD40B0BA-0B79-C7AF-770B-CABD09A4FDA1}"/>
          </ac:spMkLst>
        </pc:spChg>
        <pc:spChg chg="add del mod">
          <ac:chgData name="Steiner Andreas 6206 ED" userId="e6377c33-a923-4f14-8587-531c474c7b48" providerId="ADAL" clId="{6ECD27E6-B224-41CD-B4E0-E297462320DD}" dt="2023-11-24T08:50:53.173" v="85408"/>
          <ac:spMkLst>
            <pc:docMk/>
            <pc:sldMk cId="2225815222" sldId="2147478566"/>
            <ac:spMk id="559" creationId="{52ACC87D-67F1-D085-73DD-37115E34E27F}"/>
          </ac:spMkLst>
        </pc:spChg>
        <pc:spChg chg="add del mod">
          <ac:chgData name="Steiner Andreas 6206 ED" userId="e6377c33-a923-4f14-8587-531c474c7b48" providerId="ADAL" clId="{6ECD27E6-B224-41CD-B4E0-E297462320DD}" dt="2023-11-24T08:50:55.077" v="85563"/>
          <ac:spMkLst>
            <pc:docMk/>
            <pc:sldMk cId="2225815222" sldId="2147478566"/>
            <ac:spMk id="560" creationId="{72207E2E-5971-3401-B868-56AC047FE9C8}"/>
          </ac:spMkLst>
        </pc:spChg>
        <pc:spChg chg="add del mod">
          <ac:chgData name="Steiner Andreas 6206 ED" userId="e6377c33-a923-4f14-8587-531c474c7b48" providerId="ADAL" clId="{6ECD27E6-B224-41CD-B4E0-E297462320DD}" dt="2023-11-24T08:50:56.990" v="85718"/>
          <ac:spMkLst>
            <pc:docMk/>
            <pc:sldMk cId="2225815222" sldId="2147478566"/>
            <ac:spMk id="561" creationId="{B108F6D5-572C-8FA4-36F9-4E068038ACC3}"/>
          </ac:spMkLst>
        </pc:spChg>
        <pc:spChg chg="add del mod">
          <ac:chgData name="Steiner Andreas 6206 ED" userId="e6377c33-a923-4f14-8587-531c474c7b48" providerId="ADAL" clId="{6ECD27E6-B224-41CD-B4E0-E297462320DD}" dt="2023-11-24T08:50:59.195" v="85873"/>
          <ac:spMkLst>
            <pc:docMk/>
            <pc:sldMk cId="2225815222" sldId="2147478566"/>
            <ac:spMk id="562" creationId="{1A956E7D-C9A8-9E85-E290-EB6A177FD8D9}"/>
          </ac:spMkLst>
        </pc:spChg>
        <pc:spChg chg="add del mod">
          <ac:chgData name="Steiner Andreas 6206 ED" userId="e6377c33-a923-4f14-8587-531c474c7b48" providerId="ADAL" clId="{6ECD27E6-B224-41CD-B4E0-E297462320DD}" dt="2023-11-24T08:51:01.134" v="86028"/>
          <ac:spMkLst>
            <pc:docMk/>
            <pc:sldMk cId="2225815222" sldId="2147478566"/>
            <ac:spMk id="563" creationId="{F72FE657-E311-DE49-C70F-9AF6C21BBCEF}"/>
          </ac:spMkLst>
        </pc:spChg>
        <pc:spChg chg="add del mod">
          <ac:chgData name="Steiner Andreas 6206 ED" userId="e6377c33-a923-4f14-8587-531c474c7b48" providerId="ADAL" clId="{6ECD27E6-B224-41CD-B4E0-E297462320DD}" dt="2023-11-24T08:51:03.116" v="86183"/>
          <ac:spMkLst>
            <pc:docMk/>
            <pc:sldMk cId="2225815222" sldId="2147478566"/>
            <ac:spMk id="564" creationId="{9E40205D-DFFD-B171-73E0-513AD586D9EF}"/>
          </ac:spMkLst>
        </pc:spChg>
        <pc:spChg chg="add del mod">
          <ac:chgData name="Steiner Andreas 6206 ED" userId="e6377c33-a923-4f14-8587-531c474c7b48" providerId="ADAL" clId="{6ECD27E6-B224-41CD-B4E0-E297462320DD}" dt="2023-11-24T08:51:04.978" v="86338"/>
          <ac:spMkLst>
            <pc:docMk/>
            <pc:sldMk cId="2225815222" sldId="2147478566"/>
            <ac:spMk id="565" creationId="{1323628D-40CD-5147-2E78-8BBCC9D4AF58}"/>
          </ac:spMkLst>
        </pc:spChg>
        <pc:spChg chg="add del mod">
          <ac:chgData name="Steiner Andreas 6206 ED" userId="e6377c33-a923-4f14-8587-531c474c7b48" providerId="ADAL" clId="{6ECD27E6-B224-41CD-B4E0-E297462320DD}" dt="2023-11-24T08:51:06.874" v="86493"/>
          <ac:spMkLst>
            <pc:docMk/>
            <pc:sldMk cId="2225815222" sldId="2147478566"/>
            <ac:spMk id="566" creationId="{5270157F-60FD-F146-8862-D8A20E21D438}"/>
          </ac:spMkLst>
        </pc:spChg>
        <pc:spChg chg="add del mod">
          <ac:chgData name="Steiner Andreas 6206 ED" userId="e6377c33-a923-4f14-8587-531c474c7b48" providerId="ADAL" clId="{6ECD27E6-B224-41CD-B4E0-E297462320DD}" dt="2023-11-24T08:51:08.876" v="86648"/>
          <ac:spMkLst>
            <pc:docMk/>
            <pc:sldMk cId="2225815222" sldId="2147478566"/>
            <ac:spMk id="567" creationId="{0F1987FC-5604-7B40-5126-9CB368A2B9E0}"/>
          </ac:spMkLst>
        </pc:spChg>
        <pc:spChg chg="add del mod">
          <ac:chgData name="Steiner Andreas 6206 ED" userId="e6377c33-a923-4f14-8587-531c474c7b48" providerId="ADAL" clId="{6ECD27E6-B224-41CD-B4E0-E297462320DD}" dt="2023-11-24T08:51:10.892" v="86803"/>
          <ac:spMkLst>
            <pc:docMk/>
            <pc:sldMk cId="2225815222" sldId="2147478566"/>
            <ac:spMk id="568" creationId="{FC756982-31D1-9BB6-B8D9-830BABC3658A}"/>
          </ac:spMkLst>
        </pc:spChg>
        <pc:spChg chg="add del mod">
          <ac:chgData name="Steiner Andreas 6206 ED" userId="e6377c33-a923-4f14-8587-531c474c7b48" providerId="ADAL" clId="{6ECD27E6-B224-41CD-B4E0-E297462320DD}" dt="2023-11-24T08:51:12.808" v="86958"/>
          <ac:spMkLst>
            <pc:docMk/>
            <pc:sldMk cId="2225815222" sldId="2147478566"/>
            <ac:spMk id="569" creationId="{923C35D9-9FDD-6514-1CE1-5BC3B0AD6607}"/>
          </ac:spMkLst>
        </pc:spChg>
        <pc:spChg chg="add del mod">
          <ac:chgData name="Steiner Andreas 6206 ED" userId="e6377c33-a923-4f14-8587-531c474c7b48" providerId="ADAL" clId="{6ECD27E6-B224-41CD-B4E0-E297462320DD}" dt="2023-11-24T08:51:15.005" v="87113"/>
          <ac:spMkLst>
            <pc:docMk/>
            <pc:sldMk cId="2225815222" sldId="2147478566"/>
            <ac:spMk id="570" creationId="{E645BE15-AA2A-5C3E-6FAF-DBC63238B2FE}"/>
          </ac:spMkLst>
        </pc:spChg>
        <pc:spChg chg="add del mod">
          <ac:chgData name="Steiner Andreas 6206 ED" userId="e6377c33-a923-4f14-8587-531c474c7b48" providerId="ADAL" clId="{6ECD27E6-B224-41CD-B4E0-E297462320DD}" dt="2023-11-24T08:51:17.067" v="87268"/>
          <ac:spMkLst>
            <pc:docMk/>
            <pc:sldMk cId="2225815222" sldId="2147478566"/>
            <ac:spMk id="571" creationId="{56060B10-BB44-76DB-82AA-2C38E77DDDA9}"/>
          </ac:spMkLst>
        </pc:spChg>
        <pc:spChg chg="add del mod">
          <ac:chgData name="Steiner Andreas 6206 ED" userId="e6377c33-a923-4f14-8587-531c474c7b48" providerId="ADAL" clId="{6ECD27E6-B224-41CD-B4E0-E297462320DD}" dt="2023-11-24T08:51:18.995" v="87423"/>
          <ac:spMkLst>
            <pc:docMk/>
            <pc:sldMk cId="2225815222" sldId="2147478566"/>
            <ac:spMk id="572" creationId="{BED7716C-853D-638B-F735-AD359E1F13B2}"/>
          </ac:spMkLst>
        </pc:spChg>
        <pc:spChg chg="add del mod">
          <ac:chgData name="Steiner Andreas 6206 ED" userId="e6377c33-a923-4f14-8587-531c474c7b48" providerId="ADAL" clId="{6ECD27E6-B224-41CD-B4E0-E297462320DD}" dt="2023-11-24T08:51:21.075" v="87578"/>
          <ac:spMkLst>
            <pc:docMk/>
            <pc:sldMk cId="2225815222" sldId="2147478566"/>
            <ac:spMk id="573" creationId="{52C4069C-2DD5-97A1-A9D3-374E2B944662}"/>
          </ac:spMkLst>
        </pc:spChg>
        <pc:spChg chg="add del mod">
          <ac:chgData name="Steiner Andreas 6206 ED" userId="e6377c33-a923-4f14-8587-531c474c7b48" providerId="ADAL" clId="{6ECD27E6-B224-41CD-B4E0-E297462320DD}" dt="2023-11-24T08:51:23.009" v="87733"/>
          <ac:spMkLst>
            <pc:docMk/>
            <pc:sldMk cId="2225815222" sldId="2147478566"/>
            <ac:spMk id="574" creationId="{AD19876F-51A3-31E1-90C9-BFC0870FA2E7}"/>
          </ac:spMkLst>
        </pc:spChg>
        <pc:spChg chg="add del mod">
          <ac:chgData name="Steiner Andreas 6206 ED" userId="e6377c33-a923-4f14-8587-531c474c7b48" providerId="ADAL" clId="{6ECD27E6-B224-41CD-B4E0-E297462320DD}" dt="2023-11-24T08:51:24.898" v="87888"/>
          <ac:spMkLst>
            <pc:docMk/>
            <pc:sldMk cId="2225815222" sldId="2147478566"/>
            <ac:spMk id="575" creationId="{3A2E3EAE-F73F-94BB-CB5F-15E2CF5280CE}"/>
          </ac:spMkLst>
        </pc:spChg>
        <pc:spChg chg="add del mod">
          <ac:chgData name="Steiner Andreas 6206 ED" userId="e6377c33-a923-4f14-8587-531c474c7b48" providerId="ADAL" clId="{6ECD27E6-B224-41CD-B4E0-E297462320DD}" dt="2023-11-24T08:51:26.782" v="88043"/>
          <ac:spMkLst>
            <pc:docMk/>
            <pc:sldMk cId="2225815222" sldId="2147478566"/>
            <ac:spMk id="576" creationId="{77A75902-4E4D-6941-6EF2-2E69C5C18E47}"/>
          </ac:spMkLst>
        </pc:spChg>
        <pc:spChg chg="add del mod">
          <ac:chgData name="Steiner Andreas 6206 ED" userId="e6377c33-a923-4f14-8587-531c474c7b48" providerId="ADAL" clId="{6ECD27E6-B224-41CD-B4E0-E297462320DD}" dt="2023-11-24T08:51:28.690" v="88198"/>
          <ac:spMkLst>
            <pc:docMk/>
            <pc:sldMk cId="2225815222" sldId="2147478566"/>
            <ac:spMk id="577" creationId="{72A55723-EDF7-6924-37CB-6E4891B07BBE}"/>
          </ac:spMkLst>
        </pc:spChg>
        <pc:spChg chg="add del mod">
          <ac:chgData name="Steiner Andreas 6206 ED" userId="e6377c33-a923-4f14-8587-531c474c7b48" providerId="ADAL" clId="{6ECD27E6-B224-41CD-B4E0-E297462320DD}" dt="2023-11-24T08:51:30.698" v="88353"/>
          <ac:spMkLst>
            <pc:docMk/>
            <pc:sldMk cId="2225815222" sldId="2147478566"/>
            <ac:spMk id="578" creationId="{718A27BC-C3C5-A5D2-E42F-358A051AEB65}"/>
          </ac:spMkLst>
        </pc:spChg>
        <pc:spChg chg="add del mod">
          <ac:chgData name="Steiner Andreas 6206 ED" userId="e6377c33-a923-4f14-8587-531c474c7b48" providerId="ADAL" clId="{6ECD27E6-B224-41CD-B4E0-E297462320DD}" dt="2023-11-24T08:51:32.838" v="88508"/>
          <ac:spMkLst>
            <pc:docMk/>
            <pc:sldMk cId="2225815222" sldId="2147478566"/>
            <ac:spMk id="579" creationId="{799057B6-F430-1598-D78C-927588AC6D52}"/>
          </ac:spMkLst>
        </pc:spChg>
        <pc:spChg chg="add del mod">
          <ac:chgData name="Steiner Andreas 6206 ED" userId="e6377c33-a923-4f14-8587-531c474c7b48" providerId="ADAL" clId="{6ECD27E6-B224-41CD-B4E0-E297462320DD}" dt="2023-11-24T08:51:34.785" v="88663"/>
          <ac:spMkLst>
            <pc:docMk/>
            <pc:sldMk cId="2225815222" sldId="2147478566"/>
            <ac:spMk id="580" creationId="{F61C4D4C-49BC-AB3A-C53F-E2AA5733DB69}"/>
          </ac:spMkLst>
        </pc:spChg>
        <pc:spChg chg="add del mod">
          <ac:chgData name="Steiner Andreas 6206 ED" userId="e6377c33-a923-4f14-8587-531c474c7b48" providerId="ADAL" clId="{6ECD27E6-B224-41CD-B4E0-E297462320DD}" dt="2023-11-24T08:51:36.663" v="88818"/>
          <ac:spMkLst>
            <pc:docMk/>
            <pc:sldMk cId="2225815222" sldId="2147478566"/>
            <ac:spMk id="581" creationId="{AC42F08B-6285-E6D2-1D35-F61AE9611F3C}"/>
          </ac:spMkLst>
        </pc:spChg>
        <pc:spChg chg="add del mod">
          <ac:chgData name="Steiner Andreas 6206 ED" userId="e6377c33-a923-4f14-8587-531c474c7b48" providerId="ADAL" clId="{6ECD27E6-B224-41CD-B4E0-E297462320DD}" dt="2023-11-24T08:51:38.619" v="88973"/>
          <ac:spMkLst>
            <pc:docMk/>
            <pc:sldMk cId="2225815222" sldId="2147478566"/>
            <ac:spMk id="582" creationId="{C822A8C6-BB98-01E1-5E73-635B0B6F818D}"/>
          </ac:spMkLst>
        </pc:spChg>
        <pc:spChg chg="add del mod">
          <ac:chgData name="Steiner Andreas 6206 ED" userId="e6377c33-a923-4f14-8587-531c474c7b48" providerId="ADAL" clId="{6ECD27E6-B224-41CD-B4E0-E297462320DD}" dt="2023-11-24T08:51:40.555" v="89128"/>
          <ac:spMkLst>
            <pc:docMk/>
            <pc:sldMk cId="2225815222" sldId="2147478566"/>
            <ac:spMk id="583" creationId="{1D3F7EB0-68F0-1F6C-6E00-F7B5D88A45D4}"/>
          </ac:spMkLst>
        </pc:spChg>
        <pc:spChg chg="add del mod">
          <ac:chgData name="Steiner Andreas 6206 ED" userId="e6377c33-a923-4f14-8587-531c474c7b48" providerId="ADAL" clId="{6ECD27E6-B224-41CD-B4E0-E297462320DD}" dt="2023-11-24T08:51:42.563" v="89283"/>
          <ac:spMkLst>
            <pc:docMk/>
            <pc:sldMk cId="2225815222" sldId="2147478566"/>
            <ac:spMk id="584" creationId="{E26B6CD4-32C2-4876-52FD-288CEA6BDE0E}"/>
          </ac:spMkLst>
        </pc:spChg>
        <pc:spChg chg="add del mod">
          <ac:chgData name="Steiner Andreas 6206 ED" userId="e6377c33-a923-4f14-8587-531c474c7b48" providerId="ADAL" clId="{6ECD27E6-B224-41CD-B4E0-E297462320DD}" dt="2023-11-24T08:51:44.669" v="89438"/>
          <ac:spMkLst>
            <pc:docMk/>
            <pc:sldMk cId="2225815222" sldId="2147478566"/>
            <ac:spMk id="585" creationId="{D9AF3407-3C00-F0F1-A1B2-1FAEB46CFA8F}"/>
          </ac:spMkLst>
        </pc:spChg>
        <pc:spChg chg="add del mod">
          <ac:chgData name="Steiner Andreas 6206 ED" userId="e6377c33-a923-4f14-8587-531c474c7b48" providerId="ADAL" clId="{6ECD27E6-B224-41CD-B4E0-E297462320DD}" dt="2023-11-24T08:51:46.614" v="89593"/>
          <ac:spMkLst>
            <pc:docMk/>
            <pc:sldMk cId="2225815222" sldId="2147478566"/>
            <ac:spMk id="586" creationId="{D8DDDC4E-B9EF-356D-14F4-5C5DDFE2D3C9}"/>
          </ac:spMkLst>
        </pc:spChg>
        <pc:spChg chg="add del mod">
          <ac:chgData name="Steiner Andreas 6206 ED" userId="e6377c33-a923-4f14-8587-531c474c7b48" providerId="ADAL" clId="{6ECD27E6-B224-41CD-B4E0-E297462320DD}" dt="2023-11-24T08:51:48.496" v="89748"/>
          <ac:spMkLst>
            <pc:docMk/>
            <pc:sldMk cId="2225815222" sldId="2147478566"/>
            <ac:spMk id="587" creationId="{80AD0099-1E7F-3755-7F54-7ABD10DD6CD4}"/>
          </ac:spMkLst>
        </pc:spChg>
        <pc:spChg chg="add del mod">
          <ac:chgData name="Steiner Andreas 6206 ED" userId="e6377c33-a923-4f14-8587-531c474c7b48" providerId="ADAL" clId="{6ECD27E6-B224-41CD-B4E0-E297462320DD}" dt="2023-11-24T08:51:50.441" v="89903"/>
          <ac:spMkLst>
            <pc:docMk/>
            <pc:sldMk cId="2225815222" sldId="2147478566"/>
            <ac:spMk id="588" creationId="{40648B8B-8BCA-9929-D927-6F458496BC09}"/>
          </ac:spMkLst>
        </pc:spChg>
        <pc:spChg chg="add del mod">
          <ac:chgData name="Steiner Andreas 6206 ED" userId="e6377c33-a923-4f14-8587-531c474c7b48" providerId="ADAL" clId="{6ECD27E6-B224-41CD-B4E0-E297462320DD}" dt="2023-11-24T08:51:52.337" v="90058"/>
          <ac:spMkLst>
            <pc:docMk/>
            <pc:sldMk cId="2225815222" sldId="2147478566"/>
            <ac:spMk id="589" creationId="{183D0E65-A86B-F004-6D12-E719CDD2C559}"/>
          </ac:spMkLst>
        </pc:spChg>
        <pc:spChg chg="add del mod">
          <ac:chgData name="Steiner Andreas 6206 ED" userId="e6377c33-a923-4f14-8587-531c474c7b48" providerId="ADAL" clId="{6ECD27E6-B224-41CD-B4E0-E297462320DD}" dt="2023-11-24T08:51:54.344" v="90213"/>
          <ac:spMkLst>
            <pc:docMk/>
            <pc:sldMk cId="2225815222" sldId="2147478566"/>
            <ac:spMk id="590" creationId="{F5D28776-18CD-A798-5F89-2D2F5BCD3975}"/>
          </ac:spMkLst>
        </pc:spChg>
        <pc:spChg chg="add del mod">
          <ac:chgData name="Steiner Andreas 6206 ED" userId="e6377c33-a923-4f14-8587-531c474c7b48" providerId="ADAL" clId="{6ECD27E6-B224-41CD-B4E0-E297462320DD}" dt="2023-11-24T08:51:56.310" v="90368"/>
          <ac:spMkLst>
            <pc:docMk/>
            <pc:sldMk cId="2225815222" sldId="2147478566"/>
            <ac:spMk id="591" creationId="{F40C9868-C269-D457-2189-F77F9A82486B}"/>
          </ac:spMkLst>
        </pc:spChg>
        <pc:spChg chg="add del mod">
          <ac:chgData name="Steiner Andreas 6206 ED" userId="e6377c33-a923-4f14-8587-531c474c7b48" providerId="ADAL" clId="{6ECD27E6-B224-41CD-B4E0-E297462320DD}" dt="2023-11-24T08:51:58.245" v="90523"/>
          <ac:spMkLst>
            <pc:docMk/>
            <pc:sldMk cId="2225815222" sldId="2147478566"/>
            <ac:spMk id="592" creationId="{FC051BD8-29F3-0A41-0B1F-36C6ED62ED7C}"/>
          </ac:spMkLst>
        </pc:spChg>
        <pc:spChg chg="add del mod">
          <ac:chgData name="Steiner Andreas 6206 ED" userId="e6377c33-a923-4f14-8587-531c474c7b48" providerId="ADAL" clId="{6ECD27E6-B224-41CD-B4E0-E297462320DD}" dt="2023-11-24T08:52:00.386" v="90678"/>
          <ac:spMkLst>
            <pc:docMk/>
            <pc:sldMk cId="2225815222" sldId="2147478566"/>
            <ac:spMk id="593" creationId="{920F035A-7E09-990C-81F9-EE0E49F5508F}"/>
          </ac:spMkLst>
        </pc:spChg>
        <pc:spChg chg="add del mod">
          <ac:chgData name="Steiner Andreas 6206 ED" userId="e6377c33-a923-4f14-8587-531c474c7b48" providerId="ADAL" clId="{6ECD27E6-B224-41CD-B4E0-E297462320DD}" dt="2023-11-24T08:52:02.339" v="90833"/>
          <ac:spMkLst>
            <pc:docMk/>
            <pc:sldMk cId="2225815222" sldId="2147478566"/>
            <ac:spMk id="594" creationId="{79C32106-6AF6-14EE-D434-CF72E60243CA}"/>
          </ac:spMkLst>
        </pc:spChg>
        <pc:spChg chg="add del mod">
          <ac:chgData name="Steiner Andreas 6206 ED" userId="e6377c33-a923-4f14-8587-531c474c7b48" providerId="ADAL" clId="{6ECD27E6-B224-41CD-B4E0-E297462320DD}" dt="2023-11-24T08:52:04.246" v="90988"/>
          <ac:spMkLst>
            <pc:docMk/>
            <pc:sldMk cId="2225815222" sldId="2147478566"/>
            <ac:spMk id="595" creationId="{5A6BFCDA-C74F-42EA-76FE-07B5138D3F87}"/>
          </ac:spMkLst>
        </pc:spChg>
        <pc:spChg chg="add del mod">
          <ac:chgData name="Steiner Andreas 6206 ED" userId="e6377c33-a923-4f14-8587-531c474c7b48" providerId="ADAL" clId="{6ECD27E6-B224-41CD-B4E0-E297462320DD}" dt="2023-11-24T08:52:06.478" v="91143"/>
          <ac:spMkLst>
            <pc:docMk/>
            <pc:sldMk cId="2225815222" sldId="2147478566"/>
            <ac:spMk id="596" creationId="{05AE573F-700A-9076-4007-5BF207504D3E}"/>
          </ac:spMkLst>
        </pc:spChg>
        <pc:spChg chg="add del mod">
          <ac:chgData name="Steiner Andreas 6206 ED" userId="e6377c33-a923-4f14-8587-531c474c7b48" providerId="ADAL" clId="{6ECD27E6-B224-41CD-B4E0-E297462320DD}" dt="2023-11-24T08:52:08.415" v="91298"/>
          <ac:spMkLst>
            <pc:docMk/>
            <pc:sldMk cId="2225815222" sldId="2147478566"/>
            <ac:spMk id="597" creationId="{C82C7E42-4862-1D56-F2AE-1DC8C8A2B00B}"/>
          </ac:spMkLst>
        </pc:spChg>
        <pc:spChg chg="add del mod">
          <ac:chgData name="Steiner Andreas 6206 ED" userId="e6377c33-a923-4f14-8587-531c474c7b48" providerId="ADAL" clId="{6ECD27E6-B224-41CD-B4E0-E297462320DD}" dt="2023-11-24T08:52:10.293" v="91453"/>
          <ac:spMkLst>
            <pc:docMk/>
            <pc:sldMk cId="2225815222" sldId="2147478566"/>
            <ac:spMk id="598" creationId="{21668F3F-5920-D10C-9B87-6EF3DD41CFD6}"/>
          </ac:spMkLst>
        </pc:spChg>
        <pc:spChg chg="add del mod">
          <ac:chgData name="Steiner Andreas 6206 ED" userId="e6377c33-a923-4f14-8587-531c474c7b48" providerId="ADAL" clId="{6ECD27E6-B224-41CD-B4E0-E297462320DD}" dt="2023-11-24T08:52:12.137" v="91608"/>
          <ac:spMkLst>
            <pc:docMk/>
            <pc:sldMk cId="2225815222" sldId="2147478566"/>
            <ac:spMk id="599" creationId="{74F83560-57A3-BC28-6B20-4CE80322199B}"/>
          </ac:spMkLst>
        </pc:spChg>
        <pc:spChg chg="add del mod">
          <ac:chgData name="Steiner Andreas 6206 ED" userId="e6377c33-a923-4f14-8587-531c474c7b48" providerId="ADAL" clId="{6ECD27E6-B224-41CD-B4E0-E297462320DD}" dt="2023-11-24T08:52:14.084" v="91763"/>
          <ac:spMkLst>
            <pc:docMk/>
            <pc:sldMk cId="2225815222" sldId="2147478566"/>
            <ac:spMk id="600" creationId="{800FC21F-6C0B-5DB5-8F07-26037E6C808A}"/>
          </ac:spMkLst>
        </pc:spChg>
        <pc:spChg chg="add del mod">
          <ac:chgData name="Steiner Andreas 6206 ED" userId="e6377c33-a923-4f14-8587-531c474c7b48" providerId="ADAL" clId="{6ECD27E6-B224-41CD-B4E0-E297462320DD}" dt="2023-11-24T08:52:16.003" v="91918"/>
          <ac:spMkLst>
            <pc:docMk/>
            <pc:sldMk cId="2225815222" sldId="2147478566"/>
            <ac:spMk id="601" creationId="{55E0BFC8-6832-9C17-E92A-DDA0B0264A07}"/>
          </ac:spMkLst>
        </pc:spChg>
        <pc:spChg chg="add del mod">
          <ac:chgData name="Steiner Andreas 6206 ED" userId="e6377c33-a923-4f14-8587-531c474c7b48" providerId="ADAL" clId="{6ECD27E6-B224-41CD-B4E0-E297462320DD}" dt="2023-11-24T08:52:18.157" v="92073"/>
          <ac:spMkLst>
            <pc:docMk/>
            <pc:sldMk cId="2225815222" sldId="2147478566"/>
            <ac:spMk id="602" creationId="{377A29F7-B26F-7E38-0EF6-A28BA2B77C8D}"/>
          </ac:spMkLst>
        </pc:spChg>
        <pc:spChg chg="add del mod">
          <ac:chgData name="Steiner Andreas 6206 ED" userId="e6377c33-a923-4f14-8587-531c474c7b48" providerId="ADAL" clId="{6ECD27E6-B224-41CD-B4E0-E297462320DD}" dt="2023-11-24T08:52:20.118" v="92228"/>
          <ac:spMkLst>
            <pc:docMk/>
            <pc:sldMk cId="2225815222" sldId="2147478566"/>
            <ac:spMk id="603" creationId="{AD9B88E6-5D5D-E860-803A-6F371E4DD5E5}"/>
          </ac:spMkLst>
        </pc:spChg>
        <pc:spChg chg="add del mod">
          <ac:chgData name="Steiner Andreas 6206 ED" userId="e6377c33-a923-4f14-8587-531c474c7b48" providerId="ADAL" clId="{6ECD27E6-B224-41CD-B4E0-E297462320DD}" dt="2023-11-24T08:52:21.970" v="92383"/>
          <ac:spMkLst>
            <pc:docMk/>
            <pc:sldMk cId="2225815222" sldId="2147478566"/>
            <ac:spMk id="604" creationId="{5DA2E35E-8742-0F31-4CE0-05A19F25CFE6}"/>
          </ac:spMkLst>
        </pc:spChg>
        <pc:spChg chg="add del mod">
          <ac:chgData name="Steiner Andreas 6206 ED" userId="e6377c33-a923-4f14-8587-531c474c7b48" providerId="ADAL" clId="{6ECD27E6-B224-41CD-B4E0-E297462320DD}" dt="2023-11-24T08:52:24.020" v="92538"/>
          <ac:spMkLst>
            <pc:docMk/>
            <pc:sldMk cId="2225815222" sldId="2147478566"/>
            <ac:spMk id="605" creationId="{0395F737-2B26-612E-2F5C-1214A0578713}"/>
          </ac:spMkLst>
        </pc:spChg>
        <pc:spChg chg="add del mod">
          <ac:chgData name="Steiner Andreas 6206 ED" userId="e6377c33-a923-4f14-8587-531c474c7b48" providerId="ADAL" clId="{6ECD27E6-B224-41CD-B4E0-E297462320DD}" dt="2023-11-24T08:52:25.875" v="92693"/>
          <ac:spMkLst>
            <pc:docMk/>
            <pc:sldMk cId="2225815222" sldId="2147478566"/>
            <ac:spMk id="606" creationId="{526C7643-1CAA-3F4D-7E89-FDA3B8866857}"/>
          </ac:spMkLst>
        </pc:spChg>
        <pc:spChg chg="add del mod">
          <ac:chgData name="Steiner Andreas 6206 ED" userId="e6377c33-a923-4f14-8587-531c474c7b48" providerId="ADAL" clId="{6ECD27E6-B224-41CD-B4E0-E297462320DD}" dt="2023-11-24T08:52:27.773" v="92848"/>
          <ac:spMkLst>
            <pc:docMk/>
            <pc:sldMk cId="2225815222" sldId="2147478566"/>
            <ac:spMk id="607" creationId="{BAD14644-A0C8-7A7C-3645-69EEDD8AE431}"/>
          </ac:spMkLst>
        </pc:spChg>
        <pc:spChg chg="add del mod">
          <ac:chgData name="Steiner Andreas 6206 ED" userId="e6377c33-a923-4f14-8587-531c474c7b48" providerId="ADAL" clId="{6ECD27E6-B224-41CD-B4E0-E297462320DD}" dt="2023-11-24T08:52:29.875" v="93003"/>
          <ac:spMkLst>
            <pc:docMk/>
            <pc:sldMk cId="2225815222" sldId="2147478566"/>
            <ac:spMk id="608" creationId="{44E6CBF6-F81E-7E3A-1912-47CEE4B1D762}"/>
          </ac:spMkLst>
        </pc:spChg>
        <pc:spChg chg="add del mod">
          <ac:chgData name="Steiner Andreas 6206 ED" userId="e6377c33-a923-4f14-8587-531c474c7b48" providerId="ADAL" clId="{6ECD27E6-B224-41CD-B4E0-E297462320DD}" dt="2023-11-24T08:52:31.789" v="93158"/>
          <ac:spMkLst>
            <pc:docMk/>
            <pc:sldMk cId="2225815222" sldId="2147478566"/>
            <ac:spMk id="609" creationId="{A301DB6D-8089-C34D-4A83-A51042883EEC}"/>
          </ac:spMkLst>
        </pc:spChg>
        <pc:spChg chg="add del mod">
          <ac:chgData name="Steiner Andreas 6206 ED" userId="e6377c33-a923-4f14-8587-531c474c7b48" providerId="ADAL" clId="{6ECD27E6-B224-41CD-B4E0-E297462320DD}" dt="2023-11-24T08:52:33.695" v="93313"/>
          <ac:spMkLst>
            <pc:docMk/>
            <pc:sldMk cId="2225815222" sldId="2147478566"/>
            <ac:spMk id="610" creationId="{4C317BF0-38A4-B929-2981-AC12A0D7C3EF}"/>
          </ac:spMkLst>
        </pc:spChg>
        <pc:spChg chg="add del mod">
          <ac:chgData name="Steiner Andreas 6206 ED" userId="e6377c33-a923-4f14-8587-531c474c7b48" providerId="ADAL" clId="{6ECD27E6-B224-41CD-B4E0-E297462320DD}" dt="2023-11-24T08:52:35.618" v="93468"/>
          <ac:spMkLst>
            <pc:docMk/>
            <pc:sldMk cId="2225815222" sldId="2147478566"/>
            <ac:spMk id="611" creationId="{B8713D9F-5F79-CE05-3722-309E3141B01C}"/>
          </ac:spMkLst>
        </pc:spChg>
        <pc:spChg chg="add del mod">
          <ac:chgData name="Steiner Andreas 6206 ED" userId="e6377c33-a923-4f14-8587-531c474c7b48" providerId="ADAL" clId="{6ECD27E6-B224-41CD-B4E0-E297462320DD}" dt="2023-11-24T08:52:37.529" v="93623"/>
          <ac:spMkLst>
            <pc:docMk/>
            <pc:sldMk cId="2225815222" sldId="2147478566"/>
            <ac:spMk id="612" creationId="{8FFFDD25-EEBF-19D7-7E3F-F354BCB0E328}"/>
          </ac:spMkLst>
        </pc:spChg>
        <pc:spChg chg="add del mod">
          <ac:chgData name="Steiner Andreas 6206 ED" userId="e6377c33-a923-4f14-8587-531c474c7b48" providerId="ADAL" clId="{6ECD27E6-B224-41CD-B4E0-E297462320DD}" dt="2023-11-24T08:52:39.469" v="93778"/>
          <ac:spMkLst>
            <pc:docMk/>
            <pc:sldMk cId="2225815222" sldId="2147478566"/>
            <ac:spMk id="613" creationId="{E254BC2E-B1C8-ACC1-010B-4C125A4A3158}"/>
          </ac:spMkLst>
        </pc:spChg>
        <pc:spChg chg="add del mod">
          <ac:chgData name="Steiner Andreas 6206 ED" userId="e6377c33-a923-4f14-8587-531c474c7b48" providerId="ADAL" clId="{6ECD27E6-B224-41CD-B4E0-E297462320DD}" dt="2023-11-24T08:52:41.514" v="93933"/>
          <ac:spMkLst>
            <pc:docMk/>
            <pc:sldMk cId="2225815222" sldId="2147478566"/>
            <ac:spMk id="614" creationId="{91E0F3B6-86C8-002D-D58C-C9870291F977}"/>
          </ac:spMkLst>
        </pc:spChg>
        <pc:spChg chg="add del mod">
          <ac:chgData name="Steiner Andreas 6206 ED" userId="e6377c33-a923-4f14-8587-531c474c7b48" providerId="ADAL" clId="{6ECD27E6-B224-41CD-B4E0-E297462320DD}" dt="2023-11-24T08:52:43.440" v="94088"/>
          <ac:spMkLst>
            <pc:docMk/>
            <pc:sldMk cId="2225815222" sldId="2147478566"/>
            <ac:spMk id="615" creationId="{60478DF7-D844-00CF-BA9E-D7A791269486}"/>
          </ac:spMkLst>
        </pc:spChg>
        <pc:spChg chg="add del mod">
          <ac:chgData name="Steiner Andreas 6206 ED" userId="e6377c33-a923-4f14-8587-531c474c7b48" providerId="ADAL" clId="{6ECD27E6-B224-41CD-B4E0-E297462320DD}" dt="2023-11-24T08:52:45.381" v="94243"/>
          <ac:spMkLst>
            <pc:docMk/>
            <pc:sldMk cId="2225815222" sldId="2147478566"/>
            <ac:spMk id="616" creationId="{46B6D66D-972C-603F-ADA4-47BCD939BF93}"/>
          </ac:spMkLst>
        </pc:spChg>
        <pc:spChg chg="add del mod">
          <ac:chgData name="Steiner Andreas 6206 ED" userId="e6377c33-a923-4f14-8587-531c474c7b48" providerId="ADAL" clId="{6ECD27E6-B224-41CD-B4E0-E297462320DD}" dt="2023-11-24T08:52:47.349" v="94398"/>
          <ac:spMkLst>
            <pc:docMk/>
            <pc:sldMk cId="2225815222" sldId="2147478566"/>
            <ac:spMk id="617" creationId="{F7EC44D5-8D3B-1CB6-2DE9-7816F08C52E8}"/>
          </ac:spMkLst>
        </pc:spChg>
        <pc:spChg chg="add del mod">
          <ac:chgData name="Steiner Andreas 6206 ED" userId="e6377c33-a923-4f14-8587-531c474c7b48" providerId="ADAL" clId="{6ECD27E6-B224-41CD-B4E0-E297462320DD}" dt="2023-11-24T08:52:49.442" v="94553"/>
          <ac:spMkLst>
            <pc:docMk/>
            <pc:sldMk cId="2225815222" sldId="2147478566"/>
            <ac:spMk id="618" creationId="{0BF6D502-C3BF-19F4-FBCE-3183176CD17E}"/>
          </ac:spMkLst>
        </pc:spChg>
        <pc:spChg chg="add del mod">
          <ac:chgData name="Steiner Andreas 6206 ED" userId="e6377c33-a923-4f14-8587-531c474c7b48" providerId="ADAL" clId="{6ECD27E6-B224-41CD-B4E0-E297462320DD}" dt="2023-11-24T08:52:51.621" v="94708"/>
          <ac:spMkLst>
            <pc:docMk/>
            <pc:sldMk cId="2225815222" sldId="2147478566"/>
            <ac:spMk id="619" creationId="{51CB0E17-F4CD-A898-3771-3E7B629B7A47}"/>
          </ac:spMkLst>
        </pc:spChg>
        <pc:spChg chg="add del mod">
          <ac:chgData name="Steiner Andreas 6206 ED" userId="e6377c33-a923-4f14-8587-531c474c7b48" providerId="ADAL" clId="{6ECD27E6-B224-41CD-B4E0-E297462320DD}" dt="2023-11-24T08:52:53.563" v="94863"/>
          <ac:spMkLst>
            <pc:docMk/>
            <pc:sldMk cId="2225815222" sldId="2147478566"/>
            <ac:spMk id="620" creationId="{5A710D92-E863-EBAD-0E70-DDDE169600D0}"/>
          </ac:spMkLst>
        </pc:spChg>
        <pc:spChg chg="add del mod">
          <ac:chgData name="Steiner Andreas 6206 ED" userId="e6377c33-a923-4f14-8587-531c474c7b48" providerId="ADAL" clId="{6ECD27E6-B224-41CD-B4E0-E297462320DD}" dt="2023-11-24T08:52:55.506" v="95018"/>
          <ac:spMkLst>
            <pc:docMk/>
            <pc:sldMk cId="2225815222" sldId="2147478566"/>
            <ac:spMk id="621" creationId="{6E102267-A3F7-66FA-605C-A7737C072E3C}"/>
          </ac:spMkLst>
        </pc:spChg>
        <pc:spChg chg="add del mod">
          <ac:chgData name="Steiner Andreas 6206 ED" userId="e6377c33-a923-4f14-8587-531c474c7b48" providerId="ADAL" clId="{6ECD27E6-B224-41CD-B4E0-E297462320DD}" dt="2023-11-24T08:52:57.527" v="95173"/>
          <ac:spMkLst>
            <pc:docMk/>
            <pc:sldMk cId="2225815222" sldId="2147478566"/>
            <ac:spMk id="622" creationId="{6B1B4F17-92D2-23C8-78F0-A7122562102D}"/>
          </ac:spMkLst>
        </pc:spChg>
        <pc:spChg chg="add del mod">
          <ac:chgData name="Steiner Andreas 6206 ED" userId="e6377c33-a923-4f14-8587-531c474c7b48" providerId="ADAL" clId="{6ECD27E6-B224-41CD-B4E0-E297462320DD}" dt="2023-11-24T08:52:59.499" v="95328"/>
          <ac:spMkLst>
            <pc:docMk/>
            <pc:sldMk cId="2225815222" sldId="2147478566"/>
            <ac:spMk id="623" creationId="{3B17A98D-7460-01EA-1FF6-F61C78F49FE1}"/>
          </ac:spMkLst>
        </pc:spChg>
        <pc:spChg chg="add del mod">
          <ac:chgData name="Steiner Andreas 6206 ED" userId="e6377c33-a923-4f14-8587-531c474c7b48" providerId="ADAL" clId="{6ECD27E6-B224-41CD-B4E0-E297462320DD}" dt="2023-11-24T08:53:01.510" v="95483"/>
          <ac:spMkLst>
            <pc:docMk/>
            <pc:sldMk cId="2225815222" sldId="2147478566"/>
            <ac:spMk id="624" creationId="{46C72345-8F35-230B-3DBD-7224ACB0582B}"/>
          </ac:spMkLst>
        </pc:spChg>
        <pc:spChg chg="add del mod">
          <ac:chgData name="Steiner Andreas 6206 ED" userId="e6377c33-a923-4f14-8587-531c474c7b48" providerId="ADAL" clId="{6ECD27E6-B224-41CD-B4E0-E297462320DD}" dt="2023-11-24T08:53:03.619" v="95638"/>
          <ac:spMkLst>
            <pc:docMk/>
            <pc:sldMk cId="2225815222" sldId="2147478566"/>
            <ac:spMk id="625" creationId="{92209979-F121-70BC-8B57-A68A8AB75C1F}"/>
          </ac:spMkLst>
        </pc:spChg>
        <pc:spChg chg="add del mod">
          <ac:chgData name="Steiner Andreas 6206 ED" userId="e6377c33-a923-4f14-8587-531c474c7b48" providerId="ADAL" clId="{6ECD27E6-B224-41CD-B4E0-E297462320DD}" dt="2023-11-24T08:53:05.558" v="95793"/>
          <ac:spMkLst>
            <pc:docMk/>
            <pc:sldMk cId="2225815222" sldId="2147478566"/>
            <ac:spMk id="626" creationId="{49C9C4A5-9058-557E-0A64-5606663310FD}"/>
          </ac:spMkLst>
        </pc:spChg>
        <pc:spChg chg="add del mod">
          <ac:chgData name="Steiner Andreas 6206 ED" userId="e6377c33-a923-4f14-8587-531c474c7b48" providerId="ADAL" clId="{6ECD27E6-B224-41CD-B4E0-E297462320DD}" dt="2023-11-24T08:53:07.444" v="95948"/>
          <ac:spMkLst>
            <pc:docMk/>
            <pc:sldMk cId="2225815222" sldId="2147478566"/>
            <ac:spMk id="627" creationId="{E9FCA010-239E-9AD8-B822-AFBCBE5F4F54}"/>
          </ac:spMkLst>
        </pc:spChg>
        <pc:spChg chg="add del mod">
          <ac:chgData name="Steiner Andreas 6206 ED" userId="e6377c33-a923-4f14-8587-531c474c7b48" providerId="ADAL" clId="{6ECD27E6-B224-41CD-B4E0-E297462320DD}" dt="2023-11-24T08:53:09.383" v="96103"/>
          <ac:spMkLst>
            <pc:docMk/>
            <pc:sldMk cId="2225815222" sldId="2147478566"/>
            <ac:spMk id="628" creationId="{C3B89AAA-7811-BBB5-F617-5BADC81EFEE6}"/>
          </ac:spMkLst>
        </pc:spChg>
        <pc:spChg chg="add del mod">
          <ac:chgData name="Steiner Andreas 6206 ED" userId="e6377c33-a923-4f14-8587-531c474c7b48" providerId="ADAL" clId="{6ECD27E6-B224-41CD-B4E0-E297462320DD}" dt="2023-11-24T08:53:11.339" v="96258"/>
          <ac:spMkLst>
            <pc:docMk/>
            <pc:sldMk cId="2225815222" sldId="2147478566"/>
            <ac:spMk id="629" creationId="{5728B94B-7501-CBF4-9D91-DCFF71D068A9}"/>
          </ac:spMkLst>
        </pc:spChg>
        <pc:spChg chg="add del mod">
          <ac:chgData name="Steiner Andreas 6206 ED" userId="e6377c33-a923-4f14-8587-531c474c7b48" providerId="ADAL" clId="{6ECD27E6-B224-41CD-B4E0-E297462320DD}" dt="2023-11-24T08:53:13.378" v="96413"/>
          <ac:spMkLst>
            <pc:docMk/>
            <pc:sldMk cId="2225815222" sldId="2147478566"/>
            <ac:spMk id="630" creationId="{26B1B864-F2AB-B11B-64EF-273C6835B22E}"/>
          </ac:spMkLst>
        </pc:spChg>
        <pc:spChg chg="add del mod">
          <ac:chgData name="Steiner Andreas 6206 ED" userId="e6377c33-a923-4f14-8587-531c474c7b48" providerId="ADAL" clId="{6ECD27E6-B224-41CD-B4E0-E297462320DD}" dt="2023-11-24T08:53:15.424" v="96568"/>
          <ac:spMkLst>
            <pc:docMk/>
            <pc:sldMk cId="2225815222" sldId="2147478566"/>
            <ac:spMk id="631" creationId="{0ED29805-2FC0-2F85-8A7F-7AD0F13AB948}"/>
          </ac:spMkLst>
        </pc:spChg>
        <pc:spChg chg="add del mod">
          <ac:chgData name="Steiner Andreas 6206 ED" userId="e6377c33-a923-4f14-8587-531c474c7b48" providerId="ADAL" clId="{6ECD27E6-B224-41CD-B4E0-E297462320DD}" dt="2023-11-24T08:53:17.375" v="96723"/>
          <ac:spMkLst>
            <pc:docMk/>
            <pc:sldMk cId="2225815222" sldId="2147478566"/>
            <ac:spMk id="632" creationId="{3A04106F-5EF7-2E31-716F-1154475A14B8}"/>
          </ac:spMkLst>
        </pc:spChg>
        <pc:spChg chg="add del mod">
          <ac:chgData name="Steiner Andreas 6206 ED" userId="e6377c33-a923-4f14-8587-531c474c7b48" providerId="ADAL" clId="{6ECD27E6-B224-41CD-B4E0-E297462320DD}" dt="2023-11-24T08:53:19.368" v="96878"/>
          <ac:spMkLst>
            <pc:docMk/>
            <pc:sldMk cId="2225815222" sldId="2147478566"/>
            <ac:spMk id="633" creationId="{F96EB95B-5E6F-A9BB-1217-3B34F7A28D28}"/>
          </ac:spMkLst>
        </pc:spChg>
        <pc:spChg chg="add del mod">
          <ac:chgData name="Steiner Andreas 6206 ED" userId="e6377c33-a923-4f14-8587-531c474c7b48" providerId="ADAL" clId="{6ECD27E6-B224-41CD-B4E0-E297462320DD}" dt="2023-11-24T08:53:21.307" v="97033"/>
          <ac:spMkLst>
            <pc:docMk/>
            <pc:sldMk cId="2225815222" sldId="2147478566"/>
            <ac:spMk id="634" creationId="{F3B54D6F-9092-E2CA-E090-284AFC0A2561}"/>
          </ac:spMkLst>
        </pc:spChg>
        <pc:spChg chg="add del mod">
          <ac:chgData name="Steiner Andreas 6206 ED" userId="e6377c33-a923-4f14-8587-531c474c7b48" providerId="ADAL" clId="{6ECD27E6-B224-41CD-B4E0-E297462320DD}" dt="2023-11-24T08:53:23.264" v="97188"/>
          <ac:spMkLst>
            <pc:docMk/>
            <pc:sldMk cId="2225815222" sldId="2147478566"/>
            <ac:spMk id="635" creationId="{151EDDD0-A04B-FB2E-6A69-CFC32397113B}"/>
          </ac:spMkLst>
        </pc:spChg>
        <pc:spChg chg="add del mod">
          <ac:chgData name="Steiner Andreas 6206 ED" userId="e6377c33-a923-4f14-8587-531c474c7b48" providerId="ADAL" clId="{6ECD27E6-B224-41CD-B4E0-E297462320DD}" dt="2023-11-24T08:53:25.395" v="97343"/>
          <ac:spMkLst>
            <pc:docMk/>
            <pc:sldMk cId="2225815222" sldId="2147478566"/>
            <ac:spMk id="636" creationId="{B5464C69-A70B-A50B-152A-7161A0D94A6C}"/>
          </ac:spMkLst>
        </pc:spChg>
        <pc:spChg chg="add del mod">
          <ac:chgData name="Steiner Andreas 6206 ED" userId="e6377c33-a923-4f14-8587-531c474c7b48" providerId="ADAL" clId="{6ECD27E6-B224-41CD-B4E0-E297462320DD}" dt="2023-11-24T08:53:27.367" v="97498"/>
          <ac:spMkLst>
            <pc:docMk/>
            <pc:sldMk cId="2225815222" sldId="2147478566"/>
            <ac:spMk id="637" creationId="{A01EF91D-45D9-7C25-E5FB-4B2624FC2DBA}"/>
          </ac:spMkLst>
        </pc:spChg>
        <pc:spChg chg="add del mod">
          <ac:chgData name="Steiner Andreas 6206 ED" userId="e6377c33-a923-4f14-8587-531c474c7b48" providerId="ADAL" clId="{6ECD27E6-B224-41CD-B4E0-E297462320DD}" dt="2023-11-24T08:53:29.261" v="97653"/>
          <ac:spMkLst>
            <pc:docMk/>
            <pc:sldMk cId="2225815222" sldId="2147478566"/>
            <ac:spMk id="638" creationId="{7AC6F638-5CC6-FDAB-FBC0-520DCD075215}"/>
          </ac:spMkLst>
        </pc:spChg>
        <pc:spChg chg="add del mod">
          <ac:chgData name="Steiner Andreas 6206 ED" userId="e6377c33-a923-4f14-8587-531c474c7b48" providerId="ADAL" clId="{6ECD27E6-B224-41CD-B4E0-E297462320DD}" dt="2023-11-24T08:53:31.161" v="97808"/>
          <ac:spMkLst>
            <pc:docMk/>
            <pc:sldMk cId="2225815222" sldId="2147478566"/>
            <ac:spMk id="639" creationId="{8A633C0C-9A28-B040-AB98-D01D126B2856}"/>
          </ac:spMkLst>
        </pc:spChg>
        <pc:spChg chg="add del mod">
          <ac:chgData name="Steiner Andreas 6206 ED" userId="e6377c33-a923-4f14-8587-531c474c7b48" providerId="ADAL" clId="{6ECD27E6-B224-41CD-B4E0-E297462320DD}" dt="2023-11-24T08:53:33.101" v="97963"/>
          <ac:spMkLst>
            <pc:docMk/>
            <pc:sldMk cId="2225815222" sldId="2147478566"/>
            <ac:spMk id="640" creationId="{84C3748D-91C4-D437-7CE2-0F48054D1B7C}"/>
          </ac:spMkLst>
        </pc:spChg>
        <pc:spChg chg="add del mod">
          <ac:chgData name="Steiner Andreas 6206 ED" userId="e6377c33-a923-4f14-8587-531c474c7b48" providerId="ADAL" clId="{6ECD27E6-B224-41CD-B4E0-E297462320DD}" dt="2023-11-24T08:53:35.019" v="98118"/>
          <ac:spMkLst>
            <pc:docMk/>
            <pc:sldMk cId="2225815222" sldId="2147478566"/>
            <ac:spMk id="641" creationId="{1296634D-95C3-294B-F7A6-71FE1C93305E}"/>
          </ac:spMkLst>
        </pc:spChg>
        <pc:spChg chg="add del mod">
          <ac:chgData name="Steiner Andreas 6206 ED" userId="e6377c33-a923-4f14-8587-531c474c7b48" providerId="ADAL" clId="{6ECD27E6-B224-41CD-B4E0-E297462320DD}" dt="2023-11-24T08:53:37.145" v="98273"/>
          <ac:spMkLst>
            <pc:docMk/>
            <pc:sldMk cId="2225815222" sldId="2147478566"/>
            <ac:spMk id="642" creationId="{6CFA17E3-3DD9-190B-C11F-462AD82E53E4}"/>
          </ac:spMkLst>
        </pc:spChg>
        <pc:spChg chg="add del mod">
          <ac:chgData name="Steiner Andreas 6206 ED" userId="e6377c33-a923-4f14-8587-531c474c7b48" providerId="ADAL" clId="{6ECD27E6-B224-41CD-B4E0-E297462320DD}" dt="2023-11-24T08:53:39.031" v="98428"/>
          <ac:spMkLst>
            <pc:docMk/>
            <pc:sldMk cId="2225815222" sldId="2147478566"/>
            <ac:spMk id="643" creationId="{3DF0F756-D2D3-A8D0-44F8-F7F4ADBE00AB}"/>
          </ac:spMkLst>
        </pc:spChg>
        <pc:spChg chg="add del mod">
          <ac:chgData name="Steiner Andreas 6206 ED" userId="e6377c33-a923-4f14-8587-531c474c7b48" providerId="ADAL" clId="{6ECD27E6-B224-41CD-B4E0-E297462320DD}" dt="2023-11-24T08:53:40.979" v="98583"/>
          <ac:spMkLst>
            <pc:docMk/>
            <pc:sldMk cId="2225815222" sldId="2147478566"/>
            <ac:spMk id="644" creationId="{020C56ED-3444-9E86-9084-4BE2F0CDBD25}"/>
          </ac:spMkLst>
        </pc:spChg>
        <pc:spChg chg="add del mod">
          <ac:chgData name="Steiner Andreas 6206 ED" userId="e6377c33-a923-4f14-8587-531c474c7b48" providerId="ADAL" clId="{6ECD27E6-B224-41CD-B4E0-E297462320DD}" dt="2023-11-24T08:53:42.946" v="98738"/>
          <ac:spMkLst>
            <pc:docMk/>
            <pc:sldMk cId="2225815222" sldId="2147478566"/>
            <ac:spMk id="645" creationId="{E96D0D7B-42FB-A028-DB6D-62D706DD5035}"/>
          </ac:spMkLst>
        </pc:spChg>
        <pc:spChg chg="add del mod">
          <ac:chgData name="Steiner Andreas 6206 ED" userId="e6377c33-a923-4f14-8587-531c474c7b48" providerId="ADAL" clId="{6ECD27E6-B224-41CD-B4E0-E297462320DD}" dt="2023-11-24T08:53:44.876" v="98893"/>
          <ac:spMkLst>
            <pc:docMk/>
            <pc:sldMk cId="2225815222" sldId="2147478566"/>
            <ac:spMk id="646" creationId="{8CD1B9B6-16FB-BF9D-A244-52CBA178AA36}"/>
          </ac:spMkLst>
        </pc:spChg>
        <pc:spChg chg="add del mod">
          <ac:chgData name="Steiner Andreas 6206 ED" userId="e6377c33-a923-4f14-8587-531c474c7b48" providerId="ADAL" clId="{6ECD27E6-B224-41CD-B4E0-E297462320DD}" dt="2023-11-24T08:53:46.845" v="99048"/>
          <ac:spMkLst>
            <pc:docMk/>
            <pc:sldMk cId="2225815222" sldId="2147478566"/>
            <ac:spMk id="647" creationId="{0ACCD91E-774A-84CB-4B8A-B92E1E7717DB}"/>
          </ac:spMkLst>
        </pc:spChg>
        <pc:spChg chg="add del mod">
          <ac:chgData name="Steiner Andreas 6206 ED" userId="e6377c33-a923-4f14-8587-531c474c7b48" providerId="ADAL" clId="{6ECD27E6-B224-41CD-B4E0-E297462320DD}" dt="2023-11-24T08:53:48.885" v="99203"/>
          <ac:spMkLst>
            <pc:docMk/>
            <pc:sldMk cId="2225815222" sldId="2147478566"/>
            <ac:spMk id="648" creationId="{75D26E21-43B1-531A-542D-BBA7A70B418C}"/>
          </ac:spMkLst>
        </pc:spChg>
        <pc:spChg chg="add del mod">
          <ac:chgData name="Steiner Andreas 6206 ED" userId="e6377c33-a923-4f14-8587-531c474c7b48" providerId="ADAL" clId="{6ECD27E6-B224-41CD-B4E0-E297462320DD}" dt="2023-11-24T08:53:50.823" v="99358"/>
          <ac:spMkLst>
            <pc:docMk/>
            <pc:sldMk cId="2225815222" sldId="2147478566"/>
            <ac:spMk id="649" creationId="{B49E047A-BA1C-DF6E-13C1-088D5112672A}"/>
          </ac:spMkLst>
        </pc:spChg>
        <pc:spChg chg="add del mod">
          <ac:chgData name="Steiner Andreas 6206 ED" userId="e6377c33-a923-4f14-8587-531c474c7b48" providerId="ADAL" clId="{6ECD27E6-B224-41CD-B4E0-E297462320DD}" dt="2023-11-24T08:53:52.830" v="99513"/>
          <ac:spMkLst>
            <pc:docMk/>
            <pc:sldMk cId="2225815222" sldId="2147478566"/>
            <ac:spMk id="650" creationId="{D733D7EC-B4AC-0C9A-1DF5-0E3BBBA0168D}"/>
          </ac:spMkLst>
        </pc:spChg>
        <pc:spChg chg="add del mod">
          <ac:chgData name="Steiner Andreas 6206 ED" userId="e6377c33-a923-4f14-8587-531c474c7b48" providerId="ADAL" clId="{6ECD27E6-B224-41CD-B4E0-E297462320DD}" dt="2023-11-24T08:53:54.788" v="99668"/>
          <ac:spMkLst>
            <pc:docMk/>
            <pc:sldMk cId="2225815222" sldId="2147478566"/>
            <ac:spMk id="651" creationId="{2B7B9D23-0D56-EA86-7727-31F3166D6B22}"/>
          </ac:spMkLst>
        </pc:spChg>
        <pc:spChg chg="add del mod">
          <ac:chgData name="Steiner Andreas 6206 ED" userId="e6377c33-a923-4f14-8587-531c474c7b48" providerId="ADAL" clId="{6ECD27E6-B224-41CD-B4E0-E297462320DD}" dt="2023-11-24T08:53:56.724" v="99823"/>
          <ac:spMkLst>
            <pc:docMk/>
            <pc:sldMk cId="2225815222" sldId="2147478566"/>
            <ac:spMk id="652" creationId="{F66F7CC3-A0F4-8171-AD04-1011B48B60BC}"/>
          </ac:spMkLst>
        </pc:spChg>
        <pc:spChg chg="add del mod">
          <ac:chgData name="Steiner Andreas 6206 ED" userId="e6377c33-a923-4f14-8587-531c474c7b48" providerId="ADAL" clId="{6ECD27E6-B224-41CD-B4E0-E297462320DD}" dt="2023-11-24T08:53:58.819" v="99978"/>
          <ac:spMkLst>
            <pc:docMk/>
            <pc:sldMk cId="2225815222" sldId="2147478566"/>
            <ac:spMk id="653" creationId="{F4308189-759B-64ED-436D-F7C461D7D5B7}"/>
          </ac:spMkLst>
        </pc:spChg>
        <pc:spChg chg="add del mod">
          <ac:chgData name="Steiner Andreas 6206 ED" userId="e6377c33-a923-4f14-8587-531c474c7b48" providerId="ADAL" clId="{6ECD27E6-B224-41CD-B4E0-E297462320DD}" dt="2023-11-24T08:54:00.886" v="100133"/>
          <ac:spMkLst>
            <pc:docMk/>
            <pc:sldMk cId="2225815222" sldId="2147478566"/>
            <ac:spMk id="654" creationId="{11506592-28D3-0B39-4705-BFB9E11CC1C2}"/>
          </ac:spMkLst>
        </pc:spChg>
        <pc:spChg chg="add del mod">
          <ac:chgData name="Steiner Andreas 6206 ED" userId="e6377c33-a923-4f14-8587-531c474c7b48" providerId="ADAL" clId="{6ECD27E6-B224-41CD-B4E0-E297462320DD}" dt="2023-11-24T08:54:02.890" v="100288"/>
          <ac:spMkLst>
            <pc:docMk/>
            <pc:sldMk cId="2225815222" sldId="2147478566"/>
            <ac:spMk id="655" creationId="{113E21BB-5805-BD6B-B6E8-6C9DB6C8FAF7}"/>
          </ac:spMkLst>
        </pc:spChg>
        <pc:spChg chg="add del mod">
          <ac:chgData name="Steiner Andreas 6206 ED" userId="e6377c33-a923-4f14-8587-531c474c7b48" providerId="ADAL" clId="{6ECD27E6-B224-41CD-B4E0-E297462320DD}" dt="2023-11-24T08:54:04.833" v="100443"/>
          <ac:spMkLst>
            <pc:docMk/>
            <pc:sldMk cId="2225815222" sldId="2147478566"/>
            <ac:spMk id="656" creationId="{74B296E3-1FB1-C81A-C877-2B62DD0030EC}"/>
          </ac:spMkLst>
        </pc:spChg>
        <pc:spChg chg="add del mod">
          <ac:chgData name="Steiner Andreas 6206 ED" userId="e6377c33-a923-4f14-8587-531c474c7b48" providerId="ADAL" clId="{6ECD27E6-B224-41CD-B4E0-E297462320DD}" dt="2023-11-24T08:54:06.799" v="100598"/>
          <ac:spMkLst>
            <pc:docMk/>
            <pc:sldMk cId="2225815222" sldId="2147478566"/>
            <ac:spMk id="657" creationId="{B2ABB98E-6E34-A617-E9A5-F13DC2B40293}"/>
          </ac:spMkLst>
        </pc:spChg>
        <pc:spChg chg="add del mod">
          <ac:chgData name="Steiner Andreas 6206 ED" userId="e6377c33-a923-4f14-8587-531c474c7b48" providerId="ADAL" clId="{6ECD27E6-B224-41CD-B4E0-E297462320DD}" dt="2023-11-24T08:54:08.823" v="100753"/>
          <ac:spMkLst>
            <pc:docMk/>
            <pc:sldMk cId="2225815222" sldId="2147478566"/>
            <ac:spMk id="658" creationId="{F8B94EA1-7FBE-E54C-91C4-3F2F645E3800}"/>
          </ac:spMkLst>
        </pc:spChg>
        <pc:spChg chg="add del mod">
          <ac:chgData name="Steiner Andreas 6206 ED" userId="e6377c33-a923-4f14-8587-531c474c7b48" providerId="ADAL" clId="{6ECD27E6-B224-41CD-B4E0-E297462320DD}" dt="2023-11-24T08:54:10.926" v="100908"/>
          <ac:spMkLst>
            <pc:docMk/>
            <pc:sldMk cId="2225815222" sldId="2147478566"/>
            <ac:spMk id="659" creationId="{31651CD0-6BD3-C49A-90F6-3E709E93C0AA}"/>
          </ac:spMkLst>
        </pc:spChg>
        <pc:spChg chg="add del mod">
          <ac:chgData name="Steiner Andreas 6206 ED" userId="e6377c33-a923-4f14-8587-531c474c7b48" providerId="ADAL" clId="{6ECD27E6-B224-41CD-B4E0-E297462320DD}" dt="2023-11-24T08:54:12.873" v="101063"/>
          <ac:spMkLst>
            <pc:docMk/>
            <pc:sldMk cId="2225815222" sldId="2147478566"/>
            <ac:spMk id="660" creationId="{FEFAF36A-FF02-1F13-C360-755B0631BB56}"/>
          </ac:spMkLst>
        </pc:spChg>
        <pc:spChg chg="add del mod">
          <ac:chgData name="Steiner Andreas 6206 ED" userId="e6377c33-a923-4f14-8587-531c474c7b48" providerId="ADAL" clId="{6ECD27E6-B224-41CD-B4E0-E297462320DD}" dt="2023-11-24T08:54:14.809" v="101218"/>
          <ac:spMkLst>
            <pc:docMk/>
            <pc:sldMk cId="2225815222" sldId="2147478566"/>
            <ac:spMk id="661" creationId="{61C907DA-CEBE-0317-E351-A9F5C3D20FDA}"/>
          </ac:spMkLst>
        </pc:spChg>
        <pc:spChg chg="add del mod">
          <ac:chgData name="Steiner Andreas 6206 ED" userId="e6377c33-a923-4f14-8587-531c474c7b48" providerId="ADAL" clId="{6ECD27E6-B224-41CD-B4E0-E297462320DD}" dt="2023-11-24T08:54:16.707" v="101373"/>
          <ac:spMkLst>
            <pc:docMk/>
            <pc:sldMk cId="2225815222" sldId="2147478566"/>
            <ac:spMk id="662" creationId="{4F0EED9F-0AA4-8C95-7995-5D9864CDFD4B}"/>
          </ac:spMkLst>
        </pc:spChg>
        <pc:spChg chg="add del mod">
          <ac:chgData name="Steiner Andreas 6206 ED" userId="e6377c33-a923-4f14-8587-531c474c7b48" providerId="ADAL" clId="{6ECD27E6-B224-41CD-B4E0-E297462320DD}" dt="2023-11-24T08:54:18.643" v="101528"/>
          <ac:spMkLst>
            <pc:docMk/>
            <pc:sldMk cId="2225815222" sldId="2147478566"/>
            <ac:spMk id="663" creationId="{8C1E02D6-E07A-659B-0187-279475283165}"/>
          </ac:spMkLst>
        </pc:spChg>
        <pc:spChg chg="add del mod">
          <ac:chgData name="Steiner Andreas 6206 ED" userId="e6377c33-a923-4f14-8587-531c474c7b48" providerId="ADAL" clId="{6ECD27E6-B224-41CD-B4E0-E297462320DD}" dt="2023-11-24T08:54:20.619" v="101683"/>
          <ac:spMkLst>
            <pc:docMk/>
            <pc:sldMk cId="2225815222" sldId="2147478566"/>
            <ac:spMk id="664" creationId="{148CFFF5-54C5-C08D-E8F0-209431EB6F0E}"/>
          </ac:spMkLst>
        </pc:spChg>
        <pc:spChg chg="add del mod">
          <ac:chgData name="Steiner Andreas 6206 ED" userId="e6377c33-a923-4f14-8587-531c474c7b48" providerId="ADAL" clId="{6ECD27E6-B224-41CD-B4E0-E297462320DD}" dt="2023-11-24T08:54:22.683" v="101838"/>
          <ac:spMkLst>
            <pc:docMk/>
            <pc:sldMk cId="2225815222" sldId="2147478566"/>
            <ac:spMk id="665" creationId="{D134AEBF-44AE-358A-95FE-5387F8DF10A8}"/>
          </ac:spMkLst>
        </pc:spChg>
        <pc:spChg chg="add del mod">
          <ac:chgData name="Steiner Andreas 6206 ED" userId="e6377c33-a923-4f14-8587-531c474c7b48" providerId="ADAL" clId="{6ECD27E6-B224-41CD-B4E0-E297462320DD}" dt="2023-11-24T08:54:24.663" v="101993"/>
          <ac:spMkLst>
            <pc:docMk/>
            <pc:sldMk cId="2225815222" sldId="2147478566"/>
            <ac:spMk id="666" creationId="{32ED5DEC-1C82-5B8F-19BB-950D4B14F04E}"/>
          </ac:spMkLst>
        </pc:spChg>
        <pc:spChg chg="add del mod">
          <ac:chgData name="Steiner Andreas 6206 ED" userId="e6377c33-a923-4f14-8587-531c474c7b48" providerId="ADAL" clId="{6ECD27E6-B224-41CD-B4E0-E297462320DD}" dt="2023-11-24T08:54:26.602" v="102148"/>
          <ac:spMkLst>
            <pc:docMk/>
            <pc:sldMk cId="2225815222" sldId="2147478566"/>
            <ac:spMk id="667" creationId="{665C7D87-7D21-9979-0C83-28A106169800}"/>
          </ac:spMkLst>
        </pc:spChg>
        <pc:spChg chg="add del mod">
          <ac:chgData name="Steiner Andreas 6206 ED" userId="e6377c33-a923-4f14-8587-531c474c7b48" providerId="ADAL" clId="{6ECD27E6-B224-41CD-B4E0-E297462320DD}" dt="2023-11-24T08:54:28.563" v="102303"/>
          <ac:spMkLst>
            <pc:docMk/>
            <pc:sldMk cId="2225815222" sldId="2147478566"/>
            <ac:spMk id="668" creationId="{FA04CCDA-AE91-6FFE-3E86-5A7CF3A3E234}"/>
          </ac:spMkLst>
        </pc:spChg>
        <pc:spChg chg="add del mod">
          <ac:chgData name="Steiner Andreas 6206 ED" userId="e6377c33-a923-4f14-8587-531c474c7b48" providerId="ADAL" clId="{6ECD27E6-B224-41CD-B4E0-E297462320DD}" dt="2023-11-24T08:54:30.488" v="102458"/>
          <ac:spMkLst>
            <pc:docMk/>
            <pc:sldMk cId="2225815222" sldId="2147478566"/>
            <ac:spMk id="669" creationId="{DBBE201C-9CED-6F8C-2CF5-00082F9D7966}"/>
          </ac:spMkLst>
        </pc:spChg>
        <pc:spChg chg="add del mod">
          <ac:chgData name="Steiner Andreas 6206 ED" userId="e6377c33-a923-4f14-8587-531c474c7b48" providerId="ADAL" clId="{6ECD27E6-B224-41CD-B4E0-E297462320DD}" dt="2023-11-24T08:54:32.672" v="102613"/>
          <ac:spMkLst>
            <pc:docMk/>
            <pc:sldMk cId="2225815222" sldId="2147478566"/>
            <ac:spMk id="670" creationId="{888DECE8-7122-3048-F0BE-D3F30B9CEB60}"/>
          </ac:spMkLst>
        </pc:spChg>
        <pc:spChg chg="add del mod">
          <ac:chgData name="Steiner Andreas 6206 ED" userId="e6377c33-a923-4f14-8587-531c474c7b48" providerId="ADAL" clId="{6ECD27E6-B224-41CD-B4E0-E297462320DD}" dt="2023-11-24T08:54:34.644" v="102768"/>
          <ac:spMkLst>
            <pc:docMk/>
            <pc:sldMk cId="2225815222" sldId="2147478566"/>
            <ac:spMk id="671" creationId="{F20B7C4E-D7C6-7B04-2A26-CC8FC75832F9}"/>
          </ac:spMkLst>
        </pc:spChg>
        <pc:spChg chg="add del mod">
          <ac:chgData name="Steiner Andreas 6206 ED" userId="e6377c33-a923-4f14-8587-531c474c7b48" providerId="ADAL" clId="{6ECD27E6-B224-41CD-B4E0-E297462320DD}" dt="2023-11-24T08:54:36.543" v="102923"/>
          <ac:spMkLst>
            <pc:docMk/>
            <pc:sldMk cId="2225815222" sldId="2147478566"/>
            <ac:spMk id="672" creationId="{9FCE3F17-0974-BA97-6046-7A36E8DE3BCF}"/>
          </ac:spMkLst>
        </pc:spChg>
        <pc:spChg chg="add del mod">
          <ac:chgData name="Steiner Andreas 6206 ED" userId="e6377c33-a923-4f14-8587-531c474c7b48" providerId="ADAL" clId="{6ECD27E6-B224-41CD-B4E0-E297462320DD}" dt="2023-11-24T08:54:38.819" v="103078"/>
          <ac:spMkLst>
            <pc:docMk/>
            <pc:sldMk cId="2225815222" sldId="2147478566"/>
            <ac:spMk id="673" creationId="{C3FB01FA-0A4E-4E88-DFA3-84B492531D9A}"/>
          </ac:spMkLst>
        </pc:spChg>
        <pc:spChg chg="add del mod">
          <ac:chgData name="Steiner Andreas 6206 ED" userId="e6377c33-a923-4f14-8587-531c474c7b48" providerId="ADAL" clId="{6ECD27E6-B224-41CD-B4E0-E297462320DD}" dt="2023-11-24T08:54:40.922" v="103233"/>
          <ac:spMkLst>
            <pc:docMk/>
            <pc:sldMk cId="2225815222" sldId="2147478566"/>
            <ac:spMk id="674" creationId="{01678406-F53B-44E2-10AC-CFF7EDEAEB80}"/>
          </ac:spMkLst>
        </pc:spChg>
        <pc:spChg chg="add del mod">
          <ac:chgData name="Steiner Andreas 6206 ED" userId="e6377c33-a923-4f14-8587-531c474c7b48" providerId="ADAL" clId="{6ECD27E6-B224-41CD-B4E0-E297462320DD}" dt="2023-11-24T08:54:42.871" v="103388"/>
          <ac:spMkLst>
            <pc:docMk/>
            <pc:sldMk cId="2225815222" sldId="2147478566"/>
            <ac:spMk id="675" creationId="{C0FD3A5F-9BF4-C240-39F1-BDDAED7DC6CD}"/>
          </ac:spMkLst>
        </pc:spChg>
        <pc:spChg chg="add del mod">
          <ac:chgData name="Steiner Andreas 6206 ED" userId="e6377c33-a923-4f14-8587-531c474c7b48" providerId="ADAL" clId="{6ECD27E6-B224-41CD-B4E0-E297462320DD}" dt="2023-11-24T08:54:45.126" v="103543"/>
          <ac:spMkLst>
            <pc:docMk/>
            <pc:sldMk cId="2225815222" sldId="2147478566"/>
            <ac:spMk id="676" creationId="{FAECD775-C299-4A8E-D8F1-95F77B16FD36}"/>
          </ac:spMkLst>
        </pc:spChg>
        <pc:spChg chg="add del mod">
          <ac:chgData name="Steiner Andreas 6206 ED" userId="e6377c33-a923-4f14-8587-531c474c7b48" providerId="ADAL" clId="{6ECD27E6-B224-41CD-B4E0-E297462320DD}" dt="2023-11-24T08:54:47.373" v="103698"/>
          <ac:spMkLst>
            <pc:docMk/>
            <pc:sldMk cId="2225815222" sldId="2147478566"/>
            <ac:spMk id="677" creationId="{113815F8-DB33-9E90-A63A-F944FB2DE567}"/>
          </ac:spMkLst>
        </pc:spChg>
        <pc:spChg chg="add del mod">
          <ac:chgData name="Steiner Andreas 6206 ED" userId="e6377c33-a923-4f14-8587-531c474c7b48" providerId="ADAL" clId="{6ECD27E6-B224-41CD-B4E0-E297462320DD}" dt="2023-11-24T08:54:49.466" v="103853"/>
          <ac:spMkLst>
            <pc:docMk/>
            <pc:sldMk cId="2225815222" sldId="2147478566"/>
            <ac:spMk id="678" creationId="{953E877A-9486-882E-8C61-B2D9CDBBE8AE}"/>
          </ac:spMkLst>
        </pc:spChg>
        <pc:spChg chg="add del mod">
          <ac:chgData name="Steiner Andreas 6206 ED" userId="e6377c33-a923-4f14-8587-531c474c7b48" providerId="ADAL" clId="{6ECD27E6-B224-41CD-B4E0-E297462320DD}" dt="2023-11-24T08:54:51.851" v="104008"/>
          <ac:spMkLst>
            <pc:docMk/>
            <pc:sldMk cId="2225815222" sldId="2147478566"/>
            <ac:spMk id="679" creationId="{1C6A187F-0A54-2E5E-10F2-DA870A02CD9C}"/>
          </ac:spMkLst>
        </pc:spChg>
        <pc:spChg chg="add del mod">
          <ac:chgData name="Steiner Andreas 6206 ED" userId="e6377c33-a923-4f14-8587-531c474c7b48" providerId="ADAL" clId="{6ECD27E6-B224-41CD-B4E0-E297462320DD}" dt="2023-11-24T08:54:53.887" v="104163"/>
          <ac:spMkLst>
            <pc:docMk/>
            <pc:sldMk cId="2225815222" sldId="2147478566"/>
            <ac:spMk id="680" creationId="{E367055E-FBA3-C4AC-3A20-A74CE3E58911}"/>
          </ac:spMkLst>
        </pc:spChg>
        <pc:spChg chg="add del mod">
          <ac:chgData name="Steiner Andreas 6206 ED" userId="e6377c33-a923-4f14-8587-531c474c7b48" providerId="ADAL" clId="{6ECD27E6-B224-41CD-B4E0-E297462320DD}" dt="2023-11-24T08:54:56.014" v="104318"/>
          <ac:spMkLst>
            <pc:docMk/>
            <pc:sldMk cId="2225815222" sldId="2147478566"/>
            <ac:spMk id="681" creationId="{FAE0DD75-558B-B80A-057A-0CB34F85143E}"/>
          </ac:spMkLst>
        </pc:spChg>
        <pc:spChg chg="add del mod">
          <ac:chgData name="Steiner Andreas 6206 ED" userId="e6377c33-a923-4f14-8587-531c474c7b48" providerId="ADAL" clId="{6ECD27E6-B224-41CD-B4E0-E297462320DD}" dt="2023-11-24T08:54:58.091" v="104473"/>
          <ac:spMkLst>
            <pc:docMk/>
            <pc:sldMk cId="2225815222" sldId="2147478566"/>
            <ac:spMk id="682" creationId="{9DFB1BEA-788B-F56B-D6F4-9578844750F4}"/>
          </ac:spMkLst>
        </pc:spChg>
        <pc:spChg chg="add del mod">
          <ac:chgData name="Steiner Andreas 6206 ED" userId="e6377c33-a923-4f14-8587-531c474c7b48" providerId="ADAL" clId="{6ECD27E6-B224-41CD-B4E0-E297462320DD}" dt="2023-11-24T08:55:00.092" v="104628"/>
          <ac:spMkLst>
            <pc:docMk/>
            <pc:sldMk cId="2225815222" sldId="2147478566"/>
            <ac:spMk id="683" creationId="{B13BDB9A-489D-C570-9B7B-AFDE791ADB45}"/>
          </ac:spMkLst>
        </pc:spChg>
        <pc:spChg chg="add del mod">
          <ac:chgData name="Steiner Andreas 6206 ED" userId="e6377c33-a923-4f14-8587-531c474c7b48" providerId="ADAL" clId="{6ECD27E6-B224-41CD-B4E0-E297462320DD}" dt="2023-11-24T08:55:02.046" v="104783"/>
          <ac:spMkLst>
            <pc:docMk/>
            <pc:sldMk cId="2225815222" sldId="2147478566"/>
            <ac:spMk id="684" creationId="{479BF99D-03E9-0954-9173-481E869176FB}"/>
          </ac:spMkLst>
        </pc:spChg>
        <pc:spChg chg="add del mod">
          <ac:chgData name="Steiner Andreas 6206 ED" userId="e6377c33-a923-4f14-8587-531c474c7b48" providerId="ADAL" clId="{6ECD27E6-B224-41CD-B4E0-E297462320DD}" dt="2023-11-24T08:55:04.027" v="104938"/>
          <ac:spMkLst>
            <pc:docMk/>
            <pc:sldMk cId="2225815222" sldId="2147478566"/>
            <ac:spMk id="685" creationId="{3246DF80-0724-DB7C-4378-21B6000D21EE}"/>
          </ac:spMkLst>
        </pc:spChg>
        <pc:spChg chg="add del mod">
          <ac:chgData name="Steiner Andreas 6206 ED" userId="e6377c33-a923-4f14-8587-531c474c7b48" providerId="ADAL" clId="{6ECD27E6-B224-41CD-B4E0-E297462320DD}" dt="2023-11-24T08:55:06.163" v="105093"/>
          <ac:spMkLst>
            <pc:docMk/>
            <pc:sldMk cId="2225815222" sldId="2147478566"/>
            <ac:spMk id="686" creationId="{18241AF8-EC1E-D480-8131-0675A62EA1A0}"/>
          </ac:spMkLst>
        </pc:spChg>
        <pc:spChg chg="add del mod">
          <ac:chgData name="Steiner Andreas 6206 ED" userId="e6377c33-a923-4f14-8587-531c474c7b48" providerId="ADAL" clId="{6ECD27E6-B224-41CD-B4E0-E297462320DD}" dt="2023-11-24T08:55:08.226" v="105248"/>
          <ac:spMkLst>
            <pc:docMk/>
            <pc:sldMk cId="2225815222" sldId="2147478566"/>
            <ac:spMk id="687" creationId="{8D7CA184-926B-3FED-F742-2790F4765DA9}"/>
          </ac:spMkLst>
        </pc:spChg>
        <pc:spChg chg="add del mod">
          <ac:chgData name="Steiner Andreas 6206 ED" userId="e6377c33-a923-4f14-8587-531c474c7b48" providerId="ADAL" clId="{6ECD27E6-B224-41CD-B4E0-E297462320DD}" dt="2023-11-24T08:55:10.225" v="105403"/>
          <ac:spMkLst>
            <pc:docMk/>
            <pc:sldMk cId="2225815222" sldId="2147478566"/>
            <ac:spMk id="688" creationId="{9BF81951-85F3-8B2E-B2EA-AD360251A6B4}"/>
          </ac:spMkLst>
        </pc:spChg>
        <pc:spChg chg="add del mod">
          <ac:chgData name="Steiner Andreas 6206 ED" userId="e6377c33-a923-4f14-8587-531c474c7b48" providerId="ADAL" clId="{6ECD27E6-B224-41CD-B4E0-E297462320DD}" dt="2023-11-24T08:55:12.200" v="105558"/>
          <ac:spMkLst>
            <pc:docMk/>
            <pc:sldMk cId="2225815222" sldId="2147478566"/>
            <ac:spMk id="689" creationId="{1ED33643-8CAE-83C6-CC28-F1C3F4857302}"/>
          </ac:spMkLst>
        </pc:spChg>
        <pc:spChg chg="add del mod">
          <ac:chgData name="Steiner Andreas 6206 ED" userId="e6377c33-a923-4f14-8587-531c474c7b48" providerId="ADAL" clId="{6ECD27E6-B224-41CD-B4E0-E297462320DD}" dt="2023-11-24T08:55:14.263" v="105713"/>
          <ac:spMkLst>
            <pc:docMk/>
            <pc:sldMk cId="2225815222" sldId="2147478566"/>
            <ac:spMk id="690" creationId="{1F4A223B-BC69-CFCE-E350-84096E82A2E7}"/>
          </ac:spMkLst>
        </pc:spChg>
        <pc:spChg chg="add del mod">
          <ac:chgData name="Steiner Andreas 6206 ED" userId="e6377c33-a923-4f14-8587-531c474c7b48" providerId="ADAL" clId="{6ECD27E6-B224-41CD-B4E0-E297462320DD}" dt="2023-11-24T08:55:16.327" v="105868"/>
          <ac:spMkLst>
            <pc:docMk/>
            <pc:sldMk cId="2225815222" sldId="2147478566"/>
            <ac:spMk id="691" creationId="{7707D946-CA86-3437-1CAF-471B49D7813C}"/>
          </ac:spMkLst>
        </pc:spChg>
        <pc:spChg chg="add del mod">
          <ac:chgData name="Steiner Andreas 6206 ED" userId="e6377c33-a923-4f14-8587-531c474c7b48" providerId="ADAL" clId="{6ECD27E6-B224-41CD-B4E0-E297462320DD}" dt="2023-11-24T08:55:18.369" v="106023"/>
          <ac:spMkLst>
            <pc:docMk/>
            <pc:sldMk cId="2225815222" sldId="2147478566"/>
            <ac:spMk id="692" creationId="{F0625023-8850-4C42-D472-F4DA85A78F29}"/>
          </ac:spMkLst>
        </pc:spChg>
        <pc:spChg chg="add del mod">
          <ac:chgData name="Steiner Andreas 6206 ED" userId="e6377c33-a923-4f14-8587-531c474c7b48" providerId="ADAL" clId="{6ECD27E6-B224-41CD-B4E0-E297462320DD}" dt="2023-11-24T08:55:20.375" v="106178"/>
          <ac:spMkLst>
            <pc:docMk/>
            <pc:sldMk cId="2225815222" sldId="2147478566"/>
            <ac:spMk id="693" creationId="{B8DFE8A5-375E-0B38-19D9-E82490A4DAFA}"/>
          </ac:spMkLst>
        </pc:spChg>
        <pc:spChg chg="add del mod">
          <ac:chgData name="Steiner Andreas 6206 ED" userId="e6377c33-a923-4f14-8587-531c474c7b48" providerId="ADAL" clId="{6ECD27E6-B224-41CD-B4E0-E297462320DD}" dt="2023-11-24T08:55:22.330" v="106333"/>
          <ac:spMkLst>
            <pc:docMk/>
            <pc:sldMk cId="2225815222" sldId="2147478566"/>
            <ac:spMk id="694" creationId="{0EF3D0C4-6ED0-2441-E319-65E5B963CE78}"/>
          </ac:spMkLst>
        </pc:spChg>
        <pc:spChg chg="add del mod">
          <ac:chgData name="Steiner Andreas 6206 ED" userId="e6377c33-a923-4f14-8587-531c474c7b48" providerId="ADAL" clId="{6ECD27E6-B224-41CD-B4E0-E297462320DD}" dt="2023-11-24T08:55:24.333" v="106488"/>
          <ac:spMkLst>
            <pc:docMk/>
            <pc:sldMk cId="2225815222" sldId="2147478566"/>
            <ac:spMk id="695" creationId="{D367AA13-9DCF-E833-FDB6-3634B0044AC8}"/>
          </ac:spMkLst>
        </pc:spChg>
        <pc:spChg chg="add del mod">
          <ac:chgData name="Steiner Andreas 6206 ED" userId="e6377c33-a923-4f14-8587-531c474c7b48" providerId="ADAL" clId="{6ECD27E6-B224-41CD-B4E0-E297462320DD}" dt="2023-11-24T08:55:26.310" v="106643"/>
          <ac:spMkLst>
            <pc:docMk/>
            <pc:sldMk cId="2225815222" sldId="2147478566"/>
            <ac:spMk id="696" creationId="{EC5C4457-A193-0C78-DD58-D10F9CB4942C}"/>
          </ac:spMkLst>
        </pc:spChg>
        <pc:spChg chg="add del mod">
          <ac:chgData name="Steiner Andreas 6206 ED" userId="e6377c33-a923-4f14-8587-531c474c7b48" providerId="ADAL" clId="{6ECD27E6-B224-41CD-B4E0-E297462320DD}" dt="2023-11-24T08:55:28.455" v="106798"/>
          <ac:spMkLst>
            <pc:docMk/>
            <pc:sldMk cId="2225815222" sldId="2147478566"/>
            <ac:spMk id="697" creationId="{D7D44239-E4EC-03CA-E38C-CF9A6B8FFA66}"/>
          </ac:spMkLst>
        </pc:spChg>
        <pc:spChg chg="add del mod">
          <ac:chgData name="Steiner Andreas 6206 ED" userId="e6377c33-a923-4f14-8587-531c474c7b48" providerId="ADAL" clId="{6ECD27E6-B224-41CD-B4E0-E297462320DD}" dt="2023-11-24T08:55:30.473" v="106953"/>
          <ac:spMkLst>
            <pc:docMk/>
            <pc:sldMk cId="2225815222" sldId="2147478566"/>
            <ac:spMk id="698" creationId="{6177899B-2BD7-EC2F-6B9B-B3CB70A27CE6}"/>
          </ac:spMkLst>
        </pc:spChg>
        <pc:spChg chg="add del mod">
          <ac:chgData name="Steiner Andreas 6206 ED" userId="e6377c33-a923-4f14-8587-531c474c7b48" providerId="ADAL" clId="{6ECD27E6-B224-41CD-B4E0-E297462320DD}" dt="2023-11-24T08:55:32.625" v="107108"/>
          <ac:spMkLst>
            <pc:docMk/>
            <pc:sldMk cId="2225815222" sldId="2147478566"/>
            <ac:spMk id="699" creationId="{BFBB787A-2164-CE6B-CB05-A0770568B7C0}"/>
          </ac:spMkLst>
        </pc:spChg>
        <pc:spChg chg="add del mod">
          <ac:chgData name="Steiner Andreas 6206 ED" userId="e6377c33-a923-4f14-8587-531c474c7b48" providerId="ADAL" clId="{6ECD27E6-B224-41CD-B4E0-E297462320DD}" dt="2023-11-24T08:55:34.536" v="107263"/>
          <ac:spMkLst>
            <pc:docMk/>
            <pc:sldMk cId="2225815222" sldId="2147478566"/>
            <ac:spMk id="700" creationId="{E4F961E0-127D-31D9-F6B9-522DDBD6000B}"/>
          </ac:spMkLst>
        </pc:spChg>
        <pc:spChg chg="add del mod">
          <ac:chgData name="Steiner Andreas 6206 ED" userId="e6377c33-a923-4f14-8587-531c474c7b48" providerId="ADAL" clId="{6ECD27E6-B224-41CD-B4E0-E297462320DD}" dt="2023-11-24T08:55:36.461" v="107418"/>
          <ac:spMkLst>
            <pc:docMk/>
            <pc:sldMk cId="2225815222" sldId="2147478566"/>
            <ac:spMk id="701" creationId="{57DE3D0B-99B3-4C8F-F668-A06C900340C1}"/>
          </ac:spMkLst>
        </pc:spChg>
        <pc:spChg chg="add del mod">
          <ac:chgData name="Steiner Andreas 6206 ED" userId="e6377c33-a923-4f14-8587-531c474c7b48" providerId="ADAL" clId="{6ECD27E6-B224-41CD-B4E0-E297462320DD}" dt="2023-11-24T08:55:38.503" v="107573"/>
          <ac:spMkLst>
            <pc:docMk/>
            <pc:sldMk cId="2225815222" sldId="2147478566"/>
            <ac:spMk id="702" creationId="{1B5A2878-BEC1-DB77-3B87-3B5BC045A827}"/>
          </ac:spMkLst>
        </pc:spChg>
        <pc:spChg chg="add del mod">
          <ac:chgData name="Steiner Andreas 6206 ED" userId="e6377c33-a923-4f14-8587-531c474c7b48" providerId="ADAL" clId="{6ECD27E6-B224-41CD-B4E0-E297462320DD}" dt="2023-11-24T08:55:40.543" v="107728"/>
          <ac:spMkLst>
            <pc:docMk/>
            <pc:sldMk cId="2225815222" sldId="2147478566"/>
            <ac:spMk id="703" creationId="{DC4AC0C2-ED63-BED7-5D77-D8003E2BDD3B}"/>
          </ac:spMkLst>
        </pc:spChg>
        <pc:spChg chg="add del mod">
          <ac:chgData name="Steiner Andreas 6206 ED" userId="e6377c33-a923-4f14-8587-531c474c7b48" providerId="ADAL" clId="{6ECD27E6-B224-41CD-B4E0-E297462320DD}" dt="2023-11-24T08:55:42.410" v="107883"/>
          <ac:spMkLst>
            <pc:docMk/>
            <pc:sldMk cId="2225815222" sldId="2147478566"/>
            <ac:spMk id="704" creationId="{7A70DA5B-A302-42C1-76F9-355F68DE4336}"/>
          </ac:spMkLst>
        </pc:spChg>
        <pc:spChg chg="add del mod">
          <ac:chgData name="Steiner Andreas 6206 ED" userId="e6377c33-a923-4f14-8587-531c474c7b48" providerId="ADAL" clId="{6ECD27E6-B224-41CD-B4E0-E297462320DD}" dt="2023-11-24T08:55:44.384" v="108038"/>
          <ac:spMkLst>
            <pc:docMk/>
            <pc:sldMk cId="2225815222" sldId="2147478566"/>
            <ac:spMk id="705" creationId="{F5116EF6-F20F-2E76-D420-7231F0935909}"/>
          </ac:spMkLst>
        </pc:spChg>
        <pc:spChg chg="add del mod">
          <ac:chgData name="Steiner Andreas 6206 ED" userId="e6377c33-a923-4f14-8587-531c474c7b48" providerId="ADAL" clId="{6ECD27E6-B224-41CD-B4E0-E297462320DD}" dt="2023-11-24T08:55:46.782" v="108193"/>
          <ac:spMkLst>
            <pc:docMk/>
            <pc:sldMk cId="2225815222" sldId="2147478566"/>
            <ac:spMk id="706" creationId="{3027C5FD-C650-18E7-A460-4F5B0CAB744D}"/>
          </ac:spMkLst>
        </pc:spChg>
        <pc:spChg chg="add del mod">
          <ac:chgData name="Steiner Andreas 6206 ED" userId="e6377c33-a923-4f14-8587-531c474c7b48" providerId="ADAL" clId="{6ECD27E6-B224-41CD-B4E0-E297462320DD}" dt="2023-11-24T08:55:48.949" v="108348"/>
          <ac:spMkLst>
            <pc:docMk/>
            <pc:sldMk cId="2225815222" sldId="2147478566"/>
            <ac:spMk id="707" creationId="{13621FEC-B0F4-32BB-B5DD-9C63F9BA9165}"/>
          </ac:spMkLst>
        </pc:spChg>
        <pc:spChg chg="add del mod">
          <ac:chgData name="Steiner Andreas 6206 ED" userId="e6377c33-a923-4f14-8587-531c474c7b48" providerId="ADAL" clId="{6ECD27E6-B224-41CD-B4E0-E297462320DD}" dt="2023-11-24T08:55:51.358" v="108503"/>
          <ac:spMkLst>
            <pc:docMk/>
            <pc:sldMk cId="2225815222" sldId="2147478566"/>
            <ac:spMk id="708" creationId="{6A2FB51A-7EEE-F03D-7E81-2B3A6A0E9F54}"/>
          </ac:spMkLst>
        </pc:spChg>
        <pc:spChg chg="add del mod">
          <ac:chgData name="Steiner Andreas 6206 ED" userId="e6377c33-a923-4f14-8587-531c474c7b48" providerId="ADAL" clId="{6ECD27E6-B224-41CD-B4E0-E297462320DD}" dt="2023-11-24T08:55:53.450" v="108658"/>
          <ac:spMkLst>
            <pc:docMk/>
            <pc:sldMk cId="2225815222" sldId="2147478566"/>
            <ac:spMk id="709" creationId="{5B9ADC64-8CB8-340C-77E5-F620B887D11D}"/>
          </ac:spMkLst>
        </pc:spChg>
        <pc:spChg chg="add del mod">
          <ac:chgData name="Steiner Andreas 6206 ED" userId="e6377c33-a923-4f14-8587-531c474c7b48" providerId="ADAL" clId="{6ECD27E6-B224-41CD-B4E0-E297462320DD}" dt="2023-11-24T08:55:55.512" v="108813"/>
          <ac:spMkLst>
            <pc:docMk/>
            <pc:sldMk cId="2225815222" sldId="2147478566"/>
            <ac:spMk id="710" creationId="{696539FA-72FA-BF15-FF41-BEC95B2C2533}"/>
          </ac:spMkLst>
        </pc:spChg>
        <pc:spChg chg="add del mod">
          <ac:chgData name="Steiner Andreas 6206 ED" userId="e6377c33-a923-4f14-8587-531c474c7b48" providerId="ADAL" clId="{6ECD27E6-B224-41CD-B4E0-E297462320DD}" dt="2023-11-24T08:55:57.537" v="108968"/>
          <ac:spMkLst>
            <pc:docMk/>
            <pc:sldMk cId="2225815222" sldId="2147478566"/>
            <ac:spMk id="711" creationId="{84EF65A6-9618-A972-1BE1-4576282CEF69}"/>
          </ac:spMkLst>
        </pc:spChg>
        <pc:spChg chg="add del mod">
          <ac:chgData name="Steiner Andreas 6206 ED" userId="e6377c33-a923-4f14-8587-531c474c7b48" providerId="ADAL" clId="{6ECD27E6-B224-41CD-B4E0-E297462320DD}" dt="2023-11-24T08:55:59.630" v="109123"/>
          <ac:spMkLst>
            <pc:docMk/>
            <pc:sldMk cId="2225815222" sldId="2147478566"/>
            <ac:spMk id="712" creationId="{D0EF3405-C6DF-BAD2-1BB3-549E17393788}"/>
          </ac:spMkLst>
        </pc:spChg>
        <pc:spChg chg="add del mod">
          <ac:chgData name="Steiner Andreas 6206 ED" userId="e6377c33-a923-4f14-8587-531c474c7b48" providerId="ADAL" clId="{6ECD27E6-B224-41CD-B4E0-E297462320DD}" dt="2023-11-24T08:56:02.039" v="109278"/>
          <ac:spMkLst>
            <pc:docMk/>
            <pc:sldMk cId="2225815222" sldId="2147478566"/>
            <ac:spMk id="713" creationId="{02F3D20F-7BDC-F281-A111-C78C52A319C7}"/>
          </ac:spMkLst>
        </pc:spChg>
        <pc:spChg chg="add del mod">
          <ac:chgData name="Steiner Andreas 6206 ED" userId="e6377c33-a923-4f14-8587-531c474c7b48" providerId="ADAL" clId="{6ECD27E6-B224-41CD-B4E0-E297462320DD}" dt="2023-11-24T08:56:04.274" v="109433"/>
          <ac:spMkLst>
            <pc:docMk/>
            <pc:sldMk cId="2225815222" sldId="2147478566"/>
            <ac:spMk id="714" creationId="{1BF812F8-6367-0B12-924D-578C582ACC2D}"/>
          </ac:spMkLst>
        </pc:spChg>
        <pc:spChg chg="add del mod">
          <ac:chgData name="Steiner Andreas 6206 ED" userId="e6377c33-a923-4f14-8587-531c474c7b48" providerId="ADAL" clId="{6ECD27E6-B224-41CD-B4E0-E297462320DD}" dt="2023-11-24T08:56:06.567" v="109588"/>
          <ac:spMkLst>
            <pc:docMk/>
            <pc:sldMk cId="2225815222" sldId="2147478566"/>
            <ac:spMk id="715" creationId="{691769DC-6AE8-917D-34D3-1ED4DF39803B}"/>
          </ac:spMkLst>
        </pc:spChg>
        <pc:spChg chg="add del mod">
          <ac:chgData name="Steiner Andreas 6206 ED" userId="e6377c33-a923-4f14-8587-531c474c7b48" providerId="ADAL" clId="{6ECD27E6-B224-41CD-B4E0-E297462320DD}" dt="2023-11-24T08:56:08.835" v="109743"/>
          <ac:spMkLst>
            <pc:docMk/>
            <pc:sldMk cId="2225815222" sldId="2147478566"/>
            <ac:spMk id="716" creationId="{4E55B290-3E52-E328-B682-3AB06827F98E}"/>
          </ac:spMkLst>
        </pc:spChg>
        <pc:spChg chg="add del mod">
          <ac:chgData name="Steiner Andreas 6206 ED" userId="e6377c33-a923-4f14-8587-531c474c7b48" providerId="ADAL" clId="{6ECD27E6-B224-41CD-B4E0-E297462320DD}" dt="2023-11-24T08:56:10.884" v="109898"/>
          <ac:spMkLst>
            <pc:docMk/>
            <pc:sldMk cId="2225815222" sldId="2147478566"/>
            <ac:spMk id="717" creationId="{2303EEF5-645C-9C82-2C3E-CF10EC431935}"/>
          </ac:spMkLst>
        </pc:spChg>
        <pc:spChg chg="add del mod">
          <ac:chgData name="Steiner Andreas 6206 ED" userId="e6377c33-a923-4f14-8587-531c474c7b48" providerId="ADAL" clId="{6ECD27E6-B224-41CD-B4E0-E297462320DD}" dt="2023-11-24T08:56:13.007" v="110053"/>
          <ac:spMkLst>
            <pc:docMk/>
            <pc:sldMk cId="2225815222" sldId="2147478566"/>
            <ac:spMk id="718" creationId="{3B7D83AD-A17A-60FA-EC98-2A935898A302}"/>
          </ac:spMkLst>
        </pc:spChg>
        <pc:spChg chg="add del mod">
          <ac:chgData name="Steiner Andreas 6206 ED" userId="e6377c33-a923-4f14-8587-531c474c7b48" providerId="ADAL" clId="{6ECD27E6-B224-41CD-B4E0-E297462320DD}" dt="2023-11-24T08:56:15.136" v="110208"/>
          <ac:spMkLst>
            <pc:docMk/>
            <pc:sldMk cId="2225815222" sldId="2147478566"/>
            <ac:spMk id="719" creationId="{2E50D6A1-0EC8-7A38-4A7A-F845FCD060A3}"/>
          </ac:spMkLst>
        </pc:spChg>
        <pc:spChg chg="add del mod">
          <ac:chgData name="Steiner Andreas 6206 ED" userId="e6377c33-a923-4f14-8587-531c474c7b48" providerId="ADAL" clId="{6ECD27E6-B224-41CD-B4E0-E297462320DD}" dt="2023-11-24T08:56:17.094" v="110363"/>
          <ac:spMkLst>
            <pc:docMk/>
            <pc:sldMk cId="2225815222" sldId="2147478566"/>
            <ac:spMk id="720" creationId="{1D67BBD2-B827-1B83-9A33-DEDE5948E7C7}"/>
          </ac:spMkLst>
        </pc:spChg>
        <pc:spChg chg="add del mod">
          <ac:chgData name="Steiner Andreas 6206 ED" userId="e6377c33-a923-4f14-8587-531c474c7b48" providerId="ADAL" clId="{6ECD27E6-B224-41CD-B4E0-E297462320DD}" dt="2023-11-24T08:56:19.079" v="110518"/>
          <ac:spMkLst>
            <pc:docMk/>
            <pc:sldMk cId="2225815222" sldId="2147478566"/>
            <ac:spMk id="721" creationId="{569C17FF-9308-B3E6-A47F-0BE712C46AF7}"/>
          </ac:spMkLst>
        </pc:spChg>
        <pc:spChg chg="add del mod">
          <ac:chgData name="Steiner Andreas 6206 ED" userId="e6377c33-a923-4f14-8587-531c474c7b48" providerId="ADAL" clId="{6ECD27E6-B224-41CD-B4E0-E297462320DD}" dt="2023-11-24T08:56:21.016" v="110673"/>
          <ac:spMkLst>
            <pc:docMk/>
            <pc:sldMk cId="2225815222" sldId="2147478566"/>
            <ac:spMk id="722" creationId="{4E8320DB-C95E-A599-29CC-15AF503DE5E8}"/>
          </ac:spMkLst>
        </pc:spChg>
        <pc:spChg chg="add del mod">
          <ac:chgData name="Steiner Andreas 6206 ED" userId="e6377c33-a923-4f14-8587-531c474c7b48" providerId="ADAL" clId="{6ECD27E6-B224-41CD-B4E0-E297462320DD}" dt="2023-11-24T08:56:23.171" v="110828"/>
          <ac:spMkLst>
            <pc:docMk/>
            <pc:sldMk cId="2225815222" sldId="2147478566"/>
            <ac:spMk id="723" creationId="{9177B6C7-0E05-AAC3-0159-775D86A628DE}"/>
          </ac:spMkLst>
        </pc:spChg>
        <pc:spChg chg="add del mod">
          <ac:chgData name="Steiner Andreas 6206 ED" userId="e6377c33-a923-4f14-8587-531c474c7b48" providerId="ADAL" clId="{6ECD27E6-B224-41CD-B4E0-E297462320DD}" dt="2023-11-24T08:56:25.363" v="110983"/>
          <ac:spMkLst>
            <pc:docMk/>
            <pc:sldMk cId="2225815222" sldId="2147478566"/>
            <ac:spMk id="724" creationId="{E7E1DB76-E594-2A83-B7AE-FF68510ED52D}"/>
          </ac:spMkLst>
        </pc:spChg>
        <pc:spChg chg="add del mod">
          <ac:chgData name="Steiner Andreas 6206 ED" userId="e6377c33-a923-4f14-8587-531c474c7b48" providerId="ADAL" clId="{6ECD27E6-B224-41CD-B4E0-E297462320DD}" dt="2023-11-24T08:56:27.405" v="111138"/>
          <ac:spMkLst>
            <pc:docMk/>
            <pc:sldMk cId="2225815222" sldId="2147478566"/>
            <ac:spMk id="725" creationId="{44446A9E-5E3D-D1EC-94BE-1624828335CB}"/>
          </ac:spMkLst>
        </pc:spChg>
        <pc:spChg chg="add del mod">
          <ac:chgData name="Steiner Andreas 6206 ED" userId="e6377c33-a923-4f14-8587-531c474c7b48" providerId="ADAL" clId="{6ECD27E6-B224-41CD-B4E0-E297462320DD}" dt="2023-11-24T08:56:29.464" v="111293"/>
          <ac:spMkLst>
            <pc:docMk/>
            <pc:sldMk cId="2225815222" sldId="2147478566"/>
            <ac:spMk id="726" creationId="{D8BF15FF-976E-7D18-2B14-17044DD1268B}"/>
          </ac:spMkLst>
        </pc:spChg>
        <pc:spChg chg="add del mod">
          <ac:chgData name="Steiner Andreas 6206 ED" userId="e6377c33-a923-4f14-8587-531c474c7b48" providerId="ADAL" clId="{6ECD27E6-B224-41CD-B4E0-E297462320DD}" dt="2023-11-24T08:56:31.535" v="111448"/>
          <ac:spMkLst>
            <pc:docMk/>
            <pc:sldMk cId="2225815222" sldId="2147478566"/>
            <ac:spMk id="727" creationId="{19FBB070-7C79-1C3C-C2D6-B3A405C43D30}"/>
          </ac:spMkLst>
        </pc:spChg>
        <pc:spChg chg="add del mod">
          <ac:chgData name="Steiner Andreas 6206 ED" userId="e6377c33-a923-4f14-8587-531c474c7b48" providerId="ADAL" clId="{6ECD27E6-B224-41CD-B4E0-E297462320DD}" dt="2023-11-24T08:56:33.774" v="111603"/>
          <ac:spMkLst>
            <pc:docMk/>
            <pc:sldMk cId="2225815222" sldId="2147478566"/>
            <ac:spMk id="728" creationId="{7559E551-C68E-85C3-A089-204FC2F22C90}"/>
          </ac:spMkLst>
        </pc:spChg>
        <pc:spChg chg="add del mod">
          <ac:chgData name="Steiner Andreas 6206 ED" userId="e6377c33-a923-4f14-8587-531c474c7b48" providerId="ADAL" clId="{6ECD27E6-B224-41CD-B4E0-E297462320DD}" dt="2023-11-24T08:56:35.965" v="111758"/>
          <ac:spMkLst>
            <pc:docMk/>
            <pc:sldMk cId="2225815222" sldId="2147478566"/>
            <ac:spMk id="729" creationId="{30924566-BC40-A7C0-FB54-5EAE75D7B2D0}"/>
          </ac:spMkLst>
        </pc:spChg>
        <pc:spChg chg="add del mod">
          <ac:chgData name="Steiner Andreas 6206 ED" userId="e6377c33-a923-4f14-8587-531c474c7b48" providerId="ADAL" clId="{6ECD27E6-B224-41CD-B4E0-E297462320DD}" dt="2023-11-24T08:56:38.016" v="111913"/>
          <ac:spMkLst>
            <pc:docMk/>
            <pc:sldMk cId="2225815222" sldId="2147478566"/>
            <ac:spMk id="730" creationId="{44EA4F48-D71B-B939-111C-96D69AFDF0BC}"/>
          </ac:spMkLst>
        </pc:spChg>
        <pc:spChg chg="add del mod">
          <ac:chgData name="Steiner Andreas 6206 ED" userId="e6377c33-a923-4f14-8587-531c474c7b48" providerId="ADAL" clId="{6ECD27E6-B224-41CD-B4E0-E297462320DD}" dt="2023-11-24T08:56:40.151" v="112068"/>
          <ac:spMkLst>
            <pc:docMk/>
            <pc:sldMk cId="2225815222" sldId="2147478566"/>
            <ac:spMk id="731" creationId="{C732F8A2-3034-70CE-D3B8-DB70A8BB77CC}"/>
          </ac:spMkLst>
        </pc:spChg>
        <pc:spChg chg="add del mod">
          <ac:chgData name="Steiner Andreas 6206 ED" userId="e6377c33-a923-4f14-8587-531c474c7b48" providerId="ADAL" clId="{6ECD27E6-B224-41CD-B4E0-E297462320DD}" dt="2023-11-24T08:56:42.105" v="112223"/>
          <ac:spMkLst>
            <pc:docMk/>
            <pc:sldMk cId="2225815222" sldId="2147478566"/>
            <ac:spMk id="732" creationId="{60ACC62A-4427-25DF-82B8-4C3F1F47D420}"/>
          </ac:spMkLst>
        </pc:spChg>
        <pc:spChg chg="add del mod">
          <ac:chgData name="Steiner Andreas 6206 ED" userId="e6377c33-a923-4f14-8587-531c474c7b48" providerId="ADAL" clId="{6ECD27E6-B224-41CD-B4E0-E297462320DD}" dt="2023-11-24T08:56:44.108" v="112378"/>
          <ac:spMkLst>
            <pc:docMk/>
            <pc:sldMk cId="2225815222" sldId="2147478566"/>
            <ac:spMk id="733" creationId="{2C272B1D-18A9-7671-8513-D85D4AEF76D8}"/>
          </ac:spMkLst>
        </pc:spChg>
        <pc:spChg chg="add del mod">
          <ac:chgData name="Steiner Andreas 6206 ED" userId="e6377c33-a923-4f14-8587-531c474c7b48" providerId="ADAL" clId="{6ECD27E6-B224-41CD-B4E0-E297462320DD}" dt="2023-11-24T08:56:46.133" v="112533"/>
          <ac:spMkLst>
            <pc:docMk/>
            <pc:sldMk cId="2225815222" sldId="2147478566"/>
            <ac:spMk id="734" creationId="{685A5E4D-6714-6EF0-EE03-DB5DA29F4028}"/>
          </ac:spMkLst>
        </pc:spChg>
        <pc:spChg chg="add del mod">
          <ac:chgData name="Steiner Andreas 6206 ED" userId="e6377c33-a923-4f14-8587-531c474c7b48" providerId="ADAL" clId="{6ECD27E6-B224-41CD-B4E0-E297462320DD}" dt="2023-11-24T08:56:48.354" v="112688"/>
          <ac:spMkLst>
            <pc:docMk/>
            <pc:sldMk cId="2225815222" sldId="2147478566"/>
            <ac:spMk id="735" creationId="{A74F574D-E9C5-3597-8DF8-19A479E81DDF}"/>
          </ac:spMkLst>
        </pc:spChg>
        <pc:spChg chg="add del mod">
          <ac:chgData name="Steiner Andreas 6206 ED" userId="e6377c33-a923-4f14-8587-531c474c7b48" providerId="ADAL" clId="{6ECD27E6-B224-41CD-B4E0-E297462320DD}" dt="2023-11-24T08:56:50.403" v="112843"/>
          <ac:spMkLst>
            <pc:docMk/>
            <pc:sldMk cId="2225815222" sldId="2147478566"/>
            <ac:spMk id="736" creationId="{BC014041-C17E-7923-00CC-A7610C85A851}"/>
          </ac:spMkLst>
        </pc:spChg>
        <pc:spChg chg="add del mod">
          <ac:chgData name="Steiner Andreas 6206 ED" userId="e6377c33-a923-4f14-8587-531c474c7b48" providerId="ADAL" clId="{6ECD27E6-B224-41CD-B4E0-E297462320DD}" dt="2023-11-24T08:56:52.332" v="112998"/>
          <ac:spMkLst>
            <pc:docMk/>
            <pc:sldMk cId="2225815222" sldId="2147478566"/>
            <ac:spMk id="737" creationId="{85383512-64E8-E18F-A163-D349A71C5D5F}"/>
          </ac:spMkLst>
        </pc:spChg>
        <pc:spChg chg="add del mod">
          <ac:chgData name="Steiner Andreas 6206 ED" userId="e6377c33-a923-4f14-8587-531c474c7b48" providerId="ADAL" clId="{6ECD27E6-B224-41CD-B4E0-E297462320DD}" dt="2023-11-24T08:56:54.466" v="113153"/>
          <ac:spMkLst>
            <pc:docMk/>
            <pc:sldMk cId="2225815222" sldId="2147478566"/>
            <ac:spMk id="738" creationId="{A6F1CB6F-68A9-1849-6CD0-7AC78429B6AF}"/>
          </ac:spMkLst>
        </pc:spChg>
        <pc:spChg chg="add del mod">
          <ac:chgData name="Steiner Andreas 6206 ED" userId="e6377c33-a923-4f14-8587-531c474c7b48" providerId="ADAL" clId="{6ECD27E6-B224-41CD-B4E0-E297462320DD}" dt="2023-11-24T08:56:56.410" v="113308"/>
          <ac:spMkLst>
            <pc:docMk/>
            <pc:sldMk cId="2225815222" sldId="2147478566"/>
            <ac:spMk id="739" creationId="{6456D7F6-C376-50D7-A5F8-9EEA9ECCCCA3}"/>
          </ac:spMkLst>
        </pc:spChg>
        <pc:spChg chg="add del mod">
          <ac:chgData name="Steiner Andreas 6206 ED" userId="e6377c33-a923-4f14-8587-531c474c7b48" providerId="ADAL" clId="{6ECD27E6-B224-41CD-B4E0-E297462320DD}" dt="2023-11-24T08:56:58.567" v="113463"/>
          <ac:spMkLst>
            <pc:docMk/>
            <pc:sldMk cId="2225815222" sldId="2147478566"/>
            <ac:spMk id="740" creationId="{A31C30F8-1976-DE86-B46A-562C350D0261}"/>
          </ac:spMkLst>
        </pc:spChg>
        <pc:spChg chg="add del mod">
          <ac:chgData name="Steiner Andreas 6206 ED" userId="e6377c33-a923-4f14-8587-531c474c7b48" providerId="ADAL" clId="{6ECD27E6-B224-41CD-B4E0-E297462320DD}" dt="2023-11-24T08:57:00.851" v="113618"/>
          <ac:spMkLst>
            <pc:docMk/>
            <pc:sldMk cId="2225815222" sldId="2147478566"/>
            <ac:spMk id="741" creationId="{24A78180-CFE6-0B2B-75BE-78D2A2BBE8C4}"/>
          </ac:spMkLst>
        </pc:spChg>
        <pc:spChg chg="add del mod">
          <ac:chgData name="Steiner Andreas 6206 ED" userId="e6377c33-a923-4f14-8587-531c474c7b48" providerId="ADAL" clId="{6ECD27E6-B224-41CD-B4E0-E297462320DD}" dt="2023-11-24T08:57:03.264" v="113773"/>
          <ac:spMkLst>
            <pc:docMk/>
            <pc:sldMk cId="2225815222" sldId="2147478566"/>
            <ac:spMk id="742" creationId="{53BA5876-9C7B-5AC1-4FC7-CE989403CFDF}"/>
          </ac:spMkLst>
        </pc:spChg>
        <pc:spChg chg="add del mod">
          <ac:chgData name="Steiner Andreas 6206 ED" userId="e6377c33-a923-4f14-8587-531c474c7b48" providerId="ADAL" clId="{6ECD27E6-B224-41CD-B4E0-E297462320DD}" dt="2023-11-24T09:02:21.879" v="113928"/>
          <ac:spMkLst>
            <pc:docMk/>
            <pc:sldMk cId="2225815222" sldId="2147478566"/>
            <ac:spMk id="743" creationId="{1CDF345E-F961-BDE6-677D-B776AE803A60}"/>
          </ac:spMkLst>
        </pc:spChg>
        <pc:spChg chg="add del mod">
          <ac:chgData name="Steiner Andreas 6206 ED" userId="e6377c33-a923-4f14-8587-531c474c7b48" providerId="ADAL" clId="{6ECD27E6-B224-41CD-B4E0-E297462320DD}" dt="2023-11-24T09:02:27.674" v="114083"/>
          <ac:spMkLst>
            <pc:docMk/>
            <pc:sldMk cId="2225815222" sldId="2147478566"/>
            <ac:spMk id="744" creationId="{37E5BA43-05D3-FDFF-BFA9-9BC9A6A84F2E}"/>
          </ac:spMkLst>
        </pc:spChg>
        <pc:spChg chg="add del mod">
          <ac:chgData name="Steiner Andreas 6206 ED" userId="e6377c33-a923-4f14-8587-531c474c7b48" providerId="ADAL" clId="{6ECD27E6-B224-41CD-B4E0-E297462320DD}" dt="2023-11-24T09:02:30.302" v="114238"/>
          <ac:spMkLst>
            <pc:docMk/>
            <pc:sldMk cId="2225815222" sldId="2147478566"/>
            <ac:spMk id="745" creationId="{F2430925-BCC5-D812-9AA5-F31C45AFD746}"/>
          </ac:spMkLst>
        </pc:spChg>
        <pc:spChg chg="add del mod">
          <ac:chgData name="Steiner Andreas 6206 ED" userId="e6377c33-a923-4f14-8587-531c474c7b48" providerId="ADAL" clId="{6ECD27E6-B224-41CD-B4E0-E297462320DD}" dt="2023-11-24T09:02:33.659" v="114393"/>
          <ac:spMkLst>
            <pc:docMk/>
            <pc:sldMk cId="2225815222" sldId="2147478566"/>
            <ac:spMk id="746" creationId="{0109A7B1-65BD-B724-2E04-0E29E1D5BC1B}"/>
          </ac:spMkLst>
        </pc:spChg>
        <pc:spChg chg="add del mod">
          <ac:chgData name="Steiner Andreas 6206 ED" userId="e6377c33-a923-4f14-8587-531c474c7b48" providerId="ADAL" clId="{6ECD27E6-B224-41CD-B4E0-E297462320DD}" dt="2023-11-24T09:02:37.013" v="114548"/>
          <ac:spMkLst>
            <pc:docMk/>
            <pc:sldMk cId="2225815222" sldId="2147478566"/>
            <ac:spMk id="747" creationId="{95BBFE3D-497A-B49C-27C8-ACBE2B1B7CE6}"/>
          </ac:spMkLst>
        </pc:spChg>
        <pc:spChg chg="add del mod">
          <ac:chgData name="Steiner Andreas 6206 ED" userId="e6377c33-a923-4f14-8587-531c474c7b48" providerId="ADAL" clId="{6ECD27E6-B224-41CD-B4E0-E297462320DD}" dt="2023-11-24T11:31:22.822" v="114703"/>
          <ac:spMkLst>
            <pc:docMk/>
            <pc:sldMk cId="2225815222" sldId="2147478566"/>
            <ac:spMk id="748" creationId="{F12AEFCD-FE01-70FF-E560-843480C9B2A8}"/>
          </ac:spMkLst>
        </pc:spChg>
        <pc:spChg chg="add del mod">
          <ac:chgData name="Steiner Andreas 6206 ED" userId="e6377c33-a923-4f14-8587-531c474c7b48" providerId="ADAL" clId="{6ECD27E6-B224-41CD-B4E0-E297462320DD}" dt="2023-11-24T11:33:30.107" v="114858"/>
          <ac:spMkLst>
            <pc:docMk/>
            <pc:sldMk cId="2225815222" sldId="2147478566"/>
            <ac:spMk id="749" creationId="{BC0DC31C-E832-56B7-6149-9CEF211D17DA}"/>
          </ac:spMkLst>
        </pc:spChg>
        <pc:spChg chg="add del mod">
          <ac:chgData name="Steiner Andreas 6206 ED" userId="e6377c33-a923-4f14-8587-531c474c7b48" providerId="ADAL" clId="{6ECD27E6-B224-41CD-B4E0-E297462320DD}" dt="2023-11-24T11:33:36.567" v="115013"/>
          <ac:spMkLst>
            <pc:docMk/>
            <pc:sldMk cId="2225815222" sldId="2147478566"/>
            <ac:spMk id="750" creationId="{6E905673-DCBD-4CF6-E9DE-C0A680A1BA21}"/>
          </ac:spMkLst>
        </pc:spChg>
        <pc:spChg chg="add del mod">
          <ac:chgData name="Steiner Andreas 6206 ED" userId="e6377c33-a923-4f14-8587-531c474c7b48" providerId="ADAL" clId="{6ECD27E6-B224-41CD-B4E0-E297462320DD}" dt="2023-11-24T11:33:39.726" v="115168"/>
          <ac:spMkLst>
            <pc:docMk/>
            <pc:sldMk cId="2225815222" sldId="2147478566"/>
            <ac:spMk id="751" creationId="{8B2EF9FC-DE9E-B87E-7FB6-B3C216683A2D}"/>
          </ac:spMkLst>
        </pc:spChg>
        <pc:spChg chg="add del mod">
          <ac:chgData name="Steiner Andreas 6206 ED" userId="e6377c33-a923-4f14-8587-531c474c7b48" providerId="ADAL" clId="{6ECD27E6-B224-41CD-B4E0-E297462320DD}" dt="2023-11-24T11:33:43.390" v="115323"/>
          <ac:spMkLst>
            <pc:docMk/>
            <pc:sldMk cId="2225815222" sldId="2147478566"/>
            <ac:spMk id="752" creationId="{38806FCC-1D8D-32B6-0B74-FE1179231C59}"/>
          </ac:spMkLst>
        </pc:spChg>
        <pc:spChg chg="add del mod">
          <ac:chgData name="Steiner Andreas 6206 ED" userId="e6377c33-a923-4f14-8587-531c474c7b48" providerId="ADAL" clId="{6ECD27E6-B224-41CD-B4E0-E297462320DD}" dt="2023-11-24T11:33:46.498" v="115478"/>
          <ac:spMkLst>
            <pc:docMk/>
            <pc:sldMk cId="2225815222" sldId="2147478566"/>
            <ac:spMk id="753" creationId="{BF03D906-5953-0D24-AB88-C00D5864F448}"/>
          </ac:spMkLst>
        </pc:spChg>
        <pc:spChg chg="add del mod">
          <ac:chgData name="Steiner Andreas 6206 ED" userId="e6377c33-a923-4f14-8587-531c474c7b48" providerId="ADAL" clId="{6ECD27E6-B224-41CD-B4E0-E297462320DD}" dt="2023-11-24T11:33:49.553" v="115633"/>
          <ac:spMkLst>
            <pc:docMk/>
            <pc:sldMk cId="2225815222" sldId="2147478566"/>
            <ac:spMk id="754" creationId="{F3CFCD95-2131-83DD-A6C7-9F05621AC202}"/>
          </ac:spMkLst>
        </pc:spChg>
        <pc:spChg chg="add del mod">
          <ac:chgData name="Steiner Andreas 6206 ED" userId="e6377c33-a923-4f14-8587-531c474c7b48" providerId="ADAL" clId="{6ECD27E6-B224-41CD-B4E0-E297462320DD}" dt="2023-11-24T11:33:52.216" v="115788"/>
          <ac:spMkLst>
            <pc:docMk/>
            <pc:sldMk cId="2225815222" sldId="2147478566"/>
            <ac:spMk id="755" creationId="{1A740B29-DEC7-AC0F-8431-B0FA23070BF7}"/>
          </ac:spMkLst>
        </pc:spChg>
        <pc:spChg chg="add del mod">
          <ac:chgData name="Steiner Andreas 6206 ED" userId="e6377c33-a923-4f14-8587-531c474c7b48" providerId="ADAL" clId="{6ECD27E6-B224-41CD-B4E0-E297462320DD}" dt="2023-11-24T11:33:55.086" v="115943"/>
          <ac:spMkLst>
            <pc:docMk/>
            <pc:sldMk cId="2225815222" sldId="2147478566"/>
            <ac:spMk id="756" creationId="{C20E1F01-EBFC-CF94-7DA3-400EA1471A16}"/>
          </ac:spMkLst>
        </pc:spChg>
        <pc:spChg chg="add del mod">
          <ac:chgData name="Steiner Andreas 6206 ED" userId="e6377c33-a923-4f14-8587-531c474c7b48" providerId="ADAL" clId="{6ECD27E6-B224-41CD-B4E0-E297462320DD}" dt="2023-11-24T11:33:57.501" v="116098"/>
          <ac:spMkLst>
            <pc:docMk/>
            <pc:sldMk cId="2225815222" sldId="2147478566"/>
            <ac:spMk id="757" creationId="{DB02B628-2183-2B9D-1226-083F4DFAC3E9}"/>
          </ac:spMkLst>
        </pc:spChg>
        <pc:spChg chg="add del mod">
          <ac:chgData name="Steiner Andreas 6206 ED" userId="e6377c33-a923-4f14-8587-531c474c7b48" providerId="ADAL" clId="{6ECD27E6-B224-41CD-B4E0-E297462320DD}" dt="2023-11-24T11:33:59.834" v="116253"/>
          <ac:spMkLst>
            <pc:docMk/>
            <pc:sldMk cId="2225815222" sldId="2147478566"/>
            <ac:spMk id="758" creationId="{AF3014D0-386C-1C6D-7285-3E19236C51C1}"/>
          </ac:spMkLst>
        </pc:spChg>
        <pc:spChg chg="add del mod">
          <ac:chgData name="Steiner Andreas 6206 ED" userId="e6377c33-a923-4f14-8587-531c474c7b48" providerId="ADAL" clId="{6ECD27E6-B224-41CD-B4E0-E297462320DD}" dt="2023-11-24T11:34:02.222" v="116408"/>
          <ac:spMkLst>
            <pc:docMk/>
            <pc:sldMk cId="2225815222" sldId="2147478566"/>
            <ac:spMk id="759" creationId="{E8D3ABF3-D670-1779-5FDE-D6C8918D669C}"/>
          </ac:spMkLst>
        </pc:spChg>
        <pc:spChg chg="add del mod">
          <ac:chgData name="Steiner Andreas 6206 ED" userId="e6377c33-a923-4f14-8587-531c474c7b48" providerId="ADAL" clId="{6ECD27E6-B224-41CD-B4E0-E297462320DD}" dt="2023-11-24T11:34:04.499" v="116563"/>
          <ac:spMkLst>
            <pc:docMk/>
            <pc:sldMk cId="2225815222" sldId="2147478566"/>
            <ac:spMk id="760" creationId="{7A6A6F71-36CE-1D3A-B931-8AB32AF07D4A}"/>
          </ac:spMkLst>
        </pc:spChg>
        <pc:spChg chg="add del mod">
          <ac:chgData name="Steiner Andreas 6206 ED" userId="e6377c33-a923-4f14-8587-531c474c7b48" providerId="ADAL" clId="{6ECD27E6-B224-41CD-B4E0-E297462320DD}" dt="2023-11-24T11:34:07.045" v="116718"/>
          <ac:spMkLst>
            <pc:docMk/>
            <pc:sldMk cId="2225815222" sldId="2147478566"/>
            <ac:spMk id="761" creationId="{451021FB-3A0B-055B-F15E-B68B709D3E86}"/>
          </ac:spMkLst>
        </pc:spChg>
        <pc:spChg chg="add del mod">
          <ac:chgData name="Steiner Andreas 6206 ED" userId="e6377c33-a923-4f14-8587-531c474c7b48" providerId="ADAL" clId="{6ECD27E6-B224-41CD-B4E0-E297462320DD}" dt="2023-11-24T11:34:09.675" v="116873"/>
          <ac:spMkLst>
            <pc:docMk/>
            <pc:sldMk cId="2225815222" sldId="2147478566"/>
            <ac:spMk id="762" creationId="{8B0A3851-13DB-4A3F-B27D-603C382ED626}"/>
          </ac:spMkLst>
        </pc:spChg>
        <pc:spChg chg="add del mod">
          <ac:chgData name="Steiner Andreas 6206 ED" userId="e6377c33-a923-4f14-8587-531c474c7b48" providerId="ADAL" clId="{6ECD27E6-B224-41CD-B4E0-E297462320DD}" dt="2023-11-24T11:34:11.515" v="117028"/>
          <ac:spMkLst>
            <pc:docMk/>
            <pc:sldMk cId="2225815222" sldId="2147478566"/>
            <ac:spMk id="763" creationId="{7138587A-5752-8606-1543-143FB192CBBA}"/>
          </ac:spMkLst>
        </pc:spChg>
        <pc:spChg chg="add del mod">
          <ac:chgData name="Steiner Andreas 6206 ED" userId="e6377c33-a923-4f14-8587-531c474c7b48" providerId="ADAL" clId="{6ECD27E6-B224-41CD-B4E0-E297462320DD}" dt="2023-11-24T11:34:13.281" v="117183"/>
          <ac:spMkLst>
            <pc:docMk/>
            <pc:sldMk cId="2225815222" sldId="2147478566"/>
            <ac:spMk id="764" creationId="{FC7E5044-BF8C-F4FE-8D00-56452C659F24}"/>
          </ac:spMkLst>
        </pc:spChg>
        <pc:spChg chg="add del mod">
          <ac:chgData name="Steiner Andreas 6206 ED" userId="e6377c33-a923-4f14-8587-531c474c7b48" providerId="ADAL" clId="{6ECD27E6-B224-41CD-B4E0-E297462320DD}" dt="2023-11-24T11:34:15.082" v="117338"/>
          <ac:spMkLst>
            <pc:docMk/>
            <pc:sldMk cId="2225815222" sldId="2147478566"/>
            <ac:spMk id="765" creationId="{416C36F2-F588-0CC3-8F31-1E516993BD06}"/>
          </ac:spMkLst>
        </pc:spChg>
        <pc:spChg chg="add del mod">
          <ac:chgData name="Steiner Andreas 6206 ED" userId="e6377c33-a923-4f14-8587-531c474c7b48" providerId="ADAL" clId="{6ECD27E6-B224-41CD-B4E0-E297462320DD}" dt="2023-11-24T11:34:16.854" v="117493"/>
          <ac:spMkLst>
            <pc:docMk/>
            <pc:sldMk cId="2225815222" sldId="2147478566"/>
            <ac:spMk id="766" creationId="{5E105A05-4923-C86B-88E9-127E17D6338A}"/>
          </ac:spMkLst>
        </pc:spChg>
        <pc:spChg chg="add del mod">
          <ac:chgData name="Steiner Andreas 6206 ED" userId="e6377c33-a923-4f14-8587-531c474c7b48" providerId="ADAL" clId="{6ECD27E6-B224-41CD-B4E0-E297462320DD}" dt="2023-11-24T11:34:18.684" v="117648"/>
          <ac:spMkLst>
            <pc:docMk/>
            <pc:sldMk cId="2225815222" sldId="2147478566"/>
            <ac:spMk id="767" creationId="{B997A414-6211-8C30-FB12-BD40ED6FA027}"/>
          </ac:spMkLst>
        </pc:spChg>
        <pc:spChg chg="add del mod">
          <ac:chgData name="Steiner Andreas 6206 ED" userId="e6377c33-a923-4f14-8587-531c474c7b48" providerId="ADAL" clId="{6ECD27E6-B224-41CD-B4E0-E297462320DD}" dt="2023-11-24T11:34:20.829" v="117803"/>
          <ac:spMkLst>
            <pc:docMk/>
            <pc:sldMk cId="2225815222" sldId="2147478566"/>
            <ac:spMk id="768" creationId="{9C5B08C8-75D1-8BD9-8D8B-F30D634F5867}"/>
          </ac:spMkLst>
        </pc:spChg>
        <pc:spChg chg="add del mod">
          <ac:chgData name="Steiner Andreas 6206 ED" userId="e6377c33-a923-4f14-8587-531c474c7b48" providerId="ADAL" clId="{6ECD27E6-B224-41CD-B4E0-E297462320DD}" dt="2023-11-24T11:34:22.764" v="117958"/>
          <ac:spMkLst>
            <pc:docMk/>
            <pc:sldMk cId="2225815222" sldId="2147478566"/>
            <ac:spMk id="769" creationId="{459866FE-E4A0-1DF3-9B4E-64098C22182E}"/>
          </ac:spMkLst>
        </pc:spChg>
        <pc:spChg chg="add del mod">
          <ac:chgData name="Steiner Andreas 6206 ED" userId="e6377c33-a923-4f14-8587-531c474c7b48" providerId="ADAL" clId="{6ECD27E6-B224-41CD-B4E0-E297462320DD}" dt="2023-11-24T11:34:24.829" v="118113"/>
          <ac:spMkLst>
            <pc:docMk/>
            <pc:sldMk cId="2225815222" sldId="2147478566"/>
            <ac:spMk id="770" creationId="{D7B2A762-228D-BEA3-19B2-5BE435206D5E}"/>
          </ac:spMkLst>
        </pc:spChg>
        <pc:spChg chg="add del mod">
          <ac:chgData name="Steiner Andreas 6206 ED" userId="e6377c33-a923-4f14-8587-531c474c7b48" providerId="ADAL" clId="{6ECD27E6-B224-41CD-B4E0-E297462320DD}" dt="2023-11-24T11:34:27.449" v="118268"/>
          <ac:spMkLst>
            <pc:docMk/>
            <pc:sldMk cId="2225815222" sldId="2147478566"/>
            <ac:spMk id="771" creationId="{92BFAA3F-468C-6BF0-8868-D1EB03F1F0B3}"/>
          </ac:spMkLst>
        </pc:spChg>
        <pc:spChg chg="add del mod">
          <ac:chgData name="Steiner Andreas 6206 ED" userId="e6377c33-a923-4f14-8587-531c474c7b48" providerId="ADAL" clId="{6ECD27E6-B224-41CD-B4E0-E297462320DD}" dt="2023-11-24T11:34:29.439" v="118423"/>
          <ac:spMkLst>
            <pc:docMk/>
            <pc:sldMk cId="2225815222" sldId="2147478566"/>
            <ac:spMk id="772" creationId="{F9DD01FC-5B37-C5E3-F9C0-73850222C141}"/>
          </ac:spMkLst>
        </pc:spChg>
        <pc:spChg chg="add del mod">
          <ac:chgData name="Steiner Andreas 6206 ED" userId="e6377c33-a923-4f14-8587-531c474c7b48" providerId="ADAL" clId="{6ECD27E6-B224-41CD-B4E0-E297462320DD}" dt="2023-11-24T11:34:31.745" v="118578"/>
          <ac:spMkLst>
            <pc:docMk/>
            <pc:sldMk cId="2225815222" sldId="2147478566"/>
            <ac:spMk id="773" creationId="{F5194D4D-7596-8FD7-4CFB-854A96C1FFF5}"/>
          </ac:spMkLst>
        </pc:spChg>
        <pc:spChg chg="add del mod">
          <ac:chgData name="Steiner Andreas 6206 ED" userId="e6377c33-a923-4f14-8587-531c474c7b48" providerId="ADAL" clId="{6ECD27E6-B224-41CD-B4E0-E297462320DD}" dt="2023-11-24T11:34:33.686" v="118733"/>
          <ac:spMkLst>
            <pc:docMk/>
            <pc:sldMk cId="2225815222" sldId="2147478566"/>
            <ac:spMk id="774" creationId="{281D840F-CA02-2A6F-6B84-7CC21955AD8F}"/>
          </ac:spMkLst>
        </pc:spChg>
        <pc:spChg chg="add del mod">
          <ac:chgData name="Steiner Andreas 6206 ED" userId="e6377c33-a923-4f14-8587-531c474c7b48" providerId="ADAL" clId="{6ECD27E6-B224-41CD-B4E0-E297462320DD}" dt="2023-11-24T11:34:35.689" v="118888"/>
          <ac:spMkLst>
            <pc:docMk/>
            <pc:sldMk cId="2225815222" sldId="2147478566"/>
            <ac:spMk id="775" creationId="{FE5B096F-15A2-CDCE-063D-E747052FC5B3}"/>
          </ac:spMkLst>
        </pc:spChg>
        <pc:spChg chg="add del mod">
          <ac:chgData name="Steiner Andreas 6206 ED" userId="e6377c33-a923-4f14-8587-531c474c7b48" providerId="ADAL" clId="{6ECD27E6-B224-41CD-B4E0-E297462320DD}" dt="2023-11-24T11:34:37.778" v="119043"/>
          <ac:spMkLst>
            <pc:docMk/>
            <pc:sldMk cId="2225815222" sldId="2147478566"/>
            <ac:spMk id="776" creationId="{F57BF9E5-1633-2AD2-AC94-3EAB3674D3AF}"/>
          </ac:spMkLst>
        </pc:spChg>
        <pc:spChg chg="add del mod">
          <ac:chgData name="Steiner Andreas 6206 ED" userId="e6377c33-a923-4f14-8587-531c474c7b48" providerId="ADAL" clId="{6ECD27E6-B224-41CD-B4E0-E297462320DD}" dt="2023-11-24T11:34:39.742" v="119198"/>
          <ac:spMkLst>
            <pc:docMk/>
            <pc:sldMk cId="2225815222" sldId="2147478566"/>
            <ac:spMk id="777" creationId="{F4E5787A-95D6-EE1F-7347-63009605677A}"/>
          </ac:spMkLst>
        </pc:spChg>
        <pc:spChg chg="add del mod">
          <ac:chgData name="Steiner Andreas 6206 ED" userId="e6377c33-a923-4f14-8587-531c474c7b48" providerId="ADAL" clId="{6ECD27E6-B224-41CD-B4E0-E297462320DD}" dt="2023-11-24T11:34:41.930" v="119353"/>
          <ac:spMkLst>
            <pc:docMk/>
            <pc:sldMk cId="2225815222" sldId="2147478566"/>
            <ac:spMk id="778" creationId="{3DCD8188-B63B-EA5A-AD3D-0D565EFBE5EE}"/>
          </ac:spMkLst>
        </pc:spChg>
        <pc:spChg chg="add del mod">
          <ac:chgData name="Steiner Andreas 6206 ED" userId="e6377c33-a923-4f14-8587-531c474c7b48" providerId="ADAL" clId="{6ECD27E6-B224-41CD-B4E0-E297462320DD}" dt="2023-11-24T11:34:44.050" v="119508"/>
          <ac:spMkLst>
            <pc:docMk/>
            <pc:sldMk cId="2225815222" sldId="2147478566"/>
            <ac:spMk id="779" creationId="{A86CB8D5-EF41-446C-DF1C-8B2E16C980EE}"/>
          </ac:spMkLst>
        </pc:spChg>
        <pc:spChg chg="add del mod">
          <ac:chgData name="Steiner Andreas 6206 ED" userId="e6377c33-a923-4f14-8587-531c474c7b48" providerId="ADAL" clId="{6ECD27E6-B224-41CD-B4E0-E297462320DD}" dt="2023-11-24T11:34:46.058" v="119663"/>
          <ac:spMkLst>
            <pc:docMk/>
            <pc:sldMk cId="2225815222" sldId="2147478566"/>
            <ac:spMk id="780" creationId="{4E5DB5BE-3505-3AA3-D05C-E9AAA64FF627}"/>
          </ac:spMkLst>
        </pc:spChg>
        <pc:spChg chg="add del mod">
          <ac:chgData name="Steiner Andreas 6206 ED" userId="e6377c33-a923-4f14-8587-531c474c7b48" providerId="ADAL" clId="{6ECD27E6-B224-41CD-B4E0-E297462320DD}" dt="2023-11-24T11:34:47.964" v="119818"/>
          <ac:spMkLst>
            <pc:docMk/>
            <pc:sldMk cId="2225815222" sldId="2147478566"/>
            <ac:spMk id="781" creationId="{C12E4503-B508-70F2-504E-ADA9808A1021}"/>
          </ac:spMkLst>
        </pc:spChg>
        <pc:spChg chg="add del mod">
          <ac:chgData name="Steiner Andreas 6206 ED" userId="e6377c33-a923-4f14-8587-531c474c7b48" providerId="ADAL" clId="{6ECD27E6-B224-41CD-B4E0-E297462320DD}" dt="2023-11-24T11:34:50.183" v="119973"/>
          <ac:spMkLst>
            <pc:docMk/>
            <pc:sldMk cId="2225815222" sldId="2147478566"/>
            <ac:spMk id="782" creationId="{048A2A3D-1316-FD4C-C7F7-5269D5AD43C1}"/>
          </ac:spMkLst>
        </pc:spChg>
        <pc:spChg chg="add del mod">
          <ac:chgData name="Steiner Andreas 6206 ED" userId="e6377c33-a923-4f14-8587-531c474c7b48" providerId="ADAL" clId="{6ECD27E6-B224-41CD-B4E0-E297462320DD}" dt="2023-11-24T11:34:52.285" v="120128"/>
          <ac:spMkLst>
            <pc:docMk/>
            <pc:sldMk cId="2225815222" sldId="2147478566"/>
            <ac:spMk id="783" creationId="{EC5A92A2-DCF2-6D66-F7AF-64C137754BC2}"/>
          </ac:spMkLst>
        </pc:spChg>
        <pc:spChg chg="add del mod">
          <ac:chgData name="Steiner Andreas 6206 ED" userId="e6377c33-a923-4f14-8587-531c474c7b48" providerId="ADAL" clId="{6ECD27E6-B224-41CD-B4E0-E297462320DD}" dt="2023-11-24T11:34:54.218" v="120283"/>
          <ac:spMkLst>
            <pc:docMk/>
            <pc:sldMk cId="2225815222" sldId="2147478566"/>
            <ac:spMk id="784" creationId="{F651CF82-EEE4-DCBB-07F2-248DBAE035F5}"/>
          </ac:spMkLst>
        </pc:spChg>
        <pc:spChg chg="add del mod">
          <ac:chgData name="Steiner Andreas 6206 ED" userId="e6377c33-a923-4f14-8587-531c474c7b48" providerId="ADAL" clId="{6ECD27E6-B224-41CD-B4E0-E297462320DD}" dt="2023-11-24T11:34:56.082" v="120438"/>
          <ac:spMkLst>
            <pc:docMk/>
            <pc:sldMk cId="2225815222" sldId="2147478566"/>
            <ac:spMk id="785" creationId="{7A2766EF-8D93-6FE9-EE18-1B4322D1466D}"/>
          </ac:spMkLst>
        </pc:spChg>
        <pc:spChg chg="add del mod">
          <ac:chgData name="Steiner Andreas 6206 ED" userId="e6377c33-a923-4f14-8587-531c474c7b48" providerId="ADAL" clId="{6ECD27E6-B224-41CD-B4E0-E297462320DD}" dt="2023-11-24T11:34:57.893" v="120593"/>
          <ac:spMkLst>
            <pc:docMk/>
            <pc:sldMk cId="2225815222" sldId="2147478566"/>
            <ac:spMk id="786" creationId="{80B1DBD5-9792-ED47-F535-AC94E13A8E05}"/>
          </ac:spMkLst>
        </pc:spChg>
        <pc:spChg chg="add del mod">
          <ac:chgData name="Steiner Andreas 6206 ED" userId="e6377c33-a923-4f14-8587-531c474c7b48" providerId="ADAL" clId="{6ECD27E6-B224-41CD-B4E0-E297462320DD}" dt="2023-11-24T11:34:59.759" v="120748"/>
          <ac:spMkLst>
            <pc:docMk/>
            <pc:sldMk cId="2225815222" sldId="2147478566"/>
            <ac:spMk id="787" creationId="{06D7AC62-AEF5-23BF-5113-7451390D9A67}"/>
          </ac:spMkLst>
        </pc:spChg>
        <pc:spChg chg="add del mod">
          <ac:chgData name="Steiner Andreas 6206 ED" userId="e6377c33-a923-4f14-8587-531c474c7b48" providerId="ADAL" clId="{6ECD27E6-B224-41CD-B4E0-E297462320DD}" dt="2023-11-24T11:35:01.599" v="120903"/>
          <ac:spMkLst>
            <pc:docMk/>
            <pc:sldMk cId="2225815222" sldId="2147478566"/>
            <ac:spMk id="788" creationId="{67DE1061-E27B-9C77-5C2E-F0E9CBC5DC6C}"/>
          </ac:spMkLst>
        </pc:spChg>
        <pc:spChg chg="add del mod">
          <ac:chgData name="Steiner Andreas 6206 ED" userId="e6377c33-a923-4f14-8587-531c474c7b48" providerId="ADAL" clId="{6ECD27E6-B224-41CD-B4E0-E297462320DD}" dt="2023-11-24T11:35:03.481" v="121058"/>
          <ac:spMkLst>
            <pc:docMk/>
            <pc:sldMk cId="2225815222" sldId="2147478566"/>
            <ac:spMk id="789" creationId="{F9E0540F-B22C-9CD3-099C-BC9A06DCAD72}"/>
          </ac:spMkLst>
        </pc:spChg>
        <pc:spChg chg="add del mod">
          <ac:chgData name="Steiner Andreas 6206 ED" userId="e6377c33-a923-4f14-8587-531c474c7b48" providerId="ADAL" clId="{6ECD27E6-B224-41CD-B4E0-E297462320DD}" dt="2023-11-24T11:35:05.371" v="121213"/>
          <ac:spMkLst>
            <pc:docMk/>
            <pc:sldMk cId="2225815222" sldId="2147478566"/>
            <ac:spMk id="790" creationId="{A5541B17-2E93-6B75-A677-A491A4EE211F}"/>
          </ac:spMkLst>
        </pc:spChg>
        <pc:spChg chg="add del mod">
          <ac:chgData name="Steiner Andreas 6206 ED" userId="e6377c33-a923-4f14-8587-531c474c7b48" providerId="ADAL" clId="{6ECD27E6-B224-41CD-B4E0-E297462320DD}" dt="2023-11-24T11:35:07.598" v="121368"/>
          <ac:spMkLst>
            <pc:docMk/>
            <pc:sldMk cId="2225815222" sldId="2147478566"/>
            <ac:spMk id="791" creationId="{63AA79E3-621C-A903-493B-F6640C6AB67E}"/>
          </ac:spMkLst>
        </pc:spChg>
        <pc:spChg chg="add del mod">
          <ac:chgData name="Steiner Andreas 6206 ED" userId="e6377c33-a923-4f14-8587-531c474c7b48" providerId="ADAL" clId="{6ECD27E6-B224-41CD-B4E0-E297462320DD}" dt="2023-11-24T11:35:09.530" v="121523"/>
          <ac:spMkLst>
            <pc:docMk/>
            <pc:sldMk cId="2225815222" sldId="2147478566"/>
            <ac:spMk id="792" creationId="{86E6CC55-9640-824B-1CCB-81B6AE41AA98}"/>
          </ac:spMkLst>
        </pc:spChg>
        <pc:spChg chg="add del mod">
          <ac:chgData name="Steiner Andreas 6206 ED" userId="e6377c33-a923-4f14-8587-531c474c7b48" providerId="ADAL" clId="{6ECD27E6-B224-41CD-B4E0-E297462320DD}" dt="2023-11-24T11:35:11.499" v="121678"/>
          <ac:spMkLst>
            <pc:docMk/>
            <pc:sldMk cId="2225815222" sldId="2147478566"/>
            <ac:spMk id="793" creationId="{1EB0889D-18B6-EC57-EC77-F1F062C8A467}"/>
          </ac:spMkLst>
        </pc:spChg>
        <pc:spChg chg="add del mod">
          <ac:chgData name="Steiner Andreas 6206 ED" userId="e6377c33-a923-4f14-8587-531c474c7b48" providerId="ADAL" clId="{6ECD27E6-B224-41CD-B4E0-E297462320DD}" dt="2023-11-24T11:35:13.211" v="121833"/>
          <ac:spMkLst>
            <pc:docMk/>
            <pc:sldMk cId="2225815222" sldId="2147478566"/>
            <ac:spMk id="794" creationId="{799F9EA5-C019-A868-B596-8712E6CACBB5}"/>
          </ac:spMkLst>
        </pc:spChg>
        <pc:spChg chg="add del mod">
          <ac:chgData name="Steiner Andreas 6206 ED" userId="e6377c33-a923-4f14-8587-531c474c7b48" providerId="ADAL" clId="{6ECD27E6-B224-41CD-B4E0-E297462320DD}" dt="2023-11-24T11:35:15.167" v="121988"/>
          <ac:spMkLst>
            <pc:docMk/>
            <pc:sldMk cId="2225815222" sldId="2147478566"/>
            <ac:spMk id="795" creationId="{CC25337E-86C5-25C5-752C-E5D66989DFE1}"/>
          </ac:spMkLst>
        </pc:spChg>
        <pc:spChg chg="add del mod">
          <ac:chgData name="Steiner Andreas 6206 ED" userId="e6377c33-a923-4f14-8587-531c474c7b48" providerId="ADAL" clId="{6ECD27E6-B224-41CD-B4E0-E297462320DD}" dt="2023-11-24T11:35:16.826" v="122143"/>
          <ac:spMkLst>
            <pc:docMk/>
            <pc:sldMk cId="2225815222" sldId="2147478566"/>
            <ac:spMk id="796" creationId="{B56ED0A3-D916-FFF9-8928-53D3F08A1A6E}"/>
          </ac:spMkLst>
        </pc:spChg>
        <pc:spChg chg="add del mod">
          <ac:chgData name="Steiner Andreas 6206 ED" userId="e6377c33-a923-4f14-8587-531c474c7b48" providerId="ADAL" clId="{6ECD27E6-B224-41CD-B4E0-E297462320DD}" dt="2023-11-24T11:35:18.528" v="122298"/>
          <ac:spMkLst>
            <pc:docMk/>
            <pc:sldMk cId="2225815222" sldId="2147478566"/>
            <ac:spMk id="797" creationId="{140A04D0-0904-1EDB-C634-CDBD4CBDEE9E}"/>
          </ac:spMkLst>
        </pc:spChg>
        <pc:spChg chg="add del mod">
          <ac:chgData name="Steiner Andreas 6206 ED" userId="e6377c33-a923-4f14-8587-531c474c7b48" providerId="ADAL" clId="{6ECD27E6-B224-41CD-B4E0-E297462320DD}" dt="2023-11-24T11:35:20.155" v="122453"/>
          <ac:spMkLst>
            <pc:docMk/>
            <pc:sldMk cId="2225815222" sldId="2147478566"/>
            <ac:spMk id="798" creationId="{E0CC8BB3-F95F-AFCF-55FD-C1378B1F48DD}"/>
          </ac:spMkLst>
        </pc:spChg>
        <pc:spChg chg="add del mod">
          <ac:chgData name="Steiner Andreas 6206 ED" userId="e6377c33-a923-4f14-8587-531c474c7b48" providerId="ADAL" clId="{6ECD27E6-B224-41CD-B4E0-E297462320DD}" dt="2023-11-24T11:35:21.796" v="122608"/>
          <ac:spMkLst>
            <pc:docMk/>
            <pc:sldMk cId="2225815222" sldId="2147478566"/>
            <ac:spMk id="799" creationId="{1176408B-A3C1-F297-EBA6-65608E33D022}"/>
          </ac:spMkLst>
        </pc:spChg>
        <pc:spChg chg="add del mod">
          <ac:chgData name="Steiner Andreas 6206 ED" userId="e6377c33-a923-4f14-8587-531c474c7b48" providerId="ADAL" clId="{6ECD27E6-B224-41CD-B4E0-E297462320DD}" dt="2023-11-24T11:35:23.518" v="122763"/>
          <ac:spMkLst>
            <pc:docMk/>
            <pc:sldMk cId="2225815222" sldId="2147478566"/>
            <ac:spMk id="800" creationId="{E0B905E8-97A7-6F9D-27AF-5A0D3DC1D949}"/>
          </ac:spMkLst>
        </pc:spChg>
        <pc:spChg chg="add del mod">
          <ac:chgData name="Steiner Andreas 6206 ED" userId="e6377c33-a923-4f14-8587-531c474c7b48" providerId="ADAL" clId="{6ECD27E6-B224-41CD-B4E0-E297462320DD}" dt="2023-11-24T11:35:25.623" v="122918"/>
          <ac:spMkLst>
            <pc:docMk/>
            <pc:sldMk cId="2225815222" sldId="2147478566"/>
            <ac:spMk id="801" creationId="{4E5D0183-76C6-6456-3015-B17621A1B653}"/>
          </ac:spMkLst>
        </pc:spChg>
        <pc:spChg chg="add del mod">
          <ac:chgData name="Steiner Andreas 6206 ED" userId="e6377c33-a923-4f14-8587-531c474c7b48" providerId="ADAL" clId="{6ECD27E6-B224-41CD-B4E0-E297462320DD}" dt="2023-11-24T11:35:27.618" v="123073"/>
          <ac:spMkLst>
            <pc:docMk/>
            <pc:sldMk cId="2225815222" sldId="2147478566"/>
            <ac:spMk id="802" creationId="{CCD04C2C-FC23-0483-5275-CD14AAA2D955}"/>
          </ac:spMkLst>
        </pc:spChg>
        <pc:spChg chg="add del mod">
          <ac:chgData name="Steiner Andreas 6206 ED" userId="e6377c33-a923-4f14-8587-531c474c7b48" providerId="ADAL" clId="{6ECD27E6-B224-41CD-B4E0-E297462320DD}" dt="2023-11-24T11:35:29.475" v="123228"/>
          <ac:spMkLst>
            <pc:docMk/>
            <pc:sldMk cId="2225815222" sldId="2147478566"/>
            <ac:spMk id="803" creationId="{3239E8AB-D6ED-0DF6-767A-C3FCEE742FD6}"/>
          </ac:spMkLst>
        </pc:spChg>
        <pc:spChg chg="add del mod">
          <ac:chgData name="Steiner Andreas 6206 ED" userId="e6377c33-a923-4f14-8587-531c474c7b48" providerId="ADAL" clId="{6ECD27E6-B224-41CD-B4E0-E297462320DD}" dt="2023-11-24T11:35:31.182" v="123383"/>
          <ac:spMkLst>
            <pc:docMk/>
            <pc:sldMk cId="2225815222" sldId="2147478566"/>
            <ac:spMk id="804" creationId="{D0FC939E-D2E0-E7E5-1D29-B1E101C6E2DF}"/>
          </ac:spMkLst>
        </pc:spChg>
        <pc:spChg chg="add del mod">
          <ac:chgData name="Steiner Andreas 6206 ED" userId="e6377c33-a923-4f14-8587-531c474c7b48" providerId="ADAL" clId="{6ECD27E6-B224-41CD-B4E0-E297462320DD}" dt="2023-11-24T11:35:34.180" v="123538"/>
          <ac:spMkLst>
            <pc:docMk/>
            <pc:sldMk cId="2225815222" sldId="2147478566"/>
            <ac:spMk id="805" creationId="{6AED3CE4-DEEF-1D2F-F5FF-AD8D69FBEF9E}"/>
          </ac:spMkLst>
        </pc:spChg>
        <pc:spChg chg="add del mod">
          <ac:chgData name="Steiner Andreas 6206 ED" userId="e6377c33-a923-4f14-8587-531c474c7b48" providerId="ADAL" clId="{6ECD27E6-B224-41CD-B4E0-E297462320DD}" dt="2023-11-24T11:35:35.931" v="123693"/>
          <ac:spMkLst>
            <pc:docMk/>
            <pc:sldMk cId="2225815222" sldId="2147478566"/>
            <ac:spMk id="806" creationId="{19DE46E7-24CF-FF3F-86E4-1B41505E42A9}"/>
          </ac:spMkLst>
        </pc:spChg>
        <pc:spChg chg="add del mod">
          <ac:chgData name="Steiner Andreas 6206 ED" userId="e6377c33-a923-4f14-8587-531c474c7b48" providerId="ADAL" clId="{6ECD27E6-B224-41CD-B4E0-E297462320DD}" dt="2023-11-24T11:35:37.600" v="123848"/>
          <ac:spMkLst>
            <pc:docMk/>
            <pc:sldMk cId="2225815222" sldId="2147478566"/>
            <ac:spMk id="807" creationId="{E758758D-5179-1845-AFE1-7C6CFD52EF5A}"/>
          </ac:spMkLst>
        </pc:spChg>
        <pc:spChg chg="add del mod">
          <ac:chgData name="Steiner Andreas 6206 ED" userId="e6377c33-a923-4f14-8587-531c474c7b48" providerId="ADAL" clId="{6ECD27E6-B224-41CD-B4E0-E297462320DD}" dt="2023-11-24T11:35:39.234" v="124003"/>
          <ac:spMkLst>
            <pc:docMk/>
            <pc:sldMk cId="2225815222" sldId="2147478566"/>
            <ac:spMk id="808" creationId="{AED0E40B-B6F3-7BB6-14D4-81FA808DFC9B}"/>
          </ac:spMkLst>
        </pc:spChg>
        <pc:spChg chg="add del mod">
          <ac:chgData name="Steiner Andreas 6206 ED" userId="e6377c33-a923-4f14-8587-531c474c7b48" providerId="ADAL" clId="{6ECD27E6-B224-41CD-B4E0-E297462320DD}" dt="2023-11-24T11:35:40.937" v="124158"/>
          <ac:spMkLst>
            <pc:docMk/>
            <pc:sldMk cId="2225815222" sldId="2147478566"/>
            <ac:spMk id="809" creationId="{C95E3BEC-ADA9-0E8C-9948-370AFFC457F1}"/>
          </ac:spMkLst>
        </pc:spChg>
        <pc:spChg chg="add del mod">
          <ac:chgData name="Steiner Andreas 6206 ED" userId="e6377c33-a923-4f14-8587-531c474c7b48" providerId="ADAL" clId="{6ECD27E6-B224-41CD-B4E0-E297462320DD}" dt="2023-11-24T11:35:42.530" v="124313"/>
          <ac:spMkLst>
            <pc:docMk/>
            <pc:sldMk cId="2225815222" sldId="2147478566"/>
            <ac:spMk id="810" creationId="{B1DCE664-450A-76C4-2130-0D8DD8A04B92}"/>
          </ac:spMkLst>
        </pc:spChg>
        <pc:spChg chg="add del mod">
          <ac:chgData name="Steiner Andreas 6206 ED" userId="e6377c33-a923-4f14-8587-531c474c7b48" providerId="ADAL" clId="{6ECD27E6-B224-41CD-B4E0-E297462320DD}" dt="2023-11-24T11:35:44.236" v="124468"/>
          <ac:spMkLst>
            <pc:docMk/>
            <pc:sldMk cId="2225815222" sldId="2147478566"/>
            <ac:spMk id="811" creationId="{9D127E30-992F-F6DF-EFF7-E4DB8E5CDE01}"/>
          </ac:spMkLst>
        </pc:spChg>
        <pc:spChg chg="add del mod">
          <ac:chgData name="Steiner Andreas 6206 ED" userId="e6377c33-a923-4f14-8587-531c474c7b48" providerId="ADAL" clId="{6ECD27E6-B224-41CD-B4E0-E297462320DD}" dt="2023-11-24T11:35:45.872" v="124623"/>
          <ac:spMkLst>
            <pc:docMk/>
            <pc:sldMk cId="2225815222" sldId="2147478566"/>
            <ac:spMk id="812" creationId="{E65E805E-2E8F-8C5E-46B4-01367CD30C94}"/>
          </ac:spMkLst>
        </pc:spChg>
        <pc:spChg chg="add del mod">
          <ac:chgData name="Steiner Andreas 6206 ED" userId="e6377c33-a923-4f14-8587-531c474c7b48" providerId="ADAL" clId="{6ECD27E6-B224-41CD-B4E0-E297462320DD}" dt="2023-11-24T11:35:47.570" v="124778"/>
          <ac:spMkLst>
            <pc:docMk/>
            <pc:sldMk cId="2225815222" sldId="2147478566"/>
            <ac:spMk id="813" creationId="{40F4E97B-2EC7-B659-23B8-FE02C837341A}"/>
          </ac:spMkLst>
        </pc:spChg>
        <pc:spChg chg="add del mod">
          <ac:chgData name="Steiner Andreas 6206 ED" userId="e6377c33-a923-4f14-8587-531c474c7b48" providerId="ADAL" clId="{6ECD27E6-B224-41CD-B4E0-E297462320DD}" dt="2023-11-24T11:35:49.383" v="124933"/>
          <ac:spMkLst>
            <pc:docMk/>
            <pc:sldMk cId="2225815222" sldId="2147478566"/>
            <ac:spMk id="814" creationId="{2B760E9C-D083-B3DC-3994-141F70843F44}"/>
          </ac:spMkLst>
        </pc:spChg>
        <pc:spChg chg="add del mod">
          <ac:chgData name="Steiner Andreas 6206 ED" userId="e6377c33-a923-4f14-8587-531c474c7b48" providerId="ADAL" clId="{6ECD27E6-B224-41CD-B4E0-E297462320DD}" dt="2023-11-24T11:35:51.313" v="125088"/>
          <ac:spMkLst>
            <pc:docMk/>
            <pc:sldMk cId="2225815222" sldId="2147478566"/>
            <ac:spMk id="815" creationId="{3D6F19AA-F0F1-23A1-ED92-C75DC0A42B47}"/>
          </ac:spMkLst>
        </pc:spChg>
        <pc:spChg chg="add del mod">
          <ac:chgData name="Steiner Andreas 6206 ED" userId="e6377c33-a923-4f14-8587-531c474c7b48" providerId="ADAL" clId="{6ECD27E6-B224-41CD-B4E0-E297462320DD}" dt="2023-11-24T11:35:52.998" v="125243"/>
          <ac:spMkLst>
            <pc:docMk/>
            <pc:sldMk cId="2225815222" sldId="2147478566"/>
            <ac:spMk id="816" creationId="{076D2B1A-7DC9-7D3E-F0F7-1D073FFC4B99}"/>
          </ac:spMkLst>
        </pc:spChg>
        <pc:spChg chg="add del mod">
          <ac:chgData name="Steiner Andreas 6206 ED" userId="e6377c33-a923-4f14-8587-531c474c7b48" providerId="ADAL" clId="{6ECD27E6-B224-41CD-B4E0-E297462320DD}" dt="2023-11-24T11:35:55.033" v="125398"/>
          <ac:spMkLst>
            <pc:docMk/>
            <pc:sldMk cId="2225815222" sldId="2147478566"/>
            <ac:spMk id="817" creationId="{3CEBD919-9C48-E64C-199F-88480DBE35E8}"/>
          </ac:spMkLst>
        </pc:spChg>
        <pc:spChg chg="add del mod">
          <ac:chgData name="Steiner Andreas 6206 ED" userId="e6377c33-a923-4f14-8587-531c474c7b48" providerId="ADAL" clId="{6ECD27E6-B224-41CD-B4E0-E297462320DD}" dt="2023-11-24T11:35:57.245" v="125553"/>
          <ac:spMkLst>
            <pc:docMk/>
            <pc:sldMk cId="2225815222" sldId="2147478566"/>
            <ac:spMk id="818" creationId="{2476ABF6-3D73-E1A5-E21D-63010EBF3454}"/>
          </ac:spMkLst>
        </pc:spChg>
        <pc:spChg chg="add del mod">
          <ac:chgData name="Steiner Andreas 6206 ED" userId="e6377c33-a923-4f14-8587-531c474c7b48" providerId="ADAL" clId="{6ECD27E6-B224-41CD-B4E0-E297462320DD}" dt="2023-11-24T11:35:58.975" v="125708"/>
          <ac:spMkLst>
            <pc:docMk/>
            <pc:sldMk cId="2225815222" sldId="2147478566"/>
            <ac:spMk id="819" creationId="{ACA40FA6-7329-CCF2-F4D1-9247406AF93A}"/>
          </ac:spMkLst>
        </pc:spChg>
        <pc:spChg chg="add del mod">
          <ac:chgData name="Steiner Andreas 6206 ED" userId="e6377c33-a923-4f14-8587-531c474c7b48" providerId="ADAL" clId="{6ECD27E6-B224-41CD-B4E0-E297462320DD}" dt="2023-11-24T11:36:00.723" v="125863"/>
          <ac:spMkLst>
            <pc:docMk/>
            <pc:sldMk cId="2225815222" sldId="2147478566"/>
            <ac:spMk id="820" creationId="{F7C033C3-89F3-F5E5-C6B6-CABB81AB8008}"/>
          </ac:spMkLst>
        </pc:spChg>
        <pc:spChg chg="add del mod">
          <ac:chgData name="Steiner Andreas 6206 ED" userId="e6377c33-a923-4f14-8587-531c474c7b48" providerId="ADAL" clId="{6ECD27E6-B224-41CD-B4E0-E297462320DD}" dt="2023-11-24T11:36:02.448" v="126018"/>
          <ac:spMkLst>
            <pc:docMk/>
            <pc:sldMk cId="2225815222" sldId="2147478566"/>
            <ac:spMk id="821" creationId="{71BC7843-8050-938B-791D-3AE7ECFFCED9}"/>
          </ac:spMkLst>
        </pc:spChg>
        <pc:spChg chg="add del mod">
          <ac:chgData name="Steiner Andreas 6206 ED" userId="e6377c33-a923-4f14-8587-531c474c7b48" providerId="ADAL" clId="{6ECD27E6-B224-41CD-B4E0-E297462320DD}" dt="2023-11-24T11:36:04.213" v="126173"/>
          <ac:spMkLst>
            <pc:docMk/>
            <pc:sldMk cId="2225815222" sldId="2147478566"/>
            <ac:spMk id="822" creationId="{CBA9B364-971D-F73F-2D7B-BAC1DD60A8CD}"/>
          </ac:spMkLst>
        </pc:spChg>
        <pc:spChg chg="add del mod">
          <ac:chgData name="Steiner Andreas 6206 ED" userId="e6377c33-a923-4f14-8587-531c474c7b48" providerId="ADAL" clId="{6ECD27E6-B224-41CD-B4E0-E297462320DD}" dt="2023-11-24T11:36:05.969" v="126328"/>
          <ac:spMkLst>
            <pc:docMk/>
            <pc:sldMk cId="2225815222" sldId="2147478566"/>
            <ac:spMk id="823" creationId="{3389ED46-C4E9-3009-116E-1A9F8B8077ED}"/>
          </ac:spMkLst>
        </pc:spChg>
        <pc:spChg chg="add del mod">
          <ac:chgData name="Steiner Andreas 6206 ED" userId="e6377c33-a923-4f14-8587-531c474c7b48" providerId="ADAL" clId="{6ECD27E6-B224-41CD-B4E0-E297462320DD}" dt="2023-11-24T11:36:07.693" v="126483"/>
          <ac:spMkLst>
            <pc:docMk/>
            <pc:sldMk cId="2225815222" sldId="2147478566"/>
            <ac:spMk id="824" creationId="{2333C9E8-74F6-20BE-1C9F-DCF942CF84DE}"/>
          </ac:spMkLst>
        </pc:spChg>
        <pc:spChg chg="add del mod">
          <ac:chgData name="Steiner Andreas 6206 ED" userId="e6377c33-a923-4f14-8587-531c474c7b48" providerId="ADAL" clId="{6ECD27E6-B224-41CD-B4E0-E297462320DD}" dt="2023-11-24T11:36:09.508" v="126638"/>
          <ac:spMkLst>
            <pc:docMk/>
            <pc:sldMk cId="2225815222" sldId="2147478566"/>
            <ac:spMk id="825" creationId="{457818CC-16BB-53BA-8E09-FB5FB9C69028}"/>
          </ac:spMkLst>
        </pc:spChg>
        <pc:spChg chg="add del mod">
          <ac:chgData name="Steiner Andreas 6206 ED" userId="e6377c33-a923-4f14-8587-531c474c7b48" providerId="ADAL" clId="{6ECD27E6-B224-41CD-B4E0-E297462320DD}" dt="2023-11-24T11:36:11.393" v="126793"/>
          <ac:spMkLst>
            <pc:docMk/>
            <pc:sldMk cId="2225815222" sldId="2147478566"/>
            <ac:spMk id="826" creationId="{6D381226-1577-ECA9-206F-1B546D78127C}"/>
          </ac:spMkLst>
        </pc:spChg>
        <pc:spChg chg="add del mod">
          <ac:chgData name="Steiner Andreas 6206 ED" userId="e6377c33-a923-4f14-8587-531c474c7b48" providerId="ADAL" clId="{6ECD27E6-B224-41CD-B4E0-E297462320DD}" dt="2023-11-24T11:36:13.234" v="126948"/>
          <ac:spMkLst>
            <pc:docMk/>
            <pc:sldMk cId="2225815222" sldId="2147478566"/>
            <ac:spMk id="827" creationId="{2B18F42D-2A89-CB1A-4CAF-053E7722524A}"/>
          </ac:spMkLst>
        </pc:spChg>
        <pc:spChg chg="add del mod">
          <ac:chgData name="Steiner Andreas 6206 ED" userId="e6377c33-a923-4f14-8587-531c474c7b48" providerId="ADAL" clId="{6ECD27E6-B224-41CD-B4E0-E297462320DD}" dt="2023-11-24T11:36:15.108" v="127103"/>
          <ac:spMkLst>
            <pc:docMk/>
            <pc:sldMk cId="2225815222" sldId="2147478566"/>
            <ac:spMk id="828" creationId="{7DABCC62-1D42-F93F-3189-15DC60DE1567}"/>
          </ac:spMkLst>
        </pc:spChg>
        <pc:spChg chg="add del mod">
          <ac:chgData name="Steiner Andreas 6206 ED" userId="e6377c33-a923-4f14-8587-531c474c7b48" providerId="ADAL" clId="{6ECD27E6-B224-41CD-B4E0-E297462320DD}" dt="2023-11-24T11:36:17.804" v="127258"/>
          <ac:spMkLst>
            <pc:docMk/>
            <pc:sldMk cId="2225815222" sldId="2147478566"/>
            <ac:spMk id="829" creationId="{8EDC3798-5903-566A-3FAB-FAC20C6E4333}"/>
          </ac:spMkLst>
        </pc:spChg>
        <pc:spChg chg="add del mod">
          <ac:chgData name="Steiner Andreas 6206 ED" userId="e6377c33-a923-4f14-8587-531c474c7b48" providerId="ADAL" clId="{6ECD27E6-B224-41CD-B4E0-E297462320DD}" dt="2023-11-24T11:36:20.333" v="127413"/>
          <ac:spMkLst>
            <pc:docMk/>
            <pc:sldMk cId="2225815222" sldId="2147478566"/>
            <ac:spMk id="830" creationId="{9590C800-C84A-5BC2-7649-02E6BE94700F}"/>
          </ac:spMkLst>
        </pc:spChg>
        <pc:spChg chg="add del mod">
          <ac:chgData name="Steiner Andreas 6206 ED" userId="e6377c33-a923-4f14-8587-531c474c7b48" providerId="ADAL" clId="{6ECD27E6-B224-41CD-B4E0-E297462320DD}" dt="2023-11-24T11:36:22.664" v="127568"/>
          <ac:spMkLst>
            <pc:docMk/>
            <pc:sldMk cId="2225815222" sldId="2147478566"/>
            <ac:spMk id="831" creationId="{2758402B-3D67-B432-6157-591B6A3E01AF}"/>
          </ac:spMkLst>
        </pc:spChg>
        <pc:spChg chg="add del mod">
          <ac:chgData name="Steiner Andreas 6206 ED" userId="e6377c33-a923-4f14-8587-531c474c7b48" providerId="ADAL" clId="{6ECD27E6-B224-41CD-B4E0-E297462320DD}" dt="2023-11-24T11:36:25.911" v="127723"/>
          <ac:spMkLst>
            <pc:docMk/>
            <pc:sldMk cId="2225815222" sldId="2147478566"/>
            <ac:spMk id="832" creationId="{EFBDBBAE-2A75-4D42-6E9A-016D4C9E10B1}"/>
          </ac:spMkLst>
        </pc:spChg>
        <pc:spChg chg="add del mod">
          <ac:chgData name="Steiner Andreas 6206 ED" userId="e6377c33-a923-4f14-8587-531c474c7b48" providerId="ADAL" clId="{6ECD27E6-B224-41CD-B4E0-E297462320DD}" dt="2023-11-24T11:36:28.604" v="127878"/>
          <ac:spMkLst>
            <pc:docMk/>
            <pc:sldMk cId="2225815222" sldId="2147478566"/>
            <ac:spMk id="833" creationId="{3453CCEA-E4AA-4690-255E-DB96083EBE61}"/>
          </ac:spMkLst>
        </pc:spChg>
        <pc:spChg chg="add del mod">
          <ac:chgData name="Steiner Andreas 6206 ED" userId="e6377c33-a923-4f14-8587-531c474c7b48" providerId="ADAL" clId="{6ECD27E6-B224-41CD-B4E0-E297462320DD}" dt="2023-11-24T11:36:31.286" v="128033"/>
          <ac:spMkLst>
            <pc:docMk/>
            <pc:sldMk cId="2225815222" sldId="2147478566"/>
            <ac:spMk id="834" creationId="{26549ECD-13B5-E78A-E4C7-A632A29B0A28}"/>
          </ac:spMkLst>
        </pc:spChg>
        <pc:spChg chg="add del mod">
          <ac:chgData name="Steiner Andreas 6206 ED" userId="e6377c33-a923-4f14-8587-531c474c7b48" providerId="ADAL" clId="{6ECD27E6-B224-41CD-B4E0-E297462320DD}" dt="2023-11-24T11:36:33.529" v="128188"/>
          <ac:spMkLst>
            <pc:docMk/>
            <pc:sldMk cId="2225815222" sldId="2147478566"/>
            <ac:spMk id="835" creationId="{74E4D6AB-D188-C164-C66C-BC6A2356C92B}"/>
          </ac:spMkLst>
        </pc:spChg>
        <pc:spChg chg="add del mod">
          <ac:chgData name="Steiner Andreas 6206 ED" userId="e6377c33-a923-4f14-8587-531c474c7b48" providerId="ADAL" clId="{6ECD27E6-B224-41CD-B4E0-E297462320DD}" dt="2023-11-24T11:36:35.573" v="128343"/>
          <ac:spMkLst>
            <pc:docMk/>
            <pc:sldMk cId="2225815222" sldId="2147478566"/>
            <ac:spMk id="836" creationId="{CDA16917-54A1-6618-CEBF-823C2157B6DA}"/>
          </ac:spMkLst>
        </pc:spChg>
        <pc:spChg chg="add del mod">
          <ac:chgData name="Steiner Andreas 6206 ED" userId="e6377c33-a923-4f14-8587-531c474c7b48" providerId="ADAL" clId="{6ECD27E6-B224-41CD-B4E0-E297462320DD}" dt="2023-11-24T11:36:37.746" v="128498"/>
          <ac:spMkLst>
            <pc:docMk/>
            <pc:sldMk cId="2225815222" sldId="2147478566"/>
            <ac:spMk id="837" creationId="{5CA62BC1-F7CD-5EDF-403C-4551065C1333}"/>
          </ac:spMkLst>
        </pc:spChg>
        <pc:spChg chg="add del mod">
          <ac:chgData name="Steiner Andreas 6206 ED" userId="e6377c33-a923-4f14-8587-531c474c7b48" providerId="ADAL" clId="{6ECD27E6-B224-41CD-B4E0-E297462320DD}" dt="2023-11-24T11:36:39.933" v="128653"/>
          <ac:spMkLst>
            <pc:docMk/>
            <pc:sldMk cId="2225815222" sldId="2147478566"/>
            <ac:spMk id="838" creationId="{AB61606E-BC1D-AFB3-4AEC-28DBEAC923BA}"/>
          </ac:spMkLst>
        </pc:spChg>
        <pc:spChg chg="add del mod">
          <ac:chgData name="Steiner Andreas 6206 ED" userId="e6377c33-a923-4f14-8587-531c474c7b48" providerId="ADAL" clId="{6ECD27E6-B224-41CD-B4E0-E297462320DD}" dt="2023-11-24T11:36:42.494" v="128808"/>
          <ac:spMkLst>
            <pc:docMk/>
            <pc:sldMk cId="2225815222" sldId="2147478566"/>
            <ac:spMk id="839" creationId="{4397692D-CFCC-BFF7-FB4D-D48E039ECA3A}"/>
          </ac:spMkLst>
        </pc:spChg>
        <pc:spChg chg="add del mod">
          <ac:chgData name="Steiner Andreas 6206 ED" userId="e6377c33-a923-4f14-8587-531c474c7b48" providerId="ADAL" clId="{6ECD27E6-B224-41CD-B4E0-E297462320DD}" dt="2023-11-24T11:36:44.784" v="128963"/>
          <ac:spMkLst>
            <pc:docMk/>
            <pc:sldMk cId="2225815222" sldId="2147478566"/>
            <ac:spMk id="840" creationId="{7653BBB0-47A5-C8F2-099F-987D52F98A05}"/>
          </ac:spMkLst>
        </pc:spChg>
        <pc:spChg chg="add del mod">
          <ac:chgData name="Steiner Andreas 6206 ED" userId="e6377c33-a923-4f14-8587-531c474c7b48" providerId="ADAL" clId="{6ECD27E6-B224-41CD-B4E0-E297462320DD}" dt="2023-11-24T11:36:46.716" v="129118"/>
          <ac:spMkLst>
            <pc:docMk/>
            <pc:sldMk cId="2225815222" sldId="2147478566"/>
            <ac:spMk id="841" creationId="{A8418E86-8D2A-64B1-4120-D0EFF8A3D828}"/>
          </ac:spMkLst>
        </pc:spChg>
        <pc:spChg chg="add del mod">
          <ac:chgData name="Steiner Andreas 6206 ED" userId="e6377c33-a923-4f14-8587-531c474c7b48" providerId="ADAL" clId="{6ECD27E6-B224-41CD-B4E0-E297462320DD}" dt="2023-11-24T11:36:48.701" v="129273"/>
          <ac:spMkLst>
            <pc:docMk/>
            <pc:sldMk cId="2225815222" sldId="2147478566"/>
            <ac:spMk id="842" creationId="{91BBA71F-C363-3F39-7522-0DBC60829E4A}"/>
          </ac:spMkLst>
        </pc:spChg>
        <pc:spChg chg="add del mod">
          <ac:chgData name="Steiner Andreas 6206 ED" userId="e6377c33-a923-4f14-8587-531c474c7b48" providerId="ADAL" clId="{6ECD27E6-B224-41CD-B4E0-E297462320DD}" dt="2023-11-24T11:36:50.673" v="129428"/>
          <ac:spMkLst>
            <pc:docMk/>
            <pc:sldMk cId="2225815222" sldId="2147478566"/>
            <ac:spMk id="843" creationId="{F181D664-27D3-D398-1B0C-051A05E37A61}"/>
          </ac:spMkLst>
        </pc:spChg>
        <pc:spChg chg="add del mod">
          <ac:chgData name="Steiner Andreas 6206 ED" userId="e6377c33-a923-4f14-8587-531c474c7b48" providerId="ADAL" clId="{6ECD27E6-B224-41CD-B4E0-E297462320DD}" dt="2023-11-24T11:36:52.824" v="129583"/>
          <ac:spMkLst>
            <pc:docMk/>
            <pc:sldMk cId="2225815222" sldId="2147478566"/>
            <ac:spMk id="844" creationId="{C0A913F4-50AD-15B5-84ED-BA57A6F4CA63}"/>
          </ac:spMkLst>
        </pc:spChg>
        <pc:spChg chg="add del mod">
          <ac:chgData name="Steiner Andreas 6206 ED" userId="e6377c33-a923-4f14-8587-531c474c7b48" providerId="ADAL" clId="{6ECD27E6-B224-41CD-B4E0-E297462320DD}" dt="2023-11-24T11:36:55.737" v="129738"/>
          <ac:spMkLst>
            <pc:docMk/>
            <pc:sldMk cId="2225815222" sldId="2147478566"/>
            <ac:spMk id="845" creationId="{440AE355-8F43-0B3E-FB00-AFC9C28C08C9}"/>
          </ac:spMkLst>
        </pc:spChg>
        <pc:spChg chg="add del mod">
          <ac:chgData name="Steiner Andreas 6206 ED" userId="e6377c33-a923-4f14-8587-531c474c7b48" providerId="ADAL" clId="{6ECD27E6-B224-41CD-B4E0-E297462320DD}" dt="2023-11-24T11:36:57.967" v="129893"/>
          <ac:spMkLst>
            <pc:docMk/>
            <pc:sldMk cId="2225815222" sldId="2147478566"/>
            <ac:spMk id="846" creationId="{ABA6F157-8071-0235-44F3-E123BEFF674C}"/>
          </ac:spMkLst>
        </pc:spChg>
        <pc:spChg chg="add del mod">
          <ac:chgData name="Steiner Andreas 6206 ED" userId="e6377c33-a923-4f14-8587-531c474c7b48" providerId="ADAL" clId="{6ECD27E6-B224-41CD-B4E0-E297462320DD}" dt="2023-11-24T11:37:00.276" v="130048"/>
          <ac:spMkLst>
            <pc:docMk/>
            <pc:sldMk cId="2225815222" sldId="2147478566"/>
            <ac:spMk id="847" creationId="{8B7C1E63-A224-6BD5-E25C-385CE7A094BD}"/>
          </ac:spMkLst>
        </pc:spChg>
        <pc:spChg chg="add del mod">
          <ac:chgData name="Steiner Andreas 6206 ED" userId="e6377c33-a923-4f14-8587-531c474c7b48" providerId="ADAL" clId="{6ECD27E6-B224-41CD-B4E0-E297462320DD}" dt="2023-11-24T11:37:02.073" v="130203"/>
          <ac:spMkLst>
            <pc:docMk/>
            <pc:sldMk cId="2225815222" sldId="2147478566"/>
            <ac:spMk id="848" creationId="{CA13DE83-472B-2E24-FE23-0C9BF57F8D78}"/>
          </ac:spMkLst>
        </pc:spChg>
        <pc:spChg chg="add del mod">
          <ac:chgData name="Steiner Andreas 6206 ED" userId="e6377c33-a923-4f14-8587-531c474c7b48" providerId="ADAL" clId="{6ECD27E6-B224-41CD-B4E0-E297462320DD}" dt="2023-11-24T11:37:03.816" v="130358"/>
          <ac:spMkLst>
            <pc:docMk/>
            <pc:sldMk cId="2225815222" sldId="2147478566"/>
            <ac:spMk id="849" creationId="{53AB260C-6E2A-DBFA-F9F1-924B3C306DA1}"/>
          </ac:spMkLst>
        </pc:spChg>
        <pc:spChg chg="add del mod">
          <ac:chgData name="Steiner Andreas 6206 ED" userId="e6377c33-a923-4f14-8587-531c474c7b48" providerId="ADAL" clId="{6ECD27E6-B224-41CD-B4E0-E297462320DD}" dt="2023-11-24T11:37:05.690" v="130513"/>
          <ac:spMkLst>
            <pc:docMk/>
            <pc:sldMk cId="2225815222" sldId="2147478566"/>
            <ac:spMk id="850" creationId="{DB733385-1741-1872-BE11-2AA9770EA1F7}"/>
          </ac:spMkLst>
        </pc:spChg>
        <pc:spChg chg="add del mod">
          <ac:chgData name="Steiner Andreas 6206 ED" userId="e6377c33-a923-4f14-8587-531c474c7b48" providerId="ADAL" clId="{6ECD27E6-B224-41CD-B4E0-E297462320DD}" dt="2023-11-24T11:37:07.449" v="130668"/>
          <ac:spMkLst>
            <pc:docMk/>
            <pc:sldMk cId="2225815222" sldId="2147478566"/>
            <ac:spMk id="851" creationId="{58D89F1B-88A8-B144-FD46-EB97B0F4C1A2}"/>
          </ac:spMkLst>
        </pc:spChg>
        <pc:spChg chg="add del mod">
          <ac:chgData name="Steiner Andreas 6206 ED" userId="e6377c33-a923-4f14-8587-531c474c7b48" providerId="ADAL" clId="{6ECD27E6-B224-41CD-B4E0-E297462320DD}" dt="2023-11-24T11:37:09.164" v="130823"/>
          <ac:spMkLst>
            <pc:docMk/>
            <pc:sldMk cId="2225815222" sldId="2147478566"/>
            <ac:spMk id="852" creationId="{9CBE30A4-B1AA-252A-9A28-96958A78C285}"/>
          </ac:spMkLst>
        </pc:spChg>
        <pc:spChg chg="add del mod">
          <ac:chgData name="Steiner Andreas 6206 ED" userId="e6377c33-a923-4f14-8587-531c474c7b48" providerId="ADAL" clId="{6ECD27E6-B224-41CD-B4E0-E297462320DD}" dt="2023-11-24T11:37:10.846" v="130978"/>
          <ac:spMkLst>
            <pc:docMk/>
            <pc:sldMk cId="2225815222" sldId="2147478566"/>
            <ac:spMk id="853" creationId="{16F5FD64-83A5-3036-90B6-69AC2ED88DAE}"/>
          </ac:spMkLst>
        </pc:spChg>
        <pc:spChg chg="add del mod">
          <ac:chgData name="Steiner Andreas 6206 ED" userId="e6377c33-a923-4f14-8587-531c474c7b48" providerId="ADAL" clId="{6ECD27E6-B224-41CD-B4E0-E297462320DD}" dt="2023-11-24T11:37:12.519" v="131133"/>
          <ac:spMkLst>
            <pc:docMk/>
            <pc:sldMk cId="2225815222" sldId="2147478566"/>
            <ac:spMk id="854" creationId="{2D5052C9-DD4D-56A6-AAEA-251103AE5593}"/>
          </ac:spMkLst>
        </pc:spChg>
        <pc:spChg chg="add del mod">
          <ac:chgData name="Steiner Andreas 6206 ED" userId="e6377c33-a923-4f14-8587-531c474c7b48" providerId="ADAL" clId="{6ECD27E6-B224-41CD-B4E0-E297462320DD}" dt="2023-11-24T11:37:14.198" v="131288"/>
          <ac:spMkLst>
            <pc:docMk/>
            <pc:sldMk cId="2225815222" sldId="2147478566"/>
            <ac:spMk id="855" creationId="{74AC59EE-3167-5421-FF29-0F62A9B644A8}"/>
          </ac:spMkLst>
        </pc:spChg>
        <pc:spChg chg="add del mod">
          <ac:chgData name="Steiner Andreas 6206 ED" userId="e6377c33-a923-4f14-8587-531c474c7b48" providerId="ADAL" clId="{6ECD27E6-B224-41CD-B4E0-E297462320DD}" dt="2023-11-24T11:37:16.303" v="131443"/>
          <ac:spMkLst>
            <pc:docMk/>
            <pc:sldMk cId="2225815222" sldId="2147478566"/>
            <ac:spMk id="856" creationId="{A15BA3B5-7D64-A22A-7728-D6D94CBC3938}"/>
          </ac:spMkLst>
        </pc:spChg>
        <pc:spChg chg="add del mod">
          <ac:chgData name="Steiner Andreas 6206 ED" userId="e6377c33-a923-4f14-8587-531c474c7b48" providerId="ADAL" clId="{6ECD27E6-B224-41CD-B4E0-E297462320DD}" dt="2023-11-24T11:37:18.265" v="131598"/>
          <ac:spMkLst>
            <pc:docMk/>
            <pc:sldMk cId="2225815222" sldId="2147478566"/>
            <ac:spMk id="857" creationId="{62279200-0D6E-03CE-10B8-4C77A7B0277C}"/>
          </ac:spMkLst>
        </pc:spChg>
        <pc:spChg chg="add del mod">
          <ac:chgData name="Steiner Andreas 6206 ED" userId="e6377c33-a923-4f14-8587-531c474c7b48" providerId="ADAL" clId="{6ECD27E6-B224-41CD-B4E0-E297462320DD}" dt="2023-11-24T11:37:20.141" v="131753"/>
          <ac:spMkLst>
            <pc:docMk/>
            <pc:sldMk cId="2225815222" sldId="2147478566"/>
            <ac:spMk id="858" creationId="{11B293C1-A9E1-CB98-87D6-0BCB45A06E7B}"/>
          </ac:spMkLst>
        </pc:spChg>
        <pc:spChg chg="add del mod">
          <ac:chgData name="Steiner Andreas 6206 ED" userId="e6377c33-a923-4f14-8587-531c474c7b48" providerId="ADAL" clId="{6ECD27E6-B224-41CD-B4E0-E297462320DD}" dt="2023-11-24T11:37:22.050" v="131908"/>
          <ac:spMkLst>
            <pc:docMk/>
            <pc:sldMk cId="2225815222" sldId="2147478566"/>
            <ac:spMk id="859" creationId="{5D5CA2AE-A63C-B140-3804-264450016B91}"/>
          </ac:spMkLst>
        </pc:spChg>
        <pc:spChg chg="add del mod">
          <ac:chgData name="Steiner Andreas 6206 ED" userId="e6377c33-a923-4f14-8587-531c474c7b48" providerId="ADAL" clId="{6ECD27E6-B224-41CD-B4E0-E297462320DD}" dt="2023-11-24T11:37:23.805" v="132063"/>
          <ac:spMkLst>
            <pc:docMk/>
            <pc:sldMk cId="2225815222" sldId="2147478566"/>
            <ac:spMk id="860" creationId="{A551E4E2-F63D-A965-5C95-B0D07ADC9280}"/>
          </ac:spMkLst>
        </pc:spChg>
        <pc:spChg chg="add del mod">
          <ac:chgData name="Steiner Andreas 6206 ED" userId="e6377c33-a923-4f14-8587-531c474c7b48" providerId="ADAL" clId="{6ECD27E6-B224-41CD-B4E0-E297462320DD}" dt="2023-11-24T11:37:25.503" v="132218"/>
          <ac:spMkLst>
            <pc:docMk/>
            <pc:sldMk cId="2225815222" sldId="2147478566"/>
            <ac:spMk id="861" creationId="{02F21D1B-CA7C-570C-A473-3E8AA6D91E63}"/>
          </ac:spMkLst>
        </pc:spChg>
        <pc:spChg chg="add del mod">
          <ac:chgData name="Steiner Andreas 6206 ED" userId="e6377c33-a923-4f14-8587-531c474c7b48" providerId="ADAL" clId="{6ECD27E6-B224-41CD-B4E0-E297462320DD}" dt="2023-11-24T11:37:27.545" v="132373"/>
          <ac:spMkLst>
            <pc:docMk/>
            <pc:sldMk cId="2225815222" sldId="2147478566"/>
            <ac:spMk id="862" creationId="{A75D5073-2C3F-B922-39C7-D74D1A8F5586}"/>
          </ac:spMkLst>
        </pc:spChg>
        <pc:spChg chg="add del mod">
          <ac:chgData name="Steiner Andreas 6206 ED" userId="e6377c33-a923-4f14-8587-531c474c7b48" providerId="ADAL" clId="{6ECD27E6-B224-41CD-B4E0-E297462320DD}" dt="2023-11-24T11:37:30.254" v="132528"/>
          <ac:spMkLst>
            <pc:docMk/>
            <pc:sldMk cId="2225815222" sldId="2147478566"/>
            <ac:spMk id="863" creationId="{9CB5DE7F-7D7E-5D6D-6347-30EC6D5DC8D4}"/>
          </ac:spMkLst>
        </pc:spChg>
        <pc:spChg chg="add del mod">
          <ac:chgData name="Steiner Andreas 6206 ED" userId="e6377c33-a923-4f14-8587-531c474c7b48" providerId="ADAL" clId="{6ECD27E6-B224-41CD-B4E0-E297462320DD}" dt="2023-11-24T11:37:32.894" v="132683"/>
          <ac:spMkLst>
            <pc:docMk/>
            <pc:sldMk cId="2225815222" sldId="2147478566"/>
            <ac:spMk id="864" creationId="{E6C7F1D2-1320-10A0-AA9D-1E5F3F7F1771}"/>
          </ac:spMkLst>
        </pc:spChg>
        <pc:spChg chg="add del mod">
          <ac:chgData name="Steiner Andreas 6206 ED" userId="e6377c33-a923-4f14-8587-531c474c7b48" providerId="ADAL" clId="{6ECD27E6-B224-41CD-B4E0-E297462320DD}" dt="2023-11-24T11:37:35.766" v="132838"/>
          <ac:spMkLst>
            <pc:docMk/>
            <pc:sldMk cId="2225815222" sldId="2147478566"/>
            <ac:spMk id="865" creationId="{05D9F5C9-E795-F53A-A3BA-00EB424ACEA6}"/>
          </ac:spMkLst>
        </pc:spChg>
        <pc:spChg chg="add del mod">
          <ac:chgData name="Steiner Andreas 6206 ED" userId="e6377c33-a923-4f14-8587-531c474c7b48" providerId="ADAL" clId="{6ECD27E6-B224-41CD-B4E0-E297462320DD}" dt="2023-11-24T11:37:38.511" v="132993"/>
          <ac:spMkLst>
            <pc:docMk/>
            <pc:sldMk cId="2225815222" sldId="2147478566"/>
            <ac:spMk id="866" creationId="{1600793A-D9D6-1AE9-D329-444E6E361216}"/>
          </ac:spMkLst>
        </pc:spChg>
        <pc:spChg chg="add del mod">
          <ac:chgData name="Steiner Andreas 6206 ED" userId="e6377c33-a923-4f14-8587-531c474c7b48" providerId="ADAL" clId="{6ECD27E6-B224-41CD-B4E0-E297462320DD}" dt="2023-11-24T11:37:41.013" v="133148"/>
          <ac:spMkLst>
            <pc:docMk/>
            <pc:sldMk cId="2225815222" sldId="2147478566"/>
            <ac:spMk id="867" creationId="{AE1E0112-46E2-A182-CA8B-D332B08CF7CA}"/>
          </ac:spMkLst>
        </pc:spChg>
        <pc:spChg chg="add del mod">
          <ac:chgData name="Steiner Andreas 6206 ED" userId="e6377c33-a923-4f14-8587-531c474c7b48" providerId="ADAL" clId="{6ECD27E6-B224-41CD-B4E0-E297462320DD}" dt="2023-11-24T11:37:44.190" v="133303"/>
          <ac:spMkLst>
            <pc:docMk/>
            <pc:sldMk cId="2225815222" sldId="2147478566"/>
            <ac:spMk id="868" creationId="{44F547EC-1525-E449-2BD4-6D5F2BC2C91A}"/>
          </ac:spMkLst>
        </pc:spChg>
        <pc:spChg chg="add del mod">
          <ac:chgData name="Steiner Andreas 6206 ED" userId="e6377c33-a923-4f14-8587-531c474c7b48" providerId="ADAL" clId="{6ECD27E6-B224-41CD-B4E0-E297462320DD}" dt="2023-11-24T11:37:48.239" v="133458"/>
          <ac:spMkLst>
            <pc:docMk/>
            <pc:sldMk cId="2225815222" sldId="2147478566"/>
            <ac:spMk id="869" creationId="{E112DFD8-D805-C9DF-4A5E-37D3B75D9236}"/>
          </ac:spMkLst>
        </pc:spChg>
        <pc:spChg chg="add del mod">
          <ac:chgData name="Steiner Andreas 6206 ED" userId="e6377c33-a923-4f14-8587-531c474c7b48" providerId="ADAL" clId="{6ECD27E6-B224-41CD-B4E0-E297462320DD}" dt="2023-11-24T11:37:51.470" v="133613"/>
          <ac:spMkLst>
            <pc:docMk/>
            <pc:sldMk cId="2225815222" sldId="2147478566"/>
            <ac:spMk id="870" creationId="{004735F6-2D34-191E-7CFE-9B87D0D0C520}"/>
          </ac:spMkLst>
        </pc:spChg>
        <pc:spChg chg="add del mod">
          <ac:chgData name="Steiner Andreas 6206 ED" userId="e6377c33-a923-4f14-8587-531c474c7b48" providerId="ADAL" clId="{6ECD27E6-B224-41CD-B4E0-E297462320DD}" dt="2023-11-24T11:37:54.203" v="133768"/>
          <ac:spMkLst>
            <pc:docMk/>
            <pc:sldMk cId="2225815222" sldId="2147478566"/>
            <ac:spMk id="871" creationId="{2E136836-02CA-6A61-2B0E-AFD889E1866C}"/>
          </ac:spMkLst>
        </pc:spChg>
        <pc:spChg chg="add del mod">
          <ac:chgData name="Steiner Andreas 6206 ED" userId="e6377c33-a923-4f14-8587-531c474c7b48" providerId="ADAL" clId="{6ECD27E6-B224-41CD-B4E0-E297462320DD}" dt="2023-11-24T11:37:56.596" v="133923"/>
          <ac:spMkLst>
            <pc:docMk/>
            <pc:sldMk cId="2225815222" sldId="2147478566"/>
            <ac:spMk id="872" creationId="{4C1C8CA5-5247-8EB3-A678-DF8A82026F0F}"/>
          </ac:spMkLst>
        </pc:spChg>
        <pc:spChg chg="add del mod">
          <ac:chgData name="Steiner Andreas 6206 ED" userId="e6377c33-a923-4f14-8587-531c474c7b48" providerId="ADAL" clId="{6ECD27E6-B224-41CD-B4E0-E297462320DD}" dt="2023-11-24T11:37:59.186" v="134078"/>
          <ac:spMkLst>
            <pc:docMk/>
            <pc:sldMk cId="2225815222" sldId="2147478566"/>
            <ac:spMk id="873" creationId="{4046B417-8B39-A9C1-451F-723A72C0A82F}"/>
          </ac:spMkLst>
        </pc:spChg>
        <pc:spChg chg="add del mod">
          <ac:chgData name="Steiner Andreas 6206 ED" userId="e6377c33-a923-4f14-8587-531c474c7b48" providerId="ADAL" clId="{6ECD27E6-B224-41CD-B4E0-E297462320DD}" dt="2023-11-24T11:38:01.425" v="134233"/>
          <ac:spMkLst>
            <pc:docMk/>
            <pc:sldMk cId="2225815222" sldId="2147478566"/>
            <ac:spMk id="874" creationId="{AFEC57BC-C93E-ACCA-7017-76FA6C34BC9A}"/>
          </ac:spMkLst>
        </pc:spChg>
        <pc:spChg chg="add del mod">
          <ac:chgData name="Steiner Andreas 6206 ED" userId="e6377c33-a923-4f14-8587-531c474c7b48" providerId="ADAL" clId="{6ECD27E6-B224-41CD-B4E0-E297462320DD}" dt="2023-11-24T11:38:03.991" v="134388"/>
          <ac:spMkLst>
            <pc:docMk/>
            <pc:sldMk cId="2225815222" sldId="2147478566"/>
            <ac:spMk id="875" creationId="{6AD3836D-55FA-68CD-5AE3-52E3F57281FD}"/>
          </ac:spMkLst>
        </pc:spChg>
        <pc:spChg chg="add del mod">
          <ac:chgData name="Steiner Andreas 6206 ED" userId="e6377c33-a923-4f14-8587-531c474c7b48" providerId="ADAL" clId="{6ECD27E6-B224-41CD-B4E0-E297462320DD}" dt="2023-11-24T11:38:06.414" v="134543"/>
          <ac:spMkLst>
            <pc:docMk/>
            <pc:sldMk cId="2225815222" sldId="2147478566"/>
            <ac:spMk id="876" creationId="{870308E4-87AC-9770-3E8F-A20EE9811EF0}"/>
          </ac:spMkLst>
        </pc:spChg>
        <pc:spChg chg="add del mod">
          <ac:chgData name="Steiner Andreas 6206 ED" userId="e6377c33-a923-4f14-8587-531c474c7b48" providerId="ADAL" clId="{6ECD27E6-B224-41CD-B4E0-E297462320DD}" dt="2023-11-24T11:38:09.356" v="134698"/>
          <ac:spMkLst>
            <pc:docMk/>
            <pc:sldMk cId="2225815222" sldId="2147478566"/>
            <ac:spMk id="877" creationId="{CD88B8CA-6AB3-CEC8-2E91-7150E5948AF5}"/>
          </ac:spMkLst>
        </pc:spChg>
        <pc:spChg chg="add del mod">
          <ac:chgData name="Steiner Andreas 6206 ED" userId="e6377c33-a923-4f14-8587-531c474c7b48" providerId="ADAL" clId="{6ECD27E6-B224-41CD-B4E0-E297462320DD}" dt="2023-11-24T11:38:12.066" v="134853"/>
          <ac:spMkLst>
            <pc:docMk/>
            <pc:sldMk cId="2225815222" sldId="2147478566"/>
            <ac:spMk id="878" creationId="{2C85A557-7A27-9FAA-A9DC-0E77D1A79BD5}"/>
          </ac:spMkLst>
        </pc:spChg>
        <pc:spChg chg="add del mod">
          <ac:chgData name="Steiner Andreas 6206 ED" userId="e6377c33-a923-4f14-8587-531c474c7b48" providerId="ADAL" clId="{6ECD27E6-B224-41CD-B4E0-E297462320DD}" dt="2023-11-24T11:38:14.359" v="135008"/>
          <ac:spMkLst>
            <pc:docMk/>
            <pc:sldMk cId="2225815222" sldId="2147478566"/>
            <ac:spMk id="879" creationId="{E27DC6E5-1EF7-F12B-9DA7-F84287675EC8}"/>
          </ac:spMkLst>
        </pc:spChg>
        <pc:spChg chg="add del mod">
          <ac:chgData name="Steiner Andreas 6206 ED" userId="e6377c33-a923-4f14-8587-531c474c7b48" providerId="ADAL" clId="{6ECD27E6-B224-41CD-B4E0-E297462320DD}" dt="2023-11-24T11:38:16.781" v="135163"/>
          <ac:spMkLst>
            <pc:docMk/>
            <pc:sldMk cId="2225815222" sldId="2147478566"/>
            <ac:spMk id="880" creationId="{6D74B294-3B0A-85A4-1138-1AA1B89BE602}"/>
          </ac:spMkLst>
        </pc:spChg>
        <pc:spChg chg="add del mod">
          <ac:chgData name="Steiner Andreas 6206 ED" userId="e6377c33-a923-4f14-8587-531c474c7b48" providerId="ADAL" clId="{6ECD27E6-B224-41CD-B4E0-E297462320DD}" dt="2023-11-24T11:38:19.742" v="135318"/>
          <ac:spMkLst>
            <pc:docMk/>
            <pc:sldMk cId="2225815222" sldId="2147478566"/>
            <ac:spMk id="881" creationId="{E9B1E244-2FFE-592E-B576-C4AC4578E170}"/>
          </ac:spMkLst>
        </pc:spChg>
        <pc:spChg chg="add del mod">
          <ac:chgData name="Steiner Andreas 6206 ED" userId="e6377c33-a923-4f14-8587-531c474c7b48" providerId="ADAL" clId="{6ECD27E6-B224-41CD-B4E0-E297462320DD}" dt="2023-11-24T11:38:22.360" v="135473"/>
          <ac:spMkLst>
            <pc:docMk/>
            <pc:sldMk cId="2225815222" sldId="2147478566"/>
            <ac:spMk id="882" creationId="{7E7C2EE1-AB46-8E80-3AED-E5815276624E}"/>
          </ac:spMkLst>
        </pc:spChg>
        <pc:spChg chg="add del mod">
          <ac:chgData name="Steiner Andreas 6206 ED" userId="e6377c33-a923-4f14-8587-531c474c7b48" providerId="ADAL" clId="{6ECD27E6-B224-41CD-B4E0-E297462320DD}" dt="2023-11-24T11:38:25.021" v="135628"/>
          <ac:spMkLst>
            <pc:docMk/>
            <pc:sldMk cId="2225815222" sldId="2147478566"/>
            <ac:spMk id="883" creationId="{24DF60D6-B99A-B00C-3C9A-15B2E185162C}"/>
          </ac:spMkLst>
        </pc:spChg>
        <pc:spChg chg="add del mod">
          <ac:chgData name="Steiner Andreas 6206 ED" userId="e6377c33-a923-4f14-8587-531c474c7b48" providerId="ADAL" clId="{6ECD27E6-B224-41CD-B4E0-E297462320DD}" dt="2023-11-24T11:38:27.772" v="135783"/>
          <ac:spMkLst>
            <pc:docMk/>
            <pc:sldMk cId="2225815222" sldId="2147478566"/>
            <ac:spMk id="884" creationId="{284D31B9-20F9-F408-B3A7-4EB14540ABC7}"/>
          </ac:spMkLst>
        </pc:spChg>
        <pc:spChg chg="add del mod">
          <ac:chgData name="Steiner Andreas 6206 ED" userId="e6377c33-a923-4f14-8587-531c474c7b48" providerId="ADAL" clId="{6ECD27E6-B224-41CD-B4E0-E297462320DD}" dt="2023-11-24T11:38:30.462" v="135938"/>
          <ac:spMkLst>
            <pc:docMk/>
            <pc:sldMk cId="2225815222" sldId="2147478566"/>
            <ac:spMk id="885" creationId="{6534DA15-AD29-5E8D-D69D-9579E9C21A59}"/>
          </ac:spMkLst>
        </pc:spChg>
        <pc:spChg chg="add del mod">
          <ac:chgData name="Steiner Andreas 6206 ED" userId="e6377c33-a923-4f14-8587-531c474c7b48" providerId="ADAL" clId="{6ECD27E6-B224-41CD-B4E0-E297462320DD}" dt="2023-11-24T11:38:32.784" v="136093"/>
          <ac:spMkLst>
            <pc:docMk/>
            <pc:sldMk cId="2225815222" sldId="2147478566"/>
            <ac:spMk id="886" creationId="{02E671D6-5A2C-E7BD-B0D2-885ABD30815F}"/>
          </ac:spMkLst>
        </pc:spChg>
        <pc:spChg chg="add del mod">
          <ac:chgData name="Steiner Andreas 6206 ED" userId="e6377c33-a923-4f14-8587-531c474c7b48" providerId="ADAL" clId="{6ECD27E6-B224-41CD-B4E0-E297462320DD}" dt="2023-11-24T11:38:35.259" v="136248"/>
          <ac:spMkLst>
            <pc:docMk/>
            <pc:sldMk cId="2225815222" sldId="2147478566"/>
            <ac:spMk id="887" creationId="{3284DB2A-B08A-87F7-DF82-C94E0F32C73F}"/>
          </ac:spMkLst>
        </pc:spChg>
        <pc:spChg chg="add del mod">
          <ac:chgData name="Steiner Andreas 6206 ED" userId="e6377c33-a923-4f14-8587-531c474c7b48" providerId="ADAL" clId="{6ECD27E6-B224-41CD-B4E0-E297462320DD}" dt="2023-11-24T11:38:38.117" v="136403"/>
          <ac:spMkLst>
            <pc:docMk/>
            <pc:sldMk cId="2225815222" sldId="2147478566"/>
            <ac:spMk id="888" creationId="{832E3A0B-FA44-4B20-986A-0A5AFC4C1005}"/>
          </ac:spMkLst>
        </pc:spChg>
        <pc:spChg chg="add del mod">
          <ac:chgData name="Steiner Andreas 6206 ED" userId="e6377c33-a923-4f14-8587-531c474c7b48" providerId="ADAL" clId="{6ECD27E6-B224-41CD-B4E0-E297462320DD}" dt="2023-11-24T11:38:40.695" v="136558"/>
          <ac:spMkLst>
            <pc:docMk/>
            <pc:sldMk cId="2225815222" sldId="2147478566"/>
            <ac:spMk id="889" creationId="{4EC9FD35-4DDE-8045-A78D-052509517158}"/>
          </ac:spMkLst>
        </pc:spChg>
        <pc:spChg chg="add del mod">
          <ac:chgData name="Steiner Andreas 6206 ED" userId="e6377c33-a923-4f14-8587-531c474c7b48" providerId="ADAL" clId="{6ECD27E6-B224-41CD-B4E0-E297462320DD}" dt="2023-11-24T11:38:43.080" v="136713"/>
          <ac:spMkLst>
            <pc:docMk/>
            <pc:sldMk cId="2225815222" sldId="2147478566"/>
            <ac:spMk id="890" creationId="{4B59DC5B-F1DD-C17E-259E-52F34A764E7B}"/>
          </ac:spMkLst>
        </pc:spChg>
        <pc:spChg chg="add del mod">
          <ac:chgData name="Steiner Andreas 6206 ED" userId="e6377c33-a923-4f14-8587-531c474c7b48" providerId="ADAL" clId="{6ECD27E6-B224-41CD-B4E0-E297462320DD}" dt="2023-11-24T11:38:45.506" v="136868"/>
          <ac:spMkLst>
            <pc:docMk/>
            <pc:sldMk cId="2225815222" sldId="2147478566"/>
            <ac:spMk id="891" creationId="{CBE1F369-9FCE-8755-A1E7-15B8DCEA7EFD}"/>
          </ac:spMkLst>
        </pc:spChg>
        <pc:spChg chg="add del mod">
          <ac:chgData name="Steiner Andreas 6206 ED" userId="e6377c33-a923-4f14-8587-531c474c7b48" providerId="ADAL" clId="{6ECD27E6-B224-41CD-B4E0-E297462320DD}" dt="2023-11-24T11:38:47.832" v="137023"/>
          <ac:spMkLst>
            <pc:docMk/>
            <pc:sldMk cId="2225815222" sldId="2147478566"/>
            <ac:spMk id="892" creationId="{83873869-8429-9FE5-DE05-66F838C4A0C2}"/>
          </ac:spMkLst>
        </pc:spChg>
        <pc:spChg chg="add del mod">
          <ac:chgData name="Steiner Andreas 6206 ED" userId="e6377c33-a923-4f14-8587-531c474c7b48" providerId="ADAL" clId="{6ECD27E6-B224-41CD-B4E0-E297462320DD}" dt="2023-11-24T11:38:50.938" v="137178"/>
          <ac:spMkLst>
            <pc:docMk/>
            <pc:sldMk cId="2225815222" sldId="2147478566"/>
            <ac:spMk id="893" creationId="{ED7B2065-52E2-A672-9481-4219AD3ABF4D}"/>
          </ac:spMkLst>
        </pc:spChg>
        <pc:spChg chg="add del mod">
          <ac:chgData name="Steiner Andreas 6206 ED" userId="e6377c33-a923-4f14-8587-531c474c7b48" providerId="ADAL" clId="{6ECD27E6-B224-41CD-B4E0-E297462320DD}" dt="2023-11-24T11:38:53.288" v="137333"/>
          <ac:spMkLst>
            <pc:docMk/>
            <pc:sldMk cId="2225815222" sldId="2147478566"/>
            <ac:spMk id="894" creationId="{D83A0831-0EA0-6020-27E4-68C4CD1B2CC4}"/>
          </ac:spMkLst>
        </pc:spChg>
        <pc:spChg chg="add del mod">
          <ac:chgData name="Steiner Andreas 6206 ED" userId="e6377c33-a923-4f14-8587-531c474c7b48" providerId="ADAL" clId="{6ECD27E6-B224-41CD-B4E0-E297462320DD}" dt="2023-11-24T11:38:55.777" v="137488"/>
          <ac:spMkLst>
            <pc:docMk/>
            <pc:sldMk cId="2225815222" sldId="2147478566"/>
            <ac:spMk id="895" creationId="{D8BE6651-4184-586E-946F-0A22ACD20D17}"/>
          </ac:spMkLst>
        </pc:spChg>
        <pc:spChg chg="add del mod">
          <ac:chgData name="Steiner Andreas 6206 ED" userId="e6377c33-a923-4f14-8587-531c474c7b48" providerId="ADAL" clId="{6ECD27E6-B224-41CD-B4E0-E297462320DD}" dt="2023-11-24T11:38:58.346" v="137643"/>
          <ac:spMkLst>
            <pc:docMk/>
            <pc:sldMk cId="2225815222" sldId="2147478566"/>
            <ac:spMk id="896" creationId="{62B06ADF-B324-FC59-BA8D-5336ACD4D99A}"/>
          </ac:spMkLst>
        </pc:spChg>
        <pc:spChg chg="add del mod">
          <ac:chgData name="Steiner Andreas 6206 ED" userId="e6377c33-a923-4f14-8587-531c474c7b48" providerId="ADAL" clId="{6ECD27E6-B224-41CD-B4E0-E297462320DD}" dt="2023-11-24T11:39:00.629" v="137798"/>
          <ac:spMkLst>
            <pc:docMk/>
            <pc:sldMk cId="2225815222" sldId="2147478566"/>
            <ac:spMk id="897" creationId="{85509BC9-AA3B-5BC3-96A4-E73BB6E6D1C4}"/>
          </ac:spMkLst>
        </pc:spChg>
        <pc:spChg chg="add del mod">
          <ac:chgData name="Steiner Andreas 6206 ED" userId="e6377c33-a923-4f14-8587-531c474c7b48" providerId="ADAL" clId="{6ECD27E6-B224-41CD-B4E0-E297462320DD}" dt="2023-11-24T11:39:03.675" v="137953"/>
          <ac:spMkLst>
            <pc:docMk/>
            <pc:sldMk cId="2225815222" sldId="2147478566"/>
            <ac:spMk id="898" creationId="{32FE8358-2BE0-ECC0-66EE-7B85F0E2C332}"/>
          </ac:spMkLst>
        </pc:spChg>
        <pc:spChg chg="add del mod">
          <ac:chgData name="Steiner Andreas 6206 ED" userId="e6377c33-a923-4f14-8587-531c474c7b48" providerId="ADAL" clId="{6ECD27E6-B224-41CD-B4E0-E297462320DD}" dt="2023-11-24T11:39:06.321" v="138108"/>
          <ac:spMkLst>
            <pc:docMk/>
            <pc:sldMk cId="2225815222" sldId="2147478566"/>
            <ac:spMk id="899" creationId="{A9595588-8BFE-29F2-9EA1-3451F4955540}"/>
          </ac:spMkLst>
        </pc:spChg>
        <pc:spChg chg="add del mod">
          <ac:chgData name="Steiner Andreas 6206 ED" userId="e6377c33-a923-4f14-8587-531c474c7b48" providerId="ADAL" clId="{6ECD27E6-B224-41CD-B4E0-E297462320DD}" dt="2023-11-24T11:39:08.806" v="138263"/>
          <ac:spMkLst>
            <pc:docMk/>
            <pc:sldMk cId="2225815222" sldId="2147478566"/>
            <ac:spMk id="900" creationId="{E7ADDB37-C5CC-E914-932B-0B7AABA0494D}"/>
          </ac:spMkLst>
        </pc:spChg>
        <pc:spChg chg="add del mod">
          <ac:chgData name="Steiner Andreas 6206 ED" userId="e6377c33-a923-4f14-8587-531c474c7b48" providerId="ADAL" clId="{6ECD27E6-B224-41CD-B4E0-E297462320DD}" dt="2023-11-24T11:39:11.163" v="138418"/>
          <ac:spMkLst>
            <pc:docMk/>
            <pc:sldMk cId="2225815222" sldId="2147478566"/>
            <ac:spMk id="901" creationId="{C4FDEBC6-F73F-69AA-00E9-CDD63DA8C40E}"/>
          </ac:spMkLst>
        </pc:spChg>
        <pc:spChg chg="add del mod">
          <ac:chgData name="Steiner Andreas 6206 ED" userId="e6377c33-a923-4f14-8587-531c474c7b48" providerId="ADAL" clId="{6ECD27E6-B224-41CD-B4E0-E297462320DD}" dt="2023-11-24T11:39:13.665" v="138573"/>
          <ac:spMkLst>
            <pc:docMk/>
            <pc:sldMk cId="2225815222" sldId="2147478566"/>
            <ac:spMk id="902" creationId="{099BD47F-F83C-1371-8B13-4B1687570F14}"/>
          </ac:spMkLst>
        </pc:spChg>
        <pc:spChg chg="add del mod">
          <ac:chgData name="Steiner Andreas 6206 ED" userId="e6377c33-a923-4f14-8587-531c474c7b48" providerId="ADAL" clId="{6ECD27E6-B224-41CD-B4E0-E297462320DD}" dt="2023-11-24T11:39:16.367" v="138728"/>
          <ac:spMkLst>
            <pc:docMk/>
            <pc:sldMk cId="2225815222" sldId="2147478566"/>
            <ac:spMk id="903" creationId="{032CC459-E9B1-5B8E-78EC-9CC578771000}"/>
          </ac:spMkLst>
        </pc:spChg>
        <pc:spChg chg="add del mod">
          <ac:chgData name="Steiner Andreas 6206 ED" userId="e6377c33-a923-4f14-8587-531c474c7b48" providerId="ADAL" clId="{6ECD27E6-B224-41CD-B4E0-E297462320DD}" dt="2023-11-24T11:39:19.165" v="138883"/>
          <ac:spMkLst>
            <pc:docMk/>
            <pc:sldMk cId="2225815222" sldId="2147478566"/>
            <ac:spMk id="904" creationId="{42363BF7-F1DC-B8B8-03F9-9886A46D8537}"/>
          </ac:spMkLst>
        </pc:spChg>
        <pc:spChg chg="add del mod">
          <ac:chgData name="Steiner Andreas 6206 ED" userId="e6377c33-a923-4f14-8587-531c474c7b48" providerId="ADAL" clId="{6ECD27E6-B224-41CD-B4E0-E297462320DD}" dt="2023-11-24T11:39:21.851" v="139038"/>
          <ac:spMkLst>
            <pc:docMk/>
            <pc:sldMk cId="2225815222" sldId="2147478566"/>
            <ac:spMk id="905" creationId="{A22080AA-ACD3-6765-4862-CBCA38A96F66}"/>
          </ac:spMkLst>
        </pc:spChg>
        <pc:spChg chg="add del mod">
          <ac:chgData name="Steiner Andreas 6206 ED" userId="e6377c33-a923-4f14-8587-531c474c7b48" providerId="ADAL" clId="{6ECD27E6-B224-41CD-B4E0-E297462320DD}" dt="2023-11-24T11:39:24.455" v="139193"/>
          <ac:spMkLst>
            <pc:docMk/>
            <pc:sldMk cId="2225815222" sldId="2147478566"/>
            <ac:spMk id="906" creationId="{604C1C31-E189-A3F3-7CD9-3B4E5273976C}"/>
          </ac:spMkLst>
        </pc:spChg>
        <pc:spChg chg="add del mod">
          <ac:chgData name="Steiner Andreas 6206 ED" userId="e6377c33-a923-4f14-8587-531c474c7b48" providerId="ADAL" clId="{6ECD27E6-B224-41CD-B4E0-E297462320DD}" dt="2023-11-24T11:39:27.169" v="139348"/>
          <ac:spMkLst>
            <pc:docMk/>
            <pc:sldMk cId="2225815222" sldId="2147478566"/>
            <ac:spMk id="907" creationId="{6D4163A8-3F55-4B61-C147-F76A3234C23C}"/>
          </ac:spMkLst>
        </pc:spChg>
        <pc:spChg chg="add del mod">
          <ac:chgData name="Steiner Andreas 6206 ED" userId="e6377c33-a923-4f14-8587-531c474c7b48" providerId="ADAL" clId="{6ECD27E6-B224-41CD-B4E0-E297462320DD}" dt="2023-11-24T11:39:29.810" v="139503"/>
          <ac:spMkLst>
            <pc:docMk/>
            <pc:sldMk cId="2225815222" sldId="2147478566"/>
            <ac:spMk id="908" creationId="{57571657-3C80-62F5-E515-877CE4B1AC8B}"/>
          </ac:spMkLst>
        </pc:spChg>
        <pc:spChg chg="add del mod">
          <ac:chgData name="Steiner Andreas 6206 ED" userId="e6377c33-a923-4f14-8587-531c474c7b48" providerId="ADAL" clId="{6ECD27E6-B224-41CD-B4E0-E297462320DD}" dt="2023-11-24T11:39:32.927" v="139658"/>
          <ac:spMkLst>
            <pc:docMk/>
            <pc:sldMk cId="2225815222" sldId="2147478566"/>
            <ac:spMk id="909" creationId="{F9D4FCB0-C516-4062-B408-84126DEA2D8B}"/>
          </ac:spMkLst>
        </pc:spChg>
        <pc:spChg chg="add del mod">
          <ac:chgData name="Steiner Andreas 6206 ED" userId="e6377c33-a923-4f14-8587-531c474c7b48" providerId="ADAL" clId="{6ECD27E6-B224-41CD-B4E0-E297462320DD}" dt="2023-11-24T11:39:35.544" v="139813"/>
          <ac:spMkLst>
            <pc:docMk/>
            <pc:sldMk cId="2225815222" sldId="2147478566"/>
            <ac:spMk id="910" creationId="{E6D330F4-122E-EA61-DE9C-D75CDCF23824}"/>
          </ac:spMkLst>
        </pc:spChg>
        <pc:spChg chg="add del mod">
          <ac:chgData name="Steiner Andreas 6206 ED" userId="e6377c33-a923-4f14-8587-531c474c7b48" providerId="ADAL" clId="{6ECD27E6-B224-41CD-B4E0-E297462320DD}" dt="2023-11-24T11:39:38.510" v="139968"/>
          <ac:spMkLst>
            <pc:docMk/>
            <pc:sldMk cId="2225815222" sldId="2147478566"/>
            <ac:spMk id="911" creationId="{D9666BAD-6203-ABC3-B796-2F544F22A6CD}"/>
          </ac:spMkLst>
        </pc:spChg>
        <pc:spChg chg="add del mod">
          <ac:chgData name="Steiner Andreas 6206 ED" userId="e6377c33-a923-4f14-8587-531c474c7b48" providerId="ADAL" clId="{6ECD27E6-B224-41CD-B4E0-E297462320DD}" dt="2023-11-24T11:39:41.156" v="140123"/>
          <ac:spMkLst>
            <pc:docMk/>
            <pc:sldMk cId="2225815222" sldId="2147478566"/>
            <ac:spMk id="912" creationId="{20E37C9B-BA60-D817-E6B3-259EFAE240C4}"/>
          </ac:spMkLst>
        </pc:spChg>
        <pc:spChg chg="add del mod">
          <ac:chgData name="Steiner Andreas 6206 ED" userId="e6377c33-a923-4f14-8587-531c474c7b48" providerId="ADAL" clId="{6ECD27E6-B224-41CD-B4E0-E297462320DD}" dt="2023-11-24T11:39:43.817" v="140278"/>
          <ac:spMkLst>
            <pc:docMk/>
            <pc:sldMk cId="2225815222" sldId="2147478566"/>
            <ac:spMk id="913" creationId="{1784E881-C7D0-D1C9-BCFF-BE19DDFAFED5}"/>
          </ac:spMkLst>
        </pc:spChg>
        <pc:spChg chg="add del mod">
          <ac:chgData name="Steiner Andreas 6206 ED" userId="e6377c33-a923-4f14-8587-531c474c7b48" providerId="ADAL" clId="{6ECD27E6-B224-41CD-B4E0-E297462320DD}" dt="2023-11-24T11:39:46.329" v="140433"/>
          <ac:spMkLst>
            <pc:docMk/>
            <pc:sldMk cId="2225815222" sldId="2147478566"/>
            <ac:spMk id="914" creationId="{DD81CBF4-F1E2-2810-2CBC-602BBB229869}"/>
          </ac:spMkLst>
        </pc:spChg>
        <pc:spChg chg="add del mod">
          <ac:chgData name="Steiner Andreas 6206 ED" userId="e6377c33-a923-4f14-8587-531c474c7b48" providerId="ADAL" clId="{6ECD27E6-B224-41CD-B4E0-E297462320DD}" dt="2023-11-24T11:39:48.775" v="140588"/>
          <ac:spMkLst>
            <pc:docMk/>
            <pc:sldMk cId="2225815222" sldId="2147478566"/>
            <ac:spMk id="915" creationId="{EDF22357-F790-192A-2884-5A3AF34538A7}"/>
          </ac:spMkLst>
        </pc:spChg>
        <pc:spChg chg="add del mod">
          <ac:chgData name="Steiner Andreas 6206 ED" userId="e6377c33-a923-4f14-8587-531c474c7b48" providerId="ADAL" clId="{6ECD27E6-B224-41CD-B4E0-E297462320DD}" dt="2023-11-24T11:39:51.745" v="140743"/>
          <ac:spMkLst>
            <pc:docMk/>
            <pc:sldMk cId="2225815222" sldId="2147478566"/>
            <ac:spMk id="916" creationId="{32DA6940-8DC2-FE80-BE26-49A4BEF40CC7}"/>
          </ac:spMkLst>
        </pc:spChg>
        <pc:spChg chg="add del mod">
          <ac:chgData name="Steiner Andreas 6206 ED" userId="e6377c33-a923-4f14-8587-531c474c7b48" providerId="ADAL" clId="{6ECD27E6-B224-41CD-B4E0-E297462320DD}" dt="2023-11-24T11:39:54.681" v="140898"/>
          <ac:spMkLst>
            <pc:docMk/>
            <pc:sldMk cId="2225815222" sldId="2147478566"/>
            <ac:spMk id="917" creationId="{8F17CFF3-54A7-2465-95C5-B9EFFC531B6D}"/>
          </ac:spMkLst>
        </pc:spChg>
        <pc:spChg chg="add del mod">
          <ac:chgData name="Steiner Andreas 6206 ED" userId="e6377c33-a923-4f14-8587-531c474c7b48" providerId="ADAL" clId="{6ECD27E6-B224-41CD-B4E0-E297462320DD}" dt="2023-11-24T11:39:57.149" v="141053"/>
          <ac:spMkLst>
            <pc:docMk/>
            <pc:sldMk cId="2225815222" sldId="2147478566"/>
            <ac:spMk id="918" creationId="{48D43839-A0C9-D675-7B44-EFE01E15938B}"/>
          </ac:spMkLst>
        </pc:spChg>
        <pc:spChg chg="add del mod">
          <ac:chgData name="Steiner Andreas 6206 ED" userId="e6377c33-a923-4f14-8587-531c474c7b48" providerId="ADAL" clId="{6ECD27E6-B224-41CD-B4E0-E297462320DD}" dt="2023-11-24T11:39:59.516" v="141208"/>
          <ac:spMkLst>
            <pc:docMk/>
            <pc:sldMk cId="2225815222" sldId="2147478566"/>
            <ac:spMk id="919" creationId="{23E5E0A3-CA30-C773-574F-469C02125FC3}"/>
          </ac:spMkLst>
        </pc:spChg>
        <pc:spChg chg="add del mod">
          <ac:chgData name="Steiner Andreas 6206 ED" userId="e6377c33-a923-4f14-8587-531c474c7b48" providerId="ADAL" clId="{6ECD27E6-B224-41CD-B4E0-E297462320DD}" dt="2023-11-24T11:40:02.337" v="141363"/>
          <ac:spMkLst>
            <pc:docMk/>
            <pc:sldMk cId="2225815222" sldId="2147478566"/>
            <ac:spMk id="920" creationId="{7FF9DE45-3ECF-E0DF-41A8-349384E0FD61}"/>
          </ac:spMkLst>
        </pc:spChg>
        <pc:spChg chg="add del mod">
          <ac:chgData name="Steiner Andreas 6206 ED" userId="e6377c33-a923-4f14-8587-531c474c7b48" providerId="ADAL" clId="{6ECD27E6-B224-41CD-B4E0-E297462320DD}" dt="2023-11-24T11:40:05.125" v="141518"/>
          <ac:spMkLst>
            <pc:docMk/>
            <pc:sldMk cId="2225815222" sldId="2147478566"/>
            <ac:spMk id="921" creationId="{18BD1193-A990-5F20-7ADE-EF6F5A521D8B}"/>
          </ac:spMkLst>
        </pc:spChg>
        <pc:spChg chg="add del mod">
          <ac:chgData name="Steiner Andreas 6206 ED" userId="e6377c33-a923-4f14-8587-531c474c7b48" providerId="ADAL" clId="{6ECD27E6-B224-41CD-B4E0-E297462320DD}" dt="2023-11-24T11:40:07.875" v="141673"/>
          <ac:spMkLst>
            <pc:docMk/>
            <pc:sldMk cId="2225815222" sldId="2147478566"/>
            <ac:spMk id="922" creationId="{4326C289-583F-9AD6-BE29-413EE07ED9AD}"/>
          </ac:spMkLst>
        </pc:spChg>
        <pc:spChg chg="add del mod">
          <ac:chgData name="Steiner Andreas 6206 ED" userId="e6377c33-a923-4f14-8587-531c474c7b48" providerId="ADAL" clId="{6ECD27E6-B224-41CD-B4E0-E297462320DD}" dt="2023-11-24T11:40:10.322" v="141828"/>
          <ac:spMkLst>
            <pc:docMk/>
            <pc:sldMk cId="2225815222" sldId="2147478566"/>
            <ac:spMk id="923" creationId="{64C91472-F9AD-5335-3458-C3310E1E9FD5}"/>
          </ac:spMkLst>
        </pc:spChg>
        <pc:spChg chg="add del mod">
          <ac:chgData name="Steiner Andreas 6206 ED" userId="e6377c33-a923-4f14-8587-531c474c7b48" providerId="ADAL" clId="{6ECD27E6-B224-41CD-B4E0-E297462320DD}" dt="2023-11-24T11:40:12.785" v="141983"/>
          <ac:spMkLst>
            <pc:docMk/>
            <pc:sldMk cId="2225815222" sldId="2147478566"/>
            <ac:spMk id="924" creationId="{40C92B59-C31E-577D-C3CB-A6F94005624F}"/>
          </ac:spMkLst>
        </pc:spChg>
        <pc:spChg chg="add del mod">
          <ac:chgData name="Steiner Andreas 6206 ED" userId="e6377c33-a923-4f14-8587-531c474c7b48" providerId="ADAL" clId="{6ECD27E6-B224-41CD-B4E0-E297462320DD}" dt="2023-11-24T11:40:16.752" v="142138"/>
          <ac:spMkLst>
            <pc:docMk/>
            <pc:sldMk cId="2225815222" sldId="2147478566"/>
            <ac:spMk id="925" creationId="{3ECDF712-6FAC-D6F2-2880-3FAA19492608}"/>
          </ac:spMkLst>
        </pc:spChg>
        <pc:spChg chg="add del mod">
          <ac:chgData name="Steiner Andreas 6206 ED" userId="e6377c33-a923-4f14-8587-531c474c7b48" providerId="ADAL" clId="{6ECD27E6-B224-41CD-B4E0-E297462320DD}" dt="2023-11-24T11:40:19.999" v="142293"/>
          <ac:spMkLst>
            <pc:docMk/>
            <pc:sldMk cId="2225815222" sldId="2147478566"/>
            <ac:spMk id="926" creationId="{DF3329DD-6B03-F328-081F-BC6A70267D81}"/>
          </ac:spMkLst>
        </pc:spChg>
        <pc:spChg chg="add del mod">
          <ac:chgData name="Steiner Andreas 6206 ED" userId="e6377c33-a923-4f14-8587-531c474c7b48" providerId="ADAL" clId="{6ECD27E6-B224-41CD-B4E0-E297462320DD}" dt="2023-11-24T11:40:22.752" v="142448"/>
          <ac:spMkLst>
            <pc:docMk/>
            <pc:sldMk cId="2225815222" sldId="2147478566"/>
            <ac:spMk id="927" creationId="{6EB96D52-6C6B-ACE2-619A-446467C4BA5D}"/>
          </ac:spMkLst>
        </pc:spChg>
        <pc:spChg chg="add del mod">
          <ac:chgData name="Steiner Andreas 6206 ED" userId="e6377c33-a923-4f14-8587-531c474c7b48" providerId="ADAL" clId="{6ECD27E6-B224-41CD-B4E0-E297462320DD}" dt="2023-11-24T11:40:25.460" v="142603"/>
          <ac:spMkLst>
            <pc:docMk/>
            <pc:sldMk cId="2225815222" sldId="2147478566"/>
            <ac:spMk id="928" creationId="{1B53E362-116E-AC13-14F0-94BCC8628058}"/>
          </ac:spMkLst>
        </pc:spChg>
        <pc:spChg chg="add del mod">
          <ac:chgData name="Steiner Andreas 6206 ED" userId="e6377c33-a923-4f14-8587-531c474c7b48" providerId="ADAL" clId="{6ECD27E6-B224-41CD-B4E0-E297462320DD}" dt="2023-11-24T11:40:28.559" v="142758"/>
          <ac:spMkLst>
            <pc:docMk/>
            <pc:sldMk cId="2225815222" sldId="2147478566"/>
            <ac:spMk id="929" creationId="{8443C82F-0C62-14E0-D06F-7A6CD5BCFDF9}"/>
          </ac:spMkLst>
        </pc:spChg>
        <pc:spChg chg="add del mod">
          <ac:chgData name="Steiner Andreas 6206 ED" userId="e6377c33-a923-4f14-8587-531c474c7b48" providerId="ADAL" clId="{6ECD27E6-B224-41CD-B4E0-E297462320DD}" dt="2023-11-24T11:40:31.191" v="142913"/>
          <ac:spMkLst>
            <pc:docMk/>
            <pc:sldMk cId="2225815222" sldId="2147478566"/>
            <ac:spMk id="930" creationId="{B36E2678-48B8-01B4-EEE1-653A8580390C}"/>
          </ac:spMkLst>
        </pc:spChg>
        <pc:spChg chg="add del mod">
          <ac:chgData name="Steiner Andreas 6206 ED" userId="e6377c33-a923-4f14-8587-531c474c7b48" providerId="ADAL" clId="{6ECD27E6-B224-41CD-B4E0-E297462320DD}" dt="2023-11-24T11:40:33.734" v="143068"/>
          <ac:spMkLst>
            <pc:docMk/>
            <pc:sldMk cId="2225815222" sldId="2147478566"/>
            <ac:spMk id="931" creationId="{F12116F6-F045-E0F4-70C4-95B341864189}"/>
          </ac:spMkLst>
        </pc:spChg>
        <pc:spChg chg="add del mod">
          <ac:chgData name="Steiner Andreas 6206 ED" userId="e6377c33-a923-4f14-8587-531c474c7b48" providerId="ADAL" clId="{6ECD27E6-B224-41CD-B4E0-E297462320DD}" dt="2023-11-24T11:40:36.577" v="143223"/>
          <ac:spMkLst>
            <pc:docMk/>
            <pc:sldMk cId="2225815222" sldId="2147478566"/>
            <ac:spMk id="932" creationId="{37DF6096-59E8-D745-1562-636C9E0358A2}"/>
          </ac:spMkLst>
        </pc:spChg>
        <pc:spChg chg="add del mod">
          <ac:chgData name="Steiner Andreas 6206 ED" userId="e6377c33-a923-4f14-8587-531c474c7b48" providerId="ADAL" clId="{6ECD27E6-B224-41CD-B4E0-E297462320DD}" dt="2023-11-24T11:40:39.600" v="143378"/>
          <ac:spMkLst>
            <pc:docMk/>
            <pc:sldMk cId="2225815222" sldId="2147478566"/>
            <ac:spMk id="933" creationId="{689B4854-D1AD-D722-4828-C22D37D394B3}"/>
          </ac:spMkLst>
        </pc:spChg>
        <pc:spChg chg="add del mod">
          <ac:chgData name="Steiner Andreas 6206 ED" userId="e6377c33-a923-4f14-8587-531c474c7b48" providerId="ADAL" clId="{6ECD27E6-B224-41CD-B4E0-E297462320DD}" dt="2023-11-24T11:40:42.466" v="143533"/>
          <ac:spMkLst>
            <pc:docMk/>
            <pc:sldMk cId="2225815222" sldId="2147478566"/>
            <ac:spMk id="934" creationId="{B80E1A10-577F-2F30-0C3B-E524F19BC37F}"/>
          </ac:spMkLst>
        </pc:spChg>
        <pc:spChg chg="add del mod">
          <ac:chgData name="Steiner Andreas 6206 ED" userId="e6377c33-a923-4f14-8587-531c474c7b48" providerId="ADAL" clId="{6ECD27E6-B224-41CD-B4E0-E297462320DD}" dt="2023-11-24T11:40:45.118" v="143688"/>
          <ac:spMkLst>
            <pc:docMk/>
            <pc:sldMk cId="2225815222" sldId="2147478566"/>
            <ac:spMk id="935" creationId="{7F34C034-3519-78AD-672F-A3A445C1FBDA}"/>
          </ac:spMkLst>
        </pc:spChg>
        <pc:spChg chg="add del mod">
          <ac:chgData name="Steiner Andreas 6206 ED" userId="e6377c33-a923-4f14-8587-531c474c7b48" providerId="ADAL" clId="{6ECD27E6-B224-41CD-B4E0-E297462320DD}" dt="2023-11-24T11:40:47.917" v="143843"/>
          <ac:spMkLst>
            <pc:docMk/>
            <pc:sldMk cId="2225815222" sldId="2147478566"/>
            <ac:spMk id="936" creationId="{77FD9AF2-A2EF-9A4E-F8A9-7711FD8C33C4}"/>
          </ac:spMkLst>
        </pc:spChg>
        <pc:spChg chg="add del mod">
          <ac:chgData name="Steiner Andreas 6206 ED" userId="e6377c33-a923-4f14-8587-531c474c7b48" providerId="ADAL" clId="{6ECD27E6-B224-41CD-B4E0-E297462320DD}" dt="2023-11-24T11:40:50.696" v="143998"/>
          <ac:spMkLst>
            <pc:docMk/>
            <pc:sldMk cId="2225815222" sldId="2147478566"/>
            <ac:spMk id="937" creationId="{16F7E638-CF41-7CED-0003-E58D453DA134}"/>
          </ac:spMkLst>
        </pc:spChg>
        <pc:spChg chg="add del mod">
          <ac:chgData name="Steiner Andreas 6206 ED" userId="e6377c33-a923-4f14-8587-531c474c7b48" providerId="ADAL" clId="{6ECD27E6-B224-41CD-B4E0-E297462320DD}" dt="2023-11-24T11:40:53.569" v="144153"/>
          <ac:spMkLst>
            <pc:docMk/>
            <pc:sldMk cId="2225815222" sldId="2147478566"/>
            <ac:spMk id="938" creationId="{164A4586-266D-35F5-4BEB-8E52ED158816}"/>
          </ac:spMkLst>
        </pc:spChg>
        <pc:spChg chg="add del mod">
          <ac:chgData name="Steiner Andreas 6206 ED" userId="e6377c33-a923-4f14-8587-531c474c7b48" providerId="ADAL" clId="{6ECD27E6-B224-41CD-B4E0-E297462320DD}" dt="2023-11-24T11:40:56.294" v="144308"/>
          <ac:spMkLst>
            <pc:docMk/>
            <pc:sldMk cId="2225815222" sldId="2147478566"/>
            <ac:spMk id="939" creationId="{D16A211C-2B2A-DC12-B825-AAC0F408BBFF}"/>
          </ac:spMkLst>
        </pc:spChg>
        <pc:spChg chg="add del mod">
          <ac:chgData name="Steiner Andreas 6206 ED" userId="e6377c33-a923-4f14-8587-531c474c7b48" providerId="ADAL" clId="{6ECD27E6-B224-41CD-B4E0-E297462320DD}" dt="2023-11-24T11:40:58.812" v="144463"/>
          <ac:spMkLst>
            <pc:docMk/>
            <pc:sldMk cId="2225815222" sldId="2147478566"/>
            <ac:spMk id="940" creationId="{09A03204-EE6A-7F07-8E59-B7C1F3D94696}"/>
          </ac:spMkLst>
        </pc:spChg>
        <pc:spChg chg="add del mod">
          <ac:chgData name="Steiner Andreas 6206 ED" userId="e6377c33-a923-4f14-8587-531c474c7b48" providerId="ADAL" clId="{6ECD27E6-B224-41CD-B4E0-E297462320DD}" dt="2023-11-24T11:41:01.410" v="144618"/>
          <ac:spMkLst>
            <pc:docMk/>
            <pc:sldMk cId="2225815222" sldId="2147478566"/>
            <ac:spMk id="941" creationId="{E2DF348D-3DEE-E3C0-2E09-A6E7AAFA609D}"/>
          </ac:spMkLst>
        </pc:spChg>
        <pc:spChg chg="add del mod">
          <ac:chgData name="Steiner Andreas 6206 ED" userId="e6377c33-a923-4f14-8587-531c474c7b48" providerId="ADAL" clId="{6ECD27E6-B224-41CD-B4E0-E297462320DD}" dt="2023-11-24T11:41:04.121" v="144773"/>
          <ac:spMkLst>
            <pc:docMk/>
            <pc:sldMk cId="2225815222" sldId="2147478566"/>
            <ac:spMk id="942" creationId="{DFADF2A1-056E-4F93-136D-F22E206F9A2E}"/>
          </ac:spMkLst>
        </pc:spChg>
        <pc:spChg chg="add del mod">
          <ac:chgData name="Steiner Andreas 6206 ED" userId="e6377c33-a923-4f14-8587-531c474c7b48" providerId="ADAL" clId="{6ECD27E6-B224-41CD-B4E0-E297462320DD}" dt="2023-11-24T11:41:07.199" v="144928"/>
          <ac:spMkLst>
            <pc:docMk/>
            <pc:sldMk cId="2225815222" sldId="2147478566"/>
            <ac:spMk id="943" creationId="{A532CB09-1796-79FB-DBC8-D462D958F891}"/>
          </ac:spMkLst>
        </pc:spChg>
        <pc:spChg chg="add del mod">
          <ac:chgData name="Steiner Andreas 6206 ED" userId="e6377c33-a923-4f14-8587-531c474c7b48" providerId="ADAL" clId="{6ECD27E6-B224-41CD-B4E0-E297462320DD}" dt="2023-11-24T11:41:10.288" v="145083"/>
          <ac:spMkLst>
            <pc:docMk/>
            <pc:sldMk cId="2225815222" sldId="2147478566"/>
            <ac:spMk id="944" creationId="{EF12BF43-961C-68E9-E2FC-C79C4C314DFF}"/>
          </ac:spMkLst>
        </pc:spChg>
        <pc:spChg chg="add del mod">
          <ac:chgData name="Steiner Andreas 6206 ED" userId="e6377c33-a923-4f14-8587-531c474c7b48" providerId="ADAL" clId="{6ECD27E6-B224-41CD-B4E0-E297462320DD}" dt="2023-11-24T11:41:13.210" v="145238"/>
          <ac:spMkLst>
            <pc:docMk/>
            <pc:sldMk cId="2225815222" sldId="2147478566"/>
            <ac:spMk id="945" creationId="{5B79DEDB-B243-206D-40FA-543EABBA6664}"/>
          </ac:spMkLst>
        </pc:spChg>
        <pc:spChg chg="add del mod">
          <ac:chgData name="Steiner Andreas 6206 ED" userId="e6377c33-a923-4f14-8587-531c474c7b48" providerId="ADAL" clId="{6ECD27E6-B224-41CD-B4E0-E297462320DD}" dt="2023-11-24T11:41:16.240" v="145393"/>
          <ac:spMkLst>
            <pc:docMk/>
            <pc:sldMk cId="2225815222" sldId="2147478566"/>
            <ac:spMk id="946" creationId="{22F66F73-19A5-0530-B63F-38FCE4D7D800}"/>
          </ac:spMkLst>
        </pc:spChg>
        <pc:spChg chg="add del mod">
          <ac:chgData name="Steiner Andreas 6206 ED" userId="e6377c33-a923-4f14-8587-531c474c7b48" providerId="ADAL" clId="{6ECD27E6-B224-41CD-B4E0-E297462320DD}" dt="2023-11-24T11:41:19.466" v="145548"/>
          <ac:spMkLst>
            <pc:docMk/>
            <pc:sldMk cId="2225815222" sldId="2147478566"/>
            <ac:spMk id="947" creationId="{5BE38E8C-5F09-8836-A545-6DD0AFDDFC84}"/>
          </ac:spMkLst>
        </pc:spChg>
        <pc:spChg chg="add del mod">
          <ac:chgData name="Steiner Andreas 6206 ED" userId="e6377c33-a923-4f14-8587-531c474c7b48" providerId="ADAL" clId="{6ECD27E6-B224-41CD-B4E0-E297462320DD}" dt="2023-11-24T11:41:21.993" v="145703"/>
          <ac:spMkLst>
            <pc:docMk/>
            <pc:sldMk cId="2225815222" sldId="2147478566"/>
            <ac:spMk id="948" creationId="{D686B9DF-B254-EC23-9C3E-5C397DE7CD77}"/>
          </ac:spMkLst>
        </pc:spChg>
        <pc:spChg chg="add del mod">
          <ac:chgData name="Steiner Andreas 6206 ED" userId="e6377c33-a923-4f14-8587-531c474c7b48" providerId="ADAL" clId="{6ECD27E6-B224-41CD-B4E0-E297462320DD}" dt="2023-11-24T11:41:25.855" v="145858"/>
          <ac:spMkLst>
            <pc:docMk/>
            <pc:sldMk cId="2225815222" sldId="2147478566"/>
            <ac:spMk id="949" creationId="{D4B4384B-ECB5-DB04-2402-E451F5ABFB2C}"/>
          </ac:spMkLst>
        </pc:spChg>
        <pc:spChg chg="add del mod">
          <ac:chgData name="Steiner Andreas 6206 ED" userId="e6377c33-a923-4f14-8587-531c474c7b48" providerId="ADAL" clId="{6ECD27E6-B224-41CD-B4E0-E297462320DD}" dt="2023-11-24T11:41:28.943" v="146013"/>
          <ac:spMkLst>
            <pc:docMk/>
            <pc:sldMk cId="2225815222" sldId="2147478566"/>
            <ac:spMk id="950" creationId="{BADCAB6A-8E6A-24A8-A126-6368C2329E1D}"/>
          </ac:spMkLst>
        </pc:spChg>
        <pc:spChg chg="add del mod">
          <ac:chgData name="Steiner Andreas 6206 ED" userId="e6377c33-a923-4f14-8587-531c474c7b48" providerId="ADAL" clId="{6ECD27E6-B224-41CD-B4E0-E297462320DD}" dt="2023-11-24T11:41:31.517" v="146168"/>
          <ac:spMkLst>
            <pc:docMk/>
            <pc:sldMk cId="2225815222" sldId="2147478566"/>
            <ac:spMk id="951" creationId="{3C44FD11-FD71-1549-8C8F-CBBB2E458F8E}"/>
          </ac:spMkLst>
        </pc:spChg>
        <pc:spChg chg="add del mod">
          <ac:chgData name="Steiner Andreas 6206 ED" userId="e6377c33-a923-4f14-8587-531c474c7b48" providerId="ADAL" clId="{6ECD27E6-B224-41CD-B4E0-E297462320DD}" dt="2023-11-24T11:41:33.654" v="146323"/>
          <ac:spMkLst>
            <pc:docMk/>
            <pc:sldMk cId="2225815222" sldId="2147478566"/>
            <ac:spMk id="952" creationId="{1752A2C6-6CB4-5232-CB12-E1FD7B5462B2}"/>
          </ac:spMkLst>
        </pc:spChg>
        <pc:spChg chg="add del mod">
          <ac:chgData name="Steiner Andreas 6206 ED" userId="e6377c33-a923-4f14-8587-531c474c7b48" providerId="ADAL" clId="{6ECD27E6-B224-41CD-B4E0-E297462320DD}" dt="2023-11-24T11:41:35.775" v="146478"/>
          <ac:spMkLst>
            <pc:docMk/>
            <pc:sldMk cId="2225815222" sldId="2147478566"/>
            <ac:spMk id="953" creationId="{DFCB1C09-F11C-F8AB-9727-CC4C1B642294}"/>
          </ac:spMkLst>
        </pc:spChg>
        <pc:spChg chg="add del mod">
          <ac:chgData name="Steiner Andreas 6206 ED" userId="e6377c33-a923-4f14-8587-531c474c7b48" providerId="ADAL" clId="{6ECD27E6-B224-41CD-B4E0-E297462320DD}" dt="2023-11-24T11:41:37.998" v="146633"/>
          <ac:spMkLst>
            <pc:docMk/>
            <pc:sldMk cId="2225815222" sldId="2147478566"/>
            <ac:spMk id="954" creationId="{C6BBFDA2-ABB2-15C6-AE4F-2656CE833D27}"/>
          </ac:spMkLst>
        </pc:spChg>
        <pc:spChg chg="add del mod">
          <ac:chgData name="Steiner Andreas 6206 ED" userId="e6377c33-a923-4f14-8587-531c474c7b48" providerId="ADAL" clId="{6ECD27E6-B224-41CD-B4E0-E297462320DD}" dt="2023-11-24T11:41:40.809" v="146788"/>
          <ac:spMkLst>
            <pc:docMk/>
            <pc:sldMk cId="2225815222" sldId="2147478566"/>
            <ac:spMk id="955" creationId="{063A717E-FB8C-19C7-0DFC-88B2737508B9}"/>
          </ac:spMkLst>
        </pc:spChg>
        <pc:spChg chg="add del mod">
          <ac:chgData name="Steiner Andreas 6206 ED" userId="e6377c33-a923-4f14-8587-531c474c7b48" providerId="ADAL" clId="{6ECD27E6-B224-41CD-B4E0-E297462320DD}" dt="2023-11-24T11:41:42.897" v="146943"/>
          <ac:spMkLst>
            <pc:docMk/>
            <pc:sldMk cId="2225815222" sldId="2147478566"/>
            <ac:spMk id="956" creationId="{01210427-3A6F-8B7C-2B0E-839653870E95}"/>
          </ac:spMkLst>
        </pc:spChg>
        <pc:spChg chg="add del mod">
          <ac:chgData name="Steiner Andreas 6206 ED" userId="e6377c33-a923-4f14-8587-531c474c7b48" providerId="ADAL" clId="{6ECD27E6-B224-41CD-B4E0-E297462320DD}" dt="2023-11-24T11:41:44.972" v="147098"/>
          <ac:spMkLst>
            <pc:docMk/>
            <pc:sldMk cId="2225815222" sldId="2147478566"/>
            <ac:spMk id="957" creationId="{09D83500-1E31-0FB6-C240-22524F5F36B7}"/>
          </ac:spMkLst>
        </pc:spChg>
        <pc:spChg chg="add del mod">
          <ac:chgData name="Steiner Andreas 6206 ED" userId="e6377c33-a923-4f14-8587-531c474c7b48" providerId="ADAL" clId="{6ECD27E6-B224-41CD-B4E0-E297462320DD}" dt="2023-11-24T11:41:47.518" v="147253"/>
          <ac:spMkLst>
            <pc:docMk/>
            <pc:sldMk cId="2225815222" sldId="2147478566"/>
            <ac:spMk id="958" creationId="{72646661-F0CA-FE4F-8C1E-1D7D103A739A}"/>
          </ac:spMkLst>
        </pc:spChg>
        <pc:spChg chg="add del mod">
          <ac:chgData name="Steiner Andreas 6206 ED" userId="e6377c33-a923-4f14-8587-531c474c7b48" providerId="ADAL" clId="{6ECD27E6-B224-41CD-B4E0-E297462320DD}" dt="2023-11-24T11:41:49.628" v="147408"/>
          <ac:spMkLst>
            <pc:docMk/>
            <pc:sldMk cId="2225815222" sldId="2147478566"/>
            <ac:spMk id="959" creationId="{16CEF767-2EBD-29D5-70EC-B9B14212BF21}"/>
          </ac:spMkLst>
        </pc:spChg>
        <pc:spChg chg="add del mod">
          <ac:chgData name="Steiner Andreas 6206 ED" userId="e6377c33-a923-4f14-8587-531c474c7b48" providerId="ADAL" clId="{6ECD27E6-B224-41CD-B4E0-E297462320DD}" dt="2023-11-24T11:41:51.993" v="147563"/>
          <ac:spMkLst>
            <pc:docMk/>
            <pc:sldMk cId="2225815222" sldId="2147478566"/>
            <ac:spMk id="960" creationId="{1593E6F3-EF5B-3FBC-78B8-39E8C27237E1}"/>
          </ac:spMkLst>
        </pc:spChg>
        <pc:spChg chg="add del mod">
          <ac:chgData name="Steiner Andreas 6206 ED" userId="e6377c33-a923-4f14-8587-531c474c7b48" providerId="ADAL" clId="{6ECD27E6-B224-41CD-B4E0-E297462320DD}" dt="2023-11-24T11:41:54.357" v="147718"/>
          <ac:spMkLst>
            <pc:docMk/>
            <pc:sldMk cId="2225815222" sldId="2147478566"/>
            <ac:spMk id="961" creationId="{C763C9F6-17F2-F1DA-46B6-EFD7E502FF2E}"/>
          </ac:spMkLst>
        </pc:spChg>
        <pc:spChg chg="add del mod">
          <ac:chgData name="Steiner Andreas 6206 ED" userId="e6377c33-a923-4f14-8587-531c474c7b48" providerId="ADAL" clId="{6ECD27E6-B224-41CD-B4E0-E297462320DD}" dt="2023-11-24T11:41:57.606" v="147873"/>
          <ac:spMkLst>
            <pc:docMk/>
            <pc:sldMk cId="2225815222" sldId="2147478566"/>
            <ac:spMk id="962" creationId="{380F71B4-A818-A92F-D0EB-279A8DC53E09}"/>
          </ac:spMkLst>
        </pc:spChg>
        <pc:spChg chg="add del mod">
          <ac:chgData name="Steiner Andreas 6206 ED" userId="e6377c33-a923-4f14-8587-531c474c7b48" providerId="ADAL" clId="{6ECD27E6-B224-41CD-B4E0-E297462320DD}" dt="2023-11-24T11:42:01.010" v="148028"/>
          <ac:spMkLst>
            <pc:docMk/>
            <pc:sldMk cId="2225815222" sldId="2147478566"/>
            <ac:spMk id="963" creationId="{FDFAA48E-A54B-B4F9-5BDE-4228BAF8D1C0}"/>
          </ac:spMkLst>
        </pc:spChg>
        <pc:spChg chg="add del mod">
          <ac:chgData name="Steiner Andreas 6206 ED" userId="e6377c33-a923-4f14-8587-531c474c7b48" providerId="ADAL" clId="{6ECD27E6-B224-41CD-B4E0-E297462320DD}" dt="2023-11-24T11:42:04.191" v="148183"/>
          <ac:spMkLst>
            <pc:docMk/>
            <pc:sldMk cId="2225815222" sldId="2147478566"/>
            <ac:spMk id="964" creationId="{6254DA29-7857-1BC4-BDB4-2F7096C201F4}"/>
          </ac:spMkLst>
        </pc:spChg>
        <pc:spChg chg="add del mod">
          <ac:chgData name="Steiner Andreas 6206 ED" userId="e6377c33-a923-4f14-8587-531c474c7b48" providerId="ADAL" clId="{6ECD27E6-B224-41CD-B4E0-E297462320DD}" dt="2023-11-24T11:42:06.687" v="148338"/>
          <ac:spMkLst>
            <pc:docMk/>
            <pc:sldMk cId="2225815222" sldId="2147478566"/>
            <ac:spMk id="965" creationId="{D0FA2EBF-7C0F-338C-20EB-FC6B96DA259E}"/>
          </ac:spMkLst>
        </pc:spChg>
        <pc:spChg chg="add del mod">
          <ac:chgData name="Steiner Andreas 6206 ED" userId="e6377c33-a923-4f14-8587-531c474c7b48" providerId="ADAL" clId="{6ECD27E6-B224-41CD-B4E0-E297462320DD}" dt="2023-11-24T11:42:08.957" v="148493"/>
          <ac:spMkLst>
            <pc:docMk/>
            <pc:sldMk cId="2225815222" sldId="2147478566"/>
            <ac:spMk id="966" creationId="{87C23F09-3F0D-96A2-EA0D-60336D867816}"/>
          </ac:spMkLst>
        </pc:spChg>
        <pc:spChg chg="add del mod">
          <ac:chgData name="Steiner Andreas 6206 ED" userId="e6377c33-a923-4f14-8587-531c474c7b48" providerId="ADAL" clId="{6ECD27E6-B224-41CD-B4E0-E297462320DD}" dt="2023-11-24T11:42:11.546" v="148648"/>
          <ac:spMkLst>
            <pc:docMk/>
            <pc:sldMk cId="2225815222" sldId="2147478566"/>
            <ac:spMk id="967" creationId="{BDB782D0-5690-1FB5-CBBB-E2BDDA499FEB}"/>
          </ac:spMkLst>
        </pc:spChg>
        <pc:spChg chg="add del mod">
          <ac:chgData name="Steiner Andreas 6206 ED" userId="e6377c33-a923-4f14-8587-531c474c7b48" providerId="ADAL" clId="{6ECD27E6-B224-41CD-B4E0-E297462320DD}" dt="2023-11-24T11:42:14.167" v="148803"/>
          <ac:spMkLst>
            <pc:docMk/>
            <pc:sldMk cId="2225815222" sldId="2147478566"/>
            <ac:spMk id="968" creationId="{7B8D0D59-AB95-F545-816C-BE389FBBE0DD}"/>
          </ac:spMkLst>
        </pc:spChg>
        <pc:spChg chg="add del mod">
          <ac:chgData name="Steiner Andreas 6206 ED" userId="e6377c33-a923-4f14-8587-531c474c7b48" providerId="ADAL" clId="{6ECD27E6-B224-41CD-B4E0-E297462320DD}" dt="2023-11-24T11:42:16.395" v="148958"/>
          <ac:spMkLst>
            <pc:docMk/>
            <pc:sldMk cId="2225815222" sldId="2147478566"/>
            <ac:spMk id="969" creationId="{28EA91D8-BA86-77D8-5F56-168F0EF97767}"/>
          </ac:spMkLst>
        </pc:spChg>
        <pc:spChg chg="add del mod">
          <ac:chgData name="Steiner Andreas 6206 ED" userId="e6377c33-a923-4f14-8587-531c474c7b48" providerId="ADAL" clId="{6ECD27E6-B224-41CD-B4E0-E297462320DD}" dt="2023-11-24T11:42:18.525" v="149113"/>
          <ac:spMkLst>
            <pc:docMk/>
            <pc:sldMk cId="2225815222" sldId="2147478566"/>
            <ac:spMk id="970" creationId="{C82AF927-2647-CA58-6718-0FF0BBBB9CD9}"/>
          </ac:spMkLst>
        </pc:spChg>
        <pc:spChg chg="add del mod">
          <ac:chgData name="Steiner Andreas 6206 ED" userId="e6377c33-a923-4f14-8587-531c474c7b48" providerId="ADAL" clId="{6ECD27E6-B224-41CD-B4E0-E297462320DD}" dt="2023-11-24T11:42:20.568" v="149268"/>
          <ac:spMkLst>
            <pc:docMk/>
            <pc:sldMk cId="2225815222" sldId="2147478566"/>
            <ac:spMk id="971" creationId="{A4CF9A32-35C6-276E-DEED-82C80F51A1CE}"/>
          </ac:spMkLst>
        </pc:spChg>
        <pc:spChg chg="add del mod">
          <ac:chgData name="Steiner Andreas 6206 ED" userId="e6377c33-a923-4f14-8587-531c474c7b48" providerId="ADAL" clId="{6ECD27E6-B224-41CD-B4E0-E297462320DD}" dt="2023-11-24T11:42:22.634" v="149423"/>
          <ac:spMkLst>
            <pc:docMk/>
            <pc:sldMk cId="2225815222" sldId="2147478566"/>
            <ac:spMk id="972" creationId="{4B7FD4E9-D975-1065-99FA-00533F98FEBC}"/>
          </ac:spMkLst>
        </pc:spChg>
        <pc:spChg chg="add del mod">
          <ac:chgData name="Steiner Andreas 6206 ED" userId="e6377c33-a923-4f14-8587-531c474c7b48" providerId="ADAL" clId="{6ECD27E6-B224-41CD-B4E0-E297462320DD}" dt="2023-11-24T11:42:24.560" v="149578"/>
          <ac:spMkLst>
            <pc:docMk/>
            <pc:sldMk cId="2225815222" sldId="2147478566"/>
            <ac:spMk id="973" creationId="{AF455AC7-9641-FA4B-096F-4059048614E0}"/>
          </ac:spMkLst>
        </pc:spChg>
        <pc:spChg chg="add del mod">
          <ac:chgData name="Steiner Andreas 6206 ED" userId="e6377c33-a923-4f14-8587-531c474c7b48" providerId="ADAL" clId="{6ECD27E6-B224-41CD-B4E0-E297462320DD}" dt="2023-11-24T11:42:26.487" v="149733"/>
          <ac:spMkLst>
            <pc:docMk/>
            <pc:sldMk cId="2225815222" sldId="2147478566"/>
            <ac:spMk id="974" creationId="{5AC05DBC-D2F9-E71E-06AB-B2B5A4370F0D}"/>
          </ac:spMkLst>
        </pc:spChg>
        <pc:spChg chg="add del mod">
          <ac:chgData name="Steiner Andreas 6206 ED" userId="e6377c33-a923-4f14-8587-531c474c7b48" providerId="ADAL" clId="{6ECD27E6-B224-41CD-B4E0-E297462320DD}" dt="2023-11-24T11:42:29.708" v="149888"/>
          <ac:spMkLst>
            <pc:docMk/>
            <pc:sldMk cId="2225815222" sldId="2147478566"/>
            <ac:spMk id="975" creationId="{D9E8C766-DF5A-69AC-61A7-23DE5005037A}"/>
          </ac:spMkLst>
        </pc:spChg>
        <pc:spChg chg="add del mod">
          <ac:chgData name="Steiner Andreas 6206 ED" userId="e6377c33-a923-4f14-8587-531c474c7b48" providerId="ADAL" clId="{6ECD27E6-B224-41CD-B4E0-E297462320DD}" dt="2023-11-24T11:42:32.705" v="150043"/>
          <ac:spMkLst>
            <pc:docMk/>
            <pc:sldMk cId="2225815222" sldId="2147478566"/>
            <ac:spMk id="976" creationId="{B7919A9A-3BF9-BA50-F8F6-86984E58918E}"/>
          </ac:spMkLst>
        </pc:spChg>
        <pc:spChg chg="add del mod">
          <ac:chgData name="Steiner Andreas 6206 ED" userId="e6377c33-a923-4f14-8587-531c474c7b48" providerId="ADAL" clId="{6ECD27E6-B224-41CD-B4E0-E297462320DD}" dt="2023-11-24T11:42:35.895" v="150198"/>
          <ac:spMkLst>
            <pc:docMk/>
            <pc:sldMk cId="2225815222" sldId="2147478566"/>
            <ac:spMk id="977" creationId="{3660D0E6-CB4A-AD68-636F-314F4346E15C}"/>
          </ac:spMkLst>
        </pc:spChg>
        <pc:spChg chg="add del mod">
          <ac:chgData name="Steiner Andreas 6206 ED" userId="e6377c33-a923-4f14-8587-531c474c7b48" providerId="ADAL" clId="{6ECD27E6-B224-41CD-B4E0-E297462320DD}" dt="2023-11-24T11:42:38.225" v="150353"/>
          <ac:spMkLst>
            <pc:docMk/>
            <pc:sldMk cId="2225815222" sldId="2147478566"/>
            <ac:spMk id="978" creationId="{02AD385A-BFB5-F564-E192-DC2BC2BACC51}"/>
          </ac:spMkLst>
        </pc:spChg>
        <pc:spChg chg="add del mod">
          <ac:chgData name="Steiner Andreas 6206 ED" userId="e6377c33-a923-4f14-8587-531c474c7b48" providerId="ADAL" clId="{6ECD27E6-B224-41CD-B4E0-E297462320DD}" dt="2023-11-24T11:42:40.289" v="150508"/>
          <ac:spMkLst>
            <pc:docMk/>
            <pc:sldMk cId="2225815222" sldId="2147478566"/>
            <ac:spMk id="979" creationId="{E151F86B-1EC1-9FBE-C51B-0A64F4472384}"/>
          </ac:spMkLst>
        </pc:spChg>
        <pc:spChg chg="add del mod">
          <ac:chgData name="Steiner Andreas 6206 ED" userId="e6377c33-a923-4f14-8587-531c474c7b48" providerId="ADAL" clId="{6ECD27E6-B224-41CD-B4E0-E297462320DD}" dt="2023-11-24T11:42:42.318" v="150663"/>
          <ac:spMkLst>
            <pc:docMk/>
            <pc:sldMk cId="2225815222" sldId="2147478566"/>
            <ac:spMk id="980" creationId="{F192C699-DE9D-723B-4925-AA7A3CBA3D9B}"/>
          </ac:spMkLst>
        </pc:spChg>
        <pc:spChg chg="add del mod">
          <ac:chgData name="Steiner Andreas 6206 ED" userId="e6377c33-a923-4f14-8587-531c474c7b48" providerId="ADAL" clId="{6ECD27E6-B224-41CD-B4E0-E297462320DD}" dt="2023-11-24T11:42:44.422" v="150818"/>
          <ac:spMkLst>
            <pc:docMk/>
            <pc:sldMk cId="2225815222" sldId="2147478566"/>
            <ac:spMk id="981" creationId="{2F964885-87C8-5CF5-A1D2-9ABFB2EDF086}"/>
          </ac:spMkLst>
        </pc:spChg>
        <pc:spChg chg="add del mod">
          <ac:chgData name="Steiner Andreas 6206 ED" userId="e6377c33-a923-4f14-8587-531c474c7b48" providerId="ADAL" clId="{6ECD27E6-B224-41CD-B4E0-E297462320DD}" dt="2023-11-24T11:42:46.721" v="150973"/>
          <ac:spMkLst>
            <pc:docMk/>
            <pc:sldMk cId="2225815222" sldId="2147478566"/>
            <ac:spMk id="982" creationId="{214E24EC-AF7F-C4D1-1FEB-D503999AB900}"/>
          </ac:spMkLst>
        </pc:spChg>
        <pc:spChg chg="add del mod">
          <ac:chgData name="Steiner Andreas 6206 ED" userId="e6377c33-a923-4f14-8587-531c474c7b48" providerId="ADAL" clId="{6ECD27E6-B224-41CD-B4E0-E297462320DD}" dt="2023-11-24T11:42:48.915" v="151128"/>
          <ac:spMkLst>
            <pc:docMk/>
            <pc:sldMk cId="2225815222" sldId="2147478566"/>
            <ac:spMk id="983" creationId="{82C8D4D7-5FC4-735E-B513-D4F3DAC58461}"/>
          </ac:spMkLst>
        </pc:spChg>
        <pc:spChg chg="add del mod">
          <ac:chgData name="Steiner Andreas 6206 ED" userId="e6377c33-a923-4f14-8587-531c474c7b48" providerId="ADAL" clId="{6ECD27E6-B224-41CD-B4E0-E297462320DD}" dt="2023-11-24T11:42:51.216" v="151283"/>
          <ac:spMkLst>
            <pc:docMk/>
            <pc:sldMk cId="2225815222" sldId="2147478566"/>
            <ac:spMk id="984" creationId="{9602CD54-CDF5-47F8-E074-6FA328CCFBBA}"/>
          </ac:spMkLst>
        </pc:spChg>
        <pc:spChg chg="add del mod">
          <ac:chgData name="Steiner Andreas 6206 ED" userId="e6377c33-a923-4f14-8587-531c474c7b48" providerId="ADAL" clId="{6ECD27E6-B224-41CD-B4E0-E297462320DD}" dt="2023-11-24T11:42:53.510" v="151438"/>
          <ac:spMkLst>
            <pc:docMk/>
            <pc:sldMk cId="2225815222" sldId="2147478566"/>
            <ac:spMk id="985" creationId="{332397FF-4F59-638F-C00F-642D71F25B14}"/>
          </ac:spMkLst>
        </pc:spChg>
        <pc:spChg chg="add del mod">
          <ac:chgData name="Steiner Andreas 6206 ED" userId="e6377c33-a923-4f14-8587-531c474c7b48" providerId="ADAL" clId="{6ECD27E6-B224-41CD-B4E0-E297462320DD}" dt="2023-11-24T11:42:55.745" v="151593"/>
          <ac:spMkLst>
            <pc:docMk/>
            <pc:sldMk cId="2225815222" sldId="2147478566"/>
            <ac:spMk id="986" creationId="{F552EC78-3E46-6B54-A282-4CB2EE2C6A8E}"/>
          </ac:spMkLst>
        </pc:spChg>
        <pc:spChg chg="add del mod">
          <ac:chgData name="Steiner Andreas 6206 ED" userId="e6377c33-a923-4f14-8587-531c474c7b48" providerId="ADAL" clId="{6ECD27E6-B224-41CD-B4E0-E297462320DD}" dt="2023-11-24T11:42:58.224" v="151748"/>
          <ac:spMkLst>
            <pc:docMk/>
            <pc:sldMk cId="2225815222" sldId="2147478566"/>
            <ac:spMk id="987" creationId="{3E3531CC-613A-93F5-DB8F-828DBDAEA984}"/>
          </ac:spMkLst>
        </pc:spChg>
        <pc:spChg chg="add del mod">
          <ac:chgData name="Steiner Andreas 6206 ED" userId="e6377c33-a923-4f14-8587-531c474c7b48" providerId="ADAL" clId="{6ECD27E6-B224-41CD-B4E0-E297462320DD}" dt="2023-11-24T11:43:01.934" v="151903"/>
          <ac:spMkLst>
            <pc:docMk/>
            <pc:sldMk cId="2225815222" sldId="2147478566"/>
            <ac:spMk id="988" creationId="{E15A04D3-117B-EF51-5A8D-92EC12697383}"/>
          </ac:spMkLst>
        </pc:spChg>
        <pc:spChg chg="add del mod">
          <ac:chgData name="Steiner Andreas 6206 ED" userId="e6377c33-a923-4f14-8587-531c474c7b48" providerId="ADAL" clId="{6ECD27E6-B224-41CD-B4E0-E297462320DD}" dt="2023-11-24T11:43:04.301" v="152058"/>
          <ac:spMkLst>
            <pc:docMk/>
            <pc:sldMk cId="2225815222" sldId="2147478566"/>
            <ac:spMk id="989" creationId="{5104CADD-27CD-6B71-1E2E-B0EA21FBFB98}"/>
          </ac:spMkLst>
        </pc:spChg>
        <pc:spChg chg="add del mod">
          <ac:chgData name="Steiner Andreas 6206 ED" userId="e6377c33-a923-4f14-8587-531c474c7b48" providerId="ADAL" clId="{6ECD27E6-B224-41CD-B4E0-E297462320DD}" dt="2023-11-24T11:43:06.442" v="152213"/>
          <ac:spMkLst>
            <pc:docMk/>
            <pc:sldMk cId="2225815222" sldId="2147478566"/>
            <ac:spMk id="990" creationId="{8848286B-F328-8EEA-6D07-0F31DB17501D}"/>
          </ac:spMkLst>
        </pc:spChg>
        <pc:spChg chg="add del mod">
          <ac:chgData name="Steiner Andreas 6206 ED" userId="e6377c33-a923-4f14-8587-531c474c7b48" providerId="ADAL" clId="{6ECD27E6-B224-41CD-B4E0-E297462320DD}" dt="2023-11-24T11:43:08.561" v="152368"/>
          <ac:spMkLst>
            <pc:docMk/>
            <pc:sldMk cId="2225815222" sldId="2147478566"/>
            <ac:spMk id="991" creationId="{BF9704E8-83D5-71C8-E6BB-6B950E43B66A}"/>
          </ac:spMkLst>
        </pc:spChg>
        <pc:spChg chg="add del mod">
          <ac:chgData name="Steiner Andreas 6206 ED" userId="e6377c33-a923-4f14-8587-531c474c7b48" providerId="ADAL" clId="{6ECD27E6-B224-41CD-B4E0-E297462320DD}" dt="2023-11-24T11:43:10.708" v="152523"/>
          <ac:spMkLst>
            <pc:docMk/>
            <pc:sldMk cId="2225815222" sldId="2147478566"/>
            <ac:spMk id="992" creationId="{F288F2F6-13B3-23A4-C018-627A4A086BC1}"/>
          </ac:spMkLst>
        </pc:spChg>
        <pc:spChg chg="add del mod">
          <ac:chgData name="Steiner Andreas 6206 ED" userId="e6377c33-a923-4f14-8587-531c474c7b48" providerId="ADAL" clId="{6ECD27E6-B224-41CD-B4E0-E297462320DD}" dt="2023-11-24T11:43:12.967" v="152678"/>
          <ac:spMkLst>
            <pc:docMk/>
            <pc:sldMk cId="2225815222" sldId="2147478566"/>
            <ac:spMk id="993" creationId="{C241DE34-F786-4FAA-CEDF-9B211D9DFB27}"/>
          </ac:spMkLst>
        </pc:spChg>
        <pc:spChg chg="add del mod">
          <ac:chgData name="Steiner Andreas 6206 ED" userId="e6377c33-a923-4f14-8587-531c474c7b48" providerId="ADAL" clId="{6ECD27E6-B224-41CD-B4E0-E297462320DD}" dt="2023-11-24T11:43:15.310" v="152833"/>
          <ac:spMkLst>
            <pc:docMk/>
            <pc:sldMk cId="2225815222" sldId="2147478566"/>
            <ac:spMk id="994" creationId="{E975497B-1AEF-ECA3-42E4-72BB483E337A}"/>
          </ac:spMkLst>
        </pc:spChg>
        <pc:spChg chg="add del mod">
          <ac:chgData name="Steiner Andreas 6206 ED" userId="e6377c33-a923-4f14-8587-531c474c7b48" providerId="ADAL" clId="{6ECD27E6-B224-41CD-B4E0-E297462320DD}" dt="2023-11-24T11:43:18.455" v="152988"/>
          <ac:spMkLst>
            <pc:docMk/>
            <pc:sldMk cId="2225815222" sldId="2147478566"/>
            <ac:spMk id="995" creationId="{2904BF81-CD30-9166-206B-01DD26E7E31F}"/>
          </ac:spMkLst>
        </pc:spChg>
        <pc:spChg chg="add del mod">
          <ac:chgData name="Steiner Andreas 6206 ED" userId="e6377c33-a923-4f14-8587-531c474c7b48" providerId="ADAL" clId="{6ECD27E6-B224-41CD-B4E0-E297462320DD}" dt="2023-11-24T11:43:22.548" v="153143"/>
          <ac:spMkLst>
            <pc:docMk/>
            <pc:sldMk cId="2225815222" sldId="2147478566"/>
            <ac:spMk id="996" creationId="{8B044724-33F9-BE3E-4669-724B7F48F45F}"/>
          </ac:spMkLst>
        </pc:spChg>
        <pc:spChg chg="add del mod">
          <ac:chgData name="Steiner Andreas 6206 ED" userId="e6377c33-a923-4f14-8587-531c474c7b48" providerId="ADAL" clId="{6ECD27E6-B224-41CD-B4E0-E297462320DD}" dt="2023-11-24T11:43:24.970" v="153298"/>
          <ac:spMkLst>
            <pc:docMk/>
            <pc:sldMk cId="2225815222" sldId="2147478566"/>
            <ac:spMk id="997" creationId="{CD104551-C426-130D-BE29-CB219C1558CB}"/>
          </ac:spMkLst>
        </pc:spChg>
        <pc:spChg chg="add del mod">
          <ac:chgData name="Steiner Andreas 6206 ED" userId="e6377c33-a923-4f14-8587-531c474c7b48" providerId="ADAL" clId="{6ECD27E6-B224-41CD-B4E0-E297462320DD}" dt="2023-11-24T11:43:27.214" v="153453"/>
          <ac:spMkLst>
            <pc:docMk/>
            <pc:sldMk cId="2225815222" sldId="2147478566"/>
            <ac:spMk id="998" creationId="{1E790E88-7155-30BD-3ADA-1B7B7DA31482}"/>
          </ac:spMkLst>
        </pc:spChg>
        <pc:spChg chg="add del mod">
          <ac:chgData name="Steiner Andreas 6206 ED" userId="e6377c33-a923-4f14-8587-531c474c7b48" providerId="ADAL" clId="{6ECD27E6-B224-41CD-B4E0-E297462320DD}" dt="2023-11-24T11:43:29.497" v="153608"/>
          <ac:spMkLst>
            <pc:docMk/>
            <pc:sldMk cId="2225815222" sldId="2147478566"/>
            <ac:spMk id="999" creationId="{381679E0-1A53-6881-FEA5-72BE58F829F1}"/>
          </ac:spMkLst>
        </pc:spChg>
        <pc:spChg chg="add del mod">
          <ac:chgData name="Steiner Andreas 6206 ED" userId="e6377c33-a923-4f14-8587-531c474c7b48" providerId="ADAL" clId="{6ECD27E6-B224-41CD-B4E0-E297462320DD}" dt="2023-11-24T11:43:31.742" v="153763"/>
          <ac:spMkLst>
            <pc:docMk/>
            <pc:sldMk cId="2225815222" sldId="2147478566"/>
            <ac:spMk id="1000" creationId="{D5F41E1C-CB59-491D-26D6-D5287E576C57}"/>
          </ac:spMkLst>
        </pc:spChg>
        <pc:spChg chg="add del mod">
          <ac:chgData name="Steiner Andreas 6206 ED" userId="e6377c33-a923-4f14-8587-531c474c7b48" providerId="ADAL" clId="{6ECD27E6-B224-41CD-B4E0-E297462320DD}" dt="2023-11-24T11:43:34.501" v="153918"/>
          <ac:spMkLst>
            <pc:docMk/>
            <pc:sldMk cId="2225815222" sldId="2147478566"/>
            <ac:spMk id="1001" creationId="{C977A870-0275-30E7-2687-9D53460A8886}"/>
          </ac:spMkLst>
        </pc:spChg>
        <pc:spChg chg="add del mod">
          <ac:chgData name="Steiner Andreas 6206 ED" userId="e6377c33-a923-4f14-8587-531c474c7b48" providerId="ADAL" clId="{6ECD27E6-B224-41CD-B4E0-E297462320DD}" dt="2023-11-24T11:43:36.635" v="154073"/>
          <ac:spMkLst>
            <pc:docMk/>
            <pc:sldMk cId="2225815222" sldId="2147478566"/>
            <ac:spMk id="1002" creationId="{8F357930-7F9F-C2FA-A099-27A31BABCF05}"/>
          </ac:spMkLst>
        </pc:spChg>
        <pc:spChg chg="add del mod">
          <ac:chgData name="Steiner Andreas 6206 ED" userId="e6377c33-a923-4f14-8587-531c474c7b48" providerId="ADAL" clId="{6ECD27E6-B224-41CD-B4E0-E297462320DD}" dt="2023-11-24T11:43:38.798" v="154228"/>
          <ac:spMkLst>
            <pc:docMk/>
            <pc:sldMk cId="2225815222" sldId="2147478566"/>
            <ac:spMk id="1003" creationId="{3FF52AFC-A225-DD85-18D9-813E7622133E}"/>
          </ac:spMkLst>
        </pc:spChg>
        <pc:spChg chg="add del mod">
          <ac:chgData name="Steiner Andreas 6206 ED" userId="e6377c33-a923-4f14-8587-531c474c7b48" providerId="ADAL" clId="{6ECD27E6-B224-41CD-B4E0-E297462320DD}" dt="2023-11-24T11:43:41.233" v="154383"/>
          <ac:spMkLst>
            <pc:docMk/>
            <pc:sldMk cId="2225815222" sldId="2147478566"/>
            <ac:spMk id="1004" creationId="{33411581-8DD7-A576-E1E7-7353C8821644}"/>
          </ac:spMkLst>
        </pc:spChg>
        <pc:spChg chg="add del mod">
          <ac:chgData name="Steiner Andreas 6206 ED" userId="e6377c33-a923-4f14-8587-531c474c7b48" providerId="ADAL" clId="{6ECD27E6-B224-41CD-B4E0-E297462320DD}" dt="2023-11-24T11:43:44.129" v="154538"/>
          <ac:spMkLst>
            <pc:docMk/>
            <pc:sldMk cId="2225815222" sldId="2147478566"/>
            <ac:spMk id="1005" creationId="{340D05F4-9D4D-FDC5-FC33-BC8D18D53598}"/>
          </ac:spMkLst>
        </pc:spChg>
        <pc:spChg chg="add del mod">
          <ac:chgData name="Steiner Andreas 6206 ED" userId="e6377c33-a923-4f14-8587-531c474c7b48" providerId="ADAL" clId="{6ECD27E6-B224-41CD-B4E0-E297462320DD}" dt="2023-11-24T11:43:46.438" v="154693"/>
          <ac:spMkLst>
            <pc:docMk/>
            <pc:sldMk cId="2225815222" sldId="2147478566"/>
            <ac:spMk id="1006" creationId="{5B8A4FA3-57B7-8169-329D-9717D0B5F090}"/>
          </ac:spMkLst>
        </pc:spChg>
        <pc:spChg chg="add del mod">
          <ac:chgData name="Steiner Andreas 6206 ED" userId="e6377c33-a923-4f14-8587-531c474c7b48" providerId="ADAL" clId="{6ECD27E6-B224-41CD-B4E0-E297462320DD}" dt="2023-11-24T11:43:48.765" v="154848"/>
          <ac:spMkLst>
            <pc:docMk/>
            <pc:sldMk cId="2225815222" sldId="2147478566"/>
            <ac:spMk id="1007" creationId="{776D05A9-D486-3B7C-2216-5ECA82FB2E3E}"/>
          </ac:spMkLst>
        </pc:spChg>
        <pc:spChg chg="add del mod">
          <ac:chgData name="Steiner Andreas 6206 ED" userId="e6377c33-a923-4f14-8587-531c474c7b48" providerId="ADAL" clId="{6ECD27E6-B224-41CD-B4E0-E297462320DD}" dt="2023-11-24T11:43:50.786" v="155003"/>
          <ac:spMkLst>
            <pc:docMk/>
            <pc:sldMk cId="2225815222" sldId="2147478566"/>
            <ac:spMk id="1008" creationId="{92C367B4-BAF6-93DD-4881-5F31372D0A29}"/>
          </ac:spMkLst>
        </pc:spChg>
        <pc:spChg chg="add del mod">
          <ac:chgData name="Steiner Andreas 6206 ED" userId="e6377c33-a923-4f14-8587-531c474c7b48" providerId="ADAL" clId="{6ECD27E6-B224-41CD-B4E0-E297462320DD}" dt="2023-11-24T11:43:52.978" v="155158"/>
          <ac:spMkLst>
            <pc:docMk/>
            <pc:sldMk cId="2225815222" sldId="2147478566"/>
            <ac:spMk id="1009" creationId="{953B504C-CB7D-CEA4-C148-35B45851E16C}"/>
          </ac:spMkLst>
        </pc:spChg>
        <pc:spChg chg="add del mod">
          <ac:chgData name="Steiner Andreas 6206 ED" userId="e6377c33-a923-4f14-8587-531c474c7b48" providerId="ADAL" clId="{6ECD27E6-B224-41CD-B4E0-E297462320DD}" dt="2023-11-24T11:43:56.045" v="155313"/>
          <ac:spMkLst>
            <pc:docMk/>
            <pc:sldMk cId="2225815222" sldId="2147478566"/>
            <ac:spMk id="1010" creationId="{5E1DF554-887C-EBCF-1947-4813C3D67AA7}"/>
          </ac:spMkLst>
        </pc:spChg>
        <pc:spChg chg="add del mod">
          <ac:chgData name="Steiner Andreas 6206 ED" userId="e6377c33-a923-4f14-8587-531c474c7b48" providerId="ADAL" clId="{6ECD27E6-B224-41CD-B4E0-E297462320DD}" dt="2023-11-24T11:43:58.348" v="155468"/>
          <ac:spMkLst>
            <pc:docMk/>
            <pc:sldMk cId="2225815222" sldId="2147478566"/>
            <ac:spMk id="1011" creationId="{F71EFD74-B10A-87FD-1E5F-4E7F4ECDA794}"/>
          </ac:spMkLst>
        </pc:spChg>
        <pc:spChg chg="add del mod">
          <ac:chgData name="Steiner Andreas 6206 ED" userId="e6377c33-a923-4f14-8587-531c474c7b48" providerId="ADAL" clId="{6ECD27E6-B224-41CD-B4E0-E297462320DD}" dt="2023-11-24T11:44:00.422" v="155623"/>
          <ac:spMkLst>
            <pc:docMk/>
            <pc:sldMk cId="2225815222" sldId="2147478566"/>
            <ac:spMk id="1012" creationId="{D02E22BB-9557-C4AE-DD39-F1F9C376381E}"/>
          </ac:spMkLst>
        </pc:spChg>
        <pc:spChg chg="add del mod">
          <ac:chgData name="Steiner Andreas 6206 ED" userId="e6377c33-a923-4f14-8587-531c474c7b48" providerId="ADAL" clId="{6ECD27E6-B224-41CD-B4E0-E297462320DD}" dt="2023-11-24T11:44:02.422" v="155778"/>
          <ac:spMkLst>
            <pc:docMk/>
            <pc:sldMk cId="2225815222" sldId="2147478566"/>
            <ac:spMk id="1013" creationId="{12BC59C7-C77A-F2FF-C36B-6D25389E7813}"/>
          </ac:spMkLst>
        </pc:spChg>
        <pc:spChg chg="add del mod">
          <ac:chgData name="Steiner Andreas 6206 ED" userId="e6377c33-a923-4f14-8587-531c474c7b48" providerId="ADAL" clId="{6ECD27E6-B224-41CD-B4E0-E297462320DD}" dt="2023-11-24T11:44:04.481" v="155933"/>
          <ac:spMkLst>
            <pc:docMk/>
            <pc:sldMk cId="2225815222" sldId="2147478566"/>
            <ac:spMk id="1014" creationId="{85665DF0-705C-0C39-A85A-5B42DE57D205}"/>
          </ac:spMkLst>
        </pc:spChg>
        <pc:spChg chg="add del mod">
          <ac:chgData name="Steiner Andreas 6206 ED" userId="e6377c33-a923-4f14-8587-531c474c7b48" providerId="ADAL" clId="{6ECD27E6-B224-41CD-B4E0-E297462320DD}" dt="2023-11-24T11:44:06.473" v="156088"/>
          <ac:spMkLst>
            <pc:docMk/>
            <pc:sldMk cId="2225815222" sldId="2147478566"/>
            <ac:spMk id="1015" creationId="{90DDE528-AAFC-B610-D463-F592E250838C}"/>
          </ac:spMkLst>
        </pc:spChg>
        <pc:spChg chg="add del mod">
          <ac:chgData name="Steiner Andreas 6206 ED" userId="e6377c33-a923-4f14-8587-531c474c7b48" providerId="ADAL" clId="{6ECD27E6-B224-41CD-B4E0-E297462320DD}" dt="2023-11-24T11:44:08.671" v="156243"/>
          <ac:spMkLst>
            <pc:docMk/>
            <pc:sldMk cId="2225815222" sldId="2147478566"/>
            <ac:spMk id="1016" creationId="{25DE7B13-D22B-9375-F90A-DC2885B0237F}"/>
          </ac:spMkLst>
        </pc:spChg>
        <pc:spChg chg="add del mod">
          <ac:chgData name="Steiner Andreas 6206 ED" userId="e6377c33-a923-4f14-8587-531c474c7b48" providerId="ADAL" clId="{6ECD27E6-B224-41CD-B4E0-E297462320DD}" dt="2023-11-24T11:44:10.729" v="156398"/>
          <ac:spMkLst>
            <pc:docMk/>
            <pc:sldMk cId="2225815222" sldId="2147478566"/>
            <ac:spMk id="1017" creationId="{4107F8A5-4C8C-9A88-DE34-F3F30C0AD583}"/>
          </ac:spMkLst>
        </pc:spChg>
        <pc:spChg chg="add del mod">
          <ac:chgData name="Steiner Andreas 6206 ED" userId="e6377c33-a923-4f14-8587-531c474c7b48" providerId="ADAL" clId="{6ECD27E6-B224-41CD-B4E0-E297462320DD}" dt="2023-11-24T11:44:12.742" v="156553"/>
          <ac:spMkLst>
            <pc:docMk/>
            <pc:sldMk cId="2225815222" sldId="2147478566"/>
            <ac:spMk id="1018" creationId="{32BC5D98-ADD5-C92F-608A-E1F0A2BEEE16}"/>
          </ac:spMkLst>
        </pc:spChg>
        <pc:spChg chg="add del mod">
          <ac:chgData name="Steiner Andreas 6206 ED" userId="e6377c33-a923-4f14-8587-531c474c7b48" providerId="ADAL" clId="{6ECD27E6-B224-41CD-B4E0-E297462320DD}" dt="2023-11-24T11:44:14.728" v="156708"/>
          <ac:spMkLst>
            <pc:docMk/>
            <pc:sldMk cId="2225815222" sldId="2147478566"/>
            <ac:spMk id="1019" creationId="{ED27D8E2-A9B9-FF46-12B8-78296A83D6CA}"/>
          </ac:spMkLst>
        </pc:spChg>
        <pc:spChg chg="add del mod">
          <ac:chgData name="Steiner Andreas 6206 ED" userId="e6377c33-a923-4f14-8587-531c474c7b48" providerId="ADAL" clId="{6ECD27E6-B224-41CD-B4E0-E297462320DD}" dt="2023-11-24T11:44:16.726" v="156863"/>
          <ac:spMkLst>
            <pc:docMk/>
            <pc:sldMk cId="2225815222" sldId="2147478566"/>
            <ac:spMk id="1020" creationId="{0D2D207C-934E-A071-E489-93604E2DD854}"/>
          </ac:spMkLst>
        </pc:spChg>
        <pc:spChg chg="add del mod">
          <ac:chgData name="Steiner Andreas 6206 ED" userId="e6377c33-a923-4f14-8587-531c474c7b48" providerId="ADAL" clId="{6ECD27E6-B224-41CD-B4E0-E297462320DD}" dt="2023-11-24T11:44:18.832" v="157018"/>
          <ac:spMkLst>
            <pc:docMk/>
            <pc:sldMk cId="2225815222" sldId="2147478566"/>
            <ac:spMk id="1021" creationId="{4BFA9666-D590-DDF0-3048-5C1D0D5A4BEE}"/>
          </ac:spMkLst>
        </pc:spChg>
        <pc:spChg chg="add del mod">
          <ac:chgData name="Steiner Andreas 6206 ED" userId="e6377c33-a923-4f14-8587-531c474c7b48" providerId="ADAL" clId="{6ECD27E6-B224-41CD-B4E0-E297462320DD}" dt="2023-11-24T11:44:20.930" v="157173"/>
          <ac:spMkLst>
            <pc:docMk/>
            <pc:sldMk cId="2225815222" sldId="2147478566"/>
            <ac:spMk id="1022" creationId="{06AA9560-4770-8B5B-9363-C789C51F6272}"/>
          </ac:spMkLst>
        </pc:spChg>
        <pc:spChg chg="add del mod">
          <ac:chgData name="Steiner Andreas 6206 ED" userId="e6377c33-a923-4f14-8587-531c474c7b48" providerId="ADAL" clId="{6ECD27E6-B224-41CD-B4E0-E297462320DD}" dt="2023-11-24T11:44:23.277" v="157328"/>
          <ac:spMkLst>
            <pc:docMk/>
            <pc:sldMk cId="2225815222" sldId="2147478566"/>
            <ac:spMk id="1023" creationId="{34A1EE2F-04E7-CB4C-03AB-9F111EE054A3}"/>
          </ac:spMkLst>
        </pc:spChg>
        <pc:spChg chg="add del mod">
          <ac:chgData name="Steiner Andreas 6206 ED" userId="e6377c33-a923-4f14-8587-531c474c7b48" providerId="ADAL" clId="{6ECD27E6-B224-41CD-B4E0-E297462320DD}" dt="2023-11-24T11:44:25.406" v="157483"/>
          <ac:spMkLst>
            <pc:docMk/>
            <pc:sldMk cId="2225815222" sldId="2147478566"/>
            <ac:spMk id="1024" creationId="{60AFABA8-25D1-049E-CC0F-6C24A9B3C27D}"/>
          </ac:spMkLst>
        </pc:spChg>
        <pc:spChg chg="add del mod">
          <ac:chgData name="Steiner Andreas 6206 ED" userId="e6377c33-a923-4f14-8587-531c474c7b48" providerId="ADAL" clId="{6ECD27E6-B224-41CD-B4E0-E297462320DD}" dt="2023-11-24T11:44:30.836" v="157638"/>
          <ac:spMkLst>
            <pc:docMk/>
            <pc:sldMk cId="2225815222" sldId="2147478566"/>
            <ac:spMk id="1025" creationId="{82E62F4E-EC06-C015-AEC2-DA36B81084DE}"/>
          </ac:spMkLst>
        </pc:spChg>
        <pc:spChg chg="add mod">
          <ac:chgData name="Steiner Andreas 6206 ED" userId="e6377c33-a923-4f14-8587-531c474c7b48" providerId="ADAL" clId="{6ECD27E6-B224-41CD-B4E0-E297462320DD}" dt="2023-11-24T11:44:30.836" v="157639"/>
          <ac:spMkLst>
            <pc:docMk/>
            <pc:sldMk cId="2225815222" sldId="2147478566"/>
            <ac:spMk id="1026" creationId="{2BCD8177-64C8-EBAF-FFFD-7BC2C6016052}"/>
          </ac:spMkLst>
        </pc:spChg>
      </pc:sldChg>
      <pc:sldChg chg="addSp delSp modSp mod">
        <pc:chgData name="Steiner Andreas 6206 ED" userId="e6377c33-a923-4f14-8587-531c474c7b48" providerId="ADAL" clId="{6ECD27E6-B224-41CD-B4E0-E297462320DD}" dt="2023-11-24T11:44:30.737" v="157609"/>
        <pc:sldMkLst>
          <pc:docMk/>
          <pc:sldMk cId="4145871477" sldId="2147478567"/>
        </pc:sldMkLst>
        <pc:spChg chg="mod">
          <ac:chgData name="Steiner Andreas 6206 ED" userId="e6377c33-a923-4f14-8587-531c474c7b48" providerId="ADAL" clId="{6ECD27E6-B224-41CD-B4E0-E297462320DD}" dt="2023-11-24T11:44:30.737" v="157606" actId="20577"/>
          <ac:spMkLst>
            <pc:docMk/>
            <pc:sldMk cId="4145871477" sldId="2147478567"/>
            <ac:spMk id="2" creationId="{74988848-A6D8-91B3-C36E-AB1B86743E6B}"/>
          </ac:spMkLst>
        </pc:spChg>
        <pc:spChg chg="del">
          <ac:chgData name="Steiner Andreas 6206 ED" userId="e6377c33-a923-4f14-8587-531c474c7b48" providerId="ADAL" clId="{6ECD27E6-B224-41CD-B4E0-E297462320DD}" dt="2023-11-23T19:49:53.571" v="130"/>
          <ac:spMkLst>
            <pc:docMk/>
            <pc:sldMk cId="4145871477" sldId="2147478567"/>
            <ac:spMk id="4" creationId="{ED2C7508-AE2D-6EC9-BE88-748009D90BF9}"/>
          </ac:spMkLst>
        </pc:spChg>
        <pc:spChg chg="add del mod">
          <ac:chgData name="Steiner Andreas 6206 ED" userId="e6377c33-a923-4f14-8587-531c474c7b48" providerId="ADAL" clId="{6ECD27E6-B224-41CD-B4E0-E297462320DD}" dt="2023-11-23T19:49:54.484" v="283"/>
          <ac:spMkLst>
            <pc:docMk/>
            <pc:sldMk cId="4145871477" sldId="2147478567"/>
            <ac:spMk id="5" creationId="{B812A7DD-222C-8748-4BCA-41C3471058B4}"/>
          </ac:spMkLst>
        </pc:spChg>
        <pc:spChg chg="add del mod">
          <ac:chgData name="Steiner Andreas 6206 ED" userId="e6377c33-a923-4f14-8587-531c474c7b48" providerId="ADAL" clId="{6ECD27E6-B224-41CD-B4E0-E297462320DD}" dt="2023-11-23T19:50:25.302" v="438"/>
          <ac:spMkLst>
            <pc:docMk/>
            <pc:sldMk cId="4145871477" sldId="2147478567"/>
            <ac:spMk id="6" creationId="{E10BEA13-74DD-B343-ECBD-1D80929B82AF}"/>
          </ac:spMkLst>
        </pc:spChg>
        <pc:spChg chg="add del mod">
          <ac:chgData name="Steiner Andreas 6206 ED" userId="e6377c33-a923-4f14-8587-531c474c7b48" providerId="ADAL" clId="{6ECD27E6-B224-41CD-B4E0-E297462320DD}" dt="2023-11-23T19:50:35.102" v="593"/>
          <ac:spMkLst>
            <pc:docMk/>
            <pc:sldMk cId="4145871477" sldId="2147478567"/>
            <ac:spMk id="7" creationId="{4F231EE2-9696-4D9C-514C-8CED2C46CD68}"/>
          </ac:spMkLst>
        </pc:spChg>
        <pc:spChg chg="add del mod">
          <ac:chgData name="Steiner Andreas 6206 ED" userId="e6377c33-a923-4f14-8587-531c474c7b48" providerId="ADAL" clId="{6ECD27E6-B224-41CD-B4E0-E297462320DD}" dt="2023-11-23T19:50:46.771" v="748"/>
          <ac:spMkLst>
            <pc:docMk/>
            <pc:sldMk cId="4145871477" sldId="2147478567"/>
            <ac:spMk id="8" creationId="{7809DF76-91A0-BA1E-11E1-FBB78E8EBE86}"/>
          </ac:spMkLst>
        </pc:spChg>
        <pc:spChg chg="add del mod">
          <ac:chgData name="Steiner Andreas 6206 ED" userId="e6377c33-a923-4f14-8587-531c474c7b48" providerId="ADAL" clId="{6ECD27E6-B224-41CD-B4E0-E297462320DD}" dt="2023-11-23T19:50:58.479" v="903"/>
          <ac:spMkLst>
            <pc:docMk/>
            <pc:sldMk cId="4145871477" sldId="2147478567"/>
            <ac:spMk id="9" creationId="{3125EBDA-8CB1-99C7-5138-2EB6054B2E6C}"/>
          </ac:spMkLst>
        </pc:spChg>
        <pc:spChg chg="add del mod">
          <ac:chgData name="Steiner Andreas 6206 ED" userId="e6377c33-a923-4f14-8587-531c474c7b48" providerId="ADAL" clId="{6ECD27E6-B224-41CD-B4E0-E297462320DD}" dt="2023-11-23T19:51:09.159" v="1058"/>
          <ac:spMkLst>
            <pc:docMk/>
            <pc:sldMk cId="4145871477" sldId="2147478567"/>
            <ac:spMk id="10" creationId="{09EEABF3-6127-3969-65D0-B3D914C74541}"/>
          </ac:spMkLst>
        </pc:spChg>
        <pc:spChg chg="add del mod">
          <ac:chgData name="Steiner Andreas 6206 ED" userId="e6377c33-a923-4f14-8587-531c474c7b48" providerId="ADAL" clId="{6ECD27E6-B224-41CD-B4E0-E297462320DD}" dt="2023-11-23T19:51:20.161" v="1213"/>
          <ac:spMkLst>
            <pc:docMk/>
            <pc:sldMk cId="4145871477" sldId="2147478567"/>
            <ac:spMk id="11" creationId="{496BF05F-6F6E-41FF-662C-42095FC598D0}"/>
          </ac:spMkLst>
        </pc:spChg>
        <pc:spChg chg="add del mod">
          <ac:chgData name="Steiner Andreas 6206 ED" userId="e6377c33-a923-4f14-8587-531c474c7b48" providerId="ADAL" clId="{6ECD27E6-B224-41CD-B4E0-E297462320DD}" dt="2023-11-23T19:51:31.625" v="1368"/>
          <ac:spMkLst>
            <pc:docMk/>
            <pc:sldMk cId="4145871477" sldId="2147478567"/>
            <ac:spMk id="12" creationId="{1209E09E-F214-E27B-2D23-9F3BE376A40E}"/>
          </ac:spMkLst>
        </pc:spChg>
        <pc:spChg chg="add del mod">
          <ac:chgData name="Steiner Andreas 6206 ED" userId="e6377c33-a923-4f14-8587-531c474c7b48" providerId="ADAL" clId="{6ECD27E6-B224-41CD-B4E0-E297462320DD}" dt="2023-11-23T19:51:42.286" v="1523"/>
          <ac:spMkLst>
            <pc:docMk/>
            <pc:sldMk cId="4145871477" sldId="2147478567"/>
            <ac:spMk id="13" creationId="{0CCF3F3C-2068-F43B-D241-892AE5FB7714}"/>
          </ac:spMkLst>
        </pc:spChg>
        <pc:spChg chg="add del mod">
          <ac:chgData name="Steiner Andreas 6206 ED" userId="e6377c33-a923-4f14-8587-531c474c7b48" providerId="ADAL" clId="{6ECD27E6-B224-41CD-B4E0-E297462320DD}" dt="2023-11-23T19:51:53.613" v="1678"/>
          <ac:spMkLst>
            <pc:docMk/>
            <pc:sldMk cId="4145871477" sldId="2147478567"/>
            <ac:spMk id="14" creationId="{4A9AD5FB-95DD-4E8C-E76B-AE5CBB4A2FEF}"/>
          </ac:spMkLst>
        </pc:spChg>
        <pc:spChg chg="add del mod">
          <ac:chgData name="Steiner Andreas 6206 ED" userId="e6377c33-a923-4f14-8587-531c474c7b48" providerId="ADAL" clId="{6ECD27E6-B224-41CD-B4E0-E297462320DD}" dt="2023-11-23T19:52:05.270" v="1833"/>
          <ac:spMkLst>
            <pc:docMk/>
            <pc:sldMk cId="4145871477" sldId="2147478567"/>
            <ac:spMk id="15" creationId="{21B67E17-47A7-0A80-08A2-78C915471BAA}"/>
          </ac:spMkLst>
        </pc:spChg>
        <pc:spChg chg="add del mod">
          <ac:chgData name="Steiner Andreas 6206 ED" userId="e6377c33-a923-4f14-8587-531c474c7b48" providerId="ADAL" clId="{6ECD27E6-B224-41CD-B4E0-E297462320DD}" dt="2023-11-23T19:52:16.980" v="1988"/>
          <ac:spMkLst>
            <pc:docMk/>
            <pc:sldMk cId="4145871477" sldId="2147478567"/>
            <ac:spMk id="16" creationId="{336B4C8E-1934-A3EE-9F93-ADF14A8E909C}"/>
          </ac:spMkLst>
        </pc:spChg>
        <pc:spChg chg="add del mod">
          <ac:chgData name="Steiner Andreas 6206 ED" userId="e6377c33-a923-4f14-8587-531c474c7b48" providerId="ADAL" clId="{6ECD27E6-B224-41CD-B4E0-E297462320DD}" dt="2023-11-23T19:52:28.668" v="2143"/>
          <ac:spMkLst>
            <pc:docMk/>
            <pc:sldMk cId="4145871477" sldId="2147478567"/>
            <ac:spMk id="17" creationId="{55334A59-31E7-CC30-0CD9-358D3FB819A9}"/>
          </ac:spMkLst>
        </pc:spChg>
        <pc:spChg chg="add del mod">
          <ac:chgData name="Steiner Andreas 6206 ED" userId="e6377c33-a923-4f14-8587-531c474c7b48" providerId="ADAL" clId="{6ECD27E6-B224-41CD-B4E0-E297462320DD}" dt="2023-11-23T19:52:40.358" v="2298"/>
          <ac:spMkLst>
            <pc:docMk/>
            <pc:sldMk cId="4145871477" sldId="2147478567"/>
            <ac:spMk id="18" creationId="{91FC7885-D387-A9FE-B362-1E885FCA7D48}"/>
          </ac:spMkLst>
        </pc:spChg>
        <pc:spChg chg="add del mod">
          <ac:chgData name="Steiner Andreas 6206 ED" userId="e6377c33-a923-4f14-8587-531c474c7b48" providerId="ADAL" clId="{6ECD27E6-B224-41CD-B4E0-E297462320DD}" dt="2023-11-23T19:52:51.743" v="2453"/>
          <ac:spMkLst>
            <pc:docMk/>
            <pc:sldMk cId="4145871477" sldId="2147478567"/>
            <ac:spMk id="19" creationId="{667378D1-E065-0C93-DEC9-ACC78FA1C961}"/>
          </ac:spMkLst>
        </pc:spChg>
        <pc:spChg chg="add del mod">
          <ac:chgData name="Steiner Andreas 6206 ED" userId="e6377c33-a923-4f14-8587-531c474c7b48" providerId="ADAL" clId="{6ECD27E6-B224-41CD-B4E0-E297462320DD}" dt="2023-11-23T19:53:03.419" v="2608"/>
          <ac:spMkLst>
            <pc:docMk/>
            <pc:sldMk cId="4145871477" sldId="2147478567"/>
            <ac:spMk id="20" creationId="{2CB18B5B-168F-1D36-2886-F38E8DF02508}"/>
          </ac:spMkLst>
        </pc:spChg>
        <pc:spChg chg="add del mod">
          <ac:chgData name="Steiner Andreas 6206 ED" userId="e6377c33-a923-4f14-8587-531c474c7b48" providerId="ADAL" clId="{6ECD27E6-B224-41CD-B4E0-E297462320DD}" dt="2023-11-23T19:53:15.149" v="2763"/>
          <ac:spMkLst>
            <pc:docMk/>
            <pc:sldMk cId="4145871477" sldId="2147478567"/>
            <ac:spMk id="21" creationId="{130D780B-CE9B-8923-CBE4-2640C7E0868E}"/>
          </ac:spMkLst>
        </pc:spChg>
        <pc:spChg chg="add del mod">
          <ac:chgData name="Steiner Andreas 6206 ED" userId="e6377c33-a923-4f14-8587-531c474c7b48" providerId="ADAL" clId="{6ECD27E6-B224-41CD-B4E0-E297462320DD}" dt="2023-11-23T19:53:26.832" v="2918"/>
          <ac:spMkLst>
            <pc:docMk/>
            <pc:sldMk cId="4145871477" sldId="2147478567"/>
            <ac:spMk id="22" creationId="{E574AB59-425E-37E7-7F47-E726C2113663}"/>
          </ac:spMkLst>
        </pc:spChg>
        <pc:spChg chg="add del mod">
          <ac:chgData name="Steiner Andreas 6206 ED" userId="e6377c33-a923-4f14-8587-531c474c7b48" providerId="ADAL" clId="{6ECD27E6-B224-41CD-B4E0-E297462320DD}" dt="2023-11-23T19:53:38.490" v="3073"/>
          <ac:spMkLst>
            <pc:docMk/>
            <pc:sldMk cId="4145871477" sldId="2147478567"/>
            <ac:spMk id="23" creationId="{6B73404A-3977-7C6B-C2EF-67782D6F6F00}"/>
          </ac:spMkLst>
        </pc:spChg>
        <pc:spChg chg="add del mod">
          <ac:chgData name="Steiner Andreas 6206 ED" userId="e6377c33-a923-4f14-8587-531c474c7b48" providerId="ADAL" clId="{6ECD27E6-B224-41CD-B4E0-E297462320DD}" dt="2023-11-23T19:53:50.153" v="3228"/>
          <ac:spMkLst>
            <pc:docMk/>
            <pc:sldMk cId="4145871477" sldId="2147478567"/>
            <ac:spMk id="24" creationId="{8DF148F3-E442-96FE-4B64-0C0B6479E707}"/>
          </ac:spMkLst>
        </pc:spChg>
        <pc:spChg chg="add del mod">
          <ac:chgData name="Steiner Andreas 6206 ED" userId="e6377c33-a923-4f14-8587-531c474c7b48" providerId="ADAL" clId="{6ECD27E6-B224-41CD-B4E0-E297462320DD}" dt="2023-11-23T19:54:01.827" v="3383"/>
          <ac:spMkLst>
            <pc:docMk/>
            <pc:sldMk cId="4145871477" sldId="2147478567"/>
            <ac:spMk id="25" creationId="{1D1F38FA-651E-8264-6E45-99A4819E41E8}"/>
          </ac:spMkLst>
        </pc:spChg>
        <pc:spChg chg="add del mod">
          <ac:chgData name="Steiner Andreas 6206 ED" userId="e6377c33-a923-4f14-8587-531c474c7b48" providerId="ADAL" clId="{6ECD27E6-B224-41CD-B4E0-E297462320DD}" dt="2023-11-23T19:54:13.519" v="3538"/>
          <ac:spMkLst>
            <pc:docMk/>
            <pc:sldMk cId="4145871477" sldId="2147478567"/>
            <ac:spMk id="26" creationId="{457A50E3-A176-1063-65A3-BB39799CF59F}"/>
          </ac:spMkLst>
        </pc:spChg>
        <pc:spChg chg="add del mod">
          <ac:chgData name="Steiner Andreas 6206 ED" userId="e6377c33-a923-4f14-8587-531c474c7b48" providerId="ADAL" clId="{6ECD27E6-B224-41CD-B4E0-E297462320DD}" dt="2023-11-23T19:54:25.181" v="3693"/>
          <ac:spMkLst>
            <pc:docMk/>
            <pc:sldMk cId="4145871477" sldId="2147478567"/>
            <ac:spMk id="27" creationId="{1B92AFD7-71F1-9C3D-B538-1DEC9D849218}"/>
          </ac:spMkLst>
        </pc:spChg>
        <pc:spChg chg="add del mod">
          <ac:chgData name="Steiner Andreas 6206 ED" userId="e6377c33-a923-4f14-8587-531c474c7b48" providerId="ADAL" clId="{6ECD27E6-B224-41CD-B4E0-E297462320DD}" dt="2023-11-23T19:54:36.900" v="3848"/>
          <ac:spMkLst>
            <pc:docMk/>
            <pc:sldMk cId="4145871477" sldId="2147478567"/>
            <ac:spMk id="28" creationId="{09E8C758-1311-91BD-EEBF-06A1D3FD04C6}"/>
          </ac:spMkLst>
        </pc:spChg>
        <pc:spChg chg="add del mod">
          <ac:chgData name="Steiner Andreas 6206 ED" userId="e6377c33-a923-4f14-8587-531c474c7b48" providerId="ADAL" clId="{6ECD27E6-B224-41CD-B4E0-E297462320DD}" dt="2023-11-23T19:54:48.222" v="4003"/>
          <ac:spMkLst>
            <pc:docMk/>
            <pc:sldMk cId="4145871477" sldId="2147478567"/>
            <ac:spMk id="29" creationId="{4E7EF19C-398B-5F35-C13A-1B491A765DBF}"/>
          </ac:spMkLst>
        </pc:spChg>
        <pc:spChg chg="add del mod">
          <ac:chgData name="Steiner Andreas 6206 ED" userId="e6377c33-a923-4f14-8587-531c474c7b48" providerId="ADAL" clId="{6ECD27E6-B224-41CD-B4E0-E297462320DD}" dt="2023-11-23T19:54:59.875" v="4158"/>
          <ac:spMkLst>
            <pc:docMk/>
            <pc:sldMk cId="4145871477" sldId="2147478567"/>
            <ac:spMk id="30" creationId="{3DB0FB66-F732-D944-762D-88CF0CEFE405}"/>
          </ac:spMkLst>
        </pc:spChg>
        <pc:spChg chg="add del mod">
          <ac:chgData name="Steiner Andreas 6206 ED" userId="e6377c33-a923-4f14-8587-531c474c7b48" providerId="ADAL" clId="{6ECD27E6-B224-41CD-B4E0-E297462320DD}" dt="2023-11-23T19:55:11.608" v="4313"/>
          <ac:spMkLst>
            <pc:docMk/>
            <pc:sldMk cId="4145871477" sldId="2147478567"/>
            <ac:spMk id="31" creationId="{1385E845-4F2C-F97B-BD44-C9A21C9C2E86}"/>
          </ac:spMkLst>
        </pc:spChg>
        <pc:spChg chg="add del mod">
          <ac:chgData name="Steiner Andreas 6206 ED" userId="e6377c33-a923-4f14-8587-531c474c7b48" providerId="ADAL" clId="{6ECD27E6-B224-41CD-B4E0-E297462320DD}" dt="2023-11-23T19:55:23.284" v="4468"/>
          <ac:spMkLst>
            <pc:docMk/>
            <pc:sldMk cId="4145871477" sldId="2147478567"/>
            <ac:spMk id="32" creationId="{79C2493F-DED5-EDFB-A4C9-1B57B1B60B93}"/>
          </ac:spMkLst>
        </pc:spChg>
        <pc:spChg chg="add del mod">
          <ac:chgData name="Steiner Andreas 6206 ED" userId="e6377c33-a923-4f14-8587-531c474c7b48" providerId="ADAL" clId="{6ECD27E6-B224-41CD-B4E0-E297462320DD}" dt="2023-11-23T19:55:34.928" v="4623"/>
          <ac:spMkLst>
            <pc:docMk/>
            <pc:sldMk cId="4145871477" sldId="2147478567"/>
            <ac:spMk id="33" creationId="{9EF5201E-E944-091E-36C4-7D398ABBA0B9}"/>
          </ac:spMkLst>
        </pc:spChg>
        <pc:spChg chg="add del mod">
          <ac:chgData name="Steiner Andreas 6206 ED" userId="e6377c33-a923-4f14-8587-531c474c7b48" providerId="ADAL" clId="{6ECD27E6-B224-41CD-B4E0-E297462320DD}" dt="2023-11-23T19:55:46.254" v="4778"/>
          <ac:spMkLst>
            <pc:docMk/>
            <pc:sldMk cId="4145871477" sldId="2147478567"/>
            <ac:spMk id="34" creationId="{1E2376B7-67A6-631A-E66A-7E9CC2A8BF98}"/>
          </ac:spMkLst>
        </pc:spChg>
        <pc:spChg chg="add del mod">
          <ac:chgData name="Steiner Andreas 6206 ED" userId="e6377c33-a923-4f14-8587-531c474c7b48" providerId="ADAL" clId="{6ECD27E6-B224-41CD-B4E0-E297462320DD}" dt="2023-11-23T19:55:57.927" v="4933"/>
          <ac:spMkLst>
            <pc:docMk/>
            <pc:sldMk cId="4145871477" sldId="2147478567"/>
            <ac:spMk id="35" creationId="{0BA8AF7A-BC6F-C05A-3C70-D95C7A5200E0}"/>
          </ac:spMkLst>
        </pc:spChg>
        <pc:spChg chg="add del mod">
          <ac:chgData name="Steiner Andreas 6206 ED" userId="e6377c33-a923-4f14-8587-531c474c7b48" providerId="ADAL" clId="{6ECD27E6-B224-41CD-B4E0-E297462320DD}" dt="2023-11-23T19:56:09.600" v="5088"/>
          <ac:spMkLst>
            <pc:docMk/>
            <pc:sldMk cId="4145871477" sldId="2147478567"/>
            <ac:spMk id="36" creationId="{5742266D-C1FE-F93B-72CB-84A4D8EABEB0}"/>
          </ac:spMkLst>
        </pc:spChg>
        <pc:spChg chg="add del mod">
          <ac:chgData name="Steiner Andreas 6206 ED" userId="e6377c33-a923-4f14-8587-531c474c7b48" providerId="ADAL" clId="{6ECD27E6-B224-41CD-B4E0-E297462320DD}" dt="2023-11-23T19:56:21.295" v="5243"/>
          <ac:spMkLst>
            <pc:docMk/>
            <pc:sldMk cId="4145871477" sldId="2147478567"/>
            <ac:spMk id="37" creationId="{0AF1DA91-95B9-B10B-F222-DB016BB4C9A0}"/>
          </ac:spMkLst>
        </pc:spChg>
        <pc:spChg chg="add del mod">
          <ac:chgData name="Steiner Andreas 6206 ED" userId="e6377c33-a923-4f14-8587-531c474c7b48" providerId="ADAL" clId="{6ECD27E6-B224-41CD-B4E0-E297462320DD}" dt="2023-11-23T19:56:32.980" v="5398"/>
          <ac:spMkLst>
            <pc:docMk/>
            <pc:sldMk cId="4145871477" sldId="2147478567"/>
            <ac:spMk id="38" creationId="{E401EF95-5E0D-E9EA-3162-9F4C07797836}"/>
          </ac:spMkLst>
        </pc:spChg>
        <pc:spChg chg="add del mod">
          <ac:chgData name="Steiner Andreas 6206 ED" userId="e6377c33-a923-4f14-8587-531c474c7b48" providerId="ADAL" clId="{6ECD27E6-B224-41CD-B4E0-E297462320DD}" dt="2023-11-23T19:56:44.335" v="5553"/>
          <ac:spMkLst>
            <pc:docMk/>
            <pc:sldMk cId="4145871477" sldId="2147478567"/>
            <ac:spMk id="39" creationId="{8BE82C40-253C-A944-DBE9-64DFBF0CB66B}"/>
          </ac:spMkLst>
        </pc:spChg>
        <pc:spChg chg="add del mod">
          <ac:chgData name="Steiner Andreas 6206 ED" userId="e6377c33-a923-4f14-8587-531c474c7b48" providerId="ADAL" clId="{6ECD27E6-B224-41CD-B4E0-E297462320DD}" dt="2023-11-23T19:56:54.712" v="5708"/>
          <ac:spMkLst>
            <pc:docMk/>
            <pc:sldMk cId="4145871477" sldId="2147478567"/>
            <ac:spMk id="40" creationId="{23EF3962-47C7-ADCC-2C8F-4E68D443C2E2}"/>
          </ac:spMkLst>
        </pc:spChg>
        <pc:spChg chg="add del mod">
          <ac:chgData name="Steiner Andreas 6206 ED" userId="e6377c33-a923-4f14-8587-531c474c7b48" providerId="ADAL" clId="{6ECD27E6-B224-41CD-B4E0-E297462320DD}" dt="2023-11-23T19:57:06.177" v="5863"/>
          <ac:spMkLst>
            <pc:docMk/>
            <pc:sldMk cId="4145871477" sldId="2147478567"/>
            <ac:spMk id="41" creationId="{55B4C755-EF30-D766-0CB7-E62110C97E4F}"/>
          </ac:spMkLst>
        </pc:spChg>
        <pc:spChg chg="add del mod">
          <ac:chgData name="Steiner Andreas 6206 ED" userId="e6377c33-a923-4f14-8587-531c474c7b48" providerId="ADAL" clId="{6ECD27E6-B224-41CD-B4E0-E297462320DD}" dt="2023-11-23T19:57:17.869" v="6018"/>
          <ac:spMkLst>
            <pc:docMk/>
            <pc:sldMk cId="4145871477" sldId="2147478567"/>
            <ac:spMk id="42" creationId="{610D0EF4-4D83-8CE1-5852-3B0B23405755}"/>
          </ac:spMkLst>
        </pc:spChg>
        <pc:spChg chg="add del mod">
          <ac:chgData name="Steiner Andreas 6206 ED" userId="e6377c33-a923-4f14-8587-531c474c7b48" providerId="ADAL" clId="{6ECD27E6-B224-41CD-B4E0-E297462320DD}" dt="2023-11-23T19:57:29.319" v="6173"/>
          <ac:spMkLst>
            <pc:docMk/>
            <pc:sldMk cId="4145871477" sldId="2147478567"/>
            <ac:spMk id="43" creationId="{FF2BF9E1-7B4C-E8FC-9B53-9EBEFA85E062}"/>
          </ac:spMkLst>
        </pc:spChg>
        <pc:spChg chg="add del mod">
          <ac:chgData name="Steiner Andreas 6206 ED" userId="e6377c33-a923-4f14-8587-531c474c7b48" providerId="ADAL" clId="{6ECD27E6-B224-41CD-B4E0-E297462320DD}" dt="2023-11-23T19:57:40.947" v="6328"/>
          <ac:spMkLst>
            <pc:docMk/>
            <pc:sldMk cId="4145871477" sldId="2147478567"/>
            <ac:spMk id="44" creationId="{04918F65-D624-345C-A3FA-28C47A225A03}"/>
          </ac:spMkLst>
        </pc:spChg>
        <pc:spChg chg="add del mod">
          <ac:chgData name="Steiner Andreas 6206 ED" userId="e6377c33-a923-4f14-8587-531c474c7b48" providerId="ADAL" clId="{6ECD27E6-B224-41CD-B4E0-E297462320DD}" dt="2023-11-23T19:57:52.616" v="6483"/>
          <ac:spMkLst>
            <pc:docMk/>
            <pc:sldMk cId="4145871477" sldId="2147478567"/>
            <ac:spMk id="45" creationId="{F6A3683C-B41A-724A-32EC-7882C8A0C2A6}"/>
          </ac:spMkLst>
        </pc:spChg>
        <pc:spChg chg="add del mod">
          <ac:chgData name="Steiner Andreas 6206 ED" userId="e6377c33-a923-4f14-8587-531c474c7b48" providerId="ADAL" clId="{6ECD27E6-B224-41CD-B4E0-E297462320DD}" dt="2023-11-23T19:58:04.325" v="6638"/>
          <ac:spMkLst>
            <pc:docMk/>
            <pc:sldMk cId="4145871477" sldId="2147478567"/>
            <ac:spMk id="46" creationId="{440FAAF1-B35B-7A39-B64B-D497083DC10D}"/>
          </ac:spMkLst>
        </pc:spChg>
        <pc:spChg chg="add del mod">
          <ac:chgData name="Steiner Andreas 6206 ED" userId="e6377c33-a923-4f14-8587-531c474c7b48" providerId="ADAL" clId="{6ECD27E6-B224-41CD-B4E0-E297462320DD}" dt="2023-11-23T19:58:15.710" v="6793"/>
          <ac:spMkLst>
            <pc:docMk/>
            <pc:sldMk cId="4145871477" sldId="2147478567"/>
            <ac:spMk id="47" creationId="{D32818B8-C0D5-8D9D-F6F5-C7A97BF98EB6}"/>
          </ac:spMkLst>
        </pc:spChg>
        <pc:spChg chg="add del mod">
          <ac:chgData name="Steiner Andreas 6206 ED" userId="e6377c33-a923-4f14-8587-531c474c7b48" providerId="ADAL" clId="{6ECD27E6-B224-41CD-B4E0-E297462320DD}" dt="2023-11-23T19:58:27.838" v="6948"/>
          <ac:spMkLst>
            <pc:docMk/>
            <pc:sldMk cId="4145871477" sldId="2147478567"/>
            <ac:spMk id="48" creationId="{A8B69F1D-D945-45A2-58FD-90AEE5920612}"/>
          </ac:spMkLst>
        </pc:spChg>
        <pc:spChg chg="add del mod">
          <ac:chgData name="Steiner Andreas 6206 ED" userId="e6377c33-a923-4f14-8587-531c474c7b48" providerId="ADAL" clId="{6ECD27E6-B224-41CD-B4E0-E297462320DD}" dt="2023-11-23T19:58:39.579" v="7103"/>
          <ac:spMkLst>
            <pc:docMk/>
            <pc:sldMk cId="4145871477" sldId="2147478567"/>
            <ac:spMk id="49" creationId="{A61BA269-683F-D04B-C89A-0FA777CDCCF6}"/>
          </ac:spMkLst>
        </pc:spChg>
        <pc:spChg chg="add del mod">
          <ac:chgData name="Steiner Andreas 6206 ED" userId="e6377c33-a923-4f14-8587-531c474c7b48" providerId="ADAL" clId="{6ECD27E6-B224-41CD-B4E0-E297462320DD}" dt="2023-11-23T19:58:51.266" v="7258"/>
          <ac:spMkLst>
            <pc:docMk/>
            <pc:sldMk cId="4145871477" sldId="2147478567"/>
            <ac:spMk id="50" creationId="{7F2FFA4A-90E1-0ABE-B2B8-305C93AB216F}"/>
          </ac:spMkLst>
        </pc:spChg>
        <pc:spChg chg="add del mod">
          <ac:chgData name="Steiner Andreas 6206 ED" userId="e6377c33-a923-4f14-8587-531c474c7b48" providerId="ADAL" clId="{6ECD27E6-B224-41CD-B4E0-E297462320DD}" dt="2023-11-23T19:59:02.636" v="7413"/>
          <ac:spMkLst>
            <pc:docMk/>
            <pc:sldMk cId="4145871477" sldId="2147478567"/>
            <ac:spMk id="51" creationId="{DB523600-6A5D-F836-B2C3-417D986BA57C}"/>
          </ac:spMkLst>
        </pc:spChg>
        <pc:spChg chg="add del mod">
          <ac:chgData name="Steiner Andreas 6206 ED" userId="e6377c33-a923-4f14-8587-531c474c7b48" providerId="ADAL" clId="{6ECD27E6-B224-41CD-B4E0-E297462320DD}" dt="2023-11-24T08:31:41.522" v="7568"/>
          <ac:spMkLst>
            <pc:docMk/>
            <pc:sldMk cId="4145871477" sldId="2147478567"/>
            <ac:spMk id="52" creationId="{84868900-1296-11D1-6EA2-AB227F754933}"/>
          </ac:spMkLst>
        </pc:spChg>
        <pc:spChg chg="add del mod">
          <ac:chgData name="Steiner Andreas 6206 ED" userId="e6377c33-a923-4f14-8587-531c474c7b48" providerId="ADAL" clId="{6ECD27E6-B224-41CD-B4E0-E297462320DD}" dt="2023-11-24T08:31:45.204" v="7723"/>
          <ac:spMkLst>
            <pc:docMk/>
            <pc:sldMk cId="4145871477" sldId="2147478567"/>
            <ac:spMk id="53" creationId="{F9C63482-44B6-CA55-B5F2-FEF6C9771FD9}"/>
          </ac:spMkLst>
        </pc:spChg>
        <pc:spChg chg="add del mod">
          <ac:chgData name="Steiner Andreas 6206 ED" userId="e6377c33-a923-4f14-8587-531c474c7b48" providerId="ADAL" clId="{6ECD27E6-B224-41CD-B4E0-E297462320DD}" dt="2023-11-24T08:31:47.053" v="7878"/>
          <ac:spMkLst>
            <pc:docMk/>
            <pc:sldMk cId="4145871477" sldId="2147478567"/>
            <ac:spMk id="54" creationId="{44EF0D6C-836C-31D9-E48A-DB4D82984929}"/>
          </ac:spMkLst>
        </pc:spChg>
        <pc:spChg chg="add del mod">
          <ac:chgData name="Steiner Andreas 6206 ED" userId="e6377c33-a923-4f14-8587-531c474c7b48" providerId="ADAL" clId="{6ECD27E6-B224-41CD-B4E0-E297462320DD}" dt="2023-11-24T08:31:48.928" v="8033"/>
          <ac:spMkLst>
            <pc:docMk/>
            <pc:sldMk cId="4145871477" sldId="2147478567"/>
            <ac:spMk id="55" creationId="{C78E32F0-C915-406F-C565-EFEF539B73D3}"/>
          </ac:spMkLst>
        </pc:spChg>
        <pc:spChg chg="add del mod">
          <ac:chgData name="Steiner Andreas 6206 ED" userId="e6377c33-a923-4f14-8587-531c474c7b48" providerId="ADAL" clId="{6ECD27E6-B224-41CD-B4E0-E297462320DD}" dt="2023-11-24T08:31:50.780" v="8188"/>
          <ac:spMkLst>
            <pc:docMk/>
            <pc:sldMk cId="4145871477" sldId="2147478567"/>
            <ac:spMk id="56" creationId="{9FCEA5D9-577F-D19C-AF4A-71D93FEA47DF}"/>
          </ac:spMkLst>
        </pc:spChg>
        <pc:spChg chg="add del mod">
          <ac:chgData name="Steiner Andreas 6206 ED" userId="e6377c33-a923-4f14-8587-531c474c7b48" providerId="ADAL" clId="{6ECD27E6-B224-41CD-B4E0-E297462320DD}" dt="2023-11-24T08:31:52.580" v="8343"/>
          <ac:spMkLst>
            <pc:docMk/>
            <pc:sldMk cId="4145871477" sldId="2147478567"/>
            <ac:spMk id="57" creationId="{99502732-E8AF-2074-E19F-1FEE249B915D}"/>
          </ac:spMkLst>
        </pc:spChg>
        <pc:spChg chg="add del mod">
          <ac:chgData name="Steiner Andreas 6206 ED" userId="e6377c33-a923-4f14-8587-531c474c7b48" providerId="ADAL" clId="{6ECD27E6-B224-41CD-B4E0-E297462320DD}" dt="2023-11-24T08:31:54.383" v="8498"/>
          <ac:spMkLst>
            <pc:docMk/>
            <pc:sldMk cId="4145871477" sldId="2147478567"/>
            <ac:spMk id="58" creationId="{8466F90A-C7E6-D4DF-8281-FCE37A2A50B5}"/>
          </ac:spMkLst>
        </pc:spChg>
        <pc:spChg chg="add del mod">
          <ac:chgData name="Steiner Andreas 6206 ED" userId="e6377c33-a923-4f14-8587-531c474c7b48" providerId="ADAL" clId="{6ECD27E6-B224-41CD-B4E0-E297462320DD}" dt="2023-11-24T08:31:56.226" v="8653"/>
          <ac:spMkLst>
            <pc:docMk/>
            <pc:sldMk cId="4145871477" sldId="2147478567"/>
            <ac:spMk id="59" creationId="{7AC0FF5B-B2EE-C27C-DC65-B59531DB1DF2}"/>
          </ac:spMkLst>
        </pc:spChg>
        <pc:spChg chg="add del mod">
          <ac:chgData name="Steiner Andreas 6206 ED" userId="e6377c33-a923-4f14-8587-531c474c7b48" providerId="ADAL" clId="{6ECD27E6-B224-41CD-B4E0-E297462320DD}" dt="2023-11-24T08:31:58.107" v="8808"/>
          <ac:spMkLst>
            <pc:docMk/>
            <pc:sldMk cId="4145871477" sldId="2147478567"/>
            <ac:spMk id="60" creationId="{391F639E-E1A2-9A93-0EE3-F511EC52E4FF}"/>
          </ac:spMkLst>
        </pc:spChg>
        <pc:spChg chg="add del mod">
          <ac:chgData name="Steiner Andreas 6206 ED" userId="e6377c33-a923-4f14-8587-531c474c7b48" providerId="ADAL" clId="{6ECD27E6-B224-41CD-B4E0-E297462320DD}" dt="2023-11-24T08:32:00.855" v="8963"/>
          <ac:spMkLst>
            <pc:docMk/>
            <pc:sldMk cId="4145871477" sldId="2147478567"/>
            <ac:spMk id="61" creationId="{78F81A74-D4D4-674D-E7E0-E3D3A2AC08C8}"/>
          </ac:spMkLst>
        </pc:spChg>
        <pc:spChg chg="add del mod">
          <ac:chgData name="Steiner Andreas 6206 ED" userId="e6377c33-a923-4f14-8587-531c474c7b48" providerId="ADAL" clId="{6ECD27E6-B224-41CD-B4E0-E297462320DD}" dt="2023-11-24T08:32:03.166" v="9118"/>
          <ac:spMkLst>
            <pc:docMk/>
            <pc:sldMk cId="4145871477" sldId="2147478567"/>
            <ac:spMk id="62" creationId="{A3E7EF17-FAFE-F88B-F2C8-24F40417E7E9}"/>
          </ac:spMkLst>
        </pc:spChg>
        <pc:spChg chg="add del mod">
          <ac:chgData name="Steiner Andreas 6206 ED" userId="e6377c33-a923-4f14-8587-531c474c7b48" providerId="ADAL" clId="{6ECD27E6-B224-41CD-B4E0-E297462320DD}" dt="2023-11-24T08:32:05.208" v="9273"/>
          <ac:spMkLst>
            <pc:docMk/>
            <pc:sldMk cId="4145871477" sldId="2147478567"/>
            <ac:spMk id="63" creationId="{D7106AE3-F71E-0222-F959-6875E47FA389}"/>
          </ac:spMkLst>
        </pc:spChg>
        <pc:spChg chg="add del mod">
          <ac:chgData name="Steiner Andreas 6206 ED" userId="e6377c33-a923-4f14-8587-531c474c7b48" providerId="ADAL" clId="{6ECD27E6-B224-41CD-B4E0-E297462320DD}" dt="2023-11-24T08:32:07.150" v="9428"/>
          <ac:spMkLst>
            <pc:docMk/>
            <pc:sldMk cId="4145871477" sldId="2147478567"/>
            <ac:spMk id="64" creationId="{EAC9E877-0D46-B272-2A68-1F255D7D7C3A}"/>
          </ac:spMkLst>
        </pc:spChg>
        <pc:spChg chg="add del mod">
          <ac:chgData name="Steiner Andreas 6206 ED" userId="e6377c33-a923-4f14-8587-531c474c7b48" providerId="ADAL" clId="{6ECD27E6-B224-41CD-B4E0-E297462320DD}" dt="2023-11-24T08:32:09.483" v="9583"/>
          <ac:spMkLst>
            <pc:docMk/>
            <pc:sldMk cId="4145871477" sldId="2147478567"/>
            <ac:spMk id="65" creationId="{B49480FC-BC52-84A3-CB06-53D0D631A68E}"/>
          </ac:spMkLst>
        </pc:spChg>
        <pc:spChg chg="add del mod">
          <ac:chgData name="Steiner Andreas 6206 ED" userId="e6377c33-a923-4f14-8587-531c474c7b48" providerId="ADAL" clId="{6ECD27E6-B224-41CD-B4E0-E297462320DD}" dt="2023-11-24T08:32:11.786" v="9738"/>
          <ac:spMkLst>
            <pc:docMk/>
            <pc:sldMk cId="4145871477" sldId="2147478567"/>
            <ac:spMk id="66" creationId="{DF63B77C-CBDB-2BF0-6C47-CFA97D56F647}"/>
          </ac:spMkLst>
        </pc:spChg>
        <pc:spChg chg="add del mod">
          <ac:chgData name="Steiner Andreas 6206 ED" userId="e6377c33-a923-4f14-8587-531c474c7b48" providerId="ADAL" clId="{6ECD27E6-B224-41CD-B4E0-E297462320DD}" dt="2023-11-24T08:32:13.948" v="9893"/>
          <ac:spMkLst>
            <pc:docMk/>
            <pc:sldMk cId="4145871477" sldId="2147478567"/>
            <ac:spMk id="67" creationId="{60B7DDA8-E327-9881-BCDC-B605FA6B6269}"/>
          </ac:spMkLst>
        </pc:spChg>
        <pc:spChg chg="add del mod">
          <ac:chgData name="Steiner Andreas 6206 ED" userId="e6377c33-a923-4f14-8587-531c474c7b48" providerId="ADAL" clId="{6ECD27E6-B224-41CD-B4E0-E297462320DD}" dt="2023-11-24T08:32:15.889" v="10048"/>
          <ac:spMkLst>
            <pc:docMk/>
            <pc:sldMk cId="4145871477" sldId="2147478567"/>
            <ac:spMk id="68" creationId="{F499E632-F380-7A30-5682-B7B808228785}"/>
          </ac:spMkLst>
        </pc:spChg>
        <pc:spChg chg="add del mod">
          <ac:chgData name="Steiner Andreas 6206 ED" userId="e6377c33-a923-4f14-8587-531c474c7b48" providerId="ADAL" clId="{6ECD27E6-B224-41CD-B4E0-E297462320DD}" dt="2023-11-24T08:32:17.884" v="10203"/>
          <ac:spMkLst>
            <pc:docMk/>
            <pc:sldMk cId="4145871477" sldId="2147478567"/>
            <ac:spMk id="69" creationId="{96D9C3CF-5A41-8F86-989C-0333D6516F20}"/>
          </ac:spMkLst>
        </pc:spChg>
        <pc:spChg chg="add del mod">
          <ac:chgData name="Steiner Andreas 6206 ED" userId="e6377c33-a923-4f14-8587-531c474c7b48" providerId="ADAL" clId="{6ECD27E6-B224-41CD-B4E0-E297462320DD}" dt="2023-11-24T08:32:19.841" v="10358"/>
          <ac:spMkLst>
            <pc:docMk/>
            <pc:sldMk cId="4145871477" sldId="2147478567"/>
            <ac:spMk id="70" creationId="{9538001E-F4D2-C213-DD4F-28B92A6F2419}"/>
          </ac:spMkLst>
        </pc:spChg>
        <pc:spChg chg="add del mod">
          <ac:chgData name="Steiner Andreas 6206 ED" userId="e6377c33-a923-4f14-8587-531c474c7b48" providerId="ADAL" clId="{6ECD27E6-B224-41CD-B4E0-E297462320DD}" dt="2023-11-24T08:32:21.799" v="10513"/>
          <ac:spMkLst>
            <pc:docMk/>
            <pc:sldMk cId="4145871477" sldId="2147478567"/>
            <ac:spMk id="71" creationId="{0CD92EF1-9B9E-4426-9E77-1A8EB40F6D0C}"/>
          </ac:spMkLst>
        </pc:spChg>
        <pc:spChg chg="add del mod">
          <ac:chgData name="Steiner Andreas 6206 ED" userId="e6377c33-a923-4f14-8587-531c474c7b48" providerId="ADAL" clId="{6ECD27E6-B224-41CD-B4E0-E297462320DD}" dt="2023-11-24T08:32:23.974" v="10668"/>
          <ac:spMkLst>
            <pc:docMk/>
            <pc:sldMk cId="4145871477" sldId="2147478567"/>
            <ac:spMk id="72" creationId="{2E3C9F61-B537-BE02-46C3-3321BEDA000E}"/>
          </ac:spMkLst>
        </pc:spChg>
        <pc:spChg chg="add del mod">
          <ac:chgData name="Steiner Andreas 6206 ED" userId="e6377c33-a923-4f14-8587-531c474c7b48" providerId="ADAL" clId="{6ECD27E6-B224-41CD-B4E0-E297462320DD}" dt="2023-11-24T08:32:25.925" v="10823"/>
          <ac:spMkLst>
            <pc:docMk/>
            <pc:sldMk cId="4145871477" sldId="2147478567"/>
            <ac:spMk id="73" creationId="{218805DD-AA8F-F848-AEB9-03C49E70FF40}"/>
          </ac:spMkLst>
        </pc:spChg>
        <pc:spChg chg="add del mod">
          <ac:chgData name="Steiner Andreas 6206 ED" userId="e6377c33-a923-4f14-8587-531c474c7b48" providerId="ADAL" clId="{6ECD27E6-B224-41CD-B4E0-E297462320DD}" dt="2023-11-24T08:32:27.916" v="10978"/>
          <ac:spMkLst>
            <pc:docMk/>
            <pc:sldMk cId="4145871477" sldId="2147478567"/>
            <ac:spMk id="74" creationId="{7593AC33-3FE1-E1FC-AE17-7663A55F074A}"/>
          </ac:spMkLst>
        </pc:spChg>
        <pc:spChg chg="add del mod">
          <ac:chgData name="Steiner Andreas 6206 ED" userId="e6377c33-a923-4f14-8587-531c474c7b48" providerId="ADAL" clId="{6ECD27E6-B224-41CD-B4E0-E297462320DD}" dt="2023-11-24T08:32:29.821" v="11133"/>
          <ac:spMkLst>
            <pc:docMk/>
            <pc:sldMk cId="4145871477" sldId="2147478567"/>
            <ac:spMk id="75" creationId="{06B155B1-A6A3-1754-AADC-D4BAC01DEF38}"/>
          </ac:spMkLst>
        </pc:spChg>
        <pc:spChg chg="add del mod">
          <ac:chgData name="Steiner Andreas 6206 ED" userId="e6377c33-a923-4f14-8587-531c474c7b48" providerId="ADAL" clId="{6ECD27E6-B224-41CD-B4E0-E297462320DD}" dt="2023-11-24T08:32:31.949" v="11288"/>
          <ac:spMkLst>
            <pc:docMk/>
            <pc:sldMk cId="4145871477" sldId="2147478567"/>
            <ac:spMk id="76" creationId="{D848ED72-3B1A-0624-7310-F656CAE50A4C}"/>
          </ac:spMkLst>
        </pc:spChg>
        <pc:spChg chg="add del mod">
          <ac:chgData name="Steiner Andreas 6206 ED" userId="e6377c33-a923-4f14-8587-531c474c7b48" providerId="ADAL" clId="{6ECD27E6-B224-41CD-B4E0-E297462320DD}" dt="2023-11-24T08:32:34.316" v="11443"/>
          <ac:spMkLst>
            <pc:docMk/>
            <pc:sldMk cId="4145871477" sldId="2147478567"/>
            <ac:spMk id="77" creationId="{852EBE87-9A48-7AD5-79BC-B882FCE2A2FC}"/>
          </ac:spMkLst>
        </pc:spChg>
        <pc:spChg chg="add del mod">
          <ac:chgData name="Steiner Andreas 6206 ED" userId="e6377c33-a923-4f14-8587-531c474c7b48" providerId="ADAL" clId="{6ECD27E6-B224-41CD-B4E0-E297462320DD}" dt="2023-11-24T08:32:36.668" v="11598"/>
          <ac:spMkLst>
            <pc:docMk/>
            <pc:sldMk cId="4145871477" sldId="2147478567"/>
            <ac:spMk id="78" creationId="{C66B0F42-E3DB-4544-A1A7-C20F844B4C1E}"/>
          </ac:spMkLst>
        </pc:spChg>
        <pc:spChg chg="add del mod">
          <ac:chgData name="Steiner Andreas 6206 ED" userId="e6377c33-a923-4f14-8587-531c474c7b48" providerId="ADAL" clId="{6ECD27E6-B224-41CD-B4E0-E297462320DD}" dt="2023-11-24T08:32:38.599" v="11753"/>
          <ac:spMkLst>
            <pc:docMk/>
            <pc:sldMk cId="4145871477" sldId="2147478567"/>
            <ac:spMk id="79" creationId="{C1A55CFD-FD3B-453E-D3F9-18EDDAD27262}"/>
          </ac:spMkLst>
        </pc:spChg>
        <pc:spChg chg="add del mod">
          <ac:chgData name="Steiner Andreas 6206 ED" userId="e6377c33-a923-4f14-8587-531c474c7b48" providerId="ADAL" clId="{6ECD27E6-B224-41CD-B4E0-E297462320DD}" dt="2023-11-24T08:32:40.704" v="11908"/>
          <ac:spMkLst>
            <pc:docMk/>
            <pc:sldMk cId="4145871477" sldId="2147478567"/>
            <ac:spMk id="80" creationId="{81EC886C-5449-5096-7AB9-A1DBA060810E}"/>
          </ac:spMkLst>
        </pc:spChg>
        <pc:spChg chg="add del mod">
          <ac:chgData name="Steiner Andreas 6206 ED" userId="e6377c33-a923-4f14-8587-531c474c7b48" providerId="ADAL" clId="{6ECD27E6-B224-41CD-B4E0-E297462320DD}" dt="2023-11-24T08:32:42.847" v="12063"/>
          <ac:spMkLst>
            <pc:docMk/>
            <pc:sldMk cId="4145871477" sldId="2147478567"/>
            <ac:spMk id="81" creationId="{CFC607BE-3F3E-6F2D-DF6C-34F905B33704}"/>
          </ac:spMkLst>
        </pc:spChg>
        <pc:spChg chg="add del mod">
          <ac:chgData name="Steiner Andreas 6206 ED" userId="e6377c33-a923-4f14-8587-531c474c7b48" providerId="ADAL" clId="{6ECD27E6-B224-41CD-B4E0-E297462320DD}" dt="2023-11-24T08:32:45" v="12218"/>
          <ac:spMkLst>
            <pc:docMk/>
            <pc:sldMk cId="4145871477" sldId="2147478567"/>
            <ac:spMk id="82" creationId="{2C142BBF-A128-9F7A-1E25-E330E7797318}"/>
          </ac:spMkLst>
        </pc:spChg>
        <pc:spChg chg="add del mod">
          <ac:chgData name="Steiner Andreas 6206 ED" userId="e6377c33-a923-4f14-8587-531c474c7b48" providerId="ADAL" clId="{6ECD27E6-B224-41CD-B4E0-E297462320DD}" dt="2023-11-24T08:32:47.185" v="12373"/>
          <ac:spMkLst>
            <pc:docMk/>
            <pc:sldMk cId="4145871477" sldId="2147478567"/>
            <ac:spMk id="83" creationId="{35D178BB-2A45-34B6-55E8-37551F9D035A}"/>
          </ac:spMkLst>
        </pc:spChg>
        <pc:spChg chg="add del mod">
          <ac:chgData name="Steiner Andreas 6206 ED" userId="e6377c33-a923-4f14-8587-531c474c7b48" providerId="ADAL" clId="{6ECD27E6-B224-41CD-B4E0-E297462320DD}" dt="2023-11-24T08:32:49.240" v="12528"/>
          <ac:spMkLst>
            <pc:docMk/>
            <pc:sldMk cId="4145871477" sldId="2147478567"/>
            <ac:spMk id="84" creationId="{9AB8FFDE-D8CC-668F-19D3-409B88DF80B5}"/>
          </ac:spMkLst>
        </pc:spChg>
        <pc:spChg chg="add del mod">
          <ac:chgData name="Steiner Andreas 6206 ED" userId="e6377c33-a923-4f14-8587-531c474c7b48" providerId="ADAL" clId="{6ECD27E6-B224-41CD-B4E0-E297462320DD}" dt="2023-11-24T08:32:51.179" v="12683"/>
          <ac:spMkLst>
            <pc:docMk/>
            <pc:sldMk cId="4145871477" sldId="2147478567"/>
            <ac:spMk id="85" creationId="{455C1B52-727B-7ACA-7FC3-0FEB6FEFF405}"/>
          </ac:spMkLst>
        </pc:spChg>
        <pc:spChg chg="add del mod">
          <ac:chgData name="Steiner Andreas 6206 ED" userId="e6377c33-a923-4f14-8587-531c474c7b48" providerId="ADAL" clId="{6ECD27E6-B224-41CD-B4E0-E297462320DD}" dt="2023-11-24T08:32:53.195" v="12838"/>
          <ac:spMkLst>
            <pc:docMk/>
            <pc:sldMk cId="4145871477" sldId="2147478567"/>
            <ac:spMk id="86" creationId="{EFB6EA4B-1157-0BE0-1E49-BFD93655E95E}"/>
          </ac:spMkLst>
        </pc:spChg>
        <pc:spChg chg="add del mod">
          <ac:chgData name="Steiner Andreas 6206 ED" userId="e6377c33-a923-4f14-8587-531c474c7b48" providerId="ADAL" clId="{6ECD27E6-B224-41CD-B4E0-E297462320DD}" dt="2023-11-24T08:32:55.186" v="12993"/>
          <ac:spMkLst>
            <pc:docMk/>
            <pc:sldMk cId="4145871477" sldId="2147478567"/>
            <ac:spMk id="87" creationId="{D2ED2426-ACEB-92D5-D371-5C2BEADFC161}"/>
          </ac:spMkLst>
        </pc:spChg>
        <pc:spChg chg="add del mod">
          <ac:chgData name="Steiner Andreas 6206 ED" userId="e6377c33-a923-4f14-8587-531c474c7b48" providerId="ADAL" clId="{6ECD27E6-B224-41CD-B4E0-E297462320DD}" dt="2023-11-24T08:32:57.110" v="13148"/>
          <ac:spMkLst>
            <pc:docMk/>
            <pc:sldMk cId="4145871477" sldId="2147478567"/>
            <ac:spMk id="88" creationId="{BF5AF655-E381-99F9-84FF-095B6F4691E5}"/>
          </ac:spMkLst>
        </pc:spChg>
        <pc:spChg chg="add del mod">
          <ac:chgData name="Steiner Andreas 6206 ED" userId="e6377c33-a923-4f14-8587-531c474c7b48" providerId="ADAL" clId="{6ECD27E6-B224-41CD-B4E0-E297462320DD}" dt="2023-11-24T08:32:59.218" v="13303"/>
          <ac:spMkLst>
            <pc:docMk/>
            <pc:sldMk cId="4145871477" sldId="2147478567"/>
            <ac:spMk id="89" creationId="{689E32D9-4351-89A2-A264-17CD8817CB0E}"/>
          </ac:spMkLst>
        </pc:spChg>
        <pc:spChg chg="add del mod">
          <ac:chgData name="Steiner Andreas 6206 ED" userId="e6377c33-a923-4f14-8587-531c474c7b48" providerId="ADAL" clId="{6ECD27E6-B224-41CD-B4E0-E297462320DD}" dt="2023-11-24T08:33:01.361" v="13458"/>
          <ac:spMkLst>
            <pc:docMk/>
            <pc:sldMk cId="4145871477" sldId="2147478567"/>
            <ac:spMk id="90" creationId="{C4D8093D-CCBF-3B99-515E-787D3E3010AF}"/>
          </ac:spMkLst>
        </pc:spChg>
        <pc:spChg chg="add del mod">
          <ac:chgData name="Steiner Andreas 6206 ED" userId="e6377c33-a923-4f14-8587-531c474c7b48" providerId="ADAL" clId="{6ECD27E6-B224-41CD-B4E0-E297462320DD}" dt="2023-11-24T08:33:03.698" v="13613"/>
          <ac:spMkLst>
            <pc:docMk/>
            <pc:sldMk cId="4145871477" sldId="2147478567"/>
            <ac:spMk id="91" creationId="{3F26C856-3968-B35A-6BF7-0C2CF7838C54}"/>
          </ac:spMkLst>
        </pc:spChg>
        <pc:spChg chg="add del mod">
          <ac:chgData name="Steiner Andreas 6206 ED" userId="e6377c33-a923-4f14-8587-531c474c7b48" providerId="ADAL" clId="{6ECD27E6-B224-41CD-B4E0-E297462320DD}" dt="2023-11-24T08:33:06.053" v="13768"/>
          <ac:spMkLst>
            <pc:docMk/>
            <pc:sldMk cId="4145871477" sldId="2147478567"/>
            <ac:spMk id="92" creationId="{7A423D5F-C072-B6DA-4C44-4B6D271C6343}"/>
          </ac:spMkLst>
        </pc:spChg>
        <pc:spChg chg="add del mod">
          <ac:chgData name="Steiner Andreas 6206 ED" userId="e6377c33-a923-4f14-8587-531c474c7b48" providerId="ADAL" clId="{6ECD27E6-B224-41CD-B4E0-E297462320DD}" dt="2023-11-24T08:33:08.261" v="13923"/>
          <ac:spMkLst>
            <pc:docMk/>
            <pc:sldMk cId="4145871477" sldId="2147478567"/>
            <ac:spMk id="93" creationId="{747B7CB6-DE12-3B36-AD59-E13FE75C18C2}"/>
          </ac:spMkLst>
        </pc:spChg>
        <pc:spChg chg="add del mod">
          <ac:chgData name="Steiner Andreas 6206 ED" userId="e6377c33-a923-4f14-8587-531c474c7b48" providerId="ADAL" clId="{6ECD27E6-B224-41CD-B4E0-E297462320DD}" dt="2023-11-24T08:33:10.717" v="14078"/>
          <ac:spMkLst>
            <pc:docMk/>
            <pc:sldMk cId="4145871477" sldId="2147478567"/>
            <ac:spMk id="94" creationId="{EB224B21-D1B2-9BAB-0FF0-68CE7A888DE7}"/>
          </ac:spMkLst>
        </pc:spChg>
        <pc:spChg chg="add del mod">
          <ac:chgData name="Steiner Andreas 6206 ED" userId="e6377c33-a923-4f14-8587-531c474c7b48" providerId="ADAL" clId="{6ECD27E6-B224-41CD-B4E0-E297462320DD}" dt="2023-11-24T08:33:12.671" v="14233"/>
          <ac:spMkLst>
            <pc:docMk/>
            <pc:sldMk cId="4145871477" sldId="2147478567"/>
            <ac:spMk id="95" creationId="{DC8A1CBF-27F4-DD8F-D2E3-67EB82AD045E}"/>
          </ac:spMkLst>
        </pc:spChg>
        <pc:spChg chg="add del mod">
          <ac:chgData name="Steiner Andreas 6206 ED" userId="e6377c33-a923-4f14-8587-531c474c7b48" providerId="ADAL" clId="{6ECD27E6-B224-41CD-B4E0-E297462320DD}" dt="2023-11-24T08:33:14.567" v="14388"/>
          <ac:spMkLst>
            <pc:docMk/>
            <pc:sldMk cId="4145871477" sldId="2147478567"/>
            <ac:spMk id="96" creationId="{7A7A32AB-D4DB-BD13-C522-9DAA554146D5}"/>
          </ac:spMkLst>
        </pc:spChg>
        <pc:spChg chg="add del mod">
          <ac:chgData name="Steiner Andreas 6206 ED" userId="e6377c33-a923-4f14-8587-531c474c7b48" providerId="ADAL" clId="{6ECD27E6-B224-41CD-B4E0-E297462320DD}" dt="2023-11-24T08:33:16.591" v="14543"/>
          <ac:spMkLst>
            <pc:docMk/>
            <pc:sldMk cId="4145871477" sldId="2147478567"/>
            <ac:spMk id="97" creationId="{02ECFA3E-E452-1310-69CE-151FE5507BB3}"/>
          </ac:spMkLst>
        </pc:spChg>
        <pc:spChg chg="add del mod">
          <ac:chgData name="Steiner Andreas 6206 ED" userId="e6377c33-a923-4f14-8587-531c474c7b48" providerId="ADAL" clId="{6ECD27E6-B224-41CD-B4E0-E297462320DD}" dt="2023-11-24T08:33:18.896" v="14698"/>
          <ac:spMkLst>
            <pc:docMk/>
            <pc:sldMk cId="4145871477" sldId="2147478567"/>
            <ac:spMk id="98" creationId="{6D34CA35-B526-9A68-7623-35E147739FAB}"/>
          </ac:spMkLst>
        </pc:spChg>
        <pc:spChg chg="add del mod">
          <ac:chgData name="Steiner Andreas 6206 ED" userId="e6377c33-a923-4f14-8587-531c474c7b48" providerId="ADAL" clId="{6ECD27E6-B224-41CD-B4E0-E297462320DD}" dt="2023-11-24T08:33:21.278" v="14853"/>
          <ac:spMkLst>
            <pc:docMk/>
            <pc:sldMk cId="4145871477" sldId="2147478567"/>
            <ac:spMk id="99" creationId="{62723F6E-8578-E212-A2B0-2C88557AA1D5}"/>
          </ac:spMkLst>
        </pc:spChg>
        <pc:spChg chg="add del mod">
          <ac:chgData name="Steiner Andreas 6206 ED" userId="e6377c33-a923-4f14-8587-531c474c7b48" providerId="ADAL" clId="{6ECD27E6-B224-41CD-B4E0-E297462320DD}" dt="2023-11-24T08:33:23.664" v="15008"/>
          <ac:spMkLst>
            <pc:docMk/>
            <pc:sldMk cId="4145871477" sldId="2147478567"/>
            <ac:spMk id="100" creationId="{4A5A3485-DE58-DD10-2319-25938A724BFF}"/>
          </ac:spMkLst>
        </pc:spChg>
        <pc:spChg chg="add del mod">
          <ac:chgData name="Steiner Andreas 6206 ED" userId="e6377c33-a923-4f14-8587-531c474c7b48" providerId="ADAL" clId="{6ECD27E6-B224-41CD-B4E0-E297462320DD}" dt="2023-11-24T08:33:26.047" v="15163"/>
          <ac:spMkLst>
            <pc:docMk/>
            <pc:sldMk cId="4145871477" sldId="2147478567"/>
            <ac:spMk id="101" creationId="{EFE3E5BD-7980-75EE-FCDB-CC4EFB245EBB}"/>
          </ac:spMkLst>
        </pc:spChg>
        <pc:spChg chg="add del mod">
          <ac:chgData name="Steiner Andreas 6206 ED" userId="e6377c33-a923-4f14-8587-531c474c7b48" providerId="ADAL" clId="{6ECD27E6-B224-41CD-B4E0-E297462320DD}" dt="2023-11-24T08:33:28.352" v="15318"/>
          <ac:spMkLst>
            <pc:docMk/>
            <pc:sldMk cId="4145871477" sldId="2147478567"/>
            <ac:spMk id="102" creationId="{77FDEE23-6146-E6F3-E63B-0C5D82E04B79}"/>
          </ac:spMkLst>
        </pc:spChg>
        <pc:spChg chg="add del mod">
          <ac:chgData name="Steiner Andreas 6206 ED" userId="e6377c33-a923-4f14-8587-531c474c7b48" providerId="ADAL" clId="{6ECD27E6-B224-41CD-B4E0-E297462320DD}" dt="2023-11-24T08:33:30.836" v="15473"/>
          <ac:spMkLst>
            <pc:docMk/>
            <pc:sldMk cId="4145871477" sldId="2147478567"/>
            <ac:spMk id="103" creationId="{55C4CDD2-3C15-44B7-EE16-A3811A0E83F0}"/>
          </ac:spMkLst>
        </pc:spChg>
        <pc:spChg chg="add del mod">
          <ac:chgData name="Steiner Andreas 6206 ED" userId="e6377c33-a923-4f14-8587-531c474c7b48" providerId="ADAL" clId="{6ECD27E6-B224-41CD-B4E0-E297462320DD}" dt="2023-11-24T08:33:33.583" v="15628"/>
          <ac:spMkLst>
            <pc:docMk/>
            <pc:sldMk cId="4145871477" sldId="2147478567"/>
            <ac:spMk id="104" creationId="{E795E3CD-5718-7451-395A-DDA21F96E9E1}"/>
          </ac:spMkLst>
        </pc:spChg>
        <pc:spChg chg="add del mod">
          <ac:chgData name="Steiner Andreas 6206 ED" userId="e6377c33-a923-4f14-8587-531c474c7b48" providerId="ADAL" clId="{6ECD27E6-B224-41CD-B4E0-E297462320DD}" dt="2023-11-24T08:33:35.872" v="15783"/>
          <ac:spMkLst>
            <pc:docMk/>
            <pc:sldMk cId="4145871477" sldId="2147478567"/>
            <ac:spMk id="105" creationId="{5BF48837-4009-8338-209C-847413DC76AF}"/>
          </ac:spMkLst>
        </pc:spChg>
        <pc:spChg chg="add del mod">
          <ac:chgData name="Steiner Andreas 6206 ED" userId="e6377c33-a923-4f14-8587-531c474c7b48" providerId="ADAL" clId="{6ECD27E6-B224-41CD-B4E0-E297462320DD}" dt="2023-11-24T08:33:37.991" v="15938"/>
          <ac:spMkLst>
            <pc:docMk/>
            <pc:sldMk cId="4145871477" sldId="2147478567"/>
            <ac:spMk id="106" creationId="{23EB38A2-9E6A-F227-15C9-BED66959480E}"/>
          </ac:spMkLst>
        </pc:spChg>
        <pc:spChg chg="add del mod">
          <ac:chgData name="Steiner Andreas 6206 ED" userId="e6377c33-a923-4f14-8587-531c474c7b48" providerId="ADAL" clId="{6ECD27E6-B224-41CD-B4E0-E297462320DD}" dt="2023-11-24T08:33:40.315" v="16093"/>
          <ac:spMkLst>
            <pc:docMk/>
            <pc:sldMk cId="4145871477" sldId="2147478567"/>
            <ac:spMk id="107" creationId="{F33C2067-D6F4-28A2-EB42-7BED403F4051}"/>
          </ac:spMkLst>
        </pc:spChg>
        <pc:spChg chg="add del mod">
          <ac:chgData name="Steiner Andreas 6206 ED" userId="e6377c33-a923-4f14-8587-531c474c7b48" providerId="ADAL" clId="{6ECD27E6-B224-41CD-B4E0-E297462320DD}" dt="2023-11-24T08:33:43.041" v="16248"/>
          <ac:spMkLst>
            <pc:docMk/>
            <pc:sldMk cId="4145871477" sldId="2147478567"/>
            <ac:spMk id="108" creationId="{04991151-88F0-0BCF-F24C-A545F2C4F81E}"/>
          </ac:spMkLst>
        </pc:spChg>
        <pc:spChg chg="add del mod">
          <ac:chgData name="Steiner Andreas 6206 ED" userId="e6377c33-a923-4f14-8587-531c474c7b48" providerId="ADAL" clId="{6ECD27E6-B224-41CD-B4E0-E297462320DD}" dt="2023-11-24T08:33:45.514" v="16403"/>
          <ac:spMkLst>
            <pc:docMk/>
            <pc:sldMk cId="4145871477" sldId="2147478567"/>
            <ac:spMk id="109" creationId="{11C09B9E-41AC-1523-5579-42F4BD88938A}"/>
          </ac:spMkLst>
        </pc:spChg>
        <pc:spChg chg="add del mod">
          <ac:chgData name="Steiner Andreas 6206 ED" userId="e6377c33-a923-4f14-8587-531c474c7b48" providerId="ADAL" clId="{6ECD27E6-B224-41CD-B4E0-E297462320DD}" dt="2023-11-24T08:33:47.708" v="16558"/>
          <ac:spMkLst>
            <pc:docMk/>
            <pc:sldMk cId="4145871477" sldId="2147478567"/>
            <ac:spMk id="110" creationId="{A15B95DA-4A46-5891-378E-B46CCA282B45}"/>
          </ac:spMkLst>
        </pc:spChg>
        <pc:spChg chg="add del mod">
          <ac:chgData name="Steiner Andreas 6206 ED" userId="e6377c33-a923-4f14-8587-531c474c7b48" providerId="ADAL" clId="{6ECD27E6-B224-41CD-B4E0-E297462320DD}" dt="2023-11-24T08:33:50.472" v="16713"/>
          <ac:spMkLst>
            <pc:docMk/>
            <pc:sldMk cId="4145871477" sldId="2147478567"/>
            <ac:spMk id="111" creationId="{67CE2AC5-DD0B-BC51-E6CB-BD96638CBDBE}"/>
          </ac:spMkLst>
        </pc:spChg>
        <pc:spChg chg="add del mod">
          <ac:chgData name="Steiner Andreas 6206 ED" userId="e6377c33-a923-4f14-8587-531c474c7b48" providerId="ADAL" clId="{6ECD27E6-B224-41CD-B4E0-E297462320DD}" dt="2023-11-24T08:33:52.838" v="16868"/>
          <ac:spMkLst>
            <pc:docMk/>
            <pc:sldMk cId="4145871477" sldId="2147478567"/>
            <ac:spMk id="112" creationId="{18437A8A-EA20-78D3-70CF-057A960B53E2}"/>
          </ac:spMkLst>
        </pc:spChg>
        <pc:spChg chg="add del mod">
          <ac:chgData name="Steiner Andreas 6206 ED" userId="e6377c33-a923-4f14-8587-531c474c7b48" providerId="ADAL" clId="{6ECD27E6-B224-41CD-B4E0-E297462320DD}" dt="2023-11-24T08:33:55.011" v="17023"/>
          <ac:spMkLst>
            <pc:docMk/>
            <pc:sldMk cId="4145871477" sldId="2147478567"/>
            <ac:spMk id="113" creationId="{A85CE9B4-8156-74FA-0254-C3A42EDE8414}"/>
          </ac:spMkLst>
        </pc:spChg>
        <pc:spChg chg="add del mod">
          <ac:chgData name="Steiner Andreas 6206 ED" userId="e6377c33-a923-4f14-8587-531c474c7b48" providerId="ADAL" clId="{6ECD27E6-B224-41CD-B4E0-E297462320DD}" dt="2023-11-24T08:33:57.396" v="17178"/>
          <ac:spMkLst>
            <pc:docMk/>
            <pc:sldMk cId="4145871477" sldId="2147478567"/>
            <ac:spMk id="114" creationId="{7FF42661-3E8E-7604-98B7-60337109B532}"/>
          </ac:spMkLst>
        </pc:spChg>
        <pc:spChg chg="add del mod">
          <ac:chgData name="Steiner Andreas 6206 ED" userId="e6377c33-a923-4f14-8587-531c474c7b48" providerId="ADAL" clId="{6ECD27E6-B224-41CD-B4E0-E297462320DD}" dt="2023-11-24T08:33:59.828" v="17333"/>
          <ac:spMkLst>
            <pc:docMk/>
            <pc:sldMk cId="4145871477" sldId="2147478567"/>
            <ac:spMk id="115" creationId="{D5601D20-1047-551C-1875-A32FC2AC812E}"/>
          </ac:spMkLst>
        </pc:spChg>
        <pc:spChg chg="add del mod">
          <ac:chgData name="Steiner Andreas 6206 ED" userId="e6377c33-a923-4f14-8587-531c474c7b48" providerId="ADAL" clId="{6ECD27E6-B224-41CD-B4E0-E297462320DD}" dt="2023-11-24T08:34:01.794" v="17488"/>
          <ac:spMkLst>
            <pc:docMk/>
            <pc:sldMk cId="4145871477" sldId="2147478567"/>
            <ac:spMk id="116" creationId="{BFAAE632-DBE7-AA0F-467A-1931893D5464}"/>
          </ac:spMkLst>
        </pc:spChg>
        <pc:spChg chg="add del mod">
          <ac:chgData name="Steiner Andreas 6206 ED" userId="e6377c33-a923-4f14-8587-531c474c7b48" providerId="ADAL" clId="{6ECD27E6-B224-41CD-B4E0-E297462320DD}" dt="2023-11-24T08:34:04.182" v="17643"/>
          <ac:spMkLst>
            <pc:docMk/>
            <pc:sldMk cId="4145871477" sldId="2147478567"/>
            <ac:spMk id="117" creationId="{84CC842C-1AED-0C7D-5887-37551B7A20C1}"/>
          </ac:spMkLst>
        </pc:spChg>
        <pc:spChg chg="add del mod">
          <ac:chgData name="Steiner Andreas 6206 ED" userId="e6377c33-a923-4f14-8587-531c474c7b48" providerId="ADAL" clId="{6ECD27E6-B224-41CD-B4E0-E297462320DD}" dt="2023-11-24T08:34:06.055" v="17798"/>
          <ac:spMkLst>
            <pc:docMk/>
            <pc:sldMk cId="4145871477" sldId="2147478567"/>
            <ac:spMk id="118" creationId="{DC5FCF84-2654-3234-59CF-2C1068117D14}"/>
          </ac:spMkLst>
        </pc:spChg>
        <pc:spChg chg="add del mod">
          <ac:chgData name="Steiner Andreas 6206 ED" userId="e6377c33-a923-4f14-8587-531c474c7b48" providerId="ADAL" clId="{6ECD27E6-B224-41CD-B4E0-E297462320DD}" dt="2023-11-24T08:34:08.151" v="17953"/>
          <ac:spMkLst>
            <pc:docMk/>
            <pc:sldMk cId="4145871477" sldId="2147478567"/>
            <ac:spMk id="119" creationId="{567E0B2E-FAAE-3ED5-8E1D-4FF0241ED607}"/>
          </ac:spMkLst>
        </pc:spChg>
        <pc:spChg chg="add del mod">
          <ac:chgData name="Steiner Andreas 6206 ED" userId="e6377c33-a923-4f14-8587-531c474c7b48" providerId="ADAL" clId="{6ECD27E6-B224-41CD-B4E0-E297462320DD}" dt="2023-11-24T08:34:10.096" v="18108"/>
          <ac:spMkLst>
            <pc:docMk/>
            <pc:sldMk cId="4145871477" sldId="2147478567"/>
            <ac:spMk id="120" creationId="{0FB56EFC-D0AC-3169-9969-9D7DFE8E4779}"/>
          </ac:spMkLst>
        </pc:spChg>
        <pc:spChg chg="add del mod">
          <ac:chgData name="Steiner Andreas 6206 ED" userId="e6377c33-a923-4f14-8587-531c474c7b48" providerId="ADAL" clId="{6ECD27E6-B224-41CD-B4E0-E297462320DD}" dt="2023-11-24T08:34:12.207" v="18263"/>
          <ac:spMkLst>
            <pc:docMk/>
            <pc:sldMk cId="4145871477" sldId="2147478567"/>
            <ac:spMk id="121" creationId="{33798910-E8C2-2886-07AE-FBE6D0D66B27}"/>
          </ac:spMkLst>
        </pc:spChg>
        <pc:spChg chg="add del mod">
          <ac:chgData name="Steiner Andreas 6206 ED" userId="e6377c33-a923-4f14-8587-531c474c7b48" providerId="ADAL" clId="{6ECD27E6-B224-41CD-B4E0-E297462320DD}" dt="2023-11-24T08:34:14.514" v="18418"/>
          <ac:spMkLst>
            <pc:docMk/>
            <pc:sldMk cId="4145871477" sldId="2147478567"/>
            <ac:spMk id="122" creationId="{233EAE4E-23D5-1D2D-9F2A-D5FEA7ABB3A2}"/>
          </ac:spMkLst>
        </pc:spChg>
        <pc:spChg chg="add del mod">
          <ac:chgData name="Steiner Andreas 6206 ED" userId="e6377c33-a923-4f14-8587-531c474c7b48" providerId="ADAL" clId="{6ECD27E6-B224-41CD-B4E0-E297462320DD}" dt="2023-11-24T08:34:16.547" v="18573"/>
          <ac:spMkLst>
            <pc:docMk/>
            <pc:sldMk cId="4145871477" sldId="2147478567"/>
            <ac:spMk id="123" creationId="{FF719A14-9960-4B74-AA55-EE502A57EC43}"/>
          </ac:spMkLst>
        </pc:spChg>
        <pc:spChg chg="add del mod">
          <ac:chgData name="Steiner Andreas 6206 ED" userId="e6377c33-a923-4f14-8587-531c474c7b48" providerId="ADAL" clId="{6ECD27E6-B224-41CD-B4E0-E297462320DD}" dt="2023-11-24T08:34:18.793" v="18728"/>
          <ac:spMkLst>
            <pc:docMk/>
            <pc:sldMk cId="4145871477" sldId="2147478567"/>
            <ac:spMk id="124" creationId="{1C0AFC24-D241-7F91-44B9-7B02AC019D5E}"/>
          </ac:spMkLst>
        </pc:spChg>
        <pc:spChg chg="add del mod">
          <ac:chgData name="Steiner Andreas 6206 ED" userId="e6377c33-a923-4f14-8587-531c474c7b48" providerId="ADAL" clId="{6ECD27E6-B224-41CD-B4E0-E297462320DD}" dt="2023-11-24T08:34:20.855" v="18883"/>
          <ac:spMkLst>
            <pc:docMk/>
            <pc:sldMk cId="4145871477" sldId="2147478567"/>
            <ac:spMk id="125" creationId="{535E7566-FB99-00EB-A4A2-573762940B36}"/>
          </ac:spMkLst>
        </pc:spChg>
        <pc:spChg chg="add del mod">
          <ac:chgData name="Steiner Andreas 6206 ED" userId="e6377c33-a923-4f14-8587-531c474c7b48" providerId="ADAL" clId="{6ECD27E6-B224-41CD-B4E0-E297462320DD}" dt="2023-11-24T08:34:22.979" v="19038"/>
          <ac:spMkLst>
            <pc:docMk/>
            <pc:sldMk cId="4145871477" sldId="2147478567"/>
            <ac:spMk id="126" creationId="{63161DBC-3499-8A22-3607-01070917A107}"/>
          </ac:spMkLst>
        </pc:spChg>
        <pc:spChg chg="add del mod">
          <ac:chgData name="Steiner Andreas 6206 ED" userId="e6377c33-a923-4f14-8587-531c474c7b48" providerId="ADAL" clId="{6ECD27E6-B224-41CD-B4E0-E297462320DD}" dt="2023-11-24T08:34:26.256" v="19193"/>
          <ac:spMkLst>
            <pc:docMk/>
            <pc:sldMk cId="4145871477" sldId="2147478567"/>
            <ac:spMk id="127" creationId="{4DA1E60D-1263-AC71-ABE9-DBE6888A28DB}"/>
          </ac:spMkLst>
        </pc:spChg>
        <pc:spChg chg="add del mod">
          <ac:chgData name="Steiner Andreas 6206 ED" userId="e6377c33-a923-4f14-8587-531c474c7b48" providerId="ADAL" clId="{6ECD27E6-B224-41CD-B4E0-E297462320DD}" dt="2023-11-24T08:34:28.909" v="19348"/>
          <ac:spMkLst>
            <pc:docMk/>
            <pc:sldMk cId="4145871477" sldId="2147478567"/>
            <ac:spMk id="128" creationId="{4FEDB7CC-1818-B213-2BB9-52DF1F382351}"/>
          </ac:spMkLst>
        </pc:spChg>
        <pc:spChg chg="add del mod">
          <ac:chgData name="Steiner Andreas 6206 ED" userId="e6377c33-a923-4f14-8587-531c474c7b48" providerId="ADAL" clId="{6ECD27E6-B224-41CD-B4E0-E297462320DD}" dt="2023-11-24T08:34:31.539" v="19503"/>
          <ac:spMkLst>
            <pc:docMk/>
            <pc:sldMk cId="4145871477" sldId="2147478567"/>
            <ac:spMk id="129" creationId="{879EE607-A79C-C2A4-89F3-B8467D8C3992}"/>
          </ac:spMkLst>
        </pc:spChg>
        <pc:spChg chg="add del mod">
          <ac:chgData name="Steiner Andreas 6206 ED" userId="e6377c33-a923-4f14-8587-531c474c7b48" providerId="ADAL" clId="{6ECD27E6-B224-41CD-B4E0-E297462320DD}" dt="2023-11-24T08:34:33.737" v="19658"/>
          <ac:spMkLst>
            <pc:docMk/>
            <pc:sldMk cId="4145871477" sldId="2147478567"/>
            <ac:spMk id="130" creationId="{C76572D7-2C0F-8B67-C5C5-0CC8205BD24B}"/>
          </ac:spMkLst>
        </pc:spChg>
        <pc:spChg chg="add del mod">
          <ac:chgData name="Steiner Andreas 6206 ED" userId="e6377c33-a923-4f14-8587-531c474c7b48" providerId="ADAL" clId="{6ECD27E6-B224-41CD-B4E0-E297462320DD}" dt="2023-11-24T08:34:36.002" v="19813"/>
          <ac:spMkLst>
            <pc:docMk/>
            <pc:sldMk cId="4145871477" sldId="2147478567"/>
            <ac:spMk id="131" creationId="{F0824F68-DAE1-E4BA-F79C-0B48CB55ADEB}"/>
          </ac:spMkLst>
        </pc:spChg>
        <pc:spChg chg="add del mod">
          <ac:chgData name="Steiner Andreas 6206 ED" userId="e6377c33-a923-4f14-8587-531c474c7b48" providerId="ADAL" clId="{6ECD27E6-B224-41CD-B4E0-E297462320DD}" dt="2023-11-24T08:34:38.237" v="19968"/>
          <ac:spMkLst>
            <pc:docMk/>
            <pc:sldMk cId="4145871477" sldId="2147478567"/>
            <ac:spMk id="132" creationId="{26CC699F-A94D-3839-3068-9BBDABE803F5}"/>
          </ac:spMkLst>
        </pc:spChg>
        <pc:spChg chg="add del mod">
          <ac:chgData name="Steiner Andreas 6206 ED" userId="e6377c33-a923-4f14-8587-531c474c7b48" providerId="ADAL" clId="{6ECD27E6-B224-41CD-B4E0-E297462320DD}" dt="2023-11-24T08:34:40.531" v="20123"/>
          <ac:spMkLst>
            <pc:docMk/>
            <pc:sldMk cId="4145871477" sldId="2147478567"/>
            <ac:spMk id="133" creationId="{1D274020-6D6D-2795-7E6E-9B8D423FDF62}"/>
          </ac:spMkLst>
        </pc:spChg>
        <pc:spChg chg="add del mod">
          <ac:chgData name="Steiner Andreas 6206 ED" userId="e6377c33-a923-4f14-8587-531c474c7b48" providerId="ADAL" clId="{6ECD27E6-B224-41CD-B4E0-E297462320DD}" dt="2023-11-24T08:34:43.284" v="20278"/>
          <ac:spMkLst>
            <pc:docMk/>
            <pc:sldMk cId="4145871477" sldId="2147478567"/>
            <ac:spMk id="134" creationId="{1E797BF7-2F70-F685-23D4-1CDB030C6A51}"/>
          </ac:spMkLst>
        </pc:spChg>
        <pc:spChg chg="add del mod">
          <ac:chgData name="Steiner Andreas 6206 ED" userId="e6377c33-a923-4f14-8587-531c474c7b48" providerId="ADAL" clId="{6ECD27E6-B224-41CD-B4E0-E297462320DD}" dt="2023-11-24T08:34:45.638" v="20433"/>
          <ac:spMkLst>
            <pc:docMk/>
            <pc:sldMk cId="4145871477" sldId="2147478567"/>
            <ac:spMk id="135" creationId="{70A1609F-1757-67B2-B2D6-E4CF06457D33}"/>
          </ac:spMkLst>
        </pc:spChg>
        <pc:spChg chg="add del mod">
          <ac:chgData name="Steiner Andreas 6206 ED" userId="e6377c33-a923-4f14-8587-531c474c7b48" providerId="ADAL" clId="{6ECD27E6-B224-41CD-B4E0-E297462320DD}" dt="2023-11-24T08:34:47.863" v="20588"/>
          <ac:spMkLst>
            <pc:docMk/>
            <pc:sldMk cId="4145871477" sldId="2147478567"/>
            <ac:spMk id="136" creationId="{2560F43D-4B3E-CD10-9BAC-056FE7C8A443}"/>
          </ac:spMkLst>
        </pc:spChg>
        <pc:spChg chg="add del mod">
          <ac:chgData name="Steiner Andreas 6206 ED" userId="e6377c33-a923-4f14-8587-531c474c7b48" providerId="ADAL" clId="{6ECD27E6-B224-41CD-B4E0-E297462320DD}" dt="2023-11-24T08:34:50.319" v="20743"/>
          <ac:spMkLst>
            <pc:docMk/>
            <pc:sldMk cId="4145871477" sldId="2147478567"/>
            <ac:spMk id="137" creationId="{5F07A15D-4173-1356-B6F6-F68CABF2A405}"/>
          </ac:spMkLst>
        </pc:spChg>
        <pc:spChg chg="add del mod">
          <ac:chgData name="Steiner Andreas 6206 ED" userId="e6377c33-a923-4f14-8587-531c474c7b48" providerId="ADAL" clId="{6ECD27E6-B224-41CD-B4E0-E297462320DD}" dt="2023-11-24T08:34:52.902" v="20898"/>
          <ac:spMkLst>
            <pc:docMk/>
            <pc:sldMk cId="4145871477" sldId="2147478567"/>
            <ac:spMk id="138" creationId="{FC49FBBA-ADA8-2927-4AAB-D09322F2B332}"/>
          </ac:spMkLst>
        </pc:spChg>
        <pc:spChg chg="add del mod">
          <ac:chgData name="Steiner Andreas 6206 ED" userId="e6377c33-a923-4f14-8587-531c474c7b48" providerId="ADAL" clId="{6ECD27E6-B224-41CD-B4E0-E297462320DD}" dt="2023-11-24T08:34:55.338" v="21053"/>
          <ac:spMkLst>
            <pc:docMk/>
            <pc:sldMk cId="4145871477" sldId="2147478567"/>
            <ac:spMk id="139" creationId="{8AF3DCF9-B044-BFEC-E833-12F4E25B396C}"/>
          </ac:spMkLst>
        </pc:spChg>
        <pc:spChg chg="add del mod">
          <ac:chgData name="Steiner Andreas 6206 ED" userId="e6377c33-a923-4f14-8587-531c474c7b48" providerId="ADAL" clId="{6ECD27E6-B224-41CD-B4E0-E297462320DD}" dt="2023-11-24T08:34:57.661" v="21208"/>
          <ac:spMkLst>
            <pc:docMk/>
            <pc:sldMk cId="4145871477" sldId="2147478567"/>
            <ac:spMk id="140" creationId="{DD9ADD42-6B32-7621-446E-1BFD6BC09DE4}"/>
          </ac:spMkLst>
        </pc:spChg>
        <pc:spChg chg="add del mod">
          <ac:chgData name="Steiner Andreas 6206 ED" userId="e6377c33-a923-4f14-8587-531c474c7b48" providerId="ADAL" clId="{6ECD27E6-B224-41CD-B4E0-E297462320DD}" dt="2023-11-24T08:35:00.181" v="21363"/>
          <ac:spMkLst>
            <pc:docMk/>
            <pc:sldMk cId="4145871477" sldId="2147478567"/>
            <ac:spMk id="141" creationId="{2BB4C5D6-8E89-AFAF-1C2F-F41D3FA94325}"/>
          </ac:spMkLst>
        </pc:spChg>
        <pc:spChg chg="add del mod">
          <ac:chgData name="Steiner Andreas 6206 ED" userId="e6377c33-a923-4f14-8587-531c474c7b48" providerId="ADAL" clId="{6ECD27E6-B224-41CD-B4E0-E297462320DD}" dt="2023-11-24T08:35:02.814" v="21518"/>
          <ac:spMkLst>
            <pc:docMk/>
            <pc:sldMk cId="4145871477" sldId="2147478567"/>
            <ac:spMk id="142" creationId="{F17CF2B1-24AA-F3A4-3D6B-C594801B4F58}"/>
          </ac:spMkLst>
        </pc:spChg>
        <pc:spChg chg="add del mod">
          <ac:chgData name="Steiner Andreas 6206 ED" userId="e6377c33-a923-4f14-8587-531c474c7b48" providerId="ADAL" clId="{6ECD27E6-B224-41CD-B4E0-E297462320DD}" dt="2023-11-24T08:35:05.291" v="21673"/>
          <ac:spMkLst>
            <pc:docMk/>
            <pc:sldMk cId="4145871477" sldId="2147478567"/>
            <ac:spMk id="143" creationId="{E1C585E9-B11C-8EEC-443A-8452F181E6CD}"/>
          </ac:spMkLst>
        </pc:spChg>
        <pc:spChg chg="add del mod">
          <ac:chgData name="Steiner Andreas 6206 ED" userId="e6377c33-a923-4f14-8587-531c474c7b48" providerId="ADAL" clId="{6ECD27E6-B224-41CD-B4E0-E297462320DD}" dt="2023-11-24T08:35:07.820" v="21828"/>
          <ac:spMkLst>
            <pc:docMk/>
            <pc:sldMk cId="4145871477" sldId="2147478567"/>
            <ac:spMk id="144" creationId="{5F40F07B-ADF8-8938-E715-FE7D7D5466A5}"/>
          </ac:spMkLst>
        </pc:spChg>
        <pc:spChg chg="add del mod">
          <ac:chgData name="Steiner Andreas 6206 ED" userId="e6377c33-a923-4f14-8587-531c474c7b48" providerId="ADAL" clId="{6ECD27E6-B224-41CD-B4E0-E297462320DD}" dt="2023-11-24T08:35:10.317" v="21983"/>
          <ac:spMkLst>
            <pc:docMk/>
            <pc:sldMk cId="4145871477" sldId="2147478567"/>
            <ac:spMk id="145" creationId="{E65F3E82-294C-1DF0-CA3E-4DC0228546EF}"/>
          </ac:spMkLst>
        </pc:spChg>
        <pc:spChg chg="add del mod">
          <ac:chgData name="Steiner Andreas 6206 ED" userId="e6377c33-a923-4f14-8587-531c474c7b48" providerId="ADAL" clId="{6ECD27E6-B224-41CD-B4E0-E297462320DD}" dt="2023-11-24T08:35:12.750" v="22138"/>
          <ac:spMkLst>
            <pc:docMk/>
            <pc:sldMk cId="4145871477" sldId="2147478567"/>
            <ac:spMk id="146" creationId="{2F533660-40D5-749B-56B0-7863A051FB71}"/>
          </ac:spMkLst>
        </pc:spChg>
        <pc:spChg chg="add del mod">
          <ac:chgData name="Steiner Andreas 6206 ED" userId="e6377c33-a923-4f14-8587-531c474c7b48" providerId="ADAL" clId="{6ECD27E6-B224-41CD-B4E0-E297462320DD}" dt="2023-11-24T08:35:14.830" v="22293"/>
          <ac:spMkLst>
            <pc:docMk/>
            <pc:sldMk cId="4145871477" sldId="2147478567"/>
            <ac:spMk id="147" creationId="{7B4A701C-174B-FF4A-5E63-4C6F5C80179E}"/>
          </ac:spMkLst>
        </pc:spChg>
        <pc:spChg chg="add del mod">
          <ac:chgData name="Steiner Andreas 6206 ED" userId="e6377c33-a923-4f14-8587-531c474c7b48" providerId="ADAL" clId="{6ECD27E6-B224-41CD-B4E0-E297462320DD}" dt="2023-11-24T08:35:17.247" v="22448"/>
          <ac:spMkLst>
            <pc:docMk/>
            <pc:sldMk cId="4145871477" sldId="2147478567"/>
            <ac:spMk id="148" creationId="{C8D5984C-7415-7BCE-3D52-A1DFFEC1DECA}"/>
          </ac:spMkLst>
        </pc:spChg>
        <pc:spChg chg="add del mod">
          <ac:chgData name="Steiner Andreas 6206 ED" userId="e6377c33-a923-4f14-8587-531c474c7b48" providerId="ADAL" clId="{6ECD27E6-B224-41CD-B4E0-E297462320DD}" dt="2023-11-24T08:35:19.702" v="22603"/>
          <ac:spMkLst>
            <pc:docMk/>
            <pc:sldMk cId="4145871477" sldId="2147478567"/>
            <ac:spMk id="149" creationId="{601D3685-C955-CF58-7EBC-694C3FBBBF82}"/>
          </ac:spMkLst>
        </pc:spChg>
        <pc:spChg chg="add del mod">
          <ac:chgData name="Steiner Andreas 6206 ED" userId="e6377c33-a923-4f14-8587-531c474c7b48" providerId="ADAL" clId="{6ECD27E6-B224-41CD-B4E0-E297462320DD}" dt="2023-11-24T08:35:22.114" v="22758"/>
          <ac:spMkLst>
            <pc:docMk/>
            <pc:sldMk cId="4145871477" sldId="2147478567"/>
            <ac:spMk id="150" creationId="{87C9DA21-8D87-08F6-0CAF-5712EAEF24DF}"/>
          </ac:spMkLst>
        </pc:spChg>
        <pc:spChg chg="add del mod">
          <ac:chgData name="Steiner Andreas 6206 ED" userId="e6377c33-a923-4f14-8587-531c474c7b48" providerId="ADAL" clId="{6ECD27E6-B224-41CD-B4E0-E297462320DD}" dt="2023-11-24T08:35:24.455" v="22913"/>
          <ac:spMkLst>
            <pc:docMk/>
            <pc:sldMk cId="4145871477" sldId="2147478567"/>
            <ac:spMk id="151" creationId="{F824F666-7E85-5914-FA8C-453A03B73B81}"/>
          </ac:spMkLst>
        </pc:spChg>
        <pc:spChg chg="add del mod">
          <ac:chgData name="Steiner Andreas 6206 ED" userId="e6377c33-a923-4f14-8587-531c474c7b48" providerId="ADAL" clId="{6ECD27E6-B224-41CD-B4E0-E297462320DD}" dt="2023-11-24T08:35:27.087" v="23068"/>
          <ac:spMkLst>
            <pc:docMk/>
            <pc:sldMk cId="4145871477" sldId="2147478567"/>
            <ac:spMk id="152" creationId="{FD3DCF6F-9FEB-8AAB-575D-DF6C1EF7AAAC}"/>
          </ac:spMkLst>
        </pc:spChg>
        <pc:spChg chg="add del mod">
          <ac:chgData name="Steiner Andreas 6206 ED" userId="e6377c33-a923-4f14-8587-531c474c7b48" providerId="ADAL" clId="{6ECD27E6-B224-41CD-B4E0-E297462320DD}" dt="2023-11-24T08:35:29.796" v="23223"/>
          <ac:spMkLst>
            <pc:docMk/>
            <pc:sldMk cId="4145871477" sldId="2147478567"/>
            <ac:spMk id="153" creationId="{064F4D1B-3F7A-DB84-D106-53C5DEB1CFDC}"/>
          </ac:spMkLst>
        </pc:spChg>
        <pc:spChg chg="add del mod">
          <ac:chgData name="Steiner Andreas 6206 ED" userId="e6377c33-a923-4f14-8587-531c474c7b48" providerId="ADAL" clId="{6ECD27E6-B224-41CD-B4E0-E297462320DD}" dt="2023-11-24T08:35:32.162" v="23378"/>
          <ac:spMkLst>
            <pc:docMk/>
            <pc:sldMk cId="4145871477" sldId="2147478567"/>
            <ac:spMk id="154" creationId="{B1729AA8-B31B-3AB3-7F73-7C1745F5E84D}"/>
          </ac:spMkLst>
        </pc:spChg>
        <pc:spChg chg="add del mod">
          <ac:chgData name="Steiner Andreas 6206 ED" userId="e6377c33-a923-4f14-8587-531c474c7b48" providerId="ADAL" clId="{6ECD27E6-B224-41CD-B4E0-E297462320DD}" dt="2023-11-24T08:35:34.566" v="23533"/>
          <ac:spMkLst>
            <pc:docMk/>
            <pc:sldMk cId="4145871477" sldId="2147478567"/>
            <ac:spMk id="155" creationId="{EEB2A0E7-C4A5-7744-2EA3-A06BFAB7C47F}"/>
          </ac:spMkLst>
        </pc:spChg>
        <pc:spChg chg="add del mod">
          <ac:chgData name="Steiner Andreas 6206 ED" userId="e6377c33-a923-4f14-8587-531c474c7b48" providerId="ADAL" clId="{6ECD27E6-B224-41CD-B4E0-E297462320DD}" dt="2023-11-24T08:35:36.875" v="23688"/>
          <ac:spMkLst>
            <pc:docMk/>
            <pc:sldMk cId="4145871477" sldId="2147478567"/>
            <ac:spMk id="156" creationId="{30F36D68-D3D3-2CBB-E918-B7C9F0BE0539}"/>
          </ac:spMkLst>
        </pc:spChg>
        <pc:spChg chg="add del mod">
          <ac:chgData name="Steiner Andreas 6206 ED" userId="e6377c33-a923-4f14-8587-531c474c7b48" providerId="ADAL" clId="{6ECD27E6-B224-41CD-B4E0-E297462320DD}" dt="2023-11-24T08:35:39.292" v="23843"/>
          <ac:spMkLst>
            <pc:docMk/>
            <pc:sldMk cId="4145871477" sldId="2147478567"/>
            <ac:spMk id="157" creationId="{F9F88BF6-AEDC-084D-CEF2-30033927B059}"/>
          </ac:spMkLst>
        </pc:spChg>
        <pc:spChg chg="add del mod">
          <ac:chgData name="Steiner Andreas 6206 ED" userId="e6377c33-a923-4f14-8587-531c474c7b48" providerId="ADAL" clId="{6ECD27E6-B224-41CD-B4E0-E297462320DD}" dt="2023-11-24T08:35:41.955" v="23998"/>
          <ac:spMkLst>
            <pc:docMk/>
            <pc:sldMk cId="4145871477" sldId="2147478567"/>
            <ac:spMk id="158" creationId="{8D19562F-14BD-B4D6-1B7A-3F3506E15116}"/>
          </ac:spMkLst>
        </pc:spChg>
        <pc:spChg chg="add del mod">
          <ac:chgData name="Steiner Andreas 6206 ED" userId="e6377c33-a923-4f14-8587-531c474c7b48" providerId="ADAL" clId="{6ECD27E6-B224-41CD-B4E0-E297462320DD}" dt="2023-11-24T08:35:44.426" v="24153"/>
          <ac:spMkLst>
            <pc:docMk/>
            <pc:sldMk cId="4145871477" sldId="2147478567"/>
            <ac:spMk id="159" creationId="{43D0300C-F7F7-76CC-1D73-0D16648261E2}"/>
          </ac:spMkLst>
        </pc:spChg>
        <pc:spChg chg="add del mod">
          <ac:chgData name="Steiner Andreas 6206 ED" userId="e6377c33-a923-4f14-8587-531c474c7b48" providerId="ADAL" clId="{6ECD27E6-B224-41CD-B4E0-E297462320DD}" dt="2023-11-24T08:35:46.687" v="24308"/>
          <ac:spMkLst>
            <pc:docMk/>
            <pc:sldMk cId="4145871477" sldId="2147478567"/>
            <ac:spMk id="160" creationId="{2225496F-061F-37A4-BFC7-6D63B8CEF573}"/>
          </ac:spMkLst>
        </pc:spChg>
        <pc:spChg chg="add del mod">
          <ac:chgData name="Steiner Andreas 6206 ED" userId="e6377c33-a923-4f14-8587-531c474c7b48" providerId="ADAL" clId="{6ECD27E6-B224-41CD-B4E0-E297462320DD}" dt="2023-11-24T08:35:48.935" v="24463"/>
          <ac:spMkLst>
            <pc:docMk/>
            <pc:sldMk cId="4145871477" sldId="2147478567"/>
            <ac:spMk id="161" creationId="{5C1BC665-2C61-7351-A83C-235AE80C4A3E}"/>
          </ac:spMkLst>
        </pc:spChg>
        <pc:spChg chg="add del mod">
          <ac:chgData name="Steiner Andreas 6206 ED" userId="e6377c33-a923-4f14-8587-531c474c7b48" providerId="ADAL" clId="{6ECD27E6-B224-41CD-B4E0-E297462320DD}" dt="2023-11-24T08:35:51.224" v="24618"/>
          <ac:spMkLst>
            <pc:docMk/>
            <pc:sldMk cId="4145871477" sldId="2147478567"/>
            <ac:spMk id="162" creationId="{6DEFEC4E-6D67-8CF9-2283-02E70EFFFED6}"/>
          </ac:spMkLst>
        </pc:spChg>
        <pc:spChg chg="add del mod">
          <ac:chgData name="Steiner Andreas 6206 ED" userId="e6377c33-a923-4f14-8587-531c474c7b48" providerId="ADAL" clId="{6ECD27E6-B224-41CD-B4E0-E297462320DD}" dt="2023-11-24T08:35:54.148" v="24773"/>
          <ac:spMkLst>
            <pc:docMk/>
            <pc:sldMk cId="4145871477" sldId="2147478567"/>
            <ac:spMk id="163" creationId="{24679803-6C9B-E11E-FB0B-7C02E340D7D7}"/>
          </ac:spMkLst>
        </pc:spChg>
        <pc:spChg chg="add del mod">
          <ac:chgData name="Steiner Andreas 6206 ED" userId="e6377c33-a923-4f14-8587-531c474c7b48" providerId="ADAL" clId="{6ECD27E6-B224-41CD-B4E0-E297462320DD}" dt="2023-11-24T08:35:56.614" v="24928"/>
          <ac:spMkLst>
            <pc:docMk/>
            <pc:sldMk cId="4145871477" sldId="2147478567"/>
            <ac:spMk id="164" creationId="{55D293A2-4A65-2801-CEC6-57502B31A636}"/>
          </ac:spMkLst>
        </pc:spChg>
        <pc:spChg chg="add del mod">
          <ac:chgData name="Steiner Andreas 6206 ED" userId="e6377c33-a923-4f14-8587-531c474c7b48" providerId="ADAL" clId="{6ECD27E6-B224-41CD-B4E0-E297462320DD}" dt="2023-11-24T08:35:59.158" v="25083"/>
          <ac:spMkLst>
            <pc:docMk/>
            <pc:sldMk cId="4145871477" sldId="2147478567"/>
            <ac:spMk id="165" creationId="{683CBFDF-B668-69A6-2E33-3A08ACDA7FF6}"/>
          </ac:spMkLst>
        </pc:spChg>
        <pc:spChg chg="add del mod">
          <ac:chgData name="Steiner Andreas 6206 ED" userId="e6377c33-a923-4f14-8587-531c474c7b48" providerId="ADAL" clId="{6ECD27E6-B224-41CD-B4E0-E297462320DD}" dt="2023-11-24T08:36:01.691" v="25238"/>
          <ac:spMkLst>
            <pc:docMk/>
            <pc:sldMk cId="4145871477" sldId="2147478567"/>
            <ac:spMk id="166" creationId="{56FB9E28-F93D-84B7-BA6B-C344DA5C4C33}"/>
          </ac:spMkLst>
        </pc:spChg>
        <pc:spChg chg="add del mod">
          <ac:chgData name="Steiner Andreas 6206 ED" userId="e6377c33-a923-4f14-8587-531c474c7b48" providerId="ADAL" clId="{6ECD27E6-B224-41CD-B4E0-E297462320DD}" dt="2023-11-24T08:36:04.271" v="25393"/>
          <ac:spMkLst>
            <pc:docMk/>
            <pc:sldMk cId="4145871477" sldId="2147478567"/>
            <ac:spMk id="167" creationId="{BD9495DB-FECF-7412-2DE2-6CEA74528586}"/>
          </ac:spMkLst>
        </pc:spChg>
        <pc:spChg chg="add del mod">
          <ac:chgData name="Steiner Andreas 6206 ED" userId="e6377c33-a923-4f14-8587-531c474c7b48" providerId="ADAL" clId="{6ECD27E6-B224-41CD-B4E0-E297462320DD}" dt="2023-11-24T08:36:06.756" v="25548"/>
          <ac:spMkLst>
            <pc:docMk/>
            <pc:sldMk cId="4145871477" sldId="2147478567"/>
            <ac:spMk id="168" creationId="{F31481DF-6712-EF74-A34F-5FA8CDADE2A9}"/>
          </ac:spMkLst>
        </pc:spChg>
        <pc:spChg chg="add del mod">
          <ac:chgData name="Steiner Andreas 6206 ED" userId="e6377c33-a923-4f14-8587-531c474c7b48" providerId="ADAL" clId="{6ECD27E6-B224-41CD-B4E0-E297462320DD}" dt="2023-11-24T08:36:09.273" v="25703"/>
          <ac:spMkLst>
            <pc:docMk/>
            <pc:sldMk cId="4145871477" sldId="2147478567"/>
            <ac:spMk id="169" creationId="{9588C728-D6B1-8BF2-0DA8-9C48600DB518}"/>
          </ac:spMkLst>
        </pc:spChg>
        <pc:spChg chg="add del mod">
          <ac:chgData name="Steiner Andreas 6206 ED" userId="e6377c33-a923-4f14-8587-531c474c7b48" providerId="ADAL" clId="{6ECD27E6-B224-41CD-B4E0-E297462320DD}" dt="2023-11-24T08:36:11.800" v="25858"/>
          <ac:spMkLst>
            <pc:docMk/>
            <pc:sldMk cId="4145871477" sldId="2147478567"/>
            <ac:spMk id="170" creationId="{C8E940AD-F109-13B9-697A-ACAA094DE0F7}"/>
          </ac:spMkLst>
        </pc:spChg>
        <pc:spChg chg="add del mod">
          <ac:chgData name="Steiner Andreas 6206 ED" userId="e6377c33-a923-4f14-8587-531c474c7b48" providerId="ADAL" clId="{6ECD27E6-B224-41CD-B4E0-E297462320DD}" dt="2023-11-24T08:36:14.193" v="26013"/>
          <ac:spMkLst>
            <pc:docMk/>
            <pc:sldMk cId="4145871477" sldId="2147478567"/>
            <ac:spMk id="171" creationId="{3CE6BD4D-0D85-233D-6268-8DE16285496A}"/>
          </ac:spMkLst>
        </pc:spChg>
        <pc:spChg chg="add del mod">
          <ac:chgData name="Steiner Andreas 6206 ED" userId="e6377c33-a923-4f14-8587-531c474c7b48" providerId="ADAL" clId="{6ECD27E6-B224-41CD-B4E0-E297462320DD}" dt="2023-11-24T08:36:17.019" v="26168"/>
          <ac:spMkLst>
            <pc:docMk/>
            <pc:sldMk cId="4145871477" sldId="2147478567"/>
            <ac:spMk id="172" creationId="{912A176B-4DDF-7E74-F14F-73632E521B2F}"/>
          </ac:spMkLst>
        </pc:spChg>
        <pc:spChg chg="add del mod">
          <ac:chgData name="Steiner Andreas 6206 ED" userId="e6377c33-a923-4f14-8587-531c474c7b48" providerId="ADAL" clId="{6ECD27E6-B224-41CD-B4E0-E297462320DD}" dt="2023-11-24T08:36:19.425" v="26323"/>
          <ac:spMkLst>
            <pc:docMk/>
            <pc:sldMk cId="4145871477" sldId="2147478567"/>
            <ac:spMk id="173" creationId="{4EA664C4-C954-3BE3-9F79-35DFF5EEBAF6}"/>
          </ac:spMkLst>
        </pc:spChg>
        <pc:spChg chg="add del mod">
          <ac:chgData name="Steiner Andreas 6206 ED" userId="e6377c33-a923-4f14-8587-531c474c7b48" providerId="ADAL" clId="{6ECD27E6-B224-41CD-B4E0-E297462320DD}" dt="2023-11-24T08:36:21.676" v="26478"/>
          <ac:spMkLst>
            <pc:docMk/>
            <pc:sldMk cId="4145871477" sldId="2147478567"/>
            <ac:spMk id="174" creationId="{5386FA5E-498F-2CB3-449E-557CDA0B6EB8}"/>
          </ac:spMkLst>
        </pc:spChg>
        <pc:spChg chg="add del mod">
          <ac:chgData name="Steiner Andreas 6206 ED" userId="e6377c33-a923-4f14-8587-531c474c7b48" providerId="ADAL" clId="{6ECD27E6-B224-41CD-B4E0-E297462320DD}" dt="2023-11-24T08:36:24.195" v="26633"/>
          <ac:spMkLst>
            <pc:docMk/>
            <pc:sldMk cId="4145871477" sldId="2147478567"/>
            <ac:spMk id="175" creationId="{08F369D5-E751-287B-7526-297C7BF0D770}"/>
          </ac:spMkLst>
        </pc:spChg>
        <pc:spChg chg="add del mod">
          <ac:chgData name="Steiner Andreas 6206 ED" userId="e6377c33-a923-4f14-8587-531c474c7b48" providerId="ADAL" clId="{6ECD27E6-B224-41CD-B4E0-E297462320DD}" dt="2023-11-24T08:36:26.711" v="26788"/>
          <ac:spMkLst>
            <pc:docMk/>
            <pc:sldMk cId="4145871477" sldId="2147478567"/>
            <ac:spMk id="176" creationId="{6686646A-26DA-3411-FBD3-D3B94D6658F6}"/>
          </ac:spMkLst>
        </pc:spChg>
        <pc:spChg chg="add del mod">
          <ac:chgData name="Steiner Andreas 6206 ED" userId="e6377c33-a923-4f14-8587-531c474c7b48" providerId="ADAL" clId="{6ECD27E6-B224-41CD-B4E0-E297462320DD}" dt="2023-11-24T08:36:29.616" v="26943"/>
          <ac:spMkLst>
            <pc:docMk/>
            <pc:sldMk cId="4145871477" sldId="2147478567"/>
            <ac:spMk id="177" creationId="{94FD3C32-2B34-2667-8C52-0769C95CAB15}"/>
          </ac:spMkLst>
        </pc:spChg>
        <pc:spChg chg="add del mod">
          <ac:chgData name="Steiner Andreas 6206 ED" userId="e6377c33-a923-4f14-8587-531c474c7b48" providerId="ADAL" clId="{6ECD27E6-B224-41CD-B4E0-E297462320DD}" dt="2023-11-24T08:36:32.335" v="27098"/>
          <ac:spMkLst>
            <pc:docMk/>
            <pc:sldMk cId="4145871477" sldId="2147478567"/>
            <ac:spMk id="178" creationId="{08D70EBF-0F84-FCB5-5205-A81FD32451D4}"/>
          </ac:spMkLst>
        </pc:spChg>
        <pc:spChg chg="add del mod">
          <ac:chgData name="Steiner Andreas 6206 ED" userId="e6377c33-a923-4f14-8587-531c474c7b48" providerId="ADAL" clId="{6ECD27E6-B224-41CD-B4E0-E297462320DD}" dt="2023-11-24T08:36:34.856" v="27253"/>
          <ac:spMkLst>
            <pc:docMk/>
            <pc:sldMk cId="4145871477" sldId="2147478567"/>
            <ac:spMk id="179" creationId="{F8D75B67-0E22-EA4E-F4E5-AB227A46DEA4}"/>
          </ac:spMkLst>
        </pc:spChg>
        <pc:spChg chg="add del mod">
          <ac:chgData name="Steiner Andreas 6206 ED" userId="e6377c33-a923-4f14-8587-531c474c7b48" providerId="ADAL" clId="{6ECD27E6-B224-41CD-B4E0-E297462320DD}" dt="2023-11-24T08:36:37.387" v="27408"/>
          <ac:spMkLst>
            <pc:docMk/>
            <pc:sldMk cId="4145871477" sldId="2147478567"/>
            <ac:spMk id="180" creationId="{081A6A7F-56F5-146C-617C-F024320242CE}"/>
          </ac:spMkLst>
        </pc:spChg>
        <pc:spChg chg="add del mod">
          <ac:chgData name="Steiner Andreas 6206 ED" userId="e6377c33-a923-4f14-8587-531c474c7b48" providerId="ADAL" clId="{6ECD27E6-B224-41CD-B4E0-E297462320DD}" dt="2023-11-24T08:36:40.011" v="27563"/>
          <ac:spMkLst>
            <pc:docMk/>
            <pc:sldMk cId="4145871477" sldId="2147478567"/>
            <ac:spMk id="181" creationId="{D21F6931-2E2F-D47C-9F3D-452E1B865D7B}"/>
          </ac:spMkLst>
        </pc:spChg>
        <pc:spChg chg="add del mod">
          <ac:chgData name="Steiner Andreas 6206 ED" userId="e6377c33-a923-4f14-8587-531c474c7b48" providerId="ADAL" clId="{6ECD27E6-B224-41CD-B4E0-E297462320DD}" dt="2023-11-24T08:36:42.757" v="27718"/>
          <ac:spMkLst>
            <pc:docMk/>
            <pc:sldMk cId="4145871477" sldId="2147478567"/>
            <ac:spMk id="182" creationId="{0582B4B6-D514-96DA-B420-545333E9FCCD}"/>
          </ac:spMkLst>
        </pc:spChg>
        <pc:spChg chg="add del mod">
          <ac:chgData name="Steiner Andreas 6206 ED" userId="e6377c33-a923-4f14-8587-531c474c7b48" providerId="ADAL" clId="{6ECD27E6-B224-41CD-B4E0-E297462320DD}" dt="2023-11-24T08:36:45.256" v="27873"/>
          <ac:spMkLst>
            <pc:docMk/>
            <pc:sldMk cId="4145871477" sldId="2147478567"/>
            <ac:spMk id="183" creationId="{AB48694E-B557-31DC-68B1-64B0FB77355D}"/>
          </ac:spMkLst>
        </pc:spChg>
        <pc:spChg chg="add del mod">
          <ac:chgData name="Steiner Andreas 6206 ED" userId="e6377c33-a923-4f14-8587-531c474c7b48" providerId="ADAL" clId="{6ECD27E6-B224-41CD-B4E0-E297462320DD}" dt="2023-11-24T08:36:47.670" v="28028"/>
          <ac:spMkLst>
            <pc:docMk/>
            <pc:sldMk cId="4145871477" sldId="2147478567"/>
            <ac:spMk id="184" creationId="{29355DAF-D9E2-F02A-10CF-4F5FE1BEB52B}"/>
          </ac:spMkLst>
        </pc:spChg>
        <pc:spChg chg="add del mod">
          <ac:chgData name="Steiner Andreas 6206 ED" userId="e6377c33-a923-4f14-8587-531c474c7b48" providerId="ADAL" clId="{6ECD27E6-B224-41CD-B4E0-E297462320DD}" dt="2023-11-24T08:36:50.179" v="28183"/>
          <ac:spMkLst>
            <pc:docMk/>
            <pc:sldMk cId="4145871477" sldId="2147478567"/>
            <ac:spMk id="185" creationId="{26BF5D7F-9AC4-DACB-DF4D-0CA1EA994011}"/>
          </ac:spMkLst>
        </pc:spChg>
        <pc:spChg chg="add del mod">
          <ac:chgData name="Steiner Andreas 6206 ED" userId="e6377c33-a923-4f14-8587-531c474c7b48" providerId="ADAL" clId="{6ECD27E6-B224-41CD-B4E0-E297462320DD}" dt="2023-11-24T08:36:53.214" v="28338"/>
          <ac:spMkLst>
            <pc:docMk/>
            <pc:sldMk cId="4145871477" sldId="2147478567"/>
            <ac:spMk id="186" creationId="{A7AE81C7-9EA3-163E-9AEE-70CDAE8F0C64}"/>
          </ac:spMkLst>
        </pc:spChg>
        <pc:spChg chg="add del mod">
          <ac:chgData name="Steiner Andreas 6206 ED" userId="e6377c33-a923-4f14-8587-531c474c7b48" providerId="ADAL" clId="{6ECD27E6-B224-41CD-B4E0-E297462320DD}" dt="2023-11-24T08:36:56.289" v="28493"/>
          <ac:spMkLst>
            <pc:docMk/>
            <pc:sldMk cId="4145871477" sldId="2147478567"/>
            <ac:spMk id="187" creationId="{BB8402B3-D729-6294-1834-A9B05C39E602}"/>
          </ac:spMkLst>
        </pc:spChg>
        <pc:spChg chg="add del mod">
          <ac:chgData name="Steiner Andreas 6206 ED" userId="e6377c33-a923-4f14-8587-531c474c7b48" providerId="ADAL" clId="{6ECD27E6-B224-41CD-B4E0-E297462320DD}" dt="2023-11-24T08:36:59.116" v="28648"/>
          <ac:spMkLst>
            <pc:docMk/>
            <pc:sldMk cId="4145871477" sldId="2147478567"/>
            <ac:spMk id="188" creationId="{91D0822E-1B05-953E-0CB4-D8F517FE714D}"/>
          </ac:spMkLst>
        </pc:spChg>
        <pc:spChg chg="add del mod">
          <ac:chgData name="Steiner Andreas 6206 ED" userId="e6377c33-a923-4f14-8587-531c474c7b48" providerId="ADAL" clId="{6ECD27E6-B224-41CD-B4E0-E297462320DD}" dt="2023-11-24T08:37:01.785" v="28803"/>
          <ac:spMkLst>
            <pc:docMk/>
            <pc:sldMk cId="4145871477" sldId="2147478567"/>
            <ac:spMk id="189" creationId="{F10B78A1-3D36-31B7-5B2F-B3C399E3EE3D}"/>
          </ac:spMkLst>
        </pc:spChg>
        <pc:spChg chg="add del mod">
          <ac:chgData name="Steiner Andreas 6206 ED" userId="e6377c33-a923-4f14-8587-531c474c7b48" providerId="ADAL" clId="{6ECD27E6-B224-41CD-B4E0-E297462320DD}" dt="2023-11-24T08:37:04.559" v="28958"/>
          <ac:spMkLst>
            <pc:docMk/>
            <pc:sldMk cId="4145871477" sldId="2147478567"/>
            <ac:spMk id="190" creationId="{82A28908-CE7B-1596-58BD-6D096428E59E}"/>
          </ac:spMkLst>
        </pc:spChg>
        <pc:spChg chg="add del mod">
          <ac:chgData name="Steiner Andreas 6206 ED" userId="e6377c33-a923-4f14-8587-531c474c7b48" providerId="ADAL" clId="{6ECD27E6-B224-41CD-B4E0-E297462320DD}" dt="2023-11-24T08:37:07.408" v="29113"/>
          <ac:spMkLst>
            <pc:docMk/>
            <pc:sldMk cId="4145871477" sldId="2147478567"/>
            <ac:spMk id="191" creationId="{869FE321-FA64-68E6-B2C2-FCA3F44B2FD7}"/>
          </ac:spMkLst>
        </pc:spChg>
        <pc:spChg chg="add del mod">
          <ac:chgData name="Steiner Andreas 6206 ED" userId="e6377c33-a923-4f14-8587-531c474c7b48" providerId="ADAL" clId="{6ECD27E6-B224-41CD-B4E0-E297462320DD}" dt="2023-11-24T08:37:09.973" v="29268"/>
          <ac:spMkLst>
            <pc:docMk/>
            <pc:sldMk cId="4145871477" sldId="2147478567"/>
            <ac:spMk id="192" creationId="{705D1C62-DB79-F4F2-D8C8-660174522B6E}"/>
          </ac:spMkLst>
        </pc:spChg>
        <pc:spChg chg="add del mod">
          <ac:chgData name="Steiner Andreas 6206 ED" userId="e6377c33-a923-4f14-8587-531c474c7b48" providerId="ADAL" clId="{6ECD27E6-B224-41CD-B4E0-E297462320DD}" dt="2023-11-24T08:37:12.694" v="29423"/>
          <ac:spMkLst>
            <pc:docMk/>
            <pc:sldMk cId="4145871477" sldId="2147478567"/>
            <ac:spMk id="193" creationId="{6D39340C-198E-AD07-44C2-753C118ACDA7}"/>
          </ac:spMkLst>
        </pc:spChg>
        <pc:spChg chg="add del mod">
          <ac:chgData name="Steiner Andreas 6206 ED" userId="e6377c33-a923-4f14-8587-531c474c7b48" providerId="ADAL" clId="{6ECD27E6-B224-41CD-B4E0-E297462320DD}" dt="2023-11-24T08:37:16.052" v="29578"/>
          <ac:spMkLst>
            <pc:docMk/>
            <pc:sldMk cId="4145871477" sldId="2147478567"/>
            <ac:spMk id="194" creationId="{9B5C5904-A917-CC65-7A32-CA8748DABF6E}"/>
          </ac:spMkLst>
        </pc:spChg>
        <pc:spChg chg="add del mod">
          <ac:chgData name="Steiner Andreas 6206 ED" userId="e6377c33-a923-4f14-8587-531c474c7b48" providerId="ADAL" clId="{6ECD27E6-B224-41CD-B4E0-E297462320DD}" dt="2023-11-24T08:37:18.760" v="29733"/>
          <ac:spMkLst>
            <pc:docMk/>
            <pc:sldMk cId="4145871477" sldId="2147478567"/>
            <ac:spMk id="195" creationId="{920B6617-76AC-5A47-EB21-8E2123507C56}"/>
          </ac:spMkLst>
        </pc:spChg>
        <pc:spChg chg="add del mod">
          <ac:chgData name="Steiner Andreas 6206 ED" userId="e6377c33-a923-4f14-8587-531c474c7b48" providerId="ADAL" clId="{6ECD27E6-B224-41CD-B4E0-E297462320DD}" dt="2023-11-24T08:37:21.261" v="29888"/>
          <ac:spMkLst>
            <pc:docMk/>
            <pc:sldMk cId="4145871477" sldId="2147478567"/>
            <ac:spMk id="196" creationId="{7E14824C-5B9A-24DE-5144-62DADE148A8D}"/>
          </ac:spMkLst>
        </pc:spChg>
        <pc:spChg chg="add del mod">
          <ac:chgData name="Steiner Andreas 6206 ED" userId="e6377c33-a923-4f14-8587-531c474c7b48" providerId="ADAL" clId="{6ECD27E6-B224-41CD-B4E0-E297462320DD}" dt="2023-11-24T08:37:24.106" v="30043"/>
          <ac:spMkLst>
            <pc:docMk/>
            <pc:sldMk cId="4145871477" sldId="2147478567"/>
            <ac:spMk id="197" creationId="{BCFD7DC1-8CB8-3FC1-02CF-2FACA3C90A7C}"/>
          </ac:spMkLst>
        </pc:spChg>
        <pc:spChg chg="add del mod">
          <ac:chgData name="Steiner Andreas 6206 ED" userId="e6377c33-a923-4f14-8587-531c474c7b48" providerId="ADAL" clId="{6ECD27E6-B224-41CD-B4E0-E297462320DD}" dt="2023-11-24T08:37:26.645" v="30198"/>
          <ac:spMkLst>
            <pc:docMk/>
            <pc:sldMk cId="4145871477" sldId="2147478567"/>
            <ac:spMk id="198" creationId="{6AC42EF2-E1A9-0A9E-9F89-68AFFA87B276}"/>
          </ac:spMkLst>
        </pc:spChg>
        <pc:spChg chg="add del mod">
          <ac:chgData name="Steiner Andreas 6206 ED" userId="e6377c33-a923-4f14-8587-531c474c7b48" providerId="ADAL" clId="{6ECD27E6-B224-41CD-B4E0-E297462320DD}" dt="2023-11-24T08:37:29.920" v="30353"/>
          <ac:spMkLst>
            <pc:docMk/>
            <pc:sldMk cId="4145871477" sldId="2147478567"/>
            <ac:spMk id="199" creationId="{12F5383D-6886-BB8D-47A8-08290FEA99DA}"/>
          </ac:spMkLst>
        </pc:spChg>
        <pc:spChg chg="add del mod">
          <ac:chgData name="Steiner Andreas 6206 ED" userId="e6377c33-a923-4f14-8587-531c474c7b48" providerId="ADAL" clId="{6ECD27E6-B224-41CD-B4E0-E297462320DD}" dt="2023-11-24T08:37:32.817" v="30508"/>
          <ac:spMkLst>
            <pc:docMk/>
            <pc:sldMk cId="4145871477" sldId="2147478567"/>
            <ac:spMk id="200" creationId="{141EA8C2-7129-6E9D-A5A9-00E2A29C3EE7}"/>
          </ac:spMkLst>
        </pc:spChg>
        <pc:spChg chg="add del mod">
          <ac:chgData name="Steiner Andreas 6206 ED" userId="e6377c33-a923-4f14-8587-531c474c7b48" providerId="ADAL" clId="{6ECD27E6-B224-41CD-B4E0-E297462320DD}" dt="2023-11-24T08:37:35.440" v="30663"/>
          <ac:spMkLst>
            <pc:docMk/>
            <pc:sldMk cId="4145871477" sldId="2147478567"/>
            <ac:spMk id="201" creationId="{57FB8BE0-96AF-7CD9-A59F-158478703AA6}"/>
          </ac:spMkLst>
        </pc:spChg>
        <pc:spChg chg="add del mod">
          <ac:chgData name="Steiner Andreas 6206 ED" userId="e6377c33-a923-4f14-8587-531c474c7b48" providerId="ADAL" clId="{6ECD27E6-B224-41CD-B4E0-E297462320DD}" dt="2023-11-24T08:37:38.060" v="30818"/>
          <ac:spMkLst>
            <pc:docMk/>
            <pc:sldMk cId="4145871477" sldId="2147478567"/>
            <ac:spMk id="202" creationId="{8EBE1751-22BF-367E-8400-9CE879B3564D}"/>
          </ac:spMkLst>
        </pc:spChg>
        <pc:spChg chg="add del mod">
          <ac:chgData name="Steiner Andreas 6206 ED" userId="e6377c33-a923-4f14-8587-531c474c7b48" providerId="ADAL" clId="{6ECD27E6-B224-41CD-B4E0-E297462320DD}" dt="2023-11-24T08:37:42.018" v="30973"/>
          <ac:spMkLst>
            <pc:docMk/>
            <pc:sldMk cId="4145871477" sldId="2147478567"/>
            <ac:spMk id="203" creationId="{D04EF41A-B206-B4FD-A2CD-A45A1FBC2594}"/>
          </ac:spMkLst>
        </pc:spChg>
        <pc:spChg chg="add del mod">
          <ac:chgData name="Steiner Andreas 6206 ED" userId="e6377c33-a923-4f14-8587-531c474c7b48" providerId="ADAL" clId="{6ECD27E6-B224-41CD-B4E0-E297462320DD}" dt="2023-11-24T08:37:45.049" v="31128"/>
          <ac:spMkLst>
            <pc:docMk/>
            <pc:sldMk cId="4145871477" sldId="2147478567"/>
            <ac:spMk id="204" creationId="{854ACD27-2013-C606-FAFA-8A148DF51641}"/>
          </ac:spMkLst>
        </pc:spChg>
        <pc:spChg chg="add del mod">
          <ac:chgData name="Steiner Andreas 6206 ED" userId="e6377c33-a923-4f14-8587-531c474c7b48" providerId="ADAL" clId="{6ECD27E6-B224-41CD-B4E0-E297462320DD}" dt="2023-11-24T08:37:47.791" v="31283"/>
          <ac:spMkLst>
            <pc:docMk/>
            <pc:sldMk cId="4145871477" sldId="2147478567"/>
            <ac:spMk id="205" creationId="{D9F72212-3D44-E490-61A1-6579BDE58B22}"/>
          </ac:spMkLst>
        </pc:spChg>
        <pc:spChg chg="add del mod">
          <ac:chgData name="Steiner Andreas 6206 ED" userId="e6377c33-a923-4f14-8587-531c474c7b48" providerId="ADAL" clId="{6ECD27E6-B224-41CD-B4E0-E297462320DD}" dt="2023-11-24T08:37:50.558" v="31438"/>
          <ac:spMkLst>
            <pc:docMk/>
            <pc:sldMk cId="4145871477" sldId="2147478567"/>
            <ac:spMk id="206" creationId="{6E0C7406-5AD9-7440-3ED0-E44632452DA7}"/>
          </ac:spMkLst>
        </pc:spChg>
        <pc:spChg chg="add del mod">
          <ac:chgData name="Steiner Andreas 6206 ED" userId="e6377c33-a923-4f14-8587-531c474c7b48" providerId="ADAL" clId="{6ECD27E6-B224-41CD-B4E0-E297462320DD}" dt="2023-11-24T08:37:53.154" v="31593"/>
          <ac:spMkLst>
            <pc:docMk/>
            <pc:sldMk cId="4145871477" sldId="2147478567"/>
            <ac:spMk id="207" creationId="{01A93241-4825-05FF-6DBA-034F2269765B}"/>
          </ac:spMkLst>
        </pc:spChg>
        <pc:spChg chg="add del mod">
          <ac:chgData name="Steiner Andreas 6206 ED" userId="e6377c33-a923-4f14-8587-531c474c7b48" providerId="ADAL" clId="{6ECD27E6-B224-41CD-B4E0-E297462320DD}" dt="2023-11-24T08:37:57.283" v="31748"/>
          <ac:spMkLst>
            <pc:docMk/>
            <pc:sldMk cId="4145871477" sldId="2147478567"/>
            <ac:spMk id="208" creationId="{5E8346B6-95E9-D1B1-25C7-72B0788FC618}"/>
          </ac:spMkLst>
        </pc:spChg>
        <pc:spChg chg="add del mod">
          <ac:chgData name="Steiner Andreas 6206 ED" userId="e6377c33-a923-4f14-8587-531c474c7b48" providerId="ADAL" clId="{6ECD27E6-B224-41CD-B4E0-E297462320DD}" dt="2023-11-24T08:38:00.077" v="31903"/>
          <ac:spMkLst>
            <pc:docMk/>
            <pc:sldMk cId="4145871477" sldId="2147478567"/>
            <ac:spMk id="209" creationId="{6EE4CB0C-670E-E9BE-A3E5-98EAAF5FB3D5}"/>
          </ac:spMkLst>
        </pc:spChg>
        <pc:spChg chg="add del mod">
          <ac:chgData name="Steiner Andreas 6206 ED" userId="e6377c33-a923-4f14-8587-531c474c7b48" providerId="ADAL" clId="{6ECD27E6-B224-41CD-B4E0-E297462320DD}" dt="2023-11-24T08:38:03.018" v="32058"/>
          <ac:spMkLst>
            <pc:docMk/>
            <pc:sldMk cId="4145871477" sldId="2147478567"/>
            <ac:spMk id="210" creationId="{AAE33839-ACA0-7243-D959-6C0C757D7F04}"/>
          </ac:spMkLst>
        </pc:spChg>
        <pc:spChg chg="add del mod">
          <ac:chgData name="Steiner Andreas 6206 ED" userId="e6377c33-a923-4f14-8587-531c474c7b48" providerId="ADAL" clId="{6ECD27E6-B224-41CD-B4E0-E297462320DD}" dt="2023-11-24T08:38:05.902" v="32213"/>
          <ac:spMkLst>
            <pc:docMk/>
            <pc:sldMk cId="4145871477" sldId="2147478567"/>
            <ac:spMk id="211" creationId="{0C9EE5CC-4973-CB3D-CAD1-7FF43A12BA9F}"/>
          </ac:spMkLst>
        </pc:spChg>
        <pc:spChg chg="add del mod">
          <ac:chgData name="Steiner Andreas 6206 ED" userId="e6377c33-a923-4f14-8587-531c474c7b48" providerId="ADAL" clId="{6ECD27E6-B224-41CD-B4E0-E297462320DD}" dt="2023-11-24T08:38:09.072" v="32368"/>
          <ac:spMkLst>
            <pc:docMk/>
            <pc:sldMk cId="4145871477" sldId="2147478567"/>
            <ac:spMk id="212" creationId="{6B9E4E1C-C0EF-02BA-FDEE-7F418824B127}"/>
          </ac:spMkLst>
        </pc:spChg>
        <pc:spChg chg="add del mod">
          <ac:chgData name="Steiner Andreas 6206 ED" userId="e6377c33-a923-4f14-8587-531c474c7b48" providerId="ADAL" clId="{6ECD27E6-B224-41CD-B4E0-E297462320DD}" dt="2023-11-24T08:38:11.784" v="32523"/>
          <ac:spMkLst>
            <pc:docMk/>
            <pc:sldMk cId="4145871477" sldId="2147478567"/>
            <ac:spMk id="213" creationId="{37CF88B7-CB73-34E6-8536-2F420CDDBE5E}"/>
          </ac:spMkLst>
        </pc:spChg>
        <pc:spChg chg="add del mod">
          <ac:chgData name="Steiner Andreas 6206 ED" userId="e6377c33-a923-4f14-8587-531c474c7b48" providerId="ADAL" clId="{6ECD27E6-B224-41CD-B4E0-E297462320DD}" dt="2023-11-24T08:38:14.420" v="32678"/>
          <ac:spMkLst>
            <pc:docMk/>
            <pc:sldMk cId="4145871477" sldId="2147478567"/>
            <ac:spMk id="214" creationId="{2B926E44-5C12-9B83-7BCD-5485D871E752}"/>
          </ac:spMkLst>
        </pc:spChg>
        <pc:spChg chg="add del mod">
          <ac:chgData name="Steiner Andreas 6206 ED" userId="e6377c33-a923-4f14-8587-531c474c7b48" providerId="ADAL" clId="{6ECD27E6-B224-41CD-B4E0-E297462320DD}" dt="2023-11-24T08:38:17.130" v="32833"/>
          <ac:spMkLst>
            <pc:docMk/>
            <pc:sldMk cId="4145871477" sldId="2147478567"/>
            <ac:spMk id="215" creationId="{8A2A5730-06B1-1868-0C73-AD8E00AFD4AF}"/>
          </ac:spMkLst>
        </pc:spChg>
        <pc:spChg chg="add del mod">
          <ac:chgData name="Steiner Andreas 6206 ED" userId="e6377c33-a923-4f14-8587-531c474c7b48" providerId="ADAL" clId="{6ECD27E6-B224-41CD-B4E0-E297462320DD}" dt="2023-11-24T08:38:20.169" v="32988"/>
          <ac:spMkLst>
            <pc:docMk/>
            <pc:sldMk cId="4145871477" sldId="2147478567"/>
            <ac:spMk id="216" creationId="{40FD42F4-0F87-62B5-BE2C-C856147A3BA0}"/>
          </ac:spMkLst>
        </pc:spChg>
        <pc:spChg chg="add del mod">
          <ac:chgData name="Steiner Andreas 6206 ED" userId="e6377c33-a923-4f14-8587-531c474c7b48" providerId="ADAL" clId="{6ECD27E6-B224-41CD-B4E0-E297462320DD}" dt="2023-11-24T08:38:22.979" v="33143"/>
          <ac:spMkLst>
            <pc:docMk/>
            <pc:sldMk cId="4145871477" sldId="2147478567"/>
            <ac:spMk id="217" creationId="{3745C0EE-DCC7-1FB0-2580-C88673748250}"/>
          </ac:spMkLst>
        </pc:spChg>
        <pc:spChg chg="add del mod">
          <ac:chgData name="Steiner Andreas 6206 ED" userId="e6377c33-a923-4f14-8587-531c474c7b48" providerId="ADAL" clId="{6ECD27E6-B224-41CD-B4E0-E297462320DD}" dt="2023-11-24T08:38:25.767" v="33298"/>
          <ac:spMkLst>
            <pc:docMk/>
            <pc:sldMk cId="4145871477" sldId="2147478567"/>
            <ac:spMk id="218" creationId="{464F5BB7-30F1-C75D-2067-E49925526371}"/>
          </ac:spMkLst>
        </pc:spChg>
        <pc:spChg chg="add del mod">
          <ac:chgData name="Steiner Andreas 6206 ED" userId="e6377c33-a923-4f14-8587-531c474c7b48" providerId="ADAL" clId="{6ECD27E6-B224-41CD-B4E0-E297462320DD}" dt="2023-11-24T08:38:29.403" v="33453"/>
          <ac:spMkLst>
            <pc:docMk/>
            <pc:sldMk cId="4145871477" sldId="2147478567"/>
            <ac:spMk id="219" creationId="{5CEDB69B-A193-80C7-3530-62A00D2C5BA5}"/>
          </ac:spMkLst>
        </pc:spChg>
        <pc:spChg chg="add del mod">
          <ac:chgData name="Steiner Andreas 6206 ED" userId="e6377c33-a923-4f14-8587-531c474c7b48" providerId="ADAL" clId="{6ECD27E6-B224-41CD-B4E0-E297462320DD}" dt="2023-11-24T08:38:32.513" v="33608"/>
          <ac:spMkLst>
            <pc:docMk/>
            <pc:sldMk cId="4145871477" sldId="2147478567"/>
            <ac:spMk id="220" creationId="{17E132A2-3FFC-DA1F-6230-5ABFFB3194F1}"/>
          </ac:spMkLst>
        </pc:spChg>
        <pc:spChg chg="add del mod">
          <ac:chgData name="Steiner Andreas 6206 ED" userId="e6377c33-a923-4f14-8587-531c474c7b48" providerId="ADAL" clId="{6ECD27E6-B224-41CD-B4E0-E297462320DD}" dt="2023-11-24T08:38:35.171" v="33763"/>
          <ac:spMkLst>
            <pc:docMk/>
            <pc:sldMk cId="4145871477" sldId="2147478567"/>
            <ac:spMk id="221" creationId="{93ED6EF4-8D6A-160D-8EB3-D3E5A564202F}"/>
          </ac:spMkLst>
        </pc:spChg>
        <pc:spChg chg="add del mod">
          <ac:chgData name="Steiner Andreas 6206 ED" userId="e6377c33-a923-4f14-8587-531c474c7b48" providerId="ADAL" clId="{6ECD27E6-B224-41CD-B4E0-E297462320DD}" dt="2023-11-24T08:38:37.834" v="33918"/>
          <ac:spMkLst>
            <pc:docMk/>
            <pc:sldMk cId="4145871477" sldId="2147478567"/>
            <ac:spMk id="222" creationId="{0AABDE3C-7230-FA2E-6BFB-3445B8D297A2}"/>
          </ac:spMkLst>
        </pc:spChg>
        <pc:spChg chg="add del mod">
          <ac:chgData name="Steiner Andreas 6206 ED" userId="e6377c33-a923-4f14-8587-531c474c7b48" providerId="ADAL" clId="{6ECD27E6-B224-41CD-B4E0-E297462320DD}" dt="2023-11-24T08:38:40.390" v="34073"/>
          <ac:spMkLst>
            <pc:docMk/>
            <pc:sldMk cId="4145871477" sldId="2147478567"/>
            <ac:spMk id="223" creationId="{7629BD67-9504-70D1-DA48-2F0F302DA142}"/>
          </ac:spMkLst>
        </pc:spChg>
        <pc:spChg chg="add del mod">
          <ac:chgData name="Steiner Andreas 6206 ED" userId="e6377c33-a923-4f14-8587-531c474c7b48" providerId="ADAL" clId="{6ECD27E6-B224-41CD-B4E0-E297462320DD}" dt="2023-11-24T08:38:42.850" v="34228"/>
          <ac:spMkLst>
            <pc:docMk/>
            <pc:sldMk cId="4145871477" sldId="2147478567"/>
            <ac:spMk id="224" creationId="{0B1C99C5-F39E-F9DC-E046-39FC4B5089E1}"/>
          </ac:spMkLst>
        </pc:spChg>
        <pc:spChg chg="add del mod">
          <ac:chgData name="Steiner Andreas 6206 ED" userId="e6377c33-a923-4f14-8587-531c474c7b48" providerId="ADAL" clId="{6ECD27E6-B224-41CD-B4E0-E297462320DD}" dt="2023-11-24T08:38:46.926" v="34383"/>
          <ac:spMkLst>
            <pc:docMk/>
            <pc:sldMk cId="4145871477" sldId="2147478567"/>
            <ac:spMk id="225" creationId="{AE169E00-8E5F-A908-3B5D-F12F970D1BD3}"/>
          </ac:spMkLst>
        </pc:spChg>
        <pc:spChg chg="add del mod">
          <ac:chgData name="Steiner Andreas 6206 ED" userId="e6377c33-a923-4f14-8587-531c474c7b48" providerId="ADAL" clId="{6ECD27E6-B224-41CD-B4E0-E297462320DD}" dt="2023-11-24T08:38:49.612" v="34538"/>
          <ac:spMkLst>
            <pc:docMk/>
            <pc:sldMk cId="4145871477" sldId="2147478567"/>
            <ac:spMk id="226" creationId="{BCD4C2B2-3531-4D5A-4D86-82F1D4DB2848}"/>
          </ac:spMkLst>
        </pc:spChg>
        <pc:spChg chg="add del mod">
          <ac:chgData name="Steiner Andreas 6206 ED" userId="e6377c33-a923-4f14-8587-531c474c7b48" providerId="ADAL" clId="{6ECD27E6-B224-41CD-B4E0-E297462320DD}" dt="2023-11-24T08:38:52.418" v="34693"/>
          <ac:spMkLst>
            <pc:docMk/>
            <pc:sldMk cId="4145871477" sldId="2147478567"/>
            <ac:spMk id="227" creationId="{A6FE0820-EB4A-EE7A-DA55-671CCD74043A}"/>
          </ac:spMkLst>
        </pc:spChg>
        <pc:spChg chg="add del mod">
          <ac:chgData name="Steiner Andreas 6206 ED" userId="e6377c33-a923-4f14-8587-531c474c7b48" providerId="ADAL" clId="{6ECD27E6-B224-41CD-B4E0-E297462320DD}" dt="2023-11-24T08:38:55.430" v="34848"/>
          <ac:spMkLst>
            <pc:docMk/>
            <pc:sldMk cId="4145871477" sldId="2147478567"/>
            <ac:spMk id="228" creationId="{D6021D9B-5D98-DDCA-8C77-9A7CA5A0BF91}"/>
          </ac:spMkLst>
        </pc:spChg>
        <pc:spChg chg="add del mod">
          <ac:chgData name="Steiner Andreas 6206 ED" userId="e6377c33-a923-4f14-8587-531c474c7b48" providerId="ADAL" clId="{6ECD27E6-B224-41CD-B4E0-E297462320DD}" dt="2023-11-24T08:38:58.635" v="35003"/>
          <ac:spMkLst>
            <pc:docMk/>
            <pc:sldMk cId="4145871477" sldId="2147478567"/>
            <ac:spMk id="229" creationId="{00404E84-B73B-9C92-ED24-1E2711C4F566}"/>
          </ac:spMkLst>
        </pc:spChg>
        <pc:spChg chg="add del mod">
          <ac:chgData name="Steiner Andreas 6206 ED" userId="e6377c33-a923-4f14-8587-531c474c7b48" providerId="ADAL" clId="{6ECD27E6-B224-41CD-B4E0-E297462320DD}" dt="2023-11-24T08:39:02.129" v="35158"/>
          <ac:spMkLst>
            <pc:docMk/>
            <pc:sldMk cId="4145871477" sldId="2147478567"/>
            <ac:spMk id="230" creationId="{7E837F82-9D71-7CAD-1AAE-361930504F8D}"/>
          </ac:spMkLst>
        </pc:spChg>
        <pc:spChg chg="add del mod">
          <ac:chgData name="Steiner Andreas 6206 ED" userId="e6377c33-a923-4f14-8587-531c474c7b48" providerId="ADAL" clId="{6ECD27E6-B224-41CD-B4E0-E297462320DD}" dt="2023-11-24T08:39:05.238" v="35313"/>
          <ac:spMkLst>
            <pc:docMk/>
            <pc:sldMk cId="4145871477" sldId="2147478567"/>
            <ac:spMk id="231" creationId="{5A3B7586-A100-C248-094B-3842C6513DAB}"/>
          </ac:spMkLst>
        </pc:spChg>
        <pc:spChg chg="add del mod">
          <ac:chgData name="Steiner Andreas 6206 ED" userId="e6377c33-a923-4f14-8587-531c474c7b48" providerId="ADAL" clId="{6ECD27E6-B224-41CD-B4E0-E297462320DD}" dt="2023-11-24T08:39:08.117" v="35468"/>
          <ac:spMkLst>
            <pc:docMk/>
            <pc:sldMk cId="4145871477" sldId="2147478567"/>
            <ac:spMk id="232" creationId="{1CC816FD-F120-0A2A-945B-77106096EDB0}"/>
          </ac:spMkLst>
        </pc:spChg>
        <pc:spChg chg="add del mod">
          <ac:chgData name="Steiner Andreas 6206 ED" userId="e6377c33-a923-4f14-8587-531c474c7b48" providerId="ADAL" clId="{6ECD27E6-B224-41CD-B4E0-E297462320DD}" dt="2023-11-24T08:39:12.783" v="35623"/>
          <ac:spMkLst>
            <pc:docMk/>
            <pc:sldMk cId="4145871477" sldId="2147478567"/>
            <ac:spMk id="233" creationId="{74187D74-0E64-DA97-A81F-F36613120246}"/>
          </ac:spMkLst>
        </pc:spChg>
        <pc:spChg chg="add del mod">
          <ac:chgData name="Steiner Andreas 6206 ED" userId="e6377c33-a923-4f14-8587-531c474c7b48" providerId="ADAL" clId="{6ECD27E6-B224-41CD-B4E0-E297462320DD}" dt="2023-11-24T08:39:15.443" v="35778"/>
          <ac:spMkLst>
            <pc:docMk/>
            <pc:sldMk cId="4145871477" sldId="2147478567"/>
            <ac:spMk id="234" creationId="{DC84F9FC-3650-0508-DFF0-706932124CC3}"/>
          </ac:spMkLst>
        </pc:spChg>
        <pc:spChg chg="add del mod">
          <ac:chgData name="Steiner Andreas 6206 ED" userId="e6377c33-a923-4f14-8587-531c474c7b48" providerId="ADAL" clId="{6ECD27E6-B224-41CD-B4E0-E297462320DD}" dt="2023-11-24T08:39:18.113" v="35933"/>
          <ac:spMkLst>
            <pc:docMk/>
            <pc:sldMk cId="4145871477" sldId="2147478567"/>
            <ac:spMk id="235" creationId="{A3E56C48-13DD-FD69-96DD-C08B64470690}"/>
          </ac:spMkLst>
        </pc:spChg>
        <pc:spChg chg="add del mod">
          <ac:chgData name="Steiner Andreas 6206 ED" userId="e6377c33-a923-4f14-8587-531c474c7b48" providerId="ADAL" clId="{6ECD27E6-B224-41CD-B4E0-E297462320DD}" dt="2023-11-24T08:39:20.704" v="36088"/>
          <ac:spMkLst>
            <pc:docMk/>
            <pc:sldMk cId="4145871477" sldId="2147478567"/>
            <ac:spMk id="236" creationId="{2F435B1D-BAA0-7296-326B-918405BABA95}"/>
          </ac:spMkLst>
        </pc:spChg>
        <pc:spChg chg="add del mod">
          <ac:chgData name="Steiner Andreas 6206 ED" userId="e6377c33-a923-4f14-8587-531c474c7b48" providerId="ADAL" clId="{6ECD27E6-B224-41CD-B4E0-E297462320DD}" dt="2023-11-24T08:39:23.916" v="36243"/>
          <ac:spMkLst>
            <pc:docMk/>
            <pc:sldMk cId="4145871477" sldId="2147478567"/>
            <ac:spMk id="237" creationId="{9C9B3074-F0A9-4B4D-3F2E-16135CBEDFC9}"/>
          </ac:spMkLst>
        </pc:spChg>
        <pc:spChg chg="add del mod">
          <ac:chgData name="Steiner Andreas 6206 ED" userId="e6377c33-a923-4f14-8587-531c474c7b48" providerId="ADAL" clId="{6ECD27E6-B224-41CD-B4E0-E297462320DD}" dt="2023-11-24T08:39:26.598" v="36398"/>
          <ac:spMkLst>
            <pc:docMk/>
            <pc:sldMk cId="4145871477" sldId="2147478567"/>
            <ac:spMk id="238" creationId="{13B28252-266C-AB84-6217-51A006E53342}"/>
          </ac:spMkLst>
        </pc:spChg>
        <pc:spChg chg="add del mod">
          <ac:chgData name="Steiner Andreas 6206 ED" userId="e6377c33-a923-4f14-8587-531c474c7b48" providerId="ADAL" clId="{6ECD27E6-B224-41CD-B4E0-E297462320DD}" dt="2023-11-24T08:39:29.361" v="36553"/>
          <ac:spMkLst>
            <pc:docMk/>
            <pc:sldMk cId="4145871477" sldId="2147478567"/>
            <ac:spMk id="239" creationId="{B5E894D7-ACDA-D52C-55E4-B2C08E43384A}"/>
          </ac:spMkLst>
        </pc:spChg>
        <pc:spChg chg="add del mod">
          <ac:chgData name="Steiner Andreas 6206 ED" userId="e6377c33-a923-4f14-8587-531c474c7b48" providerId="ADAL" clId="{6ECD27E6-B224-41CD-B4E0-E297462320DD}" dt="2023-11-24T08:39:31.949" v="36708"/>
          <ac:spMkLst>
            <pc:docMk/>
            <pc:sldMk cId="4145871477" sldId="2147478567"/>
            <ac:spMk id="240" creationId="{D8803819-CC80-DA8B-162A-0D7AD3A2BB59}"/>
          </ac:spMkLst>
        </pc:spChg>
        <pc:spChg chg="add del mod">
          <ac:chgData name="Steiner Andreas 6206 ED" userId="e6377c33-a923-4f14-8587-531c474c7b48" providerId="ADAL" clId="{6ECD27E6-B224-41CD-B4E0-E297462320DD}" dt="2023-11-24T08:39:34.440" v="36863"/>
          <ac:spMkLst>
            <pc:docMk/>
            <pc:sldMk cId="4145871477" sldId="2147478567"/>
            <ac:spMk id="241" creationId="{7676B2DD-0EE5-F84B-BAA0-4332DAB69AF3}"/>
          </ac:spMkLst>
        </pc:spChg>
        <pc:spChg chg="add del mod">
          <ac:chgData name="Steiner Andreas 6206 ED" userId="e6377c33-a923-4f14-8587-531c474c7b48" providerId="ADAL" clId="{6ECD27E6-B224-41CD-B4E0-E297462320DD}" dt="2023-11-24T08:39:37.376" v="37018"/>
          <ac:spMkLst>
            <pc:docMk/>
            <pc:sldMk cId="4145871477" sldId="2147478567"/>
            <ac:spMk id="242" creationId="{27D6405D-9AE3-5E64-1586-732637D0677D}"/>
          </ac:spMkLst>
        </pc:spChg>
        <pc:spChg chg="add del mod">
          <ac:chgData name="Steiner Andreas 6206 ED" userId="e6377c33-a923-4f14-8587-531c474c7b48" providerId="ADAL" clId="{6ECD27E6-B224-41CD-B4E0-E297462320DD}" dt="2023-11-24T08:39:39.965" v="37173"/>
          <ac:spMkLst>
            <pc:docMk/>
            <pc:sldMk cId="4145871477" sldId="2147478567"/>
            <ac:spMk id="243" creationId="{6C5C6DD8-8117-29A4-6E4F-218436C638F6}"/>
          </ac:spMkLst>
        </pc:spChg>
        <pc:spChg chg="add del mod">
          <ac:chgData name="Steiner Andreas 6206 ED" userId="e6377c33-a923-4f14-8587-531c474c7b48" providerId="ADAL" clId="{6ECD27E6-B224-41CD-B4E0-E297462320DD}" dt="2023-11-24T08:39:42.456" v="37328"/>
          <ac:spMkLst>
            <pc:docMk/>
            <pc:sldMk cId="4145871477" sldId="2147478567"/>
            <ac:spMk id="244" creationId="{FBF90C3E-EB3B-6294-D80D-BC954EC25653}"/>
          </ac:spMkLst>
        </pc:spChg>
        <pc:spChg chg="add del mod">
          <ac:chgData name="Steiner Andreas 6206 ED" userId="e6377c33-a923-4f14-8587-531c474c7b48" providerId="ADAL" clId="{6ECD27E6-B224-41CD-B4E0-E297462320DD}" dt="2023-11-24T08:39:45.013" v="37483"/>
          <ac:spMkLst>
            <pc:docMk/>
            <pc:sldMk cId="4145871477" sldId="2147478567"/>
            <ac:spMk id="245" creationId="{BFE36AC0-1F61-DC79-94B4-81F5810E4D37}"/>
          </ac:spMkLst>
        </pc:spChg>
        <pc:spChg chg="add del mod">
          <ac:chgData name="Steiner Andreas 6206 ED" userId="e6377c33-a923-4f14-8587-531c474c7b48" providerId="ADAL" clId="{6ECD27E6-B224-41CD-B4E0-E297462320DD}" dt="2023-11-24T08:39:48.011" v="37638"/>
          <ac:spMkLst>
            <pc:docMk/>
            <pc:sldMk cId="4145871477" sldId="2147478567"/>
            <ac:spMk id="246" creationId="{D8102D3C-AFD2-FF77-7F63-8EE38F9F3AA4}"/>
          </ac:spMkLst>
        </pc:spChg>
        <pc:spChg chg="add del mod">
          <ac:chgData name="Steiner Andreas 6206 ED" userId="e6377c33-a923-4f14-8587-531c474c7b48" providerId="ADAL" clId="{6ECD27E6-B224-41CD-B4E0-E297462320DD}" dt="2023-11-24T08:39:50.723" v="37793"/>
          <ac:spMkLst>
            <pc:docMk/>
            <pc:sldMk cId="4145871477" sldId="2147478567"/>
            <ac:spMk id="247" creationId="{344F0392-2793-E0CC-1605-BED338AE4A6A}"/>
          </ac:spMkLst>
        </pc:spChg>
        <pc:spChg chg="add del mod">
          <ac:chgData name="Steiner Andreas 6206 ED" userId="e6377c33-a923-4f14-8587-531c474c7b48" providerId="ADAL" clId="{6ECD27E6-B224-41CD-B4E0-E297462320DD}" dt="2023-11-24T08:39:53.383" v="37948"/>
          <ac:spMkLst>
            <pc:docMk/>
            <pc:sldMk cId="4145871477" sldId="2147478567"/>
            <ac:spMk id="248" creationId="{B6F9CF63-0522-8F61-1BC6-813465355CAA}"/>
          </ac:spMkLst>
        </pc:spChg>
        <pc:spChg chg="add del mod">
          <ac:chgData name="Steiner Andreas 6206 ED" userId="e6377c33-a923-4f14-8587-531c474c7b48" providerId="ADAL" clId="{6ECD27E6-B224-41CD-B4E0-E297462320DD}" dt="2023-11-24T08:39:56.304" v="38103"/>
          <ac:spMkLst>
            <pc:docMk/>
            <pc:sldMk cId="4145871477" sldId="2147478567"/>
            <ac:spMk id="249" creationId="{11CDB2DA-0DFF-8519-E1DE-C2EAB1855925}"/>
          </ac:spMkLst>
        </pc:spChg>
        <pc:spChg chg="add del mod">
          <ac:chgData name="Steiner Andreas 6206 ED" userId="e6377c33-a923-4f14-8587-531c474c7b48" providerId="ADAL" clId="{6ECD27E6-B224-41CD-B4E0-E297462320DD}" dt="2023-11-24T08:39:59.482" v="38258"/>
          <ac:spMkLst>
            <pc:docMk/>
            <pc:sldMk cId="4145871477" sldId="2147478567"/>
            <ac:spMk id="250" creationId="{6037DAE8-4796-145A-FC31-3E07B5BF5D0C}"/>
          </ac:spMkLst>
        </pc:spChg>
        <pc:spChg chg="add del mod">
          <ac:chgData name="Steiner Andreas 6206 ED" userId="e6377c33-a923-4f14-8587-531c474c7b48" providerId="ADAL" clId="{6ECD27E6-B224-41CD-B4E0-E297462320DD}" dt="2023-11-24T08:40:02.791" v="38413"/>
          <ac:spMkLst>
            <pc:docMk/>
            <pc:sldMk cId="4145871477" sldId="2147478567"/>
            <ac:spMk id="251" creationId="{BAB39F02-E0BC-A2CC-D3F9-0B9AC8E5506F}"/>
          </ac:spMkLst>
        </pc:spChg>
        <pc:spChg chg="add del mod">
          <ac:chgData name="Steiner Andreas 6206 ED" userId="e6377c33-a923-4f14-8587-531c474c7b48" providerId="ADAL" clId="{6ECD27E6-B224-41CD-B4E0-E297462320DD}" dt="2023-11-24T08:40:05.536" v="38568"/>
          <ac:spMkLst>
            <pc:docMk/>
            <pc:sldMk cId="4145871477" sldId="2147478567"/>
            <ac:spMk id="252" creationId="{1D07A12B-3A65-D259-9636-7008CD2698B7}"/>
          </ac:spMkLst>
        </pc:spChg>
        <pc:spChg chg="add del mod">
          <ac:chgData name="Steiner Andreas 6206 ED" userId="e6377c33-a923-4f14-8587-531c474c7b48" providerId="ADAL" clId="{6ECD27E6-B224-41CD-B4E0-E297462320DD}" dt="2023-11-24T08:40:08.088" v="38723"/>
          <ac:spMkLst>
            <pc:docMk/>
            <pc:sldMk cId="4145871477" sldId="2147478567"/>
            <ac:spMk id="253" creationId="{84C38DE4-8715-C0E7-88F8-A358C2D063FB}"/>
          </ac:spMkLst>
        </pc:spChg>
        <pc:spChg chg="add del mod">
          <ac:chgData name="Steiner Andreas 6206 ED" userId="e6377c33-a923-4f14-8587-531c474c7b48" providerId="ADAL" clId="{6ECD27E6-B224-41CD-B4E0-E297462320DD}" dt="2023-11-24T08:40:10.788" v="38878"/>
          <ac:spMkLst>
            <pc:docMk/>
            <pc:sldMk cId="4145871477" sldId="2147478567"/>
            <ac:spMk id="254" creationId="{22195027-8040-FF99-20F7-4B990E84CC8A}"/>
          </ac:spMkLst>
        </pc:spChg>
        <pc:spChg chg="add del mod">
          <ac:chgData name="Steiner Andreas 6206 ED" userId="e6377c33-a923-4f14-8587-531c474c7b48" providerId="ADAL" clId="{6ECD27E6-B224-41CD-B4E0-E297462320DD}" dt="2023-11-24T08:40:13.972" v="39033"/>
          <ac:spMkLst>
            <pc:docMk/>
            <pc:sldMk cId="4145871477" sldId="2147478567"/>
            <ac:spMk id="255" creationId="{C61B7F66-C628-84FF-DCDB-610DFE075230}"/>
          </ac:spMkLst>
        </pc:spChg>
        <pc:spChg chg="add del mod">
          <ac:chgData name="Steiner Andreas 6206 ED" userId="e6377c33-a923-4f14-8587-531c474c7b48" providerId="ADAL" clId="{6ECD27E6-B224-41CD-B4E0-E297462320DD}" dt="2023-11-24T08:40:16.651" v="39188"/>
          <ac:spMkLst>
            <pc:docMk/>
            <pc:sldMk cId="4145871477" sldId="2147478567"/>
            <ac:spMk id="256" creationId="{8BCF7E9B-9178-270C-6620-D75CA31A0A30}"/>
          </ac:spMkLst>
        </pc:spChg>
        <pc:spChg chg="add del mod">
          <ac:chgData name="Steiner Andreas 6206 ED" userId="e6377c33-a923-4f14-8587-531c474c7b48" providerId="ADAL" clId="{6ECD27E6-B224-41CD-B4E0-E297462320DD}" dt="2023-11-24T08:40:19.164" v="39343"/>
          <ac:spMkLst>
            <pc:docMk/>
            <pc:sldMk cId="4145871477" sldId="2147478567"/>
            <ac:spMk id="257" creationId="{8D169F39-CB84-DC78-48B4-B3BBF4D3B7D7}"/>
          </ac:spMkLst>
        </pc:spChg>
        <pc:spChg chg="add del mod">
          <ac:chgData name="Steiner Andreas 6206 ED" userId="e6377c33-a923-4f14-8587-531c474c7b48" providerId="ADAL" clId="{6ECD27E6-B224-41CD-B4E0-E297462320DD}" dt="2023-11-24T08:40:21.587" v="39498"/>
          <ac:spMkLst>
            <pc:docMk/>
            <pc:sldMk cId="4145871477" sldId="2147478567"/>
            <ac:spMk id="258" creationId="{9A8357CF-12BA-9444-7862-321583CE49E6}"/>
          </ac:spMkLst>
        </pc:spChg>
        <pc:spChg chg="add del mod">
          <ac:chgData name="Steiner Andreas 6206 ED" userId="e6377c33-a923-4f14-8587-531c474c7b48" providerId="ADAL" clId="{6ECD27E6-B224-41CD-B4E0-E297462320DD}" dt="2023-11-24T08:40:24.337" v="39653"/>
          <ac:spMkLst>
            <pc:docMk/>
            <pc:sldMk cId="4145871477" sldId="2147478567"/>
            <ac:spMk id="259" creationId="{0267FE30-0B4F-C948-FB31-0C9A67B1E8EB}"/>
          </ac:spMkLst>
        </pc:spChg>
        <pc:spChg chg="add del mod">
          <ac:chgData name="Steiner Andreas 6206 ED" userId="e6377c33-a923-4f14-8587-531c474c7b48" providerId="ADAL" clId="{6ECD27E6-B224-41CD-B4E0-E297462320DD}" dt="2023-11-24T08:40:27.216" v="39808"/>
          <ac:spMkLst>
            <pc:docMk/>
            <pc:sldMk cId="4145871477" sldId="2147478567"/>
            <ac:spMk id="260" creationId="{A93BDCF9-53EB-4075-B619-615A09F14B0F}"/>
          </ac:spMkLst>
        </pc:spChg>
        <pc:spChg chg="add del mod">
          <ac:chgData name="Steiner Andreas 6206 ED" userId="e6377c33-a923-4f14-8587-531c474c7b48" providerId="ADAL" clId="{6ECD27E6-B224-41CD-B4E0-E297462320DD}" dt="2023-11-24T08:40:29.825" v="39963"/>
          <ac:spMkLst>
            <pc:docMk/>
            <pc:sldMk cId="4145871477" sldId="2147478567"/>
            <ac:spMk id="261" creationId="{9E1489DA-C2B3-7DC6-71D9-C9941C9C011E}"/>
          </ac:spMkLst>
        </pc:spChg>
        <pc:spChg chg="add del mod">
          <ac:chgData name="Steiner Andreas 6206 ED" userId="e6377c33-a923-4f14-8587-531c474c7b48" providerId="ADAL" clId="{6ECD27E6-B224-41CD-B4E0-E297462320DD}" dt="2023-11-24T08:40:32.409" v="40118"/>
          <ac:spMkLst>
            <pc:docMk/>
            <pc:sldMk cId="4145871477" sldId="2147478567"/>
            <ac:spMk id="262" creationId="{252058FB-D3EA-1F85-7F8D-E520CB4A6912}"/>
          </ac:spMkLst>
        </pc:spChg>
        <pc:spChg chg="add del mod">
          <ac:chgData name="Steiner Andreas 6206 ED" userId="e6377c33-a923-4f14-8587-531c474c7b48" providerId="ADAL" clId="{6ECD27E6-B224-41CD-B4E0-E297462320DD}" dt="2023-11-24T08:40:34.976" v="40273"/>
          <ac:spMkLst>
            <pc:docMk/>
            <pc:sldMk cId="4145871477" sldId="2147478567"/>
            <ac:spMk id="263" creationId="{54350CBF-BC41-11F6-31BE-2031436193F6}"/>
          </ac:spMkLst>
        </pc:spChg>
        <pc:spChg chg="add del mod">
          <ac:chgData name="Steiner Andreas 6206 ED" userId="e6377c33-a923-4f14-8587-531c474c7b48" providerId="ADAL" clId="{6ECD27E6-B224-41CD-B4E0-E297462320DD}" dt="2023-11-24T08:40:38.408" v="40428"/>
          <ac:spMkLst>
            <pc:docMk/>
            <pc:sldMk cId="4145871477" sldId="2147478567"/>
            <ac:spMk id="264" creationId="{F5A080C8-780C-BCDE-7D0C-E693F3CA07AF}"/>
          </ac:spMkLst>
        </pc:spChg>
        <pc:spChg chg="add del mod">
          <ac:chgData name="Steiner Andreas 6206 ED" userId="e6377c33-a923-4f14-8587-531c474c7b48" providerId="ADAL" clId="{6ECD27E6-B224-41CD-B4E0-E297462320DD}" dt="2023-11-24T08:40:41.128" v="40583"/>
          <ac:spMkLst>
            <pc:docMk/>
            <pc:sldMk cId="4145871477" sldId="2147478567"/>
            <ac:spMk id="265" creationId="{92AC92CE-6467-AC5E-83D4-30EB0A4212A4}"/>
          </ac:spMkLst>
        </pc:spChg>
        <pc:spChg chg="add del mod">
          <ac:chgData name="Steiner Andreas 6206 ED" userId="e6377c33-a923-4f14-8587-531c474c7b48" providerId="ADAL" clId="{6ECD27E6-B224-41CD-B4E0-E297462320DD}" dt="2023-11-24T08:40:43.887" v="40738"/>
          <ac:spMkLst>
            <pc:docMk/>
            <pc:sldMk cId="4145871477" sldId="2147478567"/>
            <ac:spMk id="266" creationId="{98860EAC-20FA-22D5-D373-E0A97D2F209A}"/>
          </ac:spMkLst>
        </pc:spChg>
        <pc:spChg chg="add del mod">
          <ac:chgData name="Steiner Andreas 6206 ED" userId="e6377c33-a923-4f14-8587-531c474c7b48" providerId="ADAL" clId="{6ECD27E6-B224-41CD-B4E0-E297462320DD}" dt="2023-11-24T08:40:46.325" v="40893"/>
          <ac:spMkLst>
            <pc:docMk/>
            <pc:sldMk cId="4145871477" sldId="2147478567"/>
            <ac:spMk id="267" creationId="{B170EA61-4B20-F82F-3603-B1D4D1C43968}"/>
          </ac:spMkLst>
        </pc:spChg>
        <pc:spChg chg="add del mod">
          <ac:chgData name="Steiner Andreas 6206 ED" userId="e6377c33-a923-4f14-8587-531c474c7b48" providerId="ADAL" clId="{6ECD27E6-B224-41CD-B4E0-E297462320DD}" dt="2023-11-24T08:40:49.171" v="41048"/>
          <ac:spMkLst>
            <pc:docMk/>
            <pc:sldMk cId="4145871477" sldId="2147478567"/>
            <ac:spMk id="268" creationId="{F8FD41DB-34D5-2811-E242-70B0A7774274}"/>
          </ac:spMkLst>
        </pc:spChg>
        <pc:spChg chg="add del mod">
          <ac:chgData name="Steiner Andreas 6206 ED" userId="e6377c33-a923-4f14-8587-531c474c7b48" providerId="ADAL" clId="{6ECD27E6-B224-41CD-B4E0-E297462320DD}" dt="2023-11-24T08:40:52.008" v="41203"/>
          <ac:spMkLst>
            <pc:docMk/>
            <pc:sldMk cId="4145871477" sldId="2147478567"/>
            <ac:spMk id="269" creationId="{A842800C-A098-3694-91D2-00AE0BEC7425}"/>
          </ac:spMkLst>
        </pc:spChg>
        <pc:spChg chg="add del mod">
          <ac:chgData name="Steiner Andreas 6206 ED" userId="e6377c33-a923-4f14-8587-531c474c7b48" providerId="ADAL" clId="{6ECD27E6-B224-41CD-B4E0-E297462320DD}" dt="2023-11-24T08:40:54.525" v="41358"/>
          <ac:spMkLst>
            <pc:docMk/>
            <pc:sldMk cId="4145871477" sldId="2147478567"/>
            <ac:spMk id="270" creationId="{2DC17C56-9750-D1A2-6B66-334AEDD345C2}"/>
          </ac:spMkLst>
        </pc:spChg>
        <pc:spChg chg="add del mod">
          <ac:chgData name="Steiner Andreas 6206 ED" userId="e6377c33-a923-4f14-8587-531c474c7b48" providerId="ADAL" clId="{6ECD27E6-B224-41CD-B4E0-E297462320DD}" dt="2023-11-24T08:40:56.969" v="41513"/>
          <ac:spMkLst>
            <pc:docMk/>
            <pc:sldMk cId="4145871477" sldId="2147478567"/>
            <ac:spMk id="271" creationId="{24B70C5B-CA0E-CF21-A719-29E02D4FC3F8}"/>
          </ac:spMkLst>
        </pc:spChg>
        <pc:spChg chg="add del mod">
          <ac:chgData name="Steiner Andreas 6206 ED" userId="e6377c33-a923-4f14-8587-531c474c7b48" providerId="ADAL" clId="{6ECD27E6-B224-41CD-B4E0-E297462320DD}" dt="2023-11-24T08:40:59.670" v="41668"/>
          <ac:spMkLst>
            <pc:docMk/>
            <pc:sldMk cId="4145871477" sldId="2147478567"/>
            <ac:spMk id="272" creationId="{2720948C-B386-93B7-46F7-1FE87FA4C6DC}"/>
          </ac:spMkLst>
        </pc:spChg>
        <pc:spChg chg="add del mod">
          <ac:chgData name="Steiner Andreas 6206 ED" userId="e6377c33-a923-4f14-8587-531c474c7b48" providerId="ADAL" clId="{6ECD27E6-B224-41CD-B4E0-E297462320DD}" dt="2023-11-24T08:41:02.686" v="41823"/>
          <ac:spMkLst>
            <pc:docMk/>
            <pc:sldMk cId="4145871477" sldId="2147478567"/>
            <ac:spMk id="273" creationId="{165C3EAE-A6B1-B889-8D71-5CFEA5F817C2}"/>
          </ac:spMkLst>
        </pc:spChg>
        <pc:spChg chg="add del mod">
          <ac:chgData name="Steiner Andreas 6206 ED" userId="e6377c33-a923-4f14-8587-531c474c7b48" providerId="ADAL" clId="{6ECD27E6-B224-41CD-B4E0-E297462320DD}" dt="2023-11-24T08:41:05.395" v="41978"/>
          <ac:spMkLst>
            <pc:docMk/>
            <pc:sldMk cId="4145871477" sldId="2147478567"/>
            <ac:spMk id="274" creationId="{98A42D73-D60A-6E80-DF6D-210E665A3A08}"/>
          </ac:spMkLst>
        </pc:spChg>
        <pc:spChg chg="add del mod">
          <ac:chgData name="Steiner Andreas 6206 ED" userId="e6377c33-a923-4f14-8587-531c474c7b48" providerId="ADAL" clId="{6ECD27E6-B224-41CD-B4E0-E297462320DD}" dt="2023-11-24T08:41:08.871" v="42133"/>
          <ac:spMkLst>
            <pc:docMk/>
            <pc:sldMk cId="4145871477" sldId="2147478567"/>
            <ac:spMk id="275" creationId="{04B24F53-242E-B3FE-DBE0-22E0847B7C63}"/>
          </ac:spMkLst>
        </pc:spChg>
        <pc:spChg chg="add del mod">
          <ac:chgData name="Steiner Andreas 6206 ED" userId="e6377c33-a923-4f14-8587-531c474c7b48" providerId="ADAL" clId="{6ECD27E6-B224-41CD-B4E0-E297462320DD}" dt="2023-11-24T08:41:12.616" v="42288"/>
          <ac:spMkLst>
            <pc:docMk/>
            <pc:sldMk cId="4145871477" sldId="2147478567"/>
            <ac:spMk id="276" creationId="{1FB8F6A4-E615-927C-B93D-D695647D5D77}"/>
          </ac:spMkLst>
        </pc:spChg>
        <pc:spChg chg="add del mod">
          <ac:chgData name="Steiner Andreas 6206 ED" userId="e6377c33-a923-4f14-8587-531c474c7b48" providerId="ADAL" clId="{6ECD27E6-B224-41CD-B4E0-E297462320DD}" dt="2023-11-24T08:41:15.364" v="42443"/>
          <ac:spMkLst>
            <pc:docMk/>
            <pc:sldMk cId="4145871477" sldId="2147478567"/>
            <ac:spMk id="277" creationId="{B5DD8A22-F8CD-7FE3-17DB-F589C9D14943}"/>
          </ac:spMkLst>
        </pc:spChg>
        <pc:spChg chg="add del mod">
          <ac:chgData name="Steiner Andreas 6206 ED" userId="e6377c33-a923-4f14-8587-531c474c7b48" providerId="ADAL" clId="{6ECD27E6-B224-41CD-B4E0-E297462320DD}" dt="2023-11-24T08:41:17.540" v="42598"/>
          <ac:spMkLst>
            <pc:docMk/>
            <pc:sldMk cId="4145871477" sldId="2147478567"/>
            <ac:spMk id="278" creationId="{C5B765FD-C098-6081-8EF0-60C3B4DB6F4F}"/>
          </ac:spMkLst>
        </pc:spChg>
        <pc:spChg chg="add del mod">
          <ac:chgData name="Steiner Andreas 6206 ED" userId="e6377c33-a923-4f14-8587-531c474c7b48" providerId="ADAL" clId="{6ECD27E6-B224-41CD-B4E0-E297462320DD}" dt="2023-11-24T08:41:19.906" v="42753"/>
          <ac:spMkLst>
            <pc:docMk/>
            <pc:sldMk cId="4145871477" sldId="2147478567"/>
            <ac:spMk id="279" creationId="{805E4974-00A6-DC9C-D781-5D9BC814D9AA}"/>
          </ac:spMkLst>
        </pc:spChg>
        <pc:spChg chg="add del mod">
          <ac:chgData name="Steiner Andreas 6206 ED" userId="e6377c33-a923-4f14-8587-531c474c7b48" providerId="ADAL" clId="{6ECD27E6-B224-41CD-B4E0-E297462320DD}" dt="2023-11-24T08:41:22.242" v="42908"/>
          <ac:spMkLst>
            <pc:docMk/>
            <pc:sldMk cId="4145871477" sldId="2147478567"/>
            <ac:spMk id="280" creationId="{28BDC2F0-6042-A81E-34C5-01D53981DDCE}"/>
          </ac:spMkLst>
        </pc:spChg>
        <pc:spChg chg="add del mod">
          <ac:chgData name="Steiner Andreas 6206 ED" userId="e6377c33-a923-4f14-8587-531c474c7b48" providerId="ADAL" clId="{6ECD27E6-B224-41CD-B4E0-E297462320DD}" dt="2023-11-24T08:41:24.373" v="43063"/>
          <ac:spMkLst>
            <pc:docMk/>
            <pc:sldMk cId="4145871477" sldId="2147478567"/>
            <ac:spMk id="281" creationId="{30ED6ED3-0D80-83AD-2559-D8950F3FBC0B}"/>
          </ac:spMkLst>
        </pc:spChg>
        <pc:spChg chg="add del mod">
          <ac:chgData name="Steiner Andreas 6206 ED" userId="e6377c33-a923-4f14-8587-531c474c7b48" providerId="ADAL" clId="{6ECD27E6-B224-41CD-B4E0-E297462320DD}" dt="2023-11-24T08:41:26.917" v="43218"/>
          <ac:spMkLst>
            <pc:docMk/>
            <pc:sldMk cId="4145871477" sldId="2147478567"/>
            <ac:spMk id="282" creationId="{6AD80C42-1D96-267C-FB53-58BA6A7D8689}"/>
          </ac:spMkLst>
        </pc:spChg>
        <pc:spChg chg="add del mod">
          <ac:chgData name="Steiner Andreas 6206 ED" userId="e6377c33-a923-4f14-8587-531c474c7b48" providerId="ADAL" clId="{6ECD27E6-B224-41CD-B4E0-E297462320DD}" dt="2023-11-24T08:41:29.018" v="43373"/>
          <ac:spMkLst>
            <pc:docMk/>
            <pc:sldMk cId="4145871477" sldId="2147478567"/>
            <ac:spMk id="283" creationId="{E3952C69-D3E8-AA40-9E12-C61D72ACD82F}"/>
          </ac:spMkLst>
        </pc:spChg>
        <pc:spChg chg="add del mod">
          <ac:chgData name="Steiner Andreas 6206 ED" userId="e6377c33-a923-4f14-8587-531c474c7b48" providerId="ADAL" clId="{6ECD27E6-B224-41CD-B4E0-E297462320DD}" dt="2023-11-24T08:41:31.295" v="43528"/>
          <ac:spMkLst>
            <pc:docMk/>
            <pc:sldMk cId="4145871477" sldId="2147478567"/>
            <ac:spMk id="284" creationId="{D92E272E-62DD-C0D5-EE4D-6525DC3F4B7C}"/>
          </ac:spMkLst>
        </pc:spChg>
        <pc:spChg chg="add del mod">
          <ac:chgData name="Steiner Andreas 6206 ED" userId="e6377c33-a923-4f14-8587-531c474c7b48" providerId="ADAL" clId="{6ECD27E6-B224-41CD-B4E0-E297462320DD}" dt="2023-11-24T08:41:35.682" v="43683"/>
          <ac:spMkLst>
            <pc:docMk/>
            <pc:sldMk cId="4145871477" sldId="2147478567"/>
            <ac:spMk id="285" creationId="{1F5CCC93-DDAB-4015-384C-ECE96C8274E5}"/>
          </ac:spMkLst>
        </pc:spChg>
        <pc:spChg chg="add del mod">
          <ac:chgData name="Steiner Andreas 6206 ED" userId="e6377c33-a923-4f14-8587-531c474c7b48" providerId="ADAL" clId="{6ECD27E6-B224-41CD-B4E0-E297462320DD}" dt="2023-11-24T08:41:38.658" v="43838"/>
          <ac:spMkLst>
            <pc:docMk/>
            <pc:sldMk cId="4145871477" sldId="2147478567"/>
            <ac:spMk id="286" creationId="{F9BB6986-64CF-B347-5E65-1D4F81021B8D}"/>
          </ac:spMkLst>
        </pc:spChg>
        <pc:spChg chg="add del mod">
          <ac:chgData name="Steiner Andreas 6206 ED" userId="e6377c33-a923-4f14-8587-531c474c7b48" providerId="ADAL" clId="{6ECD27E6-B224-41CD-B4E0-E297462320DD}" dt="2023-11-24T08:41:40.875" v="43993"/>
          <ac:spMkLst>
            <pc:docMk/>
            <pc:sldMk cId="4145871477" sldId="2147478567"/>
            <ac:spMk id="287" creationId="{06F156CA-AF14-FB73-B290-5CDD5D5732DA}"/>
          </ac:spMkLst>
        </pc:spChg>
        <pc:spChg chg="add del mod">
          <ac:chgData name="Steiner Andreas 6206 ED" userId="e6377c33-a923-4f14-8587-531c474c7b48" providerId="ADAL" clId="{6ECD27E6-B224-41CD-B4E0-E297462320DD}" dt="2023-11-24T08:41:43.265" v="44148"/>
          <ac:spMkLst>
            <pc:docMk/>
            <pc:sldMk cId="4145871477" sldId="2147478567"/>
            <ac:spMk id="288" creationId="{A45BE775-0BFE-5E98-AC59-0C8A214FBAC8}"/>
          </ac:spMkLst>
        </pc:spChg>
        <pc:spChg chg="add del mod">
          <ac:chgData name="Steiner Andreas 6206 ED" userId="e6377c33-a923-4f14-8587-531c474c7b48" providerId="ADAL" clId="{6ECD27E6-B224-41CD-B4E0-E297462320DD}" dt="2023-11-24T08:41:45.177" v="44303"/>
          <ac:spMkLst>
            <pc:docMk/>
            <pc:sldMk cId="4145871477" sldId="2147478567"/>
            <ac:spMk id="289" creationId="{D68AD8D7-A0C9-32F1-7E71-36F4E58F6387}"/>
          </ac:spMkLst>
        </pc:spChg>
        <pc:spChg chg="add del mod">
          <ac:chgData name="Steiner Andreas 6206 ED" userId="e6377c33-a923-4f14-8587-531c474c7b48" providerId="ADAL" clId="{6ECD27E6-B224-41CD-B4E0-E297462320DD}" dt="2023-11-24T08:41:47.101" v="44458"/>
          <ac:spMkLst>
            <pc:docMk/>
            <pc:sldMk cId="4145871477" sldId="2147478567"/>
            <ac:spMk id="290" creationId="{466187B9-89C9-6293-CE70-8BAA6AAD13F4}"/>
          </ac:spMkLst>
        </pc:spChg>
        <pc:spChg chg="add del mod">
          <ac:chgData name="Steiner Andreas 6206 ED" userId="e6377c33-a923-4f14-8587-531c474c7b48" providerId="ADAL" clId="{6ECD27E6-B224-41CD-B4E0-E297462320DD}" dt="2023-11-24T08:41:49.129" v="44613"/>
          <ac:spMkLst>
            <pc:docMk/>
            <pc:sldMk cId="4145871477" sldId="2147478567"/>
            <ac:spMk id="291" creationId="{196B4507-6F1D-CB98-0855-4A738B891539}"/>
          </ac:spMkLst>
        </pc:spChg>
        <pc:spChg chg="add del mod">
          <ac:chgData name="Steiner Andreas 6206 ED" userId="e6377c33-a923-4f14-8587-531c474c7b48" providerId="ADAL" clId="{6ECD27E6-B224-41CD-B4E0-E297462320DD}" dt="2023-11-24T08:41:50.989" v="44768"/>
          <ac:spMkLst>
            <pc:docMk/>
            <pc:sldMk cId="4145871477" sldId="2147478567"/>
            <ac:spMk id="292" creationId="{8D390FDB-C4BE-1725-689A-CA903F592EE5}"/>
          </ac:spMkLst>
        </pc:spChg>
        <pc:spChg chg="add del mod">
          <ac:chgData name="Steiner Andreas 6206 ED" userId="e6377c33-a923-4f14-8587-531c474c7b48" providerId="ADAL" clId="{6ECD27E6-B224-41CD-B4E0-E297462320DD}" dt="2023-11-24T08:41:53.332" v="44923"/>
          <ac:spMkLst>
            <pc:docMk/>
            <pc:sldMk cId="4145871477" sldId="2147478567"/>
            <ac:spMk id="293" creationId="{6612F022-3DF3-8A59-816A-174FED4F66D0}"/>
          </ac:spMkLst>
        </pc:spChg>
        <pc:spChg chg="add del mod">
          <ac:chgData name="Steiner Andreas 6206 ED" userId="e6377c33-a923-4f14-8587-531c474c7b48" providerId="ADAL" clId="{6ECD27E6-B224-41CD-B4E0-E297462320DD}" dt="2023-11-24T08:41:55.259" v="45078"/>
          <ac:spMkLst>
            <pc:docMk/>
            <pc:sldMk cId="4145871477" sldId="2147478567"/>
            <ac:spMk id="294" creationId="{968A949E-0E16-A1A4-5DC2-493F631A8EA7}"/>
          </ac:spMkLst>
        </pc:spChg>
        <pc:spChg chg="add del mod">
          <ac:chgData name="Steiner Andreas 6206 ED" userId="e6377c33-a923-4f14-8587-531c474c7b48" providerId="ADAL" clId="{6ECD27E6-B224-41CD-B4E0-E297462320DD}" dt="2023-11-24T08:41:57.528" v="45233"/>
          <ac:spMkLst>
            <pc:docMk/>
            <pc:sldMk cId="4145871477" sldId="2147478567"/>
            <ac:spMk id="295" creationId="{DD83EA40-A39F-7252-B023-4E8839A07BDD}"/>
          </ac:spMkLst>
        </pc:spChg>
        <pc:spChg chg="add del mod">
          <ac:chgData name="Steiner Andreas 6206 ED" userId="e6377c33-a923-4f14-8587-531c474c7b48" providerId="ADAL" clId="{6ECD27E6-B224-41CD-B4E0-E297462320DD}" dt="2023-11-24T08:41:59.741" v="45388"/>
          <ac:spMkLst>
            <pc:docMk/>
            <pc:sldMk cId="4145871477" sldId="2147478567"/>
            <ac:spMk id="296" creationId="{36A439C7-791F-3EB5-8377-3209194C69E3}"/>
          </ac:spMkLst>
        </pc:spChg>
        <pc:spChg chg="add del mod">
          <ac:chgData name="Steiner Andreas 6206 ED" userId="e6377c33-a923-4f14-8587-531c474c7b48" providerId="ADAL" clId="{6ECD27E6-B224-41CD-B4E0-E297462320DD}" dt="2023-11-24T08:42:01.915" v="45543"/>
          <ac:spMkLst>
            <pc:docMk/>
            <pc:sldMk cId="4145871477" sldId="2147478567"/>
            <ac:spMk id="297" creationId="{35DAE116-A6A0-9E94-434B-4780DB2AF7FD}"/>
          </ac:spMkLst>
        </pc:spChg>
        <pc:spChg chg="add del mod">
          <ac:chgData name="Steiner Andreas 6206 ED" userId="e6377c33-a923-4f14-8587-531c474c7b48" providerId="ADAL" clId="{6ECD27E6-B224-41CD-B4E0-E297462320DD}" dt="2023-11-24T08:42:03.932" v="45698"/>
          <ac:spMkLst>
            <pc:docMk/>
            <pc:sldMk cId="4145871477" sldId="2147478567"/>
            <ac:spMk id="298" creationId="{FC7BAD21-4CD4-673B-BD16-D48DEF830E2A}"/>
          </ac:spMkLst>
        </pc:spChg>
        <pc:spChg chg="add del mod">
          <ac:chgData name="Steiner Andreas 6206 ED" userId="e6377c33-a923-4f14-8587-531c474c7b48" providerId="ADAL" clId="{6ECD27E6-B224-41CD-B4E0-E297462320DD}" dt="2023-11-24T08:42:05.884" v="45853"/>
          <ac:spMkLst>
            <pc:docMk/>
            <pc:sldMk cId="4145871477" sldId="2147478567"/>
            <ac:spMk id="299" creationId="{A2F989AD-BCA5-3896-3013-C4EB936FA23B}"/>
          </ac:spMkLst>
        </pc:spChg>
        <pc:spChg chg="add del mod">
          <ac:chgData name="Steiner Andreas 6206 ED" userId="e6377c33-a923-4f14-8587-531c474c7b48" providerId="ADAL" clId="{6ECD27E6-B224-41CD-B4E0-E297462320DD}" dt="2023-11-24T08:42:07.776" v="46008"/>
          <ac:spMkLst>
            <pc:docMk/>
            <pc:sldMk cId="4145871477" sldId="2147478567"/>
            <ac:spMk id="300" creationId="{A28F6CBF-0D00-B74B-DEB7-AC4E4E537584}"/>
          </ac:spMkLst>
        </pc:spChg>
        <pc:spChg chg="add del mod">
          <ac:chgData name="Steiner Andreas 6206 ED" userId="e6377c33-a923-4f14-8587-531c474c7b48" providerId="ADAL" clId="{6ECD27E6-B224-41CD-B4E0-E297462320DD}" dt="2023-11-24T08:42:09.667" v="46163"/>
          <ac:spMkLst>
            <pc:docMk/>
            <pc:sldMk cId="4145871477" sldId="2147478567"/>
            <ac:spMk id="301" creationId="{008A6BDC-6D6D-3B5A-B622-9C1CAC95410A}"/>
          </ac:spMkLst>
        </pc:spChg>
        <pc:spChg chg="add del mod">
          <ac:chgData name="Steiner Andreas 6206 ED" userId="e6377c33-a923-4f14-8587-531c474c7b48" providerId="ADAL" clId="{6ECD27E6-B224-41CD-B4E0-E297462320DD}" dt="2023-11-24T08:42:12.045" v="46318"/>
          <ac:spMkLst>
            <pc:docMk/>
            <pc:sldMk cId="4145871477" sldId="2147478567"/>
            <ac:spMk id="302" creationId="{53E9DCDD-F899-9303-FACD-F65CE0E6641E}"/>
          </ac:spMkLst>
        </pc:spChg>
        <pc:spChg chg="add del mod">
          <ac:chgData name="Steiner Andreas 6206 ED" userId="e6377c33-a923-4f14-8587-531c474c7b48" providerId="ADAL" clId="{6ECD27E6-B224-41CD-B4E0-E297462320DD}" dt="2023-11-24T08:42:14.580" v="46473"/>
          <ac:spMkLst>
            <pc:docMk/>
            <pc:sldMk cId="4145871477" sldId="2147478567"/>
            <ac:spMk id="303" creationId="{4B5B31D5-6DF2-09DF-9BCB-3942DC755AAC}"/>
          </ac:spMkLst>
        </pc:spChg>
        <pc:spChg chg="add del mod">
          <ac:chgData name="Steiner Andreas 6206 ED" userId="e6377c33-a923-4f14-8587-531c474c7b48" providerId="ADAL" clId="{6ECD27E6-B224-41CD-B4E0-E297462320DD}" dt="2023-11-24T08:42:16.947" v="46628"/>
          <ac:spMkLst>
            <pc:docMk/>
            <pc:sldMk cId="4145871477" sldId="2147478567"/>
            <ac:spMk id="304" creationId="{61FE0633-59C6-6CCE-97D5-70F0E330621F}"/>
          </ac:spMkLst>
        </pc:spChg>
        <pc:spChg chg="add del mod">
          <ac:chgData name="Steiner Andreas 6206 ED" userId="e6377c33-a923-4f14-8587-531c474c7b48" providerId="ADAL" clId="{6ECD27E6-B224-41CD-B4E0-E297462320DD}" dt="2023-11-24T08:42:19.083" v="46783"/>
          <ac:spMkLst>
            <pc:docMk/>
            <pc:sldMk cId="4145871477" sldId="2147478567"/>
            <ac:spMk id="305" creationId="{AA353F74-9EC4-34F7-F7B8-F1ED4156C840}"/>
          </ac:spMkLst>
        </pc:spChg>
        <pc:spChg chg="add del mod">
          <ac:chgData name="Steiner Andreas 6206 ED" userId="e6377c33-a923-4f14-8587-531c474c7b48" providerId="ADAL" clId="{6ECD27E6-B224-41CD-B4E0-E297462320DD}" dt="2023-11-24T08:42:21.420" v="46938"/>
          <ac:spMkLst>
            <pc:docMk/>
            <pc:sldMk cId="4145871477" sldId="2147478567"/>
            <ac:spMk id="306" creationId="{F6B52D7A-D0AB-80D7-F162-0A3AB484D0CB}"/>
          </ac:spMkLst>
        </pc:spChg>
        <pc:spChg chg="add del mod">
          <ac:chgData name="Steiner Andreas 6206 ED" userId="e6377c33-a923-4f14-8587-531c474c7b48" providerId="ADAL" clId="{6ECD27E6-B224-41CD-B4E0-E297462320DD}" dt="2023-11-24T08:42:24.039" v="47093"/>
          <ac:spMkLst>
            <pc:docMk/>
            <pc:sldMk cId="4145871477" sldId="2147478567"/>
            <ac:spMk id="307" creationId="{AD80F0E2-316F-2F58-0A41-8F8B08188FD5}"/>
          </ac:spMkLst>
        </pc:spChg>
        <pc:spChg chg="add del mod">
          <ac:chgData name="Steiner Andreas 6206 ED" userId="e6377c33-a923-4f14-8587-531c474c7b48" providerId="ADAL" clId="{6ECD27E6-B224-41CD-B4E0-E297462320DD}" dt="2023-11-24T08:42:26.006" v="47248"/>
          <ac:spMkLst>
            <pc:docMk/>
            <pc:sldMk cId="4145871477" sldId="2147478567"/>
            <ac:spMk id="308" creationId="{03C99BEA-5A2F-F88B-5AA1-6178DB09F694}"/>
          </ac:spMkLst>
        </pc:spChg>
        <pc:spChg chg="add del mod">
          <ac:chgData name="Steiner Andreas 6206 ED" userId="e6377c33-a923-4f14-8587-531c474c7b48" providerId="ADAL" clId="{6ECD27E6-B224-41CD-B4E0-E297462320DD}" dt="2023-11-24T08:42:27.908" v="47403"/>
          <ac:spMkLst>
            <pc:docMk/>
            <pc:sldMk cId="4145871477" sldId="2147478567"/>
            <ac:spMk id="309" creationId="{455603CC-3B8F-9E80-C83E-00C7E0E82132}"/>
          </ac:spMkLst>
        </pc:spChg>
        <pc:spChg chg="add del mod">
          <ac:chgData name="Steiner Andreas 6206 ED" userId="e6377c33-a923-4f14-8587-531c474c7b48" providerId="ADAL" clId="{6ECD27E6-B224-41CD-B4E0-E297462320DD}" dt="2023-11-24T08:42:29.675" v="47558"/>
          <ac:spMkLst>
            <pc:docMk/>
            <pc:sldMk cId="4145871477" sldId="2147478567"/>
            <ac:spMk id="310" creationId="{10B60C24-67F4-1839-2B57-BCC0CABFCC3C}"/>
          </ac:spMkLst>
        </pc:spChg>
        <pc:spChg chg="add del mod">
          <ac:chgData name="Steiner Andreas 6206 ED" userId="e6377c33-a923-4f14-8587-531c474c7b48" providerId="ADAL" clId="{6ECD27E6-B224-41CD-B4E0-E297462320DD}" dt="2023-11-24T08:42:31.574" v="47713"/>
          <ac:spMkLst>
            <pc:docMk/>
            <pc:sldMk cId="4145871477" sldId="2147478567"/>
            <ac:spMk id="311" creationId="{2AB60C05-872F-4ED0-CA25-67F788C6DBF4}"/>
          </ac:spMkLst>
        </pc:spChg>
        <pc:spChg chg="add del mod">
          <ac:chgData name="Steiner Andreas 6206 ED" userId="e6377c33-a923-4f14-8587-531c474c7b48" providerId="ADAL" clId="{6ECD27E6-B224-41CD-B4E0-E297462320DD}" dt="2023-11-24T08:42:33.560" v="47868"/>
          <ac:spMkLst>
            <pc:docMk/>
            <pc:sldMk cId="4145871477" sldId="2147478567"/>
            <ac:spMk id="312" creationId="{4674B7FB-DDD3-E89D-2495-F55256B8B395}"/>
          </ac:spMkLst>
        </pc:spChg>
        <pc:spChg chg="add del mod">
          <ac:chgData name="Steiner Andreas 6206 ED" userId="e6377c33-a923-4f14-8587-531c474c7b48" providerId="ADAL" clId="{6ECD27E6-B224-41CD-B4E0-E297462320DD}" dt="2023-11-24T08:42:35.622" v="48023"/>
          <ac:spMkLst>
            <pc:docMk/>
            <pc:sldMk cId="4145871477" sldId="2147478567"/>
            <ac:spMk id="313" creationId="{AD292049-1FEA-0016-3081-69C3E70D567F}"/>
          </ac:spMkLst>
        </pc:spChg>
        <pc:spChg chg="add del mod">
          <ac:chgData name="Steiner Andreas 6206 ED" userId="e6377c33-a923-4f14-8587-531c474c7b48" providerId="ADAL" clId="{6ECD27E6-B224-41CD-B4E0-E297462320DD}" dt="2023-11-24T08:42:37.499" v="48178"/>
          <ac:spMkLst>
            <pc:docMk/>
            <pc:sldMk cId="4145871477" sldId="2147478567"/>
            <ac:spMk id="314" creationId="{FC2F5028-8078-1847-DF3D-5FA37DF7376E}"/>
          </ac:spMkLst>
        </pc:spChg>
        <pc:spChg chg="add del mod">
          <ac:chgData name="Steiner Andreas 6206 ED" userId="e6377c33-a923-4f14-8587-531c474c7b48" providerId="ADAL" clId="{6ECD27E6-B224-41CD-B4E0-E297462320DD}" dt="2023-11-24T08:42:39.359" v="48333"/>
          <ac:spMkLst>
            <pc:docMk/>
            <pc:sldMk cId="4145871477" sldId="2147478567"/>
            <ac:spMk id="315" creationId="{1C79B97E-130F-2E0F-817F-B2D0F2EBDB16}"/>
          </ac:spMkLst>
        </pc:spChg>
        <pc:spChg chg="add del mod">
          <ac:chgData name="Steiner Andreas 6206 ED" userId="e6377c33-a923-4f14-8587-531c474c7b48" providerId="ADAL" clId="{6ECD27E6-B224-41CD-B4E0-E297462320DD}" dt="2023-11-24T08:42:41.493" v="48488"/>
          <ac:spMkLst>
            <pc:docMk/>
            <pc:sldMk cId="4145871477" sldId="2147478567"/>
            <ac:spMk id="316" creationId="{098B6ADD-0BF1-6AAB-F3BC-7FF0E1A30235}"/>
          </ac:spMkLst>
        </pc:spChg>
        <pc:spChg chg="add del mod">
          <ac:chgData name="Steiner Andreas 6206 ED" userId="e6377c33-a923-4f14-8587-531c474c7b48" providerId="ADAL" clId="{6ECD27E6-B224-41CD-B4E0-E297462320DD}" dt="2023-11-24T08:42:43.598" v="48643"/>
          <ac:spMkLst>
            <pc:docMk/>
            <pc:sldMk cId="4145871477" sldId="2147478567"/>
            <ac:spMk id="317" creationId="{C62232D3-A0E2-5997-FB76-9F6DF346BF65}"/>
          </ac:spMkLst>
        </pc:spChg>
        <pc:spChg chg="add del mod">
          <ac:chgData name="Steiner Andreas 6206 ED" userId="e6377c33-a923-4f14-8587-531c474c7b48" providerId="ADAL" clId="{6ECD27E6-B224-41CD-B4E0-E297462320DD}" dt="2023-11-24T08:42:45.637" v="48798"/>
          <ac:spMkLst>
            <pc:docMk/>
            <pc:sldMk cId="4145871477" sldId="2147478567"/>
            <ac:spMk id="318" creationId="{D226E84B-1746-AE2D-7E17-EBFD3A47178F}"/>
          </ac:spMkLst>
        </pc:spChg>
        <pc:spChg chg="add del mod">
          <ac:chgData name="Steiner Andreas 6206 ED" userId="e6377c33-a923-4f14-8587-531c474c7b48" providerId="ADAL" clId="{6ECD27E6-B224-41CD-B4E0-E297462320DD}" dt="2023-11-24T08:42:47.513" v="48953"/>
          <ac:spMkLst>
            <pc:docMk/>
            <pc:sldMk cId="4145871477" sldId="2147478567"/>
            <ac:spMk id="319" creationId="{0805FD29-CDD1-A2A6-5B91-20606810B954}"/>
          </ac:spMkLst>
        </pc:spChg>
        <pc:spChg chg="add del mod">
          <ac:chgData name="Steiner Andreas 6206 ED" userId="e6377c33-a923-4f14-8587-531c474c7b48" providerId="ADAL" clId="{6ECD27E6-B224-41CD-B4E0-E297462320DD}" dt="2023-11-24T08:42:49.305" v="49108"/>
          <ac:spMkLst>
            <pc:docMk/>
            <pc:sldMk cId="4145871477" sldId="2147478567"/>
            <ac:spMk id="320" creationId="{67D9B550-D0B5-05A2-7514-9C7A5705F43D}"/>
          </ac:spMkLst>
        </pc:spChg>
        <pc:spChg chg="add del mod">
          <ac:chgData name="Steiner Andreas 6206 ED" userId="e6377c33-a923-4f14-8587-531c474c7b48" providerId="ADAL" clId="{6ECD27E6-B224-41CD-B4E0-E297462320DD}" dt="2023-11-24T08:42:51.183" v="49263"/>
          <ac:spMkLst>
            <pc:docMk/>
            <pc:sldMk cId="4145871477" sldId="2147478567"/>
            <ac:spMk id="321" creationId="{A3BC5BA4-6C9F-3FB5-5D2D-1927020C1476}"/>
          </ac:spMkLst>
        </pc:spChg>
        <pc:spChg chg="add del mod">
          <ac:chgData name="Steiner Andreas 6206 ED" userId="e6377c33-a923-4f14-8587-531c474c7b48" providerId="ADAL" clId="{6ECD27E6-B224-41CD-B4E0-E297462320DD}" dt="2023-11-24T08:42:53.300" v="49418"/>
          <ac:spMkLst>
            <pc:docMk/>
            <pc:sldMk cId="4145871477" sldId="2147478567"/>
            <ac:spMk id="322" creationId="{743E7427-190E-A892-D7D9-BF6DDCC404EE}"/>
          </ac:spMkLst>
        </pc:spChg>
        <pc:spChg chg="add del mod">
          <ac:chgData name="Steiner Andreas 6206 ED" userId="e6377c33-a923-4f14-8587-531c474c7b48" providerId="ADAL" clId="{6ECD27E6-B224-41CD-B4E0-E297462320DD}" dt="2023-11-24T08:42:55.900" v="49573"/>
          <ac:spMkLst>
            <pc:docMk/>
            <pc:sldMk cId="4145871477" sldId="2147478567"/>
            <ac:spMk id="323" creationId="{E137DDAC-809C-1313-0EC3-1535AF44C3CE}"/>
          </ac:spMkLst>
        </pc:spChg>
        <pc:spChg chg="add del mod">
          <ac:chgData name="Steiner Andreas 6206 ED" userId="e6377c33-a923-4f14-8587-531c474c7b48" providerId="ADAL" clId="{6ECD27E6-B224-41CD-B4E0-E297462320DD}" dt="2023-11-24T08:42:57.991" v="49728"/>
          <ac:spMkLst>
            <pc:docMk/>
            <pc:sldMk cId="4145871477" sldId="2147478567"/>
            <ac:spMk id="324" creationId="{3843485E-F34B-7773-FA27-8957349098A5}"/>
          </ac:spMkLst>
        </pc:spChg>
        <pc:spChg chg="add del mod">
          <ac:chgData name="Steiner Andreas 6206 ED" userId="e6377c33-a923-4f14-8587-531c474c7b48" providerId="ADAL" clId="{6ECD27E6-B224-41CD-B4E0-E297462320DD}" dt="2023-11-24T08:42:59.908" v="49883"/>
          <ac:spMkLst>
            <pc:docMk/>
            <pc:sldMk cId="4145871477" sldId="2147478567"/>
            <ac:spMk id="325" creationId="{5E21DA2C-6EC3-3326-7B47-02CE8E2B8D9B}"/>
          </ac:spMkLst>
        </pc:spChg>
        <pc:spChg chg="add del mod">
          <ac:chgData name="Steiner Andreas 6206 ED" userId="e6377c33-a923-4f14-8587-531c474c7b48" providerId="ADAL" clId="{6ECD27E6-B224-41CD-B4E0-E297462320DD}" dt="2023-11-24T08:43:01.908" v="50038"/>
          <ac:spMkLst>
            <pc:docMk/>
            <pc:sldMk cId="4145871477" sldId="2147478567"/>
            <ac:spMk id="326" creationId="{45FA1450-4CF2-1A29-2454-42370041D20A}"/>
          </ac:spMkLst>
        </pc:spChg>
        <pc:spChg chg="add del mod">
          <ac:chgData name="Steiner Andreas 6206 ED" userId="e6377c33-a923-4f14-8587-531c474c7b48" providerId="ADAL" clId="{6ECD27E6-B224-41CD-B4E0-E297462320DD}" dt="2023-11-24T08:43:03.893" v="50193"/>
          <ac:spMkLst>
            <pc:docMk/>
            <pc:sldMk cId="4145871477" sldId="2147478567"/>
            <ac:spMk id="327" creationId="{372F6BC5-E6E1-B39F-6666-A9B35A1E8E73}"/>
          </ac:spMkLst>
        </pc:spChg>
        <pc:spChg chg="add del mod">
          <ac:chgData name="Steiner Andreas 6206 ED" userId="e6377c33-a923-4f14-8587-531c474c7b48" providerId="ADAL" clId="{6ECD27E6-B224-41CD-B4E0-E297462320DD}" dt="2023-11-24T08:43:05.782" v="50348"/>
          <ac:spMkLst>
            <pc:docMk/>
            <pc:sldMk cId="4145871477" sldId="2147478567"/>
            <ac:spMk id="328" creationId="{6BBE8F02-6542-1C89-1FFC-DDE80E20C24C}"/>
          </ac:spMkLst>
        </pc:spChg>
        <pc:spChg chg="add del mod">
          <ac:chgData name="Steiner Andreas 6206 ED" userId="e6377c33-a923-4f14-8587-531c474c7b48" providerId="ADAL" clId="{6ECD27E6-B224-41CD-B4E0-E297462320DD}" dt="2023-11-24T08:43:08.010" v="50503"/>
          <ac:spMkLst>
            <pc:docMk/>
            <pc:sldMk cId="4145871477" sldId="2147478567"/>
            <ac:spMk id="329" creationId="{454A1574-E660-F93D-74D4-40BD876ADC0A}"/>
          </ac:spMkLst>
        </pc:spChg>
        <pc:spChg chg="add del mod">
          <ac:chgData name="Steiner Andreas 6206 ED" userId="e6377c33-a923-4f14-8587-531c474c7b48" providerId="ADAL" clId="{6ECD27E6-B224-41CD-B4E0-E297462320DD}" dt="2023-11-24T08:43:10.040" v="50658"/>
          <ac:spMkLst>
            <pc:docMk/>
            <pc:sldMk cId="4145871477" sldId="2147478567"/>
            <ac:spMk id="330" creationId="{B913E75C-2B85-6388-310B-18C8A8979F3E}"/>
          </ac:spMkLst>
        </pc:spChg>
        <pc:spChg chg="add del mod">
          <ac:chgData name="Steiner Andreas 6206 ED" userId="e6377c33-a923-4f14-8587-531c474c7b48" providerId="ADAL" clId="{6ECD27E6-B224-41CD-B4E0-E297462320DD}" dt="2023-11-24T08:43:11.882" v="50813"/>
          <ac:spMkLst>
            <pc:docMk/>
            <pc:sldMk cId="4145871477" sldId="2147478567"/>
            <ac:spMk id="331" creationId="{C0A9C62B-1157-EFD3-AC0A-371AD3920A2B}"/>
          </ac:spMkLst>
        </pc:spChg>
        <pc:spChg chg="add del mod">
          <ac:chgData name="Steiner Andreas 6206 ED" userId="e6377c33-a923-4f14-8587-531c474c7b48" providerId="ADAL" clId="{6ECD27E6-B224-41CD-B4E0-E297462320DD}" dt="2023-11-24T08:43:13.944" v="50968"/>
          <ac:spMkLst>
            <pc:docMk/>
            <pc:sldMk cId="4145871477" sldId="2147478567"/>
            <ac:spMk id="332" creationId="{F75D80D5-1404-EC6E-98C9-9F6540704B4A}"/>
          </ac:spMkLst>
        </pc:spChg>
        <pc:spChg chg="add del mod">
          <ac:chgData name="Steiner Andreas 6206 ED" userId="e6377c33-a923-4f14-8587-531c474c7b48" providerId="ADAL" clId="{6ECD27E6-B224-41CD-B4E0-E297462320DD}" dt="2023-11-24T08:43:15.925" v="51123"/>
          <ac:spMkLst>
            <pc:docMk/>
            <pc:sldMk cId="4145871477" sldId="2147478567"/>
            <ac:spMk id="333" creationId="{CF925830-8F5E-2A41-A84E-E2A481267F08}"/>
          </ac:spMkLst>
        </pc:spChg>
        <pc:spChg chg="add del mod">
          <ac:chgData name="Steiner Andreas 6206 ED" userId="e6377c33-a923-4f14-8587-531c474c7b48" providerId="ADAL" clId="{6ECD27E6-B224-41CD-B4E0-E297462320DD}" dt="2023-11-24T08:43:17.994" v="51278"/>
          <ac:spMkLst>
            <pc:docMk/>
            <pc:sldMk cId="4145871477" sldId="2147478567"/>
            <ac:spMk id="334" creationId="{24CEDB8B-323A-6B61-01D3-DC7FC7A67CDC}"/>
          </ac:spMkLst>
        </pc:spChg>
        <pc:spChg chg="add del mod">
          <ac:chgData name="Steiner Andreas 6206 ED" userId="e6377c33-a923-4f14-8587-531c474c7b48" providerId="ADAL" clId="{6ECD27E6-B224-41CD-B4E0-E297462320DD}" dt="2023-11-24T08:43:19.980" v="51433"/>
          <ac:spMkLst>
            <pc:docMk/>
            <pc:sldMk cId="4145871477" sldId="2147478567"/>
            <ac:spMk id="335" creationId="{3F79691F-F76A-4F90-2779-D456F0A405F5}"/>
          </ac:spMkLst>
        </pc:spChg>
        <pc:spChg chg="add del mod">
          <ac:chgData name="Steiner Andreas 6206 ED" userId="e6377c33-a923-4f14-8587-531c474c7b48" providerId="ADAL" clId="{6ECD27E6-B224-41CD-B4E0-E297462320DD}" dt="2023-11-24T08:43:21.877" v="51588"/>
          <ac:spMkLst>
            <pc:docMk/>
            <pc:sldMk cId="4145871477" sldId="2147478567"/>
            <ac:spMk id="336" creationId="{C82C5DCC-C74C-9E27-7455-781803192C95}"/>
          </ac:spMkLst>
        </pc:spChg>
        <pc:spChg chg="add del mod">
          <ac:chgData name="Steiner Andreas 6206 ED" userId="e6377c33-a923-4f14-8587-531c474c7b48" providerId="ADAL" clId="{6ECD27E6-B224-41CD-B4E0-E297462320DD}" dt="2023-11-24T08:43:23.829" v="51743"/>
          <ac:spMkLst>
            <pc:docMk/>
            <pc:sldMk cId="4145871477" sldId="2147478567"/>
            <ac:spMk id="337" creationId="{2AF26CE8-55D0-03A4-9614-E097EF68449D}"/>
          </ac:spMkLst>
        </pc:spChg>
        <pc:spChg chg="add del mod">
          <ac:chgData name="Steiner Andreas 6206 ED" userId="e6377c33-a923-4f14-8587-531c474c7b48" providerId="ADAL" clId="{6ECD27E6-B224-41CD-B4E0-E297462320DD}" dt="2023-11-24T08:43:25.713" v="51898"/>
          <ac:spMkLst>
            <pc:docMk/>
            <pc:sldMk cId="4145871477" sldId="2147478567"/>
            <ac:spMk id="338" creationId="{11B162B2-1CB2-6226-6633-D1998945F954}"/>
          </ac:spMkLst>
        </pc:spChg>
        <pc:spChg chg="add del mod">
          <ac:chgData name="Steiner Andreas 6206 ED" userId="e6377c33-a923-4f14-8587-531c474c7b48" providerId="ADAL" clId="{6ECD27E6-B224-41CD-B4E0-E297462320DD}" dt="2023-11-24T08:43:27.545" v="52053"/>
          <ac:spMkLst>
            <pc:docMk/>
            <pc:sldMk cId="4145871477" sldId="2147478567"/>
            <ac:spMk id="339" creationId="{1D41A148-3B18-C1BA-C092-7E981960FA53}"/>
          </ac:spMkLst>
        </pc:spChg>
        <pc:spChg chg="add del mod">
          <ac:chgData name="Steiner Andreas 6206 ED" userId="e6377c33-a923-4f14-8587-531c474c7b48" providerId="ADAL" clId="{6ECD27E6-B224-41CD-B4E0-E297462320DD}" dt="2023-11-24T08:43:29.339" v="52208"/>
          <ac:spMkLst>
            <pc:docMk/>
            <pc:sldMk cId="4145871477" sldId="2147478567"/>
            <ac:spMk id="340" creationId="{EFEB3930-BEC6-FF5E-C38B-1AAFDABFC872}"/>
          </ac:spMkLst>
        </pc:spChg>
        <pc:spChg chg="add del mod">
          <ac:chgData name="Steiner Andreas 6206 ED" userId="e6377c33-a923-4f14-8587-531c474c7b48" providerId="ADAL" clId="{6ECD27E6-B224-41CD-B4E0-E297462320DD}" dt="2023-11-24T08:43:32.060" v="52363"/>
          <ac:spMkLst>
            <pc:docMk/>
            <pc:sldMk cId="4145871477" sldId="2147478567"/>
            <ac:spMk id="341" creationId="{5AF311C0-BD8A-10B2-5227-8EEBE49E647E}"/>
          </ac:spMkLst>
        </pc:spChg>
        <pc:spChg chg="add del mod">
          <ac:chgData name="Steiner Andreas 6206 ED" userId="e6377c33-a923-4f14-8587-531c474c7b48" providerId="ADAL" clId="{6ECD27E6-B224-41CD-B4E0-E297462320DD}" dt="2023-11-24T08:43:34.564" v="52518"/>
          <ac:spMkLst>
            <pc:docMk/>
            <pc:sldMk cId="4145871477" sldId="2147478567"/>
            <ac:spMk id="342" creationId="{99911148-92D1-3757-945B-47359FE9191F}"/>
          </ac:spMkLst>
        </pc:spChg>
        <pc:spChg chg="add del mod">
          <ac:chgData name="Steiner Andreas 6206 ED" userId="e6377c33-a923-4f14-8587-531c474c7b48" providerId="ADAL" clId="{6ECD27E6-B224-41CD-B4E0-E297462320DD}" dt="2023-11-24T08:43:36.648" v="52673"/>
          <ac:spMkLst>
            <pc:docMk/>
            <pc:sldMk cId="4145871477" sldId="2147478567"/>
            <ac:spMk id="343" creationId="{AC4E2FCD-09A5-97A9-622E-42DE853203E4}"/>
          </ac:spMkLst>
        </pc:spChg>
        <pc:spChg chg="add del mod">
          <ac:chgData name="Steiner Andreas 6206 ED" userId="e6377c33-a923-4f14-8587-531c474c7b48" providerId="ADAL" clId="{6ECD27E6-B224-41CD-B4E0-E297462320DD}" dt="2023-11-24T08:43:38.767" v="52828"/>
          <ac:spMkLst>
            <pc:docMk/>
            <pc:sldMk cId="4145871477" sldId="2147478567"/>
            <ac:spMk id="344" creationId="{54BC5A1E-B4B9-827C-EFDE-14A7FFF1FBD9}"/>
          </ac:spMkLst>
        </pc:spChg>
        <pc:spChg chg="add del mod">
          <ac:chgData name="Steiner Andreas 6206 ED" userId="e6377c33-a923-4f14-8587-531c474c7b48" providerId="ADAL" clId="{6ECD27E6-B224-41CD-B4E0-E297462320DD}" dt="2023-11-24T08:43:40.868" v="52983"/>
          <ac:spMkLst>
            <pc:docMk/>
            <pc:sldMk cId="4145871477" sldId="2147478567"/>
            <ac:spMk id="345" creationId="{9A4613F1-B413-40EE-0611-80DFAD30589C}"/>
          </ac:spMkLst>
        </pc:spChg>
        <pc:spChg chg="add del mod">
          <ac:chgData name="Steiner Andreas 6206 ED" userId="e6377c33-a923-4f14-8587-531c474c7b48" providerId="ADAL" clId="{6ECD27E6-B224-41CD-B4E0-E297462320DD}" dt="2023-11-24T08:43:42.833" v="53138"/>
          <ac:spMkLst>
            <pc:docMk/>
            <pc:sldMk cId="4145871477" sldId="2147478567"/>
            <ac:spMk id="346" creationId="{FA263AE4-5A08-DEB0-5FEE-BCF559204133}"/>
          </ac:spMkLst>
        </pc:spChg>
        <pc:spChg chg="add del mod">
          <ac:chgData name="Steiner Andreas 6206 ED" userId="e6377c33-a923-4f14-8587-531c474c7b48" providerId="ADAL" clId="{6ECD27E6-B224-41CD-B4E0-E297462320DD}" dt="2023-11-24T08:43:44.648" v="53293"/>
          <ac:spMkLst>
            <pc:docMk/>
            <pc:sldMk cId="4145871477" sldId="2147478567"/>
            <ac:spMk id="347" creationId="{55F8FE9A-7083-6FDC-FC01-D5106DFAB2ED}"/>
          </ac:spMkLst>
        </pc:spChg>
        <pc:spChg chg="add del mod">
          <ac:chgData name="Steiner Andreas 6206 ED" userId="e6377c33-a923-4f14-8587-531c474c7b48" providerId="ADAL" clId="{6ECD27E6-B224-41CD-B4E0-E297462320DD}" dt="2023-11-24T08:43:46.439" v="53448"/>
          <ac:spMkLst>
            <pc:docMk/>
            <pc:sldMk cId="4145871477" sldId="2147478567"/>
            <ac:spMk id="348" creationId="{E52DABCB-154C-1E96-B646-D99ACF2CC27B}"/>
          </ac:spMkLst>
        </pc:spChg>
        <pc:spChg chg="add del mod">
          <ac:chgData name="Steiner Andreas 6206 ED" userId="e6377c33-a923-4f14-8587-531c474c7b48" providerId="ADAL" clId="{6ECD27E6-B224-41CD-B4E0-E297462320DD}" dt="2023-11-24T08:43:48.390" v="53603"/>
          <ac:spMkLst>
            <pc:docMk/>
            <pc:sldMk cId="4145871477" sldId="2147478567"/>
            <ac:spMk id="349" creationId="{01BA7C2F-3752-A67C-2559-93997887164D}"/>
          </ac:spMkLst>
        </pc:spChg>
        <pc:spChg chg="add del mod">
          <ac:chgData name="Steiner Andreas 6206 ED" userId="e6377c33-a923-4f14-8587-531c474c7b48" providerId="ADAL" clId="{6ECD27E6-B224-41CD-B4E0-E297462320DD}" dt="2023-11-24T08:43:50.348" v="53758"/>
          <ac:spMkLst>
            <pc:docMk/>
            <pc:sldMk cId="4145871477" sldId="2147478567"/>
            <ac:spMk id="350" creationId="{72C8162D-D4C8-17EE-A1F0-CCDB86CF3AE2}"/>
          </ac:spMkLst>
        </pc:spChg>
        <pc:spChg chg="add del mod">
          <ac:chgData name="Steiner Andreas 6206 ED" userId="e6377c33-a923-4f14-8587-531c474c7b48" providerId="ADAL" clId="{6ECD27E6-B224-41CD-B4E0-E297462320DD}" dt="2023-11-24T08:43:52.543" v="53913"/>
          <ac:spMkLst>
            <pc:docMk/>
            <pc:sldMk cId="4145871477" sldId="2147478567"/>
            <ac:spMk id="351" creationId="{AAE2DD76-CFB1-8A05-8A7B-C24D370DF6AC}"/>
          </ac:spMkLst>
        </pc:spChg>
        <pc:spChg chg="add del mod">
          <ac:chgData name="Steiner Andreas 6206 ED" userId="e6377c33-a923-4f14-8587-531c474c7b48" providerId="ADAL" clId="{6ECD27E6-B224-41CD-B4E0-E297462320DD}" dt="2023-11-24T08:43:55.172" v="54068"/>
          <ac:spMkLst>
            <pc:docMk/>
            <pc:sldMk cId="4145871477" sldId="2147478567"/>
            <ac:spMk id="352" creationId="{FC9C1F84-1E08-1EDF-42B4-A0352E649433}"/>
          </ac:spMkLst>
        </pc:spChg>
        <pc:spChg chg="add del mod">
          <ac:chgData name="Steiner Andreas 6206 ED" userId="e6377c33-a923-4f14-8587-531c474c7b48" providerId="ADAL" clId="{6ECD27E6-B224-41CD-B4E0-E297462320DD}" dt="2023-11-24T08:43:57.214" v="54223"/>
          <ac:spMkLst>
            <pc:docMk/>
            <pc:sldMk cId="4145871477" sldId="2147478567"/>
            <ac:spMk id="353" creationId="{73AA92E1-3188-9AA7-11D0-E2D9C1DDB20C}"/>
          </ac:spMkLst>
        </pc:spChg>
        <pc:spChg chg="add del mod">
          <ac:chgData name="Steiner Andreas 6206 ED" userId="e6377c33-a923-4f14-8587-531c474c7b48" providerId="ADAL" clId="{6ECD27E6-B224-41CD-B4E0-E297462320DD}" dt="2023-11-24T08:43:59.405" v="54378"/>
          <ac:spMkLst>
            <pc:docMk/>
            <pc:sldMk cId="4145871477" sldId="2147478567"/>
            <ac:spMk id="354" creationId="{638E8A6B-0AD2-3884-CB87-6486835D5097}"/>
          </ac:spMkLst>
        </pc:spChg>
        <pc:spChg chg="add del mod">
          <ac:chgData name="Steiner Andreas 6206 ED" userId="e6377c33-a923-4f14-8587-531c474c7b48" providerId="ADAL" clId="{6ECD27E6-B224-41CD-B4E0-E297462320DD}" dt="2023-11-24T08:44:01.660" v="54533"/>
          <ac:spMkLst>
            <pc:docMk/>
            <pc:sldMk cId="4145871477" sldId="2147478567"/>
            <ac:spMk id="355" creationId="{7A518181-6743-50C3-59D5-3C1E6667347F}"/>
          </ac:spMkLst>
        </pc:spChg>
        <pc:spChg chg="add del mod">
          <ac:chgData name="Steiner Andreas 6206 ED" userId="e6377c33-a923-4f14-8587-531c474c7b48" providerId="ADAL" clId="{6ECD27E6-B224-41CD-B4E0-E297462320DD}" dt="2023-11-24T08:44:03.828" v="54688"/>
          <ac:spMkLst>
            <pc:docMk/>
            <pc:sldMk cId="4145871477" sldId="2147478567"/>
            <ac:spMk id="356" creationId="{2AAEB4AD-BA6E-FF80-C6E1-2E8452CE250F}"/>
          </ac:spMkLst>
        </pc:spChg>
        <pc:spChg chg="add del mod">
          <ac:chgData name="Steiner Andreas 6206 ED" userId="e6377c33-a923-4f14-8587-531c474c7b48" providerId="ADAL" clId="{6ECD27E6-B224-41CD-B4E0-E297462320DD}" dt="2023-11-24T08:44:05.899" v="54843"/>
          <ac:spMkLst>
            <pc:docMk/>
            <pc:sldMk cId="4145871477" sldId="2147478567"/>
            <ac:spMk id="357" creationId="{95DE1805-C6BD-AD15-D2D7-2787712C04FC}"/>
          </ac:spMkLst>
        </pc:spChg>
        <pc:spChg chg="add del mod">
          <ac:chgData name="Steiner Andreas 6206 ED" userId="e6377c33-a923-4f14-8587-531c474c7b48" providerId="ADAL" clId="{6ECD27E6-B224-41CD-B4E0-E297462320DD}" dt="2023-11-24T08:44:07.866" v="54998"/>
          <ac:spMkLst>
            <pc:docMk/>
            <pc:sldMk cId="4145871477" sldId="2147478567"/>
            <ac:spMk id="358" creationId="{9BC99121-6670-ACED-BB9C-38B9690EBE0A}"/>
          </ac:spMkLst>
        </pc:spChg>
        <pc:spChg chg="add del mod">
          <ac:chgData name="Steiner Andreas 6206 ED" userId="e6377c33-a923-4f14-8587-531c474c7b48" providerId="ADAL" clId="{6ECD27E6-B224-41CD-B4E0-E297462320DD}" dt="2023-11-24T08:44:09.855" v="55153"/>
          <ac:spMkLst>
            <pc:docMk/>
            <pc:sldMk cId="4145871477" sldId="2147478567"/>
            <ac:spMk id="359" creationId="{7E9FE819-ADCF-97A8-3C64-963F210B0359}"/>
          </ac:spMkLst>
        </pc:spChg>
        <pc:spChg chg="add del mod">
          <ac:chgData name="Steiner Andreas 6206 ED" userId="e6377c33-a923-4f14-8587-531c474c7b48" providerId="ADAL" clId="{6ECD27E6-B224-41CD-B4E0-E297462320DD}" dt="2023-11-24T08:44:11.861" v="55308"/>
          <ac:spMkLst>
            <pc:docMk/>
            <pc:sldMk cId="4145871477" sldId="2147478567"/>
            <ac:spMk id="360" creationId="{DA1C8E71-F8DD-CCE3-679D-853C64FB4011}"/>
          </ac:spMkLst>
        </pc:spChg>
        <pc:spChg chg="add del mod">
          <ac:chgData name="Steiner Andreas 6206 ED" userId="e6377c33-a923-4f14-8587-531c474c7b48" providerId="ADAL" clId="{6ECD27E6-B224-41CD-B4E0-E297462320DD}" dt="2023-11-24T08:44:14.004" v="55463"/>
          <ac:spMkLst>
            <pc:docMk/>
            <pc:sldMk cId="4145871477" sldId="2147478567"/>
            <ac:spMk id="361" creationId="{A9F248C6-FAC1-931D-263A-12AD56685C85}"/>
          </ac:spMkLst>
        </pc:spChg>
        <pc:spChg chg="add del mod">
          <ac:chgData name="Steiner Andreas 6206 ED" userId="e6377c33-a923-4f14-8587-531c474c7b48" providerId="ADAL" clId="{6ECD27E6-B224-41CD-B4E0-E297462320DD}" dt="2023-11-24T08:44:16.098" v="55618"/>
          <ac:spMkLst>
            <pc:docMk/>
            <pc:sldMk cId="4145871477" sldId="2147478567"/>
            <ac:spMk id="362" creationId="{CB59B568-F787-475E-9F13-D65790FC9EDD}"/>
          </ac:spMkLst>
        </pc:spChg>
        <pc:spChg chg="add del mod">
          <ac:chgData name="Steiner Andreas 6206 ED" userId="e6377c33-a923-4f14-8587-531c474c7b48" providerId="ADAL" clId="{6ECD27E6-B224-41CD-B4E0-E297462320DD}" dt="2023-11-24T08:44:18.561" v="55773"/>
          <ac:spMkLst>
            <pc:docMk/>
            <pc:sldMk cId="4145871477" sldId="2147478567"/>
            <ac:spMk id="363" creationId="{BB9693F9-D005-CF61-C069-FB20AE1F1B50}"/>
          </ac:spMkLst>
        </pc:spChg>
        <pc:spChg chg="add del mod">
          <ac:chgData name="Steiner Andreas 6206 ED" userId="e6377c33-a923-4f14-8587-531c474c7b48" providerId="ADAL" clId="{6ECD27E6-B224-41CD-B4E0-E297462320DD}" dt="2023-11-24T08:44:21.421" v="55928"/>
          <ac:spMkLst>
            <pc:docMk/>
            <pc:sldMk cId="4145871477" sldId="2147478567"/>
            <ac:spMk id="364" creationId="{05BE3D87-A9AA-E7BE-DEE4-6BED20EFDF49}"/>
          </ac:spMkLst>
        </pc:spChg>
        <pc:spChg chg="add del mod">
          <ac:chgData name="Steiner Andreas 6206 ED" userId="e6377c33-a923-4f14-8587-531c474c7b48" providerId="ADAL" clId="{6ECD27E6-B224-41CD-B4E0-E297462320DD}" dt="2023-11-24T08:44:23.810" v="56083"/>
          <ac:spMkLst>
            <pc:docMk/>
            <pc:sldMk cId="4145871477" sldId="2147478567"/>
            <ac:spMk id="365" creationId="{50ECD171-CB06-208E-9C97-C25D6FB40731}"/>
          </ac:spMkLst>
        </pc:spChg>
        <pc:spChg chg="add del mod">
          <ac:chgData name="Steiner Andreas 6206 ED" userId="e6377c33-a923-4f14-8587-531c474c7b48" providerId="ADAL" clId="{6ECD27E6-B224-41CD-B4E0-E297462320DD}" dt="2023-11-24T08:44:25.745" v="56238"/>
          <ac:spMkLst>
            <pc:docMk/>
            <pc:sldMk cId="4145871477" sldId="2147478567"/>
            <ac:spMk id="366" creationId="{8C17583F-62FC-7802-85F8-D7ECF81A94EE}"/>
          </ac:spMkLst>
        </pc:spChg>
        <pc:spChg chg="add del mod">
          <ac:chgData name="Steiner Andreas 6206 ED" userId="e6377c33-a923-4f14-8587-531c474c7b48" providerId="ADAL" clId="{6ECD27E6-B224-41CD-B4E0-E297462320DD}" dt="2023-11-24T08:44:27.914" v="56393"/>
          <ac:spMkLst>
            <pc:docMk/>
            <pc:sldMk cId="4145871477" sldId="2147478567"/>
            <ac:spMk id="367" creationId="{F3973500-ECC5-CB57-BF29-6D32CCAFEDA9}"/>
          </ac:spMkLst>
        </pc:spChg>
        <pc:spChg chg="add del mod">
          <ac:chgData name="Steiner Andreas 6206 ED" userId="e6377c33-a923-4f14-8587-531c474c7b48" providerId="ADAL" clId="{6ECD27E6-B224-41CD-B4E0-E297462320DD}" dt="2023-11-24T08:44:29.945" v="56548"/>
          <ac:spMkLst>
            <pc:docMk/>
            <pc:sldMk cId="4145871477" sldId="2147478567"/>
            <ac:spMk id="368" creationId="{E3B8A7C0-FF4E-A9C1-C3A2-BAB3880CC130}"/>
          </ac:spMkLst>
        </pc:spChg>
        <pc:spChg chg="add del mod">
          <ac:chgData name="Steiner Andreas 6206 ED" userId="e6377c33-a923-4f14-8587-531c474c7b48" providerId="ADAL" clId="{6ECD27E6-B224-41CD-B4E0-E297462320DD}" dt="2023-11-24T08:44:31.902" v="56703"/>
          <ac:spMkLst>
            <pc:docMk/>
            <pc:sldMk cId="4145871477" sldId="2147478567"/>
            <ac:spMk id="369" creationId="{B555E32E-BE3D-1D35-91C1-391FFE4ECF8D}"/>
          </ac:spMkLst>
        </pc:spChg>
        <pc:spChg chg="add del mod">
          <ac:chgData name="Steiner Andreas 6206 ED" userId="e6377c33-a923-4f14-8587-531c474c7b48" providerId="ADAL" clId="{6ECD27E6-B224-41CD-B4E0-E297462320DD}" dt="2023-11-24T08:44:33.865" v="56858"/>
          <ac:spMkLst>
            <pc:docMk/>
            <pc:sldMk cId="4145871477" sldId="2147478567"/>
            <ac:spMk id="370" creationId="{43F14997-C59C-332F-D88F-BB1987813192}"/>
          </ac:spMkLst>
        </pc:spChg>
        <pc:spChg chg="add del mod">
          <ac:chgData name="Steiner Andreas 6206 ED" userId="e6377c33-a923-4f14-8587-531c474c7b48" providerId="ADAL" clId="{6ECD27E6-B224-41CD-B4E0-E297462320DD}" dt="2023-11-24T08:44:36.325" v="57013"/>
          <ac:spMkLst>
            <pc:docMk/>
            <pc:sldMk cId="4145871477" sldId="2147478567"/>
            <ac:spMk id="371" creationId="{C4E12912-631F-1983-8422-D7A12174F443}"/>
          </ac:spMkLst>
        </pc:spChg>
        <pc:spChg chg="add del mod">
          <ac:chgData name="Steiner Andreas 6206 ED" userId="e6377c33-a923-4f14-8587-531c474c7b48" providerId="ADAL" clId="{6ECD27E6-B224-41CD-B4E0-E297462320DD}" dt="2023-11-24T08:44:38.908" v="57168"/>
          <ac:spMkLst>
            <pc:docMk/>
            <pc:sldMk cId="4145871477" sldId="2147478567"/>
            <ac:spMk id="372" creationId="{00CB1D89-334C-D7E6-2674-C92F8CB26F5D}"/>
          </ac:spMkLst>
        </pc:spChg>
        <pc:spChg chg="add del mod">
          <ac:chgData name="Steiner Andreas 6206 ED" userId="e6377c33-a923-4f14-8587-531c474c7b48" providerId="ADAL" clId="{6ECD27E6-B224-41CD-B4E0-E297462320DD}" dt="2023-11-24T08:44:41.201" v="57323"/>
          <ac:spMkLst>
            <pc:docMk/>
            <pc:sldMk cId="4145871477" sldId="2147478567"/>
            <ac:spMk id="373" creationId="{D0A84077-1A26-1912-FFE1-901CFA6683A8}"/>
          </ac:spMkLst>
        </pc:spChg>
        <pc:spChg chg="add del mod">
          <ac:chgData name="Steiner Andreas 6206 ED" userId="e6377c33-a923-4f14-8587-531c474c7b48" providerId="ADAL" clId="{6ECD27E6-B224-41CD-B4E0-E297462320DD}" dt="2023-11-24T08:44:43.399" v="57478"/>
          <ac:spMkLst>
            <pc:docMk/>
            <pc:sldMk cId="4145871477" sldId="2147478567"/>
            <ac:spMk id="374" creationId="{74C71B74-3D1C-2BCC-DA3B-75C6C90571CC}"/>
          </ac:spMkLst>
        </pc:spChg>
        <pc:spChg chg="add del mod">
          <ac:chgData name="Steiner Andreas 6206 ED" userId="e6377c33-a923-4f14-8587-531c474c7b48" providerId="ADAL" clId="{6ECD27E6-B224-41CD-B4E0-E297462320DD}" dt="2023-11-24T08:44:45.562" v="57633"/>
          <ac:spMkLst>
            <pc:docMk/>
            <pc:sldMk cId="4145871477" sldId="2147478567"/>
            <ac:spMk id="375" creationId="{DCC14F13-96AC-1F92-1D31-CBA05480E7EA}"/>
          </ac:spMkLst>
        </pc:spChg>
        <pc:spChg chg="add del mod">
          <ac:chgData name="Steiner Andreas 6206 ED" userId="e6377c33-a923-4f14-8587-531c474c7b48" providerId="ADAL" clId="{6ECD27E6-B224-41CD-B4E0-E297462320DD}" dt="2023-11-24T08:44:48.313" v="57788"/>
          <ac:spMkLst>
            <pc:docMk/>
            <pc:sldMk cId="4145871477" sldId="2147478567"/>
            <ac:spMk id="376" creationId="{27B11FDB-17E9-BFD3-0A7D-D1141CB4AD70}"/>
          </ac:spMkLst>
        </pc:spChg>
        <pc:spChg chg="add del mod">
          <ac:chgData name="Steiner Andreas 6206 ED" userId="e6377c33-a923-4f14-8587-531c474c7b48" providerId="ADAL" clId="{6ECD27E6-B224-41CD-B4E0-E297462320DD}" dt="2023-11-24T08:44:50.553" v="57943"/>
          <ac:spMkLst>
            <pc:docMk/>
            <pc:sldMk cId="4145871477" sldId="2147478567"/>
            <ac:spMk id="377" creationId="{1AFE7C5F-B58B-A0F1-8247-E3FC351285C2}"/>
          </ac:spMkLst>
        </pc:spChg>
        <pc:spChg chg="add del mod">
          <ac:chgData name="Steiner Andreas 6206 ED" userId="e6377c33-a923-4f14-8587-531c474c7b48" providerId="ADAL" clId="{6ECD27E6-B224-41CD-B4E0-E297462320DD}" dt="2023-11-24T08:44:52.706" v="58098"/>
          <ac:spMkLst>
            <pc:docMk/>
            <pc:sldMk cId="4145871477" sldId="2147478567"/>
            <ac:spMk id="378" creationId="{0C613F44-1FE9-3F1D-BB9E-5B353E16522C}"/>
          </ac:spMkLst>
        </pc:spChg>
        <pc:spChg chg="add del mod">
          <ac:chgData name="Steiner Andreas 6206 ED" userId="e6377c33-a923-4f14-8587-531c474c7b48" providerId="ADAL" clId="{6ECD27E6-B224-41CD-B4E0-E297462320DD}" dt="2023-11-24T08:44:54.902" v="58253"/>
          <ac:spMkLst>
            <pc:docMk/>
            <pc:sldMk cId="4145871477" sldId="2147478567"/>
            <ac:spMk id="379" creationId="{4BC81A1A-9861-AE21-DB13-3F9283568F49}"/>
          </ac:spMkLst>
        </pc:spChg>
        <pc:spChg chg="add del mod">
          <ac:chgData name="Steiner Andreas 6206 ED" userId="e6377c33-a923-4f14-8587-531c474c7b48" providerId="ADAL" clId="{6ECD27E6-B224-41CD-B4E0-E297462320DD}" dt="2023-11-24T08:44:56.909" v="58408"/>
          <ac:spMkLst>
            <pc:docMk/>
            <pc:sldMk cId="4145871477" sldId="2147478567"/>
            <ac:spMk id="380" creationId="{274AFEDA-B9AC-2DCB-346F-5971EA0A30F2}"/>
          </ac:spMkLst>
        </pc:spChg>
        <pc:spChg chg="add del mod">
          <ac:chgData name="Steiner Andreas 6206 ED" userId="e6377c33-a923-4f14-8587-531c474c7b48" providerId="ADAL" clId="{6ECD27E6-B224-41CD-B4E0-E297462320DD}" dt="2023-11-24T08:44:58.844" v="58563"/>
          <ac:spMkLst>
            <pc:docMk/>
            <pc:sldMk cId="4145871477" sldId="2147478567"/>
            <ac:spMk id="381" creationId="{9687EA30-5C83-6B8C-8F6F-8ED425B06B1B}"/>
          </ac:spMkLst>
        </pc:spChg>
        <pc:spChg chg="add del mod">
          <ac:chgData name="Steiner Andreas 6206 ED" userId="e6377c33-a923-4f14-8587-531c474c7b48" providerId="ADAL" clId="{6ECD27E6-B224-41CD-B4E0-E297462320DD}" dt="2023-11-24T08:45:01.011" v="58718"/>
          <ac:spMkLst>
            <pc:docMk/>
            <pc:sldMk cId="4145871477" sldId="2147478567"/>
            <ac:spMk id="382" creationId="{9E50E2BA-8BE1-BBC8-BBCC-7FE5CBDA8400}"/>
          </ac:spMkLst>
        </pc:spChg>
        <pc:spChg chg="add del mod">
          <ac:chgData name="Steiner Andreas 6206 ED" userId="e6377c33-a923-4f14-8587-531c474c7b48" providerId="ADAL" clId="{6ECD27E6-B224-41CD-B4E0-E297462320DD}" dt="2023-11-24T08:45:02.928" v="58873"/>
          <ac:spMkLst>
            <pc:docMk/>
            <pc:sldMk cId="4145871477" sldId="2147478567"/>
            <ac:spMk id="383" creationId="{684874AB-399C-1FA0-B423-FB6B78570945}"/>
          </ac:spMkLst>
        </pc:spChg>
        <pc:spChg chg="add del mod">
          <ac:chgData name="Steiner Andreas 6206 ED" userId="e6377c33-a923-4f14-8587-531c474c7b48" providerId="ADAL" clId="{6ECD27E6-B224-41CD-B4E0-E297462320DD}" dt="2023-11-24T08:45:04.776" v="59028"/>
          <ac:spMkLst>
            <pc:docMk/>
            <pc:sldMk cId="4145871477" sldId="2147478567"/>
            <ac:spMk id="384" creationId="{38ECBEFF-3622-8228-0991-64C58EA268B5}"/>
          </ac:spMkLst>
        </pc:spChg>
        <pc:spChg chg="add del mod">
          <ac:chgData name="Steiner Andreas 6206 ED" userId="e6377c33-a923-4f14-8587-531c474c7b48" providerId="ADAL" clId="{6ECD27E6-B224-41CD-B4E0-E297462320DD}" dt="2023-11-24T08:45:06.629" v="59183"/>
          <ac:spMkLst>
            <pc:docMk/>
            <pc:sldMk cId="4145871477" sldId="2147478567"/>
            <ac:spMk id="385" creationId="{AC781046-6AAD-2E96-F090-A8C05072C74D}"/>
          </ac:spMkLst>
        </pc:spChg>
        <pc:spChg chg="add del mod">
          <ac:chgData name="Steiner Andreas 6206 ED" userId="e6377c33-a923-4f14-8587-531c474c7b48" providerId="ADAL" clId="{6ECD27E6-B224-41CD-B4E0-E297462320DD}" dt="2023-11-24T08:45:08.467" v="59338"/>
          <ac:spMkLst>
            <pc:docMk/>
            <pc:sldMk cId="4145871477" sldId="2147478567"/>
            <ac:spMk id="386" creationId="{A6920297-8F36-38D2-CBA4-F6A5C24FEE8D}"/>
          </ac:spMkLst>
        </pc:spChg>
        <pc:spChg chg="add del mod">
          <ac:chgData name="Steiner Andreas 6206 ED" userId="e6377c33-a923-4f14-8587-531c474c7b48" providerId="ADAL" clId="{6ECD27E6-B224-41CD-B4E0-E297462320DD}" dt="2023-11-24T08:45:10.273" v="59493"/>
          <ac:spMkLst>
            <pc:docMk/>
            <pc:sldMk cId="4145871477" sldId="2147478567"/>
            <ac:spMk id="387" creationId="{563D0834-7766-7AA6-75D7-839429619A75}"/>
          </ac:spMkLst>
        </pc:spChg>
        <pc:spChg chg="add del mod">
          <ac:chgData name="Steiner Andreas 6206 ED" userId="e6377c33-a923-4f14-8587-531c474c7b48" providerId="ADAL" clId="{6ECD27E6-B224-41CD-B4E0-E297462320DD}" dt="2023-11-24T08:45:12.358" v="59648"/>
          <ac:spMkLst>
            <pc:docMk/>
            <pc:sldMk cId="4145871477" sldId="2147478567"/>
            <ac:spMk id="388" creationId="{7132F61B-C98E-2A8E-163E-183ED6F9957B}"/>
          </ac:spMkLst>
        </pc:spChg>
        <pc:spChg chg="add del mod">
          <ac:chgData name="Steiner Andreas 6206 ED" userId="e6377c33-a923-4f14-8587-531c474c7b48" providerId="ADAL" clId="{6ECD27E6-B224-41CD-B4E0-E297462320DD}" dt="2023-11-24T08:45:14.294" v="59803"/>
          <ac:spMkLst>
            <pc:docMk/>
            <pc:sldMk cId="4145871477" sldId="2147478567"/>
            <ac:spMk id="389" creationId="{AFDA5BBE-29C8-2F5A-8F57-082012AF09D1}"/>
          </ac:spMkLst>
        </pc:spChg>
        <pc:spChg chg="add del mod">
          <ac:chgData name="Steiner Andreas 6206 ED" userId="e6377c33-a923-4f14-8587-531c474c7b48" providerId="ADAL" clId="{6ECD27E6-B224-41CD-B4E0-E297462320DD}" dt="2023-11-24T08:45:16.366" v="59958"/>
          <ac:spMkLst>
            <pc:docMk/>
            <pc:sldMk cId="4145871477" sldId="2147478567"/>
            <ac:spMk id="390" creationId="{47F5F5A4-98DF-6410-9518-09EF78E1663A}"/>
          </ac:spMkLst>
        </pc:spChg>
        <pc:spChg chg="add del mod">
          <ac:chgData name="Steiner Andreas 6206 ED" userId="e6377c33-a923-4f14-8587-531c474c7b48" providerId="ADAL" clId="{6ECD27E6-B224-41CD-B4E0-E297462320DD}" dt="2023-11-24T08:45:18.308" v="60113"/>
          <ac:spMkLst>
            <pc:docMk/>
            <pc:sldMk cId="4145871477" sldId="2147478567"/>
            <ac:spMk id="391" creationId="{DF0F92BE-437E-6F30-007E-03C4D2CEAA25}"/>
          </ac:spMkLst>
        </pc:spChg>
        <pc:spChg chg="add del mod">
          <ac:chgData name="Steiner Andreas 6206 ED" userId="e6377c33-a923-4f14-8587-531c474c7b48" providerId="ADAL" clId="{6ECD27E6-B224-41CD-B4E0-E297462320DD}" dt="2023-11-24T08:45:20.198" v="60268"/>
          <ac:spMkLst>
            <pc:docMk/>
            <pc:sldMk cId="4145871477" sldId="2147478567"/>
            <ac:spMk id="392" creationId="{3E6DB254-DD93-8FCA-38B4-F99F732A2E05}"/>
          </ac:spMkLst>
        </pc:spChg>
        <pc:spChg chg="add del mod">
          <ac:chgData name="Steiner Andreas 6206 ED" userId="e6377c33-a923-4f14-8587-531c474c7b48" providerId="ADAL" clId="{6ECD27E6-B224-41CD-B4E0-E297462320DD}" dt="2023-11-24T08:45:22.371" v="60423"/>
          <ac:spMkLst>
            <pc:docMk/>
            <pc:sldMk cId="4145871477" sldId="2147478567"/>
            <ac:spMk id="393" creationId="{74F49BCC-4B98-6790-77FF-9039825C6BCE}"/>
          </ac:spMkLst>
        </pc:spChg>
        <pc:spChg chg="add del mod">
          <ac:chgData name="Steiner Andreas 6206 ED" userId="e6377c33-a923-4f14-8587-531c474c7b48" providerId="ADAL" clId="{6ECD27E6-B224-41CD-B4E0-E297462320DD}" dt="2023-11-24T08:45:24.564" v="60578"/>
          <ac:spMkLst>
            <pc:docMk/>
            <pc:sldMk cId="4145871477" sldId="2147478567"/>
            <ac:spMk id="394" creationId="{CCDBCC16-3010-9AA7-E440-25A96F6B9BF5}"/>
          </ac:spMkLst>
        </pc:spChg>
        <pc:spChg chg="add del mod">
          <ac:chgData name="Steiner Andreas 6206 ED" userId="e6377c33-a923-4f14-8587-531c474c7b48" providerId="ADAL" clId="{6ECD27E6-B224-41CD-B4E0-E297462320DD}" dt="2023-11-24T08:45:26.516" v="60733"/>
          <ac:spMkLst>
            <pc:docMk/>
            <pc:sldMk cId="4145871477" sldId="2147478567"/>
            <ac:spMk id="395" creationId="{93E7514A-4120-E60F-41A1-43F7F40878E7}"/>
          </ac:spMkLst>
        </pc:spChg>
        <pc:spChg chg="add del mod">
          <ac:chgData name="Steiner Andreas 6206 ED" userId="e6377c33-a923-4f14-8587-531c474c7b48" providerId="ADAL" clId="{6ECD27E6-B224-41CD-B4E0-E297462320DD}" dt="2023-11-24T08:45:28.403" v="60888"/>
          <ac:spMkLst>
            <pc:docMk/>
            <pc:sldMk cId="4145871477" sldId="2147478567"/>
            <ac:spMk id="396" creationId="{8EF8CFC3-2299-6203-285D-501709D27027}"/>
          </ac:spMkLst>
        </pc:spChg>
        <pc:spChg chg="add del mod">
          <ac:chgData name="Steiner Andreas 6206 ED" userId="e6377c33-a923-4f14-8587-531c474c7b48" providerId="ADAL" clId="{6ECD27E6-B224-41CD-B4E0-E297462320DD}" dt="2023-11-24T08:45:30.224" v="61043"/>
          <ac:spMkLst>
            <pc:docMk/>
            <pc:sldMk cId="4145871477" sldId="2147478567"/>
            <ac:spMk id="397" creationId="{C2374FB5-6465-AE8E-F8CD-8FCAEA576775}"/>
          </ac:spMkLst>
        </pc:spChg>
        <pc:spChg chg="add del mod">
          <ac:chgData name="Steiner Andreas 6206 ED" userId="e6377c33-a923-4f14-8587-531c474c7b48" providerId="ADAL" clId="{6ECD27E6-B224-41CD-B4E0-E297462320DD}" dt="2023-11-24T08:45:32.095" v="61198"/>
          <ac:spMkLst>
            <pc:docMk/>
            <pc:sldMk cId="4145871477" sldId="2147478567"/>
            <ac:spMk id="398" creationId="{CD236BA1-9579-05E0-07C5-6D60322C7ED7}"/>
          </ac:spMkLst>
        </pc:spChg>
        <pc:spChg chg="add del mod">
          <ac:chgData name="Steiner Andreas 6206 ED" userId="e6377c33-a923-4f14-8587-531c474c7b48" providerId="ADAL" clId="{6ECD27E6-B224-41CD-B4E0-E297462320DD}" dt="2023-11-24T08:45:34.230" v="61353"/>
          <ac:spMkLst>
            <pc:docMk/>
            <pc:sldMk cId="4145871477" sldId="2147478567"/>
            <ac:spMk id="399" creationId="{286C35B6-B7AF-12D6-6D04-D6A248B26266}"/>
          </ac:spMkLst>
        </pc:spChg>
        <pc:spChg chg="add del mod">
          <ac:chgData name="Steiner Andreas 6206 ED" userId="e6377c33-a923-4f14-8587-531c474c7b48" providerId="ADAL" clId="{6ECD27E6-B224-41CD-B4E0-E297462320DD}" dt="2023-11-24T08:45:36.285" v="61508"/>
          <ac:spMkLst>
            <pc:docMk/>
            <pc:sldMk cId="4145871477" sldId="2147478567"/>
            <ac:spMk id="400" creationId="{3B4A6555-EA7D-1749-9131-AD0BAB6163E4}"/>
          </ac:spMkLst>
        </pc:spChg>
        <pc:spChg chg="add del mod">
          <ac:chgData name="Steiner Andreas 6206 ED" userId="e6377c33-a923-4f14-8587-531c474c7b48" providerId="ADAL" clId="{6ECD27E6-B224-41CD-B4E0-E297462320DD}" dt="2023-11-24T08:45:38.163" v="61663"/>
          <ac:spMkLst>
            <pc:docMk/>
            <pc:sldMk cId="4145871477" sldId="2147478567"/>
            <ac:spMk id="401" creationId="{862EBC21-4E22-46F5-F365-5ABA3994E9A8}"/>
          </ac:spMkLst>
        </pc:spChg>
        <pc:spChg chg="add del mod">
          <ac:chgData name="Steiner Andreas 6206 ED" userId="e6377c33-a923-4f14-8587-531c474c7b48" providerId="ADAL" clId="{6ECD27E6-B224-41CD-B4E0-E297462320DD}" dt="2023-11-24T08:45:40.048" v="61818"/>
          <ac:spMkLst>
            <pc:docMk/>
            <pc:sldMk cId="4145871477" sldId="2147478567"/>
            <ac:spMk id="402" creationId="{0FA82477-450F-CAA7-6D88-52E665E0AE75}"/>
          </ac:spMkLst>
        </pc:spChg>
        <pc:spChg chg="add del mod">
          <ac:chgData name="Steiner Andreas 6206 ED" userId="e6377c33-a923-4f14-8587-531c474c7b48" providerId="ADAL" clId="{6ECD27E6-B224-41CD-B4E0-E297462320DD}" dt="2023-11-24T08:45:42.058" v="61973"/>
          <ac:spMkLst>
            <pc:docMk/>
            <pc:sldMk cId="4145871477" sldId="2147478567"/>
            <ac:spMk id="403" creationId="{A136ABE8-0128-9B8D-4259-8F5F9F13EC06}"/>
          </ac:spMkLst>
        </pc:spChg>
        <pc:spChg chg="add del mod">
          <ac:chgData name="Steiner Andreas 6206 ED" userId="e6377c33-a923-4f14-8587-531c474c7b48" providerId="ADAL" clId="{6ECD27E6-B224-41CD-B4E0-E297462320DD}" dt="2023-11-24T08:45:44.040" v="62128"/>
          <ac:spMkLst>
            <pc:docMk/>
            <pc:sldMk cId="4145871477" sldId="2147478567"/>
            <ac:spMk id="404" creationId="{7F564082-F2B3-567E-8882-3EEFDB0B4F8D}"/>
          </ac:spMkLst>
        </pc:spChg>
        <pc:spChg chg="add del mod">
          <ac:chgData name="Steiner Andreas 6206 ED" userId="e6377c33-a923-4f14-8587-531c474c7b48" providerId="ADAL" clId="{6ECD27E6-B224-41CD-B4E0-E297462320DD}" dt="2023-11-24T08:45:46.160" v="62283"/>
          <ac:spMkLst>
            <pc:docMk/>
            <pc:sldMk cId="4145871477" sldId="2147478567"/>
            <ac:spMk id="405" creationId="{94FF1C72-C861-8171-2283-51394F505B56}"/>
          </ac:spMkLst>
        </pc:spChg>
        <pc:spChg chg="add del mod">
          <ac:chgData name="Steiner Andreas 6206 ED" userId="e6377c33-a923-4f14-8587-531c474c7b48" providerId="ADAL" clId="{6ECD27E6-B224-41CD-B4E0-E297462320DD}" dt="2023-11-24T08:45:48.050" v="62438"/>
          <ac:spMkLst>
            <pc:docMk/>
            <pc:sldMk cId="4145871477" sldId="2147478567"/>
            <ac:spMk id="406" creationId="{6644B445-BFBE-D04B-753F-0477F624A51C}"/>
          </ac:spMkLst>
        </pc:spChg>
        <pc:spChg chg="add del mod">
          <ac:chgData name="Steiner Andreas 6206 ED" userId="e6377c33-a923-4f14-8587-531c474c7b48" providerId="ADAL" clId="{6ECD27E6-B224-41CD-B4E0-E297462320DD}" dt="2023-11-24T08:45:50.396" v="62593"/>
          <ac:spMkLst>
            <pc:docMk/>
            <pc:sldMk cId="4145871477" sldId="2147478567"/>
            <ac:spMk id="407" creationId="{129455C5-47CA-33FB-C345-BFE19C758E62}"/>
          </ac:spMkLst>
        </pc:spChg>
        <pc:spChg chg="add del mod">
          <ac:chgData name="Steiner Andreas 6206 ED" userId="e6377c33-a923-4f14-8587-531c474c7b48" providerId="ADAL" clId="{6ECD27E6-B224-41CD-B4E0-E297462320DD}" dt="2023-11-24T08:45:52.407" v="62748"/>
          <ac:spMkLst>
            <pc:docMk/>
            <pc:sldMk cId="4145871477" sldId="2147478567"/>
            <ac:spMk id="408" creationId="{8B974940-3462-F9C8-93BB-7F01E2E87618}"/>
          </ac:spMkLst>
        </pc:spChg>
        <pc:spChg chg="add del mod">
          <ac:chgData name="Steiner Andreas 6206 ED" userId="e6377c33-a923-4f14-8587-531c474c7b48" providerId="ADAL" clId="{6ECD27E6-B224-41CD-B4E0-E297462320DD}" dt="2023-11-24T08:45:54.424" v="62903"/>
          <ac:spMkLst>
            <pc:docMk/>
            <pc:sldMk cId="4145871477" sldId="2147478567"/>
            <ac:spMk id="409" creationId="{A3D7FEAD-DA53-8FF7-23F2-5F0D3924D0B9}"/>
          </ac:spMkLst>
        </pc:spChg>
        <pc:spChg chg="add del mod">
          <ac:chgData name="Steiner Andreas 6206 ED" userId="e6377c33-a923-4f14-8587-531c474c7b48" providerId="ADAL" clId="{6ECD27E6-B224-41CD-B4E0-E297462320DD}" dt="2023-11-24T08:45:56.617" v="63058"/>
          <ac:spMkLst>
            <pc:docMk/>
            <pc:sldMk cId="4145871477" sldId="2147478567"/>
            <ac:spMk id="410" creationId="{D28AF1A2-486D-269C-2BD1-95DEBE826E8B}"/>
          </ac:spMkLst>
        </pc:spChg>
        <pc:spChg chg="add del mod">
          <ac:chgData name="Steiner Andreas 6206 ED" userId="e6377c33-a923-4f14-8587-531c474c7b48" providerId="ADAL" clId="{6ECD27E6-B224-41CD-B4E0-E297462320DD}" dt="2023-11-24T08:45:58.638" v="63213"/>
          <ac:spMkLst>
            <pc:docMk/>
            <pc:sldMk cId="4145871477" sldId="2147478567"/>
            <ac:spMk id="411" creationId="{DD909A8E-F52E-9063-B150-890285ABCDCA}"/>
          </ac:spMkLst>
        </pc:spChg>
        <pc:spChg chg="add del mod">
          <ac:chgData name="Steiner Andreas 6206 ED" userId="e6377c33-a923-4f14-8587-531c474c7b48" providerId="ADAL" clId="{6ECD27E6-B224-41CD-B4E0-E297462320DD}" dt="2023-11-24T08:46:00.723" v="63368"/>
          <ac:spMkLst>
            <pc:docMk/>
            <pc:sldMk cId="4145871477" sldId="2147478567"/>
            <ac:spMk id="412" creationId="{AE901D9F-4D78-B234-33DF-DA4E50B10517}"/>
          </ac:spMkLst>
        </pc:spChg>
        <pc:spChg chg="add del mod">
          <ac:chgData name="Steiner Andreas 6206 ED" userId="e6377c33-a923-4f14-8587-531c474c7b48" providerId="ADAL" clId="{6ECD27E6-B224-41CD-B4E0-E297462320DD}" dt="2023-11-24T08:46:02.796" v="63523"/>
          <ac:spMkLst>
            <pc:docMk/>
            <pc:sldMk cId="4145871477" sldId="2147478567"/>
            <ac:spMk id="413" creationId="{EA741471-558D-98AD-20A7-3B67272504D8}"/>
          </ac:spMkLst>
        </pc:spChg>
        <pc:spChg chg="add del mod">
          <ac:chgData name="Steiner Andreas 6206 ED" userId="e6377c33-a923-4f14-8587-531c474c7b48" providerId="ADAL" clId="{6ECD27E6-B224-41CD-B4E0-E297462320DD}" dt="2023-11-24T08:46:05.229" v="63678"/>
          <ac:spMkLst>
            <pc:docMk/>
            <pc:sldMk cId="4145871477" sldId="2147478567"/>
            <ac:spMk id="414" creationId="{78515DFD-7DE3-C515-6261-B909FE534AE9}"/>
          </ac:spMkLst>
        </pc:spChg>
        <pc:spChg chg="add del mod">
          <ac:chgData name="Steiner Andreas 6206 ED" userId="e6377c33-a923-4f14-8587-531c474c7b48" providerId="ADAL" clId="{6ECD27E6-B224-41CD-B4E0-E297462320DD}" dt="2023-11-24T08:46:07.727" v="63833"/>
          <ac:spMkLst>
            <pc:docMk/>
            <pc:sldMk cId="4145871477" sldId="2147478567"/>
            <ac:spMk id="415" creationId="{6997D654-1827-D5C5-DFBB-383BC4BB3E54}"/>
          </ac:spMkLst>
        </pc:spChg>
        <pc:spChg chg="add del mod">
          <ac:chgData name="Steiner Andreas 6206 ED" userId="e6377c33-a923-4f14-8587-531c474c7b48" providerId="ADAL" clId="{6ECD27E6-B224-41CD-B4E0-E297462320DD}" dt="2023-11-24T08:46:09.912" v="63988"/>
          <ac:spMkLst>
            <pc:docMk/>
            <pc:sldMk cId="4145871477" sldId="2147478567"/>
            <ac:spMk id="416" creationId="{0DDCDDAE-79A0-FACE-3747-A05E99312A4E}"/>
          </ac:spMkLst>
        </pc:spChg>
        <pc:spChg chg="add del mod">
          <ac:chgData name="Steiner Andreas 6206 ED" userId="e6377c33-a923-4f14-8587-531c474c7b48" providerId="ADAL" clId="{6ECD27E6-B224-41CD-B4E0-E297462320DD}" dt="2023-11-24T08:46:12.106" v="64143"/>
          <ac:spMkLst>
            <pc:docMk/>
            <pc:sldMk cId="4145871477" sldId="2147478567"/>
            <ac:spMk id="417" creationId="{A285052B-25E9-144E-8E31-4F2A2E4BF9CB}"/>
          </ac:spMkLst>
        </pc:spChg>
        <pc:spChg chg="add del mod">
          <ac:chgData name="Steiner Andreas 6206 ED" userId="e6377c33-a923-4f14-8587-531c474c7b48" providerId="ADAL" clId="{6ECD27E6-B224-41CD-B4E0-E297462320DD}" dt="2023-11-24T08:46:14.272" v="64298"/>
          <ac:spMkLst>
            <pc:docMk/>
            <pc:sldMk cId="4145871477" sldId="2147478567"/>
            <ac:spMk id="418" creationId="{67E3CA1C-EF32-C540-C1D4-A9ABDFCCEE42}"/>
          </ac:spMkLst>
        </pc:spChg>
        <pc:spChg chg="add del mod">
          <ac:chgData name="Steiner Andreas 6206 ED" userId="e6377c33-a923-4f14-8587-531c474c7b48" providerId="ADAL" clId="{6ECD27E6-B224-41CD-B4E0-E297462320DD}" dt="2023-11-24T08:46:16.483" v="64453"/>
          <ac:spMkLst>
            <pc:docMk/>
            <pc:sldMk cId="4145871477" sldId="2147478567"/>
            <ac:spMk id="419" creationId="{7718C098-6894-9CCD-FFD7-73DB45941436}"/>
          </ac:spMkLst>
        </pc:spChg>
        <pc:spChg chg="add del mod">
          <ac:chgData name="Steiner Andreas 6206 ED" userId="e6377c33-a923-4f14-8587-531c474c7b48" providerId="ADAL" clId="{6ECD27E6-B224-41CD-B4E0-E297462320DD}" dt="2023-11-24T08:46:18.351" v="64608"/>
          <ac:spMkLst>
            <pc:docMk/>
            <pc:sldMk cId="4145871477" sldId="2147478567"/>
            <ac:spMk id="420" creationId="{F7A6B1C9-8933-1F63-00AB-D8E4A6F01761}"/>
          </ac:spMkLst>
        </pc:spChg>
        <pc:spChg chg="add del mod">
          <ac:chgData name="Steiner Andreas 6206 ED" userId="e6377c33-a923-4f14-8587-531c474c7b48" providerId="ADAL" clId="{6ECD27E6-B224-41CD-B4E0-E297462320DD}" dt="2023-11-24T08:46:20.891" v="64763"/>
          <ac:spMkLst>
            <pc:docMk/>
            <pc:sldMk cId="4145871477" sldId="2147478567"/>
            <ac:spMk id="421" creationId="{3C38E53F-AD47-037E-BCB5-86A09D8677A4}"/>
          </ac:spMkLst>
        </pc:spChg>
        <pc:spChg chg="add del mod">
          <ac:chgData name="Steiner Andreas 6206 ED" userId="e6377c33-a923-4f14-8587-531c474c7b48" providerId="ADAL" clId="{6ECD27E6-B224-41CD-B4E0-E297462320DD}" dt="2023-11-24T08:46:23.141" v="64918"/>
          <ac:spMkLst>
            <pc:docMk/>
            <pc:sldMk cId="4145871477" sldId="2147478567"/>
            <ac:spMk id="422" creationId="{21FBDCAD-3B9A-DAEF-40F0-23BAAF1C9C91}"/>
          </ac:spMkLst>
        </pc:spChg>
        <pc:spChg chg="add del mod">
          <ac:chgData name="Steiner Andreas 6206 ED" userId="e6377c33-a923-4f14-8587-531c474c7b48" providerId="ADAL" clId="{6ECD27E6-B224-41CD-B4E0-E297462320DD}" dt="2023-11-24T08:46:25.386" v="65073"/>
          <ac:spMkLst>
            <pc:docMk/>
            <pc:sldMk cId="4145871477" sldId="2147478567"/>
            <ac:spMk id="423" creationId="{4DC61250-39E0-5C41-14CD-144F92C5632F}"/>
          </ac:spMkLst>
        </pc:spChg>
        <pc:spChg chg="add del mod">
          <ac:chgData name="Steiner Andreas 6206 ED" userId="e6377c33-a923-4f14-8587-531c474c7b48" providerId="ADAL" clId="{6ECD27E6-B224-41CD-B4E0-E297462320DD}" dt="2023-11-24T08:46:27.713" v="65228"/>
          <ac:spMkLst>
            <pc:docMk/>
            <pc:sldMk cId="4145871477" sldId="2147478567"/>
            <ac:spMk id="424" creationId="{718CDFB8-7566-1A0E-18AA-037FADF2F423}"/>
          </ac:spMkLst>
        </pc:spChg>
        <pc:spChg chg="add del mod">
          <ac:chgData name="Steiner Andreas 6206 ED" userId="e6377c33-a923-4f14-8587-531c474c7b48" providerId="ADAL" clId="{6ECD27E6-B224-41CD-B4E0-E297462320DD}" dt="2023-11-24T08:46:29.741" v="65383"/>
          <ac:spMkLst>
            <pc:docMk/>
            <pc:sldMk cId="4145871477" sldId="2147478567"/>
            <ac:spMk id="425" creationId="{41F02FAE-6A04-D998-6D93-F07955CE80B0}"/>
          </ac:spMkLst>
        </pc:spChg>
        <pc:spChg chg="add del mod">
          <ac:chgData name="Steiner Andreas 6206 ED" userId="e6377c33-a923-4f14-8587-531c474c7b48" providerId="ADAL" clId="{6ECD27E6-B224-41CD-B4E0-E297462320DD}" dt="2023-11-24T08:46:32.223" v="65538"/>
          <ac:spMkLst>
            <pc:docMk/>
            <pc:sldMk cId="4145871477" sldId="2147478567"/>
            <ac:spMk id="426" creationId="{DFAD74A6-148B-9E86-5190-9BDDB0BC3CF8}"/>
          </ac:spMkLst>
        </pc:spChg>
        <pc:spChg chg="add del mod">
          <ac:chgData name="Steiner Andreas 6206 ED" userId="e6377c33-a923-4f14-8587-531c474c7b48" providerId="ADAL" clId="{6ECD27E6-B224-41CD-B4E0-E297462320DD}" dt="2023-11-24T08:46:34.279" v="65693"/>
          <ac:spMkLst>
            <pc:docMk/>
            <pc:sldMk cId="4145871477" sldId="2147478567"/>
            <ac:spMk id="427" creationId="{2087E91D-EDB1-E96B-9C61-65EEDBFD0ACB}"/>
          </ac:spMkLst>
        </pc:spChg>
        <pc:spChg chg="add del mod">
          <ac:chgData name="Steiner Andreas 6206 ED" userId="e6377c33-a923-4f14-8587-531c474c7b48" providerId="ADAL" clId="{6ECD27E6-B224-41CD-B4E0-E297462320DD}" dt="2023-11-24T08:46:36.211" v="65848"/>
          <ac:spMkLst>
            <pc:docMk/>
            <pc:sldMk cId="4145871477" sldId="2147478567"/>
            <ac:spMk id="428" creationId="{7BAF19CE-EEBD-8C69-F476-E447C2B4C6B1}"/>
          </ac:spMkLst>
        </pc:spChg>
        <pc:spChg chg="add del mod">
          <ac:chgData name="Steiner Andreas 6206 ED" userId="e6377c33-a923-4f14-8587-531c474c7b48" providerId="ADAL" clId="{6ECD27E6-B224-41CD-B4E0-E297462320DD}" dt="2023-11-24T08:46:38.294" v="66003"/>
          <ac:spMkLst>
            <pc:docMk/>
            <pc:sldMk cId="4145871477" sldId="2147478567"/>
            <ac:spMk id="429" creationId="{4E913870-8B23-8215-C9B8-416B6C3A231C}"/>
          </ac:spMkLst>
        </pc:spChg>
        <pc:spChg chg="add del mod">
          <ac:chgData name="Steiner Andreas 6206 ED" userId="e6377c33-a923-4f14-8587-531c474c7b48" providerId="ADAL" clId="{6ECD27E6-B224-41CD-B4E0-E297462320DD}" dt="2023-11-24T08:46:40.374" v="66158"/>
          <ac:spMkLst>
            <pc:docMk/>
            <pc:sldMk cId="4145871477" sldId="2147478567"/>
            <ac:spMk id="430" creationId="{022E637F-051E-2D70-53E8-DC315CDA8873}"/>
          </ac:spMkLst>
        </pc:spChg>
        <pc:spChg chg="add del mod">
          <ac:chgData name="Steiner Andreas 6206 ED" userId="e6377c33-a923-4f14-8587-531c474c7b48" providerId="ADAL" clId="{6ECD27E6-B224-41CD-B4E0-E297462320DD}" dt="2023-11-24T08:46:42.650" v="66313"/>
          <ac:spMkLst>
            <pc:docMk/>
            <pc:sldMk cId="4145871477" sldId="2147478567"/>
            <ac:spMk id="431" creationId="{0E71D76C-D41F-086B-49A0-1641F6C8273E}"/>
          </ac:spMkLst>
        </pc:spChg>
        <pc:spChg chg="add del mod">
          <ac:chgData name="Steiner Andreas 6206 ED" userId="e6377c33-a923-4f14-8587-531c474c7b48" providerId="ADAL" clId="{6ECD27E6-B224-41CD-B4E0-E297462320DD}" dt="2023-11-24T08:46:44.768" v="66468"/>
          <ac:spMkLst>
            <pc:docMk/>
            <pc:sldMk cId="4145871477" sldId="2147478567"/>
            <ac:spMk id="432" creationId="{02BF0A29-54E2-36E5-CF8F-D5B96D91DF06}"/>
          </ac:spMkLst>
        </pc:spChg>
        <pc:spChg chg="add del mod">
          <ac:chgData name="Steiner Andreas 6206 ED" userId="e6377c33-a923-4f14-8587-531c474c7b48" providerId="ADAL" clId="{6ECD27E6-B224-41CD-B4E0-E297462320DD}" dt="2023-11-24T08:46:46.839" v="66623"/>
          <ac:spMkLst>
            <pc:docMk/>
            <pc:sldMk cId="4145871477" sldId="2147478567"/>
            <ac:spMk id="433" creationId="{DC8A6DF8-8D43-C4BE-C85A-1FE20B3E45F5}"/>
          </ac:spMkLst>
        </pc:spChg>
        <pc:spChg chg="add del mod">
          <ac:chgData name="Steiner Andreas 6206 ED" userId="e6377c33-a923-4f14-8587-531c474c7b48" providerId="ADAL" clId="{6ECD27E6-B224-41CD-B4E0-E297462320DD}" dt="2023-11-24T08:46:48.978" v="66778"/>
          <ac:spMkLst>
            <pc:docMk/>
            <pc:sldMk cId="4145871477" sldId="2147478567"/>
            <ac:spMk id="434" creationId="{9FE81B0A-D111-2B68-65C0-D72883E1B5FC}"/>
          </ac:spMkLst>
        </pc:spChg>
        <pc:spChg chg="add del mod">
          <ac:chgData name="Steiner Andreas 6206 ED" userId="e6377c33-a923-4f14-8587-531c474c7b48" providerId="ADAL" clId="{6ECD27E6-B224-41CD-B4E0-E297462320DD}" dt="2023-11-24T08:46:51.029" v="66933"/>
          <ac:spMkLst>
            <pc:docMk/>
            <pc:sldMk cId="4145871477" sldId="2147478567"/>
            <ac:spMk id="435" creationId="{3A550D6C-AE99-7A59-A415-2892E7BD8ACF}"/>
          </ac:spMkLst>
        </pc:spChg>
        <pc:spChg chg="add del mod">
          <ac:chgData name="Steiner Andreas 6206 ED" userId="e6377c33-a923-4f14-8587-531c474c7b48" providerId="ADAL" clId="{6ECD27E6-B224-41CD-B4E0-E297462320DD}" dt="2023-11-24T08:46:53.071" v="67088"/>
          <ac:spMkLst>
            <pc:docMk/>
            <pc:sldMk cId="4145871477" sldId="2147478567"/>
            <ac:spMk id="436" creationId="{F2CFFEA4-32F1-122B-BBB7-9C448B833468}"/>
          </ac:spMkLst>
        </pc:spChg>
        <pc:spChg chg="add del mod">
          <ac:chgData name="Steiner Andreas 6206 ED" userId="e6377c33-a923-4f14-8587-531c474c7b48" providerId="ADAL" clId="{6ECD27E6-B224-41CD-B4E0-E297462320DD}" dt="2023-11-24T08:46:55.052" v="67243"/>
          <ac:spMkLst>
            <pc:docMk/>
            <pc:sldMk cId="4145871477" sldId="2147478567"/>
            <ac:spMk id="437" creationId="{FDFDC214-6D43-9DDA-5223-D781A76D7259}"/>
          </ac:spMkLst>
        </pc:spChg>
        <pc:spChg chg="add del mod">
          <ac:chgData name="Steiner Andreas 6206 ED" userId="e6377c33-a923-4f14-8587-531c474c7b48" providerId="ADAL" clId="{6ECD27E6-B224-41CD-B4E0-E297462320DD}" dt="2023-11-24T08:46:57.015" v="67398"/>
          <ac:spMkLst>
            <pc:docMk/>
            <pc:sldMk cId="4145871477" sldId="2147478567"/>
            <ac:spMk id="438" creationId="{5C2D8D73-6412-F48A-BD1C-7B0E5F49B461}"/>
          </ac:spMkLst>
        </pc:spChg>
        <pc:spChg chg="add del mod">
          <ac:chgData name="Steiner Andreas 6206 ED" userId="e6377c33-a923-4f14-8587-531c474c7b48" providerId="ADAL" clId="{6ECD27E6-B224-41CD-B4E0-E297462320DD}" dt="2023-11-24T08:46:58.880" v="67553"/>
          <ac:spMkLst>
            <pc:docMk/>
            <pc:sldMk cId="4145871477" sldId="2147478567"/>
            <ac:spMk id="439" creationId="{60C1BF61-9EF4-B92D-CDDF-47412FD8CA6D}"/>
          </ac:spMkLst>
        </pc:spChg>
        <pc:spChg chg="add del mod">
          <ac:chgData name="Steiner Andreas 6206 ED" userId="e6377c33-a923-4f14-8587-531c474c7b48" providerId="ADAL" clId="{6ECD27E6-B224-41CD-B4E0-E297462320DD}" dt="2023-11-24T08:47:00.987" v="67708"/>
          <ac:spMkLst>
            <pc:docMk/>
            <pc:sldMk cId="4145871477" sldId="2147478567"/>
            <ac:spMk id="440" creationId="{138C4883-F8CA-F47B-4B06-CC6C77F4D1A7}"/>
          </ac:spMkLst>
        </pc:spChg>
        <pc:spChg chg="add del mod">
          <ac:chgData name="Steiner Andreas 6206 ED" userId="e6377c33-a923-4f14-8587-531c474c7b48" providerId="ADAL" clId="{6ECD27E6-B224-41CD-B4E0-E297462320DD}" dt="2023-11-24T08:47:03.153" v="67863"/>
          <ac:spMkLst>
            <pc:docMk/>
            <pc:sldMk cId="4145871477" sldId="2147478567"/>
            <ac:spMk id="441" creationId="{47664862-25F5-B5C8-16A0-3DD622E9231A}"/>
          </ac:spMkLst>
        </pc:spChg>
        <pc:spChg chg="add del mod">
          <ac:chgData name="Steiner Andreas 6206 ED" userId="e6377c33-a923-4f14-8587-531c474c7b48" providerId="ADAL" clId="{6ECD27E6-B224-41CD-B4E0-E297462320DD}" dt="2023-11-24T08:47:05.137" v="68018"/>
          <ac:spMkLst>
            <pc:docMk/>
            <pc:sldMk cId="4145871477" sldId="2147478567"/>
            <ac:spMk id="442" creationId="{62C22751-B92D-FC32-D4B3-A93F00C66CE9}"/>
          </ac:spMkLst>
        </pc:spChg>
        <pc:spChg chg="add del mod">
          <ac:chgData name="Steiner Andreas 6206 ED" userId="e6377c33-a923-4f14-8587-531c474c7b48" providerId="ADAL" clId="{6ECD27E6-B224-41CD-B4E0-E297462320DD}" dt="2023-11-24T08:47:06.916" v="68173"/>
          <ac:spMkLst>
            <pc:docMk/>
            <pc:sldMk cId="4145871477" sldId="2147478567"/>
            <ac:spMk id="443" creationId="{0F79B369-EB45-CEFB-F52C-AF559EF9E92F}"/>
          </ac:spMkLst>
        </pc:spChg>
        <pc:spChg chg="add del mod">
          <ac:chgData name="Steiner Andreas 6206 ED" userId="e6377c33-a923-4f14-8587-531c474c7b48" providerId="ADAL" clId="{6ECD27E6-B224-41CD-B4E0-E297462320DD}" dt="2023-11-24T08:47:08.807" v="68328"/>
          <ac:spMkLst>
            <pc:docMk/>
            <pc:sldMk cId="4145871477" sldId="2147478567"/>
            <ac:spMk id="444" creationId="{3F7B4960-B37D-71D2-90EE-D144FD6FE6B4}"/>
          </ac:spMkLst>
        </pc:spChg>
        <pc:spChg chg="add del mod">
          <ac:chgData name="Steiner Andreas 6206 ED" userId="e6377c33-a923-4f14-8587-531c474c7b48" providerId="ADAL" clId="{6ECD27E6-B224-41CD-B4E0-E297462320DD}" dt="2023-11-24T08:47:10.689" v="68483"/>
          <ac:spMkLst>
            <pc:docMk/>
            <pc:sldMk cId="4145871477" sldId="2147478567"/>
            <ac:spMk id="445" creationId="{C49E0E59-39BD-8D22-F0F8-2716440AC404}"/>
          </ac:spMkLst>
        </pc:spChg>
        <pc:spChg chg="add del mod">
          <ac:chgData name="Steiner Andreas 6206 ED" userId="e6377c33-a923-4f14-8587-531c474c7b48" providerId="ADAL" clId="{6ECD27E6-B224-41CD-B4E0-E297462320DD}" dt="2023-11-24T08:47:12.564" v="68638"/>
          <ac:spMkLst>
            <pc:docMk/>
            <pc:sldMk cId="4145871477" sldId="2147478567"/>
            <ac:spMk id="446" creationId="{7D4A4242-E360-5C0E-BA0F-B1E790A5E2D0}"/>
          </ac:spMkLst>
        </pc:spChg>
        <pc:spChg chg="add del mod">
          <ac:chgData name="Steiner Andreas 6206 ED" userId="e6377c33-a923-4f14-8587-531c474c7b48" providerId="ADAL" clId="{6ECD27E6-B224-41CD-B4E0-E297462320DD}" dt="2023-11-24T08:47:14.730" v="68793"/>
          <ac:spMkLst>
            <pc:docMk/>
            <pc:sldMk cId="4145871477" sldId="2147478567"/>
            <ac:spMk id="447" creationId="{16B7264F-1814-3D14-3AE7-A1EAE9F1E6B5}"/>
          </ac:spMkLst>
        </pc:spChg>
        <pc:spChg chg="add del mod">
          <ac:chgData name="Steiner Andreas 6206 ED" userId="e6377c33-a923-4f14-8587-531c474c7b48" providerId="ADAL" clId="{6ECD27E6-B224-41CD-B4E0-E297462320DD}" dt="2023-11-24T08:47:16.688" v="68948"/>
          <ac:spMkLst>
            <pc:docMk/>
            <pc:sldMk cId="4145871477" sldId="2147478567"/>
            <ac:spMk id="448" creationId="{61E5DAE3-2783-A996-4276-974981D44210}"/>
          </ac:spMkLst>
        </pc:spChg>
        <pc:spChg chg="add del mod">
          <ac:chgData name="Steiner Andreas 6206 ED" userId="e6377c33-a923-4f14-8587-531c474c7b48" providerId="ADAL" clId="{6ECD27E6-B224-41CD-B4E0-E297462320DD}" dt="2023-11-24T08:47:18.608" v="69103"/>
          <ac:spMkLst>
            <pc:docMk/>
            <pc:sldMk cId="4145871477" sldId="2147478567"/>
            <ac:spMk id="449" creationId="{892EC1DB-4469-D4A6-63F6-C061C88CE6C7}"/>
          </ac:spMkLst>
        </pc:spChg>
        <pc:spChg chg="add del mod">
          <ac:chgData name="Steiner Andreas 6206 ED" userId="e6377c33-a923-4f14-8587-531c474c7b48" providerId="ADAL" clId="{6ECD27E6-B224-41CD-B4E0-E297462320DD}" dt="2023-11-24T08:47:20.588" v="69258"/>
          <ac:spMkLst>
            <pc:docMk/>
            <pc:sldMk cId="4145871477" sldId="2147478567"/>
            <ac:spMk id="450" creationId="{84C6DC22-4E9C-E115-DD78-AE902DC2195F}"/>
          </ac:spMkLst>
        </pc:spChg>
        <pc:spChg chg="add del mod">
          <ac:chgData name="Steiner Andreas 6206 ED" userId="e6377c33-a923-4f14-8587-531c474c7b48" providerId="ADAL" clId="{6ECD27E6-B224-41CD-B4E0-E297462320DD}" dt="2023-11-24T08:47:22.996" v="69413"/>
          <ac:spMkLst>
            <pc:docMk/>
            <pc:sldMk cId="4145871477" sldId="2147478567"/>
            <ac:spMk id="451" creationId="{BD0516F5-5CD2-B4AD-B630-1FF210C69FED}"/>
          </ac:spMkLst>
        </pc:spChg>
        <pc:spChg chg="add del mod">
          <ac:chgData name="Steiner Andreas 6206 ED" userId="e6377c33-a923-4f14-8587-531c474c7b48" providerId="ADAL" clId="{6ECD27E6-B224-41CD-B4E0-E297462320DD}" dt="2023-11-24T08:47:25.667" v="69568"/>
          <ac:spMkLst>
            <pc:docMk/>
            <pc:sldMk cId="4145871477" sldId="2147478567"/>
            <ac:spMk id="452" creationId="{3E9A0884-4A12-14E4-4DA5-D251F5CAF32A}"/>
          </ac:spMkLst>
        </pc:spChg>
        <pc:spChg chg="add del mod">
          <ac:chgData name="Steiner Andreas 6206 ED" userId="e6377c33-a923-4f14-8587-531c474c7b48" providerId="ADAL" clId="{6ECD27E6-B224-41CD-B4E0-E297462320DD}" dt="2023-11-24T08:47:27.857" v="69723"/>
          <ac:spMkLst>
            <pc:docMk/>
            <pc:sldMk cId="4145871477" sldId="2147478567"/>
            <ac:spMk id="453" creationId="{1F0C8BF5-C429-4CC5-5896-3166E93933FF}"/>
          </ac:spMkLst>
        </pc:spChg>
        <pc:spChg chg="add del mod">
          <ac:chgData name="Steiner Andreas 6206 ED" userId="e6377c33-a923-4f14-8587-531c474c7b48" providerId="ADAL" clId="{6ECD27E6-B224-41CD-B4E0-E297462320DD}" dt="2023-11-24T08:47:29.915" v="69878"/>
          <ac:spMkLst>
            <pc:docMk/>
            <pc:sldMk cId="4145871477" sldId="2147478567"/>
            <ac:spMk id="454" creationId="{15C9DA4B-6C56-0183-DBA0-174DAB6738D9}"/>
          </ac:spMkLst>
        </pc:spChg>
        <pc:spChg chg="add del mod">
          <ac:chgData name="Steiner Andreas 6206 ED" userId="e6377c33-a923-4f14-8587-531c474c7b48" providerId="ADAL" clId="{6ECD27E6-B224-41CD-B4E0-E297462320DD}" dt="2023-11-24T08:47:31.883" v="70033"/>
          <ac:spMkLst>
            <pc:docMk/>
            <pc:sldMk cId="4145871477" sldId="2147478567"/>
            <ac:spMk id="455" creationId="{401B5DDD-9E51-D052-DFCF-F050BC3FE8EC}"/>
          </ac:spMkLst>
        </pc:spChg>
        <pc:spChg chg="add del mod">
          <ac:chgData name="Steiner Andreas 6206 ED" userId="e6377c33-a923-4f14-8587-531c474c7b48" providerId="ADAL" clId="{6ECD27E6-B224-41CD-B4E0-E297462320DD}" dt="2023-11-24T08:47:33.873" v="70188"/>
          <ac:spMkLst>
            <pc:docMk/>
            <pc:sldMk cId="4145871477" sldId="2147478567"/>
            <ac:spMk id="456" creationId="{8D68E445-9531-6458-F20E-02D3A9F3AC03}"/>
          </ac:spMkLst>
        </pc:spChg>
        <pc:spChg chg="add del mod">
          <ac:chgData name="Steiner Andreas 6206 ED" userId="e6377c33-a923-4f14-8587-531c474c7b48" providerId="ADAL" clId="{6ECD27E6-B224-41CD-B4E0-E297462320DD}" dt="2023-11-24T08:47:36.032" v="70343"/>
          <ac:spMkLst>
            <pc:docMk/>
            <pc:sldMk cId="4145871477" sldId="2147478567"/>
            <ac:spMk id="457" creationId="{B7353E82-5EF4-1C15-98F9-100C5EFE0C67}"/>
          </ac:spMkLst>
        </pc:spChg>
        <pc:spChg chg="add del mod">
          <ac:chgData name="Steiner Andreas 6206 ED" userId="e6377c33-a923-4f14-8587-531c474c7b48" providerId="ADAL" clId="{6ECD27E6-B224-41CD-B4E0-E297462320DD}" dt="2023-11-24T08:47:38.134" v="70498"/>
          <ac:spMkLst>
            <pc:docMk/>
            <pc:sldMk cId="4145871477" sldId="2147478567"/>
            <ac:spMk id="458" creationId="{0F006ADB-83DB-F210-6B22-D0192B8089B5}"/>
          </ac:spMkLst>
        </pc:spChg>
        <pc:spChg chg="add del mod">
          <ac:chgData name="Steiner Andreas 6206 ED" userId="e6377c33-a923-4f14-8587-531c474c7b48" providerId="ADAL" clId="{6ECD27E6-B224-41CD-B4E0-E297462320DD}" dt="2023-11-24T08:47:40.219" v="70653"/>
          <ac:spMkLst>
            <pc:docMk/>
            <pc:sldMk cId="4145871477" sldId="2147478567"/>
            <ac:spMk id="459" creationId="{6ABC8C10-16BB-5748-1930-7DC029E3A7E7}"/>
          </ac:spMkLst>
        </pc:spChg>
        <pc:spChg chg="add del mod">
          <ac:chgData name="Steiner Andreas 6206 ED" userId="e6377c33-a923-4f14-8587-531c474c7b48" providerId="ADAL" clId="{6ECD27E6-B224-41CD-B4E0-E297462320DD}" dt="2023-11-24T08:47:42.131" v="70808"/>
          <ac:spMkLst>
            <pc:docMk/>
            <pc:sldMk cId="4145871477" sldId="2147478567"/>
            <ac:spMk id="460" creationId="{720F278B-89EC-E415-9CFE-076C5F9E8CA1}"/>
          </ac:spMkLst>
        </pc:spChg>
        <pc:spChg chg="add del mod">
          <ac:chgData name="Steiner Andreas 6206 ED" userId="e6377c33-a923-4f14-8587-531c474c7b48" providerId="ADAL" clId="{6ECD27E6-B224-41CD-B4E0-E297462320DD}" dt="2023-11-24T08:47:44.052" v="70963"/>
          <ac:spMkLst>
            <pc:docMk/>
            <pc:sldMk cId="4145871477" sldId="2147478567"/>
            <ac:spMk id="461" creationId="{1D5F7F8C-AC1A-550D-3701-F12C221116DC}"/>
          </ac:spMkLst>
        </pc:spChg>
        <pc:spChg chg="add del mod">
          <ac:chgData name="Steiner Andreas 6206 ED" userId="e6377c33-a923-4f14-8587-531c474c7b48" providerId="ADAL" clId="{6ECD27E6-B224-41CD-B4E0-E297462320DD}" dt="2023-11-24T08:47:45.992" v="71118"/>
          <ac:spMkLst>
            <pc:docMk/>
            <pc:sldMk cId="4145871477" sldId="2147478567"/>
            <ac:spMk id="462" creationId="{7569D0F5-701A-605D-8CB2-9C68C54E37B1}"/>
          </ac:spMkLst>
        </pc:spChg>
        <pc:spChg chg="add del mod">
          <ac:chgData name="Steiner Andreas 6206 ED" userId="e6377c33-a923-4f14-8587-531c474c7b48" providerId="ADAL" clId="{6ECD27E6-B224-41CD-B4E0-E297462320DD}" dt="2023-11-24T08:47:48.076" v="71273"/>
          <ac:spMkLst>
            <pc:docMk/>
            <pc:sldMk cId="4145871477" sldId="2147478567"/>
            <ac:spMk id="463" creationId="{4BE46767-05CC-BA33-D96B-82151F69EC63}"/>
          </ac:spMkLst>
        </pc:spChg>
        <pc:spChg chg="add del mod">
          <ac:chgData name="Steiner Andreas 6206 ED" userId="e6377c33-a923-4f14-8587-531c474c7b48" providerId="ADAL" clId="{6ECD27E6-B224-41CD-B4E0-E297462320DD}" dt="2023-11-24T08:47:50.179" v="71428"/>
          <ac:spMkLst>
            <pc:docMk/>
            <pc:sldMk cId="4145871477" sldId="2147478567"/>
            <ac:spMk id="464" creationId="{079BB7E6-2014-C748-D680-12EE87F038D8}"/>
          </ac:spMkLst>
        </pc:spChg>
        <pc:spChg chg="add del mod">
          <ac:chgData name="Steiner Andreas 6206 ED" userId="e6377c33-a923-4f14-8587-531c474c7b48" providerId="ADAL" clId="{6ECD27E6-B224-41CD-B4E0-E297462320DD}" dt="2023-11-24T08:47:52.084" v="71583"/>
          <ac:spMkLst>
            <pc:docMk/>
            <pc:sldMk cId="4145871477" sldId="2147478567"/>
            <ac:spMk id="465" creationId="{A10A2D12-96B9-0E90-8460-93E09ECD2463}"/>
          </ac:spMkLst>
        </pc:spChg>
        <pc:spChg chg="add del mod">
          <ac:chgData name="Steiner Andreas 6206 ED" userId="e6377c33-a923-4f14-8587-531c474c7b48" providerId="ADAL" clId="{6ECD27E6-B224-41CD-B4E0-E297462320DD}" dt="2023-11-24T08:47:54.033" v="71738"/>
          <ac:spMkLst>
            <pc:docMk/>
            <pc:sldMk cId="4145871477" sldId="2147478567"/>
            <ac:spMk id="466" creationId="{1CD85338-DB9C-B8BE-2423-8104C1D73164}"/>
          </ac:spMkLst>
        </pc:spChg>
        <pc:spChg chg="add del mod">
          <ac:chgData name="Steiner Andreas 6206 ED" userId="e6377c33-a923-4f14-8587-531c474c7b48" providerId="ADAL" clId="{6ECD27E6-B224-41CD-B4E0-E297462320DD}" dt="2023-11-24T08:47:55.875" v="71893"/>
          <ac:spMkLst>
            <pc:docMk/>
            <pc:sldMk cId="4145871477" sldId="2147478567"/>
            <ac:spMk id="467" creationId="{2563FC5C-89D4-C05F-874A-0492A7C5C4A6}"/>
          </ac:spMkLst>
        </pc:spChg>
        <pc:spChg chg="add del mod">
          <ac:chgData name="Steiner Andreas 6206 ED" userId="e6377c33-a923-4f14-8587-531c474c7b48" providerId="ADAL" clId="{6ECD27E6-B224-41CD-B4E0-E297462320DD}" dt="2023-11-24T08:47:57.872" v="72048"/>
          <ac:spMkLst>
            <pc:docMk/>
            <pc:sldMk cId="4145871477" sldId="2147478567"/>
            <ac:spMk id="468" creationId="{058D06B3-D49C-E533-1509-F48444032984}"/>
          </ac:spMkLst>
        </pc:spChg>
        <pc:spChg chg="add del mod">
          <ac:chgData name="Steiner Andreas 6206 ED" userId="e6377c33-a923-4f14-8587-531c474c7b48" providerId="ADAL" clId="{6ECD27E6-B224-41CD-B4E0-E297462320DD}" dt="2023-11-24T08:48:00.001" v="72203"/>
          <ac:spMkLst>
            <pc:docMk/>
            <pc:sldMk cId="4145871477" sldId="2147478567"/>
            <ac:spMk id="469" creationId="{A80365DD-CCE1-82A8-E75F-BA91909882F7}"/>
          </ac:spMkLst>
        </pc:spChg>
        <pc:spChg chg="add del mod">
          <ac:chgData name="Steiner Andreas 6206 ED" userId="e6377c33-a923-4f14-8587-531c474c7b48" providerId="ADAL" clId="{6ECD27E6-B224-41CD-B4E0-E297462320DD}" dt="2023-11-24T08:48:02.132" v="72358"/>
          <ac:spMkLst>
            <pc:docMk/>
            <pc:sldMk cId="4145871477" sldId="2147478567"/>
            <ac:spMk id="470" creationId="{76C5662F-F801-2B05-869A-641E0D76DC5E}"/>
          </ac:spMkLst>
        </pc:spChg>
        <pc:spChg chg="add del mod">
          <ac:chgData name="Steiner Andreas 6206 ED" userId="e6377c33-a923-4f14-8587-531c474c7b48" providerId="ADAL" clId="{6ECD27E6-B224-41CD-B4E0-E297462320DD}" dt="2023-11-24T08:48:04.158" v="72513"/>
          <ac:spMkLst>
            <pc:docMk/>
            <pc:sldMk cId="4145871477" sldId="2147478567"/>
            <ac:spMk id="471" creationId="{69C23E3D-2DF9-1C0F-CAE9-163E984E6DA9}"/>
          </ac:spMkLst>
        </pc:spChg>
        <pc:spChg chg="add del mod">
          <ac:chgData name="Steiner Andreas 6206 ED" userId="e6377c33-a923-4f14-8587-531c474c7b48" providerId="ADAL" clId="{6ECD27E6-B224-41CD-B4E0-E297462320DD}" dt="2023-11-24T08:48:06.388" v="72668"/>
          <ac:spMkLst>
            <pc:docMk/>
            <pc:sldMk cId="4145871477" sldId="2147478567"/>
            <ac:spMk id="472" creationId="{8F3A7E2E-9A21-75CB-F50B-DF79FC756672}"/>
          </ac:spMkLst>
        </pc:spChg>
        <pc:spChg chg="add del mod">
          <ac:chgData name="Steiner Andreas 6206 ED" userId="e6377c33-a923-4f14-8587-531c474c7b48" providerId="ADAL" clId="{6ECD27E6-B224-41CD-B4E0-E297462320DD}" dt="2023-11-24T08:48:08.518" v="72823"/>
          <ac:spMkLst>
            <pc:docMk/>
            <pc:sldMk cId="4145871477" sldId="2147478567"/>
            <ac:spMk id="473" creationId="{592097F3-72EC-79AF-A577-B363762D85C3}"/>
          </ac:spMkLst>
        </pc:spChg>
        <pc:spChg chg="add del mod">
          <ac:chgData name="Steiner Andreas 6206 ED" userId="e6377c33-a923-4f14-8587-531c474c7b48" providerId="ADAL" clId="{6ECD27E6-B224-41CD-B4E0-E297462320DD}" dt="2023-11-24T08:48:10.578" v="72978"/>
          <ac:spMkLst>
            <pc:docMk/>
            <pc:sldMk cId="4145871477" sldId="2147478567"/>
            <ac:spMk id="474" creationId="{82201906-A5E5-1235-9CDB-2D4114E20706}"/>
          </ac:spMkLst>
        </pc:spChg>
        <pc:spChg chg="add del mod">
          <ac:chgData name="Steiner Andreas 6206 ED" userId="e6377c33-a923-4f14-8587-531c474c7b48" providerId="ADAL" clId="{6ECD27E6-B224-41CD-B4E0-E297462320DD}" dt="2023-11-24T08:48:12.544" v="73133"/>
          <ac:spMkLst>
            <pc:docMk/>
            <pc:sldMk cId="4145871477" sldId="2147478567"/>
            <ac:spMk id="475" creationId="{C3F6F966-572D-516D-8359-028360FB3AF9}"/>
          </ac:spMkLst>
        </pc:spChg>
        <pc:spChg chg="add del mod">
          <ac:chgData name="Steiner Andreas 6206 ED" userId="e6377c33-a923-4f14-8587-531c474c7b48" providerId="ADAL" clId="{6ECD27E6-B224-41CD-B4E0-E297462320DD}" dt="2023-11-24T08:48:15.095" v="73288"/>
          <ac:spMkLst>
            <pc:docMk/>
            <pc:sldMk cId="4145871477" sldId="2147478567"/>
            <ac:spMk id="476" creationId="{D18EDBCC-8F76-C542-9D84-3C1094BEF8B2}"/>
          </ac:spMkLst>
        </pc:spChg>
        <pc:spChg chg="add del mod">
          <ac:chgData name="Steiner Andreas 6206 ED" userId="e6377c33-a923-4f14-8587-531c474c7b48" providerId="ADAL" clId="{6ECD27E6-B224-41CD-B4E0-E297462320DD}" dt="2023-11-24T08:48:17.893" v="73443"/>
          <ac:spMkLst>
            <pc:docMk/>
            <pc:sldMk cId="4145871477" sldId="2147478567"/>
            <ac:spMk id="477" creationId="{DC22A886-1055-222E-E8BD-1FED3323421C}"/>
          </ac:spMkLst>
        </pc:spChg>
        <pc:spChg chg="add del mod">
          <ac:chgData name="Steiner Andreas 6206 ED" userId="e6377c33-a923-4f14-8587-531c474c7b48" providerId="ADAL" clId="{6ECD27E6-B224-41CD-B4E0-E297462320DD}" dt="2023-11-24T08:48:20.380" v="73598"/>
          <ac:spMkLst>
            <pc:docMk/>
            <pc:sldMk cId="4145871477" sldId="2147478567"/>
            <ac:spMk id="478" creationId="{04CDD9C0-0D61-BDEA-4D25-77BB08F9B89C}"/>
          </ac:spMkLst>
        </pc:spChg>
        <pc:spChg chg="add del mod">
          <ac:chgData name="Steiner Andreas 6206 ED" userId="e6377c33-a923-4f14-8587-531c474c7b48" providerId="ADAL" clId="{6ECD27E6-B224-41CD-B4E0-E297462320DD}" dt="2023-11-24T08:48:22.522" v="73753"/>
          <ac:spMkLst>
            <pc:docMk/>
            <pc:sldMk cId="4145871477" sldId="2147478567"/>
            <ac:spMk id="479" creationId="{7F444FCC-C455-C724-D185-59DB2B76C69D}"/>
          </ac:spMkLst>
        </pc:spChg>
        <pc:spChg chg="add del mod">
          <ac:chgData name="Steiner Andreas 6206 ED" userId="e6377c33-a923-4f14-8587-531c474c7b48" providerId="ADAL" clId="{6ECD27E6-B224-41CD-B4E0-E297462320DD}" dt="2023-11-24T08:48:24.594" v="73908"/>
          <ac:spMkLst>
            <pc:docMk/>
            <pc:sldMk cId="4145871477" sldId="2147478567"/>
            <ac:spMk id="480" creationId="{E969E740-0316-42EC-0C30-54BA746EFD12}"/>
          </ac:spMkLst>
        </pc:spChg>
        <pc:spChg chg="add del mod">
          <ac:chgData name="Steiner Andreas 6206 ED" userId="e6377c33-a923-4f14-8587-531c474c7b48" providerId="ADAL" clId="{6ECD27E6-B224-41CD-B4E0-E297462320DD}" dt="2023-11-24T08:48:26.699" v="74063"/>
          <ac:spMkLst>
            <pc:docMk/>
            <pc:sldMk cId="4145871477" sldId="2147478567"/>
            <ac:spMk id="481" creationId="{E69C60C4-E927-616B-99F8-8BFB44075738}"/>
          </ac:spMkLst>
        </pc:spChg>
        <pc:spChg chg="add del mod">
          <ac:chgData name="Steiner Andreas 6206 ED" userId="e6377c33-a923-4f14-8587-531c474c7b48" providerId="ADAL" clId="{6ECD27E6-B224-41CD-B4E0-E297462320DD}" dt="2023-11-24T08:48:28.702" v="74218"/>
          <ac:spMkLst>
            <pc:docMk/>
            <pc:sldMk cId="4145871477" sldId="2147478567"/>
            <ac:spMk id="482" creationId="{AD1682F3-9E1F-2485-EB1A-D9BF036B58FE}"/>
          </ac:spMkLst>
        </pc:spChg>
        <pc:spChg chg="add del mod">
          <ac:chgData name="Steiner Andreas 6206 ED" userId="e6377c33-a923-4f14-8587-531c474c7b48" providerId="ADAL" clId="{6ECD27E6-B224-41CD-B4E0-E297462320DD}" dt="2023-11-24T08:48:30.577" v="74373"/>
          <ac:spMkLst>
            <pc:docMk/>
            <pc:sldMk cId="4145871477" sldId="2147478567"/>
            <ac:spMk id="483" creationId="{C15EAEEE-606E-C5F9-6224-5C99A73CF7B3}"/>
          </ac:spMkLst>
        </pc:spChg>
        <pc:spChg chg="add del mod">
          <ac:chgData name="Steiner Andreas 6206 ED" userId="e6377c33-a923-4f14-8587-531c474c7b48" providerId="ADAL" clId="{6ECD27E6-B224-41CD-B4E0-E297462320DD}" dt="2023-11-24T08:48:32.557" v="74528"/>
          <ac:spMkLst>
            <pc:docMk/>
            <pc:sldMk cId="4145871477" sldId="2147478567"/>
            <ac:spMk id="484" creationId="{D0D9C402-5CD5-4B1D-B2A5-B3C6FDAD24AF}"/>
          </ac:spMkLst>
        </pc:spChg>
        <pc:spChg chg="add del mod">
          <ac:chgData name="Steiner Andreas 6206 ED" userId="e6377c33-a923-4f14-8587-531c474c7b48" providerId="ADAL" clId="{6ECD27E6-B224-41CD-B4E0-E297462320DD}" dt="2023-11-24T08:48:34.838" v="74683"/>
          <ac:spMkLst>
            <pc:docMk/>
            <pc:sldMk cId="4145871477" sldId="2147478567"/>
            <ac:spMk id="485" creationId="{D1CB2801-02BF-6B3D-669C-72FC5D7FB029}"/>
          </ac:spMkLst>
        </pc:spChg>
        <pc:spChg chg="add del mod">
          <ac:chgData name="Steiner Andreas 6206 ED" userId="e6377c33-a923-4f14-8587-531c474c7b48" providerId="ADAL" clId="{6ECD27E6-B224-41CD-B4E0-E297462320DD}" dt="2023-11-24T08:48:36.971" v="74838"/>
          <ac:spMkLst>
            <pc:docMk/>
            <pc:sldMk cId="4145871477" sldId="2147478567"/>
            <ac:spMk id="486" creationId="{3F7849CA-5124-57F3-7483-8EF4E6E1464F}"/>
          </ac:spMkLst>
        </pc:spChg>
        <pc:spChg chg="add del mod">
          <ac:chgData name="Steiner Andreas 6206 ED" userId="e6377c33-a923-4f14-8587-531c474c7b48" providerId="ADAL" clId="{6ECD27E6-B224-41CD-B4E0-E297462320DD}" dt="2023-11-24T08:48:39.030" v="74993"/>
          <ac:spMkLst>
            <pc:docMk/>
            <pc:sldMk cId="4145871477" sldId="2147478567"/>
            <ac:spMk id="487" creationId="{F1441816-F8C9-4CD5-41D7-F447901C1760}"/>
          </ac:spMkLst>
        </pc:spChg>
        <pc:spChg chg="add del mod">
          <ac:chgData name="Steiner Andreas 6206 ED" userId="e6377c33-a923-4f14-8587-531c474c7b48" providerId="ADAL" clId="{6ECD27E6-B224-41CD-B4E0-E297462320DD}" dt="2023-11-24T08:48:41.174" v="75148"/>
          <ac:spMkLst>
            <pc:docMk/>
            <pc:sldMk cId="4145871477" sldId="2147478567"/>
            <ac:spMk id="488" creationId="{A9C4620C-0994-4CF3-06FD-CAB10997B73E}"/>
          </ac:spMkLst>
        </pc:spChg>
        <pc:spChg chg="add del mod">
          <ac:chgData name="Steiner Andreas 6206 ED" userId="e6377c33-a923-4f14-8587-531c474c7b48" providerId="ADAL" clId="{6ECD27E6-B224-41CD-B4E0-E297462320DD}" dt="2023-11-24T08:48:43.610" v="75303"/>
          <ac:spMkLst>
            <pc:docMk/>
            <pc:sldMk cId="4145871477" sldId="2147478567"/>
            <ac:spMk id="489" creationId="{71249C9F-2523-CD6D-8459-83F37C5C9D7E}"/>
          </ac:spMkLst>
        </pc:spChg>
        <pc:spChg chg="add del mod">
          <ac:chgData name="Steiner Andreas 6206 ED" userId="e6377c33-a923-4f14-8587-531c474c7b48" providerId="ADAL" clId="{6ECD27E6-B224-41CD-B4E0-E297462320DD}" dt="2023-11-24T08:48:45.913" v="75458"/>
          <ac:spMkLst>
            <pc:docMk/>
            <pc:sldMk cId="4145871477" sldId="2147478567"/>
            <ac:spMk id="490" creationId="{20EF7ADC-A919-427A-3D8C-F8899B5AB90D}"/>
          </ac:spMkLst>
        </pc:spChg>
        <pc:spChg chg="add del mod">
          <ac:chgData name="Steiner Andreas 6206 ED" userId="e6377c33-a923-4f14-8587-531c474c7b48" providerId="ADAL" clId="{6ECD27E6-B224-41CD-B4E0-E297462320DD}" dt="2023-11-24T08:48:47.942" v="75613"/>
          <ac:spMkLst>
            <pc:docMk/>
            <pc:sldMk cId="4145871477" sldId="2147478567"/>
            <ac:spMk id="491" creationId="{E6B5E35C-EC72-1CB9-55D5-768596C9B881}"/>
          </ac:spMkLst>
        </pc:spChg>
        <pc:spChg chg="add del mod">
          <ac:chgData name="Steiner Andreas 6206 ED" userId="e6377c33-a923-4f14-8587-531c474c7b48" providerId="ADAL" clId="{6ECD27E6-B224-41CD-B4E0-E297462320DD}" dt="2023-11-24T08:48:49.917" v="75768"/>
          <ac:spMkLst>
            <pc:docMk/>
            <pc:sldMk cId="4145871477" sldId="2147478567"/>
            <ac:spMk id="492" creationId="{1C6F7234-8450-3E14-6E35-66811935ED55}"/>
          </ac:spMkLst>
        </pc:spChg>
        <pc:spChg chg="add del mod">
          <ac:chgData name="Steiner Andreas 6206 ED" userId="e6377c33-a923-4f14-8587-531c474c7b48" providerId="ADAL" clId="{6ECD27E6-B224-41CD-B4E0-E297462320DD}" dt="2023-11-24T08:48:52.141" v="75923"/>
          <ac:spMkLst>
            <pc:docMk/>
            <pc:sldMk cId="4145871477" sldId="2147478567"/>
            <ac:spMk id="493" creationId="{D199108B-CF69-A95F-ACE9-CEDF5F369712}"/>
          </ac:spMkLst>
        </pc:spChg>
        <pc:spChg chg="add del mod">
          <ac:chgData name="Steiner Andreas 6206 ED" userId="e6377c33-a923-4f14-8587-531c474c7b48" providerId="ADAL" clId="{6ECD27E6-B224-41CD-B4E0-E297462320DD}" dt="2023-11-24T08:48:54.037" v="76078"/>
          <ac:spMkLst>
            <pc:docMk/>
            <pc:sldMk cId="4145871477" sldId="2147478567"/>
            <ac:spMk id="494" creationId="{532E067A-4EC1-10EA-2750-3384B18DC4D8}"/>
          </ac:spMkLst>
        </pc:spChg>
        <pc:spChg chg="add del mod">
          <ac:chgData name="Steiner Andreas 6206 ED" userId="e6377c33-a923-4f14-8587-531c474c7b48" providerId="ADAL" clId="{6ECD27E6-B224-41CD-B4E0-E297462320DD}" dt="2023-11-24T08:48:56.049" v="76233"/>
          <ac:spMkLst>
            <pc:docMk/>
            <pc:sldMk cId="4145871477" sldId="2147478567"/>
            <ac:spMk id="495" creationId="{5A4E3D5B-1D25-A667-E2FF-DB9DD1B8DCD2}"/>
          </ac:spMkLst>
        </pc:spChg>
        <pc:spChg chg="add del mod">
          <ac:chgData name="Steiner Andreas 6206 ED" userId="e6377c33-a923-4f14-8587-531c474c7b48" providerId="ADAL" clId="{6ECD27E6-B224-41CD-B4E0-E297462320DD}" dt="2023-11-24T08:48:57.987" v="76388"/>
          <ac:spMkLst>
            <pc:docMk/>
            <pc:sldMk cId="4145871477" sldId="2147478567"/>
            <ac:spMk id="496" creationId="{02D71131-A156-05A2-1187-B3536291E257}"/>
          </ac:spMkLst>
        </pc:spChg>
        <pc:spChg chg="add del mod">
          <ac:chgData name="Steiner Andreas 6206 ED" userId="e6377c33-a923-4f14-8587-531c474c7b48" providerId="ADAL" clId="{6ECD27E6-B224-41CD-B4E0-E297462320DD}" dt="2023-11-24T08:49:00.048" v="76543"/>
          <ac:spMkLst>
            <pc:docMk/>
            <pc:sldMk cId="4145871477" sldId="2147478567"/>
            <ac:spMk id="497" creationId="{E6EA9D75-82C8-DF5F-890B-7974D7172D59}"/>
          </ac:spMkLst>
        </pc:spChg>
        <pc:spChg chg="add del mod">
          <ac:chgData name="Steiner Andreas 6206 ED" userId="e6377c33-a923-4f14-8587-531c474c7b48" providerId="ADAL" clId="{6ECD27E6-B224-41CD-B4E0-E297462320DD}" dt="2023-11-24T08:49:02.013" v="76698"/>
          <ac:spMkLst>
            <pc:docMk/>
            <pc:sldMk cId="4145871477" sldId="2147478567"/>
            <ac:spMk id="498" creationId="{425836EF-97B9-19F2-51C0-5B9E93949A98}"/>
          </ac:spMkLst>
        </pc:spChg>
        <pc:spChg chg="add del mod">
          <ac:chgData name="Steiner Andreas 6206 ED" userId="e6377c33-a923-4f14-8587-531c474c7b48" providerId="ADAL" clId="{6ECD27E6-B224-41CD-B4E0-E297462320DD}" dt="2023-11-24T08:49:03.979" v="76853"/>
          <ac:spMkLst>
            <pc:docMk/>
            <pc:sldMk cId="4145871477" sldId="2147478567"/>
            <ac:spMk id="499" creationId="{E70730AB-F69A-6365-949C-8A2414E3424A}"/>
          </ac:spMkLst>
        </pc:spChg>
        <pc:spChg chg="add del mod">
          <ac:chgData name="Steiner Andreas 6206 ED" userId="e6377c33-a923-4f14-8587-531c474c7b48" providerId="ADAL" clId="{6ECD27E6-B224-41CD-B4E0-E297462320DD}" dt="2023-11-24T08:49:05.880" v="77008"/>
          <ac:spMkLst>
            <pc:docMk/>
            <pc:sldMk cId="4145871477" sldId="2147478567"/>
            <ac:spMk id="500" creationId="{09BADFA9-0DF5-3395-AD19-E1A80FE69DD4}"/>
          </ac:spMkLst>
        </pc:spChg>
        <pc:spChg chg="add del mod">
          <ac:chgData name="Steiner Andreas 6206 ED" userId="e6377c33-a923-4f14-8587-531c474c7b48" providerId="ADAL" clId="{6ECD27E6-B224-41CD-B4E0-E297462320DD}" dt="2023-11-24T08:49:07.985" v="77163"/>
          <ac:spMkLst>
            <pc:docMk/>
            <pc:sldMk cId="4145871477" sldId="2147478567"/>
            <ac:spMk id="501" creationId="{14374833-DE1B-C339-A83F-4B6B59FB026C}"/>
          </ac:spMkLst>
        </pc:spChg>
        <pc:spChg chg="add del mod">
          <ac:chgData name="Steiner Andreas 6206 ED" userId="e6377c33-a923-4f14-8587-531c474c7b48" providerId="ADAL" clId="{6ECD27E6-B224-41CD-B4E0-E297462320DD}" dt="2023-11-24T08:49:09.872" v="77318"/>
          <ac:spMkLst>
            <pc:docMk/>
            <pc:sldMk cId="4145871477" sldId="2147478567"/>
            <ac:spMk id="502" creationId="{460283A0-603F-7F37-CF26-FA267457A357}"/>
          </ac:spMkLst>
        </pc:spChg>
        <pc:spChg chg="add del mod">
          <ac:chgData name="Steiner Andreas 6206 ED" userId="e6377c33-a923-4f14-8587-531c474c7b48" providerId="ADAL" clId="{6ECD27E6-B224-41CD-B4E0-E297462320DD}" dt="2023-11-24T08:49:11.648" v="77473"/>
          <ac:spMkLst>
            <pc:docMk/>
            <pc:sldMk cId="4145871477" sldId="2147478567"/>
            <ac:spMk id="503" creationId="{8FE0BE36-9102-5BBB-1E67-7E68B5554F73}"/>
          </ac:spMkLst>
        </pc:spChg>
        <pc:spChg chg="add del mod">
          <ac:chgData name="Steiner Andreas 6206 ED" userId="e6377c33-a923-4f14-8587-531c474c7b48" providerId="ADAL" clId="{6ECD27E6-B224-41CD-B4E0-E297462320DD}" dt="2023-11-24T08:49:13.760" v="77628"/>
          <ac:spMkLst>
            <pc:docMk/>
            <pc:sldMk cId="4145871477" sldId="2147478567"/>
            <ac:spMk id="504" creationId="{CB47FB48-AA50-D82B-4C51-F361AD509EAF}"/>
          </ac:spMkLst>
        </pc:spChg>
        <pc:spChg chg="add del mod">
          <ac:chgData name="Steiner Andreas 6206 ED" userId="e6377c33-a923-4f14-8587-531c474c7b48" providerId="ADAL" clId="{6ECD27E6-B224-41CD-B4E0-E297462320DD}" dt="2023-11-24T08:49:15.745" v="77783"/>
          <ac:spMkLst>
            <pc:docMk/>
            <pc:sldMk cId="4145871477" sldId="2147478567"/>
            <ac:spMk id="505" creationId="{685BB5D3-A9EB-E580-EC14-CB5969B9587D}"/>
          </ac:spMkLst>
        </pc:spChg>
        <pc:spChg chg="add del mod">
          <ac:chgData name="Steiner Andreas 6206 ED" userId="e6377c33-a923-4f14-8587-531c474c7b48" providerId="ADAL" clId="{6ECD27E6-B224-41CD-B4E0-E297462320DD}" dt="2023-11-24T08:49:17.783" v="77938"/>
          <ac:spMkLst>
            <pc:docMk/>
            <pc:sldMk cId="4145871477" sldId="2147478567"/>
            <ac:spMk id="506" creationId="{9620EE27-3A10-7A49-6110-0A2C2C40E214}"/>
          </ac:spMkLst>
        </pc:spChg>
        <pc:spChg chg="add del mod">
          <ac:chgData name="Steiner Andreas 6206 ED" userId="e6377c33-a923-4f14-8587-531c474c7b48" providerId="ADAL" clId="{6ECD27E6-B224-41CD-B4E0-E297462320DD}" dt="2023-11-24T08:49:19.823" v="78093"/>
          <ac:spMkLst>
            <pc:docMk/>
            <pc:sldMk cId="4145871477" sldId="2147478567"/>
            <ac:spMk id="507" creationId="{B810CFC0-8CE2-706E-36A6-F40E365C79AA}"/>
          </ac:spMkLst>
        </pc:spChg>
        <pc:spChg chg="add del mod">
          <ac:chgData name="Steiner Andreas 6206 ED" userId="e6377c33-a923-4f14-8587-531c474c7b48" providerId="ADAL" clId="{6ECD27E6-B224-41CD-B4E0-E297462320DD}" dt="2023-11-24T08:49:21.713" v="78248"/>
          <ac:spMkLst>
            <pc:docMk/>
            <pc:sldMk cId="4145871477" sldId="2147478567"/>
            <ac:spMk id="508" creationId="{273E30D7-6139-91B0-FD26-8AB78DD36A78}"/>
          </ac:spMkLst>
        </pc:spChg>
        <pc:spChg chg="add del mod">
          <ac:chgData name="Steiner Andreas 6206 ED" userId="e6377c33-a923-4f14-8587-531c474c7b48" providerId="ADAL" clId="{6ECD27E6-B224-41CD-B4E0-E297462320DD}" dt="2023-11-24T08:49:23.630" v="78403"/>
          <ac:spMkLst>
            <pc:docMk/>
            <pc:sldMk cId="4145871477" sldId="2147478567"/>
            <ac:spMk id="509" creationId="{C5D68C17-C748-C0A6-C301-41482E388F77}"/>
          </ac:spMkLst>
        </pc:spChg>
        <pc:spChg chg="add del mod">
          <ac:chgData name="Steiner Andreas 6206 ED" userId="e6377c33-a923-4f14-8587-531c474c7b48" providerId="ADAL" clId="{6ECD27E6-B224-41CD-B4E0-E297462320DD}" dt="2023-11-24T08:49:25.498" v="78558"/>
          <ac:spMkLst>
            <pc:docMk/>
            <pc:sldMk cId="4145871477" sldId="2147478567"/>
            <ac:spMk id="510" creationId="{16C38EF0-DA18-C2FA-A036-1EFC11B0366F}"/>
          </ac:spMkLst>
        </pc:spChg>
        <pc:spChg chg="add del mod">
          <ac:chgData name="Steiner Andreas 6206 ED" userId="e6377c33-a923-4f14-8587-531c474c7b48" providerId="ADAL" clId="{6ECD27E6-B224-41CD-B4E0-E297462320DD}" dt="2023-11-24T08:49:27.573" v="78713"/>
          <ac:spMkLst>
            <pc:docMk/>
            <pc:sldMk cId="4145871477" sldId="2147478567"/>
            <ac:spMk id="511" creationId="{34E2C41E-B3E2-FAC8-6091-10A95D463B77}"/>
          </ac:spMkLst>
        </pc:spChg>
        <pc:spChg chg="add del mod">
          <ac:chgData name="Steiner Andreas 6206 ED" userId="e6377c33-a923-4f14-8587-531c474c7b48" providerId="ADAL" clId="{6ECD27E6-B224-41CD-B4E0-E297462320DD}" dt="2023-11-24T08:49:29.607" v="78868"/>
          <ac:spMkLst>
            <pc:docMk/>
            <pc:sldMk cId="4145871477" sldId="2147478567"/>
            <ac:spMk id="512" creationId="{15715AA0-F3BF-ADF5-48C7-D2CAE0796F93}"/>
          </ac:spMkLst>
        </pc:spChg>
        <pc:spChg chg="add del mod">
          <ac:chgData name="Steiner Andreas 6206 ED" userId="e6377c33-a923-4f14-8587-531c474c7b48" providerId="ADAL" clId="{6ECD27E6-B224-41CD-B4E0-E297462320DD}" dt="2023-11-24T08:49:31.527" v="79023"/>
          <ac:spMkLst>
            <pc:docMk/>
            <pc:sldMk cId="4145871477" sldId="2147478567"/>
            <ac:spMk id="513" creationId="{E1937BB6-37C6-8897-6956-CECD601238EF}"/>
          </ac:spMkLst>
        </pc:spChg>
        <pc:spChg chg="add del mod">
          <ac:chgData name="Steiner Andreas 6206 ED" userId="e6377c33-a923-4f14-8587-531c474c7b48" providerId="ADAL" clId="{6ECD27E6-B224-41CD-B4E0-E297462320DD}" dt="2023-11-24T08:49:33.434" v="79178"/>
          <ac:spMkLst>
            <pc:docMk/>
            <pc:sldMk cId="4145871477" sldId="2147478567"/>
            <ac:spMk id="514" creationId="{0B754260-1306-03C9-6AC1-F56B4F4E26A7}"/>
          </ac:spMkLst>
        </pc:spChg>
        <pc:spChg chg="add del mod">
          <ac:chgData name="Steiner Andreas 6206 ED" userId="e6377c33-a923-4f14-8587-531c474c7b48" providerId="ADAL" clId="{6ECD27E6-B224-41CD-B4E0-E297462320DD}" dt="2023-11-24T08:49:35.332" v="79333"/>
          <ac:spMkLst>
            <pc:docMk/>
            <pc:sldMk cId="4145871477" sldId="2147478567"/>
            <ac:spMk id="515" creationId="{9BE50FB1-8DC6-D561-3B27-A5909E5C7C16}"/>
          </ac:spMkLst>
        </pc:spChg>
        <pc:spChg chg="add del mod">
          <ac:chgData name="Steiner Andreas 6206 ED" userId="e6377c33-a923-4f14-8587-531c474c7b48" providerId="ADAL" clId="{6ECD27E6-B224-41CD-B4E0-E297462320DD}" dt="2023-11-24T08:49:37.165" v="79488"/>
          <ac:spMkLst>
            <pc:docMk/>
            <pc:sldMk cId="4145871477" sldId="2147478567"/>
            <ac:spMk id="516" creationId="{8691CE93-604B-7B19-030D-E5DBFCC19CB5}"/>
          </ac:spMkLst>
        </pc:spChg>
        <pc:spChg chg="add del mod">
          <ac:chgData name="Steiner Andreas 6206 ED" userId="e6377c33-a923-4f14-8587-531c474c7b48" providerId="ADAL" clId="{6ECD27E6-B224-41CD-B4E0-E297462320DD}" dt="2023-11-24T08:49:39.117" v="79643"/>
          <ac:spMkLst>
            <pc:docMk/>
            <pc:sldMk cId="4145871477" sldId="2147478567"/>
            <ac:spMk id="517" creationId="{6174F7E0-9AB2-6283-2390-1575D003AE9B}"/>
          </ac:spMkLst>
        </pc:spChg>
        <pc:spChg chg="add del mod">
          <ac:chgData name="Steiner Andreas 6206 ED" userId="e6377c33-a923-4f14-8587-531c474c7b48" providerId="ADAL" clId="{6ECD27E6-B224-41CD-B4E0-E297462320DD}" dt="2023-11-24T08:49:41.228" v="79798"/>
          <ac:spMkLst>
            <pc:docMk/>
            <pc:sldMk cId="4145871477" sldId="2147478567"/>
            <ac:spMk id="518" creationId="{338D59A8-2E0A-134C-CA86-F0B43888209E}"/>
          </ac:spMkLst>
        </pc:spChg>
        <pc:spChg chg="add del mod">
          <ac:chgData name="Steiner Andreas 6206 ED" userId="e6377c33-a923-4f14-8587-531c474c7b48" providerId="ADAL" clId="{6ECD27E6-B224-41CD-B4E0-E297462320DD}" dt="2023-11-24T08:49:43.131" v="79953"/>
          <ac:spMkLst>
            <pc:docMk/>
            <pc:sldMk cId="4145871477" sldId="2147478567"/>
            <ac:spMk id="519" creationId="{AC3CD614-B423-3ACF-0592-7C37FE5C6E54}"/>
          </ac:spMkLst>
        </pc:spChg>
        <pc:spChg chg="add del mod">
          <ac:chgData name="Steiner Andreas 6206 ED" userId="e6377c33-a923-4f14-8587-531c474c7b48" providerId="ADAL" clId="{6ECD27E6-B224-41CD-B4E0-E297462320DD}" dt="2023-11-24T08:49:45.076" v="80108"/>
          <ac:spMkLst>
            <pc:docMk/>
            <pc:sldMk cId="4145871477" sldId="2147478567"/>
            <ac:spMk id="520" creationId="{AEAAB95D-2D91-ECAD-A4EC-67C7E89C7F2B}"/>
          </ac:spMkLst>
        </pc:spChg>
        <pc:spChg chg="add del mod">
          <ac:chgData name="Steiner Andreas 6206 ED" userId="e6377c33-a923-4f14-8587-531c474c7b48" providerId="ADAL" clId="{6ECD27E6-B224-41CD-B4E0-E297462320DD}" dt="2023-11-24T08:49:47.039" v="80263"/>
          <ac:spMkLst>
            <pc:docMk/>
            <pc:sldMk cId="4145871477" sldId="2147478567"/>
            <ac:spMk id="521" creationId="{F31AA4E8-E64E-E000-1A7B-CE33BBE70CA6}"/>
          </ac:spMkLst>
        </pc:spChg>
        <pc:spChg chg="add del mod">
          <ac:chgData name="Steiner Andreas 6206 ED" userId="e6377c33-a923-4f14-8587-531c474c7b48" providerId="ADAL" clId="{6ECD27E6-B224-41CD-B4E0-E297462320DD}" dt="2023-11-24T08:49:48.911" v="80418"/>
          <ac:spMkLst>
            <pc:docMk/>
            <pc:sldMk cId="4145871477" sldId="2147478567"/>
            <ac:spMk id="522" creationId="{5402B86E-F088-6A66-5535-62C373653E59}"/>
          </ac:spMkLst>
        </pc:spChg>
        <pc:spChg chg="add del mod">
          <ac:chgData name="Steiner Andreas 6206 ED" userId="e6377c33-a923-4f14-8587-531c474c7b48" providerId="ADAL" clId="{6ECD27E6-B224-41CD-B4E0-E297462320DD}" dt="2023-11-24T08:49:50.811" v="80573"/>
          <ac:spMkLst>
            <pc:docMk/>
            <pc:sldMk cId="4145871477" sldId="2147478567"/>
            <ac:spMk id="523" creationId="{43AEDAEF-8A01-BEAD-C6D5-672698A30EFC}"/>
          </ac:spMkLst>
        </pc:spChg>
        <pc:spChg chg="add del mod">
          <ac:chgData name="Steiner Andreas 6206 ED" userId="e6377c33-a923-4f14-8587-531c474c7b48" providerId="ADAL" clId="{6ECD27E6-B224-41CD-B4E0-E297462320DD}" dt="2023-11-24T08:49:52.736" v="80728"/>
          <ac:spMkLst>
            <pc:docMk/>
            <pc:sldMk cId="4145871477" sldId="2147478567"/>
            <ac:spMk id="524" creationId="{53601311-B789-2BBA-F0B0-11A8D30FF946}"/>
          </ac:spMkLst>
        </pc:spChg>
        <pc:spChg chg="add del mod">
          <ac:chgData name="Steiner Andreas 6206 ED" userId="e6377c33-a923-4f14-8587-531c474c7b48" providerId="ADAL" clId="{6ECD27E6-B224-41CD-B4E0-E297462320DD}" dt="2023-11-24T08:49:54.671" v="80883"/>
          <ac:spMkLst>
            <pc:docMk/>
            <pc:sldMk cId="4145871477" sldId="2147478567"/>
            <ac:spMk id="525" creationId="{F05D3202-D922-6192-D1F7-781329670039}"/>
          </ac:spMkLst>
        </pc:spChg>
        <pc:spChg chg="add del mod">
          <ac:chgData name="Steiner Andreas 6206 ED" userId="e6377c33-a923-4f14-8587-531c474c7b48" providerId="ADAL" clId="{6ECD27E6-B224-41CD-B4E0-E297462320DD}" dt="2023-11-24T08:49:56.540" v="81038"/>
          <ac:spMkLst>
            <pc:docMk/>
            <pc:sldMk cId="4145871477" sldId="2147478567"/>
            <ac:spMk id="526" creationId="{AE83CA6E-0482-AFFA-F07B-6DE760B0DEFD}"/>
          </ac:spMkLst>
        </pc:spChg>
        <pc:spChg chg="add del mod">
          <ac:chgData name="Steiner Andreas 6206 ED" userId="e6377c33-a923-4f14-8587-531c474c7b48" providerId="ADAL" clId="{6ECD27E6-B224-41CD-B4E0-E297462320DD}" dt="2023-11-24T08:49:58.436" v="81193"/>
          <ac:spMkLst>
            <pc:docMk/>
            <pc:sldMk cId="4145871477" sldId="2147478567"/>
            <ac:spMk id="527" creationId="{1C413AAD-0683-C13B-D671-5323D91130CD}"/>
          </ac:spMkLst>
        </pc:spChg>
        <pc:spChg chg="add del mod">
          <ac:chgData name="Steiner Andreas 6206 ED" userId="e6377c33-a923-4f14-8587-531c474c7b48" providerId="ADAL" clId="{6ECD27E6-B224-41CD-B4E0-E297462320DD}" dt="2023-11-24T08:50:00.359" v="81348"/>
          <ac:spMkLst>
            <pc:docMk/>
            <pc:sldMk cId="4145871477" sldId="2147478567"/>
            <ac:spMk id="528" creationId="{7BBAB0FC-8A97-1007-BCCF-CC7C3FCBD8B3}"/>
          </ac:spMkLst>
        </pc:spChg>
        <pc:spChg chg="add del mod">
          <ac:chgData name="Steiner Andreas 6206 ED" userId="e6377c33-a923-4f14-8587-531c474c7b48" providerId="ADAL" clId="{6ECD27E6-B224-41CD-B4E0-E297462320DD}" dt="2023-11-24T08:50:02.436" v="81503"/>
          <ac:spMkLst>
            <pc:docMk/>
            <pc:sldMk cId="4145871477" sldId="2147478567"/>
            <ac:spMk id="529" creationId="{A19F5E46-523F-0BD3-C998-B4737559CA46}"/>
          </ac:spMkLst>
        </pc:spChg>
        <pc:spChg chg="add del mod">
          <ac:chgData name="Steiner Andreas 6206 ED" userId="e6377c33-a923-4f14-8587-531c474c7b48" providerId="ADAL" clId="{6ECD27E6-B224-41CD-B4E0-E297462320DD}" dt="2023-11-24T08:50:04.504" v="81658"/>
          <ac:spMkLst>
            <pc:docMk/>
            <pc:sldMk cId="4145871477" sldId="2147478567"/>
            <ac:spMk id="530" creationId="{43A7162E-5AB1-7181-398A-873BFA5C2CC6}"/>
          </ac:spMkLst>
        </pc:spChg>
        <pc:spChg chg="add del mod">
          <ac:chgData name="Steiner Andreas 6206 ED" userId="e6377c33-a923-4f14-8587-531c474c7b48" providerId="ADAL" clId="{6ECD27E6-B224-41CD-B4E0-E297462320DD}" dt="2023-11-24T08:50:06.442" v="81813"/>
          <ac:spMkLst>
            <pc:docMk/>
            <pc:sldMk cId="4145871477" sldId="2147478567"/>
            <ac:spMk id="531" creationId="{9084A887-594F-C5E0-BC62-92A04ED912F3}"/>
          </ac:spMkLst>
        </pc:spChg>
        <pc:spChg chg="add del mod">
          <ac:chgData name="Steiner Andreas 6206 ED" userId="e6377c33-a923-4f14-8587-531c474c7b48" providerId="ADAL" clId="{6ECD27E6-B224-41CD-B4E0-E297462320DD}" dt="2023-11-24T08:50:08.322" v="81968"/>
          <ac:spMkLst>
            <pc:docMk/>
            <pc:sldMk cId="4145871477" sldId="2147478567"/>
            <ac:spMk id="532" creationId="{1220C61A-1237-4D1F-4631-36862E754CA9}"/>
          </ac:spMkLst>
        </pc:spChg>
        <pc:spChg chg="add del mod">
          <ac:chgData name="Steiner Andreas 6206 ED" userId="e6377c33-a923-4f14-8587-531c474c7b48" providerId="ADAL" clId="{6ECD27E6-B224-41CD-B4E0-E297462320DD}" dt="2023-11-24T08:50:10.225" v="82123"/>
          <ac:spMkLst>
            <pc:docMk/>
            <pc:sldMk cId="4145871477" sldId="2147478567"/>
            <ac:spMk id="533" creationId="{18B18741-11B7-264A-369C-34970C8B4051}"/>
          </ac:spMkLst>
        </pc:spChg>
        <pc:spChg chg="add del mod">
          <ac:chgData name="Steiner Andreas 6206 ED" userId="e6377c33-a923-4f14-8587-531c474c7b48" providerId="ADAL" clId="{6ECD27E6-B224-41CD-B4E0-E297462320DD}" dt="2023-11-24T08:50:12.140" v="82278"/>
          <ac:spMkLst>
            <pc:docMk/>
            <pc:sldMk cId="4145871477" sldId="2147478567"/>
            <ac:spMk id="534" creationId="{1AC2694F-3D28-0615-7A05-529FE0CCED4A}"/>
          </ac:spMkLst>
        </pc:spChg>
        <pc:spChg chg="add del mod">
          <ac:chgData name="Steiner Andreas 6206 ED" userId="e6377c33-a923-4f14-8587-531c474c7b48" providerId="ADAL" clId="{6ECD27E6-B224-41CD-B4E0-E297462320DD}" dt="2023-11-24T08:50:14.204" v="82433"/>
          <ac:spMkLst>
            <pc:docMk/>
            <pc:sldMk cId="4145871477" sldId="2147478567"/>
            <ac:spMk id="535" creationId="{082FDBA6-8F2D-5BBA-526C-AA9236B8B399}"/>
          </ac:spMkLst>
        </pc:spChg>
        <pc:spChg chg="add del mod">
          <ac:chgData name="Steiner Andreas 6206 ED" userId="e6377c33-a923-4f14-8587-531c474c7b48" providerId="ADAL" clId="{6ECD27E6-B224-41CD-B4E0-E297462320DD}" dt="2023-11-24T08:50:16.149" v="82588"/>
          <ac:spMkLst>
            <pc:docMk/>
            <pc:sldMk cId="4145871477" sldId="2147478567"/>
            <ac:spMk id="536" creationId="{A562ADD7-D9B2-898D-4395-8B516ACCFB7C}"/>
          </ac:spMkLst>
        </pc:spChg>
        <pc:spChg chg="add del mod">
          <ac:chgData name="Steiner Andreas 6206 ED" userId="e6377c33-a923-4f14-8587-531c474c7b48" providerId="ADAL" clId="{6ECD27E6-B224-41CD-B4E0-E297462320DD}" dt="2023-11-24T08:50:18.141" v="82743"/>
          <ac:spMkLst>
            <pc:docMk/>
            <pc:sldMk cId="4145871477" sldId="2147478567"/>
            <ac:spMk id="537" creationId="{EFF2AAAB-59FC-708B-8B9A-0F6DFF2B87A0}"/>
          </ac:spMkLst>
        </pc:spChg>
        <pc:spChg chg="add del mod">
          <ac:chgData name="Steiner Andreas 6206 ED" userId="e6377c33-a923-4f14-8587-531c474c7b48" providerId="ADAL" clId="{6ECD27E6-B224-41CD-B4E0-E297462320DD}" dt="2023-11-24T08:50:20.347" v="82898"/>
          <ac:spMkLst>
            <pc:docMk/>
            <pc:sldMk cId="4145871477" sldId="2147478567"/>
            <ac:spMk id="538" creationId="{59222E8D-8B04-62C7-BA23-2E37014BB721}"/>
          </ac:spMkLst>
        </pc:spChg>
        <pc:spChg chg="add del mod">
          <ac:chgData name="Steiner Andreas 6206 ED" userId="e6377c33-a923-4f14-8587-531c474c7b48" providerId="ADAL" clId="{6ECD27E6-B224-41CD-B4E0-E297462320DD}" dt="2023-11-24T08:50:22.277" v="83053"/>
          <ac:spMkLst>
            <pc:docMk/>
            <pc:sldMk cId="4145871477" sldId="2147478567"/>
            <ac:spMk id="539" creationId="{8A563156-84DB-FEE1-EC0E-4D94377ABB7A}"/>
          </ac:spMkLst>
        </pc:spChg>
        <pc:spChg chg="add del mod">
          <ac:chgData name="Steiner Andreas 6206 ED" userId="e6377c33-a923-4f14-8587-531c474c7b48" providerId="ADAL" clId="{6ECD27E6-B224-41CD-B4E0-E297462320DD}" dt="2023-11-24T08:50:24.374" v="83208"/>
          <ac:spMkLst>
            <pc:docMk/>
            <pc:sldMk cId="4145871477" sldId="2147478567"/>
            <ac:spMk id="540" creationId="{74039FCE-14F3-CB98-EE70-A5CFC84DFF81}"/>
          </ac:spMkLst>
        </pc:spChg>
        <pc:spChg chg="add del mod">
          <ac:chgData name="Steiner Andreas 6206 ED" userId="e6377c33-a923-4f14-8587-531c474c7b48" providerId="ADAL" clId="{6ECD27E6-B224-41CD-B4E0-E297462320DD}" dt="2023-11-24T08:50:26.371" v="83363"/>
          <ac:spMkLst>
            <pc:docMk/>
            <pc:sldMk cId="4145871477" sldId="2147478567"/>
            <ac:spMk id="541" creationId="{D369A86B-BF88-2EF4-3606-5F1709527108}"/>
          </ac:spMkLst>
        </pc:spChg>
        <pc:spChg chg="add del mod">
          <ac:chgData name="Steiner Andreas 6206 ED" userId="e6377c33-a923-4f14-8587-531c474c7b48" providerId="ADAL" clId="{6ECD27E6-B224-41CD-B4E0-E297462320DD}" dt="2023-11-24T08:50:28.303" v="83518"/>
          <ac:spMkLst>
            <pc:docMk/>
            <pc:sldMk cId="4145871477" sldId="2147478567"/>
            <ac:spMk id="542" creationId="{3449CB27-AD26-0149-F245-836E66300406}"/>
          </ac:spMkLst>
        </pc:spChg>
        <pc:spChg chg="add del mod">
          <ac:chgData name="Steiner Andreas 6206 ED" userId="e6377c33-a923-4f14-8587-531c474c7b48" providerId="ADAL" clId="{6ECD27E6-B224-41CD-B4E0-E297462320DD}" dt="2023-11-24T08:50:30.215" v="83673"/>
          <ac:spMkLst>
            <pc:docMk/>
            <pc:sldMk cId="4145871477" sldId="2147478567"/>
            <ac:spMk id="543" creationId="{1F845EBE-622D-02D2-1B74-D068845801AC}"/>
          </ac:spMkLst>
        </pc:spChg>
        <pc:spChg chg="add del mod">
          <ac:chgData name="Steiner Andreas 6206 ED" userId="e6377c33-a923-4f14-8587-531c474c7b48" providerId="ADAL" clId="{6ECD27E6-B224-41CD-B4E0-E297462320DD}" dt="2023-11-24T08:50:32.279" v="83828"/>
          <ac:spMkLst>
            <pc:docMk/>
            <pc:sldMk cId="4145871477" sldId="2147478567"/>
            <ac:spMk id="544" creationId="{673C668B-451D-829E-13B3-888B4302A923}"/>
          </ac:spMkLst>
        </pc:spChg>
        <pc:spChg chg="add del mod">
          <ac:chgData name="Steiner Andreas 6206 ED" userId="e6377c33-a923-4f14-8587-531c474c7b48" providerId="ADAL" clId="{6ECD27E6-B224-41CD-B4E0-E297462320DD}" dt="2023-11-24T08:50:34.301" v="83983"/>
          <ac:spMkLst>
            <pc:docMk/>
            <pc:sldMk cId="4145871477" sldId="2147478567"/>
            <ac:spMk id="545" creationId="{D43685F5-B201-A5C8-E107-765DE1B6F99D}"/>
          </ac:spMkLst>
        </pc:spChg>
        <pc:spChg chg="add del mod">
          <ac:chgData name="Steiner Andreas 6206 ED" userId="e6377c33-a923-4f14-8587-531c474c7b48" providerId="ADAL" clId="{6ECD27E6-B224-41CD-B4E0-E297462320DD}" dt="2023-11-24T08:50:36.533" v="84138"/>
          <ac:spMkLst>
            <pc:docMk/>
            <pc:sldMk cId="4145871477" sldId="2147478567"/>
            <ac:spMk id="546" creationId="{5B8A9A66-E23F-C134-978D-477E28071C02}"/>
          </ac:spMkLst>
        </pc:spChg>
        <pc:spChg chg="add del mod">
          <ac:chgData name="Steiner Andreas 6206 ED" userId="e6377c33-a923-4f14-8587-531c474c7b48" providerId="ADAL" clId="{6ECD27E6-B224-41CD-B4E0-E297462320DD}" dt="2023-11-24T08:50:38.494" v="84293"/>
          <ac:spMkLst>
            <pc:docMk/>
            <pc:sldMk cId="4145871477" sldId="2147478567"/>
            <ac:spMk id="547" creationId="{245C80C4-BC73-BA4D-F7A9-2681D9A73A6A}"/>
          </ac:spMkLst>
        </pc:spChg>
        <pc:spChg chg="add del mod">
          <ac:chgData name="Steiner Andreas 6206 ED" userId="e6377c33-a923-4f14-8587-531c474c7b48" providerId="ADAL" clId="{6ECD27E6-B224-41CD-B4E0-E297462320DD}" dt="2023-11-24T08:50:40.481" v="84448"/>
          <ac:spMkLst>
            <pc:docMk/>
            <pc:sldMk cId="4145871477" sldId="2147478567"/>
            <ac:spMk id="548" creationId="{82425D35-AB6B-FE8B-6B87-8954423BFC19}"/>
          </ac:spMkLst>
        </pc:spChg>
        <pc:spChg chg="add del mod">
          <ac:chgData name="Steiner Andreas 6206 ED" userId="e6377c33-a923-4f14-8587-531c474c7b48" providerId="ADAL" clId="{6ECD27E6-B224-41CD-B4E0-E297462320DD}" dt="2023-11-24T08:50:42.476" v="84603"/>
          <ac:spMkLst>
            <pc:docMk/>
            <pc:sldMk cId="4145871477" sldId="2147478567"/>
            <ac:spMk id="549" creationId="{48063140-1800-FCBF-9756-C4EF144EADD4}"/>
          </ac:spMkLst>
        </pc:spChg>
        <pc:spChg chg="add del mod">
          <ac:chgData name="Steiner Andreas 6206 ED" userId="e6377c33-a923-4f14-8587-531c474c7b48" providerId="ADAL" clId="{6ECD27E6-B224-41CD-B4E0-E297462320DD}" dt="2023-11-24T08:50:44.650" v="84758"/>
          <ac:spMkLst>
            <pc:docMk/>
            <pc:sldMk cId="4145871477" sldId="2147478567"/>
            <ac:spMk id="550" creationId="{A75B3402-9793-9847-DA49-A01CB98A2FED}"/>
          </ac:spMkLst>
        </pc:spChg>
        <pc:spChg chg="add del mod">
          <ac:chgData name="Steiner Andreas 6206 ED" userId="e6377c33-a923-4f14-8587-531c474c7b48" providerId="ADAL" clId="{6ECD27E6-B224-41CD-B4E0-E297462320DD}" dt="2023-11-24T08:50:46.753" v="84913"/>
          <ac:spMkLst>
            <pc:docMk/>
            <pc:sldMk cId="4145871477" sldId="2147478567"/>
            <ac:spMk id="551" creationId="{F681B34D-75F3-D6A3-C023-1E3EBB2AB074}"/>
          </ac:spMkLst>
        </pc:spChg>
        <pc:spChg chg="add del mod">
          <ac:chgData name="Steiner Andreas 6206 ED" userId="e6377c33-a923-4f14-8587-531c474c7b48" providerId="ADAL" clId="{6ECD27E6-B224-41CD-B4E0-E297462320DD}" dt="2023-11-24T08:50:48.874" v="85068"/>
          <ac:spMkLst>
            <pc:docMk/>
            <pc:sldMk cId="4145871477" sldId="2147478567"/>
            <ac:spMk id="552" creationId="{5F180200-C91C-1913-58D0-6106D738DE31}"/>
          </ac:spMkLst>
        </pc:spChg>
        <pc:spChg chg="add del mod">
          <ac:chgData name="Steiner Andreas 6206 ED" userId="e6377c33-a923-4f14-8587-531c474c7b48" providerId="ADAL" clId="{6ECD27E6-B224-41CD-B4E0-E297462320DD}" dt="2023-11-24T08:50:50.973" v="85223"/>
          <ac:spMkLst>
            <pc:docMk/>
            <pc:sldMk cId="4145871477" sldId="2147478567"/>
            <ac:spMk id="553" creationId="{F31C4A3B-CC8A-CBB4-145B-E16D051C4B7C}"/>
          </ac:spMkLst>
        </pc:spChg>
        <pc:spChg chg="add del mod">
          <ac:chgData name="Steiner Andreas 6206 ED" userId="e6377c33-a923-4f14-8587-531c474c7b48" providerId="ADAL" clId="{6ECD27E6-B224-41CD-B4E0-E297462320DD}" dt="2023-11-24T08:50:53.090" v="85378"/>
          <ac:spMkLst>
            <pc:docMk/>
            <pc:sldMk cId="4145871477" sldId="2147478567"/>
            <ac:spMk id="554" creationId="{29CA3DA5-E87A-DC27-CE72-E47BEB4A65A2}"/>
          </ac:spMkLst>
        </pc:spChg>
        <pc:spChg chg="add del mod">
          <ac:chgData name="Steiner Andreas 6206 ED" userId="e6377c33-a923-4f14-8587-531c474c7b48" providerId="ADAL" clId="{6ECD27E6-B224-41CD-B4E0-E297462320DD}" dt="2023-11-24T08:50:55.002" v="85533"/>
          <ac:spMkLst>
            <pc:docMk/>
            <pc:sldMk cId="4145871477" sldId="2147478567"/>
            <ac:spMk id="555" creationId="{C789AF25-BCB8-5CEB-4B59-C56214AAA1D1}"/>
          </ac:spMkLst>
        </pc:spChg>
        <pc:spChg chg="add del mod">
          <ac:chgData name="Steiner Andreas 6206 ED" userId="e6377c33-a923-4f14-8587-531c474c7b48" providerId="ADAL" clId="{6ECD27E6-B224-41CD-B4E0-E297462320DD}" dt="2023-11-24T08:50:56.906" v="85688"/>
          <ac:spMkLst>
            <pc:docMk/>
            <pc:sldMk cId="4145871477" sldId="2147478567"/>
            <ac:spMk id="556" creationId="{9D85ACBE-AD42-091A-2075-9B3F26394261}"/>
          </ac:spMkLst>
        </pc:spChg>
        <pc:spChg chg="add del mod">
          <ac:chgData name="Steiner Andreas 6206 ED" userId="e6377c33-a923-4f14-8587-531c474c7b48" providerId="ADAL" clId="{6ECD27E6-B224-41CD-B4E0-E297462320DD}" dt="2023-11-24T08:50:59.104" v="85843"/>
          <ac:spMkLst>
            <pc:docMk/>
            <pc:sldMk cId="4145871477" sldId="2147478567"/>
            <ac:spMk id="557" creationId="{32D84F48-BB42-1195-8F4A-C8DE53A052D9}"/>
          </ac:spMkLst>
        </pc:spChg>
        <pc:spChg chg="add del mod">
          <ac:chgData name="Steiner Andreas 6206 ED" userId="e6377c33-a923-4f14-8587-531c474c7b48" providerId="ADAL" clId="{6ECD27E6-B224-41CD-B4E0-E297462320DD}" dt="2023-11-24T08:51:01.050" v="85998"/>
          <ac:spMkLst>
            <pc:docMk/>
            <pc:sldMk cId="4145871477" sldId="2147478567"/>
            <ac:spMk id="558" creationId="{A58FC531-B960-3AD5-C8FB-8D65D7AB2764}"/>
          </ac:spMkLst>
        </pc:spChg>
        <pc:spChg chg="add del mod">
          <ac:chgData name="Steiner Andreas 6206 ED" userId="e6377c33-a923-4f14-8587-531c474c7b48" providerId="ADAL" clId="{6ECD27E6-B224-41CD-B4E0-E297462320DD}" dt="2023-11-24T08:51:03.030" v="86153"/>
          <ac:spMkLst>
            <pc:docMk/>
            <pc:sldMk cId="4145871477" sldId="2147478567"/>
            <ac:spMk id="559" creationId="{9F2A9294-C9ED-799F-DC8A-1FF4DC20C451}"/>
          </ac:spMkLst>
        </pc:spChg>
        <pc:spChg chg="add del mod">
          <ac:chgData name="Steiner Andreas 6206 ED" userId="e6377c33-a923-4f14-8587-531c474c7b48" providerId="ADAL" clId="{6ECD27E6-B224-41CD-B4E0-E297462320DD}" dt="2023-11-24T08:51:04.900" v="86308"/>
          <ac:spMkLst>
            <pc:docMk/>
            <pc:sldMk cId="4145871477" sldId="2147478567"/>
            <ac:spMk id="560" creationId="{11B757AB-A2D4-DF97-276B-5AA560312D51}"/>
          </ac:spMkLst>
        </pc:spChg>
        <pc:spChg chg="add del mod">
          <ac:chgData name="Steiner Andreas 6206 ED" userId="e6377c33-a923-4f14-8587-531c474c7b48" providerId="ADAL" clId="{6ECD27E6-B224-41CD-B4E0-E297462320DD}" dt="2023-11-24T08:51:06.794" v="86463"/>
          <ac:spMkLst>
            <pc:docMk/>
            <pc:sldMk cId="4145871477" sldId="2147478567"/>
            <ac:spMk id="561" creationId="{4A3B1F9F-8826-6E70-97BD-EB35534D05F8}"/>
          </ac:spMkLst>
        </pc:spChg>
        <pc:spChg chg="add del mod">
          <ac:chgData name="Steiner Andreas 6206 ED" userId="e6377c33-a923-4f14-8587-531c474c7b48" providerId="ADAL" clId="{6ECD27E6-B224-41CD-B4E0-E297462320DD}" dt="2023-11-24T08:51:08.783" v="86618"/>
          <ac:spMkLst>
            <pc:docMk/>
            <pc:sldMk cId="4145871477" sldId="2147478567"/>
            <ac:spMk id="562" creationId="{0C733EBA-31B3-3A46-E99F-F1F1E3A20386}"/>
          </ac:spMkLst>
        </pc:spChg>
        <pc:spChg chg="add del mod">
          <ac:chgData name="Steiner Andreas 6206 ED" userId="e6377c33-a923-4f14-8587-531c474c7b48" providerId="ADAL" clId="{6ECD27E6-B224-41CD-B4E0-E297462320DD}" dt="2023-11-24T08:51:10.816" v="86773"/>
          <ac:spMkLst>
            <pc:docMk/>
            <pc:sldMk cId="4145871477" sldId="2147478567"/>
            <ac:spMk id="563" creationId="{54A7068E-E537-6D77-20E6-573DA2749BC3}"/>
          </ac:spMkLst>
        </pc:spChg>
        <pc:spChg chg="add del mod">
          <ac:chgData name="Steiner Andreas 6206 ED" userId="e6377c33-a923-4f14-8587-531c474c7b48" providerId="ADAL" clId="{6ECD27E6-B224-41CD-B4E0-E297462320DD}" dt="2023-11-24T08:51:12.721" v="86928"/>
          <ac:spMkLst>
            <pc:docMk/>
            <pc:sldMk cId="4145871477" sldId="2147478567"/>
            <ac:spMk id="564" creationId="{6EB70BFC-30C5-5C3F-777F-552528A673D8}"/>
          </ac:spMkLst>
        </pc:spChg>
        <pc:spChg chg="add del mod">
          <ac:chgData name="Steiner Andreas 6206 ED" userId="e6377c33-a923-4f14-8587-531c474c7b48" providerId="ADAL" clId="{6ECD27E6-B224-41CD-B4E0-E297462320DD}" dt="2023-11-24T08:51:14.905" v="87083"/>
          <ac:spMkLst>
            <pc:docMk/>
            <pc:sldMk cId="4145871477" sldId="2147478567"/>
            <ac:spMk id="565" creationId="{09F23C68-CA34-8C35-665F-68EA3D865CD6}"/>
          </ac:spMkLst>
        </pc:spChg>
        <pc:spChg chg="add del mod">
          <ac:chgData name="Steiner Andreas 6206 ED" userId="e6377c33-a923-4f14-8587-531c474c7b48" providerId="ADAL" clId="{6ECD27E6-B224-41CD-B4E0-E297462320DD}" dt="2023-11-24T08:51:16.987" v="87238"/>
          <ac:spMkLst>
            <pc:docMk/>
            <pc:sldMk cId="4145871477" sldId="2147478567"/>
            <ac:spMk id="566" creationId="{7CA5144A-E1CE-E889-EBC5-80B510D5F71B}"/>
          </ac:spMkLst>
        </pc:spChg>
        <pc:spChg chg="add del mod">
          <ac:chgData name="Steiner Andreas 6206 ED" userId="e6377c33-a923-4f14-8587-531c474c7b48" providerId="ADAL" clId="{6ECD27E6-B224-41CD-B4E0-E297462320DD}" dt="2023-11-24T08:51:18.906" v="87393"/>
          <ac:spMkLst>
            <pc:docMk/>
            <pc:sldMk cId="4145871477" sldId="2147478567"/>
            <ac:spMk id="567" creationId="{2538FCFC-7FB7-E442-D7D7-8A912FFA9302}"/>
          </ac:spMkLst>
        </pc:spChg>
        <pc:spChg chg="add del mod">
          <ac:chgData name="Steiner Andreas 6206 ED" userId="e6377c33-a923-4f14-8587-531c474c7b48" providerId="ADAL" clId="{6ECD27E6-B224-41CD-B4E0-E297462320DD}" dt="2023-11-24T08:51:20.969" v="87548"/>
          <ac:spMkLst>
            <pc:docMk/>
            <pc:sldMk cId="4145871477" sldId="2147478567"/>
            <ac:spMk id="568" creationId="{D95FA5A0-A053-BC02-42CE-5A64A3DD1B7D}"/>
          </ac:spMkLst>
        </pc:spChg>
        <pc:spChg chg="add del mod">
          <ac:chgData name="Steiner Andreas 6206 ED" userId="e6377c33-a923-4f14-8587-531c474c7b48" providerId="ADAL" clId="{6ECD27E6-B224-41CD-B4E0-E297462320DD}" dt="2023-11-24T08:51:22.920" v="87703"/>
          <ac:spMkLst>
            <pc:docMk/>
            <pc:sldMk cId="4145871477" sldId="2147478567"/>
            <ac:spMk id="569" creationId="{A1E63D5C-FB12-C3E8-B5C2-EDC3F1CC2DA6}"/>
          </ac:spMkLst>
        </pc:spChg>
        <pc:spChg chg="add del mod">
          <ac:chgData name="Steiner Andreas 6206 ED" userId="e6377c33-a923-4f14-8587-531c474c7b48" providerId="ADAL" clId="{6ECD27E6-B224-41CD-B4E0-E297462320DD}" dt="2023-11-24T08:51:24.824" v="87858"/>
          <ac:spMkLst>
            <pc:docMk/>
            <pc:sldMk cId="4145871477" sldId="2147478567"/>
            <ac:spMk id="570" creationId="{5C1A34ED-EC48-A33A-8996-291951748184}"/>
          </ac:spMkLst>
        </pc:spChg>
        <pc:spChg chg="add del mod">
          <ac:chgData name="Steiner Andreas 6206 ED" userId="e6377c33-a923-4f14-8587-531c474c7b48" providerId="ADAL" clId="{6ECD27E6-B224-41CD-B4E0-E297462320DD}" dt="2023-11-24T08:51:26.699" v="88013"/>
          <ac:spMkLst>
            <pc:docMk/>
            <pc:sldMk cId="4145871477" sldId="2147478567"/>
            <ac:spMk id="571" creationId="{4B5ED5DA-C1C1-2814-7649-5D72007786EB}"/>
          </ac:spMkLst>
        </pc:spChg>
        <pc:spChg chg="add del mod">
          <ac:chgData name="Steiner Andreas 6206 ED" userId="e6377c33-a923-4f14-8587-531c474c7b48" providerId="ADAL" clId="{6ECD27E6-B224-41CD-B4E0-E297462320DD}" dt="2023-11-24T08:51:28.609" v="88168"/>
          <ac:spMkLst>
            <pc:docMk/>
            <pc:sldMk cId="4145871477" sldId="2147478567"/>
            <ac:spMk id="572" creationId="{74C32909-76D6-C9AC-9F61-E8392A6366EE}"/>
          </ac:spMkLst>
        </pc:spChg>
        <pc:spChg chg="add del mod">
          <ac:chgData name="Steiner Andreas 6206 ED" userId="e6377c33-a923-4f14-8587-531c474c7b48" providerId="ADAL" clId="{6ECD27E6-B224-41CD-B4E0-E297462320DD}" dt="2023-11-24T08:51:30.591" v="88323"/>
          <ac:spMkLst>
            <pc:docMk/>
            <pc:sldMk cId="4145871477" sldId="2147478567"/>
            <ac:spMk id="573" creationId="{9D09071C-2511-0A49-B8D1-F1101DBE0092}"/>
          </ac:spMkLst>
        </pc:spChg>
        <pc:spChg chg="add del mod">
          <ac:chgData name="Steiner Andreas 6206 ED" userId="e6377c33-a923-4f14-8587-531c474c7b48" providerId="ADAL" clId="{6ECD27E6-B224-41CD-B4E0-E297462320DD}" dt="2023-11-24T08:51:32.747" v="88478"/>
          <ac:spMkLst>
            <pc:docMk/>
            <pc:sldMk cId="4145871477" sldId="2147478567"/>
            <ac:spMk id="574" creationId="{B9F17CE6-A288-6340-E4AB-D7FD88CE51DF}"/>
          </ac:spMkLst>
        </pc:spChg>
        <pc:spChg chg="add del mod">
          <ac:chgData name="Steiner Andreas 6206 ED" userId="e6377c33-a923-4f14-8587-531c474c7b48" providerId="ADAL" clId="{6ECD27E6-B224-41CD-B4E0-E297462320DD}" dt="2023-11-24T08:51:34.703" v="88633"/>
          <ac:spMkLst>
            <pc:docMk/>
            <pc:sldMk cId="4145871477" sldId="2147478567"/>
            <ac:spMk id="575" creationId="{985A9D75-BDE0-2C36-1C49-9E4468BDEDD9}"/>
          </ac:spMkLst>
        </pc:spChg>
        <pc:spChg chg="add del mod">
          <ac:chgData name="Steiner Andreas 6206 ED" userId="e6377c33-a923-4f14-8587-531c474c7b48" providerId="ADAL" clId="{6ECD27E6-B224-41CD-B4E0-E297462320DD}" dt="2023-11-24T08:51:36.579" v="88788"/>
          <ac:spMkLst>
            <pc:docMk/>
            <pc:sldMk cId="4145871477" sldId="2147478567"/>
            <ac:spMk id="576" creationId="{3AAC9977-574C-8547-9958-2DF62102D6A1}"/>
          </ac:spMkLst>
        </pc:spChg>
        <pc:spChg chg="add del mod">
          <ac:chgData name="Steiner Andreas 6206 ED" userId="e6377c33-a923-4f14-8587-531c474c7b48" providerId="ADAL" clId="{6ECD27E6-B224-41CD-B4E0-E297462320DD}" dt="2023-11-24T08:51:38.521" v="88943"/>
          <ac:spMkLst>
            <pc:docMk/>
            <pc:sldMk cId="4145871477" sldId="2147478567"/>
            <ac:spMk id="577" creationId="{CE06430C-E187-4912-F632-72D8E805BF20}"/>
          </ac:spMkLst>
        </pc:spChg>
        <pc:spChg chg="add del mod">
          <ac:chgData name="Steiner Andreas 6206 ED" userId="e6377c33-a923-4f14-8587-531c474c7b48" providerId="ADAL" clId="{6ECD27E6-B224-41CD-B4E0-E297462320DD}" dt="2023-11-24T08:51:40.460" v="89098"/>
          <ac:spMkLst>
            <pc:docMk/>
            <pc:sldMk cId="4145871477" sldId="2147478567"/>
            <ac:spMk id="578" creationId="{2D62CFC6-F0E6-20F4-CB09-CFA6DE86C2D3}"/>
          </ac:spMkLst>
        </pc:spChg>
        <pc:spChg chg="add del mod">
          <ac:chgData name="Steiner Andreas 6206 ED" userId="e6377c33-a923-4f14-8587-531c474c7b48" providerId="ADAL" clId="{6ECD27E6-B224-41CD-B4E0-E297462320DD}" dt="2023-11-24T08:51:42.461" v="89253"/>
          <ac:spMkLst>
            <pc:docMk/>
            <pc:sldMk cId="4145871477" sldId="2147478567"/>
            <ac:spMk id="579" creationId="{E2643BEC-3713-B537-5901-7FB5ADE7944C}"/>
          </ac:spMkLst>
        </pc:spChg>
        <pc:spChg chg="add del mod">
          <ac:chgData name="Steiner Andreas 6206 ED" userId="e6377c33-a923-4f14-8587-531c474c7b48" providerId="ADAL" clId="{6ECD27E6-B224-41CD-B4E0-E297462320DD}" dt="2023-11-24T08:51:44.573" v="89408"/>
          <ac:spMkLst>
            <pc:docMk/>
            <pc:sldMk cId="4145871477" sldId="2147478567"/>
            <ac:spMk id="580" creationId="{771ED73A-A7DD-00E9-6126-4A7CEF078FDB}"/>
          </ac:spMkLst>
        </pc:spChg>
        <pc:spChg chg="add del mod">
          <ac:chgData name="Steiner Andreas 6206 ED" userId="e6377c33-a923-4f14-8587-531c474c7b48" providerId="ADAL" clId="{6ECD27E6-B224-41CD-B4E0-E297462320DD}" dt="2023-11-24T08:51:46.533" v="89563"/>
          <ac:spMkLst>
            <pc:docMk/>
            <pc:sldMk cId="4145871477" sldId="2147478567"/>
            <ac:spMk id="581" creationId="{DC81FE31-116F-59FF-4673-3E93C209FB54}"/>
          </ac:spMkLst>
        </pc:spChg>
        <pc:spChg chg="add del mod">
          <ac:chgData name="Steiner Andreas 6206 ED" userId="e6377c33-a923-4f14-8587-531c474c7b48" providerId="ADAL" clId="{6ECD27E6-B224-41CD-B4E0-E297462320DD}" dt="2023-11-24T08:51:48.423" v="89718"/>
          <ac:spMkLst>
            <pc:docMk/>
            <pc:sldMk cId="4145871477" sldId="2147478567"/>
            <ac:spMk id="582" creationId="{519826DD-85B4-2053-B924-B4F74AA3F4E5}"/>
          </ac:spMkLst>
        </pc:spChg>
        <pc:spChg chg="add del mod">
          <ac:chgData name="Steiner Andreas 6206 ED" userId="e6377c33-a923-4f14-8587-531c474c7b48" providerId="ADAL" clId="{6ECD27E6-B224-41CD-B4E0-E297462320DD}" dt="2023-11-24T08:51:50.351" v="89873"/>
          <ac:spMkLst>
            <pc:docMk/>
            <pc:sldMk cId="4145871477" sldId="2147478567"/>
            <ac:spMk id="583" creationId="{6B92D541-1355-9281-425B-4E7BFA154180}"/>
          </ac:spMkLst>
        </pc:spChg>
        <pc:spChg chg="add del mod">
          <ac:chgData name="Steiner Andreas 6206 ED" userId="e6377c33-a923-4f14-8587-531c474c7b48" providerId="ADAL" clId="{6ECD27E6-B224-41CD-B4E0-E297462320DD}" dt="2023-11-24T08:51:52.251" v="90028"/>
          <ac:spMkLst>
            <pc:docMk/>
            <pc:sldMk cId="4145871477" sldId="2147478567"/>
            <ac:spMk id="584" creationId="{A0142154-7ECA-779D-13D9-F8503F31B2C0}"/>
          </ac:spMkLst>
        </pc:spChg>
        <pc:spChg chg="add del mod">
          <ac:chgData name="Steiner Andreas 6206 ED" userId="e6377c33-a923-4f14-8587-531c474c7b48" providerId="ADAL" clId="{6ECD27E6-B224-41CD-B4E0-E297462320DD}" dt="2023-11-24T08:51:54.243" v="90183"/>
          <ac:spMkLst>
            <pc:docMk/>
            <pc:sldMk cId="4145871477" sldId="2147478567"/>
            <ac:spMk id="585" creationId="{D1F9E51F-7C87-40CC-F2CB-A01F95761D88}"/>
          </ac:spMkLst>
        </pc:spChg>
        <pc:spChg chg="add del mod">
          <ac:chgData name="Steiner Andreas 6206 ED" userId="e6377c33-a923-4f14-8587-531c474c7b48" providerId="ADAL" clId="{6ECD27E6-B224-41CD-B4E0-E297462320DD}" dt="2023-11-24T08:51:56.226" v="90338"/>
          <ac:spMkLst>
            <pc:docMk/>
            <pc:sldMk cId="4145871477" sldId="2147478567"/>
            <ac:spMk id="586" creationId="{1D1E99B1-8701-E68D-BC8E-71BA5DB4427B}"/>
          </ac:spMkLst>
        </pc:spChg>
        <pc:spChg chg="add del mod">
          <ac:chgData name="Steiner Andreas 6206 ED" userId="e6377c33-a923-4f14-8587-531c474c7b48" providerId="ADAL" clId="{6ECD27E6-B224-41CD-B4E0-E297462320DD}" dt="2023-11-24T08:51:58.157" v="90493"/>
          <ac:spMkLst>
            <pc:docMk/>
            <pc:sldMk cId="4145871477" sldId="2147478567"/>
            <ac:spMk id="587" creationId="{5FA0378D-B75A-BC0A-078A-389B62664725}"/>
          </ac:spMkLst>
        </pc:spChg>
        <pc:spChg chg="add del mod">
          <ac:chgData name="Steiner Andreas 6206 ED" userId="e6377c33-a923-4f14-8587-531c474c7b48" providerId="ADAL" clId="{6ECD27E6-B224-41CD-B4E0-E297462320DD}" dt="2023-11-24T08:52:00.283" v="90648"/>
          <ac:spMkLst>
            <pc:docMk/>
            <pc:sldMk cId="4145871477" sldId="2147478567"/>
            <ac:spMk id="588" creationId="{3846402E-8543-8740-8DD4-D5BB56DB72A0}"/>
          </ac:spMkLst>
        </pc:spChg>
        <pc:spChg chg="add del mod">
          <ac:chgData name="Steiner Andreas 6206 ED" userId="e6377c33-a923-4f14-8587-531c474c7b48" providerId="ADAL" clId="{6ECD27E6-B224-41CD-B4E0-E297462320DD}" dt="2023-11-24T08:52:02.236" v="90803"/>
          <ac:spMkLst>
            <pc:docMk/>
            <pc:sldMk cId="4145871477" sldId="2147478567"/>
            <ac:spMk id="589" creationId="{7E306EAB-C321-B8EA-2146-D731D65F1320}"/>
          </ac:spMkLst>
        </pc:spChg>
        <pc:spChg chg="add del mod">
          <ac:chgData name="Steiner Andreas 6206 ED" userId="e6377c33-a923-4f14-8587-531c474c7b48" providerId="ADAL" clId="{6ECD27E6-B224-41CD-B4E0-E297462320DD}" dt="2023-11-24T08:52:04.159" v="90958"/>
          <ac:spMkLst>
            <pc:docMk/>
            <pc:sldMk cId="4145871477" sldId="2147478567"/>
            <ac:spMk id="590" creationId="{80F5AE4B-9049-918A-116C-95A444A38CC8}"/>
          </ac:spMkLst>
        </pc:spChg>
        <pc:spChg chg="add del mod">
          <ac:chgData name="Steiner Andreas 6206 ED" userId="e6377c33-a923-4f14-8587-531c474c7b48" providerId="ADAL" clId="{6ECD27E6-B224-41CD-B4E0-E297462320DD}" dt="2023-11-24T08:52:06.366" v="91113"/>
          <ac:spMkLst>
            <pc:docMk/>
            <pc:sldMk cId="4145871477" sldId="2147478567"/>
            <ac:spMk id="591" creationId="{634C792C-4A8E-E2DB-0B15-2C8D93195CEE}"/>
          </ac:spMkLst>
        </pc:spChg>
        <pc:spChg chg="add del mod">
          <ac:chgData name="Steiner Andreas 6206 ED" userId="e6377c33-a923-4f14-8587-531c474c7b48" providerId="ADAL" clId="{6ECD27E6-B224-41CD-B4E0-E297462320DD}" dt="2023-11-24T08:52:08.326" v="91268"/>
          <ac:spMkLst>
            <pc:docMk/>
            <pc:sldMk cId="4145871477" sldId="2147478567"/>
            <ac:spMk id="592" creationId="{9E2E414D-8F93-A893-072C-BC6024060834}"/>
          </ac:spMkLst>
        </pc:spChg>
        <pc:spChg chg="add del mod">
          <ac:chgData name="Steiner Andreas 6206 ED" userId="e6377c33-a923-4f14-8587-531c474c7b48" providerId="ADAL" clId="{6ECD27E6-B224-41CD-B4E0-E297462320DD}" dt="2023-11-24T08:52:10.210" v="91423"/>
          <ac:spMkLst>
            <pc:docMk/>
            <pc:sldMk cId="4145871477" sldId="2147478567"/>
            <ac:spMk id="593" creationId="{52766BFF-A47E-2DE5-2257-2B80D8AE1327}"/>
          </ac:spMkLst>
        </pc:spChg>
        <pc:spChg chg="add del mod">
          <ac:chgData name="Steiner Andreas 6206 ED" userId="e6377c33-a923-4f14-8587-531c474c7b48" providerId="ADAL" clId="{6ECD27E6-B224-41CD-B4E0-E297462320DD}" dt="2023-11-24T08:52:12.060" v="91578"/>
          <ac:spMkLst>
            <pc:docMk/>
            <pc:sldMk cId="4145871477" sldId="2147478567"/>
            <ac:spMk id="594" creationId="{3D38E5C6-8F1C-9F4D-64EA-7809BBC94961}"/>
          </ac:spMkLst>
        </pc:spChg>
        <pc:spChg chg="add del mod">
          <ac:chgData name="Steiner Andreas 6206 ED" userId="e6377c33-a923-4f14-8587-531c474c7b48" providerId="ADAL" clId="{6ECD27E6-B224-41CD-B4E0-E297462320DD}" dt="2023-11-24T08:52:14.003" v="91733"/>
          <ac:spMkLst>
            <pc:docMk/>
            <pc:sldMk cId="4145871477" sldId="2147478567"/>
            <ac:spMk id="595" creationId="{444CC7B2-2781-A79D-E7BA-CDD712542482}"/>
          </ac:spMkLst>
        </pc:spChg>
        <pc:spChg chg="add del mod">
          <ac:chgData name="Steiner Andreas 6206 ED" userId="e6377c33-a923-4f14-8587-531c474c7b48" providerId="ADAL" clId="{6ECD27E6-B224-41CD-B4E0-E297462320DD}" dt="2023-11-24T08:52:15.913" v="91888"/>
          <ac:spMkLst>
            <pc:docMk/>
            <pc:sldMk cId="4145871477" sldId="2147478567"/>
            <ac:spMk id="596" creationId="{2A191703-82A7-E8AB-9F6A-CC79E3A32649}"/>
          </ac:spMkLst>
        </pc:spChg>
        <pc:spChg chg="add del mod">
          <ac:chgData name="Steiner Andreas 6206 ED" userId="e6377c33-a923-4f14-8587-531c474c7b48" providerId="ADAL" clId="{6ECD27E6-B224-41CD-B4E0-E297462320DD}" dt="2023-11-24T08:52:18.071" v="92043"/>
          <ac:spMkLst>
            <pc:docMk/>
            <pc:sldMk cId="4145871477" sldId="2147478567"/>
            <ac:spMk id="597" creationId="{428AD545-D444-D6D9-875F-4977331AB976}"/>
          </ac:spMkLst>
        </pc:spChg>
        <pc:spChg chg="add del mod">
          <ac:chgData name="Steiner Andreas 6206 ED" userId="e6377c33-a923-4f14-8587-531c474c7b48" providerId="ADAL" clId="{6ECD27E6-B224-41CD-B4E0-E297462320DD}" dt="2023-11-24T08:52:20.039" v="92198"/>
          <ac:spMkLst>
            <pc:docMk/>
            <pc:sldMk cId="4145871477" sldId="2147478567"/>
            <ac:spMk id="598" creationId="{787928F1-7E1E-AA6E-F9C8-B98E6F52B4F8}"/>
          </ac:spMkLst>
        </pc:spChg>
        <pc:spChg chg="add del mod">
          <ac:chgData name="Steiner Andreas 6206 ED" userId="e6377c33-a923-4f14-8587-531c474c7b48" providerId="ADAL" clId="{6ECD27E6-B224-41CD-B4E0-E297462320DD}" dt="2023-11-24T08:52:21.878" v="92353"/>
          <ac:spMkLst>
            <pc:docMk/>
            <pc:sldMk cId="4145871477" sldId="2147478567"/>
            <ac:spMk id="599" creationId="{8DF93B47-4AC6-A548-61F6-6E276BD859A3}"/>
          </ac:spMkLst>
        </pc:spChg>
        <pc:spChg chg="add del mod">
          <ac:chgData name="Steiner Andreas 6206 ED" userId="e6377c33-a923-4f14-8587-531c474c7b48" providerId="ADAL" clId="{6ECD27E6-B224-41CD-B4E0-E297462320DD}" dt="2023-11-24T08:52:23.935" v="92508"/>
          <ac:spMkLst>
            <pc:docMk/>
            <pc:sldMk cId="4145871477" sldId="2147478567"/>
            <ac:spMk id="600" creationId="{F81A254A-47D1-D98E-60F6-0166B03DC197}"/>
          </ac:spMkLst>
        </pc:spChg>
        <pc:spChg chg="add del mod">
          <ac:chgData name="Steiner Andreas 6206 ED" userId="e6377c33-a923-4f14-8587-531c474c7b48" providerId="ADAL" clId="{6ECD27E6-B224-41CD-B4E0-E297462320DD}" dt="2023-11-24T08:52:25.805" v="92663"/>
          <ac:spMkLst>
            <pc:docMk/>
            <pc:sldMk cId="4145871477" sldId="2147478567"/>
            <ac:spMk id="601" creationId="{3A08FB1F-EA05-5611-18A8-871D6888AD14}"/>
          </ac:spMkLst>
        </pc:spChg>
        <pc:spChg chg="add del mod">
          <ac:chgData name="Steiner Andreas 6206 ED" userId="e6377c33-a923-4f14-8587-531c474c7b48" providerId="ADAL" clId="{6ECD27E6-B224-41CD-B4E0-E297462320DD}" dt="2023-11-24T08:52:27.680" v="92818"/>
          <ac:spMkLst>
            <pc:docMk/>
            <pc:sldMk cId="4145871477" sldId="2147478567"/>
            <ac:spMk id="602" creationId="{89889927-C620-64CD-3BD7-9BB9E2D1CF8D}"/>
          </ac:spMkLst>
        </pc:spChg>
        <pc:spChg chg="add del mod">
          <ac:chgData name="Steiner Andreas 6206 ED" userId="e6377c33-a923-4f14-8587-531c474c7b48" providerId="ADAL" clId="{6ECD27E6-B224-41CD-B4E0-E297462320DD}" dt="2023-11-24T08:52:29.783" v="92973"/>
          <ac:spMkLst>
            <pc:docMk/>
            <pc:sldMk cId="4145871477" sldId="2147478567"/>
            <ac:spMk id="603" creationId="{2063E26E-C45C-9D8A-D7FA-A863B1684BF9}"/>
          </ac:spMkLst>
        </pc:spChg>
        <pc:spChg chg="add del mod">
          <ac:chgData name="Steiner Andreas 6206 ED" userId="e6377c33-a923-4f14-8587-531c474c7b48" providerId="ADAL" clId="{6ECD27E6-B224-41CD-B4E0-E297462320DD}" dt="2023-11-24T08:52:31.701" v="93128"/>
          <ac:spMkLst>
            <pc:docMk/>
            <pc:sldMk cId="4145871477" sldId="2147478567"/>
            <ac:spMk id="604" creationId="{6BCA67D5-D681-AD22-5BA0-F5ABFF696F75}"/>
          </ac:spMkLst>
        </pc:spChg>
        <pc:spChg chg="add del mod">
          <ac:chgData name="Steiner Andreas 6206 ED" userId="e6377c33-a923-4f14-8587-531c474c7b48" providerId="ADAL" clId="{6ECD27E6-B224-41CD-B4E0-E297462320DD}" dt="2023-11-24T08:52:33.621" v="93283"/>
          <ac:spMkLst>
            <pc:docMk/>
            <pc:sldMk cId="4145871477" sldId="2147478567"/>
            <ac:spMk id="605" creationId="{B1F8A86B-C438-961E-98FC-E8D3D381C32D}"/>
          </ac:spMkLst>
        </pc:spChg>
        <pc:spChg chg="add del mod">
          <ac:chgData name="Steiner Andreas 6206 ED" userId="e6377c33-a923-4f14-8587-531c474c7b48" providerId="ADAL" clId="{6ECD27E6-B224-41CD-B4E0-E297462320DD}" dt="2023-11-24T08:52:35.525" v="93438"/>
          <ac:spMkLst>
            <pc:docMk/>
            <pc:sldMk cId="4145871477" sldId="2147478567"/>
            <ac:spMk id="606" creationId="{D4D43534-D56B-7900-2530-D74CA53DAA82}"/>
          </ac:spMkLst>
        </pc:spChg>
        <pc:spChg chg="add del mod">
          <ac:chgData name="Steiner Andreas 6206 ED" userId="e6377c33-a923-4f14-8587-531c474c7b48" providerId="ADAL" clId="{6ECD27E6-B224-41CD-B4E0-E297462320DD}" dt="2023-11-24T08:52:37.446" v="93593"/>
          <ac:spMkLst>
            <pc:docMk/>
            <pc:sldMk cId="4145871477" sldId="2147478567"/>
            <ac:spMk id="607" creationId="{E441A33A-ACB5-3214-03AE-683FC6500146}"/>
          </ac:spMkLst>
        </pc:spChg>
        <pc:spChg chg="add del mod">
          <ac:chgData name="Steiner Andreas 6206 ED" userId="e6377c33-a923-4f14-8587-531c474c7b48" providerId="ADAL" clId="{6ECD27E6-B224-41CD-B4E0-E297462320DD}" dt="2023-11-24T08:52:39.367" v="93748"/>
          <ac:spMkLst>
            <pc:docMk/>
            <pc:sldMk cId="4145871477" sldId="2147478567"/>
            <ac:spMk id="608" creationId="{D2B726D6-03C6-8FFB-FC53-031EF38A44E8}"/>
          </ac:spMkLst>
        </pc:spChg>
        <pc:spChg chg="add del mod">
          <ac:chgData name="Steiner Andreas 6206 ED" userId="e6377c33-a923-4f14-8587-531c474c7b48" providerId="ADAL" clId="{6ECD27E6-B224-41CD-B4E0-E297462320DD}" dt="2023-11-24T08:52:41.419" v="93903"/>
          <ac:spMkLst>
            <pc:docMk/>
            <pc:sldMk cId="4145871477" sldId="2147478567"/>
            <ac:spMk id="609" creationId="{8A9F0ABB-00B4-131A-F5C2-966DD7050E4D}"/>
          </ac:spMkLst>
        </pc:spChg>
        <pc:spChg chg="add del mod">
          <ac:chgData name="Steiner Andreas 6206 ED" userId="e6377c33-a923-4f14-8587-531c474c7b48" providerId="ADAL" clId="{6ECD27E6-B224-41CD-B4E0-E297462320DD}" dt="2023-11-24T08:52:43.356" v="94058"/>
          <ac:spMkLst>
            <pc:docMk/>
            <pc:sldMk cId="4145871477" sldId="2147478567"/>
            <ac:spMk id="610" creationId="{2572C3E5-D623-20F3-0AB8-5ACDEF5B133C}"/>
          </ac:spMkLst>
        </pc:spChg>
        <pc:spChg chg="add del mod">
          <ac:chgData name="Steiner Andreas 6206 ED" userId="e6377c33-a923-4f14-8587-531c474c7b48" providerId="ADAL" clId="{6ECD27E6-B224-41CD-B4E0-E297462320DD}" dt="2023-11-24T08:52:45.294" v="94213"/>
          <ac:spMkLst>
            <pc:docMk/>
            <pc:sldMk cId="4145871477" sldId="2147478567"/>
            <ac:spMk id="611" creationId="{7FC6D1ED-444F-8A37-B8C2-C606B1A2203A}"/>
          </ac:spMkLst>
        </pc:spChg>
        <pc:spChg chg="add del mod">
          <ac:chgData name="Steiner Andreas 6206 ED" userId="e6377c33-a923-4f14-8587-531c474c7b48" providerId="ADAL" clId="{6ECD27E6-B224-41CD-B4E0-E297462320DD}" dt="2023-11-24T08:52:47.258" v="94368"/>
          <ac:spMkLst>
            <pc:docMk/>
            <pc:sldMk cId="4145871477" sldId="2147478567"/>
            <ac:spMk id="612" creationId="{2E7A51BA-05AE-91E7-C58C-E8C0C42AE23C}"/>
          </ac:spMkLst>
        </pc:spChg>
        <pc:spChg chg="add del mod">
          <ac:chgData name="Steiner Andreas 6206 ED" userId="e6377c33-a923-4f14-8587-531c474c7b48" providerId="ADAL" clId="{6ECD27E6-B224-41CD-B4E0-E297462320DD}" dt="2023-11-24T08:52:49.339" v="94523"/>
          <ac:spMkLst>
            <pc:docMk/>
            <pc:sldMk cId="4145871477" sldId="2147478567"/>
            <ac:spMk id="613" creationId="{B49DAEAD-4495-F54E-8937-052C023A0FE4}"/>
          </ac:spMkLst>
        </pc:spChg>
        <pc:spChg chg="add del mod">
          <ac:chgData name="Steiner Andreas 6206 ED" userId="e6377c33-a923-4f14-8587-531c474c7b48" providerId="ADAL" clId="{6ECD27E6-B224-41CD-B4E0-E297462320DD}" dt="2023-11-24T08:52:51.534" v="94678"/>
          <ac:spMkLst>
            <pc:docMk/>
            <pc:sldMk cId="4145871477" sldId="2147478567"/>
            <ac:spMk id="614" creationId="{F73EE225-E202-181F-3B01-002754C9CEF6}"/>
          </ac:spMkLst>
        </pc:spChg>
        <pc:spChg chg="add del mod">
          <ac:chgData name="Steiner Andreas 6206 ED" userId="e6377c33-a923-4f14-8587-531c474c7b48" providerId="ADAL" clId="{6ECD27E6-B224-41CD-B4E0-E297462320DD}" dt="2023-11-24T08:52:53.480" v="94833"/>
          <ac:spMkLst>
            <pc:docMk/>
            <pc:sldMk cId="4145871477" sldId="2147478567"/>
            <ac:spMk id="615" creationId="{793DEB2C-3736-0A07-6748-123B2C10EE1D}"/>
          </ac:spMkLst>
        </pc:spChg>
        <pc:spChg chg="add del mod">
          <ac:chgData name="Steiner Andreas 6206 ED" userId="e6377c33-a923-4f14-8587-531c474c7b48" providerId="ADAL" clId="{6ECD27E6-B224-41CD-B4E0-E297462320DD}" dt="2023-11-24T08:52:55.418" v="94988"/>
          <ac:spMkLst>
            <pc:docMk/>
            <pc:sldMk cId="4145871477" sldId="2147478567"/>
            <ac:spMk id="616" creationId="{9743237E-ACC3-7069-99FF-8695C6682297}"/>
          </ac:spMkLst>
        </pc:spChg>
        <pc:spChg chg="add del mod">
          <ac:chgData name="Steiner Andreas 6206 ED" userId="e6377c33-a923-4f14-8587-531c474c7b48" providerId="ADAL" clId="{6ECD27E6-B224-41CD-B4E0-E297462320DD}" dt="2023-11-24T08:52:57.446" v="95143"/>
          <ac:spMkLst>
            <pc:docMk/>
            <pc:sldMk cId="4145871477" sldId="2147478567"/>
            <ac:spMk id="617" creationId="{8CFA47D2-052A-1CD3-4D62-CDFF380929E1}"/>
          </ac:spMkLst>
        </pc:spChg>
        <pc:spChg chg="add del mod">
          <ac:chgData name="Steiner Andreas 6206 ED" userId="e6377c33-a923-4f14-8587-531c474c7b48" providerId="ADAL" clId="{6ECD27E6-B224-41CD-B4E0-E297462320DD}" dt="2023-11-24T08:52:59.397" v="95298"/>
          <ac:spMkLst>
            <pc:docMk/>
            <pc:sldMk cId="4145871477" sldId="2147478567"/>
            <ac:spMk id="618" creationId="{78CEEDBA-4A5C-DB36-0AE0-2B928FD94832}"/>
          </ac:spMkLst>
        </pc:spChg>
        <pc:spChg chg="add del mod">
          <ac:chgData name="Steiner Andreas 6206 ED" userId="e6377c33-a923-4f14-8587-531c474c7b48" providerId="ADAL" clId="{6ECD27E6-B224-41CD-B4E0-E297462320DD}" dt="2023-11-24T08:53:01.410" v="95453"/>
          <ac:spMkLst>
            <pc:docMk/>
            <pc:sldMk cId="4145871477" sldId="2147478567"/>
            <ac:spMk id="619" creationId="{41F3B611-9078-AEB9-9648-ED3CC674CC42}"/>
          </ac:spMkLst>
        </pc:spChg>
        <pc:spChg chg="add del mod">
          <ac:chgData name="Steiner Andreas 6206 ED" userId="e6377c33-a923-4f14-8587-531c474c7b48" providerId="ADAL" clId="{6ECD27E6-B224-41CD-B4E0-E297462320DD}" dt="2023-11-24T08:53:03.530" v="95608"/>
          <ac:spMkLst>
            <pc:docMk/>
            <pc:sldMk cId="4145871477" sldId="2147478567"/>
            <ac:spMk id="620" creationId="{68040F09-98EB-EB7C-BCEE-2E3B994A2F20}"/>
          </ac:spMkLst>
        </pc:spChg>
        <pc:spChg chg="add del mod">
          <ac:chgData name="Steiner Andreas 6206 ED" userId="e6377c33-a923-4f14-8587-531c474c7b48" providerId="ADAL" clId="{6ECD27E6-B224-41CD-B4E0-E297462320DD}" dt="2023-11-24T08:53:05.485" v="95763"/>
          <ac:spMkLst>
            <pc:docMk/>
            <pc:sldMk cId="4145871477" sldId="2147478567"/>
            <ac:spMk id="621" creationId="{BBFB87EC-C80F-A512-A6A5-7D7F735FB68B}"/>
          </ac:spMkLst>
        </pc:spChg>
        <pc:spChg chg="add del mod">
          <ac:chgData name="Steiner Andreas 6206 ED" userId="e6377c33-a923-4f14-8587-531c474c7b48" providerId="ADAL" clId="{6ECD27E6-B224-41CD-B4E0-E297462320DD}" dt="2023-11-24T08:53:07.365" v="95918"/>
          <ac:spMkLst>
            <pc:docMk/>
            <pc:sldMk cId="4145871477" sldId="2147478567"/>
            <ac:spMk id="622" creationId="{713CC3BD-3B71-8183-5D49-A1C9228DC990}"/>
          </ac:spMkLst>
        </pc:spChg>
        <pc:spChg chg="add del mod">
          <ac:chgData name="Steiner Andreas 6206 ED" userId="e6377c33-a923-4f14-8587-531c474c7b48" providerId="ADAL" clId="{6ECD27E6-B224-41CD-B4E0-E297462320DD}" dt="2023-11-24T08:53:09.303" v="96073"/>
          <ac:spMkLst>
            <pc:docMk/>
            <pc:sldMk cId="4145871477" sldId="2147478567"/>
            <ac:spMk id="623" creationId="{D9D027E2-05C0-1A4A-F342-CE9B7E7BA824}"/>
          </ac:spMkLst>
        </pc:spChg>
        <pc:spChg chg="add del mod">
          <ac:chgData name="Steiner Andreas 6206 ED" userId="e6377c33-a923-4f14-8587-531c474c7b48" providerId="ADAL" clId="{6ECD27E6-B224-41CD-B4E0-E297462320DD}" dt="2023-11-24T08:53:11.252" v="96228"/>
          <ac:spMkLst>
            <pc:docMk/>
            <pc:sldMk cId="4145871477" sldId="2147478567"/>
            <ac:spMk id="624" creationId="{CB233B52-CEFA-0127-D544-D882A0D81E52}"/>
          </ac:spMkLst>
        </pc:spChg>
        <pc:spChg chg="add del mod">
          <ac:chgData name="Steiner Andreas 6206 ED" userId="e6377c33-a923-4f14-8587-531c474c7b48" providerId="ADAL" clId="{6ECD27E6-B224-41CD-B4E0-E297462320DD}" dt="2023-11-24T08:53:13.253" v="96383"/>
          <ac:spMkLst>
            <pc:docMk/>
            <pc:sldMk cId="4145871477" sldId="2147478567"/>
            <ac:spMk id="625" creationId="{77F219F6-6132-B781-4EC6-11EACEDB6C08}"/>
          </ac:spMkLst>
        </pc:spChg>
        <pc:spChg chg="add del mod">
          <ac:chgData name="Steiner Andreas 6206 ED" userId="e6377c33-a923-4f14-8587-531c474c7b48" providerId="ADAL" clId="{6ECD27E6-B224-41CD-B4E0-E297462320DD}" dt="2023-11-24T08:53:15.334" v="96538"/>
          <ac:spMkLst>
            <pc:docMk/>
            <pc:sldMk cId="4145871477" sldId="2147478567"/>
            <ac:spMk id="626" creationId="{D0BBEA33-4F15-4031-AD23-C1DE84776CF7}"/>
          </ac:spMkLst>
        </pc:spChg>
        <pc:spChg chg="add del mod">
          <ac:chgData name="Steiner Andreas 6206 ED" userId="e6377c33-a923-4f14-8587-531c474c7b48" providerId="ADAL" clId="{6ECD27E6-B224-41CD-B4E0-E297462320DD}" dt="2023-11-24T08:53:17.293" v="96693"/>
          <ac:spMkLst>
            <pc:docMk/>
            <pc:sldMk cId="4145871477" sldId="2147478567"/>
            <ac:spMk id="627" creationId="{79DFF95B-C495-35C1-B706-9C7A411ADDE6}"/>
          </ac:spMkLst>
        </pc:spChg>
        <pc:spChg chg="add del mod">
          <ac:chgData name="Steiner Andreas 6206 ED" userId="e6377c33-a923-4f14-8587-531c474c7b48" providerId="ADAL" clId="{6ECD27E6-B224-41CD-B4E0-E297462320DD}" dt="2023-11-24T08:53:19.268" v="96848"/>
          <ac:spMkLst>
            <pc:docMk/>
            <pc:sldMk cId="4145871477" sldId="2147478567"/>
            <ac:spMk id="628" creationId="{E42F0EB0-441C-050A-1187-764FB2DC47B6}"/>
          </ac:spMkLst>
        </pc:spChg>
        <pc:spChg chg="add del mod">
          <ac:chgData name="Steiner Andreas 6206 ED" userId="e6377c33-a923-4f14-8587-531c474c7b48" providerId="ADAL" clId="{6ECD27E6-B224-41CD-B4E0-E297462320DD}" dt="2023-11-24T08:53:21.220" v="97003"/>
          <ac:spMkLst>
            <pc:docMk/>
            <pc:sldMk cId="4145871477" sldId="2147478567"/>
            <ac:spMk id="629" creationId="{01BA01D4-1753-50FD-D672-B3C903DAC16C}"/>
          </ac:spMkLst>
        </pc:spChg>
        <pc:spChg chg="add del mod">
          <ac:chgData name="Steiner Andreas 6206 ED" userId="e6377c33-a923-4f14-8587-531c474c7b48" providerId="ADAL" clId="{6ECD27E6-B224-41CD-B4E0-E297462320DD}" dt="2023-11-24T08:53:23.180" v="97158"/>
          <ac:spMkLst>
            <pc:docMk/>
            <pc:sldMk cId="4145871477" sldId="2147478567"/>
            <ac:spMk id="630" creationId="{FA0EACF2-D902-1184-CC8B-0DEA2F78AEC6}"/>
          </ac:spMkLst>
        </pc:spChg>
        <pc:spChg chg="add del mod">
          <ac:chgData name="Steiner Andreas 6206 ED" userId="e6377c33-a923-4f14-8587-531c474c7b48" providerId="ADAL" clId="{6ECD27E6-B224-41CD-B4E0-E297462320DD}" dt="2023-11-24T08:53:25.300" v="97313"/>
          <ac:spMkLst>
            <pc:docMk/>
            <pc:sldMk cId="4145871477" sldId="2147478567"/>
            <ac:spMk id="631" creationId="{3092E7A3-673E-3F02-0A01-3AC9AA1D132C}"/>
          </ac:spMkLst>
        </pc:spChg>
        <pc:spChg chg="add del mod">
          <ac:chgData name="Steiner Andreas 6206 ED" userId="e6377c33-a923-4f14-8587-531c474c7b48" providerId="ADAL" clId="{6ECD27E6-B224-41CD-B4E0-E297462320DD}" dt="2023-11-24T08:53:27.284" v="97468"/>
          <ac:spMkLst>
            <pc:docMk/>
            <pc:sldMk cId="4145871477" sldId="2147478567"/>
            <ac:spMk id="632" creationId="{33532B81-929C-5333-613A-B1DDB77D5D19}"/>
          </ac:spMkLst>
        </pc:spChg>
        <pc:spChg chg="add del mod">
          <ac:chgData name="Steiner Andreas 6206 ED" userId="e6377c33-a923-4f14-8587-531c474c7b48" providerId="ADAL" clId="{6ECD27E6-B224-41CD-B4E0-E297462320DD}" dt="2023-11-24T08:53:29.175" v="97623"/>
          <ac:spMkLst>
            <pc:docMk/>
            <pc:sldMk cId="4145871477" sldId="2147478567"/>
            <ac:spMk id="633" creationId="{F5879D99-3AAC-6180-C8FE-A67F2A0C4A28}"/>
          </ac:spMkLst>
        </pc:spChg>
        <pc:spChg chg="add del mod">
          <ac:chgData name="Steiner Andreas 6206 ED" userId="e6377c33-a923-4f14-8587-531c474c7b48" providerId="ADAL" clId="{6ECD27E6-B224-41CD-B4E0-E297462320DD}" dt="2023-11-24T08:53:31.077" v="97778"/>
          <ac:spMkLst>
            <pc:docMk/>
            <pc:sldMk cId="4145871477" sldId="2147478567"/>
            <ac:spMk id="634" creationId="{CA5FBEFA-385F-6227-8039-872FEA6706DA}"/>
          </ac:spMkLst>
        </pc:spChg>
        <pc:spChg chg="add del mod">
          <ac:chgData name="Steiner Andreas 6206 ED" userId="e6377c33-a923-4f14-8587-531c474c7b48" providerId="ADAL" clId="{6ECD27E6-B224-41CD-B4E0-E297462320DD}" dt="2023-11-24T08:53:33.008" v="97933"/>
          <ac:spMkLst>
            <pc:docMk/>
            <pc:sldMk cId="4145871477" sldId="2147478567"/>
            <ac:spMk id="635" creationId="{2CE98CF8-D7D4-D4D1-3661-61C640DE686F}"/>
          </ac:spMkLst>
        </pc:spChg>
        <pc:spChg chg="add del mod">
          <ac:chgData name="Steiner Andreas 6206 ED" userId="e6377c33-a923-4f14-8587-531c474c7b48" providerId="ADAL" clId="{6ECD27E6-B224-41CD-B4E0-E297462320DD}" dt="2023-11-24T08:53:34.943" v="98088"/>
          <ac:spMkLst>
            <pc:docMk/>
            <pc:sldMk cId="4145871477" sldId="2147478567"/>
            <ac:spMk id="636" creationId="{A9B75B3D-C184-CCE4-B7D5-FAB27AC7DB57}"/>
          </ac:spMkLst>
        </pc:spChg>
        <pc:spChg chg="add del mod">
          <ac:chgData name="Steiner Andreas 6206 ED" userId="e6377c33-a923-4f14-8587-531c474c7b48" providerId="ADAL" clId="{6ECD27E6-B224-41CD-B4E0-E297462320DD}" dt="2023-11-24T08:53:37.061" v="98243"/>
          <ac:spMkLst>
            <pc:docMk/>
            <pc:sldMk cId="4145871477" sldId="2147478567"/>
            <ac:spMk id="637" creationId="{0D0F55C5-2E25-7F75-172A-E9848FB1F0AE}"/>
          </ac:spMkLst>
        </pc:spChg>
        <pc:spChg chg="add del mod">
          <ac:chgData name="Steiner Andreas 6206 ED" userId="e6377c33-a923-4f14-8587-531c474c7b48" providerId="ADAL" clId="{6ECD27E6-B224-41CD-B4E0-E297462320DD}" dt="2023-11-24T08:53:38.948" v="98398"/>
          <ac:spMkLst>
            <pc:docMk/>
            <pc:sldMk cId="4145871477" sldId="2147478567"/>
            <ac:spMk id="638" creationId="{A23BF120-6F76-02E0-C3D2-237E1D4C34E9}"/>
          </ac:spMkLst>
        </pc:spChg>
        <pc:spChg chg="add del mod">
          <ac:chgData name="Steiner Andreas 6206 ED" userId="e6377c33-a923-4f14-8587-531c474c7b48" providerId="ADAL" clId="{6ECD27E6-B224-41CD-B4E0-E297462320DD}" dt="2023-11-24T08:53:40.906" v="98553"/>
          <ac:spMkLst>
            <pc:docMk/>
            <pc:sldMk cId="4145871477" sldId="2147478567"/>
            <ac:spMk id="639" creationId="{5900C646-0183-6154-2C92-F336878125E0}"/>
          </ac:spMkLst>
        </pc:spChg>
        <pc:spChg chg="add del mod">
          <ac:chgData name="Steiner Andreas 6206 ED" userId="e6377c33-a923-4f14-8587-531c474c7b48" providerId="ADAL" clId="{6ECD27E6-B224-41CD-B4E0-E297462320DD}" dt="2023-11-24T08:53:42.856" v="98708"/>
          <ac:spMkLst>
            <pc:docMk/>
            <pc:sldMk cId="4145871477" sldId="2147478567"/>
            <ac:spMk id="640" creationId="{287997F3-B946-8542-4983-5918A35B2C4D}"/>
          </ac:spMkLst>
        </pc:spChg>
        <pc:spChg chg="add del mod">
          <ac:chgData name="Steiner Andreas 6206 ED" userId="e6377c33-a923-4f14-8587-531c474c7b48" providerId="ADAL" clId="{6ECD27E6-B224-41CD-B4E0-E297462320DD}" dt="2023-11-24T08:53:44.797" v="98863"/>
          <ac:spMkLst>
            <pc:docMk/>
            <pc:sldMk cId="4145871477" sldId="2147478567"/>
            <ac:spMk id="641" creationId="{339B9B7D-A0A4-CB1D-F6B2-FCE271ACBCA5}"/>
          </ac:spMkLst>
        </pc:spChg>
        <pc:spChg chg="add del mod">
          <ac:chgData name="Steiner Andreas 6206 ED" userId="e6377c33-a923-4f14-8587-531c474c7b48" providerId="ADAL" clId="{6ECD27E6-B224-41CD-B4E0-E297462320DD}" dt="2023-11-24T08:53:46.747" v="99018"/>
          <ac:spMkLst>
            <pc:docMk/>
            <pc:sldMk cId="4145871477" sldId="2147478567"/>
            <ac:spMk id="642" creationId="{DCE3BE74-D902-2DBD-6F88-70A06A41B521}"/>
          </ac:spMkLst>
        </pc:spChg>
        <pc:spChg chg="add del mod">
          <ac:chgData name="Steiner Andreas 6206 ED" userId="e6377c33-a923-4f14-8587-531c474c7b48" providerId="ADAL" clId="{6ECD27E6-B224-41CD-B4E0-E297462320DD}" dt="2023-11-24T08:53:48.799" v="99173"/>
          <ac:spMkLst>
            <pc:docMk/>
            <pc:sldMk cId="4145871477" sldId="2147478567"/>
            <ac:spMk id="643" creationId="{1895292E-8D3B-A2EC-F129-DFB96392F9C9}"/>
          </ac:spMkLst>
        </pc:spChg>
        <pc:spChg chg="add del mod">
          <ac:chgData name="Steiner Andreas 6206 ED" userId="e6377c33-a923-4f14-8587-531c474c7b48" providerId="ADAL" clId="{6ECD27E6-B224-41CD-B4E0-E297462320DD}" dt="2023-11-24T08:53:50.749" v="99328"/>
          <ac:spMkLst>
            <pc:docMk/>
            <pc:sldMk cId="4145871477" sldId="2147478567"/>
            <ac:spMk id="644" creationId="{A614EEA8-42EB-C903-0B9E-86C3CECC305A}"/>
          </ac:spMkLst>
        </pc:spChg>
        <pc:spChg chg="add del mod">
          <ac:chgData name="Steiner Andreas 6206 ED" userId="e6377c33-a923-4f14-8587-531c474c7b48" providerId="ADAL" clId="{6ECD27E6-B224-41CD-B4E0-E297462320DD}" dt="2023-11-24T08:53:52.741" v="99483"/>
          <ac:spMkLst>
            <pc:docMk/>
            <pc:sldMk cId="4145871477" sldId="2147478567"/>
            <ac:spMk id="645" creationId="{F611869F-98FE-D26A-AC8C-1ABDA530210B}"/>
          </ac:spMkLst>
        </pc:spChg>
        <pc:spChg chg="add del mod">
          <ac:chgData name="Steiner Andreas 6206 ED" userId="e6377c33-a923-4f14-8587-531c474c7b48" providerId="ADAL" clId="{6ECD27E6-B224-41CD-B4E0-E297462320DD}" dt="2023-11-24T08:53:54.697" v="99638"/>
          <ac:spMkLst>
            <pc:docMk/>
            <pc:sldMk cId="4145871477" sldId="2147478567"/>
            <ac:spMk id="646" creationId="{5A12EE00-1EB0-C376-24A2-E0E639E6D0A4}"/>
          </ac:spMkLst>
        </pc:spChg>
        <pc:spChg chg="add del mod">
          <ac:chgData name="Steiner Andreas 6206 ED" userId="e6377c33-a923-4f14-8587-531c474c7b48" providerId="ADAL" clId="{6ECD27E6-B224-41CD-B4E0-E297462320DD}" dt="2023-11-24T08:53:56.636" v="99793"/>
          <ac:spMkLst>
            <pc:docMk/>
            <pc:sldMk cId="4145871477" sldId="2147478567"/>
            <ac:spMk id="647" creationId="{6DA4DF9D-A1B9-48C0-33C1-1692AB59C081}"/>
          </ac:spMkLst>
        </pc:spChg>
        <pc:spChg chg="add del mod">
          <ac:chgData name="Steiner Andreas 6206 ED" userId="e6377c33-a923-4f14-8587-531c474c7b48" providerId="ADAL" clId="{6ECD27E6-B224-41CD-B4E0-E297462320DD}" dt="2023-11-24T08:53:58.714" v="99948"/>
          <ac:spMkLst>
            <pc:docMk/>
            <pc:sldMk cId="4145871477" sldId="2147478567"/>
            <ac:spMk id="648" creationId="{53593A67-6FE8-FA9F-716D-80BD2D54109B}"/>
          </ac:spMkLst>
        </pc:spChg>
        <pc:spChg chg="add del mod">
          <ac:chgData name="Steiner Andreas 6206 ED" userId="e6377c33-a923-4f14-8587-531c474c7b48" providerId="ADAL" clId="{6ECD27E6-B224-41CD-B4E0-E297462320DD}" dt="2023-11-24T08:54:00.804" v="100103"/>
          <ac:spMkLst>
            <pc:docMk/>
            <pc:sldMk cId="4145871477" sldId="2147478567"/>
            <ac:spMk id="649" creationId="{4202F644-8B24-FDE1-EE35-6E249CE5450C}"/>
          </ac:spMkLst>
        </pc:spChg>
        <pc:spChg chg="add del mod">
          <ac:chgData name="Steiner Andreas 6206 ED" userId="e6377c33-a923-4f14-8587-531c474c7b48" providerId="ADAL" clId="{6ECD27E6-B224-41CD-B4E0-E297462320DD}" dt="2023-11-24T08:54:02.801" v="100258"/>
          <ac:spMkLst>
            <pc:docMk/>
            <pc:sldMk cId="4145871477" sldId="2147478567"/>
            <ac:spMk id="650" creationId="{FD2050D4-8D67-8F75-5B0C-14DC9CCA0CBE}"/>
          </ac:spMkLst>
        </pc:spChg>
        <pc:spChg chg="add del mod">
          <ac:chgData name="Steiner Andreas 6206 ED" userId="e6377c33-a923-4f14-8587-531c474c7b48" providerId="ADAL" clId="{6ECD27E6-B224-41CD-B4E0-E297462320DD}" dt="2023-11-24T08:54:04.748" v="100413"/>
          <ac:spMkLst>
            <pc:docMk/>
            <pc:sldMk cId="4145871477" sldId="2147478567"/>
            <ac:spMk id="651" creationId="{66138B06-B721-3AF4-3D2C-5C49EC2523AB}"/>
          </ac:spMkLst>
        </pc:spChg>
        <pc:spChg chg="add del mod">
          <ac:chgData name="Steiner Andreas 6206 ED" userId="e6377c33-a923-4f14-8587-531c474c7b48" providerId="ADAL" clId="{6ECD27E6-B224-41CD-B4E0-E297462320DD}" dt="2023-11-24T08:54:06.717" v="100568"/>
          <ac:spMkLst>
            <pc:docMk/>
            <pc:sldMk cId="4145871477" sldId="2147478567"/>
            <ac:spMk id="652" creationId="{FA72A15E-7E6A-DF84-D6C0-2995ABBD98B4}"/>
          </ac:spMkLst>
        </pc:spChg>
        <pc:spChg chg="add del mod">
          <ac:chgData name="Steiner Andreas 6206 ED" userId="e6377c33-a923-4f14-8587-531c474c7b48" providerId="ADAL" clId="{6ECD27E6-B224-41CD-B4E0-E297462320DD}" dt="2023-11-24T08:54:08.717" v="100723"/>
          <ac:spMkLst>
            <pc:docMk/>
            <pc:sldMk cId="4145871477" sldId="2147478567"/>
            <ac:spMk id="653" creationId="{55750A92-F6DB-D852-1EF1-F7B4440D45CB}"/>
          </ac:spMkLst>
        </pc:spChg>
        <pc:spChg chg="add del mod">
          <ac:chgData name="Steiner Andreas 6206 ED" userId="e6377c33-a923-4f14-8587-531c474c7b48" providerId="ADAL" clId="{6ECD27E6-B224-41CD-B4E0-E297462320DD}" dt="2023-11-24T08:54:10.842" v="100878"/>
          <ac:spMkLst>
            <pc:docMk/>
            <pc:sldMk cId="4145871477" sldId="2147478567"/>
            <ac:spMk id="654" creationId="{2302764A-CF23-0348-9A99-E82AE7E8BBC3}"/>
          </ac:spMkLst>
        </pc:spChg>
        <pc:spChg chg="add del mod">
          <ac:chgData name="Steiner Andreas 6206 ED" userId="e6377c33-a923-4f14-8587-531c474c7b48" providerId="ADAL" clId="{6ECD27E6-B224-41CD-B4E0-E297462320DD}" dt="2023-11-24T08:54:12.772" v="101033"/>
          <ac:spMkLst>
            <pc:docMk/>
            <pc:sldMk cId="4145871477" sldId="2147478567"/>
            <ac:spMk id="655" creationId="{94EC7DBB-AE13-8D54-3C93-B322E56AA684}"/>
          </ac:spMkLst>
        </pc:spChg>
        <pc:spChg chg="add del mod">
          <ac:chgData name="Steiner Andreas 6206 ED" userId="e6377c33-a923-4f14-8587-531c474c7b48" providerId="ADAL" clId="{6ECD27E6-B224-41CD-B4E0-E297462320DD}" dt="2023-11-24T08:54:14.733" v="101188"/>
          <ac:spMkLst>
            <pc:docMk/>
            <pc:sldMk cId="4145871477" sldId="2147478567"/>
            <ac:spMk id="656" creationId="{A9A431FA-FF8A-830E-59D6-BC0FCC804F31}"/>
          </ac:spMkLst>
        </pc:spChg>
        <pc:spChg chg="add del mod">
          <ac:chgData name="Steiner Andreas 6206 ED" userId="e6377c33-a923-4f14-8587-531c474c7b48" providerId="ADAL" clId="{6ECD27E6-B224-41CD-B4E0-E297462320DD}" dt="2023-11-24T08:54:16.621" v="101343"/>
          <ac:spMkLst>
            <pc:docMk/>
            <pc:sldMk cId="4145871477" sldId="2147478567"/>
            <ac:spMk id="657" creationId="{75B02216-034D-3239-5548-57077EA9D888}"/>
          </ac:spMkLst>
        </pc:spChg>
        <pc:spChg chg="add del mod">
          <ac:chgData name="Steiner Andreas 6206 ED" userId="e6377c33-a923-4f14-8587-531c474c7b48" providerId="ADAL" clId="{6ECD27E6-B224-41CD-B4E0-E297462320DD}" dt="2023-11-24T08:54:18.545" v="101498"/>
          <ac:spMkLst>
            <pc:docMk/>
            <pc:sldMk cId="4145871477" sldId="2147478567"/>
            <ac:spMk id="658" creationId="{CED90589-2F1B-6E04-016B-84D1F3B9D73A}"/>
          </ac:spMkLst>
        </pc:spChg>
        <pc:spChg chg="add del mod">
          <ac:chgData name="Steiner Andreas 6206 ED" userId="e6377c33-a923-4f14-8587-531c474c7b48" providerId="ADAL" clId="{6ECD27E6-B224-41CD-B4E0-E297462320DD}" dt="2023-11-24T08:54:20.512" v="101653"/>
          <ac:spMkLst>
            <pc:docMk/>
            <pc:sldMk cId="4145871477" sldId="2147478567"/>
            <ac:spMk id="659" creationId="{D573E374-4F27-C2DF-D272-9A29777F3D38}"/>
          </ac:spMkLst>
        </pc:spChg>
        <pc:spChg chg="add del mod">
          <ac:chgData name="Steiner Andreas 6206 ED" userId="e6377c33-a923-4f14-8587-531c474c7b48" providerId="ADAL" clId="{6ECD27E6-B224-41CD-B4E0-E297462320DD}" dt="2023-11-24T08:54:22.604" v="101808"/>
          <ac:spMkLst>
            <pc:docMk/>
            <pc:sldMk cId="4145871477" sldId="2147478567"/>
            <ac:spMk id="660" creationId="{38CE21D3-D5EF-A830-8E09-0E8B6B5E8EA0}"/>
          </ac:spMkLst>
        </pc:spChg>
        <pc:spChg chg="add del mod">
          <ac:chgData name="Steiner Andreas 6206 ED" userId="e6377c33-a923-4f14-8587-531c474c7b48" providerId="ADAL" clId="{6ECD27E6-B224-41CD-B4E0-E297462320DD}" dt="2023-11-24T08:54:24.578" v="101963"/>
          <ac:spMkLst>
            <pc:docMk/>
            <pc:sldMk cId="4145871477" sldId="2147478567"/>
            <ac:spMk id="661" creationId="{4F7EA4F3-E812-4DAE-2FC7-F10362E60453}"/>
          </ac:spMkLst>
        </pc:spChg>
        <pc:spChg chg="add del mod">
          <ac:chgData name="Steiner Andreas 6206 ED" userId="e6377c33-a923-4f14-8587-531c474c7b48" providerId="ADAL" clId="{6ECD27E6-B224-41CD-B4E0-E297462320DD}" dt="2023-11-24T08:54:26.521" v="102118"/>
          <ac:spMkLst>
            <pc:docMk/>
            <pc:sldMk cId="4145871477" sldId="2147478567"/>
            <ac:spMk id="662" creationId="{9149D89E-E2FE-51D7-ED99-A1A5BEEC70AC}"/>
          </ac:spMkLst>
        </pc:spChg>
        <pc:spChg chg="add del mod">
          <ac:chgData name="Steiner Andreas 6206 ED" userId="e6377c33-a923-4f14-8587-531c474c7b48" providerId="ADAL" clId="{6ECD27E6-B224-41CD-B4E0-E297462320DD}" dt="2023-11-24T08:54:28.479" v="102273"/>
          <ac:spMkLst>
            <pc:docMk/>
            <pc:sldMk cId="4145871477" sldId="2147478567"/>
            <ac:spMk id="663" creationId="{2319AF91-797D-3810-7297-D2A237CD2D80}"/>
          </ac:spMkLst>
        </pc:spChg>
        <pc:spChg chg="add del mod">
          <ac:chgData name="Steiner Andreas 6206 ED" userId="e6377c33-a923-4f14-8587-531c474c7b48" providerId="ADAL" clId="{6ECD27E6-B224-41CD-B4E0-E297462320DD}" dt="2023-11-24T08:54:30.405" v="102428"/>
          <ac:spMkLst>
            <pc:docMk/>
            <pc:sldMk cId="4145871477" sldId="2147478567"/>
            <ac:spMk id="664" creationId="{E4418698-FF7D-469D-6420-DB571CAC2D0A}"/>
          </ac:spMkLst>
        </pc:spChg>
        <pc:spChg chg="add del mod">
          <ac:chgData name="Steiner Andreas 6206 ED" userId="e6377c33-a923-4f14-8587-531c474c7b48" providerId="ADAL" clId="{6ECD27E6-B224-41CD-B4E0-E297462320DD}" dt="2023-11-24T08:54:32.571" v="102583"/>
          <ac:spMkLst>
            <pc:docMk/>
            <pc:sldMk cId="4145871477" sldId="2147478567"/>
            <ac:spMk id="665" creationId="{4B3C4955-2B4A-7528-52EE-BEC259343F58}"/>
          </ac:spMkLst>
        </pc:spChg>
        <pc:spChg chg="add del mod">
          <ac:chgData name="Steiner Andreas 6206 ED" userId="e6377c33-a923-4f14-8587-531c474c7b48" providerId="ADAL" clId="{6ECD27E6-B224-41CD-B4E0-E297462320DD}" dt="2023-11-24T08:54:34.542" v="102738"/>
          <ac:spMkLst>
            <pc:docMk/>
            <pc:sldMk cId="4145871477" sldId="2147478567"/>
            <ac:spMk id="666" creationId="{6BEE1A59-EAA9-7FAD-7EE3-E931546A1DE9}"/>
          </ac:spMkLst>
        </pc:spChg>
        <pc:spChg chg="add del mod">
          <ac:chgData name="Steiner Andreas 6206 ED" userId="e6377c33-a923-4f14-8587-531c474c7b48" providerId="ADAL" clId="{6ECD27E6-B224-41CD-B4E0-E297462320DD}" dt="2023-11-24T08:54:36.467" v="102893"/>
          <ac:spMkLst>
            <pc:docMk/>
            <pc:sldMk cId="4145871477" sldId="2147478567"/>
            <ac:spMk id="667" creationId="{97182B24-782E-D06A-BA5E-37178A19999F}"/>
          </ac:spMkLst>
        </pc:spChg>
        <pc:spChg chg="add del mod">
          <ac:chgData name="Steiner Andreas 6206 ED" userId="e6377c33-a923-4f14-8587-531c474c7b48" providerId="ADAL" clId="{6ECD27E6-B224-41CD-B4E0-E297462320DD}" dt="2023-11-24T08:54:38.699" v="103048"/>
          <ac:spMkLst>
            <pc:docMk/>
            <pc:sldMk cId="4145871477" sldId="2147478567"/>
            <ac:spMk id="668" creationId="{C9DB1B62-ED03-2BAB-0EBB-9F953A553A2E}"/>
          </ac:spMkLst>
        </pc:spChg>
        <pc:spChg chg="add del mod">
          <ac:chgData name="Steiner Andreas 6206 ED" userId="e6377c33-a923-4f14-8587-531c474c7b48" providerId="ADAL" clId="{6ECD27E6-B224-41CD-B4E0-E297462320DD}" dt="2023-11-24T08:54:40.842" v="103203"/>
          <ac:spMkLst>
            <pc:docMk/>
            <pc:sldMk cId="4145871477" sldId="2147478567"/>
            <ac:spMk id="669" creationId="{58F92E73-3E61-0F73-FF8D-5AC59EF1248C}"/>
          </ac:spMkLst>
        </pc:spChg>
        <pc:spChg chg="add del mod">
          <ac:chgData name="Steiner Andreas 6206 ED" userId="e6377c33-a923-4f14-8587-531c474c7b48" providerId="ADAL" clId="{6ECD27E6-B224-41CD-B4E0-E297462320DD}" dt="2023-11-24T08:54:42.766" v="103358"/>
          <ac:spMkLst>
            <pc:docMk/>
            <pc:sldMk cId="4145871477" sldId="2147478567"/>
            <ac:spMk id="670" creationId="{A43FB284-3529-A139-448C-9E92C326E228}"/>
          </ac:spMkLst>
        </pc:spChg>
        <pc:spChg chg="add del mod">
          <ac:chgData name="Steiner Andreas 6206 ED" userId="e6377c33-a923-4f14-8587-531c474c7b48" providerId="ADAL" clId="{6ECD27E6-B224-41CD-B4E0-E297462320DD}" dt="2023-11-24T08:54:45.031" v="103513"/>
          <ac:spMkLst>
            <pc:docMk/>
            <pc:sldMk cId="4145871477" sldId="2147478567"/>
            <ac:spMk id="671" creationId="{1B03C098-FA3A-B228-A35F-66B33C0FC35C}"/>
          </ac:spMkLst>
        </pc:spChg>
        <pc:spChg chg="add del mod">
          <ac:chgData name="Steiner Andreas 6206 ED" userId="e6377c33-a923-4f14-8587-531c474c7b48" providerId="ADAL" clId="{6ECD27E6-B224-41CD-B4E0-E297462320DD}" dt="2023-11-24T08:54:47.271" v="103668"/>
          <ac:spMkLst>
            <pc:docMk/>
            <pc:sldMk cId="4145871477" sldId="2147478567"/>
            <ac:spMk id="672" creationId="{69389BB5-4A0D-3AB7-6BAF-A4FCA8CE9592}"/>
          </ac:spMkLst>
        </pc:spChg>
        <pc:spChg chg="add del mod">
          <ac:chgData name="Steiner Andreas 6206 ED" userId="e6377c33-a923-4f14-8587-531c474c7b48" providerId="ADAL" clId="{6ECD27E6-B224-41CD-B4E0-E297462320DD}" dt="2023-11-24T08:54:49.385" v="103823"/>
          <ac:spMkLst>
            <pc:docMk/>
            <pc:sldMk cId="4145871477" sldId="2147478567"/>
            <ac:spMk id="673" creationId="{1FF2E441-F13D-321A-720A-5A3125EBB757}"/>
          </ac:spMkLst>
        </pc:spChg>
        <pc:spChg chg="add del mod">
          <ac:chgData name="Steiner Andreas 6206 ED" userId="e6377c33-a923-4f14-8587-531c474c7b48" providerId="ADAL" clId="{6ECD27E6-B224-41CD-B4E0-E297462320DD}" dt="2023-11-24T08:54:51.753" v="103978"/>
          <ac:spMkLst>
            <pc:docMk/>
            <pc:sldMk cId="4145871477" sldId="2147478567"/>
            <ac:spMk id="674" creationId="{5FE9BD28-96C6-BE6E-B912-2EB246649FF1}"/>
          </ac:spMkLst>
        </pc:spChg>
        <pc:spChg chg="add del mod">
          <ac:chgData name="Steiner Andreas 6206 ED" userId="e6377c33-a923-4f14-8587-531c474c7b48" providerId="ADAL" clId="{6ECD27E6-B224-41CD-B4E0-E297462320DD}" dt="2023-11-24T08:54:53.805" v="104133"/>
          <ac:spMkLst>
            <pc:docMk/>
            <pc:sldMk cId="4145871477" sldId="2147478567"/>
            <ac:spMk id="675" creationId="{AE5FE48D-21E9-AD4B-8B9F-A2E4F5A57665}"/>
          </ac:spMkLst>
        </pc:spChg>
        <pc:spChg chg="add del mod">
          <ac:chgData name="Steiner Andreas 6206 ED" userId="e6377c33-a923-4f14-8587-531c474c7b48" providerId="ADAL" clId="{6ECD27E6-B224-41CD-B4E0-E297462320DD}" dt="2023-11-24T08:54:55.932" v="104288"/>
          <ac:spMkLst>
            <pc:docMk/>
            <pc:sldMk cId="4145871477" sldId="2147478567"/>
            <ac:spMk id="676" creationId="{20986C10-93A7-9720-EC15-F092AD47A8BE}"/>
          </ac:spMkLst>
        </pc:spChg>
        <pc:spChg chg="add del mod">
          <ac:chgData name="Steiner Andreas 6206 ED" userId="e6377c33-a923-4f14-8587-531c474c7b48" providerId="ADAL" clId="{6ECD27E6-B224-41CD-B4E0-E297462320DD}" dt="2023-11-24T08:54:58.008" v="104443"/>
          <ac:spMkLst>
            <pc:docMk/>
            <pc:sldMk cId="4145871477" sldId="2147478567"/>
            <ac:spMk id="677" creationId="{1793B21F-8663-C655-2D50-54CEE743EAAC}"/>
          </ac:spMkLst>
        </pc:spChg>
        <pc:spChg chg="add del mod">
          <ac:chgData name="Steiner Andreas 6206 ED" userId="e6377c33-a923-4f14-8587-531c474c7b48" providerId="ADAL" clId="{6ECD27E6-B224-41CD-B4E0-E297462320DD}" dt="2023-11-24T08:55:00.013" v="104598"/>
          <ac:spMkLst>
            <pc:docMk/>
            <pc:sldMk cId="4145871477" sldId="2147478567"/>
            <ac:spMk id="678" creationId="{5A565ACB-8D6A-3D5B-9B89-501ECDDF2F76}"/>
          </ac:spMkLst>
        </pc:spChg>
        <pc:spChg chg="add del mod">
          <ac:chgData name="Steiner Andreas 6206 ED" userId="e6377c33-a923-4f14-8587-531c474c7b48" providerId="ADAL" clId="{6ECD27E6-B224-41CD-B4E0-E297462320DD}" dt="2023-11-24T08:55:01.963" v="104753"/>
          <ac:spMkLst>
            <pc:docMk/>
            <pc:sldMk cId="4145871477" sldId="2147478567"/>
            <ac:spMk id="679" creationId="{A1825BD1-5C8F-E70C-87CF-B5A6BB8EE08B}"/>
          </ac:spMkLst>
        </pc:spChg>
        <pc:spChg chg="add del mod">
          <ac:chgData name="Steiner Andreas 6206 ED" userId="e6377c33-a923-4f14-8587-531c474c7b48" providerId="ADAL" clId="{6ECD27E6-B224-41CD-B4E0-E297462320DD}" dt="2023-11-24T08:55:03.936" v="104908"/>
          <ac:spMkLst>
            <pc:docMk/>
            <pc:sldMk cId="4145871477" sldId="2147478567"/>
            <ac:spMk id="680" creationId="{343641A2-86C1-E5CD-D811-010BE2597C4D}"/>
          </ac:spMkLst>
        </pc:spChg>
        <pc:spChg chg="add del mod">
          <ac:chgData name="Steiner Andreas 6206 ED" userId="e6377c33-a923-4f14-8587-531c474c7b48" providerId="ADAL" clId="{6ECD27E6-B224-41CD-B4E0-E297462320DD}" dt="2023-11-24T08:55:06.060" v="105063"/>
          <ac:spMkLst>
            <pc:docMk/>
            <pc:sldMk cId="4145871477" sldId="2147478567"/>
            <ac:spMk id="681" creationId="{99D7D410-09AA-095E-4A41-DB454547E1DA}"/>
          </ac:spMkLst>
        </pc:spChg>
        <pc:spChg chg="add del mod">
          <ac:chgData name="Steiner Andreas 6206 ED" userId="e6377c33-a923-4f14-8587-531c474c7b48" providerId="ADAL" clId="{6ECD27E6-B224-41CD-B4E0-E297462320DD}" dt="2023-11-24T08:55:08.144" v="105218"/>
          <ac:spMkLst>
            <pc:docMk/>
            <pc:sldMk cId="4145871477" sldId="2147478567"/>
            <ac:spMk id="682" creationId="{6CBE09A2-4F2B-2912-14DC-9735A637755A}"/>
          </ac:spMkLst>
        </pc:spChg>
        <pc:spChg chg="add del mod">
          <ac:chgData name="Steiner Andreas 6206 ED" userId="e6377c33-a923-4f14-8587-531c474c7b48" providerId="ADAL" clId="{6ECD27E6-B224-41CD-B4E0-E297462320DD}" dt="2023-11-24T08:55:10.137" v="105373"/>
          <ac:spMkLst>
            <pc:docMk/>
            <pc:sldMk cId="4145871477" sldId="2147478567"/>
            <ac:spMk id="683" creationId="{7999320D-7750-41FF-0EBE-C037924DD2B4}"/>
          </ac:spMkLst>
        </pc:spChg>
        <pc:spChg chg="add del mod">
          <ac:chgData name="Steiner Andreas 6206 ED" userId="e6377c33-a923-4f14-8587-531c474c7b48" providerId="ADAL" clId="{6ECD27E6-B224-41CD-B4E0-E297462320DD}" dt="2023-11-24T08:55:12.120" v="105528"/>
          <ac:spMkLst>
            <pc:docMk/>
            <pc:sldMk cId="4145871477" sldId="2147478567"/>
            <ac:spMk id="684" creationId="{7D7C419E-9573-9CBC-C61F-BF2A331B31C2}"/>
          </ac:spMkLst>
        </pc:spChg>
        <pc:spChg chg="add del mod">
          <ac:chgData name="Steiner Andreas 6206 ED" userId="e6377c33-a923-4f14-8587-531c474c7b48" providerId="ADAL" clId="{6ECD27E6-B224-41CD-B4E0-E297462320DD}" dt="2023-11-24T08:55:14.179" v="105683"/>
          <ac:spMkLst>
            <pc:docMk/>
            <pc:sldMk cId="4145871477" sldId="2147478567"/>
            <ac:spMk id="685" creationId="{278B4AA5-ECE8-CE72-6E5D-1267C24D5B0B}"/>
          </ac:spMkLst>
        </pc:spChg>
        <pc:spChg chg="add del mod">
          <ac:chgData name="Steiner Andreas 6206 ED" userId="e6377c33-a923-4f14-8587-531c474c7b48" providerId="ADAL" clId="{6ECD27E6-B224-41CD-B4E0-E297462320DD}" dt="2023-11-24T08:55:16.243" v="105838"/>
          <ac:spMkLst>
            <pc:docMk/>
            <pc:sldMk cId="4145871477" sldId="2147478567"/>
            <ac:spMk id="686" creationId="{DFB25195-5CA4-E44E-DF51-1773BD153322}"/>
          </ac:spMkLst>
        </pc:spChg>
        <pc:spChg chg="add del mod">
          <ac:chgData name="Steiner Andreas 6206 ED" userId="e6377c33-a923-4f14-8587-531c474c7b48" providerId="ADAL" clId="{6ECD27E6-B224-41CD-B4E0-E297462320DD}" dt="2023-11-24T08:55:18.282" v="105993"/>
          <ac:spMkLst>
            <pc:docMk/>
            <pc:sldMk cId="4145871477" sldId="2147478567"/>
            <ac:spMk id="687" creationId="{F9AFC628-E4F0-64DB-6347-EE0A9CE49339}"/>
          </ac:spMkLst>
        </pc:spChg>
        <pc:spChg chg="add del mod">
          <ac:chgData name="Steiner Andreas 6206 ED" userId="e6377c33-a923-4f14-8587-531c474c7b48" providerId="ADAL" clId="{6ECD27E6-B224-41CD-B4E0-E297462320DD}" dt="2023-11-24T08:55:20.297" v="106148"/>
          <ac:spMkLst>
            <pc:docMk/>
            <pc:sldMk cId="4145871477" sldId="2147478567"/>
            <ac:spMk id="688" creationId="{501FB167-8965-997A-6136-D97555B6705A}"/>
          </ac:spMkLst>
        </pc:spChg>
        <pc:spChg chg="add del mod">
          <ac:chgData name="Steiner Andreas 6206 ED" userId="e6377c33-a923-4f14-8587-531c474c7b48" providerId="ADAL" clId="{6ECD27E6-B224-41CD-B4E0-E297462320DD}" dt="2023-11-24T08:55:22.243" v="106303"/>
          <ac:spMkLst>
            <pc:docMk/>
            <pc:sldMk cId="4145871477" sldId="2147478567"/>
            <ac:spMk id="689" creationId="{DB9534DC-C2C6-CB4B-FA6B-E2124FABFE08}"/>
          </ac:spMkLst>
        </pc:spChg>
        <pc:spChg chg="add del mod">
          <ac:chgData name="Steiner Andreas 6206 ED" userId="e6377c33-a923-4f14-8587-531c474c7b48" providerId="ADAL" clId="{6ECD27E6-B224-41CD-B4E0-E297462320DD}" dt="2023-11-24T08:55:24.252" v="106458"/>
          <ac:spMkLst>
            <pc:docMk/>
            <pc:sldMk cId="4145871477" sldId="2147478567"/>
            <ac:spMk id="690" creationId="{2EE5471C-5F22-2440-0C7C-64D6FA6BCC88}"/>
          </ac:spMkLst>
        </pc:spChg>
        <pc:spChg chg="add del mod">
          <ac:chgData name="Steiner Andreas 6206 ED" userId="e6377c33-a923-4f14-8587-531c474c7b48" providerId="ADAL" clId="{6ECD27E6-B224-41CD-B4E0-E297462320DD}" dt="2023-11-24T08:55:26.222" v="106613"/>
          <ac:spMkLst>
            <pc:docMk/>
            <pc:sldMk cId="4145871477" sldId="2147478567"/>
            <ac:spMk id="691" creationId="{9963EA25-50B7-256C-087A-B78101EAB49E}"/>
          </ac:spMkLst>
        </pc:spChg>
        <pc:spChg chg="add del mod">
          <ac:chgData name="Steiner Andreas 6206 ED" userId="e6377c33-a923-4f14-8587-531c474c7b48" providerId="ADAL" clId="{6ECD27E6-B224-41CD-B4E0-E297462320DD}" dt="2023-11-24T08:55:28.372" v="106768"/>
          <ac:spMkLst>
            <pc:docMk/>
            <pc:sldMk cId="4145871477" sldId="2147478567"/>
            <ac:spMk id="692" creationId="{E302D57D-7E86-3817-F8BA-FD34131219B0}"/>
          </ac:spMkLst>
        </pc:spChg>
        <pc:spChg chg="add del mod">
          <ac:chgData name="Steiner Andreas 6206 ED" userId="e6377c33-a923-4f14-8587-531c474c7b48" providerId="ADAL" clId="{6ECD27E6-B224-41CD-B4E0-E297462320DD}" dt="2023-11-24T08:55:30.348" v="106923"/>
          <ac:spMkLst>
            <pc:docMk/>
            <pc:sldMk cId="4145871477" sldId="2147478567"/>
            <ac:spMk id="693" creationId="{B66A6B13-EA11-7AE9-8903-0962B972DF88}"/>
          </ac:spMkLst>
        </pc:spChg>
        <pc:spChg chg="add del mod">
          <ac:chgData name="Steiner Andreas 6206 ED" userId="e6377c33-a923-4f14-8587-531c474c7b48" providerId="ADAL" clId="{6ECD27E6-B224-41CD-B4E0-E297462320DD}" dt="2023-11-24T08:55:32.544" v="107078"/>
          <ac:spMkLst>
            <pc:docMk/>
            <pc:sldMk cId="4145871477" sldId="2147478567"/>
            <ac:spMk id="694" creationId="{A27F1E0C-D7A8-EA21-613D-A073926023F5}"/>
          </ac:spMkLst>
        </pc:spChg>
        <pc:spChg chg="add del mod">
          <ac:chgData name="Steiner Andreas 6206 ED" userId="e6377c33-a923-4f14-8587-531c474c7b48" providerId="ADAL" clId="{6ECD27E6-B224-41CD-B4E0-E297462320DD}" dt="2023-11-24T08:55:34.440" v="107233"/>
          <ac:spMkLst>
            <pc:docMk/>
            <pc:sldMk cId="4145871477" sldId="2147478567"/>
            <ac:spMk id="695" creationId="{163A828A-55CF-654A-798E-C46B6606A9A5}"/>
          </ac:spMkLst>
        </pc:spChg>
        <pc:spChg chg="add del mod">
          <ac:chgData name="Steiner Andreas 6206 ED" userId="e6377c33-a923-4f14-8587-531c474c7b48" providerId="ADAL" clId="{6ECD27E6-B224-41CD-B4E0-E297462320DD}" dt="2023-11-24T08:55:36.377" v="107388"/>
          <ac:spMkLst>
            <pc:docMk/>
            <pc:sldMk cId="4145871477" sldId="2147478567"/>
            <ac:spMk id="696" creationId="{D31587BC-5B5D-36C5-77B6-38609159A1BA}"/>
          </ac:spMkLst>
        </pc:spChg>
        <pc:spChg chg="add del mod">
          <ac:chgData name="Steiner Andreas 6206 ED" userId="e6377c33-a923-4f14-8587-531c474c7b48" providerId="ADAL" clId="{6ECD27E6-B224-41CD-B4E0-E297462320DD}" dt="2023-11-24T08:55:38.406" v="107543"/>
          <ac:spMkLst>
            <pc:docMk/>
            <pc:sldMk cId="4145871477" sldId="2147478567"/>
            <ac:spMk id="697" creationId="{67E7BE74-BF71-32EC-C8AD-6BFAFD05B92F}"/>
          </ac:spMkLst>
        </pc:spChg>
        <pc:spChg chg="add del mod">
          <ac:chgData name="Steiner Andreas 6206 ED" userId="e6377c33-a923-4f14-8587-531c474c7b48" providerId="ADAL" clId="{6ECD27E6-B224-41CD-B4E0-E297462320DD}" dt="2023-11-24T08:55:40.449" v="107698"/>
          <ac:spMkLst>
            <pc:docMk/>
            <pc:sldMk cId="4145871477" sldId="2147478567"/>
            <ac:spMk id="698" creationId="{9410AD47-4F16-D10E-A589-CF9E8A562BD9}"/>
          </ac:spMkLst>
        </pc:spChg>
        <pc:spChg chg="add del mod">
          <ac:chgData name="Steiner Andreas 6206 ED" userId="e6377c33-a923-4f14-8587-531c474c7b48" providerId="ADAL" clId="{6ECD27E6-B224-41CD-B4E0-E297462320DD}" dt="2023-11-24T08:55:42.326" v="107853"/>
          <ac:spMkLst>
            <pc:docMk/>
            <pc:sldMk cId="4145871477" sldId="2147478567"/>
            <ac:spMk id="699" creationId="{9EFE3BA9-3A0F-FF89-6E72-698025D7D151}"/>
          </ac:spMkLst>
        </pc:spChg>
        <pc:spChg chg="add del mod">
          <ac:chgData name="Steiner Andreas 6206 ED" userId="e6377c33-a923-4f14-8587-531c474c7b48" providerId="ADAL" clId="{6ECD27E6-B224-41CD-B4E0-E297462320DD}" dt="2023-11-24T08:55:44.297" v="108008"/>
          <ac:spMkLst>
            <pc:docMk/>
            <pc:sldMk cId="4145871477" sldId="2147478567"/>
            <ac:spMk id="700" creationId="{8AC33421-0A63-C767-4871-224554A6F137}"/>
          </ac:spMkLst>
        </pc:spChg>
        <pc:spChg chg="add del mod">
          <ac:chgData name="Steiner Andreas 6206 ED" userId="e6377c33-a923-4f14-8587-531c474c7b48" providerId="ADAL" clId="{6ECD27E6-B224-41CD-B4E0-E297462320DD}" dt="2023-11-24T08:55:46.636" v="108163"/>
          <ac:spMkLst>
            <pc:docMk/>
            <pc:sldMk cId="4145871477" sldId="2147478567"/>
            <ac:spMk id="701" creationId="{586101A4-50EA-83B5-87C6-046F4A080669}"/>
          </ac:spMkLst>
        </pc:spChg>
        <pc:spChg chg="add del mod">
          <ac:chgData name="Steiner Andreas 6206 ED" userId="e6377c33-a923-4f14-8587-531c474c7b48" providerId="ADAL" clId="{6ECD27E6-B224-41CD-B4E0-E297462320DD}" dt="2023-11-24T08:55:48.839" v="108318"/>
          <ac:spMkLst>
            <pc:docMk/>
            <pc:sldMk cId="4145871477" sldId="2147478567"/>
            <ac:spMk id="702" creationId="{C4A52D9A-6573-40FF-B68B-A8AE88EE9F71}"/>
          </ac:spMkLst>
        </pc:spChg>
        <pc:spChg chg="add del mod">
          <ac:chgData name="Steiner Andreas 6206 ED" userId="e6377c33-a923-4f14-8587-531c474c7b48" providerId="ADAL" clId="{6ECD27E6-B224-41CD-B4E0-E297462320DD}" dt="2023-11-24T08:55:51.269" v="108473"/>
          <ac:spMkLst>
            <pc:docMk/>
            <pc:sldMk cId="4145871477" sldId="2147478567"/>
            <ac:spMk id="703" creationId="{D1BF7743-CFBF-618E-1285-F6D5145B4E24}"/>
          </ac:spMkLst>
        </pc:spChg>
        <pc:spChg chg="add del mod">
          <ac:chgData name="Steiner Andreas 6206 ED" userId="e6377c33-a923-4f14-8587-531c474c7b48" providerId="ADAL" clId="{6ECD27E6-B224-41CD-B4E0-E297462320DD}" dt="2023-11-24T08:55:53.312" v="108628"/>
          <ac:spMkLst>
            <pc:docMk/>
            <pc:sldMk cId="4145871477" sldId="2147478567"/>
            <ac:spMk id="704" creationId="{E582FE83-D5EB-9C48-5CBD-C622D1D7B396}"/>
          </ac:spMkLst>
        </pc:spChg>
        <pc:spChg chg="add del mod">
          <ac:chgData name="Steiner Andreas 6206 ED" userId="e6377c33-a923-4f14-8587-531c474c7b48" providerId="ADAL" clId="{6ECD27E6-B224-41CD-B4E0-E297462320DD}" dt="2023-11-24T08:55:55.437" v="108783"/>
          <ac:spMkLst>
            <pc:docMk/>
            <pc:sldMk cId="4145871477" sldId="2147478567"/>
            <ac:spMk id="705" creationId="{572815D8-5475-D6A2-0C2C-80EB778413F6}"/>
          </ac:spMkLst>
        </pc:spChg>
        <pc:spChg chg="add del mod">
          <ac:chgData name="Steiner Andreas 6206 ED" userId="e6377c33-a923-4f14-8587-531c474c7b48" providerId="ADAL" clId="{6ECD27E6-B224-41CD-B4E0-E297462320DD}" dt="2023-11-24T08:55:57.455" v="108938"/>
          <ac:spMkLst>
            <pc:docMk/>
            <pc:sldMk cId="4145871477" sldId="2147478567"/>
            <ac:spMk id="706" creationId="{864DD3CD-8893-4996-393A-A056F4C13BC2}"/>
          </ac:spMkLst>
        </pc:spChg>
        <pc:spChg chg="add del mod">
          <ac:chgData name="Steiner Andreas 6206 ED" userId="e6377c33-a923-4f14-8587-531c474c7b48" providerId="ADAL" clId="{6ECD27E6-B224-41CD-B4E0-E297462320DD}" dt="2023-11-24T08:55:59.537" v="109093"/>
          <ac:spMkLst>
            <pc:docMk/>
            <pc:sldMk cId="4145871477" sldId="2147478567"/>
            <ac:spMk id="707" creationId="{D8521429-B845-6D18-829E-B4266F83D54F}"/>
          </ac:spMkLst>
        </pc:spChg>
        <pc:spChg chg="add del mod">
          <ac:chgData name="Steiner Andreas 6206 ED" userId="e6377c33-a923-4f14-8587-531c474c7b48" providerId="ADAL" clId="{6ECD27E6-B224-41CD-B4E0-E297462320DD}" dt="2023-11-24T08:56:01.923" v="109248"/>
          <ac:spMkLst>
            <pc:docMk/>
            <pc:sldMk cId="4145871477" sldId="2147478567"/>
            <ac:spMk id="708" creationId="{52DC019E-BB80-0BD9-2DDD-068BF2D6A802}"/>
          </ac:spMkLst>
        </pc:spChg>
        <pc:spChg chg="add del mod">
          <ac:chgData name="Steiner Andreas 6206 ED" userId="e6377c33-a923-4f14-8587-531c474c7b48" providerId="ADAL" clId="{6ECD27E6-B224-41CD-B4E0-E297462320DD}" dt="2023-11-24T08:56:04.171" v="109403"/>
          <ac:spMkLst>
            <pc:docMk/>
            <pc:sldMk cId="4145871477" sldId="2147478567"/>
            <ac:spMk id="709" creationId="{361CFA27-6B36-5A3E-4AAA-C46F4EF2B468}"/>
          </ac:spMkLst>
        </pc:spChg>
        <pc:spChg chg="add del mod">
          <ac:chgData name="Steiner Andreas 6206 ED" userId="e6377c33-a923-4f14-8587-531c474c7b48" providerId="ADAL" clId="{6ECD27E6-B224-41CD-B4E0-E297462320DD}" dt="2023-11-24T08:56:06.470" v="109558"/>
          <ac:spMkLst>
            <pc:docMk/>
            <pc:sldMk cId="4145871477" sldId="2147478567"/>
            <ac:spMk id="710" creationId="{C81C2919-52D8-08BB-0B27-F267AD54F511}"/>
          </ac:spMkLst>
        </pc:spChg>
        <pc:spChg chg="add del mod">
          <ac:chgData name="Steiner Andreas 6206 ED" userId="e6377c33-a923-4f14-8587-531c474c7b48" providerId="ADAL" clId="{6ECD27E6-B224-41CD-B4E0-E297462320DD}" dt="2023-11-24T08:56:08.750" v="109713"/>
          <ac:spMkLst>
            <pc:docMk/>
            <pc:sldMk cId="4145871477" sldId="2147478567"/>
            <ac:spMk id="711" creationId="{8A524852-EEDE-3F32-50D2-4E24228D4F2B}"/>
          </ac:spMkLst>
        </pc:spChg>
        <pc:spChg chg="add del mod">
          <ac:chgData name="Steiner Andreas 6206 ED" userId="e6377c33-a923-4f14-8587-531c474c7b48" providerId="ADAL" clId="{6ECD27E6-B224-41CD-B4E0-E297462320DD}" dt="2023-11-24T08:56:10.796" v="109868"/>
          <ac:spMkLst>
            <pc:docMk/>
            <pc:sldMk cId="4145871477" sldId="2147478567"/>
            <ac:spMk id="712" creationId="{FCECFC65-6126-8320-F9AD-81F908C60156}"/>
          </ac:spMkLst>
        </pc:spChg>
        <pc:spChg chg="add del mod">
          <ac:chgData name="Steiner Andreas 6206 ED" userId="e6377c33-a923-4f14-8587-531c474c7b48" providerId="ADAL" clId="{6ECD27E6-B224-41CD-B4E0-E297462320DD}" dt="2023-11-24T08:56:12.915" v="110023"/>
          <ac:spMkLst>
            <pc:docMk/>
            <pc:sldMk cId="4145871477" sldId="2147478567"/>
            <ac:spMk id="713" creationId="{5F532E59-8A8A-6783-D534-9874B54232E8}"/>
          </ac:spMkLst>
        </pc:spChg>
        <pc:spChg chg="add del mod">
          <ac:chgData name="Steiner Andreas 6206 ED" userId="e6377c33-a923-4f14-8587-531c474c7b48" providerId="ADAL" clId="{6ECD27E6-B224-41CD-B4E0-E297462320DD}" dt="2023-11-24T08:56:15.036" v="110178"/>
          <ac:spMkLst>
            <pc:docMk/>
            <pc:sldMk cId="4145871477" sldId="2147478567"/>
            <ac:spMk id="714" creationId="{E2D79BBF-F3E3-87DE-B24A-B51098AF32DB}"/>
          </ac:spMkLst>
        </pc:spChg>
        <pc:spChg chg="add del mod">
          <ac:chgData name="Steiner Andreas 6206 ED" userId="e6377c33-a923-4f14-8587-531c474c7b48" providerId="ADAL" clId="{6ECD27E6-B224-41CD-B4E0-E297462320DD}" dt="2023-11-24T08:56:17.015" v="110333"/>
          <ac:spMkLst>
            <pc:docMk/>
            <pc:sldMk cId="4145871477" sldId="2147478567"/>
            <ac:spMk id="715" creationId="{CC0B714C-33AA-6789-C2EC-DA06DC334B0B}"/>
          </ac:spMkLst>
        </pc:spChg>
        <pc:spChg chg="add del mod">
          <ac:chgData name="Steiner Andreas 6206 ED" userId="e6377c33-a923-4f14-8587-531c474c7b48" providerId="ADAL" clId="{6ECD27E6-B224-41CD-B4E0-E297462320DD}" dt="2023-11-24T08:56:18.995" v="110488"/>
          <ac:spMkLst>
            <pc:docMk/>
            <pc:sldMk cId="4145871477" sldId="2147478567"/>
            <ac:spMk id="716" creationId="{A9D7A491-02F9-3885-A662-DA71D5C22FD5}"/>
          </ac:spMkLst>
        </pc:spChg>
        <pc:spChg chg="add del mod">
          <ac:chgData name="Steiner Andreas 6206 ED" userId="e6377c33-a923-4f14-8587-531c474c7b48" providerId="ADAL" clId="{6ECD27E6-B224-41CD-B4E0-E297462320DD}" dt="2023-11-24T08:56:20.939" v="110643"/>
          <ac:spMkLst>
            <pc:docMk/>
            <pc:sldMk cId="4145871477" sldId="2147478567"/>
            <ac:spMk id="717" creationId="{C50E302F-E7E3-EE9F-AB02-D3BAAF6185A1}"/>
          </ac:spMkLst>
        </pc:spChg>
        <pc:spChg chg="add del mod">
          <ac:chgData name="Steiner Andreas 6206 ED" userId="e6377c33-a923-4f14-8587-531c474c7b48" providerId="ADAL" clId="{6ECD27E6-B224-41CD-B4E0-E297462320DD}" dt="2023-11-24T08:56:23.081" v="110798"/>
          <ac:spMkLst>
            <pc:docMk/>
            <pc:sldMk cId="4145871477" sldId="2147478567"/>
            <ac:spMk id="718" creationId="{D260E372-A668-4406-A81F-CF40A0820A1C}"/>
          </ac:spMkLst>
        </pc:spChg>
        <pc:spChg chg="add del mod">
          <ac:chgData name="Steiner Andreas 6206 ED" userId="e6377c33-a923-4f14-8587-531c474c7b48" providerId="ADAL" clId="{6ECD27E6-B224-41CD-B4E0-E297462320DD}" dt="2023-11-24T08:56:25.281" v="110953"/>
          <ac:spMkLst>
            <pc:docMk/>
            <pc:sldMk cId="4145871477" sldId="2147478567"/>
            <ac:spMk id="719" creationId="{299E236F-27B9-F2A1-C0B2-8E9C78577482}"/>
          </ac:spMkLst>
        </pc:spChg>
        <pc:spChg chg="add del mod">
          <ac:chgData name="Steiner Andreas 6206 ED" userId="e6377c33-a923-4f14-8587-531c474c7b48" providerId="ADAL" clId="{6ECD27E6-B224-41CD-B4E0-E297462320DD}" dt="2023-11-24T08:56:27.307" v="111108"/>
          <ac:spMkLst>
            <pc:docMk/>
            <pc:sldMk cId="4145871477" sldId="2147478567"/>
            <ac:spMk id="720" creationId="{8C9A73D1-7389-BD59-0E3B-7F97A6F66C52}"/>
          </ac:spMkLst>
        </pc:spChg>
        <pc:spChg chg="add del mod">
          <ac:chgData name="Steiner Andreas 6206 ED" userId="e6377c33-a923-4f14-8587-531c474c7b48" providerId="ADAL" clId="{6ECD27E6-B224-41CD-B4E0-E297462320DD}" dt="2023-11-24T08:56:29.345" v="111263"/>
          <ac:spMkLst>
            <pc:docMk/>
            <pc:sldMk cId="4145871477" sldId="2147478567"/>
            <ac:spMk id="721" creationId="{4C04C258-0092-30CE-C758-6001B4270B31}"/>
          </ac:spMkLst>
        </pc:spChg>
        <pc:spChg chg="add del mod">
          <ac:chgData name="Steiner Andreas 6206 ED" userId="e6377c33-a923-4f14-8587-531c474c7b48" providerId="ADAL" clId="{6ECD27E6-B224-41CD-B4E0-E297462320DD}" dt="2023-11-24T08:56:31.446" v="111418"/>
          <ac:spMkLst>
            <pc:docMk/>
            <pc:sldMk cId="4145871477" sldId="2147478567"/>
            <ac:spMk id="722" creationId="{BE4981F8-25D9-DE30-D8FF-0CC458664A24}"/>
          </ac:spMkLst>
        </pc:spChg>
        <pc:spChg chg="add del mod">
          <ac:chgData name="Steiner Andreas 6206 ED" userId="e6377c33-a923-4f14-8587-531c474c7b48" providerId="ADAL" clId="{6ECD27E6-B224-41CD-B4E0-E297462320DD}" dt="2023-11-24T08:56:33.678" v="111573"/>
          <ac:spMkLst>
            <pc:docMk/>
            <pc:sldMk cId="4145871477" sldId="2147478567"/>
            <ac:spMk id="723" creationId="{FF863B92-230C-7952-4525-FBCFEEF8AC96}"/>
          </ac:spMkLst>
        </pc:spChg>
        <pc:spChg chg="add del mod">
          <ac:chgData name="Steiner Andreas 6206 ED" userId="e6377c33-a923-4f14-8587-531c474c7b48" providerId="ADAL" clId="{6ECD27E6-B224-41CD-B4E0-E297462320DD}" dt="2023-11-24T08:56:35.859" v="111728"/>
          <ac:spMkLst>
            <pc:docMk/>
            <pc:sldMk cId="4145871477" sldId="2147478567"/>
            <ac:spMk id="724" creationId="{3C87091A-DD4C-A31C-EC51-FAB86FF147A7}"/>
          </ac:spMkLst>
        </pc:spChg>
        <pc:spChg chg="add del mod">
          <ac:chgData name="Steiner Andreas 6206 ED" userId="e6377c33-a923-4f14-8587-531c474c7b48" providerId="ADAL" clId="{6ECD27E6-B224-41CD-B4E0-E297462320DD}" dt="2023-11-24T08:56:37.924" v="111883"/>
          <ac:spMkLst>
            <pc:docMk/>
            <pc:sldMk cId="4145871477" sldId="2147478567"/>
            <ac:spMk id="725" creationId="{2C5FC969-B639-DF18-43DF-9D8588CBFBF8}"/>
          </ac:spMkLst>
        </pc:spChg>
        <pc:spChg chg="add del mod">
          <ac:chgData name="Steiner Andreas 6206 ED" userId="e6377c33-a923-4f14-8587-531c474c7b48" providerId="ADAL" clId="{6ECD27E6-B224-41CD-B4E0-E297462320DD}" dt="2023-11-24T08:56:40.071" v="112038"/>
          <ac:spMkLst>
            <pc:docMk/>
            <pc:sldMk cId="4145871477" sldId="2147478567"/>
            <ac:spMk id="726" creationId="{311527A4-059C-D3B7-84E7-120EDCBF140B}"/>
          </ac:spMkLst>
        </pc:spChg>
        <pc:spChg chg="add del mod">
          <ac:chgData name="Steiner Andreas 6206 ED" userId="e6377c33-a923-4f14-8587-531c474c7b48" providerId="ADAL" clId="{6ECD27E6-B224-41CD-B4E0-E297462320DD}" dt="2023-11-24T08:56:42.021" v="112193"/>
          <ac:spMkLst>
            <pc:docMk/>
            <pc:sldMk cId="4145871477" sldId="2147478567"/>
            <ac:spMk id="727" creationId="{EB0EA0DB-CA8A-4E70-D9F4-55836FF8EF42}"/>
          </ac:spMkLst>
        </pc:spChg>
        <pc:spChg chg="add del mod">
          <ac:chgData name="Steiner Andreas 6206 ED" userId="e6377c33-a923-4f14-8587-531c474c7b48" providerId="ADAL" clId="{6ECD27E6-B224-41CD-B4E0-E297462320DD}" dt="2023-11-24T08:56:44.022" v="112348"/>
          <ac:spMkLst>
            <pc:docMk/>
            <pc:sldMk cId="4145871477" sldId="2147478567"/>
            <ac:spMk id="728" creationId="{7922DCBC-081E-D435-2C3F-F26DAC50C49B}"/>
          </ac:spMkLst>
        </pc:spChg>
        <pc:spChg chg="add del mod">
          <ac:chgData name="Steiner Andreas 6206 ED" userId="e6377c33-a923-4f14-8587-531c474c7b48" providerId="ADAL" clId="{6ECD27E6-B224-41CD-B4E0-E297462320DD}" dt="2023-11-24T08:56:46.052" v="112503"/>
          <ac:spMkLst>
            <pc:docMk/>
            <pc:sldMk cId="4145871477" sldId="2147478567"/>
            <ac:spMk id="729" creationId="{B818CA86-D725-408C-8060-9F55F75804CF}"/>
          </ac:spMkLst>
        </pc:spChg>
        <pc:spChg chg="add del mod">
          <ac:chgData name="Steiner Andreas 6206 ED" userId="e6377c33-a923-4f14-8587-531c474c7b48" providerId="ADAL" clId="{6ECD27E6-B224-41CD-B4E0-E297462320DD}" dt="2023-11-24T08:56:48.266" v="112658"/>
          <ac:spMkLst>
            <pc:docMk/>
            <pc:sldMk cId="4145871477" sldId="2147478567"/>
            <ac:spMk id="730" creationId="{728B1921-B061-E999-C12A-D7111C86C4DB}"/>
          </ac:spMkLst>
        </pc:spChg>
        <pc:spChg chg="add del mod">
          <ac:chgData name="Steiner Andreas 6206 ED" userId="e6377c33-a923-4f14-8587-531c474c7b48" providerId="ADAL" clId="{6ECD27E6-B224-41CD-B4E0-E297462320DD}" dt="2023-11-24T08:56:50.321" v="112813"/>
          <ac:spMkLst>
            <pc:docMk/>
            <pc:sldMk cId="4145871477" sldId="2147478567"/>
            <ac:spMk id="731" creationId="{84C9BAFD-2E3C-E746-E9D5-BD086F518DBE}"/>
          </ac:spMkLst>
        </pc:spChg>
        <pc:spChg chg="add del mod">
          <ac:chgData name="Steiner Andreas 6206 ED" userId="e6377c33-a923-4f14-8587-531c474c7b48" providerId="ADAL" clId="{6ECD27E6-B224-41CD-B4E0-E297462320DD}" dt="2023-11-24T08:56:52.250" v="112968"/>
          <ac:spMkLst>
            <pc:docMk/>
            <pc:sldMk cId="4145871477" sldId="2147478567"/>
            <ac:spMk id="732" creationId="{CCE9EAC3-58DE-5377-CAED-A89FBAABEE8F}"/>
          </ac:spMkLst>
        </pc:spChg>
        <pc:spChg chg="add del mod">
          <ac:chgData name="Steiner Andreas 6206 ED" userId="e6377c33-a923-4f14-8587-531c474c7b48" providerId="ADAL" clId="{6ECD27E6-B224-41CD-B4E0-E297462320DD}" dt="2023-11-24T08:56:54.373" v="113123"/>
          <ac:spMkLst>
            <pc:docMk/>
            <pc:sldMk cId="4145871477" sldId="2147478567"/>
            <ac:spMk id="733" creationId="{4659D99C-EDFB-2257-BE3E-6B0FF359DBDA}"/>
          </ac:spMkLst>
        </pc:spChg>
        <pc:spChg chg="add del mod">
          <ac:chgData name="Steiner Andreas 6206 ED" userId="e6377c33-a923-4f14-8587-531c474c7b48" providerId="ADAL" clId="{6ECD27E6-B224-41CD-B4E0-E297462320DD}" dt="2023-11-24T08:56:56.330" v="113278"/>
          <ac:spMkLst>
            <pc:docMk/>
            <pc:sldMk cId="4145871477" sldId="2147478567"/>
            <ac:spMk id="734" creationId="{A384E49E-1901-80ED-95F0-1AB2CBC38E9E}"/>
          </ac:spMkLst>
        </pc:spChg>
        <pc:spChg chg="add del mod">
          <ac:chgData name="Steiner Andreas 6206 ED" userId="e6377c33-a923-4f14-8587-531c474c7b48" providerId="ADAL" clId="{6ECD27E6-B224-41CD-B4E0-E297462320DD}" dt="2023-11-24T08:56:58.461" v="113433"/>
          <ac:spMkLst>
            <pc:docMk/>
            <pc:sldMk cId="4145871477" sldId="2147478567"/>
            <ac:spMk id="735" creationId="{3AC97CC5-CDB5-8D93-41B9-9C79C87624F9}"/>
          </ac:spMkLst>
        </pc:spChg>
        <pc:spChg chg="add del mod">
          <ac:chgData name="Steiner Andreas 6206 ED" userId="e6377c33-a923-4f14-8587-531c474c7b48" providerId="ADAL" clId="{6ECD27E6-B224-41CD-B4E0-E297462320DD}" dt="2023-11-24T08:57:00.760" v="113588"/>
          <ac:spMkLst>
            <pc:docMk/>
            <pc:sldMk cId="4145871477" sldId="2147478567"/>
            <ac:spMk id="736" creationId="{991F39CF-00D3-FE4E-BF2E-5A4F2EDD33D0}"/>
          </ac:spMkLst>
        </pc:spChg>
        <pc:spChg chg="add del mod">
          <ac:chgData name="Steiner Andreas 6206 ED" userId="e6377c33-a923-4f14-8587-531c474c7b48" providerId="ADAL" clId="{6ECD27E6-B224-41CD-B4E0-E297462320DD}" dt="2023-11-24T08:57:03.141" v="113743"/>
          <ac:spMkLst>
            <pc:docMk/>
            <pc:sldMk cId="4145871477" sldId="2147478567"/>
            <ac:spMk id="737" creationId="{3BFE2533-7782-CB0B-AC64-B6230988B102}"/>
          </ac:spMkLst>
        </pc:spChg>
        <pc:spChg chg="add del mod">
          <ac:chgData name="Steiner Andreas 6206 ED" userId="e6377c33-a923-4f14-8587-531c474c7b48" providerId="ADAL" clId="{6ECD27E6-B224-41CD-B4E0-E297462320DD}" dt="2023-11-24T09:02:21.673" v="113898"/>
          <ac:spMkLst>
            <pc:docMk/>
            <pc:sldMk cId="4145871477" sldId="2147478567"/>
            <ac:spMk id="738" creationId="{50F8D028-F81F-651A-7650-6A9CB3D7B1FE}"/>
          </ac:spMkLst>
        </pc:spChg>
        <pc:spChg chg="add del mod">
          <ac:chgData name="Steiner Andreas 6206 ED" userId="e6377c33-a923-4f14-8587-531c474c7b48" providerId="ADAL" clId="{6ECD27E6-B224-41CD-B4E0-E297462320DD}" dt="2023-11-24T09:02:27.536" v="114053"/>
          <ac:spMkLst>
            <pc:docMk/>
            <pc:sldMk cId="4145871477" sldId="2147478567"/>
            <ac:spMk id="739" creationId="{B2D43463-7373-8432-FBA5-37E36751B543}"/>
          </ac:spMkLst>
        </pc:spChg>
        <pc:spChg chg="add del mod">
          <ac:chgData name="Steiner Andreas 6206 ED" userId="e6377c33-a923-4f14-8587-531c474c7b48" providerId="ADAL" clId="{6ECD27E6-B224-41CD-B4E0-E297462320DD}" dt="2023-11-24T09:02:30.103" v="114208"/>
          <ac:spMkLst>
            <pc:docMk/>
            <pc:sldMk cId="4145871477" sldId="2147478567"/>
            <ac:spMk id="740" creationId="{7B4C8EC9-6B60-4C8A-3944-810E395BD39C}"/>
          </ac:spMkLst>
        </pc:spChg>
        <pc:spChg chg="add del mod">
          <ac:chgData name="Steiner Andreas 6206 ED" userId="e6377c33-a923-4f14-8587-531c474c7b48" providerId="ADAL" clId="{6ECD27E6-B224-41CD-B4E0-E297462320DD}" dt="2023-11-24T09:02:33.465" v="114363"/>
          <ac:spMkLst>
            <pc:docMk/>
            <pc:sldMk cId="4145871477" sldId="2147478567"/>
            <ac:spMk id="741" creationId="{8EB122D7-BC61-3E8B-5D0D-827E10682D09}"/>
          </ac:spMkLst>
        </pc:spChg>
        <pc:spChg chg="add del mod">
          <ac:chgData name="Steiner Andreas 6206 ED" userId="e6377c33-a923-4f14-8587-531c474c7b48" providerId="ADAL" clId="{6ECD27E6-B224-41CD-B4E0-E297462320DD}" dt="2023-11-24T09:02:36.824" v="114518"/>
          <ac:spMkLst>
            <pc:docMk/>
            <pc:sldMk cId="4145871477" sldId="2147478567"/>
            <ac:spMk id="742" creationId="{20A778A4-76F0-0873-01DE-938A8F5EBF26}"/>
          </ac:spMkLst>
        </pc:spChg>
        <pc:spChg chg="add del mod">
          <ac:chgData name="Steiner Andreas 6206 ED" userId="e6377c33-a923-4f14-8587-531c474c7b48" providerId="ADAL" clId="{6ECD27E6-B224-41CD-B4E0-E297462320DD}" dt="2023-11-24T11:31:22.602" v="114673"/>
          <ac:spMkLst>
            <pc:docMk/>
            <pc:sldMk cId="4145871477" sldId="2147478567"/>
            <ac:spMk id="743" creationId="{7A8244A2-A6F9-6ACB-60BE-761B3CC26753}"/>
          </ac:spMkLst>
        </pc:spChg>
        <pc:spChg chg="add del mod">
          <ac:chgData name="Steiner Andreas 6206 ED" userId="e6377c33-a923-4f14-8587-531c474c7b48" providerId="ADAL" clId="{6ECD27E6-B224-41CD-B4E0-E297462320DD}" dt="2023-11-24T11:33:29.921" v="114828"/>
          <ac:spMkLst>
            <pc:docMk/>
            <pc:sldMk cId="4145871477" sldId="2147478567"/>
            <ac:spMk id="744" creationId="{CECD39EF-BF59-DBEA-802C-CF3979D9BDA1}"/>
          </ac:spMkLst>
        </pc:spChg>
        <pc:spChg chg="add del mod">
          <ac:chgData name="Steiner Andreas 6206 ED" userId="e6377c33-a923-4f14-8587-531c474c7b48" providerId="ADAL" clId="{6ECD27E6-B224-41CD-B4E0-E297462320DD}" dt="2023-11-24T11:33:36.402" v="114983"/>
          <ac:spMkLst>
            <pc:docMk/>
            <pc:sldMk cId="4145871477" sldId="2147478567"/>
            <ac:spMk id="745" creationId="{CAB3362F-B967-5241-C767-ABDCD94A8FEB}"/>
          </ac:spMkLst>
        </pc:spChg>
        <pc:spChg chg="add del mod">
          <ac:chgData name="Steiner Andreas 6206 ED" userId="e6377c33-a923-4f14-8587-531c474c7b48" providerId="ADAL" clId="{6ECD27E6-B224-41CD-B4E0-E297462320DD}" dt="2023-11-24T11:33:39.520" v="115138"/>
          <ac:spMkLst>
            <pc:docMk/>
            <pc:sldMk cId="4145871477" sldId="2147478567"/>
            <ac:spMk id="746" creationId="{ECE87020-46C9-FE2C-DF5A-98022395429B}"/>
          </ac:spMkLst>
        </pc:spChg>
        <pc:spChg chg="add del mod">
          <ac:chgData name="Steiner Andreas 6206 ED" userId="e6377c33-a923-4f14-8587-531c474c7b48" providerId="ADAL" clId="{6ECD27E6-B224-41CD-B4E0-E297462320DD}" dt="2023-11-24T11:33:43.077" v="115293"/>
          <ac:spMkLst>
            <pc:docMk/>
            <pc:sldMk cId="4145871477" sldId="2147478567"/>
            <ac:spMk id="747" creationId="{51EA46CA-A76F-6E17-EB38-1E49142F7BE3}"/>
          </ac:spMkLst>
        </pc:spChg>
        <pc:spChg chg="add del mod">
          <ac:chgData name="Steiner Andreas 6206 ED" userId="e6377c33-a923-4f14-8587-531c474c7b48" providerId="ADAL" clId="{6ECD27E6-B224-41CD-B4E0-E297462320DD}" dt="2023-11-24T11:33:46.297" v="115448"/>
          <ac:spMkLst>
            <pc:docMk/>
            <pc:sldMk cId="4145871477" sldId="2147478567"/>
            <ac:spMk id="748" creationId="{8F3DD13C-0129-29EE-6A36-516A0982D9F0}"/>
          </ac:spMkLst>
        </pc:spChg>
        <pc:spChg chg="add del mod">
          <ac:chgData name="Steiner Andreas 6206 ED" userId="e6377c33-a923-4f14-8587-531c474c7b48" providerId="ADAL" clId="{6ECD27E6-B224-41CD-B4E0-E297462320DD}" dt="2023-11-24T11:33:49.365" v="115603"/>
          <ac:spMkLst>
            <pc:docMk/>
            <pc:sldMk cId="4145871477" sldId="2147478567"/>
            <ac:spMk id="749" creationId="{CF9C0114-3D41-EE83-8B56-D9DE735A137F}"/>
          </ac:spMkLst>
        </pc:spChg>
        <pc:spChg chg="add del mod">
          <ac:chgData name="Steiner Andreas 6206 ED" userId="e6377c33-a923-4f14-8587-531c474c7b48" providerId="ADAL" clId="{6ECD27E6-B224-41CD-B4E0-E297462320DD}" dt="2023-11-24T11:33:52.053" v="115758"/>
          <ac:spMkLst>
            <pc:docMk/>
            <pc:sldMk cId="4145871477" sldId="2147478567"/>
            <ac:spMk id="750" creationId="{8F2E4AE9-F39F-6C54-E686-AB4968A63D34}"/>
          </ac:spMkLst>
        </pc:spChg>
        <pc:spChg chg="add del mod">
          <ac:chgData name="Steiner Andreas 6206 ED" userId="e6377c33-a923-4f14-8587-531c474c7b48" providerId="ADAL" clId="{6ECD27E6-B224-41CD-B4E0-E297462320DD}" dt="2023-11-24T11:33:54.895" v="115913"/>
          <ac:spMkLst>
            <pc:docMk/>
            <pc:sldMk cId="4145871477" sldId="2147478567"/>
            <ac:spMk id="751" creationId="{5B1B956F-0E76-90F5-520F-D9771DC25469}"/>
          </ac:spMkLst>
        </pc:spChg>
        <pc:spChg chg="add del mod">
          <ac:chgData name="Steiner Andreas 6206 ED" userId="e6377c33-a923-4f14-8587-531c474c7b48" providerId="ADAL" clId="{6ECD27E6-B224-41CD-B4E0-E297462320DD}" dt="2023-11-24T11:33:57.388" v="116068"/>
          <ac:spMkLst>
            <pc:docMk/>
            <pc:sldMk cId="4145871477" sldId="2147478567"/>
            <ac:spMk id="752" creationId="{15275D00-0B46-0E6F-A5BD-AA959F21A34F}"/>
          </ac:spMkLst>
        </pc:spChg>
        <pc:spChg chg="add del mod">
          <ac:chgData name="Steiner Andreas 6206 ED" userId="e6377c33-a923-4f14-8587-531c474c7b48" providerId="ADAL" clId="{6ECD27E6-B224-41CD-B4E0-E297462320DD}" dt="2023-11-24T11:33:59.730" v="116223"/>
          <ac:spMkLst>
            <pc:docMk/>
            <pc:sldMk cId="4145871477" sldId="2147478567"/>
            <ac:spMk id="753" creationId="{9EBA486B-05BE-D684-02FE-9EBD6EF86D9C}"/>
          </ac:spMkLst>
        </pc:spChg>
        <pc:spChg chg="add del mod">
          <ac:chgData name="Steiner Andreas 6206 ED" userId="e6377c33-a923-4f14-8587-531c474c7b48" providerId="ADAL" clId="{6ECD27E6-B224-41CD-B4E0-E297462320DD}" dt="2023-11-24T11:34:02.096" v="116378"/>
          <ac:spMkLst>
            <pc:docMk/>
            <pc:sldMk cId="4145871477" sldId="2147478567"/>
            <ac:spMk id="754" creationId="{A4EE679A-7354-9FF5-7AA5-C5AFE58A579F}"/>
          </ac:spMkLst>
        </pc:spChg>
        <pc:spChg chg="add del mod">
          <ac:chgData name="Steiner Andreas 6206 ED" userId="e6377c33-a923-4f14-8587-531c474c7b48" providerId="ADAL" clId="{6ECD27E6-B224-41CD-B4E0-E297462320DD}" dt="2023-11-24T11:34:04.402" v="116533"/>
          <ac:spMkLst>
            <pc:docMk/>
            <pc:sldMk cId="4145871477" sldId="2147478567"/>
            <ac:spMk id="755" creationId="{E9DFD99D-A11E-374F-B311-BA21DB6A5BE2}"/>
          </ac:spMkLst>
        </pc:spChg>
        <pc:spChg chg="add del mod">
          <ac:chgData name="Steiner Andreas 6206 ED" userId="e6377c33-a923-4f14-8587-531c474c7b48" providerId="ADAL" clId="{6ECD27E6-B224-41CD-B4E0-E297462320DD}" dt="2023-11-24T11:34:06.893" v="116688"/>
          <ac:spMkLst>
            <pc:docMk/>
            <pc:sldMk cId="4145871477" sldId="2147478567"/>
            <ac:spMk id="756" creationId="{496C7888-959D-6675-EA1B-E3D35E84DEBA}"/>
          </ac:spMkLst>
        </pc:spChg>
        <pc:spChg chg="add del mod">
          <ac:chgData name="Steiner Andreas 6206 ED" userId="e6377c33-a923-4f14-8587-531c474c7b48" providerId="ADAL" clId="{6ECD27E6-B224-41CD-B4E0-E297462320DD}" dt="2023-11-24T11:34:09.513" v="116843"/>
          <ac:spMkLst>
            <pc:docMk/>
            <pc:sldMk cId="4145871477" sldId="2147478567"/>
            <ac:spMk id="757" creationId="{AE139A7A-096D-4CB0-2C45-E3BE4BC1E5F3}"/>
          </ac:spMkLst>
        </pc:spChg>
        <pc:spChg chg="add del mod">
          <ac:chgData name="Steiner Andreas 6206 ED" userId="e6377c33-a923-4f14-8587-531c474c7b48" providerId="ADAL" clId="{6ECD27E6-B224-41CD-B4E0-E297462320DD}" dt="2023-11-24T11:34:11.447" v="116998"/>
          <ac:spMkLst>
            <pc:docMk/>
            <pc:sldMk cId="4145871477" sldId="2147478567"/>
            <ac:spMk id="758" creationId="{CA846256-6300-0560-7DF8-035F9B560438}"/>
          </ac:spMkLst>
        </pc:spChg>
        <pc:spChg chg="add del mod">
          <ac:chgData name="Steiner Andreas 6206 ED" userId="e6377c33-a923-4f14-8587-531c474c7b48" providerId="ADAL" clId="{6ECD27E6-B224-41CD-B4E0-E297462320DD}" dt="2023-11-24T11:34:13.213" v="117153"/>
          <ac:spMkLst>
            <pc:docMk/>
            <pc:sldMk cId="4145871477" sldId="2147478567"/>
            <ac:spMk id="759" creationId="{F312065B-8D13-90E6-F4BF-B9D2E17F5FD6}"/>
          </ac:spMkLst>
        </pc:spChg>
        <pc:spChg chg="add del mod">
          <ac:chgData name="Steiner Andreas 6206 ED" userId="e6377c33-a923-4f14-8587-531c474c7b48" providerId="ADAL" clId="{6ECD27E6-B224-41CD-B4E0-E297462320DD}" dt="2023-11-24T11:34:15.009" v="117308"/>
          <ac:spMkLst>
            <pc:docMk/>
            <pc:sldMk cId="4145871477" sldId="2147478567"/>
            <ac:spMk id="760" creationId="{2092136F-0539-A34D-AF12-5DE991C423A0}"/>
          </ac:spMkLst>
        </pc:spChg>
        <pc:spChg chg="add del mod">
          <ac:chgData name="Steiner Andreas 6206 ED" userId="e6377c33-a923-4f14-8587-531c474c7b48" providerId="ADAL" clId="{6ECD27E6-B224-41CD-B4E0-E297462320DD}" dt="2023-11-24T11:34:16.785" v="117463"/>
          <ac:spMkLst>
            <pc:docMk/>
            <pc:sldMk cId="4145871477" sldId="2147478567"/>
            <ac:spMk id="761" creationId="{D3EB24F2-0496-F3E2-2338-CE4ECE928C07}"/>
          </ac:spMkLst>
        </pc:spChg>
        <pc:spChg chg="add del mod">
          <ac:chgData name="Steiner Andreas 6206 ED" userId="e6377c33-a923-4f14-8587-531c474c7b48" providerId="ADAL" clId="{6ECD27E6-B224-41CD-B4E0-E297462320DD}" dt="2023-11-24T11:34:18.615" v="117618"/>
          <ac:spMkLst>
            <pc:docMk/>
            <pc:sldMk cId="4145871477" sldId="2147478567"/>
            <ac:spMk id="762" creationId="{4188D2DC-07BC-765E-EECF-AC5922882D60}"/>
          </ac:spMkLst>
        </pc:spChg>
        <pc:spChg chg="add del mod">
          <ac:chgData name="Steiner Andreas 6206 ED" userId="e6377c33-a923-4f14-8587-531c474c7b48" providerId="ADAL" clId="{6ECD27E6-B224-41CD-B4E0-E297462320DD}" dt="2023-11-24T11:34:20.728" v="117773"/>
          <ac:spMkLst>
            <pc:docMk/>
            <pc:sldMk cId="4145871477" sldId="2147478567"/>
            <ac:spMk id="763" creationId="{4A3F84DC-1C39-3840-B0FC-107A382D0EED}"/>
          </ac:spMkLst>
        </pc:spChg>
        <pc:spChg chg="add del mod">
          <ac:chgData name="Steiner Andreas 6206 ED" userId="e6377c33-a923-4f14-8587-531c474c7b48" providerId="ADAL" clId="{6ECD27E6-B224-41CD-B4E0-E297462320DD}" dt="2023-11-24T11:34:22.648" v="117928"/>
          <ac:spMkLst>
            <pc:docMk/>
            <pc:sldMk cId="4145871477" sldId="2147478567"/>
            <ac:spMk id="764" creationId="{CF51C315-F167-BE85-650D-426051CCB8AE}"/>
          </ac:spMkLst>
        </pc:spChg>
        <pc:spChg chg="add del mod">
          <ac:chgData name="Steiner Andreas 6206 ED" userId="e6377c33-a923-4f14-8587-531c474c7b48" providerId="ADAL" clId="{6ECD27E6-B224-41CD-B4E0-E297462320DD}" dt="2023-11-24T11:34:24.758" v="118083"/>
          <ac:spMkLst>
            <pc:docMk/>
            <pc:sldMk cId="4145871477" sldId="2147478567"/>
            <ac:spMk id="765" creationId="{7843C9A3-9686-C718-3387-34BE7BAF03D7}"/>
          </ac:spMkLst>
        </pc:spChg>
        <pc:spChg chg="add del mod">
          <ac:chgData name="Steiner Andreas 6206 ED" userId="e6377c33-a923-4f14-8587-531c474c7b48" providerId="ADAL" clId="{6ECD27E6-B224-41CD-B4E0-E297462320DD}" dt="2023-11-24T11:34:27.323" v="118238"/>
          <ac:spMkLst>
            <pc:docMk/>
            <pc:sldMk cId="4145871477" sldId="2147478567"/>
            <ac:spMk id="766" creationId="{802DA656-0437-D188-FEDD-B96319A509E4}"/>
          </ac:spMkLst>
        </pc:spChg>
        <pc:spChg chg="add del mod">
          <ac:chgData name="Steiner Andreas 6206 ED" userId="e6377c33-a923-4f14-8587-531c474c7b48" providerId="ADAL" clId="{6ECD27E6-B224-41CD-B4E0-E297462320DD}" dt="2023-11-24T11:34:29.372" v="118393"/>
          <ac:spMkLst>
            <pc:docMk/>
            <pc:sldMk cId="4145871477" sldId="2147478567"/>
            <ac:spMk id="767" creationId="{445D6E52-DD5A-E2CC-3476-C380FF68BF41}"/>
          </ac:spMkLst>
        </pc:spChg>
        <pc:spChg chg="add del mod">
          <ac:chgData name="Steiner Andreas 6206 ED" userId="e6377c33-a923-4f14-8587-531c474c7b48" providerId="ADAL" clId="{6ECD27E6-B224-41CD-B4E0-E297462320DD}" dt="2023-11-24T11:34:31.643" v="118548"/>
          <ac:spMkLst>
            <pc:docMk/>
            <pc:sldMk cId="4145871477" sldId="2147478567"/>
            <ac:spMk id="768" creationId="{721D7B66-79EE-1CEB-7385-D9C5C422FF58}"/>
          </ac:spMkLst>
        </pc:spChg>
        <pc:spChg chg="add del mod">
          <ac:chgData name="Steiner Andreas 6206 ED" userId="e6377c33-a923-4f14-8587-531c474c7b48" providerId="ADAL" clId="{6ECD27E6-B224-41CD-B4E0-E297462320DD}" dt="2023-11-24T11:34:33.614" v="118703"/>
          <ac:spMkLst>
            <pc:docMk/>
            <pc:sldMk cId="4145871477" sldId="2147478567"/>
            <ac:spMk id="769" creationId="{519821CE-E703-2CED-FAD3-B28242EF2D53}"/>
          </ac:spMkLst>
        </pc:spChg>
        <pc:spChg chg="add del mod">
          <ac:chgData name="Steiner Andreas 6206 ED" userId="e6377c33-a923-4f14-8587-531c474c7b48" providerId="ADAL" clId="{6ECD27E6-B224-41CD-B4E0-E297462320DD}" dt="2023-11-24T11:34:35.583" v="118858"/>
          <ac:spMkLst>
            <pc:docMk/>
            <pc:sldMk cId="4145871477" sldId="2147478567"/>
            <ac:spMk id="770" creationId="{56821E31-E4F2-9DF6-03CE-365F9B6C5454}"/>
          </ac:spMkLst>
        </pc:spChg>
        <pc:spChg chg="add del mod">
          <ac:chgData name="Steiner Andreas 6206 ED" userId="e6377c33-a923-4f14-8587-531c474c7b48" providerId="ADAL" clId="{6ECD27E6-B224-41CD-B4E0-E297462320DD}" dt="2023-11-24T11:34:37.698" v="119013"/>
          <ac:spMkLst>
            <pc:docMk/>
            <pc:sldMk cId="4145871477" sldId="2147478567"/>
            <ac:spMk id="771" creationId="{8C23FD72-F533-C1D9-9732-C3B67D299051}"/>
          </ac:spMkLst>
        </pc:spChg>
        <pc:spChg chg="add del mod">
          <ac:chgData name="Steiner Andreas 6206 ED" userId="e6377c33-a923-4f14-8587-531c474c7b48" providerId="ADAL" clId="{6ECD27E6-B224-41CD-B4E0-E297462320DD}" dt="2023-11-24T11:34:39.651" v="119168"/>
          <ac:spMkLst>
            <pc:docMk/>
            <pc:sldMk cId="4145871477" sldId="2147478567"/>
            <ac:spMk id="772" creationId="{D0458AA8-9B25-40F3-D09C-364DE96ABD31}"/>
          </ac:spMkLst>
        </pc:spChg>
        <pc:spChg chg="add del mod">
          <ac:chgData name="Steiner Andreas 6206 ED" userId="e6377c33-a923-4f14-8587-531c474c7b48" providerId="ADAL" clId="{6ECD27E6-B224-41CD-B4E0-E297462320DD}" dt="2023-11-24T11:34:41.799" v="119323"/>
          <ac:spMkLst>
            <pc:docMk/>
            <pc:sldMk cId="4145871477" sldId="2147478567"/>
            <ac:spMk id="773" creationId="{868D2800-7350-55A7-7EBC-979482B50314}"/>
          </ac:spMkLst>
        </pc:spChg>
        <pc:spChg chg="add del mod">
          <ac:chgData name="Steiner Andreas 6206 ED" userId="e6377c33-a923-4f14-8587-531c474c7b48" providerId="ADAL" clId="{6ECD27E6-B224-41CD-B4E0-E297462320DD}" dt="2023-11-24T11:34:43.961" v="119478"/>
          <ac:spMkLst>
            <pc:docMk/>
            <pc:sldMk cId="4145871477" sldId="2147478567"/>
            <ac:spMk id="774" creationId="{CEBCDE7D-CB54-EFBB-687B-84CDD4873A65}"/>
          </ac:spMkLst>
        </pc:spChg>
        <pc:spChg chg="add del mod">
          <ac:chgData name="Steiner Andreas 6206 ED" userId="e6377c33-a923-4f14-8587-531c474c7b48" providerId="ADAL" clId="{6ECD27E6-B224-41CD-B4E0-E297462320DD}" dt="2023-11-24T11:34:45.967" v="119633"/>
          <ac:spMkLst>
            <pc:docMk/>
            <pc:sldMk cId="4145871477" sldId="2147478567"/>
            <ac:spMk id="775" creationId="{E0181F5A-86D2-BA98-417F-827C3AEBCC24}"/>
          </ac:spMkLst>
        </pc:spChg>
        <pc:spChg chg="add del mod">
          <ac:chgData name="Steiner Andreas 6206 ED" userId="e6377c33-a923-4f14-8587-531c474c7b48" providerId="ADAL" clId="{6ECD27E6-B224-41CD-B4E0-E297462320DD}" dt="2023-11-24T11:34:47.876" v="119788"/>
          <ac:spMkLst>
            <pc:docMk/>
            <pc:sldMk cId="4145871477" sldId="2147478567"/>
            <ac:spMk id="776" creationId="{68D3C4D8-8DC2-DC1A-8386-E89676956BDB}"/>
          </ac:spMkLst>
        </pc:spChg>
        <pc:spChg chg="add del mod">
          <ac:chgData name="Steiner Andreas 6206 ED" userId="e6377c33-a923-4f14-8587-531c474c7b48" providerId="ADAL" clId="{6ECD27E6-B224-41CD-B4E0-E297462320DD}" dt="2023-11-24T11:34:50.089" v="119943"/>
          <ac:spMkLst>
            <pc:docMk/>
            <pc:sldMk cId="4145871477" sldId="2147478567"/>
            <ac:spMk id="777" creationId="{1AA7A891-63C7-86D9-79AB-321104EDA69A}"/>
          </ac:spMkLst>
        </pc:spChg>
        <pc:spChg chg="add del mod">
          <ac:chgData name="Steiner Andreas 6206 ED" userId="e6377c33-a923-4f14-8587-531c474c7b48" providerId="ADAL" clId="{6ECD27E6-B224-41CD-B4E0-E297462320DD}" dt="2023-11-24T11:34:52.167" v="120098"/>
          <ac:spMkLst>
            <pc:docMk/>
            <pc:sldMk cId="4145871477" sldId="2147478567"/>
            <ac:spMk id="778" creationId="{B95EA614-645A-49DC-8780-094A5DD28D45}"/>
          </ac:spMkLst>
        </pc:spChg>
        <pc:spChg chg="add del mod">
          <ac:chgData name="Steiner Andreas 6206 ED" userId="e6377c33-a923-4f14-8587-531c474c7b48" providerId="ADAL" clId="{6ECD27E6-B224-41CD-B4E0-E297462320DD}" dt="2023-11-24T11:34:54.135" v="120253"/>
          <ac:spMkLst>
            <pc:docMk/>
            <pc:sldMk cId="4145871477" sldId="2147478567"/>
            <ac:spMk id="779" creationId="{20102867-90BD-1123-B59B-207C3B31E39A}"/>
          </ac:spMkLst>
        </pc:spChg>
        <pc:spChg chg="add del mod">
          <ac:chgData name="Steiner Andreas 6206 ED" userId="e6377c33-a923-4f14-8587-531c474c7b48" providerId="ADAL" clId="{6ECD27E6-B224-41CD-B4E0-E297462320DD}" dt="2023-11-24T11:34:56.008" v="120408"/>
          <ac:spMkLst>
            <pc:docMk/>
            <pc:sldMk cId="4145871477" sldId="2147478567"/>
            <ac:spMk id="780" creationId="{F565482D-1759-0ED8-9BDF-9E4ACB46E98E}"/>
          </ac:spMkLst>
        </pc:spChg>
        <pc:spChg chg="add del mod">
          <ac:chgData name="Steiner Andreas 6206 ED" userId="e6377c33-a923-4f14-8587-531c474c7b48" providerId="ADAL" clId="{6ECD27E6-B224-41CD-B4E0-E297462320DD}" dt="2023-11-24T11:34:57.820" v="120563"/>
          <ac:spMkLst>
            <pc:docMk/>
            <pc:sldMk cId="4145871477" sldId="2147478567"/>
            <ac:spMk id="781" creationId="{79085976-77B9-A354-B33D-FEFF8D8B00E5}"/>
          </ac:spMkLst>
        </pc:spChg>
        <pc:spChg chg="add del mod">
          <ac:chgData name="Steiner Andreas 6206 ED" userId="e6377c33-a923-4f14-8587-531c474c7b48" providerId="ADAL" clId="{6ECD27E6-B224-41CD-B4E0-E297462320DD}" dt="2023-11-24T11:34:59.696" v="120718"/>
          <ac:spMkLst>
            <pc:docMk/>
            <pc:sldMk cId="4145871477" sldId="2147478567"/>
            <ac:spMk id="782" creationId="{69EC0204-8637-31B3-165A-51459436F30D}"/>
          </ac:spMkLst>
        </pc:spChg>
        <pc:spChg chg="add del mod">
          <ac:chgData name="Steiner Andreas 6206 ED" userId="e6377c33-a923-4f14-8587-531c474c7b48" providerId="ADAL" clId="{6ECD27E6-B224-41CD-B4E0-E297462320DD}" dt="2023-11-24T11:35:01.530" v="120873"/>
          <ac:spMkLst>
            <pc:docMk/>
            <pc:sldMk cId="4145871477" sldId="2147478567"/>
            <ac:spMk id="783" creationId="{C3AC3C02-B8A9-73C8-A37A-BA688F999C70}"/>
          </ac:spMkLst>
        </pc:spChg>
        <pc:spChg chg="add del mod">
          <ac:chgData name="Steiner Andreas 6206 ED" userId="e6377c33-a923-4f14-8587-531c474c7b48" providerId="ADAL" clId="{6ECD27E6-B224-41CD-B4E0-E297462320DD}" dt="2023-11-24T11:35:03.402" v="121028"/>
          <ac:spMkLst>
            <pc:docMk/>
            <pc:sldMk cId="4145871477" sldId="2147478567"/>
            <ac:spMk id="784" creationId="{B936A8C4-CC04-0D3F-9A47-23179F01FBB3}"/>
          </ac:spMkLst>
        </pc:spChg>
        <pc:spChg chg="add del mod">
          <ac:chgData name="Steiner Andreas 6206 ED" userId="e6377c33-a923-4f14-8587-531c474c7b48" providerId="ADAL" clId="{6ECD27E6-B224-41CD-B4E0-E297462320DD}" dt="2023-11-24T11:35:05.304" v="121183"/>
          <ac:spMkLst>
            <pc:docMk/>
            <pc:sldMk cId="4145871477" sldId="2147478567"/>
            <ac:spMk id="785" creationId="{2B2C7CED-47B2-2898-7778-66B5F5BC5B74}"/>
          </ac:spMkLst>
        </pc:spChg>
        <pc:spChg chg="add del mod">
          <ac:chgData name="Steiner Andreas 6206 ED" userId="e6377c33-a923-4f14-8587-531c474c7b48" providerId="ADAL" clId="{6ECD27E6-B224-41CD-B4E0-E297462320DD}" dt="2023-11-24T11:35:07.441" v="121338"/>
          <ac:spMkLst>
            <pc:docMk/>
            <pc:sldMk cId="4145871477" sldId="2147478567"/>
            <ac:spMk id="786" creationId="{19522E28-C9A8-E4C0-C6B0-528ECA5D894F}"/>
          </ac:spMkLst>
        </pc:spChg>
        <pc:spChg chg="add del mod">
          <ac:chgData name="Steiner Andreas 6206 ED" userId="e6377c33-a923-4f14-8587-531c474c7b48" providerId="ADAL" clId="{6ECD27E6-B224-41CD-B4E0-E297462320DD}" dt="2023-11-24T11:35:09.461" v="121493"/>
          <ac:spMkLst>
            <pc:docMk/>
            <pc:sldMk cId="4145871477" sldId="2147478567"/>
            <ac:spMk id="787" creationId="{D38A6284-50C4-A4C9-AAA0-AECC5C3C69AD}"/>
          </ac:spMkLst>
        </pc:spChg>
        <pc:spChg chg="add del mod">
          <ac:chgData name="Steiner Andreas 6206 ED" userId="e6377c33-a923-4f14-8587-531c474c7b48" providerId="ADAL" clId="{6ECD27E6-B224-41CD-B4E0-E297462320DD}" dt="2023-11-24T11:35:11.417" v="121648"/>
          <ac:spMkLst>
            <pc:docMk/>
            <pc:sldMk cId="4145871477" sldId="2147478567"/>
            <ac:spMk id="788" creationId="{48131D93-A8A3-89A9-D9F6-B8E565A4601B}"/>
          </ac:spMkLst>
        </pc:spChg>
        <pc:spChg chg="add del mod">
          <ac:chgData name="Steiner Andreas 6206 ED" userId="e6377c33-a923-4f14-8587-531c474c7b48" providerId="ADAL" clId="{6ECD27E6-B224-41CD-B4E0-E297462320DD}" dt="2023-11-24T11:35:13.154" v="121803"/>
          <ac:spMkLst>
            <pc:docMk/>
            <pc:sldMk cId="4145871477" sldId="2147478567"/>
            <ac:spMk id="789" creationId="{96C7960E-AC43-5038-21E6-01B04AFA1EBE}"/>
          </ac:spMkLst>
        </pc:spChg>
        <pc:spChg chg="add del mod">
          <ac:chgData name="Steiner Andreas 6206 ED" userId="e6377c33-a923-4f14-8587-531c474c7b48" providerId="ADAL" clId="{6ECD27E6-B224-41CD-B4E0-E297462320DD}" dt="2023-11-24T11:35:15.102" v="121958"/>
          <ac:spMkLst>
            <pc:docMk/>
            <pc:sldMk cId="4145871477" sldId="2147478567"/>
            <ac:spMk id="790" creationId="{9475DE5B-4FE4-E982-E156-991D7F8CF74D}"/>
          </ac:spMkLst>
        </pc:spChg>
        <pc:spChg chg="add del mod">
          <ac:chgData name="Steiner Andreas 6206 ED" userId="e6377c33-a923-4f14-8587-531c474c7b48" providerId="ADAL" clId="{6ECD27E6-B224-41CD-B4E0-E297462320DD}" dt="2023-11-24T11:35:16.763" v="122113"/>
          <ac:spMkLst>
            <pc:docMk/>
            <pc:sldMk cId="4145871477" sldId="2147478567"/>
            <ac:spMk id="791" creationId="{B5D76349-92A9-BB40-D667-15B6EDA24CFD}"/>
          </ac:spMkLst>
        </pc:spChg>
        <pc:spChg chg="add del mod">
          <ac:chgData name="Steiner Andreas 6206 ED" userId="e6377c33-a923-4f14-8587-531c474c7b48" providerId="ADAL" clId="{6ECD27E6-B224-41CD-B4E0-E297462320DD}" dt="2023-11-24T11:35:18.483" v="122268"/>
          <ac:spMkLst>
            <pc:docMk/>
            <pc:sldMk cId="4145871477" sldId="2147478567"/>
            <ac:spMk id="792" creationId="{B8EF52B0-2C8E-F9A2-21A7-7E9C626A846C}"/>
          </ac:spMkLst>
        </pc:spChg>
        <pc:spChg chg="add del mod">
          <ac:chgData name="Steiner Andreas 6206 ED" userId="e6377c33-a923-4f14-8587-531c474c7b48" providerId="ADAL" clId="{6ECD27E6-B224-41CD-B4E0-E297462320DD}" dt="2023-11-24T11:35:20.107" v="122423"/>
          <ac:spMkLst>
            <pc:docMk/>
            <pc:sldMk cId="4145871477" sldId="2147478567"/>
            <ac:spMk id="793" creationId="{D1691E75-C0C0-29D0-9FCA-A611D11F27D1}"/>
          </ac:spMkLst>
        </pc:spChg>
        <pc:spChg chg="add del mod">
          <ac:chgData name="Steiner Andreas 6206 ED" userId="e6377c33-a923-4f14-8587-531c474c7b48" providerId="ADAL" clId="{6ECD27E6-B224-41CD-B4E0-E297462320DD}" dt="2023-11-24T11:35:21.743" v="122578"/>
          <ac:spMkLst>
            <pc:docMk/>
            <pc:sldMk cId="4145871477" sldId="2147478567"/>
            <ac:spMk id="794" creationId="{4F6651B3-D818-6FC2-F534-2A47B0F50FDB}"/>
          </ac:spMkLst>
        </pc:spChg>
        <pc:spChg chg="add del mod">
          <ac:chgData name="Steiner Andreas 6206 ED" userId="e6377c33-a923-4f14-8587-531c474c7b48" providerId="ADAL" clId="{6ECD27E6-B224-41CD-B4E0-E297462320DD}" dt="2023-11-24T11:35:23.449" v="122733"/>
          <ac:spMkLst>
            <pc:docMk/>
            <pc:sldMk cId="4145871477" sldId="2147478567"/>
            <ac:spMk id="795" creationId="{56D958CF-0DAE-223A-2D1D-51051F67DEF1}"/>
          </ac:spMkLst>
        </pc:spChg>
        <pc:spChg chg="add del mod">
          <ac:chgData name="Steiner Andreas 6206 ED" userId="e6377c33-a923-4f14-8587-531c474c7b48" providerId="ADAL" clId="{6ECD27E6-B224-41CD-B4E0-E297462320DD}" dt="2023-11-24T11:35:25.500" v="122888"/>
          <ac:spMkLst>
            <pc:docMk/>
            <pc:sldMk cId="4145871477" sldId="2147478567"/>
            <ac:spMk id="796" creationId="{6473F2D8-40D6-CA95-BED1-858F4F5189B8}"/>
          </ac:spMkLst>
        </pc:spChg>
        <pc:spChg chg="add del mod">
          <ac:chgData name="Steiner Andreas 6206 ED" userId="e6377c33-a923-4f14-8587-531c474c7b48" providerId="ADAL" clId="{6ECD27E6-B224-41CD-B4E0-E297462320DD}" dt="2023-11-24T11:35:27.510" v="123043"/>
          <ac:spMkLst>
            <pc:docMk/>
            <pc:sldMk cId="4145871477" sldId="2147478567"/>
            <ac:spMk id="797" creationId="{4AF8682B-F534-2054-1A29-B4B378A67871}"/>
          </ac:spMkLst>
        </pc:spChg>
        <pc:spChg chg="add del mod">
          <ac:chgData name="Steiner Andreas 6206 ED" userId="e6377c33-a923-4f14-8587-531c474c7b48" providerId="ADAL" clId="{6ECD27E6-B224-41CD-B4E0-E297462320DD}" dt="2023-11-24T11:35:29.393" v="123198"/>
          <ac:spMkLst>
            <pc:docMk/>
            <pc:sldMk cId="4145871477" sldId="2147478567"/>
            <ac:spMk id="798" creationId="{B1B978CF-B4C3-B3CA-46E5-6B2D93C88282}"/>
          </ac:spMkLst>
        </pc:spChg>
        <pc:spChg chg="add del mod">
          <ac:chgData name="Steiner Andreas 6206 ED" userId="e6377c33-a923-4f14-8587-531c474c7b48" providerId="ADAL" clId="{6ECD27E6-B224-41CD-B4E0-E297462320DD}" dt="2023-11-24T11:35:31.123" v="123353"/>
          <ac:spMkLst>
            <pc:docMk/>
            <pc:sldMk cId="4145871477" sldId="2147478567"/>
            <ac:spMk id="799" creationId="{524E9A1B-F730-F8E2-8EF3-B7E776925AFF}"/>
          </ac:spMkLst>
        </pc:spChg>
        <pc:spChg chg="add del mod">
          <ac:chgData name="Steiner Andreas 6206 ED" userId="e6377c33-a923-4f14-8587-531c474c7b48" providerId="ADAL" clId="{6ECD27E6-B224-41CD-B4E0-E297462320DD}" dt="2023-11-24T11:35:34.062" v="123508"/>
          <ac:spMkLst>
            <pc:docMk/>
            <pc:sldMk cId="4145871477" sldId="2147478567"/>
            <ac:spMk id="800" creationId="{21ECF174-4DC8-78D9-3B36-F1E10D755E18}"/>
          </ac:spMkLst>
        </pc:spChg>
        <pc:spChg chg="add del mod">
          <ac:chgData name="Steiner Andreas 6206 ED" userId="e6377c33-a923-4f14-8587-531c474c7b48" providerId="ADAL" clId="{6ECD27E6-B224-41CD-B4E0-E297462320DD}" dt="2023-11-24T11:35:35.864" v="123663"/>
          <ac:spMkLst>
            <pc:docMk/>
            <pc:sldMk cId="4145871477" sldId="2147478567"/>
            <ac:spMk id="801" creationId="{31FD9EA8-2C3A-5F56-F2B6-8FEF1150BDFD}"/>
          </ac:spMkLst>
        </pc:spChg>
        <pc:spChg chg="add del mod">
          <ac:chgData name="Steiner Andreas 6206 ED" userId="e6377c33-a923-4f14-8587-531c474c7b48" providerId="ADAL" clId="{6ECD27E6-B224-41CD-B4E0-E297462320DD}" dt="2023-11-24T11:35:37.540" v="123818"/>
          <ac:spMkLst>
            <pc:docMk/>
            <pc:sldMk cId="4145871477" sldId="2147478567"/>
            <ac:spMk id="802" creationId="{1B8C9E37-67C9-F88A-AF42-5D0F6CF5794B}"/>
          </ac:spMkLst>
        </pc:spChg>
        <pc:spChg chg="add del mod">
          <ac:chgData name="Steiner Andreas 6206 ED" userId="e6377c33-a923-4f14-8587-531c474c7b48" providerId="ADAL" clId="{6ECD27E6-B224-41CD-B4E0-E297462320DD}" dt="2023-11-24T11:35:39.179" v="123973"/>
          <ac:spMkLst>
            <pc:docMk/>
            <pc:sldMk cId="4145871477" sldId="2147478567"/>
            <ac:spMk id="803" creationId="{8DD129AF-9470-1F20-1A5E-D5D0F37096F5}"/>
          </ac:spMkLst>
        </pc:spChg>
        <pc:spChg chg="add del mod">
          <ac:chgData name="Steiner Andreas 6206 ED" userId="e6377c33-a923-4f14-8587-531c474c7b48" providerId="ADAL" clId="{6ECD27E6-B224-41CD-B4E0-E297462320DD}" dt="2023-11-24T11:35:40.881" v="124128"/>
          <ac:spMkLst>
            <pc:docMk/>
            <pc:sldMk cId="4145871477" sldId="2147478567"/>
            <ac:spMk id="804" creationId="{8C368FD8-22BC-DA07-8F38-670957DF63EA}"/>
          </ac:spMkLst>
        </pc:spChg>
        <pc:spChg chg="add del mod">
          <ac:chgData name="Steiner Andreas 6206 ED" userId="e6377c33-a923-4f14-8587-531c474c7b48" providerId="ADAL" clId="{6ECD27E6-B224-41CD-B4E0-E297462320DD}" dt="2023-11-24T11:35:42.481" v="124283"/>
          <ac:spMkLst>
            <pc:docMk/>
            <pc:sldMk cId="4145871477" sldId="2147478567"/>
            <ac:spMk id="805" creationId="{C06B5003-3996-5052-E016-1E2DBD5E598D}"/>
          </ac:spMkLst>
        </pc:spChg>
        <pc:spChg chg="add del mod">
          <ac:chgData name="Steiner Andreas 6206 ED" userId="e6377c33-a923-4f14-8587-531c474c7b48" providerId="ADAL" clId="{6ECD27E6-B224-41CD-B4E0-E297462320DD}" dt="2023-11-24T11:35:44.176" v="124438"/>
          <ac:spMkLst>
            <pc:docMk/>
            <pc:sldMk cId="4145871477" sldId="2147478567"/>
            <ac:spMk id="806" creationId="{14D947D9-1700-4D1C-AF8F-6D1698C5D6B1}"/>
          </ac:spMkLst>
        </pc:spChg>
        <pc:spChg chg="add del mod">
          <ac:chgData name="Steiner Andreas 6206 ED" userId="e6377c33-a923-4f14-8587-531c474c7b48" providerId="ADAL" clId="{6ECD27E6-B224-41CD-B4E0-E297462320DD}" dt="2023-11-24T11:35:45.805" v="124593"/>
          <ac:spMkLst>
            <pc:docMk/>
            <pc:sldMk cId="4145871477" sldId="2147478567"/>
            <ac:spMk id="807" creationId="{F37E4B2F-1735-6A49-61F3-8EB91A22410C}"/>
          </ac:spMkLst>
        </pc:spChg>
        <pc:spChg chg="add del mod">
          <ac:chgData name="Steiner Andreas 6206 ED" userId="e6377c33-a923-4f14-8587-531c474c7b48" providerId="ADAL" clId="{6ECD27E6-B224-41CD-B4E0-E297462320DD}" dt="2023-11-24T11:35:47.522" v="124748"/>
          <ac:spMkLst>
            <pc:docMk/>
            <pc:sldMk cId="4145871477" sldId="2147478567"/>
            <ac:spMk id="808" creationId="{E1F06158-D464-CE91-0E06-3C58CF4AE728}"/>
          </ac:spMkLst>
        </pc:spChg>
        <pc:spChg chg="add del mod">
          <ac:chgData name="Steiner Andreas 6206 ED" userId="e6377c33-a923-4f14-8587-531c474c7b48" providerId="ADAL" clId="{6ECD27E6-B224-41CD-B4E0-E297462320DD}" dt="2023-11-24T11:35:49.314" v="124903"/>
          <ac:spMkLst>
            <pc:docMk/>
            <pc:sldMk cId="4145871477" sldId="2147478567"/>
            <ac:spMk id="809" creationId="{9212C651-1A65-A743-753E-A91193FBC40E}"/>
          </ac:spMkLst>
        </pc:spChg>
        <pc:spChg chg="add del mod">
          <ac:chgData name="Steiner Andreas 6206 ED" userId="e6377c33-a923-4f14-8587-531c474c7b48" providerId="ADAL" clId="{6ECD27E6-B224-41CD-B4E0-E297462320DD}" dt="2023-11-24T11:35:51.226" v="125058"/>
          <ac:spMkLst>
            <pc:docMk/>
            <pc:sldMk cId="4145871477" sldId="2147478567"/>
            <ac:spMk id="810" creationId="{C4A3E7D8-E991-435A-F22E-E1042D68FDCC}"/>
          </ac:spMkLst>
        </pc:spChg>
        <pc:spChg chg="add del mod">
          <ac:chgData name="Steiner Andreas 6206 ED" userId="e6377c33-a923-4f14-8587-531c474c7b48" providerId="ADAL" clId="{6ECD27E6-B224-41CD-B4E0-E297462320DD}" dt="2023-11-24T11:35:52.942" v="125213"/>
          <ac:spMkLst>
            <pc:docMk/>
            <pc:sldMk cId="4145871477" sldId="2147478567"/>
            <ac:spMk id="811" creationId="{CC843C66-373B-148A-2885-A629190D9059}"/>
          </ac:spMkLst>
        </pc:spChg>
        <pc:spChg chg="add del mod">
          <ac:chgData name="Steiner Andreas 6206 ED" userId="e6377c33-a923-4f14-8587-531c474c7b48" providerId="ADAL" clId="{6ECD27E6-B224-41CD-B4E0-E297462320DD}" dt="2023-11-24T11:35:54.959" v="125368"/>
          <ac:spMkLst>
            <pc:docMk/>
            <pc:sldMk cId="4145871477" sldId="2147478567"/>
            <ac:spMk id="812" creationId="{72975969-7CC2-73E0-0F3A-6B2D898D5C60}"/>
          </ac:spMkLst>
        </pc:spChg>
        <pc:spChg chg="add del mod">
          <ac:chgData name="Steiner Andreas 6206 ED" userId="e6377c33-a923-4f14-8587-531c474c7b48" providerId="ADAL" clId="{6ECD27E6-B224-41CD-B4E0-E297462320DD}" dt="2023-11-24T11:35:57.151" v="125523"/>
          <ac:spMkLst>
            <pc:docMk/>
            <pc:sldMk cId="4145871477" sldId="2147478567"/>
            <ac:spMk id="813" creationId="{C89B09D3-7E1E-5BD0-B806-D0A530319248}"/>
          </ac:spMkLst>
        </pc:spChg>
        <pc:spChg chg="add del mod">
          <ac:chgData name="Steiner Andreas 6206 ED" userId="e6377c33-a923-4f14-8587-531c474c7b48" providerId="ADAL" clId="{6ECD27E6-B224-41CD-B4E0-E297462320DD}" dt="2023-11-24T11:35:58.914" v="125678"/>
          <ac:spMkLst>
            <pc:docMk/>
            <pc:sldMk cId="4145871477" sldId="2147478567"/>
            <ac:spMk id="814" creationId="{7AB413F1-21FB-0B7F-8996-8EA34512B9FE}"/>
          </ac:spMkLst>
        </pc:spChg>
        <pc:spChg chg="add del mod">
          <ac:chgData name="Steiner Andreas 6206 ED" userId="e6377c33-a923-4f14-8587-531c474c7b48" providerId="ADAL" clId="{6ECD27E6-B224-41CD-B4E0-E297462320DD}" dt="2023-11-24T11:36:00.656" v="125833"/>
          <ac:spMkLst>
            <pc:docMk/>
            <pc:sldMk cId="4145871477" sldId="2147478567"/>
            <ac:spMk id="815" creationId="{1C51043D-F03E-F816-3338-54828AF61E0C}"/>
          </ac:spMkLst>
        </pc:spChg>
        <pc:spChg chg="add del mod">
          <ac:chgData name="Steiner Andreas 6206 ED" userId="e6377c33-a923-4f14-8587-531c474c7b48" providerId="ADAL" clId="{6ECD27E6-B224-41CD-B4E0-E297462320DD}" dt="2023-11-24T11:36:02.386" v="125988"/>
          <ac:spMkLst>
            <pc:docMk/>
            <pc:sldMk cId="4145871477" sldId="2147478567"/>
            <ac:spMk id="816" creationId="{EDC9FF40-A962-B819-4CA8-54F142EAABCA}"/>
          </ac:spMkLst>
        </pc:spChg>
        <pc:spChg chg="add del mod">
          <ac:chgData name="Steiner Andreas 6206 ED" userId="e6377c33-a923-4f14-8587-531c474c7b48" providerId="ADAL" clId="{6ECD27E6-B224-41CD-B4E0-E297462320DD}" dt="2023-11-24T11:36:04.139" v="126143"/>
          <ac:spMkLst>
            <pc:docMk/>
            <pc:sldMk cId="4145871477" sldId="2147478567"/>
            <ac:spMk id="817" creationId="{BB9485DC-95BD-90CD-82F4-FF4590C94414}"/>
          </ac:spMkLst>
        </pc:spChg>
        <pc:spChg chg="add del mod">
          <ac:chgData name="Steiner Andreas 6206 ED" userId="e6377c33-a923-4f14-8587-531c474c7b48" providerId="ADAL" clId="{6ECD27E6-B224-41CD-B4E0-E297462320DD}" dt="2023-11-24T11:36:05.911" v="126298"/>
          <ac:spMkLst>
            <pc:docMk/>
            <pc:sldMk cId="4145871477" sldId="2147478567"/>
            <ac:spMk id="818" creationId="{2FAB7A20-5C62-1A79-3BEB-C83B4B80E195}"/>
          </ac:spMkLst>
        </pc:spChg>
        <pc:spChg chg="add del mod">
          <ac:chgData name="Steiner Andreas 6206 ED" userId="e6377c33-a923-4f14-8587-531c474c7b48" providerId="ADAL" clId="{6ECD27E6-B224-41CD-B4E0-E297462320DD}" dt="2023-11-24T11:36:07.610" v="126453"/>
          <ac:spMkLst>
            <pc:docMk/>
            <pc:sldMk cId="4145871477" sldId="2147478567"/>
            <ac:spMk id="819" creationId="{5C70E750-AECA-7B94-4702-8A12EA17B904}"/>
          </ac:spMkLst>
        </pc:spChg>
        <pc:spChg chg="add del mod">
          <ac:chgData name="Steiner Andreas 6206 ED" userId="e6377c33-a923-4f14-8587-531c474c7b48" providerId="ADAL" clId="{6ECD27E6-B224-41CD-B4E0-E297462320DD}" dt="2023-11-24T11:36:09.442" v="126608"/>
          <ac:spMkLst>
            <pc:docMk/>
            <pc:sldMk cId="4145871477" sldId="2147478567"/>
            <ac:spMk id="820" creationId="{5BF066E7-1DA7-7237-D5E2-DA6AF350C7A1}"/>
          </ac:spMkLst>
        </pc:spChg>
        <pc:spChg chg="add del mod">
          <ac:chgData name="Steiner Andreas 6206 ED" userId="e6377c33-a923-4f14-8587-531c474c7b48" providerId="ADAL" clId="{6ECD27E6-B224-41CD-B4E0-E297462320DD}" dt="2023-11-24T11:36:11.266" v="126763"/>
          <ac:spMkLst>
            <pc:docMk/>
            <pc:sldMk cId="4145871477" sldId="2147478567"/>
            <ac:spMk id="821" creationId="{E831E7D5-3046-1929-0C59-A43251CAA732}"/>
          </ac:spMkLst>
        </pc:spChg>
        <pc:spChg chg="add del mod">
          <ac:chgData name="Steiner Andreas 6206 ED" userId="e6377c33-a923-4f14-8587-531c474c7b48" providerId="ADAL" clId="{6ECD27E6-B224-41CD-B4E0-E297462320DD}" dt="2023-11-24T11:36:13.161" v="126918"/>
          <ac:spMkLst>
            <pc:docMk/>
            <pc:sldMk cId="4145871477" sldId="2147478567"/>
            <ac:spMk id="822" creationId="{6A635BF2-609D-6D26-6233-DBC748D88F40}"/>
          </ac:spMkLst>
        </pc:spChg>
        <pc:spChg chg="add del mod">
          <ac:chgData name="Steiner Andreas 6206 ED" userId="e6377c33-a923-4f14-8587-531c474c7b48" providerId="ADAL" clId="{6ECD27E6-B224-41CD-B4E0-E297462320DD}" dt="2023-11-24T11:36:15.045" v="127073"/>
          <ac:spMkLst>
            <pc:docMk/>
            <pc:sldMk cId="4145871477" sldId="2147478567"/>
            <ac:spMk id="823" creationId="{C32A20F9-B77A-3E23-CA69-170D3259DB45}"/>
          </ac:spMkLst>
        </pc:spChg>
        <pc:spChg chg="add del mod">
          <ac:chgData name="Steiner Andreas 6206 ED" userId="e6377c33-a923-4f14-8587-531c474c7b48" providerId="ADAL" clId="{6ECD27E6-B224-41CD-B4E0-E297462320DD}" dt="2023-11-24T11:36:17.656" v="127228"/>
          <ac:spMkLst>
            <pc:docMk/>
            <pc:sldMk cId="4145871477" sldId="2147478567"/>
            <ac:spMk id="824" creationId="{8D6D22A7-78D8-2649-1150-98E70DE6771F}"/>
          </ac:spMkLst>
        </pc:spChg>
        <pc:spChg chg="add del mod">
          <ac:chgData name="Steiner Andreas 6206 ED" userId="e6377c33-a923-4f14-8587-531c474c7b48" providerId="ADAL" clId="{6ECD27E6-B224-41CD-B4E0-E297462320DD}" dt="2023-11-24T11:36:20.217" v="127383"/>
          <ac:spMkLst>
            <pc:docMk/>
            <pc:sldMk cId="4145871477" sldId="2147478567"/>
            <ac:spMk id="825" creationId="{EBE05A38-529F-DCC1-801A-D9749C2BC321}"/>
          </ac:spMkLst>
        </pc:spChg>
        <pc:spChg chg="add del mod">
          <ac:chgData name="Steiner Andreas 6206 ED" userId="e6377c33-a923-4f14-8587-531c474c7b48" providerId="ADAL" clId="{6ECD27E6-B224-41CD-B4E0-E297462320DD}" dt="2023-11-24T11:36:22.539" v="127538"/>
          <ac:spMkLst>
            <pc:docMk/>
            <pc:sldMk cId="4145871477" sldId="2147478567"/>
            <ac:spMk id="826" creationId="{5302035B-FE85-4667-D112-B0CC3ED0D971}"/>
          </ac:spMkLst>
        </pc:spChg>
        <pc:spChg chg="add del mod">
          <ac:chgData name="Steiner Andreas 6206 ED" userId="e6377c33-a923-4f14-8587-531c474c7b48" providerId="ADAL" clId="{6ECD27E6-B224-41CD-B4E0-E297462320DD}" dt="2023-11-24T11:36:25.718" v="127693"/>
          <ac:spMkLst>
            <pc:docMk/>
            <pc:sldMk cId="4145871477" sldId="2147478567"/>
            <ac:spMk id="827" creationId="{A16805CD-8FCD-888F-A40F-C6852A164AFD}"/>
          </ac:spMkLst>
        </pc:spChg>
        <pc:spChg chg="add del mod">
          <ac:chgData name="Steiner Andreas 6206 ED" userId="e6377c33-a923-4f14-8587-531c474c7b48" providerId="ADAL" clId="{6ECD27E6-B224-41CD-B4E0-E297462320DD}" dt="2023-11-24T11:36:28.514" v="127848"/>
          <ac:spMkLst>
            <pc:docMk/>
            <pc:sldMk cId="4145871477" sldId="2147478567"/>
            <ac:spMk id="828" creationId="{D7DD7887-CE82-9081-4AC1-B62CEF17BC4B}"/>
          </ac:spMkLst>
        </pc:spChg>
        <pc:spChg chg="add del mod">
          <ac:chgData name="Steiner Andreas 6206 ED" userId="e6377c33-a923-4f14-8587-531c474c7b48" providerId="ADAL" clId="{6ECD27E6-B224-41CD-B4E0-E297462320DD}" dt="2023-11-24T11:36:31.171" v="128003"/>
          <ac:spMkLst>
            <pc:docMk/>
            <pc:sldMk cId="4145871477" sldId="2147478567"/>
            <ac:spMk id="829" creationId="{DE8EFE0B-B0B1-9A6F-CD57-C2C3A5011D1B}"/>
          </ac:spMkLst>
        </pc:spChg>
        <pc:spChg chg="add del mod">
          <ac:chgData name="Steiner Andreas 6206 ED" userId="e6377c33-a923-4f14-8587-531c474c7b48" providerId="ADAL" clId="{6ECD27E6-B224-41CD-B4E0-E297462320DD}" dt="2023-11-24T11:36:33.435" v="128158"/>
          <ac:spMkLst>
            <pc:docMk/>
            <pc:sldMk cId="4145871477" sldId="2147478567"/>
            <ac:spMk id="830" creationId="{EA78C22C-1C92-E884-67F3-2305B7AC4E39}"/>
          </ac:spMkLst>
        </pc:spChg>
        <pc:spChg chg="add del mod">
          <ac:chgData name="Steiner Andreas 6206 ED" userId="e6377c33-a923-4f14-8587-531c474c7b48" providerId="ADAL" clId="{6ECD27E6-B224-41CD-B4E0-E297462320DD}" dt="2023-11-24T11:36:35.487" v="128313"/>
          <ac:spMkLst>
            <pc:docMk/>
            <pc:sldMk cId="4145871477" sldId="2147478567"/>
            <ac:spMk id="831" creationId="{52B82E92-7BDF-3C67-5364-4FD8829999FB}"/>
          </ac:spMkLst>
        </pc:spChg>
        <pc:spChg chg="add del mod">
          <ac:chgData name="Steiner Andreas 6206 ED" userId="e6377c33-a923-4f14-8587-531c474c7b48" providerId="ADAL" clId="{6ECD27E6-B224-41CD-B4E0-E297462320DD}" dt="2023-11-24T11:36:37.604" v="128468"/>
          <ac:spMkLst>
            <pc:docMk/>
            <pc:sldMk cId="4145871477" sldId="2147478567"/>
            <ac:spMk id="832" creationId="{2D1CA84A-717C-08E4-9435-15CE352E5C08}"/>
          </ac:spMkLst>
        </pc:spChg>
        <pc:spChg chg="add del mod">
          <ac:chgData name="Steiner Andreas 6206 ED" userId="e6377c33-a923-4f14-8587-531c474c7b48" providerId="ADAL" clId="{6ECD27E6-B224-41CD-B4E0-E297462320DD}" dt="2023-11-24T11:36:39.824" v="128623"/>
          <ac:spMkLst>
            <pc:docMk/>
            <pc:sldMk cId="4145871477" sldId="2147478567"/>
            <ac:spMk id="833" creationId="{DD68ACFA-EB33-5710-F57A-B0948D71F9B8}"/>
          </ac:spMkLst>
        </pc:spChg>
        <pc:spChg chg="add del mod">
          <ac:chgData name="Steiner Andreas 6206 ED" userId="e6377c33-a923-4f14-8587-531c474c7b48" providerId="ADAL" clId="{6ECD27E6-B224-41CD-B4E0-E297462320DD}" dt="2023-11-24T11:36:42.372" v="128778"/>
          <ac:spMkLst>
            <pc:docMk/>
            <pc:sldMk cId="4145871477" sldId="2147478567"/>
            <ac:spMk id="834" creationId="{008816E1-8031-586A-B7D0-CBB6A4E7B1E2}"/>
          </ac:spMkLst>
        </pc:spChg>
        <pc:spChg chg="add del mod">
          <ac:chgData name="Steiner Andreas 6206 ED" userId="e6377c33-a923-4f14-8587-531c474c7b48" providerId="ADAL" clId="{6ECD27E6-B224-41CD-B4E0-E297462320DD}" dt="2023-11-24T11:36:44.669" v="128933"/>
          <ac:spMkLst>
            <pc:docMk/>
            <pc:sldMk cId="4145871477" sldId="2147478567"/>
            <ac:spMk id="835" creationId="{E982C740-CC95-34C6-836F-EC6E2467D285}"/>
          </ac:spMkLst>
        </pc:spChg>
        <pc:spChg chg="add del mod">
          <ac:chgData name="Steiner Andreas 6206 ED" userId="e6377c33-a923-4f14-8587-531c474c7b48" providerId="ADAL" clId="{6ECD27E6-B224-41CD-B4E0-E297462320DD}" dt="2023-11-24T11:36:46.636" v="129088"/>
          <ac:spMkLst>
            <pc:docMk/>
            <pc:sldMk cId="4145871477" sldId="2147478567"/>
            <ac:spMk id="836" creationId="{CC31659C-429E-D91A-B438-558DEAA96C48}"/>
          </ac:spMkLst>
        </pc:spChg>
        <pc:spChg chg="add del mod">
          <ac:chgData name="Steiner Andreas 6206 ED" userId="e6377c33-a923-4f14-8587-531c474c7b48" providerId="ADAL" clId="{6ECD27E6-B224-41CD-B4E0-E297462320DD}" dt="2023-11-24T11:36:48.602" v="129243"/>
          <ac:spMkLst>
            <pc:docMk/>
            <pc:sldMk cId="4145871477" sldId="2147478567"/>
            <ac:spMk id="837" creationId="{412557CC-0613-83DB-EDD8-07C28134863C}"/>
          </ac:spMkLst>
        </pc:spChg>
        <pc:spChg chg="add del mod">
          <ac:chgData name="Steiner Andreas 6206 ED" userId="e6377c33-a923-4f14-8587-531c474c7b48" providerId="ADAL" clId="{6ECD27E6-B224-41CD-B4E0-E297462320DD}" dt="2023-11-24T11:36:50.581" v="129398"/>
          <ac:spMkLst>
            <pc:docMk/>
            <pc:sldMk cId="4145871477" sldId="2147478567"/>
            <ac:spMk id="838" creationId="{DD7622CB-3B5E-90AF-7DD6-15BABB45E1BB}"/>
          </ac:spMkLst>
        </pc:spChg>
        <pc:spChg chg="add del mod">
          <ac:chgData name="Steiner Andreas 6206 ED" userId="e6377c33-a923-4f14-8587-531c474c7b48" providerId="ADAL" clId="{6ECD27E6-B224-41CD-B4E0-E297462320DD}" dt="2023-11-24T11:36:52.709" v="129553"/>
          <ac:spMkLst>
            <pc:docMk/>
            <pc:sldMk cId="4145871477" sldId="2147478567"/>
            <ac:spMk id="839" creationId="{02BD2A13-6F58-6C9A-4EA3-D932911967AF}"/>
          </ac:spMkLst>
        </pc:spChg>
        <pc:spChg chg="add del mod">
          <ac:chgData name="Steiner Andreas 6206 ED" userId="e6377c33-a923-4f14-8587-531c474c7b48" providerId="ADAL" clId="{6ECD27E6-B224-41CD-B4E0-E297462320DD}" dt="2023-11-24T11:36:55.614" v="129708"/>
          <ac:spMkLst>
            <pc:docMk/>
            <pc:sldMk cId="4145871477" sldId="2147478567"/>
            <ac:spMk id="840" creationId="{13C164C7-9D82-243E-BC6C-74FA49523396}"/>
          </ac:spMkLst>
        </pc:spChg>
        <pc:spChg chg="add del mod">
          <ac:chgData name="Steiner Andreas 6206 ED" userId="e6377c33-a923-4f14-8587-531c474c7b48" providerId="ADAL" clId="{6ECD27E6-B224-41CD-B4E0-E297462320DD}" dt="2023-11-24T11:36:57.859" v="129863"/>
          <ac:spMkLst>
            <pc:docMk/>
            <pc:sldMk cId="4145871477" sldId="2147478567"/>
            <ac:spMk id="841" creationId="{0795D488-F1BF-067D-4F19-0F18BDF6B1AE}"/>
          </ac:spMkLst>
        </pc:spChg>
        <pc:spChg chg="add del mod">
          <ac:chgData name="Steiner Andreas 6206 ED" userId="e6377c33-a923-4f14-8587-531c474c7b48" providerId="ADAL" clId="{6ECD27E6-B224-41CD-B4E0-E297462320DD}" dt="2023-11-24T11:37:00.190" v="130018"/>
          <ac:spMkLst>
            <pc:docMk/>
            <pc:sldMk cId="4145871477" sldId="2147478567"/>
            <ac:spMk id="842" creationId="{C61DC482-C10F-72ED-BFB1-90791CD540BA}"/>
          </ac:spMkLst>
        </pc:spChg>
        <pc:spChg chg="add del mod">
          <ac:chgData name="Steiner Andreas 6206 ED" userId="e6377c33-a923-4f14-8587-531c474c7b48" providerId="ADAL" clId="{6ECD27E6-B224-41CD-B4E0-E297462320DD}" dt="2023-11-24T11:37:02.005" v="130173"/>
          <ac:spMkLst>
            <pc:docMk/>
            <pc:sldMk cId="4145871477" sldId="2147478567"/>
            <ac:spMk id="843" creationId="{B0B5BD01-498F-930E-6C88-192526C90A4F}"/>
          </ac:spMkLst>
        </pc:spChg>
        <pc:spChg chg="add del mod">
          <ac:chgData name="Steiner Andreas 6206 ED" userId="e6377c33-a923-4f14-8587-531c474c7b48" providerId="ADAL" clId="{6ECD27E6-B224-41CD-B4E0-E297462320DD}" dt="2023-11-24T11:37:03.748" v="130328"/>
          <ac:spMkLst>
            <pc:docMk/>
            <pc:sldMk cId="4145871477" sldId="2147478567"/>
            <ac:spMk id="844" creationId="{3DE7EC46-DAFA-6182-BE6C-DFD267C2B4B6}"/>
          </ac:spMkLst>
        </pc:spChg>
        <pc:spChg chg="add del mod">
          <ac:chgData name="Steiner Andreas 6206 ED" userId="e6377c33-a923-4f14-8587-531c474c7b48" providerId="ADAL" clId="{6ECD27E6-B224-41CD-B4E0-E297462320DD}" dt="2023-11-24T11:37:05.616" v="130483"/>
          <ac:spMkLst>
            <pc:docMk/>
            <pc:sldMk cId="4145871477" sldId="2147478567"/>
            <ac:spMk id="845" creationId="{6EF39E91-3801-BA4F-FAF3-2230D7716072}"/>
          </ac:spMkLst>
        </pc:spChg>
        <pc:spChg chg="add del mod">
          <ac:chgData name="Steiner Andreas 6206 ED" userId="e6377c33-a923-4f14-8587-531c474c7b48" providerId="ADAL" clId="{6ECD27E6-B224-41CD-B4E0-E297462320DD}" dt="2023-11-24T11:37:07.391" v="130638"/>
          <ac:spMkLst>
            <pc:docMk/>
            <pc:sldMk cId="4145871477" sldId="2147478567"/>
            <ac:spMk id="846" creationId="{B48FC789-40EF-99EB-FEF4-753B89F6CB93}"/>
          </ac:spMkLst>
        </pc:spChg>
        <pc:spChg chg="add del mod">
          <ac:chgData name="Steiner Andreas 6206 ED" userId="e6377c33-a923-4f14-8587-531c474c7b48" providerId="ADAL" clId="{6ECD27E6-B224-41CD-B4E0-E297462320DD}" dt="2023-11-24T11:37:09.105" v="130793"/>
          <ac:spMkLst>
            <pc:docMk/>
            <pc:sldMk cId="4145871477" sldId="2147478567"/>
            <ac:spMk id="847" creationId="{A0E09EAC-4880-970C-F7B1-E38B2F0BAF06}"/>
          </ac:spMkLst>
        </pc:spChg>
        <pc:spChg chg="add del mod">
          <ac:chgData name="Steiner Andreas 6206 ED" userId="e6377c33-a923-4f14-8587-531c474c7b48" providerId="ADAL" clId="{6ECD27E6-B224-41CD-B4E0-E297462320DD}" dt="2023-11-24T11:37:10.768" v="130948"/>
          <ac:spMkLst>
            <pc:docMk/>
            <pc:sldMk cId="4145871477" sldId="2147478567"/>
            <ac:spMk id="848" creationId="{D9DF97AD-D05A-1ABE-8263-0F6DDF3F7C63}"/>
          </ac:spMkLst>
        </pc:spChg>
        <pc:spChg chg="add del mod">
          <ac:chgData name="Steiner Andreas 6206 ED" userId="e6377c33-a923-4f14-8587-531c474c7b48" providerId="ADAL" clId="{6ECD27E6-B224-41CD-B4E0-E297462320DD}" dt="2023-11-24T11:37:12.463" v="131103"/>
          <ac:spMkLst>
            <pc:docMk/>
            <pc:sldMk cId="4145871477" sldId="2147478567"/>
            <ac:spMk id="849" creationId="{D700063B-17B5-DF73-7C0D-EF493A99AC74}"/>
          </ac:spMkLst>
        </pc:spChg>
        <pc:spChg chg="add del mod">
          <ac:chgData name="Steiner Andreas 6206 ED" userId="e6377c33-a923-4f14-8587-531c474c7b48" providerId="ADAL" clId="{6ECD27E6-B224-41CD-B4E0-E297462320DD}" dt="2023-11-24T11:37:14.141" v="131258"/>
          <ac:spMkLst>
            <pc:docMk/>
            <pc:sldMk cId="4145871477" sldId="2147478567"/>
            <ac:spMk id="850" creationId="{8C1F77AB-544A-7079-328A-E54E34901D92}"/>
          </ac:spMkLst>
        </pc:spChg>
        <pc:spChg chg="add del mod">
          <ac:chgData name="Steiner Andreas 6206 ED" userId="e6377c33-a923-4f14-8587-531c474c7b48" providerId="ADAL" clId="{6ECD27E6-B224-41CD-B4E0-E297462320DD}" dt="2023-11-24T11:37:16.198" v="131413"/>
          <ac:spMkLst>
            <pc:docMk/>
            <pc:sldMk cId="4145871477" sldId="2147478567"/>
            <ac:spMk id="851" creationId="{E780F1EE-9756-28C1-878C-3A2311BF9A85}"/>
          </ac:spMkLst>
        </pc:spChg>
        <pc:spChg chg="add del mod">
          <ac:chgData name="Steiner Andreas 6206 ED" userId="e6377c33-a923-4f14-8587-531c474c7b48" providerId="ADAL" clId="{6ECD27E6-B224-41CD-B4E0-E297462320DD}" dt="2023-11-24T11:37:18.181" v="131568"/>
          <ac:spMkLst>
            <pc:docMk/>
            <pc:sldMk cId="4145871477" sldId="2147478567"/>
            <ac:spMk id="852" creationId="{053078FF-BF4F-986F-BEA9-C8B5FE7B094E}"/>
          </ac:spMkLst>
        </pc:spChg>
        <pc:spChg chg="add del mod">
          <ac:chgData name="Steiner Andreas 6206 ED" userId="e6377c33-a923-4f14-8587-531c474c7b48" providerId="ADAL" clId="{6ECD27E6-B224-41CD-B4E0-E297462320DD}" dt="2023-11-24T11:37:20.061" v="131723"/>
          <ac:spMkLst>
            <pc:docMk/>
            <pc:sldMk cId="4145871477" sldId="2147478567"/>
            <ac:spMk id="853" creationId="{6BAC2453-52D9-ACAD-B7DC-722CC20699D4}"/>
          </ac:spMkLst>
        </pc:spChg>
        <pc:spChg chg="add del mod">
          <ac:chgData name="Steiner Andreas 6206 ED" userId="e6377c33-a923-4f14-8587-531c474c7b48" providerId="ADAL" clId="{6ECD27E6-B224-41CD-B4E0-E297462320DD}" dt="2023-11-24T11:37:21.975" v="131878"/>
          <ac:spMkLst>
            <pc:docMk/>
            <pc:sldMk cId="4145871477" sldId="2147478567"/>
            <ac:spMk id="854" creationId="{493CC2AC-9B9D-C578-991D-2CB97A7B6B98}"/>
          </ac:spMkLst>
        </pc:spChg>
        <pc:spChg chg="add del mod">
          <ac:chgData name="Steiner Andreas 6206 ED" userId="e6377c33-a923-4f14-8587-531c474c7b48" providerId="ADAL" clId="{6ECD27E6-B224-41CD-B4E0-E297462320DD}" dt="2023-11-24T11:37:23.741" v="132033"/>
          <ac:spMkLst>
            <pc:docMk/>
            <pc:sldMk cId="4145871477" sldId="2147478567"/>
            <ac:spMk id="855" creationId="{3BE292E3-2C1B-8032-D56A-FCBE910F6CDD}"/>
          </ac:spMkLst>
        </pc:spChg>
        <pc:spChg chg="add del mod">
          <ac:chgData name="Steiner Andreas 6206 ED" userId="e6377c33-a923-4f14-8587-531c474c7b48" providerId="ADAL" clId="{6ECD27E6-B224-41CD-B4E0-E297462320DD}" dt="2023-11-24T11:37:25.456" v="132188"/>
          <ac:spMkLst>
            <pc:docMk/>
            <pc:sldMk cId="4145871477" sldId="2147478567"/>
            <ac:spMk id="856" creationId="{FF17C65E-EEFD-923A-E0DA-08D1ED17E161}"/>
          </ac:spMkLst>
        </pc:spChg>
        <pc:spChg chg="add del mod">
          <ac:chgData name="Steiner Andreas 6206 ED" userId="e6377c33-a923-4f14-8587-531c474c7b48" providerId="ADAL" clId="{6ECD27E6-B224-41CD-B4E0-E297462320DD}" dt="2023-11-24T11:37:27.438" v="132343"/>
          <ac:spMkLst>
            <pc:docMk/>
            <pc:sldMk cId="4145871477" sldId="2147478567"/>
            <ac:spMk id="857" creationId="{EBE6AE41-8724-DD29-EA53-054BA6D9ACB9}"/>
          </ac:spMkLst>
        </pc:spChg>
        <pc:spChg chg="add del mod">
          <ac:chgData name="Steiner Andreas 6206 ED" userId="e6377c33-a923-4f14-8587-531c474c7b48" providerId="ADAL" clId="{6ECD27E6-B224-41CD-B4E0-E297462320DD}" dt="2023-11-24T11:37:30.133" v="132498"/>
          <ac:spMkLst>
            <pc:docMk/>
            <pc:sldMk cId="4145871477" sldId="2147478567"/>
            <ac:spMk id="858" creationId="{D3E2263E-6C74-B339-EC77-736EFC8D1E2C}"/>
          </ac:spMkLst>
        </pc:spChg>
        <pc:spChg chg="add del mod">
          <ac:chgData name="Steiner Andreas 6206 ED" userId="e6377c33-a923-4f14-8587-531c474c7b48" providerId="ADAL" clId="{6ECD27E6-B224-41CD-B4E0-E297462320DD}" dt="2023-11-24T11:37:32.759" v="132653"/>
          <ac:spMkLst>
            <pc:docMk/>
            <pc:sldMk cId="4145871477" sldId="2147478567"/>
            <ac:spMk id="859" creationId="{00DA8AB0-6353-B351-FA54-D3B8C18E5AD3}"/>
          </ac:spMkLst>
        </pc:spChg>
        <pc:spChg chg="add del mod">
          <ac:chgData name="Steiner Andreas 6206 ED" userId="e6377c33-a923-4f14-8587-531c474c7b48" providerId="ADAL" clId="{6ECD27E6-B224-41CD-B4E0-E297462320DD}" dt="2023-11-24T11:37:35.612" v="132808"/>
          <ac:spMkLst>
            <pc:docMk/>
            <pc:sldMk cId="4145871477" sldId="2147478567"/>
            <ac:spMk id="860" creationId="{F263B387-F107-1D01-B10B-2CEA65118E83}"/>
          </ac:spMkLst>
        </pc:spChg>
        <pc:spChg chg="add del mod">
          <ac:chgData name="Steiner Andreas 6206 ED" userId="e6377c33-a923-4f14-8587-531c474c7b48" providerId="ADAL" clId="{6ECD27E6-B224-41CD-B4E0-E297462320DD}" dt="2023-11-24T11:37:38.360" v="132963"/>
          <ac:spMkLst>
            <pc:docMk/>
            <pc:sldMk cId="4145871477" sldId="2147478567"/>
            <ac:spMk id="861" creationId="{0728F4D2-7C82-BFBC-9E64-712453445C6A}"/>
          </ac:spMkLst>
        </pc:spChg>
        <pc:spChg chg="add del mod">
          <ac:chgData name="Steiner Andreas 6206 ED" userId="e6377c33-a923-4f14-8587-531c474c7b48" providerId="ADAL" clId="{6ECD27E6-B224-41CD-B4E0-E297462320DD}" dt="2023-11-24T11:37:40.902" v="133118"/>
          <ac:spMkLst>
            <pc:docMk/>
            <pc:sldMk cId="4145871477" sldId="2147478567"/>
            <ac:spMk id="862" creationId="{9A078046-8CB5-FFC7-09B4-E904C403B3EF}"/>
          </ac:spMkLst>
        </pc:spChg>
        <pc:spChg chg="add del mod">
          <ac:chgData name="Steiner Andreas 6206 ED" userId="e6377c33-a923-4f14-8587-531c474c7b48" providerId="ADAL" clId="{6ECD27E6-B224-41CD-B4E0-E297462320DD}" dt="2023-11-24T11:37:43.922" v="133273"/>
          <ac:spMkLst>
            <pc:docMk/>
            <pc:sldMk cId="4145871477" sldId="2147478567"/>
            <ac:spMk id="863" creationId="{8777CBF0-CF4B-F5D3-90DC-2614D0A0C497}"/>
          </ac:spMkLst>
        </pc:spChg>
        <pc:spChg chg="add del mod">
          <ac:chgData name="Steiner Andreas 6206 ED" userId="e6377c33-a923-4f14-8587-531c474c7b48" providerId="ADAL" clId="{6ECD27E6-B224-41CD-B4E0-E297462320DD}" dt="2023-11-24T11:37:48.097" v="133428"/>
          <ac:spMkLst>
            <pc:docMk/>
            <pc:sldMk cId="4145871477" sldId="2147478567"/>
            <ac:spMk id="864" creationId="{32321EB8-7235-1642-3414-8049CCE58BAC}"/>
          </ac:spMkLst>
        </pc:spChg>
        <pc:spChg chg="add del mod">
          <ac:chgData name="Steiner Andreas 6206 ED" userId="e6377c33-a923-4f14-8587-531c474c7b48" providerId="ADAL" clId="{6ECD27E6-B224-41CD-B4E0-E297462320DD}" dt="2023-11-24T11:37:51.243" v="133583"/>
          <ac:spMkLst>
            <pc:docMk/>
            <pc:sldMk cId="4145871477" sldId="2147478567"/>
            <ac:spMk id="865" creationId="{27AF1450-0861-9F21-B718-F2CA4913F8FD}"/>
          </ac:spMkLst>
        </pc:spChg>
        <pc:spChg chg="add del mod">
          <ac:chgData name="Steiner Andreas 6206 ED" userId="e6377c33-a923-4f14-8587-531c474c7b48" providerId="ADAL" clId="{6ECD27E6-B224-41CD-B4E0-E297462320DD}" dt="2023-11-24T11:37:54.114" v="133738"/>
          <ac:spMkLst>
            <pc:docMk/>
            <pc:sldMk cId="4145871477" sldId="2147478567"/>
            <ac:spMk id="866" creationId="{DC0CD670-484C-D568-DAE5-DA5160C04857}"/>
          </ac:spMkLst>
        </pc:spChg>
        <pc:spChg chg="add del mod">
          <ac:chgData name="Steiner Andreas 6206 ED" userId="e6377c33-a923-4f14-8587-531c474c7b48" providerId="ADAL" clId="{6ECD27E6-B224-41CD-B4E0-E297462320DD}" dt="2023-11-24T11:37:56.474" v="133893"/>
          <ac:spMkLst>
            <pc:docMk/>
            <pc:sldMk cId="4145871477" sldId="2147478567"/>
            <ac:spMk id="867" creationId="{7641A6F5-45A3-BA84-8939-1CA045B75BA7}"/>
          </ac:spMkLst>
        </pc:spChg>
        <pc:spChg chg="add del mod">
          <ac:chgData name="Steiner Andreas 6206 ED" userId="e6377c33-a923-4f14-8587-531c474c7b48" providerId="ADAL" clId="{6ECD27E6-B224-41CD-B4E0-E297462320DD}" dt="2023-11-24T11:37:59.076" v="134048"/>
          <ac:spMkLst>
            <pc:docMk/>
            <pc:sldMk cId="4145871477" sldId="2147478567"/>
            <ac:spMk id="868" creationId="{FD546FBE-BE53-C972-EAFC-D81191946141}"/>
          </ac:spMkLst>
        </pc:spChg>
        <pc:spChg chg="add del mod">
          <ac:chgData name="Steiner Andreas 6206 ED" userId="e6377c33-a923-4f14-8587-531c474c7b48" providerId="ADAL" clId="{6ECD27E6-B224-41CD-B4E0-E297462320DD}" dt="2023-11-24T11:38:01.325" v="134203"/>
          <ac:spMkLst>
            <pc:docMk/>
            <pc:sldMk cId="4145871477" sldId="2147478567"/>
            <ac:spMk id="869" creationId="{6EF2CAAE-38F0-EA6D-EBE4-E2194B943D1C}"/>
          </ac:spMkLst>
        </pc:spChg>
        <pc:spChg chg="add del mod">
          <ac:chgData name="Steiner Andreas 6206 ED" userId="e6377c33-a923-4f14-8587-531c474c7b48" providerId="ADAL" clId="{6ECD27E6-B224-41CD-B4E0-E297462320DD}" dt="2023-11-24T11:38:03.877" v="134358"/>
          <ac:spMkLst>
            <pc:docMk/>
            <pc:sldMk cId="4145871477" sldId="2147478567"/>
            <ac:spMk id="870" creationId="{7F079F36-2F78-257C-C95E-D9D4B4A4985D}"/>
          </ac:spMkLst>
        </pc:spChg>
        <pc:spChg chg="add del mod">
          <ac:chgData name="Steiner Andreas 6206 ED" userId="e6377c33-a923-4f14-8587-531c474c7b48" providerId="ADAL" clId="{6ECD27E6-B224-41CD-B4E0-E297462320DD}" dt="2023-11-24T11:38:06.269" v="134513"/>
          <ac:spMkLst>
            <pc:docMk/>
            <pc:sldMk cId="4145871477" sldId="2147478567"/>
            <ac:spMk id="871" creationId="{6971D91B-725A-B591-AEA2-F36F7983CC39}"/>
          </ac:spMkLst>
        </pc:spChg>
        <pc:spChg chg="add del mod">
          <ac:chgData name="Steiner Andreas 6206 ED" userId="e6377c33-a923-4f14-8587-531c474c7b48" providerId="ADAL" clId="{6ECD27E6-B224-41CD-B4E0-E297462320DD}" dt="2023-11-24T11:38:09.097" v="134668"/>
          <ac:spMkLst>
            <pc:docMk/>
            <pc:sldMk cId="4145871477" sldId="2147478567"/>
            <ac:spMk id="872" creationId="{F7480988-87EA-1777-E279-824D455EF0F4}"/>
          </ac:spMkLst>
        </pc:spChg>
        <pc:spChg chg="add del mod">
          <ac:chgData name="Steiner Andreas 6206 ED" userId="e6377c33-a923-4f14-8587-531c474c7b48" providerId="ADAL" clId="{6ECD27E6-B224-41CD-B4E0-E297462320DD}" dt="2023-11-24T11:38:11.965" v="134823"/>
          <ac:spMkLst>
            <pc:docMk/>
            <pc:sldMk cId="4145871477" sldId="2147478567"/>
            <ac:spMk id="873" creationId="{CEC28234-B314-27EC-C943-87FEB455FB08}"/>
          </ac:spMkLst>
        </pc:spChg>
        <pc:spChg chg="add del mod">
          <ac:chgData name="Steiner Andreas 6206 ED" userId="e6377c33-a923-4f14-8587-531c474c7b48" providerId="ADAL" clId="{6ECD27E6-B224-41CD-B4E0-E297462320DD}" dt="2023-11-24T11:38:14.208" v="134978"/>
          <ac:spMkLst>
            <pc:docMk/>
            <pc:sldMk cId="4145871477" sldId="2147478567"/>
            <ac:spMk id="874" creationId="{E140962A-B5DB-F725-4F0F-66D47A664223}"/>
          </ac:spMkLst>
        </pc:spChg>
        <pc:spChg chg="add del mod">
          <ac:chgData name="Steiner Andreas 6206 ED" userId="e6377c33-a923-4f14-8587-531c474c7b48" providerId="ADAL" clId="{6ECD27E6-B224-41CD-B4E0-E297462320DD}" dt="2023-11-24T11:38:16.686" v="135133"/>
          <ac:spMkLst>
            <pc:docMk/>
            <pc:sldMk cId="4145871477" sldId="2147478567"/>
            <ac:spMk id="875" creationId="{5882D049-9769-C005-0D92-FC72D4815777}"/>
          </ac:spMkLst>
        </pc:spChg>
        <pc:spChg chg="add del mod">
          <ac:chgData name="Steiner Andreas 6206 ED" userId="e6377c33-a923-4f14-8587-531c474c7b48" providerId="ADAL" clId="{6ECD27E6-B224-41CD-B4E0-E297462320DD}" dt="2023-11-24T11:38:19.519" v="135288"/>
          <ac:spMkLst>
            <pc:docMk/>
            <pc:sldMk cId="4145871477" sldId="2147478567"/>
            <ac:spMk id="876" creationId="{E208CA10-24A0-AB32-1975-5D6AA345E5DB}"/>
          </ac:spMkLst>
        </pc:spChg>
        <pc:spChg chg="add del mod">
          <ac:chgData name="Steiner Andreas 6206 ED" userId="e6377c33-a923-4f14-8587-531c474c7b48" providerId="ADAL" clId="{6ECD27E6-B224-41CD-B4E0-E297462320DD}" dt="2023-11-24T11:38:22.060" v="135443"/>
          <ac:spMkLst>
            <pc:docMk/>
            <pc:sldMk cId="4145871477" sldId="2147478567"/>
            <ac:spMk id="877" creationId="{642A41AB-8C7B-CE13-8D40-58053BC85D3D}"/>
          </ac:spMkLst>
        </pc:spChg>
        <pc:spChg chg="add del mod">
          <ac:chgData name="Steiner Andreas 6206 ED" userId="e6377c33-a923-4f14-8587-531c474c7b48" providerId="ADAL" clId="{6ECD27E6-B224-41CD-B4E0-E297462320DD}" dt="2023-11-24T11:38:24.902" v="135598"/>
          <ac:spMkLst>
            <pc:docMk/>
            <pc:sldMk cId="4145871477" sldId="2147478567"/>
            <ac:spMk id="878" creationId="{47E03900-95B1-3FCF-6526-53E22DF04D11}"/>
          </ac:spMkLst>
        </pc:spChg>
        <pc:spChg chg="add del mod">
          <ac:chgData name="Steiner Andreas 6206 ED" userId="e6377c33-a923-4f14-8587-531c474c7b48" providerId="ADAL" clId="{6ECD27E6-B224-41CD-B4E0-E297462320DD}" dt="2023-11-24T11:38:27.672" v="135753"/>
          <ac:spMkLst>
            <pc:docMk/>
            <pc:sldMk cId="4145871477" sldId="2147478567"/>
            <ac:spMk id="879" creationId="{6ED59B02-B244-6925-C261-9524224C1F32}"/>
          </ac:spMkLst>
        </pc:spChg>
        <pc:spChg chg="add del mod">
          <ac:chgData name="Steiner Andreas 6206 ED" userId="e6377c33-a923-4f14-8587-531c474c7b48" providerId="ADAL" clId="{6ECD27E6-B224-41CD-B4E0-E297462320DD}" dt="2023-11-24T11:38:30.352" v="135908"/>
          <ac:spMkLst>
            <pc:docMk/>
            <pc:sldMk cId="4145871477" sldId="2147478567"/>
            <ac:spMk id="880" creationId="{EC491527-15FB-C66F-A62C-BD17281E7AE9}"/>
          </ac:spMkLst>
        </pc:spChg>
        <pc:spChg chg="add del mod">
          <ac:chgData name="Steiner Andreas 6206 ED" userId="e6377c33-a923-4f14-8587-531c474c7b48" providerId="ADAL" clId="{6ECD27E6-B224-41CD-B4E0-E297462320DD}" dt="2023-11-24T11:38:32.686" v="136063"/>
          <ac:spMkLst>
            <pc:docMk/>
            <pc:sldMk cId="4145871477" sldId="2147478567"/>
            <ac:spMk id="881" creationId="{6A3B172A-A65B-017D-717F-0D2A9A179B6B}"/>
          </ac:spMkLst>
        </pc:spChg>
        <pc:spChg chg="add del mod">
          <ac:chgData name="Steiner Andreas 6206 ED" userId="e6377c33-a923-4f14-8587-531c474c7b48" providerId="ADAL" clId="{6ECD27E6-B224-41CD-B4E0-E297462320DD}" dt="2023-11-24T11:38:35.157" v="136218"/>
          <ac:spMkLst>
            <pc:docMk/>
            <pc:sldMk cId="4145871477" sldId="2147478567"/>
            <ac:spMk id="882" creationId="{F24DF267-4AC2-1EE5-A675-48A62C93DD48}"/>
          </ac:spMkLst>
        </pc:spChg>
        <pc:spChg chg="add del mod">
          <ac:chgData name="Steiner Andreas 6206 ED" userId="e6377c33-a923-4f14-8587-531c474c7b48" providerId="ADAL" clId="{6ECD27E6-B224-41CD-B4E0-E297462320DD}" dt="2023-11-24T11:38:37.936" v="136373"/>
          <ac:spMkLst>
            <pc:docMk/>
            <pc:sldMk cId="4145871477" sldId="2147478567"/>
            <ac:spMk id="883" creationId="{16FD917A-21EB-DEBD-75C9-EF8CA0896176}"/>
          </ac:spMkLst>
        </pc:spChg>
        <pc:spChg chg="add del mod">
          <ac:chgData name="Steiner Andreas 6206 ED" userId="e6377c33-a923-4f14-8587-531c474c7b48" providerId="ADAL" clId="{6ECD27E6-B224-41CD-B4E0-E297462320DD}" dt="2023-11-24T11:38:40.586" v="136528"/>
          <ac:spMkLst>
            <pc:docMk/>
            <pc:sldMk cId="4145871477" sldId="2147478567"/>
            <ac:spMk id="884" creationId="{3FE9CF95-CC9A-8337-5552-65216D3129B7}"/>
          </ac:spMkLst>
        </pc:spChg>
        <pc:spChg chg="add del mod">
          <ac:chgData name="Steiner Andreas 6206 ED" userId="e6377c33-a923-4f14-8587-531c474c7b48" providerId="ADAL" clId="{6ECD27E6-B224-41CD-B4E0-E297462320DD}" dt="2023-11-24T11:38:42.982" v="136683"/>
          <ac:spMkLst>
            <pc:docMk/>
            <pc:sldMk cId="4145871477" sldId="2147478567"/>
            <ac:spMk id="885" creationId="{4B72457A-9151-BD8D-DF76-01580FE36162}"/>
          </ac:spMkLst>
        </pc:spChg>
        <pc:spChg chg="add del mod">
          <ac:chgData name="Steiner Andreas 6206 ED" userId="e6377c33-a923-4f14-8587-531c474c7b48" providerId="ADAL" clId="{6ECD27E6-B224-41CD-B4E0-E297462320DD}" dt="2023-11-24T11:38:45.341" v="136838"/>
          <ac:spMkLst>
            <pc:docMk/>
            <pc:sldMk cId="4145871477" sldId="2147478567"/>
            <ac:spMk id="886" creationId="{CFF2B1D2-5D8F-7E86-74A5-11DB051714BF}"/>
          </ac:spMkLst>
        </pc:spChg>
        <pc:spChg chg="add del mod">
          <ac:chgData name="Steiner Andreas 6206 ED" userId="e6377c33-a923-4f14-8587-531c474c7b48" providerId="ADAL" clId="{6ECD27E6-B224-41CD-B4E0-E297462320DD}" dt="2023-11-24T11:38:47.733" v="136993"/>
          <ac:spMkLst>
            <pc:docMk/>
            <pc:sldMk cId="4145871477" sldId="2147478567"/>
            <ac:spMk id="887" creationId="{CBFE0A8D-D878-D284-57EC-F801E9FB0C5D}"/>
          </ac:spMkLst>
        </pc:spChg>
        <pc:spChg chg="add del mod">
          <ac:chgData name="Steiner Andreas 6206 ED" userId="e6377c33-a923-4f14-8587-531c474c7b48" providerId="ADAL" clId="{6ECD27E6-B224-41CD-B4E0-E297462320DD}" dt="2023-11-24T11:38:50.773" v="137148"/>
          <ac:spMkLst>
            <pc:docMk/>
            <pc:sldMk cId="4145871477" sldId="2147478567"/>
            <ac:spMk id="888" creationId="{FBDF8455-7730-D865-ABEA-F0B2B3620DCB}"/>
          </ac:spMkLst>
        </pc:spChg>
        <pc:spChg chg="add del mod">
          <ac:chgData name="Steiner Andreas 6206 ED" userId="e6377c33-a923-4f14-8587-531c474c7b48" providerId="ADAL" clId="{6ECD27E6-B224-41CD-B4E0-E297462320DD}" dt="2023-11-24T11:38:53.164" v="137303"/>
          <ac:spMkLst>
            <pc:docMk/>
            <pc:sldMk cId="4145871477" sldId="2147478567"/>
            <ac:spMk id="889" creationId="{7CC7ECF5-08B5-665F-97F3-BAFF3BF06E17}"/>
          </ac:spMkLst>
        </pc:spChg>
        <pc:spChg chg="add del mod">
          <ac:chgData name="Steiner Andreas 6206 ED" userId="e6377c33-a923-4f14-8587-531c474c7b48" providerId="ADAL" clId="{6ECD27E6-B224-41CD-B4E0-E297462320DD}" dt="2023-11-24T11:38:55.641" v="137458"/>
          <ac:spMkLst>
            <pc:docMk/>
            <pc:sldMk cId="4145871477" sldId="2147478567"/>
            <ac:spMk id="890" creationId="{68D042EF-8737-41FD-D6BE-36B90A7D1F24}"/>
          </ac:spMkLst>
        </pc:spChg>
        <pc:spChg chg="add del mod">
          <ac:chgData name="Steiner Andreas 6206 ED" userId="e6377c33-a923-4f14-8587-531c474c7b48" providerId="ADAL" clId="{6ECD27E6-B224-41CD-B4E0-E297462320DD}" dt="2023-11-24T11:38:58.243" v="137613"/>
          <ac:spMkLst>
            <pc:docMk/>
            <pc:sldMk cId="4145871477" sldId="2147478567"/>
            <ac:spMk id="891" creationId="{786E7DFD-B08F-B63B-4D75-B1FF64AD8D3D}"/>
          </ac:spMkLst>
        </pc:spChg>
        <pc:spChg chg="add del mod">
          <ac:chgData name="Steiner Andreas 6206 ED" userId="e6377c33-a923-4f14-8587-531c474c7b48" providerId="ADAL" clId="{6ECD27E6-B224-41CD-B4E0-E297462320DD}" dt="2023-11-24T11:39:00.514" v="137768"/>
          <ac:spMkLst>
            <pc:docMk/>
            <pc:sldMk cId="4145871477" sldId="2147478567"/>
            <ac:spMk id="892" creationId="{35A8C041-5D6F-2694-C80D-BB676FAB3B89}"/>
          </ac:spMkLst>
        </pc:spChg>
        <pc:spChg chg="add del mod">
          <ac:chgData name="Steiner Andreas 6206 ED" userId="e6377c33-a923-4f14-8587-531c474c7b48" providerId="ADAL" clId="{6ECD27E6-B224-41CD-B4E0-E297462320DD}" dt="2023-11-24T11:39:03.547" v="137923"/>
          <ac:spMkLst>
            <pc:docMk/>
            <pc:sldMk cId="4145871477" sldId="2147478567"/>
            <ac:spMk id="893" creationId="{0D4899DC-9266-6257-BE18-46CA5E75B985}"/>
          </ac:spMkLst>
        </pc:spChg>
        <pc:spChg chg="add del mod">
          <ac:chgData name="Steiner Andreas 6206 ED" userId="e6377c33-a923-4f14-8587-531c474c7b48" providerId="ADAL" clId="{6ECD27E6-B224-41CD-B4E0-E297462320DD}" dt="2023-11-24T11:39:06.189" v="138078"/>
          <ac:spMkLst>
            <pc:docMk/>
            <pc:sldMk cId="4145871477" sldId="2147478567"/>
            <ac:spMk id="894" creationId="{E16F347A-EDDE-FCE4-ED20-6ADF8784A458}"/>
          </ac:spMkLst>
        </pc:spChg>
        <pc:spChg chg="add del mod">
          <ac:chgData name="Steiner Andreas 6206 ED" userId="e6377c33-a923-4f14-8587-531c474c7b48" providerId="ADAL" clId="{6ECD27E6-B224-41CD-B4E0-E297462320DD}" dt="2023-11-24T11:39:08.689" v="138233"/>
          <ac:spMkLst>
            <pc:docMk/>
            <pc:sldMk cId="4145871477" sldId="2147478567"/>
            <ac:spMk id="895" creationId="{12B9116A-723E-8490-9B35-7525F528B764}"/>
          </ac:spMkLst>
        </pc:spChg>
        <pc:spChg chg="add del mod">
          <ac:chgData name="Steiner Andreas 6206 ED" userId="e6377c33-a923-4f14-8587-531c474c7b48" providerId="ADAL" clId="{6ECD27E6-B224-41CD-B4E0-E297462320DD}" dt="2023-11-24T11:39:11.043" v="138388"/>
          <ac:spMkLst>
            <pc:docMk/>
            <pc:sldMk cId="4145871477" sldId="2147478567"/>
            <ac:spMk id="896" creationId="{8006383E-C21D-535B-713F-2FC5C453EEAD}"/>
          </ac:spMkLst>
        </pc:spChg>
        <pc:spChg chg="add del mod">
          <ac:chgData name="Steiner Andreas 6206 ED" userId="e6377c33-a923-4f14-8587-531c474c7b48" providerId="ADAL" clId="{6ECD27E6-B224-41CD-B4E0-E297462320DD}" dt="2023-11-24T11:39:13.505" v="138543"/>
          <ac:spMkLst>
            <pc:docMk/>
            <pc:sldMk cId="4145871477" sldId="2147478567"/>
            <ac:spMk id="897" creationId="{FA474B02-38FE-3589-7E0B-2978E8CF8C5C}"/>
          </ac:spMkLst>
        </pc:spChg>
        <pc:spChg chg="add del mod">
          <ac:chgData name="Steiner Andreas 6206 ED" userId="e6377c33-a923-4f14-8587-531c474c7b48" providerId="ADAL" clId="{6ECD27E6-B224-41CD-B4E0-E297462320DD}" dt="2023-11-24T11:39:16.191" v="138698"/>
          <ac:spMkLst>
            <pc:docMk/>
            <pc:sldMk cId="4145871477" sldId="2147478567"/>
            <ac:spMk id="898" creationId="{61C567AE-FF20-3B17-F5CE-EEA9F3F4D6B3}"/>
          </ac:spMkLst>
        </pc:spChg>
        <pc:spChg chg="add del mod">
          <ac:chgData name="Steiner Andreas 6206 ED" userId="e6377c33-a923-4f14-8587-531c474c7b48" providerId="ADAL" clId="{6ECD27E6-B224-41CD-B4E0-E297462320DD}" dt="2023-11-24T11:39:19.049" v="138853"/>
          <ac:spMkLst>
            <pc:docMk/>
            <pc:sldMk cId="4145871477" sldId="2147478567"/>
            <ac:spMk id="899" creationId="{31D7BEB2-320D-5D50-0D6A-3CD65F05BC55}"/>
          </ac:spMkLst>
        </pc:spChg>
        <pc:spChg chg="add del mod">
          <ac:chgData name="Steiner Andreas 6206 ED" userId="e6377c33-a923-4f14-8587-531c474c7b48" providerId="ADAL" clId="{6ECD27E6-B224-41CD-B4E0-E297462320DD}" dt="2023-11-24T11:39:21.694" v="139008"/>
          <ac:spMkLst>
            <pc:docMk/>
            <pc:sldMk cId="4145871477" sldId="2147478567"/>
            <ac:spMk id="900" creationId="{1164D182-FDC9-EA54-3B14-013D8B4165F3}"/>
          </ac:spMkLst>
        </pc:spChg>
        <pc:spChg chg="add del mod">
          <ac:chgData name="Steiner Andreas 6206 ED" userId="e6377c33-a923-4f14-8587-531c474c7b48" providerId="ADAL" clId="{6ECD27E6-B224-41CD-B4E0-E297462320DD}" dt="2023-11-24T11:39:24.271" v="139163"/>
          <ac:spMkLst>
            <pc:docMk/>
            <pc:sldMk cId="4145871477" sldId="2147478567"/>
            <ac:spMk id="901" creationId="{582E60A1-D2EF-15E3-7E32-41D7002A25F8}"/>
          </ac:spMkLst>
        </pc:spChg>
        <pc:spChg chg="add del mod">
          <ac:chgData name="Steiner Andreas 6206 ED" userId="e6377c33-a923-4f14-8587-531c474c7b48" providerId="ADAL" clId="{6ECD27E6-B224-41CD-B4E0-E297462320DD}" dt="2023-11-24T11:39:27.054" v="139318"/>
          <ac:spMkLst>
            <pc:docMk/>
            <pc:sldMk cId="4145871477" sldId="2147478567"/>
            <ac:spMk id="902" creationId="{A6B9C160-A15E-110F-045F-8578534B0B57}"/>
          </ac:spMkLst>
        </pc:spChg>
        <pc:spChg chg="add del mod">
          <ac:chgData name="Steiner Andreas 6206 ED" userId="e6377c33-a923-4f14-8587-531c474c7b48" providerId="ADAL" clId="{6ECD27E6-B224-41CD-B4E0-E297462320DD}" dt="2023-11-24T11:39:29.684" v="139473"/>
          <ac:spMkLst>
            <pc:docMk/>
            <pc:sldMk cId="4145871477" sldId="2147478567"/>
            <ac:spMk id="903" creationId="{4F599955-E15E-F79C-16DE-9FC4E335EC6B}"/>
          </ac:spMkLst>
        </pc:spChg>
        <pc:spChg chg="add del mod">
          <ac:chgData name="Steiner Andreas 6206 ED" userId="e6377c33-a923-4f14-8587-531c474c7b48" providerId="ADAL" clId="{6ECD27E6-B224-41CD-B4E0-E297462320DD}" dt="2023-11-24T11:39:32.727" v="139628"/>
          <ac:spMkLst>
            <pc:docMk/>
            <pc:sldMk cId="4145871477" sldId="2147478567"/>
            <ac:spMk id="904" creationId="{94B4158C-26CF-B528-FFE6-D80A08788AB0}"/>
          </ac:spMkLst>
        </pc:spChg>
        <pc:spChg chg="add del mod">
          <ac:chgData name="Steiner Andreas 6206 ED" userId="e6377c33-a923-4f14-8587-531c474c7b48" providerId="ADAL" clId="{6ECD27E6-B224-41CD-B4E0-E297462320DD}" dt="2023-11-24T11:39:35.422" v="139783"/>
          <ac:spMkLst>
            <pc:docMk/>
            <pc:sldMk cId="4145871477" sldId="2147478567"/>
            <ac:spMk id="905" creationId="{16CCE921-6CEC-B1C2-5875-9479A7F50126}"/>
          </ac:spMkLst>
        </pc:spChg>
        <pc:spChg chg="add del mod">
          <ac:chgData name="Steiner Andreas 6206 ED" userId="e6377c33-a923-4f14-8587-531c474c7b48" providerId="ADAL" clId="{6ECD27E6-B224-41CD-B4E0-E297462320DD}" dt="2023-11-24T11:39:38.337" v="139938"/>
          <ac:spMkLst>
            <pc:docMk/>
            <pc:sldMk cId="4145871477" sldId="2147478567"/>
            <ac:spMk id="906" creationId="{0B2F34D5-8282-957B-81A3-607B6454941E}"/>
          </ac:spMkLst>
        </pc:spChg>
        <pc:spChg chg="add del mod">
          <ac:chgData name="Steiner Andreas 6206 ED" userId="e6377c33-a923-4f14-8587-531c474c7b48" providerId="ADAL" clId="{6ECD27E6-B224-41CD-B4E0-E297462320DD}" dt="2023-11-24T11:39:41.007" v="140093"/>
          <ac:spMkLst>
            <pc:docMk/>
            <pc:sldMk cId="4145871477" sldId="2147478567"/>
            <ac:spMk id="907" creationId="{52E5DF6A-CAAC-B3ED-783C-0EC1474CC8DD}"/>
          </ac:spMkLst>
        </pc:spChg>
        <pc:spChg chg="add del mod">
          <ac:chgData name="Steiner Andreas 6206 ED" userId="e6377c33-a923-4f14-8587-531c474c7b48" providerId="ADAL" clId="{6ECD27E6-B224-41CD-B4E0-E297462320DD}" dt="2023-11-24T11:39:43.637" v="140248"/>
          <ac:spMkLst>
            <pc:docMk/>
            <pc:sldMk cId="4145871477" sldId="2147478567"/>
            <ac:spMk id="908" creationId="{0E777553-38FE-4E6A-9ED8-27B83E31F56D}"/>
          </ac:spMkLst>
        </pc:spChg>
        <pc:spChg chg="add del mod">
          <ac:chgData name="Steiner Andreas 6206 ED" userId="e6377c33-a923-4f14-8587-531c474c7b48" providerId="ADAL" clId="{6ECD27E6-B224-41CD-B4E0-E297462320DD}" dt="2023-11-24T11:39:46.196" v="140403"/>
          <ac:spMkLst>
            <pc:docMk/>
            <pc:sldMk cId="4145871477" sldId="2147478567"/>
            <ac:spMk id="909" creationId="{A94C96D4-16E3-08D4-988E-920FC6E1F676}"/>
          </ac:spMkLst>
        </pc:spChg>
        <pc:spChg chg="add del mod">
          <ac:chgData name="Steiner Andreas 6206 ED" userId="e6377c33-a923-4f14-8587-531c474c7b48" providerId="ADAL" clId="{6ECD27E6-B224-41CD-B4E0-E297462320DD}" dt="2023-11-24T11:39:48.628" v="140558"/>
          <ac:spMkLst>
            <pc:docMk/>
            <pc:sldMk cId="4145871477" sldId="2147478567"/>
            <ac:spMk id="910" creationId="{5735864E-B4F1-BBE6-7512-D77315B03611}"/>
          </ac:spMkLst>
        </pc:spChg>
        <pc:spChg chg="add del mod">
          <ac:chgData name="Steiner Andreas 6206 ED" userId="e6377c33-a923-4f14-8587-531c474c7b48" providerId="ADAL" clId="{6ECD27E6-B224-41CD-B4E0-E297462320DD}" dt="2023-11-24T11:39:51.634" v="140713"/>
          <ac:spMkLst>
            <pc:docMk/>
            <pc:sldMk cId="4145871477" sldId="2147478567"/>
            <ac:spMk id="911" creationId="{8FBF02FF-6D55-F6EA-4087-A300712007C9}"/>
          </ac:spMkLst>
        </pc:spChg>
        <pc:spChg chg="add del mod">
          <ac:chgData name="Steiner Andreas 6206 ED" userId="e6377c33-a923-4f14-8587-531c474c7b48" providerId="ADAL" clId="{6ECD27E6-B224-41CD-B4E0-E297462320DD}" dt="2023-11-24T11:39:54.518" v="140868"/>
          <ac:spMkLst>
            <pc:docMk/>
            <pc:sldMk cId="4145871477" sldId="2147478567"/>
            <ac:spMk id="912" creationId="{082BC725-8C1E-2535-B5CC-5D52852097A6}"/>
          </ac:spMkLst>
        </pc:spChg>
        <pc:spChg chg="add del mod">
          <ac:chgData name="Steiner Andreas 6206 ED" userId="e6377c33-a923-4f14-8587-531c474c7b48" providerId="ADAL" clId="{6ECD27E6-B224-41CD-B4E0-E297462320DD}" dt="2023-11-24T11:39:57.026" v="141023"/>
          <ac:spMkLst>
            <pc:docMk/>
            <pc:sldMk cId="4145871477" sldId="2147478567"/>
            <ac:spMk id="913" creationId="{ABBCB12D-CB96-1DD6-DABB-72EA49712A52}"/>
          </ac:spMkLst>
        </pc:spChg>
        <pc:spChg chg="add del mod">
          <ac:chgData name="Steiner Andreas 6206 ED" userId="e6377c33-a923-4f14-8587-531c474c7b48" providerId="ADAL" clId="{6ECD27E6-B224-41CD-B4E0-E297462320DD}" dt="2023-11-24T11:39:59.392" v="141178"/>
          <ac:spMkLst>
            <pc:docMk/>
            <pc:sldMk cId="4145871477" sldId="2147478567"/>
            <ac:spMk id="914" creationId="{53887053-8DEB-A10E-9318-54EB9495C592}"/>
          </ac:spMkLst>
        </pc:spChg>
        <pc:spChg chg="add del mod">
          <ac:chgData name="Steiner Andreas 6206 ED" userId="e6377c33-a923-4f14-8587-531c474c7b48" providerId="ADAL" clId="{6ECD27E6-B224-41CD-B4E0-E297462320DD}" dt="2023-11-24T11:40:02.164" v="141333"/>
          <ac:spMkLst>
            <pc:docMk/>
            <pc:sldMk cId="4145871477" sldId="2147478567"/>
            <ac:spMk id="915" creationId="{2D222256-A151-C70A-E125-50F3DA4364D9}"/>
          </ac:spMkLst>
        </pc:spChg>
        <pc:spChg chg="add del mod">
          <ac:chgData name="Steiner Andreas 6206 ED" userId="e6377c33-a923-4f14-8587-531c474c7b48" providerId="ADAL" clId="{6ECD27E6-B224-41CD-B4E0-E297462320DD}" dt="2023-11-24T11:40:05.005" v="141488"/>
          <ac:spMkLst>
            <pc:docMk/>
            <pc:sldMk cId="4145871477" sldId="2147478567"/>
            <ac:spMk id="916" creationId="{F7D6EE43-17C5-F5E9-FAE6-203EB407AE62}"/>
          </ac:spMkLst>
        </pc:spChg>
        <pc:spChg chg="add del mod">
          <ac:chgData name="Steiner Andreas 6206 ED" userId="e6377c33-a923-4f14-8587-531c474c7b48" providerId="ADAL" clId="{6ECD27E6-B224-41CD-B4E0-E297462320DD}" dt="2023-11-24T11:40:07.756" v="141643"/>
          <ac:spMkLst>
            <pc:docMk/>
            <pc:sldMk cId="4145871477" sldId="2147478567"/>
            <ac:spMk id="917" creationId="{193E31E1-887F-04E7-1978-3D947DD57738}"/>
          </ac:spMkLst>
        </pc:spChg>
        <pc:spChg chg="add del mod">
          <ac:chgData name="Steiner Andreas 6206 ED" userId="e6377c33-a923-4f14-8587-531c474c7b48" providerId="ADAL" clId="{6ECD27E6-B224-41CD-B4E0-E297462320DD}" dt="2023-11-24T11:40:10.179" v="141798"/>
          <ac:spMkLst>
            <pc:docMk/>
            <pc:sldMk cId="4145871477" sldId="2147478567"/>
            <ac:spMk id="918" creationId="{E8F75635-E561-4D3B-E38C-2B71FAAF426E}"/>
          </ac:spMkLst>
        </pc:spChg>
        <pc:spChg chg="add del mod">
          <ac:chgData name="Steiner Andreas 6206 ED" userId="e6377c33-a923-4f14-8587-531c474c7b48" providerId="ADAL" clId="{6ECD27E6-B224-41CD-B4E0-E297462320DD}" dt="2023-11-24T11:40:12.673" v="141953"/>
          <ac:spMkLst>
            <pc:docMk/>
            <pc:sldMk cId="4145871477" sldId="2147478567"/>
            <ac:spMk id="919" creationId="{4A0481EE-72DB-0092-E673-8600015AA6E9}"/>
          </ac:spMkLst>
        </pc:spChg>
        <pc:spChg chg="add del mod">
          <ac:chgData name="Steiner Andreas 6206 ED" userId="e6377c33-a923-4f14-8587-531c474c7b48" providerId="ADAL" clId="{6ECD27E6-B224-41CD-B4E0-E297462320DD}" dt="2023-11-24T11:40:16.457" v="142108"/>
          <ac:spMkLst>
            <pc:docMk/>
            <pc:sldMk cId="4145871477" sldId="2147478567"/>
            <ac:spMk id="920" creationId="{9BA6154E-9820-D72D-7697-35F952E65CA2}"/>
          </ac:spMkLst>
        </pc:spChg>
        <pc:spChg chg="add del mod">
          <ac:chgData name="Steiner Andreas 6206 ED" userId="e6377c33-a923-4f14-8587-531c474c7b48" providerId="ADAL" clId="{6ECD27E6-B224-41CD-B4E0-E297462320DD}" dt="2023-11-24T11:40:19.790" v="142263"/>
          <ac:spMkLst>
            <pc:docMk/>
            <pc:sldMk cId="4145871477" sldId="2147478567"/>
            <ac:spMk id="921" creationId="{3EB5ACE4-10B5-410C-6446-0B690346D8F2}"/>
          </ac:spMkLst>
        </pc:spChg>
        <pc:spChg chg="add del mod">
          <ac:chgData name="Steiner Andreas 6206 ED" userId="e6377c33-a923-4f14-8587-531c474c7b48" providerId="ADAL" clId="{6ECD27E6-B224-41CD-B4E0-E297462320DD}" dt="2023-11-24T11:40:22.590" v="142418"/>
          <ac:spMkLst>
            <pc:docMk/>
            <pc:sldMk cId="4145871477" sldId="2147478567"/>
            <ac:spMk id="922" creationId="{CEF5E57C-44EB-D8FA-85E8-B09519067B49}"/>
          </ac:spMkLst>
        </pc:spChg>
        <pc:spChg chg="add del mod">
          <ac:chgData name="Steiner Andreas 6206 ED" userId="e6377c33-a923-4f14-8587-531c474c7b48" providerId="ADAL" clId="{6ECD27E6-B224-41CD-B4E0-E297462320DD}" dt="2023-11-24T11:40:25.282" v="142573"/>
          <ac:spMkLst>
            <pc:docMk/>
            <pc:sldMk cId="4145871477" sldId="2147478567"/>
            <ac:spMk id="923" creationId="{D61EEFEF-72D1-68D9-E824-17E7B942C2D8}"/>
          </ac:spMkLst>
        </pc:spChg>
        <pc:spChg chg="add del mod">
          <ac:chgData name="Steiner Andreas 6206 ED" userId="e6377c33-a923-4f14-8587-531c474c7b48" providerId="ADAL" clId="{6ECD27E6-B224-41CD-B4E0-E297462320DD}" dt="2023-11-24T11:40:28.391" v="142728"/>
          <ac:spMkLst>
            <pc:docMk/>
            <pc:sldMk cId="4145871477" sldId="2147478567"/>
            <ac:spMk id="924" creationId="{03A5BDA0-0524-D22B-BB20-50AE1E775607}"/>
          </ac:spMkLst>
        </pc:spChg>
        <pc:spChg chg="add del mod">
          <ac:chgData name="Steiner Andreas 6206 ED" userId="e6377c33-a923-4f14-8587-531c474c7b48" providerId="ADAL" clId="{6ECD27E6-B224-41CD-B4E0-E297462320DD}" dt="2023-11-24T11:40:31.043" v="142883"/>
          <ac:spMkLst>
            <pc:docMk/>
            <pc:sldMk cId="4145871477" sldId="2147478567"/>
            <ac:spMk id="925" creationId="{7A6AC3E1-D118-1902-104F-8CF4109DF618}"/>
          </ac:spMkLst>
        </pc:spChg>
        <pc:spChg chg="add del mod">
          <ac:chgData name="Steiner Andreas 6206 ED" userId="e6377c33-a923-4f14-8587-531c474c7b48" providerId="ADAL" clId="{6ECD27E6-B224-41CD-B4E0-E297462320DD}" dt="2023-11-24T11:40:33.611" v="143038"/>
          <ac:spMkLst>
            <pc:docMk/>
            <pc:sldMk cId="4145871477" sldId="2147478567"/>
            <ac:spMk id="926" creationId="{15E17660-75BD-1F64-CC28-AA7EEA343F26}"/>
          </ac:spMkLst>
        </pc:spChg>
        <pc:spChg chg="add del mod">
          <ac:chgData name="Steiner Andreas 6206 ED" userId="e6377c33-a923-4f14-8587-531c474c7b48" providerId="ADAL" clId="{6ECD27E6-B224-41CD-B4E0-E297462320DD}" dt="2023-11-24T11:40:36.359" v="143193"/>
          <ac:spMkLst>
            <pc:docMk/>
            <pc:sldMk cId="4145871477" sldId="2147478567"/>
            <ac:spMk id="927" creationId="{0F276DAD-E783-974E-C6EC-8F16D858F038}"/>
          </ac:spMkLst>
        </pc:spChg>
        <pc:spChg chg="add del mod">
          <ac:chgData name="Steiner Andreas 6206 ED" userId="e6377c33-a923-4f14-8587-531c474c7b48" providerId="ADAL" clId="{6ECD27E6-B224-41CD-B4E0-E297462320DD}" dt="2023-11-24T11:40:39.396" v="143348"/>
          <ac:spMkLst>
            <pc:docMk/>
            <pc:sldMk cId="4145871477" sldId="2147478567"/>
            <ac:spMk id="928" creationId="{C3CBCEED-359F-4207-02B8-D7BD868ADA1E}"/>
          </ac:spMkLst>
        </pc:spChg>
        <pc:spChg chg="add del mod">
          <ac:chgData name="Steiner Andreas 6206 ED" userId="e6377c33-a923-4f14-8587-531c474c7b48" providerId="ADAL" clId="{6ECD27E6-B224-41CD-B4E0-E297462320DD}" dt="2023-11-24T11:40:42.346" v="143503"/>
          <ac:spMkLst>
            <pc:docMk/>
            <pc:sldMk cId="4145871477" sldId="2147478567"/>
            <ac:spMk id="929" creationId="{C9A495B3-605A-6992-8D6C-CB864D475E9D}"/>
          </ac:spMkLst>
        </pc:spChg>
        <pc:spChg chg="add del mod">
          <ac:chgData name="Steiner Andreas 6206 ED" userId="e6377c33-a923-4f14-8587-531c474c7b48" providerId="ADAL" clId="{6ECD27E6-B224-41CD-B4E0-E297462320DD}" dt="2023-11-24T11:40:45.010" v="143658"/>
          <ac:spMkLst>
            <pc:docMk/>
            <pc:sldMk cId="4145871477" sldId="2147478567"/>
            <ac:spMk id="930" creationId="{B71E8546-4BEC-5DBB-FA88-6713679D6B84}"/>
          </ac:spMkLst>
        </pc:spChg>
        <pc:spChg chg="add del mod">
          <ac:chgData name="Steiner Andreas 6206 ED" userId="e6377c33-a923-4f14-8587-531c474c7b48" providerId="ADAL" clId="{6ECD27E6-B224-41CD-B4E0-E297462320DD}" dt="2023-11-24T11:40:47.765" v="143813"/>
          <ac:spMkLst>
            <pc:docMk/>
            <pc:sldMk cId="4145871477" sldId="2147478567"/>
            <ac:spMk id="931" creationId="{A193CD4F-20E4-541F-CB40-5E4801C597D3}"/>
          </ac:spMkLst>
        </pc:spChg>
        <pc:spChg chg="add del mod">
          <ac:chgData name="Steiner Andreas 6206 ED" userId="e6377c33-a923-4f14-8587-531c474c7b48" providerId="ADAL" clId="{6ECD27E6-B224-41CD-B4E0-E297462320DD}" dt="2023-11-24T11:40:50.543" v="143968"/>
          <ac:spMkLst>
            <pc:docMk/>
            <pc:sldMk cId="4145871477" sldId="2147478567"/>
            <ac:spMk id="932" creationId="{DD985968-8F5B-0623-9458-C3E761BF8E89}"/>
          </ac:spMkLst>
        </pc:spChg>
        <pc:spChg chg="add del mod">
          <ac:chgData name="Steiner Andreas 6206 ED" userId="e6377c33-a923-4f14-8587-531c474c7b48" providerId="ADAL" clId="{6ECD27E6-B224-41CD-B4E0-E297462320DD}" dt="2023-11-24T11:40:53.403" v="144123"/>
          <ac:spMkLst>
            <pc:docMk/>
            <pc:sldMk cId="4145871477" sldId="2147478567"/>
            <ac:spMk id="933" creationId="{4A5A3251-AE8C-4CB0-3BB0-4FCF055EDC7C}"/>
          </ac:spMkLst>
        </pc:spChg>
        <pc:spChg chg="add del mod">
          <ac:chgData name="Steiner Andreas 6206 ED" userId="e6377c33-a923-4f14-8587-531c474c7b48" providerId="ADAL" clId="{6ECD27E6-B224-41CD-B4E0-E297462320DD}" dt="2023-11-24T11:40:56.108" v="144278"/>
          <ac:spMkLst>
            <pc:docMk/>
            <pc:sldMk cId="4145871477" sldId="2147478567"/>
            <ac:spMk id="934" creationId="{B9493D3F-3F3A-1161-38D0-684B8093C8F0}"/>
          </ac:spMkLst>
        </pc:spChg>
        <pc:spChg chg="add del mod">
          <ac:chgData name="Steiner Andreas 6206 ED" userId="e6377c33-a923-4f14-8587-531c474c7b48" providerId="ADAL" clId="{6ECD27E6-B224-41CD-B4E0-E297462320DD}" dt="2023-11-24T11:40:58.673" v="144433"/>
          <ac:spMkLst>
            <pc:docMk/>
            <pc:sldMk cId="4145871477" sldId="2147478567"/>
            <ac:spMk id="935" creationId="{706DFD58-31FB-F58C-9BCB-F616BAE2C01B}"/>
          </ac:spMkLst>
        </pc:spChg>
        <pc:spChg chg="add del mod">
          <ac:chgData name="Steiner Andreas 6206 ED" userId="e6377c33-a923-4f14-8587-531c474c7b48" providerId="ADAL" clId="{6ECD27E6-B224-41CD-B4E0-E297462320DD}" dt="2023-11-24T11:41:01.214" v="144588"/>
          <ac:spMkLst>
            <pc:docMk/>
            <pc:sldMk cId="4145871477" sldId="2147478567"/>
            <ac:spMk id="936" creationId="{A0A64EA6-03EB-0330-6251-9C517C5075D8}"/>
          </ac:spMkLst>
        </pc:spChg>
        <pc:spChg chg="add del mod">
          <ac:chgData name="Steiner Andreas 6206 ED" userId="e6377c33-a923-4f14-8587-531c474c7b48" providerId="ADAL" clId="{6ECD27E6-B224-41CD-B4E0-E297462320DD}" dt="2023-11-24T11:41:03.902" v="144743"/>
          <ac:spMkLst>
            <pc:docMk/>
            <pc:sldMk cId="4145871477" sldId="2147478567"/>
            <ac:spMk id="937" creationId="{DEB35315-3399-3446-A44C-61AAD03F833F}"/>
          </ac:spMkLst>
        </pc:spChg>
        <pc:spChg chg="add del mod">
          <ac:chgData name="Steiner Andreas 6206 ED" userId="e6377c33-a923-4f14-8587-531c474c7b48" providerId="ADAL" clId="{6ECD27E6-B224-41CD-B4E0-E297462320DD}" dt="2023-11-24T11:41:07.041" v="144898"/>
          <ac:spMkLst>
            <pc:docMk/>
            <pc:sldMk cId="4145871477" sldId="2147478567"/>
            <ac:spMk id="938" creationId="{C4BCD9D1-C062-D6BC-7220-4C54918A2DA9}"/>
          </ac:spMkLst>
        </pc:spChg>
        <pc:spChg chg="add del mod">
          <ac:chgData name="Steiner Andreas 6206 ED" userId="e6377c33-a923-4f14-8587-531c474c7b48" providerId="ADAL" clId="{6ECD27E6-B224-41CD-B4E0-E297462320DD}" dt="2023-11-24T11:41:10.162" v="145053"/>
          <ac:spMkLst>
            <pc:docMk/>
            <pc:sldMk cId="4145871477" sldId="2147478567"/>
            <ac:spMk id="939" creationId="{8BA9A661-5C82-0596-8038-F2733D12A01D}"/>
          </ac:spMkLst>
        </pc:spChg>
        <pc:spChg chg="add del mod">
          <ac:chgData name="Steiner Andreas 6206 ED" userId="e6377c33-a923-4f14-8587-531c474c7b48" providerId="ADAL" clId="{6ECD27E6-B224-41CD-B4E0-E297462320DD}" dt="2023-11-24T11:41:13.024" v="145208"/>
          <ac:spMkLst>
            <pc:docMk/>
            <pc:sldMk cId="4145871477" sldId="2147478567"/>
            <ac:spMk id="940" creationId="{935476D2-409F-88D4-CAAC-E7EB1ED7876F}"/>
          </ac:spMkLst>
        </pc:spChg>
        <pc:spChg chg="add del mod">
          <ac:chgData name="Steiner Andreas 6206 ED" userId="e6377c33-a923-4f14-8587-531c474c7b48" providerId="ADAL" clId="{6ECD27E6-B224-41CD-B4E0-E297462320DD}" dt="2023-11-24T11:41:16.056" v="145363"/>
          <ac:spMkLst>
            <pc:docMk/>
            <pc:sldMk cId="4145871477" sldId="2147478567"/>
            <ac:spMk id="941" creationId="{0E204369-FEDB-6F1F-53C4-897917F0BC02}"/>
          </ac:spMkLst>
        </pc:spChg>
        <pc:spChg chg="add del mod">
          <ac:chgData name="Steiner Andreas 6206 ED" userId="e6377c33-a923-4f14-8587-531c474c7b48" providerId="ADAL" clId="{6ECD27E6-B224-41CD-B4E0-E297462320DD}" dt="2023-11-24T11:41:19.269" v="145518"/>
          <ac:spMkLst>
            <pc:docMk/>
            <pc:sldMk cId="4145871477" sldId="2147478567"/>
            <ac:spMk id="942" creationId="{22E41A8F-E8F0-E7CA-2674-E923570FB3F1}"/>
          </ac:spMkLst>
        </pc:spChg>
        <pc:spChg chg="add del mod">
          <ac:chgData name="Steiner Andreas 6206 ED" userId="e6377c33-a923-4f14-8587-531c474c7b48" providerId="ADAL" clId="{6ECD27E6-B224-41CD-B4E0-E297462320DD}" dt="2023-11-24T11:41:21.819" v="145673"/>
          <ac:spMkLst>
            <pc:docMk/>
            <pc:sldMk cId="4145871477" sldId="2147478567"/>
            <ac:spMk id="943" creationId="{E774E914-C8C0-80AF-206C-98F2E697B2FE}"/>
          </ac:spMkLst>
        </pc:spChg>
        <pc:spChg chg="add del mod">
          <ac:chgData name="Steiner Andreas 6206 ED" userId="e6377c33-a923-4f14-8587-531c474c7b48" providerId="ADAL" clId="{6ECD27E6-B224-41CD-B4E0-E297462320DD}" dt="2023-11-24T11:41:25.708" v="145828"/>
          <ac:spMkLst>
            <pc:docMk/>
            <pc:sldMk cId="4145871477" sldId="2147478567"/>
            <ac:spMk id="944" creationId="{F3EF3053-8CCE-F463-EB5C-4473CE9D764D}"/>
          </ac:spMkLst>
        </pc:spChg>
        <pc:spChg chg="add del mod">
          <ac:chgData name="Steiner Andreas 6206 ED" userId="e6377c33-a923-4f14-8587-531c474c7b48" providerId="ADAL" clId="{6ECD27E6-B224-41CD-B4E0-E297462320DD}" dt="2023-11-24T11:41:28.697" v="145983"/>
          <ac:spMkLst>
            <pc:docMk/>
            <pc:sldMk cId="4145871477" sldId="2147478567"/>
            <ac:spMk id="945" creationId="{F5261A1A-3B55-E563-4F87-B46F6A7752AA}"/>
          </ac:spMkLst>
        </pc:spChg>
        <pc:spChg chg="add del mod">
          <ac:chgData name="Steiner Andreas 6206 ED" userId="e6377c33-a923-4f14-8587-531c474c7b48" providerId="ADAL" clId="{6ECD27E6-B224-41CD-B4E0-E297462320DD}" dt="2023-11-24T11:41:31.389" v="146138"/>
          <ac:spMkLst>
            <pc:docMk/>
            <pc:sldMk cId="4145871477" sldId="2147478567"/>
            <ac:spMk id="946" creationId="{EE16AEB0-8204-DD22-A89F-BF12B5BAB9D0}"/>
          </ac:spMkLst>
        </pc:spChg>
        <pc:spChg chg="add del mod">
          <ac:chgData name="Steiner Andreas 6206 ED" userId="e6377c33-a923-4f14-8587-531c474c7b48" providerId="ADAL" clId="{6ECD27E6-B224-41CD-B4E0-E297462320DD}" dt="2023-11-24T11:41:33.564" v="146293"/>
          <ac:spMkLst>
            <pc:docMk/>
            <pc:sldMk cId="4145871477" sldId="2147478567"/>
            <ac:spMk id="947" creationId="{9AFC7BA7-50F8-5451-41CA-5F997FB66F63}"/>
          </ac:spMkLst>
        </pc:spChg>
        <pc:spChg chg="add del mod">
          <ac:chgData name="Steiner Andreas 6206 ED" userId="e6377c33-a923-4f14-8587-531c474c7b48" providerId="ADAL" clId="{6ECD27E6-B224-41CD-B4E0-E297462320DD}" dt="2023-11-24T11:41:35.690" v="146448"/>
          <ac:spMkLst>
            <pc:docMk/>
            <pc:sldMk cId="4145871477" sldId="2147478567"/>
            <ac:spMk id="948" creationId="{F80726CC-02AC-60EE-99AE-AE164EAF0AC0}"/>
          </ac:spMkLst>
        </pc:spChg>
        <pc:spChg chg="add del mod">
          <ac:chgData name="Steiner Andreas 6206 ED" userId="e6377c33-a923-4f14-8587-531c474c7b48" providerId="ADAL" clId="{6ECD27E6-B224-41CD-B4E0-E297462320DD}" dt="2023-11-24T11:41:37.899" v="146603"/>
          <ac:spMkLst>
            <pc:docMk/>
            <pc:sldMk cId="4145871477" sldId="2147478567"/>
            <ac:spMk id="949" creationId="{B5686415-49ED-8D86-490C-684787AE8D4F}"/>
          </ac:spMkLst>
        </pc:spChg>
        <pc:spChg chg="add del mod">
          <ac:chgData name="Steiner Andreas 6206 ED" userId="e6377c33-a923-4f14-8587-531c474c7b48" providerId="ADAL" clId="{6ECD27E6-B224-41CD-B4E0-E297462320DD}" dt="2023-11-24T11:41:40.662" v="146758"/>
          <ac:spMkLst>
            <pc:docMk/>
            <pc:sldMk cId="4145871477" sldId="2147478567"/>
            <ac:spMk id="950" creationId="{F9A7F911-FDAA-D4AB-F44B-430F4D87CBD2}"/>
          </ac:spMkLst>
        </pc:spChg>
        <pc:spChg chg="add del mod">
          <ac:chgData name="Steiner Andreas 6206 ED" userId="e6377c33-a923-4f14-8587-531c474c7b48" providerId="ADAL" clId="{6ECD27E6-B224-41CD-B4E0-E297462320DD}" dt="2023-11-24T11:41:42.820" v="146913"/>
          <ac:spMkLst>
            <pc:docMk/>
            <pc:sldMk cId="4145871477" sldId="2147478567"/>
            <ac:spMk id="951" creationId="{C5779101-3264-EB52-C271-A99BA73106AB}"/>
          </ac:spMkLst>
        </pc:spChg>
        <pc:spChg chg="add del mod">
          <ac:chgData name="Steiner Andreas 6206 ED" userId="e6377c33-a923-4f14-8587-531c474c7b48" providerId="ADAL" clId="{6ECD27E6-B224-41CD-B4E0-E297462320DD}" dt="2023-11-24T11:41:44.893" v="147068"/>
          <ac:spMkLst>
            <pc:docMk/>
            <pc:sldMk cId="4145871477" sldId="2147478567"/>
            <ac:spMk id="952" creationId="{FFA133A2-9C4F-2BCE-54E4-F401035D2434}"/>
          </ac:spMkLst>
        </pc:spChg>
        <pc:spChg chg="add del mod">
          <ac:chgData name="Steiner Andreas 6206 ED" userId="e6377c33-a923-4f14-8587-531c474c7b48" providerId="ADAL" clId="{6ECD27E6-B224-41CD-B4E0-E297462320DD}" dt="2023-11-24T11:41:47.413" v="147223"/>
          <ac:spMkLst>
            <pc:docMk/>
            <pc:sldMk cId="4145871477" sldId="2147478567"/>
            <ac:spMk id="953" creationId="{10040B86-B775-4968-FC5E-288202A93A8C}"/>
          </ac:spMkLst>
        </pc:spChg>
        <pc:spChg chg="add del mod">
          <ac:chgData name="Steiner Andreas 6206 ED" userId="e6377c33-a923-4f14-8587-531c474c7b48" providerId="ADAL" clId="{6ECD27E6-B224-41CD-B4E0-E297462320DD}" dt="2023-11-24T11:41:49.524" v="147378"/>
          <ac:spMkLst>
            <pc:docMk/>
            <pc:sldMk cId="4145871477" sldId="2147478567"/>
            <ac:spMk id="954" creationId="{03C4E17D-0840-4C51-4E88-E1CE8A65324B}"/>
          </ac:spMkLst>
        </pc:spChg>
        <pc:spChg chg="add del mod">
          <ac:chgData name="Steiner Andreas 6206 ED" userId="e6377c33-a923-4f14-8587-531c474c7b48" providerId="ADAL" clId="{6ECD27E6-B224-41CD-B4E0-E297462320DD}" dt="2023-11-24T11:41:51.863" v="147533"/>
          <ac:spMkLst>
            <pc:docMk/>
            <pc:sldMk cId="4145871477" sldId="2147478567"/>
            <ac:spMk id="955" creationId="{FD7E6B10-9CFB-0359-3000-6892EBB2DFD7}"/>
          </ac:spMkLst>
        </pc:spChg>
        <pc:spChg chg="add del mod">
          <ac:chgData name="Steiner Andreas 6206 ED" userId="e6377c33-a923-4f14-8587-531c474c7b48" providerId="ADAL" clId="{6ECD27E6-B224-41CD-B4E0-E297462320DD}" dt="2023-11-24T11:41:54.264" v="147688"/>
          <ac:spMkLst>
            <pc:docMk/>
            <pc:sldMk cId="4145871477" sldId="2147478567"/>
            <ac:spMk id="956" creationId="{D84AEE91-474D-AD5D-0477-EC8F4FB52B45}"/>
          </ac:spMkLst>
        </pc:spChg>
        <pc:spChg chg="add del mod">
          <ac:chgData name="Steiner Andreas 6206 ED" userId="e6377c33-a923-4f14-8587-531c474c7b48" providerId="ADAL" clId="{6ECD27E6-B224-41CD-B4E0-E297462320DD}" dt="2023-11-24T11:41:57.393" v="147843"/>
          <ac:spMkLst>
            <pc:docMk/>
            <pc:sldMk cId="4145871477" sldId="2147478567"/>
            <ac:spMk id="957" creationId="{EC37CE56-F3A5-93B8-74A8-8000CFCBFB52}"/>
          </ac:spMkLst>
        </pc:spChg>
        <pc:spChg chg="add del mod">
          <ac:chgData name="Steiner Andreas 6206 ED" userId="e6377c33-a923-4f14-8587-531c474c7b48" providerId="ADAL" clId="{6ECD27E6-B224-41CD-B4E0-E297462320DD}" dt="2023-11-24T11:42:00.767" v="147998"/>
          <ac:spMkLst>
            <pc:docMk/>
            <pc:sldMk cId="4145871477" sldId="2147478567"/>
            <ac:spMk id="958" creationId="{B4D6EE79-A2B0-92BC-F516-AF00637A637F}"/>
          </ac:spMkLst>
        </pc:spChg>
        <pc:spChg chg="add del mod">
          <ac:chgData name="Steiner Andreas 6206 ED" userId="e6377c33-a923-4f14-8587-531c474c7b48" providerId="ADAL" clId="{6ECD27E6-B224-41CD-B4E0-E297462320DD}" dt="2023-11-24T11:42:04.062" v="148153"/>
          <ac:spMkLst>
            <pc:docMk/>
            <pc:sldMk cId="4145871477" sldId="2147478567"/>
            <ac:spMk id="959" creationId="{FDE80806-E9BE-391C-0712-B01CDD06CCCC}"/>
          </ac:spMkLst>
        </pc:spChg>
        <pc:spChg chg="add del mod">
          <ac:chgData name="Steiner Andreas 6206 ED" userId="e6377c33-a923-4f14-8587-531c474c7b48" providerId="ADAL" clId="{6ECD27E6-B224-41CD-B4E0-E297462320DD}" dt="2023-11-24T11:42:06.568" v="148308"/>
          <ac:spMkLst>
            <pc:docMk/>
            <pc:sldMk cId="4145871477" sldId="2147478567"/>
            <ac:spMk id="960" creationId="{DDF49425-69FF-C766-20B6-659D642558FF}"/>
          </ac:spMkLst>
        </pc:spChg>
        <pc:spChg chg="add del mod">
          <ac:chgData name="Steiner Andreas 6206 ED" userId="e6377c33-a923-4f14-8587-531c474c7b48" providerId="ADAL" clId="{6ECD27E6-B224-41CD-B4E0-E297462320DD}" dt="2023-11-24T11:42:08.807" v="148463"/>
          <ac:spMkLst>
            <pc:docMk/>
            <pc:sldMk cId="4145871477" sldId="2147478567"/>
            <ac:spMk id="961" creationId="{788EAB57-9ED3-B8B7-ACEC-21F521C4CEE7}"/>
          </ac:spMkLst>
        </pc:spChg>
        <pc:spChg chg="add del mod">
          <ac:chgData name="Steiner Andreas 6206 ED" userId="e6377c33-a923-4f14-8587-531c474c7b48" providerId="ADAL" clId="{6ECD27E6-B224-41CD-B4E0-E297462320DD}" dt="2023-11-24T11:42:11.412" v="148618"/>
          <ac:spMkLst>
            <pc:docMk/>
            <pc:sldMk cId="4145871477" sldId="2147478567"/>
            <ac:spMk id="962" creationId="{E0996D55-AA6D-2AEB-828B-C3A3BC5B778C}"/>
          </ac:spMkLst>
        </pc:spChg>
        <pc:spChg chg="add del mod">
          <ac:chgData name="Steiner Andreas 6206 ED" userId="e6377c33-a923-4f14-8587-531c474c7b48" providerId="ADAL" clId="{6ECD27E6-B224-41CD-B4E0-E297462320DD}" dt="2023-11-24T11:42:14.015" v="148773"/>
          <ac:spMkLst>
            <pc:docMk/>
            <pc:sldMk cId="4145871477" sldId="2147478567"/>
            <ac:spMk id="963" creationId="{6CCA1252-E5A6-90B6-49BD-48132EC2F3F8}"/>
          </ac:spMkLst>
        </pc:spChg>
        <pc:spChg chg="add del mod">
          <ac:chgData name="Steiner Andreas 6206 ED" userId="e6377c33-a923-4f14-8587-531c474c7b48" providerId="ADAL" clId="{6ECD27E6-B224-41CD-B4E0-E297462320DD}" dt="2023-11-24T11:42:16.311" v="148928"/>
          <ac:spMkLst>
            <pc:docMk/>
            <pc:sldMk cId="4145871477" sldId="2147478567"/>
            <ac:spMk id="964" creationId="{B86F7DD6-752C-2CB1-BAC9-501DC7C99304}"/>
          </ac:spMkLst>
        </pc:spChg>
        <pc:spChg chg="add del mod">
          <ac:chgData name="Steiner Andreas 6206 ED" userId="e6377c33-a923-4f14-8587-531c474c7b48" providerId="ADAL" clId="{6ECD27E6-B224-41CD-B4E0-E297462320DD}" dt="2023-11-24T11:42:18.429" v="149083"/>
          <ac:spMkLst>
            <pc:docMk/>
            <pc:sldMk cId="4145871477" sldId="2147478567"/>
            <ac:spMk id="965" creationId="{842CD25B-8506-5563-6FB7-C3F7BF3D4191}"/>
          </ac:spMkLst>
        </pc:spChg>
        <pc:spChg chg="add del mod">
          <ac:chgData name="Steiner Andreas 6206 ED" userId="e6377c33-a923-4f14-8587-531c474c7b48" providerId="ADAL" clId="{6ECD27E6-B224-41CD-B4E0-E297462320DD}" dt="2023-11-24T11:42:20.477" v="149238"/>
          <ac:spMkLst>
            <pc:docMk/>
            <pc:sldMk cId="4145871477" sldId="2147478567"/>
            <ac:spMk id="966" creationId="{5883B103-F535-AA2D-EB9C-1CAA551D0D3C}"/>
          </ac:spMkLst>
        </pc:spChg>
        <pc:spChg chg="add del mod">
          <ac:chgData name="Steiner Andreas 6206 ED" userId="e6377c33-a923-4f14-8587-531c474c7b48" providerId="ADAL" clId="{6ECD27E6-B224-41CD-B4E0-E297462320DD}" dt="2023-11-24T11:42:22.533" v="149393"/>
          <ac:spMkLst>
            <pc:docMk/>
            <pc:sldMk cId="4145871477" sldId="2147478567"/>
            <ac:spMk id="967" creationId="{EC6CE318-B39E-F44F-BD48-29A73BDCEFB5}"/>
          </ac:spMkLst>
        </pc:spChg>
        <pc:spChg chg="add del mod">
          <ac:chgData name="Steiner Andreas 6206 ED" userId="e6377c33-a923-4f14-8587-531c474c7b48" providerId="ADAL" clId="{6ECD27E6-B224-41CD-B4E0-E297462320DD}" dt="2023-11-24T11:42:24.487" v="149548"/>
          <ac:spMkLst>
            <pc:docMk/>
            <pc:sldMk cId="4145871477" sldId="2147478567"/>
            <ac:spMk id="968" creationId="{D54BE291-95CC-6060-7028-3E751BAF54B5}"/>
          </ac:spMkLst>
        </pc:spChg>
        <pc:spChg chg="add del mod">
          <ac:chgData name="Steiner Andreas 6206 ED" userId="e6377c33-a923-4f14-8587-531c474c7b48" providerId="ADAL" clId="{6ECD27E6-B224-41CD-B4E0-E297462320DD}" dt="2023-11-24T11:42:26.410" v="149703"/>
          <ac:spMkLst>
            <pc:docMk/>
            <pc:sldMk cId="4145871477" sldId="2147478567"/>
            <ac:spMk id="969" creationId="{B2BE73E7-940A-9283-572D-4F3B644BC212}"/>
          </ac:spMkLst>
        </pc:spChg>
        <pc:spChg chg="add del mod">
          <ac:chgData name="Steiner Andreas 6206 ED" userId="e6377c33-a923-4f14-8587-531c474c7b48" providerId="ADAL" clId="{6ECD27E6-B224-41CD-B4E0-E297462320DD}" dt="2023-11-24T11:42:29.559" v="149858"/>
          <ac:spMkLst>
            <pc:docMk/>
            <pc:sldMk cId="4145871477" sldId="2147478567"/>
            <ac:spMk id="970" creationId="{17E788E2-44D5-C48B-E813-78BA656A7020}"/>
          </ac:spMkLst>
        </pc:spChg>
        <pc:spChg chg="add del mod">
          <ac:chgData name="Steiner Andreas 6206 ED" userId="e6377c33-a923-4f14-8587-531c474c7b48" providerId="ADAL" clId="{6ECD27E6-B224-41CD-B4E0-E297462320DD}" dt="2023-11-24T11:42:32.540" v="150013"/>
          <ac:spMkLst>
            <pc:docMk/>
            <pc:sldMk cId="4145871477" sldId="2147478567"/>
            <ac:spMk id="971" creationId="{2422C10D-33AA-D4CF-1B7C-EACD9B48B05F}"/>
          </ac:spMkLst>
        </pc:spChg>
        <pc:spChg chg="add del mod">
          <ac:chgData name="Steiner Andreas 6206 ED" userId="e6377c33-a923-4f14-8587-531c474c7b48" providerId="ADAL" clId="{6ECD27E6-B224-41CD-B4E0-E297462320DD}" dt="2023-11-24T11:42:35.787" v="150168"/>
          <ac:spMkLst>
            <pc:docMk/>
            <pc:sldMk cId="4145871477" sldId="2147478567"/>
            <ac:spMk id="972" creationId="{9AEB00B3-EF7C-8F32-9C63-102E27682A0B}"/>
          </ac:spMkLst>
        </pc:spChg>
        <pc:spChg chg="add del mod">
          <ac:chgData name="Steiner Andreas 6206 ED" userId="e6377c33-a923-4f14-8587-531c474c7b48" providerId="ADAL" clId="{6ECD27E6-B224-41CD-B4E0-E297462320DD}" dt="2023-11-24T11:42:38.078" v="150323"/>
          <ac:spMkLst>
            <pc:docMk/>
            <pc:sldMk cId="4145871477" sldId="2147478567"/>
            <ac:spMk id="973" creationId="{57A0C823-586A-9613-3899-3C8F8113F960}"/>
          </ac:spMkLst>
        </pc:spChg>
        <pc:spChg chg="add del mod">
          <ac:chgData name="Steiner Andreas 6206 ED" userId="e6377c33-a923-4f14-8587-531c474c7b48" providerId="ADAL" clId="{6ECD27E6-B224-41CD-B4E0-E297462320DD}" dt="2023-11-24T11:42:40.184" v="150478"/>
          <ac:spMkLst>
            <pc:docMk/>
            <pc:sldMk cId="4145871477" sldId="2147478567"/>
            <ac:spMk id="974" creationId="{9FA12009-C1B9-D073-2C0E-C775273ECA67}"/>
          </ac:spMkLst>
        </pc:spChg>
        <pc:spChg chg="add del mod">
          <ac:chgData name="Steiner Andreas 6206 ED" userId="e6377c33-a923-4f14-8587-531c474c7b48" providerId="ADAL" clId="{6ECD27E6-B224-41CD-B4E0-E297462320DD}" dt="2023-11-24T11:42:42.235" v="150633"/>
          <ac:spMkLst>
            <pc:docMk/>
            <pc:sldMk cId="4145871477" sldId="2147478567"/>
            <ac:spMk id="975" creationId="{66A26CA3-BF5D-4ABF-6C96-F4EC508859C2}"/>
          </ac:spMkLst>
        </pc:spChg>
        <pc:spChg chg="add del mod">
          <ac:chgData name="Steiner Andreas 6206 ED" userId="e6377c33-a923-4f14-8587-531c474c7b48" providerId="ADAL" clId="{6ECD27E6-B224-41CD-B4E0-E297462320DD}" dt="2023-11-24T11:42:44.332" v="150788"/>
          <ac:spMkLst>
            <pc:docMk/>
            <pc:sldMk cId="4145871477" sldId="2147478567"/>
            <ac:spMk id="976" creationId="{0EA712DD-8321-4150-7142-AF27D8F2AD20}"/>
          </ac:spMkLst>
        </pc:spChg>
        <pc:spChg chg="add del mod">
          <ac:chgData name="Steiner Andreas 6206 ED" userId="e6377c33-a923-4f14-8587-531c474c7b48" providerId="ADAL" clId="{6ECD27E6-B224-41CD-B4E0-E297462320DD}" dt="2023-11-24T11:42:46.598" v="150943"/>
          <ac:spMkLst>
            <pc:docMk/>
            <pc:sldMk cId="4145871477" sldId="2147478567"/>
            <ac:spMk id="977" creationId="{C3D7B089-CFCF-860A-82D3-AF5FCC256972}"/>
          </ac:spMkLst>
        </pc:spChg>
        <pc:spChg chg="add del mod">
          <ac:chgData name="Steiner Andreas 6206 ED" userId="e6377c33-a923-4f14-8587-531c474c7b48" providerId="ADAL" clId="{6ECD27E6-B224-41CD-B4E0-E297462320DD}" dt="2023-11-24T11:42:48.819" v="151098"/>
          <ac:spMkLst>
            <pc:docMk/>
            <pc:sldMk cId="4145871477" sldId="2147478567"/>
            <ac:spMk id="978" creationId="{1C247C99-F4DA-28B4-C7E3-D10D58222531}"/>
          </ac:spMkLst>
        </pc:spChg>
        <pc:spChg chg="add del mod">
          <ac:chgData name="Steiner Andreas 6206 ED" userId="e6377c33-a923-4f14-8587-531c474c7b48" providerId="ADAL" clId="{6ECD27E6-B224-41CD-B4E0-E297462320DD}" dt="2023-11-24T11:42:51.075" v="151253"/>
          <ac:spMkLst>
            <pc:docMk/>
            <pc:sldMk cId="4145871477" sldId="2147478567"/>
            <ac:spMk id="979" creationId="{E49F7F9A-CE81-DAFF-0CD8-AEA9825CFDE3}"/>
          </ac:spMkLst>
        </pc:spChg>
        <pc:spChg chg="add del mod">
          <ac:chgData name="Steiner Andreas 6206 ED" userId="e6377c33-a923-4f14-8587-531c474c7b48" providerId="ADAL" clId="{6ECD27E6-B224-41CD-B4E0-E297462320DD}" dt="2023-11-24T11:42:53.410" v="151408"/>
          <ac:spMkLst>
            <pc:docMk/>
            <pc:sldMk cId="4145871477" sldId="2147478567"/>
            <ac:spMk id="980" creationId="{64AA5529-A6F4-3B5A-B3A7-06BE4E66D1E3}"/>
          </ac:spMkLst>
        </pc:spChg>
        <pc:spChg chg="add del mod">
          <ac:chgData name="Steiner Andreas 6206 ED" userId="e6377c33-a923-4f14-8587-531c474c7b48" providerId="ADAL" clId="{6ECD27E6-B224-41CD-B4E0-E297462320DD}" dt="2023-11-24T11:42:55.645" v="151563"/>
          <ac:spMkLst>
            <pc:docMk/>
            <pc:sldMk cId="4145871477" sldId="2147478567"/>
            <ac:spMk id="981" creationId="{C7DCD7DF-2EA9-B9DE-9A22-82D6EDB378A6}"/>
          </ac:spMkLst>
        </pc:spChg>
        <pc:spChg chg="add del mod">
          <ac:chgData name="Steiner Andreas 6206 ED" userId="e6377c33-a923-4f14-8587-531c474c7b48" providerId="ADAL" clId="{6ECD27E6-B224-41CD-B4E0-E297462320DD}" dt="2023-11-24T11:42:58.111" v="151718"/>
          <ac:spMkLst>
            <pc:docMk/>
            <pc:sldMk cId="4145871477" sldId="2147478567"/>
            <ac:spMk id="982" creationId="{0ED44176-2DF1-5352-684D-F46A421169C1}"/>
          </ac:spMkLst>
        </pc:spChg>
        <pc:spChg chg="add del mod">
          <ac:chgData name="Steiner Andreas 6206 ED" userId="e6377c33-a923-4f14-8587-531c474c7b48" providerId="ADAL" clId="{6ECD27E6-B224-41CD-B4E0-E297462320DD}" dt="2023-11-24T11:43:01.828" v="151873"/>
          <ac:spMkLst>
            <pc:docMk/>
            <pc:sldMk cId="4145871477" sldId="2147478567"/>
            <ac:spMk id="983" creationId="{57F06D61-62E9-8477-5183-4D0295320FFA}"/>
          </ac:spMkLst>
        </pc:spChg>
        <pc:spChg chg="add del mod">
          <ac:chgData name="Steiner Andreas 6206 ED" userId="e6377c33-a923-4f14-8587-531c474c7b48" providerId="ADAL" clId="{6ECD27E6-B224-41CD-B4E0-E297462320DD}" dt="2023-11-24T11:43:04.143" v="152028"/>
          <ac:spMkLst>
            <pc:docMk/>
            <pc:sldMk cId="4145871477" sldId="2147478567"/>
            <ac:spMk id="984" creationId="{F65CE2C3-9F69-1C78-003F-2ECA9AF37B1F}"/>
          </ac:spMkLst>
        </pc:spChg>
        <pc:spChg chg="add del mod">
          <ac:chgData name="Steiner Andreas 6206 ED" userId="e6377c33-a923-4f14-8587-531c474c7b48" providerId="ADAL" clId="{6ECD27E6-B224-41CD-B4E0-E297462320DD}" dt="2023-11-24T11:43:06.342" v="152183"/>
          <ac:spMkLst>
            <pc:docMk/>
            <pc:sldMk cId="4145871477" sldId="2147478567"/>
            <ac:spMk id="985" creationId="{E2B059AB-5770-2FC6-AE80-A36B2266FA95}"/>
          </ac:spMkLst>
        </pc:spChg>
        <pc:spChg chg="add del mod">
          <ac:chgData name="Steiner Andreas 6206 ED" userId="e6377c33-a923-4f14-8587-531c474c7b48" providerId="ADAL" clId="{6ECD27E6-B224-41CD-B4E0-E297462320DD}" dt="2023-11-24T11:43:08.461" v="152338"/>
          <ac:spMkLst>
            <pc:docMk/>
            <pc:sldMk cId="4145871477" sldId="2147478567"/>
            <ac:spMk id="986" creationId="{85CADCF1-1826-5642-1119-C79ED0885471}"/>
          </ac:spMkLst>
        </pc:spChg>
        <pc:spChg chg="add del mod">
          <ac:chgData name="Steiner Andreas 6206 ED" userId="e6377c33-a923-4f14-8587-531c474c7b48" providerId="ADAL" clId="{6ECD27E6-B224-41CD-B4E0-E297462320DD}" dt="2023-11-24T11:43:10.624" v="152493"/>
          <ac:spMkLst>
            <pc:docMk/>
            <pc:sldMk cId="4145871477" sldId="2147478567"/>
            <ac:spMk id="987" creationId="{AAC2EA79-21E9-B25B-599C-54CCB313F926}"/>
          </ac:spMkLst>
        </pc:spChg>
        <pc:spChg chg="add del mod">
          <ac:chgData name="Steiner Andreas 6206 ED" userId="e6377c33-a923-4f14-8587-531c474c7b48" providerId="ADAL" clId="{6ECD27E6-B224-41CD-B4E0-E297462320DD}" dt="2023-11-24T11:43:12.836" v="152648"/>
          <ac:spMkLst>
            <pc:docMk/>
            <pc:sldMk cId="4145871477" sldId="2147478567"/>
            <ac:spMk id="988" creationId="{7EA73E5C-49CA-29BA-0C5C-A5429372EC55}"/>
          </ac:spMkLst>
        </pc:spChg>
        <pc:spChg chg="add del mod">
          <ac:chgData name="Steiner Andreas 6206 ED" userId="e6377c33-a923-4f14-8587-531c474c7b48" providerId="ADAL" clId="{6ECD27E6-B224-41CD-B4E0-E297462320DD}" dt="2023-11-24T11:43:15.167" v="152803"/>
          <ac:spMkLst>
            <pc:docMk/>
            <pc:sldMk cId="4145871477" sldId="2147478567"/>
            <ac:spMk id="989" creationId="{2935151A-13FD-8190-E301-5BE1487C31A0}"/>
          </ac:spMkLst>
        </pc:spChg>
        <pc:spChg chg="add del mod">
          <ac:chgData name="Steiner Andreas 6206 ED" userId="e6377c33-a923-4f14-8587-531c474c7b48" providerId="ADAL" clId="{6ECD27E6-B224-41CD-B4E0-E297462320DD}" dt="2023-11-24T11:43:18.262" v="152958"/>
          <ac:spMkLst>
            <pc:docMk/>
            <pc:sldMk cId="4145871477" sldId="2147478567"/>
            <ac:spMk id="990" creationId="{298F42FE-E647-6276-4B18-CF6775C5FBEF}"/>
          </ac:spMkLst>
        </pc:spChg>
        <pc:spChg chg="add del mod">
          <ac:chgData name="Steiner Andreas 6206 ED" userId="e6377c33-a923-4f14-8587-531c474c7b48" providerId="ADAL" clId="{6ECD27E6-B224-41CD-B4E0-E297462320DD}" dt="2023-11-24T11:43:22.412" v="153113"/>
          <ac:spMkLst>
            <pc:docMk/>
            <pc:sldMk cId="4145871477" sldId="2147478567"/>
            <ac:spMk id="991" creationId="{2E07CCBD-4F76-FD01-C2D6-528B095DDBFB}"/>
          </ac:spMkLst>
        </pc:spChg>
        <pc:spChg chg="add del mod">
          <ac:chgData name="Steiner Andreas 6206 ED" userId="e6377c33-a923-4f14-8587-531c474c7b48" providerId="ADAL" clId="{6ECD27E6-B224-41CD-B4E0-E297462320DD}" dt="2023-11-24T11:43:24.873" v="153268"/>
          <ac:spMkLst>
            <pc:docMk/>
            <pc:sldMk cId="4145871477" sldId="2147478567"/>
            <ac:spMk id="992" creationId="{D1925FAF-3C73-404E-8965-19EE8F004AD8}"/>
          </ac:spMkLst>
        </pc:spChg>
        <pc:spChg chg="add del mod">
          <ac:chgData name="Steiner Andreas 6206 ED" userId="e6377c33-a923-4f14-8587-531c474c7b48" providerId="ADAL" clId="{6ECD27E6-B224-41CD-B4E0-E297462320DD}" dt="2023-11-24T11:43:27.122" v="153423"/>
          <ac:spMkLst>
            <pc:docMk/>
            <pc:sldMk cId="4145871477" sldId="2147478567"/>
            <ac:spMk id="993" creationId="{CD1EC891-CBF4-2960-C662-84682CA06714}"/>
          </ac:spMkLst>
        </pc:spChg>
        <pc:spChg chg="add del mod">
          <ac:chgData name="Steiner Andreas 6206 ED" userId="e6377c33-a923-4f14-8587-531c474c7b48" providerId="ADAL" clId="{6ECD27E6-B224-41CD-B4E0-E297462320DD}" dt="2023-11-24T11:43:29.399" v="153578"/>
          <ac:spMkLst>
            <pc:docMk/>
            <pc:sldMk cId="4145871477" sldId="2147478567"/>
            <ac:spMk id="994" creationId="{6DFBA0B9-019C-53E3-867E-DE07A26F8FF9}"/>
          </ac:spMkLst>
        </pc:spChg>
        <pc:spChg chg="add del mod">
          <ac:chgData name="Steiner Andreas 6206 ED" userId="e6377c33-a923-4f14-8587-531c474c7b48" providerId="ADAL" clId="{6ECD27E6-B224-41CD-B4E0-E297462320DD}" dt="2023-11-24T11:43:31.645" v="153733"/>
          <ac:spMkLst>
            <pc:docMk/>
            <pc:sldMk cId="4145871477" sldId="2147478567"/>
            <ac:spMk id="995" creationId="{D3F6A060-5301-ABEF-5014-EFFCA47CDCEF}"/>
          </ac:spMkLst>
        </pc:spChg>
        <pc:spChg chg="add del mod">
          <ac:chgData name="Steiner Andreas 6206 ED" userId="e6377c33-a923-4f14-8587-531c474c7b48" providerId="ADAL" clId="{6ECD27E6-B224-41CD-B4E0-E297462320DD}" dt="2023-11-24T11:43:34.369" v="153888"/>
          <ac:spMkLst>
            <pc:docMk/>
            <pc:sldMk cId="4145871477" sldId="2147478567"/>
            <ac:spMk id="996" creationId="{6FC8F5D7-88C3-BE39-ECA6-A5FAC588E255}"/>
          </ac:spMkLst>
        </pc:spChg>
        <pc:spChg chg="add del mod">
          <ac:chgData name="Steiner Andreas 6206 ED" userId="e6377c33-a923-4f14-8587-531c474c7b48" providerId="ADAL" clId="{6ECD27E6-B224-41CD-B4E0-E297462320DD}" dt="2023-11-24T11:43:36.522" v="154043"/>
          <ac:spMkLst>
            <pc:docMk/>
            <pc:sldMk cId="4145871477" sldId="2147478567"/>
            <ac:spMk id="997" creationId="{EE3666C3-33B6-6B2E-7BB3-06411F6EACE9}"/>
          </ac:spMkLst>
        </pc:spChg>
        <pc:spChg chg="add del mod">
          <ac:chgData name="Steiner Andreas 6206 ED" userId="e6377c33-a923-4f14-8587-531c474c7b48" providerId="ADAL" clId="{6ECD27E6-B224-41CD-B4E0-E297462320DD}" dt="2023-11-24T11:43:38.715" v="154198"/>
          <ac:spMkLst>
            <pc:docMk/>
            <pc:sldMk cId="4145871477" sldId="2147478567"/>
            <ac:spMk id="998" creationId="{1DE9955C-8FC7-4571-E2E1-7E7D9A42CDE6}"/>
          </ac:spMkLst>
        </pc:spChg>
        <pc:spChg chg="add del mod">
          <ac:chgData name="Steiner Andreas 6206 ED" userId="e6377c33-a923-4f14-8587-531c474c7b48" providerId="ADAL" clId="{6ECD27E6-B224-41CD-B4E0-E297462320DD}" dt="2023-11-24T11:43:41.026" v="154353"/>
          <ac:spMkLst>
            <pc:docMk/>
            <pc:sldMk cId="4145871477" sldId="2147478567"/>
            <ac:spMk id="999" creationId="{16E11FCB-3019-BFC2-6766-1B146C2AEE2E}"/>
          </ac:spMkLst>
        </pc:spChg>
        <pc:spChg chg="add del mod">
          <ac:chgData name="Steiner Andreas 6206 ED" userId="e6377c33-a923-4f14-8587-531c474c7b48" providerId="ADAL" clId="{6ECD27E6-B224-41CD-B4E0-E297462320DD}" dt="2023-11-24T11:43:44.001" v="154508"/>
          <ac:spMkLst>
            <pc:docMk/>
            <pc:sldMk cId="4145871477" sldId="2147478567"/>
            <ac:spMk id="1000" creationId="{AEA02E3E-DD4A-EF00-A6B0-637CD6D993BA}"/>
          </ac:spMkLst>
        </pc:spChg>
        <pc:spChg chg="add del mod">
          <ac:chgData name="Steiner Andreas 6206 ED" userId="e6377c33-a923-4f14-8587-531c474c7b48" providerId="ADAL" clId="{6ECD27E6-B224-41CD-B4E0-E297462320DD}" dt="2023-11-24T11:43:46.348" v="154663"/>
          <ac:spMkLst>
            <pc:docMk/>
            <pc:sldMk cId="4145871477" sldId="2147478567"/>
            <ac:spMk id="1001" creationId="{AA946E05-6953-68BF-698E-F3784ED52AD1}"/>
          </ac:spMkLst>
        </pc:spChg>
        <pc:spChg chg="add del mod">
          <ac:chgData name="Steiner Andreas 6206 ED" userId="e6377c33-a923-4f14-8587-531c474c7b48" providerId="ADAL" clId="{6ECD27E6-B224-41CD-B4E0-E297462320DD}" dt="2023-11-24T11:43:48.647" v="154818"/>
          <ac:spMkLst>
            <pc:docMk/>
            <pc:sldMk cId="4145871477" sldId="2147478567"/>
            <ac:spMk id="1002" creationId="{9AC2D7F5-DED2-11EA-9112-244BF2FFAFDC}"/>
          </ac:spMkLst>
        </pc:spChg>
        <pc:spChg chg="add del mod">
          <ac:chgData name="Steiner Andreas 6206 ED" userId="e6377c33-a923-4f14-8587-531c474c7b48" providerId="ADAL" clId="{6ECD27E6-B224-41CD-B4E0-E297462320DD}" dt="2023-11-24T11:43:50.697" v="154973"/>
          <ac:spMkLst>
            <pc:docMk/>
            <pc:sldMk cId="4145871477" sldId="2147478567"/>
            <ac:spMk id="1003" creationId="{4DF31BD4-46C3-BE66-5BB5-6D32A408015F}"/>
          </ac:spMkLst>
        </pc:spChg>
        <pc:spChg chg="add del mod">
          <ac:chgData name="Steiner Andreas 6206 ED" userId="e6377c33-a923-4f14-8587-531c474c7b48" providerId="ADAL" clId="{6ECD27E6-B224-41CD-B4E0-E297462320DD}" dt="2023-11-24T11:43:52.886" v="155128"/>
          <ac:spMkLst>
            <pc:docMk/>
            <pc:sldMk cId="4145871477" sldId="2147478567"/>
            <ac:spMk id="1004" creationId="{F28DB48C-BF54-C033-0E83-347E72C9DE7B}"/>
          </ac:spMkLst>
        </pc:spChg>
        <pc:spChg chg="add del mod">
          <ac:chgData name="Steiner Andreas 6206 ED" userId="e6377c33-a923-4f14-8587-531c474c7b48" providerId="ADAL" clId="{6ECD27E6-B224-41CD-B4E0-E297462320DD}" dt="2023-11-24T11:43:55.914" v="155283"/>
          <ac:spMkLst>
            <pc:docMk/>
            <pc:sldMk cId="4145871477" sldId="2147478567"/>
            <ac:spMk id="1005" creationId="{E60DAB29-6A90-12CF-5139-74C5B4793F23}"/>
          </ac:spMkLst>
        </pc:spChg>
        <pc:spChg chg="add del mod">
          <ac:chgData name="Steiner Andreas 6206 ED" userId="e6377c33-a923-4f14-8587-531c474c7b48" providerId="ADAL" clId="{6ECD27E6-B224-41CD-B4E0-E297462320DD}" dt="2023-11-24T11:43:58.244" v="155438"/>
          <ac:spMkLst>
            <pc:docMk/>
            <pc:sldMk cId="4145871477" sldId="2147478567"/>
            <ac:spMk id="1006" creationId="{0445D64A-2BD8-144B-E37C-83E66AA0EF62}"/>
          </ac:spMkLst>
        </pc:spChg>
        <pc:spChg chg="add del mod">
          <ac:chgData name="Steiner Andreas 6206 ED" userId="e6377c33-a923-4f14-8587-531c474c7b48" providerId="ADAL" clId="{6ECD27E6-B224-41CD-B4E0-E297462320DD}" dt="2023-11-24T11:44:00.340" v="155593"/>
          <ac:spMkLst>
            <pc:docMk/>
            <pc:sldMk cId="4145871477" sldId="2147478567"/>
            <ac:spMk id="1007" creationId="{FD10470E-EE88-E2B5-57AB-3862DD170BC3}"/>
          </ac:spMkLst>
        </pc:spChg>
        <pc:spChg chg="add del mod">
          <ac:chgData name="Steiner Andreas 6206 ED" userId="e6377c33-a923-4f14-8587-531c474c7b48" providerId="ADAL" clId="{6ECD27E6-B224-41CD-B4E0-E297462320DD}" dt="2023-11-24T11:44:02.328" v="155748"/>
          <ac:spMkLst>
            <pc:docMk/>
            <pc:sldMk cId="4145871477" sldId="2147478567"/>
            <ac:spMk id="1008" creationId="{837E7081-91B7-1D3B-0806-39FB881EC994}"/>
          </ac:spMkLst>
        </pc:spChg>
        <pc:spChg chg="add del mod">
          <ac:chgData name="Steiner Andreas 6206 ED" userId="e6377c33-a923-4f14-8587-531c474c7b48" providerId="ADAL" clId="{6ECD27E6-B224-41CD-B4E0-E297462320DD}" dt="2023-11-24T11:44:04.390" v="155903"/>
          <ac:spMkLst>
            <pc:docMk/>
            <pc:sldMk cId="4145871477" sldId="2147478567"/>
            <ac:spMk id="1009" creationId="{DF08F72A-B0C8-9A7F-5C1A-517C3FB1E135}"/>
          </ac:spMkLst>
        </pc:spChg>
        <pc:spChg chg="add del mod">
          <ac:chgData name="Steiner Andreas 6206 ED" userId="e6377c33-a923-4f14-8587-531c474c7b48" providerId="ADAL" clId="{6ECD27E6-B224-41CD-B4E0-E297462320DD}" dt="2023-11-24T11:44:06.399" v="156058"/>
          <ac:spMkLst>
            <pc:docMk/>
            <pc:sldMk cId="4145871477" sldId="2147478567"/>
            <ac:spMk id="1010" creationId="{4194A014-3057-CDA1-07EB-9632E9EFF39E}"/>
          </ac:spMkLst>
        </pc:spChg>
        <pc:spChg chg="add del mod">
          <ac:chgData name="Steiner Andreas 6206 ED" userId="e6377c33-a923-4f14-8587-531c474c7b48" providerId="ADAL" clId="{6ECD27E6-B224-41CD-B4E0-E297462320DD}" dt="2023-11-24T11:44:08.587" v="156213"/>
          <ac:spMkLst>
            <pc:docMk/>
            <pc:sldMk cId="4145871477" sldId="2147478567"/>
            <ac:spMk id="1011" creationId="{CB92FE6D-FF0F-DC15-8532-FF3B4821DC5B}"/>
          </ac:spMkLst>
        </pc:spChg>
        <pc:spChg chg="add del mod">
          <ac:chgData name="Steiner Andreas 6206 ED" userId="e6377c33-a923-4f14-8587-531c474c7b48" providerId="ADAL" clId="{6ECD27E6-B224-41CD-B4E0-E297462320DD}" dt="2023-11-24T11:44:10.639" v="156368"/>
          <ac:spMkLst>
            <pc:docMk/>
            <pc:sldMk cId="4145871477" sldId="2147478567"/>
            <ac:spMk id="1012" creationId="{A1874878-00E6-A9EC-80DF-91AD37187A0E}"/>
          </ac:spMkLst>
        </pc:spChg>
        <pc:spChg chg="add del mod">
          <ac:chgData name="Steiner Andreas 6206 ED" userId="e6377c33-a923-4f14-8587-531c474c7b48" providerId="ADAL" clId="{6ECD27E6-B224-41CD-B4E0-E297462320DD}" dt="2023-11-24T11:44:12.654" v="156523"/>
          <ac:spMkLst>
            <pc:docMk/>
            <pc:sldMk cId="4145871477" sldId="2147478567"/>
            <ac:spMk id="1013" creationId="{8327E90D-78B8-799F-4B08-F93D6A11AC41}"/>
          </ac:spMkLst>
        </pc:spChg>
        <pc:spChg chg="add del mod">
          <ac:chgData name="Steiner Andreas 6206 ED" userId="e6377c33-a923-4f14-8587-531c474c7b48" providerId="ADAL" clId="{6ECD27E6-B224-41CD-B4E0-E297462320DD}" dt="2023-11-24T11:44:14.643" v="156678"/>
          <ac:spMkLst>
            <pc:docMk/>
            <pc:sldMk cId="4145871477" sldId="2147478567"/>
            <ac:spMk id="1014" creationId="{FE0A8483-ED0E-02AE-7F13-6869EF90AF60}"/>
          </ac:spMkLst>
        </pc:spChg>
        <pc:spChg chg="add del mod">
          <ac:chgData name="Steiner Andreas 6206 ED" userId="e6377c33-a923-4f14-8587-531c474c7b48" providerId="ADAL" clId="{6ECD27E6-B224-41CD-B4E0-E297462320DD}" dt="2023-11-24T11:44:16.639" v="156833"/>
          <ac:spMkLst>
            <pc:docMk/>
            <pc:sldMk cId="4145871477" sldId="2147478567"/>
            <ac:spMk id="1015" creationId="{2BEB5F32-2C1D-0BF9-024B-0923E69F627E}"/>
          </ac:spMkLst>
        </pc:spChg>
        <pc:spChg chg="add del mod">
          <ac:chgData name="Steiner Andreas 6206 ED" userId="e6377c33-a923-4f14-8587-531c474c7b48" providerId="ADAL" clId="{6ECD27E6-B224-41CD-B4E0-E297462320DD}" dt="2023-11-24T11:44:18.733" v="156988"/>
          <ac:spMkLst>
            <pc:docMk/>
            <pc:sldMk cId="4145871477" sldId="2147478567"/>
            <ac:spMk id="1016" creationId="{C111A247-46A6-8F0A-A4C7-1B946A92E298}"/>
          </ac:spMkLst>
        </pc:spChg>
        <pc:spChg chg="add del mod">
          <ac:chgData name="Steiner Andreas 6206 ED" userId="e6377c33-a923-4f14-8587-531c474c7b48" providerId="ADAL" clId="{6ECD27E6-B224-41CD-B4E0-E297462320DD}" dt="2023-11-24T11:44:20.846" v="157143"/>
          <ac:spMkLst>
            <pc:docMk/>
            <pc:sldMk cId="4145871477" sldId="2147478567"/>
            <ac:spMk id="1017" creationId="{76599CBC-9DF2-9DDD-C63F-9D63305C5C18}"/>
          </ac:spMkLst>
        </pc:spChg>
        <pc:spChg chg="add del mod">
          <ac:chgData name="Steiner Andreas 6206 ED" userId="e6377c33-a923-4f14-8587-531c474c7b48" providerId="ADAL" clId="{6ECD27E6-B224-41CD-B4E0-E297462320DD}" dt="2023-11-24T11:44:23.177" v="157298"/>
          <ac:spMkLst>
            <pc:docMk/>
            <pc:sldMk cId="4145871477" sldId="2147478567"/>
            <ac:spMk id="1018" creationId="{C8E04462-AE04-AAA1-E12A-E4D7381B8D18}"/>
          </ac:spMkLst>
        </pc:spChg>
        <pc:spChg chg="add del mod">
          <ac:chgData name="Steiner Andreas 6206 ED" userId="e6377c33-a923-4f14-8587-531c474c7b48" providerId="ADAL" clId="{6ECD27E6-B224-41CD-B4E0-E297462320DD}" dt="2023-11-24T11:44:25.325" v="157453"/>
          <ac:spMkLst>
            <pc:docMk/>
            <pc:sldMk cId="4145871477" sldId="2147478567"/>
            <ac:spMk id="1019" creationId="{A014BC94-86A3-12DA-0C0E-CFD44263CB03}"/>
          </ac:spMkLst>
        </pc:spChg>
        <pc:spChg chg="add del mod">
          <ac:chgData name="Steiner Andreas 6206 ED" userId="e6377c33-a923-4f14-8587-531c474c7b48" providerId="ADAL" clId="{6ECD27E6-B224-41CD-B4E0-E297462320DD}" dt="2023-11-24T11:44:30.737" v="157608"/>
          <ac:spMkLst>
            <pc:docMk/>
            <pc:sldMk cId="4145871477" sldId="2147478567"/>
            <ac:spMk id="1020" creationId="{15580EB7-3077-7101-AB8F-99BF5D339A8D}"/>
          </ac:spMkLst>
        </pc:spChg>
        <pc:spChg chg="add mod">
          <ac:chgData name="Steiner Andreas 6206 ED" userId="e6377c33-a923-4f14-8587-531c474c7b48" providerId="ADAL" clId="{6ECD27E6-B224-41CD-B4E0-E297462320DD}" dt="2023-11-24T11:44:30.737" v="157609"/>
          <ac:spMkLst>
            <pc:docMk/>
            <pc:sldMk cId="4145871477" sldId="2147478567"/>
            <ac:spMk id="1021" creationId="{C1E73499-295A-094A-904C-A662DF5752E8}"/>
          </ac:spMkLst>
        </pc:spChg>
      </pc:sldChg>
      <pc:sldChg chg="addSp delSp modSp mod">
        <pc:chgData name="Steiner Andreas 6206 ED" userId="e6377c33-a923-4f14-8587-531c474c7b48" providerId="ADAL" clId="{6ECD27E6-B224-41CD-B4E0-E297462320DD}" dt="2023-11-24T11:44:30.536" v="157548"/>
        <pc:sldMkLst>
          <pc:docMk/>
          <pc:sldMk cId="789548521" sldId="2147478568"/>
        </pc:sldMkLst>
        <pc:spChg chg="mod">
          <ac:chgData name="Steiner Andreas 6206 ED" userId="e6377c33-a923-4f14-8587-531c474c7b48" providerId="ADAL" clId="{6ECD27E6-B224-41CD-B4E0-E297462320DD}" dt="2023-11-24T11:44:30.533" v="157544" actId="20577"/>
          <ac:spMkLst>
            <pc:docMk/>
            <pc:sldMk cId="789548521" sldId="2147478568"/>
            <ac:spMk id="3" creationId="{94625422-E791-16A2-58EC-31B35811A76E}"/>
          </ac:spMkLst>
        </pc:spChg>
        <pc:spChg chg="del">
          <ac:chgData name="Steiner Andreas 6206 ED" userId="e6377c33-a923-4f14-8587-531c474c7b48" providerId="ADAL" clId="{6ECD27E6-B224-41CD-B4E0-E297462320DD}" dt="2023-11-23T19:49:53.436" v="39"/>
          <ac:spMkLst>
            <pc:docMk/>
            <pc:sldMk cId="789548521" sldId="2147478568"/>
            <ac:spMk id="5" creationId="{F2F3BD0F-2E61-692E-67EB-8189307D5BCD}"/>
          </ac:spMkLst>
        </pc:spChg>
        <pc:spChg chg="add del mod">
          <ac:chgData name="Steiner Andreas 6206 ED" userId="e6377c33-a923-4f14-8587-531c474c7b48" providerId="ADAL" clId="{6ECD27E6-B224-41CD-B4E0-E297462320DD}" dt="2023-11-23T19:49:53.438" v="42"/>
          <ac:spMkLst>
            <pc:docMk/>
            <pc:sldMk cId="789548521" sldId="2147478568"/>
            <ac:spMk id="7" creationId="{40C11927-F049-0572-EFBB-28CE8CBBD1C6}"/>
          </ac:spMkLst>
        </pc:spChg>
        <pc:spChg chg="add del mod">
          <ac:chgData name="Steiner Andreas 6206 ED" userId="e6377c33-a923-4f14-8587-531c474c7b48" providerId="ADAL" clId="{6ECD27E6-B224-41CD-B4E0-E297462320DD}" dt="2023-11-23T19:49:54.360" v="222"/>
          <ac:spMkLst>
            <pc:docMk/>
            <pc:sldMk cId="789548521" sldId="2147478568"/>
            <ac:spMk id="8" creationId="{17034757-5ECC-FD72-7C6B-E38BB1250D39}"/>
          </ac:spMkLst>
        </pc:spChg>
        <pc:spChg chg="add del mod">
          <ac:chgData name="Steiner Andreas 6206 ED" userId="e6377c33-a923-4f14-8587-531c474c7b48" providerId="ADAL" clId="{6ECD27E6-B224-41CD-B4E0-E297462320DD}" dt="2023-11-23T19:50:25.103" v="377"/>
          <ac:spMkLst>
            <pc:docMk/>
            <pc:sldMk cId="789548521" sldId="2147478568"/>
            <ac:spMk id="9" creationId="{530F33A9-61AC-AF4C-81A8-2BB4C24ABFFB}"/>
          </ac:spMkLst>
        </pc:spChg>
        <pc:spChg chg="add del mod">
          <ac:chgData name="Steiner Andreas 6206 ED" userId="e6377c33-a923-4f14-8587-531c474c7b48" providerId="ADAL" clId="{6ECD27E6-B224-41CD-B4E0-E297462320DD}" dt="2023-11-23T19:50:34.916" v="532"/>
          <ac:spMkLst>
            <pc:docMk/>
            <pc:sldMk cId="789548521" sldId="2147478568"/>
            <ac:spMk id="11" creationId="{C1FD8EDD-A275-E1B2-E578-6D15A0EC2CF6}"/>
          </ac:spMkLst>
        </pc:spChg>
        <pc:spChg chg="add del mod">
          <ac:chgData name="Steiner Andreas 6206 ED" userId="e6377c33-a923-4f14-8587-531c474c7b48" providerId="ADAL" clId="{6ECD27E6-B224-41CD-B4E0-E297462320DD}" dt="2023-11-23T19:50:46.584" v="687"/>
          <ac:spMkLst>
            <pc:docMk/>
            <pc:sldMk cId="789548521" sldId="2147478568"/>
            <ac:spMk id="14" creationId="{5D0DE1A8-D09B-85E6-DF69-64913BA5A559}"/>
          </ac:spMkLst>
        </pc:spChg>
        <pc:spChg chg="add del mod">
          <ac:chgData name="Steiner Andreas 6206 ED" userId="e6377c33-a923-4f14-8587-531c474c7b48" providerId="ADAL" clId="{6ECD27E6-B224-41CD-B4E0-E297462320DD}" dt="2023-11-23T19:50:58.289" v="842"/>
          <ac:spMkLst>
            <pc:docMk/>
            <pc:sldMk cId="789548521" sldId="2147478568"/>
            <ac:spMk id="15" creationId="{8EFA8479-24AF-1A24-9F1B-36D583E8774C}"/>
          </ac:spMkLst>
        </pc:spChg>
        <pc:spChg chg="add del mod">
          <ac:chgData name="Steiner Andreas 6206 ED" userId="e6377c33-a923-4f14-8587-531c474c7b48" providerId="ADAL" clId="{6ECD27E6-B224-41CD-B4E0-E297462320DD}" dt="2023-11-23T19:51:08.974" v="997"/>
          <ac:spMkLst>
            <pc:docMk/>
            <pc:sldMk cId="789548521" sldId="2147478568"/>
            <ac:spMk id="16" creationId="{6A51CDDD-BE2C-8ED8-4E58-EBC2E074630F}"/>
          </ac:spMkLst>
        </pc:spChg>
        <pc:spChg chg="add del mod">
          <ac:chgData name="Steiner Andreas 6206 ED" userId="e6377c33-a923-4f14-8587-531c474c7b48" providerId="ADAL" clId="{6ECD27E6-B224-41CD-B4E0-E297462320DD}" dt="2023-11-23T19:51:19.953" v="1152"/>
          <ac:spMkLst>
            <pc:docMk/>
            <pc:sldMk cId="789548521" sldId="2147478568"/>
            <ac:spMk id="17" creationId="{A8808045-F878-A588-6862-BD6E2AD27649}"/>
          </ac:spMkLst>
        </pc:spChg>
        <pc:spChg chg="add del mod">
          <ac:chgData name="Steiner Andreas 6206 ED" userId="e6377c33-a923-4f14-8587-531c474c7b48" providerId="ADAL" clId="{6ECD27E6-B224-41CD-B4E0-E297462320DD}" dt="2023-11-23T19:51:31.469" v="1307"/>
          <ac:spMkLst>
            <pc:docMk/>
            <pc:sldMk cId="789548521" sldId="2147478568"/>
            <ac:spMk id="18" creationId="{8D299F68-BCE9-DFEE-7780-7E4CF8325BD0}"/>
          </ac:spMkLst>
        </pc:spChg>
        <pc:spChg chg="add del mod">
          <ac:chgData name="Steiner Andreas 6206 ED" userId="e6377c33-a923-4f14-8587-531c474c7b48" providerId="ADAL" clId="{6ECD27E6-B224-41CD-B4E0-E297462320DD}" dt="2023-11-23T19:51:42.082" v="1462"/>
          <ac:spMkLst>
            <pc:docMk/>
            <pc:sldMk cId="789548521" sldId="2147478568"/>
            <ac:spMk id="19" creationId="{DB47659E-EAA5-C6F9-B1D1-672D33DAFE89}"/>
          </ac:spMkLst>
        </pc:spChg>
        <pc:spChg chg="add del mod">
          <ac:chgData name="Steiner Andreas 6206 ED" userId="e6377c33-a923-4f14-8587-531c474c7b48" providerId="ADAL" clId="{6ECD27E6-B224-41CD-B4E0-E297462320DD}" dt="2023-11-23T19:51:53.498" v="1617"/>
          <ac:spMkLst>
            <pc:docMk/>
            <pc:sldMk cId="789548521" sldId="2147478568"/>
            <ac:spMk id="20" creationId="{2933FB8C-671C-87FB-88C7-012900010FE1}"/>
          </ac:spMkLst>
        </pc:spChg>
        <pc:spChg chg="add del mod">
          <ac:chgData name="Steiner Andreas 6206 ED" userId="e6377c33-a923-4f14-8587-531c474c7b48" providerId="ADAL" clId="{6ECD27E6-B224-41CD-B4E0-E297462320DD}" dt="2023-11-23T19:52:05.084" v="1772"/>
          <ac:spMkLst>
            <pc:docMk/>
            <pc:sldMk cId="789548521" sldId="2147478568"/>
            <ac:spMk id="21" creationId="{F068E216-5DF0-5C9A-FCA5-AAE49C5549CB}"/>
          </ac:spMkLst>
        </pc:spChg>
        <pc:spChg chg="add del mod">
          <ac:chgData name="Steiner Andreas 6206 ED" userId="e6377c33-a923-4f14-8587-531c474c7b48" providerId="ADAL" clId="{6ECD27E6-B224-41CD-B4E0-E297462320DD}" dt="2023-11-23T19:52:16.775" v="1927"/>
          <ac:spMkLst>
            <pc:docMk/>
            <pc:sldMk cId="789548521" sldId="2147478568"/>
            <ac:spMk id="22" creationId="{B4A69722-232C-9164-021B-055DE711731B}"/>
          </ac:spMkLst>
        </pc:spChg>
        <pc:spChg chg="add del mod">
          <ac:chgData name="Steiner Andreas 6206 ED" userId="e6377c33-a923-4f14-8587-531c474c7b48" providerId="ADAL" clId="{6ECD27E6-B224-41CD-B4E0-E297462320DD}" dt="2023-11-23T19:52:28.477" v="2082"/>
          <ac:spMkLst>
            <pc:docMk/>
            <pc:sldMk cId="789548521" sldId="2147478568"/>
            <ac:spMk id="23" creationId="{7BAF34F0-E2EA-C1C4-4DF5-4C0A910E0A4F}"/>
          </ac:spMkLst>
        </pc:spChg>
        <pc:spChg chg="add del mod">
          <ac:chgData name="Steiner Andreas 6206 ED" userId="e6377c33-a923-4f14-8587-531c474c7b48" providerId="ADAL" clId="{6ECD27E6-B224-41CD-B4E0-E297462320DD}" dt="2023-11-23T19:52:40.159" v="2237"/>
          <ac:spMkLst>
            <pc:docMk/>
            <pc:sldMk cId="789548521" sldId="2147478568"/>
            <ac:spMk id="24" creationId="{AAF48791-8097-A06A-1BFB-2E5000FCDC88}"/>
          </ac:spMkLst>
        </pc:spChg>
        <pc:spChg chg="add del mod">
          <ac:chgData name="Steiner Andreas 6206 ED" userId="e6377c33-a923-4f14-8587-531c474c7b48" providerId="ADAL" clId="{6ECD27E6-B224-41CD-B4E0-E297462320DD}" dt="2023-11-23T19:52:51.610" v="2392"/>
          <ac:spMkLst>
            <pc:docMk/>
            <pc:sldMk cId="789548521" sldId="2147478568"/>
            <ac:spMk id="25" creationId="{BE86C211-CC4C-452D-7C19-3F48EB79B4E8}"/>
          </ac:spMkLst>
        </pc:spChg>
        <pc:spChg chg="add del mod">
          <ac:chgData name="Steiner Andreas 6206 ED" userId="e6377c33-a923-4f14-8587-531c474c7b48" providerId="ADAL" clId="{6ECD27E6-B224-41CD-B4E0-E297462320DD}" dt="2023-11-23T19:53:03.226" v="2547"/>
          <ac:spMkLst>
            <pc:docMk/>
            <pc:sldMk cId="789548521" sldId="2147478568"/>
            <ac:spMk id="26" creationId="{A7A6987A-B95D-8FDF-34D0-6C398EC0B5DD}"/>
          </ac:spMkLst>
        </pc:spChg>
        <pc:spChg chg="add del mod">
          <ac:chgData name="Steiner Andreas 6206 ED" userId="e6377c33-a923-4f14-8587-531c474c7b48" providerId="ADAL" clId="{6ECD27E6-B224-41CD-B4E0-E297462320DD}" dt="2023-11-23T19:53:14.972" v="2702"/>
          <ac:spMkLst>
            <pc:docMk/>
            <pc:sldMk cId="789548521" sldId="2147478568"/>
            <ac:spMk id="27" creationId="{37A45A33-F3CC-E4DD-A0D6-01A902FC2E00}"/>
          </ac:spMkLst>
        </pc:spChg>
        <pc:spChg chg="add del mod">
          <ac:chgData name="Steiner Andreas 6206 ED" userId="e6377c33-a923-4f14-8587-531c474c7b48" providerId="ADAL" clId="{6ECD27E6-B224-41CD-B4E0-E297462320DD}" dt="2023-11-23T19:53:26.651" v="2857"/>
          <ac:spMkLst>
            <pc:docMk/>
            <pc:sldMk cId="789548521" sldId="2147478568"/>
            <ac:spMk id="28" creationId="{8573CE15-0D8B-5404-C273-9B5B9F226C45}"/>
          </ac:spMkLst>
        </pc:spChg>
        <pc:spChg chg="add del mod">
          <ac:chgData name="Steiner Andreas 6206 ED" userId="e6377c33-a923-4f14-8587-531c474c7b48" providerId="ADAL" clId="{6ECD27E6-B224-41CD-B4E0-E297462320DD}" dt="2023-11-23T19:53:38.294" v="3012"/>
          <ac:spMkLst>
            <pc:docMk/>
            <pc:sldMk cId="789548521" sldId="2147478568"/>
            <ac:spMk id="29" creationId="{B0ED90FE-FE25-C57B-1DBB-3F7A0ECFFF2D}"/>
          </ac:spMkLst>
        </pc:spChg>
        <pc:spChg chg="add del mod">
          <ac:chgData name="Steiner Andreas 6206 ED" userId="e6377c33-a923-4f14-8587-531c474c7b48" providerId="ADAL" clId="{6ECD27E6-B224-41CD-B4E0-E297462320DD}" dt="2023-11-23T19:53:49.967" v="3167"/>
          <ac:spMkLst>
            <pc:docMk/>
            <pc:sldMk cId="789548521" sldId="2147478568"/>
            <ac:spMk id="30" creationId="{58FFD6CF-D0A9-7E6F-A85C-673453DED14F}"/>
          </ac:spMkLst>
        </pc:spChg>
        <pc:spChg chg="add del mod">
          <ac:chgData name="Steiner Andreas 6206 ED" userId="e6377c33-a923-4f14-8587-531c474c7b48" providerId="ADAL" clId="{6ECD27E6-B224-41CD-B4E0-E297462320DD}" dt="2023-11-23T19:54:01.647" v="3322"/>
          <ac:spMkLst>
            <pc:docMk/>
            <pc:sldMk cId="789548521" sldId="2147478568"/>
            <ac:spMk id="31" creationId="{C0810ED3-8403-6FA8-4D31-AE987ADD242E}"/>
          </ac:spMkLst>
        </pc:spChg>
        <pc:spChg chg="add del mod">
          <ac:chgData name="Steiner Andreas 6206 ED" userId="e6377c33-a923-4f14-8587-531c474c7b48" providerId="ADAL" clId="{6ECD27E6-B224-41CD-B4E0-E297462320DD}" dt="2023-11-23T19:54:13.331" v="3477"/>
          <ac:spMkLst>
            <pc:docMk/>
            <pc:sldMk cId="789548521" sldId="2147478568"/>
            <ac:spMk id="32" creationId="{09E40F24-F760-F6C3-1F38-B3A09D683A26}"/>
          </ac:spMkLst>
        </pc:spChg>
        <pc:spChg chg="add del mod">
          <ac:chgData name="Steiner Andreas 6206 ED" userId="e6377c33-a923-4f14-8587-531c474c7b48" providerId="ADAL" clId="{6ECD27E6-B224-41CD-B4E0-E297462320DD}" dt="2023-11-23T19:54:24.993" v="3632"/>
          <ac:spMkLst>
            <pc:docMk/>
            <pc:sldMk cId="789548521" sldId="2147478568"/>
            <ac:spMk id="33" creationId="{FAB995E2-3D8E-2410-75B3-D4D00F2FED55}"/>
          </ac:spMkLst>
        </pc:spChg>
        <pc:spChg chg="add del mod">
          <ac:chgData name="Steiner Andreas 6206 ED" userId="e6377c33-a923-4f14-8587-531c474c7b48" providerId="ADAL" clId="{6ECD27E6-B224-41CD-B4E0-E297462320DD}" dt="2023-11-23T19:54:36.703" v="3787"/>
          <ac:spMkLst>
            <pc:docMk/>
            <pc:sldMk cId="789548521" sldId="2147478568"/>
            <ac:spMk id="34" creationId="{BA83F239-6160-27D9-7EB9-2A09D27167D5}"/>
          </ac:spMkLst>
        </pc:spChg>
        <pc:spChg chg="add del mod">
          <ac:chgData name="Steiner Andreas 6206 ED" userId="e6377c33-a923-4f14-8587-531c474c7b48" providerId="ADAL" clId="{6ECD27E6-B224-41CD-B4E0-E297462320DD}" dt="2023-11-23T19:54:48.096" v="3942"/>
          <ac:spMkLst>
            <pc:docMk/>
            <pc:sldMk cId="789548521" sldId="2147478568"/>
            <ac:spMk id="35" creationId="{D9AB2C25-9F88-3F76-0ADA-8E557EF8800E}"/>
          </ac:spMkLst>
        </pc:spChg>
        <pc:spChg chg="add del mod">
          <ac:chgData name="Steiner Andreas 6206 ED" userId="e6377c33-a923-4f14-8587-531c474c7b48" providerId="ADAL" clId="{6ECD27E6-B224-41CD-B4E0-E297462320DD}" dt="2023-11-23T19:54:59.679" v="4097"/>
          <ac:spMkLst>
            <pc:docMk/>
            <pc:sldMk cId="789548521" sldId="2147478568"/>
            <ac:spMk id="36" creationId="{0634EB77-5F25-9FF6-D4C6-54B59FE59F1E}"/>
          </ac:spMkLst>
        </pc:spChg>
        <pc:spChg chg="add del mod">
          <ac:chgData name="Steiner Andreas 6206 ED" userId="e6377c33-a923-4f14-8587-531c474c7b48" providerId="ADAL" clId="{6ECD27E6-B224-41CD-B4E0-E297462320DD}" dt="2023-11-23T19:55:11.420" v="4252"/>
          <ac:spMkLst>
            <pc:docMk/>
            <pc:sldMk cId="789548521" sldId="2147478568"/>
            <ac:spMk id="37" creationId="{5B0D87D0-1826-BF82-8B65-44936F1DE8AE}"/>
          </ac:spMkLst>
        </pc:spChg>
        <pc:spChg chg="add del mod">
          <ac:chgData name="Steiner Andreas 6206 ED" userId="e6377c33-a923-4f14-8587-531c474c7b48" providerId="ADAL" clId="{6ECD27E6-B224-41CD-B4E0-E297462320DD}" dt="2023-11-23T19:55:23.100" v="4407"/>
          <ac:spMkLst>
            <pc:docMk/>
            <pc:sldMk cId="789548521" sldId="2147478568"/>
            <ac:spMk id="38" creationId="{7B824751-A950-CE3B-F269-57606D4FD0F4}"/>
          </ac:spMkLst>
        </pc:spChg>
        <pc:spChg chg="add del mod">
          <ac:chgData name="Steiner Andreas 6206 ED" userId="e6377c33-a923-4f14-8587-531c474c7b48" providerId="ADAL" clId="{6ECD27E6-B224-41CD-B4E0-E297462320DD}" dt="2023-11-23T19:55:34.737" v="4562"/>
          <ac:spMkLst>
            <pc:docMk/>
            <pc:sldMk cId="789548521" sldId="2147478568"/>
            <ac:spMk id="39" creationId="{A3238DD4-F3CD-1242-FC9B-4C0F163433D1}"/>
          </ac:spMkLst>
        </pc:spChg>
        <pc:spChg chg="add del mod">
          <ac:chgData name="Steiner Andreas 6206 ED" userId="e6377c33-a923-4f14-8587-531c474c7b48" providerId="ADAL" clId="{6ECD27E6-B224-41CD-B4E0-E297462320DD}" dt="2023-11-23T19:55:46.135" v="4717"/>
          <ac:spMkLst>
            <pc:docMk/>
            <pc:sldMk cId="789548521" sldId="2147478568"/>
            <ac:spMk id="40" creationId="{30E6C142-F6DD-4C3D-BAAD-2E5A27550190}"/>
          </ac:spMkLst>
        </pc:spChg>
        <pc:spChg chg="add del mod">
          <ac:chgData name="Steiner Andreas 6206 ED" userId="e6377c33-a923-4f14-8587-531c474c7b48" providerId="ADAL" clId="{6ECD27E6-B224-41CD-B4E0-E297462320DD}" dt="2023-11-23T19:55:57.737" v="4872"/>
          <ac:spMkLst>
            <pc:docMk/>
            <pc:sldMk cId="789548521" sldId="2147478568"/>
            <ac:spMk id="41" creationId="{72E5C836-0071-8790-C24E-F121160D1B62}"/>
          </ac:spMkLst>
        </pc:spChg>
        <pc:spChg chg="add del mod">
          <ac:chgData name="Steiner Andreas 6206 ED" userId="e6377c33-a923-4f14-8587-531c474c7b48" providerId="ADAL" clId="{6ECD27E6-B224-41CD-B4E0-E297462320DD}" dt="2023-11-23T19:56:09.410" v="5027"/>
          <ac:spMkLst>
            <pc:docMk/>
            <pc:sldMk cId="789548521" sldId="2147478568"/>
            <ac:spMk id="42" creationId="{F801AA2C-00F7-6791-D265-B914CCFBC5A9}"/>
          </ac:spMkLst>
        </pc:spChg>
        <pc:spChg chg="add del mod">
          <ac:chgData name="Steiner Andreas 6206 ED" userId="e6377c33-a923-4f14-8587-531c474c7b48" providerId="ADAL" clId="{6ECD27E6-B224-41CD-B4E0-E297462320DD}" dt="2023-11-23T19:56:21.109" v="5182"/>
          <ac:spMkLst>
            <pc:docMk/>
            <pc:sldMk cId="789548521" sldId="2147478568"/>
            <ac:spMk id="43" creationId="{1A0DEF17-81FE-FF49-F2ED-FA1C34AF6295}"/>
          </ac:spMkLst>
        </pc:spChg>
        <pc:spChg chg="add del mod">
          <ac:chgData name="Steiner Andreas 6206 ED" userId="e6377c33-a923-4f14-8587-531c474c7b48" providerId="ADAL" clId="{6ECD27E6-B224-41CD-B4E0-E297462320DD}" dt="2023-11-23T19:56:32.798" v="5337"/>
          <ac:spMkLst>
            <pc:docMk/>
            <pc:sldMk cId="789548521" sldId="2147478568"/>
            <ac:spMk id="44" creationId="{34E70B3A-5CF1-344D-5056-239096595F23}"/>
          </ac:spMkLst>
        </pc:spChg>
        <pc:spChg chg="add del mod">
          <ac:chgData name="Steiner Andreas 6206 ED" userId="e6377c33-a923-4f14-8587-531c474c7b48" providerId="ADAL" clId="{6ECD27E6-B224-41CD-B4E0-E297462320DD}" dt="2023-11-23T19:56:44.215" v="5492"/>
          <ac:spMkLst>
            <pc:docMk/>
            <pc:sldMk cId="789548521" sldId="2147478568"/>
            <ac:spMk id="45" creationId="{9D045C35-2419-07DE-A571-0A9C140CEFCB}"/>
          </ac:spMkLst>
        </pc:spChg>
        <pc:spChg chg="add del mod">
          <ac:chgData name="Steiner Andreas 6206 ED" userId="e6377c33-a923-4f14-8587-531c474c7b48" providerId="ADAL" clId="{6ECD27E6-B224-41CD-B4E0-E297462320DD}" dt="2023-11-23T19:56:54.526" v="5647"/>
          <ac:spMkLst>
            <pc:docMk/>
            <pc:sldMk cId="789548521" sldId="2147478568"/>
            <ac:spMk id="46" creationId="{5EEE8DC9-2970-68EE-0CE5-429F45BC680C}"/>
          </ac:spMkLst>
        </pc:spChg>
        <pc:spChg chg="add del mod">
          <ac:chgData name="Steiner Andreas 6206 ED" userId="e6377c33-a923-4f14-8587-531c474c7b48" providerId="ADAL" clId="{6ECD27E6-B224-41CD-B4E0-E297462320DD}" dt="2023-11-23T19:57:05.996" v="5802"/>
          <ac:spMkLst>
            <pc:docMk/>
            <pc:sldMk cId="789548521" sldId="2147478568"/>
            <ac:spMk id="47" creationId="{820DED12-1033-1F82-CB03-F201C0877B27}"/>
          </ac:spMkLst>
        </pc:spChg>
        <pc:spChg chg="add del mod">
          <ac:chgData name="Steiner Andreas 6206 ED" userId="e6377c33-a923-4f14-8587-531c474c7b48" providerId="ADAL" clId="{6ECD27E6-B224-41CD-B4E0-E297462320DD}" dt="2023-11-23T19:57:17.645" v="5957"/>
          <ac:spMkLst>
            <pc:docMk/>
            <pc:sldMk cId="789548521" sldId="2147478568"/>
            <ac:spMk id="48" creationId="{46CEBC6A-025C-E905-0FCA-7337B041698F}"/>
          </ac:spMkLst>
        </pc:spChg>
        <pc:spChg chg="add del mod">
          <ac:chgData name="Steiner Andreas 6206 ED" userId="e6377c33-a923-4f14-8587-531c474c7b48" providerId="ADAL" clId="{6ECD27E6-B224-41CD-B4E0-E297462320DD}" dt="2023-11-23T19:57:29.179" v="6112"/>
          <ac:spMkLst>
            <pc:docMk/>
            <pc:sldMk cId="789548521" sldId="2147478568"/>
            <ac:spMk id="49" creationId="{53482311-E5E7-79C9-8FC8-058943C74AC8}"/>
          </ac:spMkLst>
        </pc:spChg>
        <pc:spChg chg="add del mod">
          <ac:chgData name="Steiner Andreas 6206 ED" userId="e6377c33-a923-4f14-8587-531c474c7b48" providerId="ADAL" clId="{6ECD27E6-B224-41CD-B4E0-E297462320DD}" dt="2023-11-23T19:57:40.763" v="6267"/>
          <ac:spMkLst>
            <pc:docMk/>
            <pc:sldMk cId="789548521" sldId="2147478568"/>
            <ac:spMk id="50" creationId="{391ECC79-4B48-EF01-4EF9-04007EB005C0}"/>
          </ac:spMkLst>
        </pc:spChg>
        <pc:spChg chg="add del mod">
          <ac:chgData name="Steiner Andreas 6206 ED" userId="e6377c33-a923-4f14-8587-531c474c7b48" providerId="ADAL" clId="{6ECD27E6-B224-41CD-B4E0-E297462320DD}" dt="2023-11-23T19:57:52.436" v="6422"/>
          <ac:spMkLst>
            <pc:docMk/>
            <pc:sldMk cId="789548521" sldId="2147478568"/>
            <ac:spMk id="51" creationId="{7449F84A-70CE-7D5E-62C9-F440D9614BD9}"/>
          </ac:spMkLst>
        </pc:spChg>
        <pc:spChg chg="add del mod">
          <ac:chgData name="Steiner Andreas 6206 ED" userId="e6377c33-a923-4f14-8587-531c474c7b48" providerId="ADAL" clId="{6ECD27E6-B224-41CD-B4E0-E297462320DD}" dt="2023-11-23T19:58:04.120" v="6577"/>
          <ac:spMkLst>
            <pc:docMk/>
            <pc:sldMk cId="789548521" sldId="2147478568"/>
            <ac:spMk id="52" creationId="{E55DEE91-C92C-CBE0-7785-1FD04C7B42FE}"/>
          </ac:spMkLst>
        </pc:spChg>
        <pc:spChg chg="add del mod">
          <ac:chgData name="Steiner Andreas 6206 ED" userId="e6377c33-a923-4f14-8587-531c474c7b48" providerId="ADAL" clId="{6ECD27E6-B224-41CD-B4E0-E297462320DD}" dt="2023-11-23T19:58:15.563" v="6732"/>
          <ac:spMkLst>
            <pc:docMk/>
            <pc:sldMk cId="789548521" sldId="2147478568"/>
            <ac:spMk id="53" creationId="{F14C5C3B-98E2-8D15-E083-32C500CA14CE}"/>
          </ac:spMkLst>
        </pc:spChg>
        <pc:spChg chg="add del mod">
          <ac:chgData name="Steiner Andreas 6206 ED" userId="e6377c33-a923-4f14-8587-531c474c7b48" providerId="ADAL" clId="{6ECD27E6-B224-41CD-B4E0-E297462320DD}" dt="2023-11-23T19:58:27.655" v="6887"/>
          <ac:spMkLst>
            <pc:docMk/>
            <pc:sldMk cId="789548521" sldId="2147478568"/>
            <ac:spMk id="54" creationId="{450BBDCA-56B9-82E9-DA8C-83EBDF9780C1}"/>
          </ac:spMkLst>
        </pc:spChg>
        <pc:spChg chg="add del mod">
          <ac:chgData name="Steiner Andreas 6206 ED" userId="e6377c33-a923-4f14-8587-531c474c7b48" providerId="ADAL" clId="{6ECD27E6-B224-41CD-B4E0-E297462320DD}" dt="2023-11-23T19:58:39.388" v="7042"/>
          <ac:spMkLst>
            <pc:docMk/>
            <pc:sldMk cId="789548521" sldId="2147478568"/>
            <ac:spMk id="55" creationId="{ABBADECE-388F-A2B1-9875-C0F837345268}"/>
          </ac:spMkLst>
        </pc:spChg>
        <pc:spChg chg="add del mod">
          <ac:chgData name="Steiner Andreas 6206 ED" userId="e6377c33-a923-4f14-8587-531c474c7b48" providerId="ADAL" clId="{6ECD27E6-B224-41CD-B4E0-E297462320DD}" dt="2023-11-23T19:58:51.084" v="7197"/>
          <ac:spMkLst>
            <pc:docMk/>
            <pc:sldMk cId="789548521" sldId="2147478568"/>
            <ac:spMk id="56" creationId="{B3FBB676-7DCB-E52B-7C00-12E139BF7DF5}"/>
          </ac:spMkLst>
        </pc:spChg>
        <pc:spChg chg="add del mod">
          <ac:chgData name="Steiner Andreas 6206 ED" userId="e6377c33-a923-4f14-8587-531c474c7b48" providerId="ADAL" clId="{6ECD27E6-B224-41CD-B4E0-E297462320DD}" dt="2023-11-23T19:59:02.513" v="7352"/>
          <ac:spMkLst>
            <pc:docMk/>
            <pc:sldMk cId="789548521" sldId="2147478568"/>
            <ac:spMk id="57" creationId="{976A2BEC-A5CC-FBE2-C0EA-4272D12CFF59}"/>
          </ac:spMkLst>
        </pc:spChg>
        <pc:spChg chg="add del mod">
          <ac:chgData name="Steiner Andreas 6206 ED" userId="e6377c33-a923-4f14-8587-531c474c7b48" providerId="ADAL" clId="{6ECD27E6-B224-41CD-B4E0-E297462320DD}" dt="2023-11-24T08:31:41.249" v="7507"/>
          <ac:spMkLst>
            <pc:docMk/>
            <pc:sldMk cId="789548521" sldId="2147478568"/>
            <ac:spMk id="58" creationId="{6CA85F76-FB7E-45CC-41D6-8D0B575861C1}"/>
          </ac:spMkLst>
        </pc:spChg>
        <pc:spChg chg="add del mod">
          <ac:chgData name="Steiner Andreas 6206 ED" userId="e6377c33-a923-4f14-8587-531c474c7b48" providerId="ADAL" clId="{6ECD27E6-B224-41CD-B4E0-E297462320DD}" dt="2023-11-24T08:31:45.067" v="7662"/>
          <ac:spMkLst>
            <pc:docMk/>
            <pc:sldMk cId="789548521" sldId="2147478568"/>
            <ac:spMk id="59" creationId="{A7411A3D-8609-EE5D-B52D-5DA9C84DF986}"/>
          </ac:spMkLst>
        </pc:spChg>
        <pc:spChg chg="add del mod">
          <ac:chgData name="Steiner Andreas 6206 ED" userId="e6377c33-a923-4f14-8587-531c474c7b48" providerId="ADAL" clId="{6ECD27E6-B224-41CD-B4E0-E297462320DD}" dt="2023-11-24T08:31:46.904" v="7817"/>
          <ac:spMkLst>
            <pc:docMk/>
            <pc:sldMk cId="789548521" sldId="2147478568"/>
            <ac:spMk id="60" creationId="{8BA5CCDB-0A3E-3134-3864-0AC2BB2FC3A5}"/>
          </ac:spMkLst>
        </pc:spChg>
        <pc:spChg chg="add del mod">
          <ac:chgData name="Steiner Andreas 6206 ED" userId="e6377c33-a923-4f14-8587-531c474c7b48" providerId="ADAL" clId="{6ECD27E6-B224-41CD-B4E0-E297462320DD}" dt="2023-11-24T08:31:48.738" v="7972"/>
          <ac:spMkLst>
            <pc:docMk/>
            <pc:sldMk cId="789548521" sldId="2147478568"/>
            <ac:spMk id="61" creationId="{5EB6F346-0CA3-053E-D9AB-103FD734B169}"/>
          </ac:spMkLst>
        </pc:spChg>
        <pc:spChg chg="add del mod">
          <ac:chgData name="Steiner Andreas 6206 ED" userId="e6377c33-a923-4f14-8587-531c474c7b48" providerId="ADAL" clId="{6ECD27E6-B224-41CD-B4E0-E297462320DD}" dt="2023-11-24T08:31:50.627" v="8127"/>
          <ac:spMkLst>
            <pc:docMk/>
            <pc:sldMk cId="789548521" sldId="2147478568"/>
            <ac:spMk id="62" creationId="{BB2E74F7-E462-C26C-5264-BF6B0FDD9642}"/>
          </ac:spMkLst>
        </pc:spChg>
        <pc:spChg chg="add del mod">
          <ac:chgData name="Steiner Andreas 6206 ED" userId="e6377c33-a923-4f14-8587-531c474c7b48" providerId="ADAL" clId="{6ECD27E6-B224-41CD-B4E0-E297462320DD}" dt="2023-11-24T08:31:52.415" v="8282"/>
          <ac:spMkLst>
            <pc:docMk/>
            <pc:sldMk cId="789548521" sldId="2147478568"/>
            <ac:spMk id="63" creationId="{AC14BF49-49CC-3CDC-0209-8FE3F4497496}"/>
          </ac:spMkLst>
        </pc:spChg>
        <pc:spChg chg="add del mod">
          <ac:chgData name="Steiner Andreas 6206 ED" userId="e6377c33-a923-4f14-8587-531c474c7b48" providerId="ADAL" clId="{6ECD27E6-B224-41CD-B4E0-E297462320DD}" dt="2023-11-24T08:31:54.243" v="8437"/>
          <ac:spMkLst>
            <pc:docMk/>
            <pc:sldMk cId="789548521" sldId="2147478568"/>
            <ac:spMk id="64" creationId="{E11A37BF-7273-1027-1A44-5DA0304D540B}"/>
          </ac:spMkLst>
        </pc:spChg>
        <pc:spChg chg="add del mod">
          <ac:chgData name="Steiner Andreas 6206 ED" userId="e6377c33-a923-4f14-8587-531c474c7b48" providerId="ADAL" clId="{6ECD27E6-B224-41CD-B4E0-E297462320DD}" dt="2023-11-24T08:31:56.077" v="8592"/>
          <ac:spMkLst>
            <pc:docMk/>
            <pc:sldMk cId="789548521" sldId="2147478568"/>
            <ac:spMk id="65" creationId="{2E68F144-EB00-9126-423D-4B3DAFEFD633}"/>
          </ac:spMkLst>
        </pc:spChg>
        <pc:spChg chg="add del mod">
          <ac:chgData name="Steiner Andreas 6206 ED" userId="e6377c33-a923-4f14-8587-531c474c7b48" providerId="ADAL" clId="{6ECD27E6-B224-41CD-B4E0-E297462320DD}" dt="2023-11-24T08:31:57.930" v="8747"/>
          <ac:spMkLst>
            <pc:docMk/>
            <pc:sldMk cId="789548521" sldId="2147478568"/>
            <ac:spMk id="66" creationId="{4EE555BC-6CCC-6D4C-C9D9-685693BBEA7C}"/>
          </ac:spMkLst>
        </pc:spChg>
        <pc:spChg chg="add del mod">
          <ac:chgData name="Steiner Andreas 6206 ED" userId="e6377c33-a923-4f14-8587-531c474c7b48" providerId="ADAL" clId="{6ECD27E6-B224-41CD-B4E0-E297462320DD}" dt="2023-11-24T08:32:00.566" v="8902"/>
          <ac:spMkLst>
            <pc:docMk/>
            <pc:sldMk cId="789548521" sldId="2147478568"/>
            <ac:spMk id="67" creationId="{4F355C93-F877-FA55-B57F-B7150E623E85}"/>
          </ac:spMkLst>
        </pc:spChg>
        <pc:spChg chg="add del mod">
          <ac:chgData name="Steiner Andreas 6206 ED" userId="e6377c33-a923-4f14-8587-531c474c7b48" providerId="ADAL" clId="{6ECD27E6-B224-41CD-B4E0-E297462320DD}" dt="2023-11-24T08:32:02.915" v="9057"/>
          <ac:spMkLst>
            <pc:docMk/>
            <pc:sldMk cId="789548521" sldId="2147478568"/>
            <ac:spMk id="68" creationId="{A47E5E43-FCF7-ACD4-9422-B1910C5FC6D6}"/>
          </ac:spMkLst>
        </pc:spChg>
        <pc:spChg chg="add del mod">
          <ac:chgData name="Steiner Andreas 6206 ED" userId="e6377c33-a923-4f14-8587-531c474c7b48" providerId="ADAL" clId="{6ECD27E6-B224-41CD-B4E0-E297462320DD}" dt="2023-11-24T08:32:05.017" v="9212"/>
          <ac:spMkLst>
            <pc:docMk/>
            <pc:sldMk cId="789548521" sldId="2147478568"/>
            <ac:spMk id="69" creationId="{36B5D618-1139-0850-19E4-266BA3ACB740}"/>
          </ac:spMkLst>
        </pc:spChg>
        <pc:spChg chg="add del mod">
          <ac:chgData name="Steiner Andreas 6206 ED" userId="e6377c33-a923-4f14-8587-531c474c7b48" providerId="ADAL" clId="{6ECD27E6-B224-41CD-B4E0-E297462320DD}" dt="2023-11-24T08:32:06.936" v="9367"/>
          <ac:spMkLst>
            <pc:docMk/>
            <pc:sldMk cId="789548521" sldId="2147478568"/>
            <ac:spMk id="70" creationId="{ECD0457E-BD8B-04EF-84EE-386BE6B08C6C}"/>
          </ac:spMkLst>
        </pc:spChg>
        <pc:spChg chg="add del mod">
          <ac:chgData name="Steiner Andreas 6206 ED" userId="e6377c33-a923-4f14-8587-531c474c7b48" providerId="ADAL" clId="{6ECD27E6-B224-41CD-B4E0-E297462320DD}" dt="2023-11-24T08:32:09.252" v="9522"/>
          <ac:spMkLst>
            <pc:docMk/>
            <pc:sldMk cId="789548521" sldId="2147478568"/>
            <ac:spMk id="71" creationId="{F1FE3A73-99E5-1CA3-7D8C-BDAECDD5443A}"/>
          </ac:spMkLst>
        </pc:spChg>
        <pc:spChg chg="add del mod">
          <ac:chgData name="Steiner Andreas 6206 ED" userId="e6377c33-a923-4f14-8587-531c474c7b48" providerId="ADAL" clId="{6ECD27E6-B224-41CD-B4E0-E297462320DD}" dt="2023-11-24T08:32:11.525" v="9677"/>
          <ac:spMkLst>
            <pc:docMk/>
            <pc:sldMk cId="789548521" sldId="2147478568"/>
            <ac:spMk id="72" creationId="{0F7CFBC1-8648-D997-15F7-88516AAEB335}"/>
          </ac:spMkLst>
        </pc:spChg>
        <pc:spChg chg="add del mod">
          <ac:chgData name="Steiner Andreas 6206 ED" userId="e6377c33-a923-4f14-8587-531c474c7b48" providerId="ADAL" clId="{6ECD27E6-B224-41CD-B4E0-E297462320DD}" dt="2023-11-24T08:32:13.760" v="9832"/>
          <ac:spMkLst>
            <pc:docMk/>
            <pc:sldMk cId="789548521" sldId="2147478568"/>
            <ac:spMk id="73" creationId="{099255BC-6540-DB01-B476-BA1063734FD3}"/>
          </ac:spMkLst>
        </pc:spChg>
        <pc:spChg chg="add del mod">
          <ac:chgData name="Steiner Andreas 6206 ED" userId="e6377c33-a923-4f14-8587-531c474c7b48" providerId="ADAL" clId="{6ECD27E6-B224-41CD-B4E0-E297462320DD}" dt="2023-11-24T08:32:15.648" v="9987"/>
          <ac:spMkLst>
            <pc:docMk/>
            <pc:sldMk cId="789548521" sldId="2147478568"/>
            <ac:spMk id="74" creationId="{AF2DCF89-C34A-467C-21EC-E4CEF58C6DCC}"/>
          </ac:spMkLst>
        </pc:spChg>
        <pc:spChg chg="add del mod">
          <ac:chgData name="Steiner Andreas 6206 ED" userId="e6377c33-a923-4f14-8587-531c474c7b48" providerId="ADAL" clId="{6ECD27E6-B224-41CD-B4E0-E297462320DD}" dt="2023-11-24T08:32:17.704" v="10142"/>
          <ac:spMkLst>
            <pc:docMk/>
            <pc:sldMk cId="789548521" sldId="2147478568"/>
            <ac:spMk id="75" creationId="{93C421E8-69D9-3975-E211-9DCD7ABF735B}"/>
          </ac:spMkLst>
        </pc:spChg>
        <pc:spChg chg="add del mod">
          <ac:chgData name="Steiner Andreas 6206 ED" userId="e6377c33-a923-4f14-8587-531c474c7b48" providerId="ADAL" clId="{6ECD27E6-B224-41CD-B4E0-E297462320DD}" dt="2023-11-24T08:32:19.655" v="10297"/>
          <ac:spMkLst>
            <pc:docMk/>
            <pc:sldMk cId="789548521" sldId="2147478568"/>
            <ac:spMk id="76" creationId="{C80AF76E-3AAF-A791-4536-253AC5F27201}"/>
          </ac:spMkLst>
        </pc:spChg>
        <pc:spChg chg="add del mod">
          <ac:chgData name="Steiner Andreas 6206 ED" userId="e6377c33-a923-4f14-8587-531c474c7b48" providerId="ADAL" clId="{6ECD27E6-B224-41CD-B4E0-E297462320DD}" dt="2023-11-24T08:32:21.612" v="10452"/>
          <ac:spMkLst>
            <pc:docMk/>
            <pc:sldMk cId="789548521" sldId="2147478568"/>
            <ac:spMk id="77" creationId="{593760CB-179B-25E0-F594-63B1921221FD}"/>
          </ac:spMkLst>
        </pc:spChg>
        <pc:spChg chg="add del mod">
          <ac:chgData name="Steiner Andreas 6206 ED" userId="e6377c33-a923-4f14-8587-531c474c7b48" providerId="ADAL" clId="{6ECD27E6-B224-41CD-B4E0-E297462320DD}" dt="2023-11-24T08:32:23.731" v="10607"/>
          <ac:spMkLst>
            <pc:docMk/>
            <pc:sldMk cId="789548521" sldId="2147478568"/>
            <ac:spMk id="78" creationId="{EF7F1A1D-8D72-BD72-C77F-70FAD3B351C2}"/>
          </ac:spMkLst>
        </pc:spChg>
        <pc:spChg chg="add del mod">
          <ac:chgData name="Steiner Andreas 6206 ED" userId="e6377c33-a923-4f14-8587-531c474c7b48" providerId="ADAL" clId="{6ECD27E6-B224-41CD-B4E0-E297462320DD}" dt="2023-11-24T08:32:25.748" v="10762"/>
          <ac:spMkLst>
            <pc:docMk/>
            <pc:sldMk cId="789548521" sldId="2147478568"/>
            <ac:spMk id="79" creationId="{B3498B87-E54A-55DA-1E3B-C978A6F63F4E}"/>
          </ac:spMkLst>
        </pc:spChg>
        <pc:spChg chg="add del mod">
          <ac:chgData name="Steiner Andreas 6206 ED" userId="e6377c33-a923-4f14-8587-531c474c7b48" providerId="ADAL" clId="{6ECD27E6-B224-41CD-B4E0-E297462320DD}" dt="2023-11-24T08:32:27.723" v="10917"/>
          <ac:spMkLst>
            <pc:docMk/>
            <pc:sldMk cId="789548521" sldId="2147478568"/>
            <ac:spMk id="80" creationId="{BE98F3BE-97DC-139A-F619-A164885FE8B9}"/>
          </ac:spMkLst>
        </pc:spChg>
        <pc:spChg chg="add del mod">
          <ac:chgData name="Steiner Andreas 6206 ED" userId="e6377c33-a923-4f14-8587-531c474c7b48" providerId="ADAL" clId="{6ECD27E6-B224-41CD-B4E0-E297462320DD}" dt="2023-11-24T08:32:29.662" v="11072"/>
          <ac:spMkLst>
            <pc:docMk/>
            <pc:sldMk cId="789548521" sldId="2147478568"/>
            <ac:spMk id="81" creationId="{190D0B24-8624-5A12-8AC7-3EDE014DADC3}"/>
          </ac:spMkLst>
        </pc:spChg>
        <pc:spChg chg="add del mod">
          <ac:chgData name="Steiner Andreas 6206 ED" userId="e6377c33-a923-4f14-8587-531c474c7b48" providerId="ADAL" clId="{6ECD27E6-B224-41CD-B4E0-E297462320DD}" dt="2023-11-24T08:32:31.654" v="11227"/>
          <ac:spMkLst>
            <pc:docMk/>
            <pc:sldMk cId="789548521" sldId="2147478568"/>
            <ac:spMk id="82" creationId="{B426E3F5-AB59-CF89-FA52-FD7AC63992F5}"/>
          </ac:spMkLst>
        </pc:spChg>
        <pc:spChg chg="add del mod">
          <ac:chgData name="Steiner Andreas 6206 ED" userId="e6377c33-a923-4f14-8587-531c474c7b48" providerId="ADAL" clId="{6ECD27E6-B224-41CD-B4E0-E297462320DD}" dt="2023-11-24T08:32:34.011" v="11382"/>
          <ac:spMkLst>
            <pc:docMk/>
            <pc:sldMk cId="789548521" sldId="2147478568"/>
            <ac:spMk id="83" creationId="{90AF440B-A901-1CE9-7097-7CD8F663035E}"/>
          </ac:spMkLst>
        </pc:spChg>
        <pc:spChg chg="add del mod">
          <ac:chgData name="Steiner Andreas 6206 ED" userId="e6377c33-a923-4f14-8587-531c474c7b48" providerId="ADAL" clId="{6ECD27E6-B224-41CD-B4E0-E297462320DD}" dt="2023-11-24T08:32:36.448" v="11537"/>
          <ac:spMkLst>
            <pc:docMk/>
            <pc:sldMk cId="789548521" sldId="2147478568"/>
            <ac:spMk id="84" creationId="{06A51E63-9A6E-336D-5D13-A34AC7CC39D9}"/>
          </ac:spMkLst>
        </pc:spChg>
        <pc:spChg chg="add del mod">
          <ac:chgData name="Steiner Andreas 6206 ED" userId="e6377c33-a923-4f14-8587-531c474c7b48" providerId="ADAL" clId="{6ECD27E6-B224-41CD-B4E0-E297462320DD}" dt="2023-11-24T08:32:38.386" v="11692"/>
          <ac:spMkLst>
            <pc:docMk/>
            <pc:sldMk cId="789548521" sldId="2147478568"/>
            <ac:spMk id="85" creationId="{7005AAB6-35BF-C08A-DE5E-0A2413CA9943}"/>
          </ac:spMkLst>
        </pc:spChg>
        <pc:spChg chg="add del mod">
          <ac:chgData name="Steiner Andreas 6206 ED" userId="e6377c33-a923-4f14-8587-531c474c7b48" providerId="ADAL" clId="{6ECD27E6-B224-41CD-B4E0-E297462320DD}" dt="2023-11-24T08:32:40.455" v="11847"/>
          <ac:spMkLst>
            <pc:docMk/>
            <pc:sldMk cId="789548521" sldId="2147478568"/>
            <ac:spMk id="86" creationId="{21AB5B1A-D3FE-91C7-7876-329E188AC525}"/>
          </ac:spMkLst>
        </pc:spChg>
        <pc:spChg chg="add del mod">
          <ac:chgData name="Steiner Andreas 6206 ED" userId="e6377c33-a923-4f14-8587-531c474c7b48" providerId="ADAL" clId="{6ECD27E6-B224-41CD-B4E0-E297462320DD}" dt="2023-11-24T08:32:42.671" v="12002"/>
          <ac:spMkLst>
            <pc:docMk/>
            <pc:sldMk cId="789548521" sldId="2147478568"/>
            <ac:spMk id="87" creationId="{7A4AA243-5A90-DDDF-8A8A-8725B2734C43}"/>
          </ac:spMkLst>
        </pc:spChg>
        <pc:spChg chg="add del mod">
          <ac:chgData name="Steiner Andreas 6206 ED" userId="e6377c33-a923-4f14-8587-531c474c7b48" providerId="ADAL" clId="{6ECD27E6-B224-41CD-B4E0-E297462320DD}" dt="2023-11-24T08:32:44.797" v="12157"/>
          <ac:spMkLst>
            <pc:docMk/>
            <pc:sldMk cId="789548521" sldId="2147478568"/>
            <ac:spMk id="88" creationId="{62162041-5659-BB1A-931A-DBEF33BE3B1F}"/>
          </ac:spMkLst>
        </pc:spChg>
        <pc:spChg chg="add del mod">
          <ac:chgData name="Steiner Andreas 6206 ED" userId="e6377c33-a923-4f14-8587-531c474c7b48" providerId="ADAL" clId="{6ECD27E6-B224-41CD-B4E0-E297462320DD}" dt="2023-11-24T08:32:46.899" v="12312"/>
          <ac:spMkLst>
            <pc:docMk/>
            <pc:sldMk cId="789548521" sldId="2147478568"/>
            <ac:spMk id="89" creationId="{6FCDB5FD-1DD9-C2EF-B08A-8B0EE33E93E7}"/>
          </ac:spMkLst>
        </pc:spChg>
        <pc:spChg chg="add del mod">
          <ac:chgData name="Steiner Andreas 6206 ED" userId="e6377c33-a923-4f14-8587-531c474c7b48" providerId="ADAL" clId="{6ECD27E6-B224-41CD-B4E0-E297462320DD}" dt="2023-11-24T08:32:49.051" v="12467"/>
          <ac:spMkLst>
            <pc:docMk/>
            <pc:sldMk cId="789548521" sldId="2147478568"/>
            <ac:spMk id="90" creationId="{7F21FCF9-416A-B200-B4CA-83FC624510C0}"/>
          </ac:spMkLst>
        </pc:spChg>
        <pc:spChg chg="add del mod">
          <ac:chgData name="Steiner Andreas 6206 ED" userId="e6377c33-a923-4f14-8587-531c474c7b48" providerId="ADAL" clId="{6ECD27E6-B224-41CD-B4E0-E297462320DD}" dt="2023-11-24T08:32:51.008" v="12622"/>
          <ac:spMkLst>
            <pc:docMk/>
            <pc:sldMk cId="789548521" sldId="2147478568"/>
            <ac:spMk id="91" creationId="{79C44088-E8FB-004F-183B-8AED6A5926BE}"/>
          </ac:spMkLst>
        </pc:spChg>
        <pc:spChg chg="add del mod">
          <ac:chgData name="Steiner Andreas 6206 ED" userId="e6377c33-a923-4f14-8587-531c474c7b48" providerId="ADAL" clId="{6ECD27E6-B224-41CD-B4E0-E297462320DD}" dt="2023-11-24T08:32:53.018" v="12777"/>
          <ac:spMkLst>
            <pc:docMk/>
            <pc:sldMk cId="789548521" sldId="2147478568"/>
            <ac:spMk id="92" creationId="{F94F46B8-41A2-8F30-C0DB-B3E328EC26E0}"/>
          </ac:spMkLst>
        </pc:spChg>
        <pc:spChg chg="add del mod">
          <ac:chgData name="Steiner Andreas 6206 ED" userId="e6377c33-a923-4f14-8587-531c474c7b48" providerId="ADAL" clId="{6ECD27E6-B224-41CD-B4E0-E297462320DD}" dt="2023-11-24T08:32:54.999" v="12932"/>
          <ac:spMkLst>
            <pc:docMk/>
            <pc:sldMk cId="789548521" sldId="2147478568"/>
            <ac:spMk id="93" creationId="{4EF1FFA5-B6A9-6A04-D9C4-A7ED5A9D2FAB}"/>
          </ac:spMkLst>
        </pc:spChg>
        <pc:spChg chg="add del mod">
          <ac:chgData name="Steiner Andreas 6206 ED" userId="e6377c33-a923-4f14-8587-531c474c7b48" providerId="ADAL" clId="{6ECD27E6-B224-41CD-B4E0-E297462320DD}" dt="2023-11-24T08:32:56.941" v="13087"/>
          <ac:spMkLst>
            <pc:docMk/>
            <pc:sldMk cId="789548521" sldId="2147478568"/>
            <ac:spMk id="94" creationId="{A32A40AA-202F-0699-85C5-4F973B309589}"/>
          </ac:spMkLst>
        </pc:spChg>
        <pc:spChg chg="add del mod">
          <ac:chgData name="Steiner Andreas 6206 ED" userId="e6377c33-a923-4f14-8587-531c474c7b48" providerId="ADAL" clId="{6ECD27E6-B224-41CD-B4E0-E297462320DD}" dt="2023-11-24T08:32:59.003" v="13242"/>
          <ac:spMkLst>
            <pc:docMk/>
            <pc:sldMk cId="789548521" sldId="2147478568"/>
            <ac:spMk id="95" creationId="{19CC0A51-5179-1265-B551-7256B4714BE2}"/>
          </ac:spMkLst>
        </pc:spChg>
        <pc:spChg chg="add del mod">
          <ac:chgData name="Steiner Andreas 6206 ED" userId="e6377c33-a923-4f14-8587-531c474c7b48" providerId="ADAL" clId="{6ECD27E6-B224-41CD-B4E0-E297462320DD}" dt="2023-11-24T08:33:01.120" v="13397"/>
          <ac:spMkLst>
            <pc:docMk/>
            <pc:sldMk cId="789548521" sldId="2147478568"/>
            <ac:spMk id="96" creationId="{2D2626D2-47B5-CF73-FE7A-4B42F4F4F69B}"/>
          </ac:spMkLst>
        </pc:spChg>
        <pc:spChg chg="add del mod">
          <ac:chgData name="Steiner Andreas 6206 ED" userId="e6377c33-a923-4f14-8587-531c474c7b48" providerId="ADAL" clId="{6ECD27E6-B224-41CD-B4E0-E297462320DD}" dt="2023-11-24T08:33:03.445" v="13552"/>
          <ac:spMkLst>
            <pc:docMk/>
            <pc:sldMk cId="789548521" sldId="2147478568"/>
            <ac:spMk id="97" creationId="{3FE30D12-D068-1FA9-78CD-C20E667090E4}"/>
          </ac:spMkLst>
        </pc:spChg>
        <pc:spChg chg="add del mod">
          <ac:chgData name="Steiner Andreas 6206 ED" userId="e6377c33-a923-4f14-8587-531c474c7b48" providerId="ADAL" clId="{6ECD27E6-B224-41CD-B4E0-E297462320DD}" dt="2023-11-24T08:33:05.806" v="13707"/>
          <ac:spMkLst>
            <pc:docMk/>
            <pc:sldMk cId="789548521" sldId="2147478568"/>
            <ac:spMk id="98" creationId="{B5A30948-A8D7-4ADA-B132-233911ABF28F}"/>
          </ac:spMkLst>
        </pc:spChg>
        <pc:spChg chg="add del mod">
          <ac:chgData name="Steiner Andreas 6206 ED" userId="e6377c33-a923-4f14-8587-531c474c7b48" providerId="ADAL" clId="{6ECD27E6-B224-41CD-B4E0-E297462320DD}" dt="2023-11-24T08:33:08.026" v="13862"/>
          <ac:spMkLst>
            <pc:docMk/>
            <pc:sldMk cId="789548521" sldId="2147478568"/>
            <ac:spMk id="99" creationId="{80938808-7ACE-6135-9F96-28CCF94EE26C}"/>
          </ac:spMkLst>
        </pc:spChg>
        <pc:spChg chg="add del mod">
          <ac:chgData name="Steiner Andreas 6206 ED" userId="e6377c33-a923-4f14-8587-531c474c7b48" providerId="ADAL" clId="{6ECD27E6-B224-41CD-B4E0-E297462320DD}" dt="2023-11-24T08:33:10.490" v="14017"/>
          <ac:spMkLst>
            <pc:docMk/>
            <pc:sldMk cId="789548521" sldId="2147478568"/>
            <ac:spMk id="100" creationId="{3C508618-FCD4-D111-B1F2-232CE0B610E5}"/>
          </ac:spMkLst>
        </pc:spChg>
        <pc:spChg chg="add del mod">
          <ac:chgData name="Steiner Andreas 6206 ED" userId="e6377c33-a923-4f14-8587-531c474c7b48" providerId="ADAL" clId="{6ECD27E6-B224-41CD-B4E0-E297462320DD}" dt="2023-11-24T08:33:12.493" v="14172"/>
          <ac:spMkLst>
            <pc:docMk/>
            <pc:sldMk cId="789548521" sldId="2147478568"/>
            <ac:spMk id="101" creationId="{F8069E6F-F10F-5FB1-6B3E-6543224893D0}"/>
          </ac:spMkLst>
        </pc:spChg>
        <pc:spChg chg="add del mod">
          <ac:chgData name="Steiner Andreas 6206 ED" userId="e6377c33-a923-4f14-8587-531c474c7b48" providerId="ADAL" clId="{6ECD27E6-B224-41CD-B4E0-E297462320DD}" dt="2023-11-24T08:33:14.388" v="14327"/>
          <ac:spMkLst>
            <pc:docMk/>
            <pc:sldMk cId="789548521" sldId="2147478568"/>
            <ac:spMk id="102" creationId="{D5E1D23E-7D00-2601-5123-1678EC100589}"/>
          </ac:spMkLst>
        </pc:spChg>
        <pc:spChg chg="add del mod">
          <ac:chgData name="Steiner Andreas 6206 ED" userId="e6377c33-a923-4f14-8587-531c474c7b48" providerId="ADAL" clId="{6ECD27E6-B224-41CD-B4E0-E297462320DD}" dt="2023-11-24T08:33:16.381" v="14482"/>
          <ac:spMkLst>
            <pc:docMk/>
            <pc:sldMk cId="789548521" sldId="2147478568"/>
            <ac:spMk id="103" creationId="{2974BCAA-93D3-BD11-F91F-151DDB2DFA44}"/>
          </ac:spMkLst>
        </pc:spChg>
        <pc:spChg chg="add del mod">
          <ac:chgData name="Steiner Andreas 6206 ED" userId="e6377c33-a923-4f14-8587-531c474c7b48" providerId="ADAL" clId="{6ECD27E6-B224-41CD-B4E0-E297462320DD}" dt="2023-11-24T08:33:18.682" v="14637"/>
          <ac:spMkLst>
            <pc:docMk/>
            <pc:sldMk cId="789548521" sldId="2147478568"/>
            <ac:spMk id="104" creationId="{A431B651-7B78-6573-47BD-55DC2819A147}"/>
          </ac:spMkLst>
        </pc:spChg>
        <pc:spChg chg="add del mod">
          <ac:chgData name="Steiner Andreas 6206 ED" userId="e6377c33-a923-4f14-8587-531c474c7b48" providerId="ADAL" clId="{6ECD27E6-B224-41CD-B4E0-E297462320DD}" dt="2023-11-24T08:33:20.880" v="14792"/>
          <ac:spMkLst>
            <pc:docMk/>
            <pc:sldMk cId="789548521" sldId="2147478568"/>
            <ac:spMk id="105" creationId="{C2AB9DCD-4F2F-74A5-FC91-0B7762B4AD34}"/>
          </ac:spMkLst>
        </pc:spChg>
        <pc:spChg chg="add del mod">
          <ac:chgData name="Steiner Andreas 6206 ED" userId="e6377c33-a923-4f14-8587-531c474c7b48" providerId="ADAL" clId="{6ECD27E6-B224-41CD-B4E0-E297462320DD}" dt="2023-11-24T08:33:23.326" v="14947"/>
          <ac:spMkLst>
            <pc:docMk/>
            <pc:sldMk cId="789548521" sldId="2147478568"/>
            <ac:spMk id="106" creationId="{32D7BF93-B015-ABE0-BC1F-E561A44F0FA4}"/>
          </ac:spMkLst>
        </pc:spChg>
        <pc:spChg chg="add del mod">
          <ac:chgData name="Steiner Andreas 6206 ED" userId="e6377c33-a923-4f14-8587-531c474c7b48" providerId="ADAL" clId="{6ECD27E6-B224-41CD-B4E0-E297462320DD}" dt="2023-11-24T08:33:25.772" v="15102"/>
          <ac:spMkLst>
            <pc:docMk/>
            <pc:sldMk cId="789548521" sldId="2147478568"/>
            <ac:spMk id="107" creationId="{95EA5CC6-1C5E-2B18-7F98-1BC1113DA08B}"/>
          </ac:spMkLst>
        </pc:spChg>
        <pc:spChg chg="add del mod">
          <ac:chgData name="Steiner Andreas 6206 ED" userId="e6377c33-a923-4f14-8587-531c474c7b48" providerId="ADAL" clId="{6ECD27E6-B224-41CD-B4E0-E297462320DD}" dt="2023-11-24T08:33:27.995" v="15257"/>
          <ac:spMkLst>
            <pc:docMk/>
            <pc:sldMk cId="789548521" sldId="2147478568"/>
            <ac:spMk id="108" creationId="{7F60393B-4E97-158A-0508-EC114A4BBFA9}"/>
          </ac:spMkLst>
        </pc:spChg>
        <pc:spChg chg="add del mod">
          <ac:chgData name="Steiner Andreas 6206 ED" userId="e6377c33-a923-4f14-8587-531c474c7b48" providerId="ADAL" clId="{6ECD27E6-B224-41CD-B4E0-E297462320DD}" dt="2023-11-24T08:33:30.488" v="15412"/>
          <ac:spMkLst>
            <pc:docMk/>
            <pc:sldMk cId="789548521" sldId="2147478568"/>
            <ac:spMk id="109" creationId="{803FBF9B-8E5C-6B51-B3D2-FEAC881D8283}"/>
          </ac:spMkLst>
        </pc:spChg>
        <pc:spChg chg="add del mod">
          <ac:chgData name="Steiner Andreas 6206 ED" userId="e6377c33-a923-4f14-8587-531c474c7b48" providerId="ADAL" clId="{6ECD27E6-B224-41CD-B4E0-E297462320DD}" dt="2023-11-24T08:33:33.264" v="15567"/>
          <ac:spMkLst>
            <pc:docMk/>
            <pc:sldMk cId="789548521" sldId="2147478568"/>
            <ac:spMk id="110" creationId="{884A264D-78AB-EF8B-D102-F0360F4C6636}"/>
          </ac:spMkLst>
        </pc:spChg>
        <pc:spChg chg="add del mod">
          <ac:chgData name="Steiner Andreas 6206 ED" userId="e6377c33-a923-4f14-8587-531c474c7b48" providerId="ADAL" clId="{6ECD27E6-B224-41CD-B4E0-E297462320DD}" dt="2023-11-24T08:33:35.633" v="15722"/>
          <ac:spMkLst>
            <pc:docMk/>
            <pc:sldMk cId="789548521" sldId="2147478568"/>
            <ac:spMk id="111" creationId="{5ABDDD69-870E-C175-ACCE-D9D510C7BB4F}"/>
          </ac:spMkLst>
        </pc:spChg>
        <pc:spChg chg="add del mod">
          <ac:chgData name="Steiner Andreas 6206 ED" userId="e6377c33-a923-4f14-8587-531c474c7b48" providerId="ADAL" clId="{6ECD27E6-B224-41CD-B4E0-E297462320DD}" dt="2023-11-24T08:33:37.792" v="15877"/>
          <ac:spMkLst>
            <pc:docMk/>
            <pc:sldMk cId="789548521" sldId="2147478568"/>
            <ac:spMk id="112" creationId="{911BDA47-7D02-C485-07B7-519FDB7E535B}"/>
          </ac:spMkLst>
        </pc:spChg>
        <pc:spChg chg="add del mod">
          <ac:chgData name="Steiner Andreas 6206 ED" userId="e6377c33-a923-4f14-8587-531c474c7b48" providerId="ADAL" clId="{6ECD27E6-B224-41CD-B4E0-E297462320DD}" dt="2023-11-24T08:33:40.095" v="16032"/>
          <ac:spMkLst>
            <pc:docMk/>
            <pc:sldMk cId="789548521" sldId="2147478568"/>
            <ac:spMk id="113" creationId="{021809A2-1BC4-7856-F44E-3D959289BCC7}"/>
          </ac:spMkLst>
        </pc:spChg>
        <pc:spChg chg="add del mod">
          <ac:chgData name="Steiner Andreas 6206 ED" userId="e6377c33-a923-4f14-8587-531c474c7b48" providerId="ADAL" clId="{6ECD27E6-B224-41CD-B4E0-E297462320DD}" dt="2023-11-24T08:33:42.555" v="16187"/>
          <ac:spMkLst>
            <pc:docMk/>
            <pc:sldMk cId="789548521" sldId="2147478568"/>
            <ac:spMk id="114" creationId="{44E6CC3F-9C7C-A944-BDF9-0C40698435D2}"/>
          </ac:spMkLst>
        </pc:spChg>
        <pc:spChg chg="add del mod">
          <ac:chgData name="Steiner Andreas 6206 ED" userId="e6377c33-a923-4f14-8587-531c474c7b48" providerId="ADAL" clId="{6ECD27E6-B224-41CD-B4E0-E297462320DD}" dt="2023-11-24T08:33:45.267" v="16342"/>
          <ac:spMkLst>
            <pc:docMk/>
            <pc:sldMk cId="789548521" sldId="2147478568"/>
            <ac:spMk id="115" creationId="{AC0A3833-2133-F4A0-1BA2-6A72C61BC1F1}"/>
          </ac:spMkLst>
        </pc:spChg>
        <pc:spChg chg="add del mod">
          <ac:chgData name="Steiner Andreas 6206 ED" userId="e6377c33-a923-4f14-8587-531c474c7b48" providerId="ADAL" clId="{6ECD27E6-B224-41CD-B4E0-E297462320DD}" dt="2023-11-24T08:33:47.465" v="16497"/>
          <ac:spMkLst>
            <pc:docMk/>
            <pc:sldMk cId="789548521" sldId="2147478568"/>
            <ac:spMk id="116" creationId="{ADA0985C-3808-BF1F-2638-119833D96981}"/>
          </ac:spMkLst>
        </pc:spChg>
        <pc:spChg chg="add del mod">
          <ac:chgData name="Steiner Andreas 6206 ED" userId="e6377c33-a923-4f14-8587-531c474c7b48" providerId="ADAL" clId="{6ECD27E6-B224-41CD-B4E0-E297462320DD}" dt="2023-11-24T08:33:50.124" v="16652"/>
          <ac:spMkLst>
            <pc:docMk/>
            <pc:sldMk cId="789548521" sldId="2147478568"/>
            <ac:spMk id="117" creationId="{F04BD2C2-66C9-FD5A-3F65-466A58F4CF7F}"/>
          </ac:spMkLst>
        </pc:spChg>
        <pc:spChg chg="add del mod">
          <ac:chgData name="Steiner Andreas 6206 ED" userId="e6377c33-a923-4f14-8587-531c474c7b48" providerId="ADAL" clId="{6ECD27E6-B224-41CD-B4E0-E297462320DD}" dt="2023-11-24T08:33:52.622" v="16807"/>
          <ac:spMkLst>
            <pc:docMk/>
            <pc:sldMk cId="789548521" sldId="2147478568"/>
            <ac:spMk id="118" creationId="{52467728-F20E-5DCE-ABC5-DB19206CE523}"/>
          </ac:spMkLst>
        </pc:spChg>
        <pc:spChg chg="add del mod">
          <ac:chgData name="Steiner Andreas 6206 ED" userId="e6377c33-a923-4f14-8587-531c474c7b48" providerId="ADAL" clId="{6ECD27E6-B224-41CD-B4E0-E297462320DD}" dt="2023-11-24T08:33:54.775" v="16962"/>
          <ac:spMkLst>
            <pc:docMk/>
            <pc:sldMk cId="789548521" sldId="2147478568"/>
            <ac:spMk id="119" creationId="{486604D4-DC42-6D64-624C-0B565CC65D70}"/>
          </ac:spMkLst>
        </pc:spChg>
        <pc:spChg chg="add del mod">
          <ac:chgData name="Steiner Andreas 6206 ED" userId="e6377c33-a923-4f14-8587-531c474c7b48" providerId="ADAL" clId="{6ECD27E6-B224-41CD-B4E0-E297462320DD}" dt="2023-11-24T08:33:57.090" v="17117"/>
          <ac:spMkLst>
            <pc:docMk/>
            <pc:sldMk cId="789548521" sldId="2147478568"/>
            <ac:spMk id="120" creationId="{CC943662-1DEE-8A33-CFC3-774FDE16D843}"/>
          </ac:spMkLst>
        </pc:spChg>
        <pc:spChg chg="add del mod">
          <ac:chgData name="Steiner Andreas 6206 ED" userId="e6377c33-a923-4f14-8587-531c474c7b48" providerId="ADAL" clId="{6ECD27E6-B224-41CD-B4E0-E297462320DD}" dt="2023-11-24T08:33:59.592" v="17272"/>
          <ac:spMkLst>
            <pc:docMk/>
            <pc:sldMk cId="789548521" sldId="2147478568"/>
            <ac:spMk id="121" creationId="{0A49C826-019B-78ED-F69E-70DEC1212DFF}"/>
          </ac:spMkLst>
        </pc:spChg>
        <pc:spChg chg="add del mod">
          <ac:chgData name="Steiner Andreas 6206 ED" userId="e6377c33-a923-4f14-8587-531c474c7b48" providerId="ADAL" clId="{6ECD27E6-B224-41CD-B4E0-E297462320DD}" dt="2023-11-24T08:34:01.564" v="17427"/>
          <ac:spMkLst>
            <pc:docMk/>
            <pc:sldMk cId="789548521" sldId="2147478568"/>
            <ac:spMk id="122" creationId="{94E592EB-3552-EFB9-A44C-F5A2D2B11B04}"/>
          </ac:spMkLst>
        </pc:spChg>
        <pc:spChg chg="add del mod">
          <ac:chgData name="Steiner Andreas 6206 ED" userId="e6377c33-a923-4f14-8587-531c474c7b48" providerId="ADAL" clId="{6ECD27E6-B224-41CD-B4E0-E297462320DD}" dt="2023-11-24T08:34:03.929" v="17582"/>
          <ac:spMkLst>
            <pc:docMk/>
            <pc:sldMk cId="789548521" sldId="2147478568"/>
            <ac:spMk id="123" creationId="{EFE38A7D-A20D-BB68-AF74-B8DC43426D33}"/>
          </ac:spMkLst>
        </pc:spChg>
        <pc:spChg chg="add del mod">
          <ac:chgData name="Steiner Andreas 6206 ED" userId="e6377c33-a923-4f14-8587-531c474c7b48" providerId="ADAL" clId="{6ECD27E6-B224-41CD-B4E0-E297462320DD}" dt="2023-11-24T08:34:05.866" v="17737"/>
          <ac:spMkLst>
            <pc:docMk/>
            <pc:sldMk cId="789548521" sldId="2147478568"/>
            <ac:spMk id="124" creationId="{EB6F437C-CB07-B44D-1160-F402D95DDF52}"/>
          </ac:spMkLst>
        </pc:spChg>
        <pc:spChg chg="add del mod">
          <ac:chgData name="Steiner Andreas 6206 ED" userId="e6377c33-a923-4f14-8587-531c474c7b48" providerId="ADAL" clId="{6ECD27E6-B224-41CD-B4E0-E297462320DD}" dt="2023-11-24T08:34:07.958" v="17892"/>
          <ac:spMkLst>
            <pc:docMk/>
            <pc:sldMk cId="789548521" sldId="2147478568"/>
            <ac:spMk id="125" creationId="{BAFF3D94-71B2-86D8-42A6-D6F3493CF0F4}"/>
          </ac:spMkLst>
        </pc:spChg>
        <pc:spChg chg="add del mod">
          <ac:chgData name="Steiner Andreas 6206 ED" userId="e6377c33-a923-4f14-8587-531c474c7b48" providerId="ADAL" clId="{6ECD27E6-B224-41CD-B4E0-E297462320DD}" dt="2023-11-24T08:34:09.914" v="18047"/>
          <ac:spMkLst>
            <pc:docMk/>
            <pc:sldMk cId="789548521" sldId="2147478568"/>
            <ac:spMk id="126" creationId="{93E7B55C-4397-F050-2C59-60ECD7C265E4}"/>
          </ac:spMkLst>
        </pc:spChg>
        <pc:spChg chg="add del mod">
          <ac:chgData name="Steiner Andreas 6206 ED" userId="e6377c33-a923-4f14-8587-531c474c7b48" providerId="ADAL" clId="{6ECD27E6-B224-41CD-B4E0-E297462320DD}" dt="2023-11-24T08:34:11.973" v="18202"/>
          <ac:spMkLst>
            <pc:docMk/>
            <pc:sldMk cId="789548521" sldId="2147478568"/>
            <ac:spMk id="127" creationId="{51B0E36B-5CD6-D342-96E3-BAD1A5A05D86}"/>
          </ac:spMkLst>
        </pc:spChg>
        <pc:spChg chg="add del mod">
          <ac:chgData name="Steiner Andreas 6206 ED" userId="e6377c33-a923-4f14-8587-531c474c7b48" providerId="ADAL" clId="{6ECD27E6-B224-41CD-B4E0-E297462320DD}" dt="2023-11-24T08:34:14.237" v="18357"/>
          <ac:spMkLst>
            <pc:docMk/>
            <pc:sldMk cId="789548521" sldId="2147478568"/>
            <ac:spMk id="128" creationId="{00A3E1D4-C092-0148-BB46-430E40C81889}"/>
          </ac:spMkLst>
        </pc:spChg>
        <pc:spChg chg="add del mod">
          <ac:chgData name="Steiner Andreas 6206 ED" userId="e6377c33-a923-4f14-8587-531c474c7b48" providerId="ADAL" clId="{6ECD27E6-B224-41CD-B4E0-E297462320DD}" dt="2023-11-24T08:34:16.349" v="18512"/>
          <ac:spMkLst>
            <pc:docMk/>
            <pc:sldMk cId="789548521" sldId="2147478568"/>
            <ac:spMk id="129" creationId="{B1B5A647-E8DB-AEA8-7CB5-4A593682CC11}"/>
          </ac:spMkLst>
        </pc:spChg>
        <pc:spChg chg="add del mod">
          <ac:chgData name="Steiner Andreas 6206 ED" userId="e6377c33-a923-4f14-8587-531c474c7b48" providerId="ADAL" clId="{6ECD27E6-B224-41CD-B4E0-E297462320DD}" dt="2023-11-24T08:34:18.495" v="18667"/>
          <ac:spMkLst>
            <pc:docMk/>
            <pc:sldMk cId="789548521" sldId="2147478568"/>
            <ac:spMk id="130" creationId="{9C2C14F9-4CF3-44D9-AA7F-5C49B311B514}"/>
          </ac:spMkLst>
        </pc:spChg>
        <pc:spChg chg="add del mod">
          <ac:chgData name="Steiner Andreas 6206 ED" userId="e6377c33-a923-4f14-8587-531c474c7b48" providerId="ADAL" clId="{6ECD27E6-B224-41CD-B4E0-E297462320DD}" dt="2023-11-24T08:34:20.663" v="18822"/>
          <ac:spMkLst>
            <pc:docMk/>
            <pc:sldMk cId="789548521" sldId="2147478568"/>
            <ac:spMk id="131" creationId="{E434C855-9FC2-4EC3-BA50-47BC0D7E7E1F}"/>
          </ac:spMkLst>
        </pc:spChg>
        <pc:spChg chg="add del mod">
          <ac:chgData name="Steiner Andreas 6206 ED" userId="e6377c33-a923-4f14-8587-531c474c7b48" providerId="ADAL" clId="{6ECD27E6-B224-41CD-B4E0-E297462320DD}" dt="2023-11-24T08:34:22.709" v="18977"/>
          <ac:spMkLst>
            <pc:docMk/>
            <pc:sldMk cId="789548521" sldId="2147478568"/>
            <ac:spMk id="132" creationId="{EA754677-DC04-F861-48EB-6B46643562B8}"/>
          </ac:spMkLst>
        </pc:spChg>
        <pc:spChg chg="add del mod">
          <ac:chgData name="Steiner Andreas 6206 ED" userId="e6377c33-a923-4f14-8587-531c474c7b48" providerId="ADAL" clId="{6ECD27E6-B224-41CD-B4E0-E297462320DD}" dt="2023-11-24T08:34:25.994" v="19132"/>
          <ac:spMkLst>
            <pc:docMk/>
            <pc:sldMk cId="789548521" sldId="2147478568"/>
            <ac:spMk id="133" creationId="{3420153F-361F-DC34-4657-694DD74783F8}"/>
          </ac:spMkLst>
        </pc:spChg>
        <pc:spChg chg="add del mod">
          <ac:chgData name="Steiner Andreas 6206 ED" userId="e6377c33-a923-4f14-8587-531c474c7b48" providerId="ADAL" clId="{6ECD27E6-B224-41CD-B4E0-E297462320DD}" dt="2023-11-24T08:34:28.653" v="19287"/>
          <ac:spMkLst>
            <pc:docMk/>
            <pc:sldMk cId="789548521" sldId="2147478568"/>
            <ac:spMk id="134" creationId="{D43F912B-E593-9E98-EABC-BAB85BCBC838}"/>
          </ac:spMkLst>
        </pc:spChg>
        <pc:spChg chg="add del mod">
          <ac:chgData name="Steiner Andreas 6206 ED" userId="e6377c33-a923-4f14-8587-531c474c7b48" providerId="ADAL" clId="{6ECD27E6-B224-41CD-B4E0-E297462320DD}" dt="2023-11-24T08:34:31.294" v="19442"/>
          <ac:spMkLst>
            <pc:docMk/>
            <pc:sldMk cId="789548521" sldId="2147478568"/>
            <ac:spMk id="135" creationId="{A93EDB54-F53A-EA84-A1A0-37CFA37A0DF7}"/>
          </ac:spMkLst>
        </pc:spChg>
        <pc:spChg chg="add del mod">
          <ac:chgData name="Steiner Andreas 6206 ED" userId="e6377c33-a923-4f14-8587-531c474c7b48" providerId="ADAL" clId="{6ECD27E6-B224-41CD-B4E0-E297462320DD}" dt="2023-11-24T08:34:33.495" v="19597"/>
          <ac:spMkLst>
            <pc:docMk/>
            <pc:sldMk cId="789548521" sldId="2147478568"/>
            <ac:spMk id="136" creationId="{B6B471BE-50D3-7E3D-6E53-70F96FC88670}"/>
          </ac:spMkLst>
        </pc:spChg>
        <pc:spChg chg="add del mod">
          <ac:chgData name="Steiner Andreas 6206 ED" userId="e6377c33-a923-4f14-8587-531c474c7b48" providerId="ADAL" clId="{6ECD27E6-B224-41CD-B4E0-E297462320DD}" dt="2023-11-24T08:34:35.709" v="19752"/>
          <ac:spMkLst>
            <pc:docMk/>
            <pc:sldMk cId="789548521" sldId="2147478568"/>
            <ac:spMk id="137" creationId="{AC5B0AD8-DCC3-B3D0-311B-C5A3B13CC525}"/>
          </ac:spMkLst>
        </pc:spChg>
        <pc:spChg chg="add del mod">
          <ac:chgData name="Steiner Andreas 6206 ED" userId="e6377c33-a923-4f14-8587-531c474c7b48" providerId="ADAL" clId="{6ECD27E6-B224-41CD-B4E0-E297462320DD}" dt="2023-11-24T08:34:38.001" v="19907"/>
          <ac:spMkLst>
            <pc:docMk/>
            <pc:sldMk cId="789548521" sldId="2147478568"/>
            <ac:spMk id="138" creationId="{6AC231C2-73B0-D57D-3EF5-620E276C6C69}"/>
          </ac:spMkLst>
        </pc:spChg>
        <pc:spChg chg="add del mod">
          <ac:chgData name="Steiner Andreas 6206 ED" userId="e6377c33-a923-4f14-8587-531c474c7b48" providerId="ADAL" clId="{6ECD27E6-B224-41CD-B4E0-E297462320DD}" dt="2023-11-24T08:34:40.279" v="20062"/>
          <ac:spMkLst>
            <pc:docMk/>
            <pc:sldMk cId="789548521" sldId="2147478568"/>
            <ac:spMk id="139" creationId="{858C35A5-1D1A-24B6-4DBC-2F37CE6D02C8}"/>
          </ac:spMkLst>
        </pc:spChg>
        <pc:spChg chg="add del mod">
          <ac:chgData name="Steiner Andreas 6206 ED" userId="e6377c33-a923-4f14-8587-531c474c7b48" providerId="ADAL" clId="{6ECD27E6-B224-41CD-B4E0-E297462320DD}" dt="2023-11-24T08:34:42.992" v="20217"/>
          <ac:spMkLst>
            <pc:docMk/>
            <pc:sldMk cId="789548521" sldId="2147478568"/>
            <ac:spMk id="140" creationId="{65335ACC-CEAA-3F11-8913-374C67CF354C}"/>
          </ac:spMkLst>
        </pc:spChg>
        <pc:spChg chg="add del mod">
          <ac:chgData name="Steiner Andreas 6206 ED" userId="e6377c33-a923-4f14-8587-531c474c7b48" providerId="ADAL" clId="{6ECD27E6-B224-41CD-B4E0-E297462320DD}" dt="2023-11-24T08:34:45.364" v="20372"/>
          <ac:spMkLst>
            <pc:docMk/>
            <pc:sldMk cId="789548521" sldId="2147478568"/>
            <ac:spMk id="141" creationId="{BA55FDB4-39C7-6F8B-D488-DA44041BFB67}"/>
          </ac:spMkLst>
        </pc:spChg>
        <pc:spChg chg="add del mod">
          <ac:chgData name="Steiner Andreas 6206 ED" userId="e6377c33-a923-4f14-8587-531c474c7b48" providerId="ADAL" clId="{6ECD27E6-B224-41CD-B4E0-E297462320DD}" dt="2023-11-24T08:34:47.626" v="20527"/>
          <ac:spMkLst>
            <pc:docMk/>
            <pc:sldMk cId="789548521" sldId="2147478568"/>
            <ac:spMk id="142" creationId="{38007150-D9FC-7452-A0FC-B89928D9EBB0}"/>
          </ac:spMkLst>
        </pc:spChg>
        <pc:spChg chg="add del mod">
          <ac:chgData name="Steiner Andreas 6206 ED" userId="e6377c33-a923-4f14-8587-531c474c7b48" providerId="ADAL" clId="{6ECD27E6-B224-41CD-B4E0-E297462320DD}" dt="2023-11-24T08:34:49.915" v="20682"/>
          <ac:spMkLst>
            <pc:docMk/>
            <pc:sldMk cId="789548521" sldId="2147478568"/>
            <ac:spMk id="143" creationId="{77112E8F-03E5-78C2-A546-8F0A312277F9}"/>
          </ac:spMkLst>
        </pc:spChg>
        <pc:spChg chg="add del mod">
          <ac:chgData name="Steiner Andreas 6206 ED" userId="e6377c33-a923-4f14-8587-531c474c7b48" providerId="ADAL" clId="{6ECD27E6-B224-41CD-B4E0-E297462320DD}" dt="2023-11-24T08:34:52.546" v="20837"/>
          <ac:spMkLst>
            <pc:docMk/>
            <pc:sldMk cId="789548521" sldId="2147478568"/>
            <ac:spMk id="144" creationId="{C660FFEA-FEE3-B863-73D1-12F8D4C1D83A}"/>
          </ac:spMkLst>
        </pc:spChg>
        <pc:spChg chg="add del mod">
          <ac:chgData name="Steiner Andreas 6206 ED" userId="e6377c33-a923-4f14-8587-531c474c7b48" providerId="ADAL" clId="{6ECD27E6-B224-41CD-B4E0-E297462320DD}" dt="2023-11-24T08:34:55.065" v="20992"/>
          <ac:spMkLst>
            <pc:docMk/>
            <pc:sldMk cId="789548521" sldId="2147478568"/>
            <ac:spMk id="145" creationId="{5B4E081C-2C09-1234-2AC1-ED22D5436B5B}"/>
          </ac:spMkLst>
        </pc:spChg>
        <pc:spChg chg="add del mod">
          <ac:chgData name="Steiner Andreas 6206 ED" userId="e6377c33-a923-4f14-8587-531c474c7b48" providerId="ADAL" clId="{6ECD27E6-B224-41CD-B4E0-E297462320DD}" dt="2023-11-24T08:34:57.376" v="21147"/>
          <ac:spMkLst>
            <pc:docMk/>
            <pc:sldMk cId="789548521" sldId="2147478568"/>
            <ac:spMk id="146" creationId="{091E60BD-F034-4CA6-FB3C-5F8D4496B940}"/>
          </ac:spMkLst>
        </pc:spChg>
        <pc:spChg chg="add del mod">
          <ac:chgData name="Steiner Andreas 6206 ED" userId="e6377c33-a923-4f14-8587-531c474c7b48" providerId="ADAL" clId="{6ECD27E6-B224-41CD-B4E0-E297462320DD}" dt="2023-11-24T08:34:59.869" v="21302"/>
          <ac:spMkLst>
            <pc:docMk/>
            <pc:sldMk cId="789548521" sldId="2147478568"/>
            <ac:spMk id="147" creationId="{07BD44F5-48C4-B266-FE9C-E3263A566434}"/>
          </ac:spMkLst>
        </pc:spChg>
        <pc:spChg chg="add del mod">
          <ac:chgData name="Steiner Andreas 6206 ED" userId="e6377c33-a923-4f14-8587-531c474c7b48" providerId="ADAL" clId="{6ECD27E6-B224-41CD-B4E0-E297462320DD}" dt="2023-11-24T08:35:02.517" v="21457"/>
          <ac:spMkLst>
            <pc:docMk/>
            <pc:sldMk cId="789548521" sldId="2147478568"/>
            <ac:spMk id="148" creationId="{A168F965-439D-2ACD-11FA-22D046030BDB}"/>
          </ac:spMkLst>
        </pc:spChg>
        <pc:spChg chg="add del mod">
          <ac:chgData name="Steiner Andreas 6206 ED" userId="e6377c33-a923-4f14-8587-531c474c7b48" providerId="ADAL" clId="{6ECD27E6-B224-41CD-B4E0-E297462320DD}" dt="2023-11-24T08:35:05.008" v="21612"/>
          <ac:spMkLst>
            <pc:docMk/>
            <pc:sldMk cId="789548521" sldId="2147478568"/>
            <ac:spMk id="149" creationId="{0ABDC891-AC77-BC80-A4CA-C94C40EEC61D}"/>
          </ac:spMkLst>
        </pc:spChg>
        <pc:spChg chg="add del mod">
          <ac:chgData name="Steiner Andreas 6206 ED" userId="e6377c33-a923-4f14-8587-531c474c7b48" providerId="ADAL" clId="{6ECD27E6-B224-41CD-B4E0-E297462320DD}" dt="2023-11-24T08:35:07.479" v="21767"/>
          <ac:spMkLst>
            <pc:docMk/>
            <pc:sldMk cId="789548521" sldId="2147478568"/>
            <ac:spMk id="150" creationId="{C6C3A88D-B699-3072-9E08-4E04E772CBDF}"/>
          </ac:spMkLst>
        </pc:spChg>
        <pc:spChg chg="add del mod">
          <ac:chgData name="Steiner Andreas 6206 ED" userId="e6377c33-a923-4f14-8587-531c474c7b48" providerId="ADAL" clId="{6ECD27E6-B224-41CD-B4E0-E297462320DD}" dt="2023-11-24T08:35:10.086" v="21922"/>
          <ac:spMkLst>
            <pc:docMk/>
            <pc:sldMk cId="789548521" sldId="2147478568"/>
            <ac:spMk id="151" creationId="{BD31BA7F-DBE5-AF94-39BD-25176605C62B}"/>
          </ac:spMkLst>
        </pc:spChg>
        <pc:spChg chg="add del mod">
          <ac:chgData name="Steiner Andreas 6206 ED" userId="e6377c33-a923-4f14-8587-531c474c7b48" providerId="ADAL" clId="{6ECD27E6-B224-41CD-B4E0-E297462320DD}" dt="2023-11-24T08:35:12.525" v="22077"/>
          <ac:spMkLst>
            <pc:docMk/>
            <pc:sldMk cId="789548521" sldId="2147478568"/>
            <ac:spMk id="152" creationId="{94079FAB-3C08-0E5E-4783-843A7801B82F}"/>
          </ac:spMkLst>
        </pc:spChg>
        <pc:spChg chg="add del mod">
          <ac:chgData name="Steiner Andreas 6206 ED" userId="e6377c33-a923-4f14-8587-531c474c7b48" providerId="ADAL" clId="{6ECD27E6-B224-41CD-B4E0-E297462320DD}" dt="2023-11-24T08:35:14.648" v="22232"/>
          <ac:spMkLst>
            <pc:docMk/>
            <pc:sldMk cId="789548521" sldId="2147478568"/>
            <ac:spMk id="153" creationId="{36B1F6F7-1CB4-0013-0245-B2EECB1FB6B6}"/>
          </ac:spMkLst>
        </pc:spChg>
        <pc:spChg chg="add del mod">
          <ac:chgData name="Steiner Andreas 6206 ED" userId="e6377c33-a923-4f14-8587-531c474c7b48" providerId="ADAL" clId="{6ECD27E6-B224-41CD-B4E0-E297462320DD}" dt="2023-11-24T08:35:16.951" v="22387"/>
          <ac:spMkLst>
            <pc:docMk/>
            <pc:sldMk cId="789548521" sldId="2147478568"/>
            <ac:spMk id="154" creationId="{A39B0D8F-4AF7-654A-2BE5-9736C2F8D481}"/>
          </ac:spMkLst>
        </pc:spChg>
        <pc:spChg chg="add del mod">
          <ac:chgData name="Steiner Andreas 6206 ED" userId="e6377c33-a923-4f14-8587-531c474c7b48" providerId="ADAL" clId="{6ECD27E6-B224-41CD-B4E0-E297462320DD}" dt="2023-11-24T08:35:19.394" v="22542"/>
          <ac:spMkLst>
            <pc:docMk/>
            <pc:sldMk cId="789548521" sldId="2147478568"/>
            <ac:spMk id="155" creationId="{32969CFF-5351-FC90-4151-663B34C0F3AC}"/>
          </ac:spMkLst>
        </pc:spChg>
        <pc:spChg chg="add del mod">
          <ac:chgData name="Steiner Andreas 6206 ED" userId="e6377c33-a923-4f14-8587-531c474c7b48" providerId="ADAL" clId="{6ECD27E6-B224-41CD-B4E0-E297462320DD}" dt="2023-11-24T08:35:21.870" v="22697"/>
          <ac:spMkLst>
            <pc:docMk/>
            <pc:sldMk cId="789548521" sldId="2147478568"/>
            <ac:spMk id="156" creationId="{D9B0014C-7A2A-B855-4BD8-D17BECAC5206}"/>
          </ac:spMkLst>
        </pc:spChg>
        <pc:spChg chg="add del mod">
          <ac:chgData name="Steiner Andreas 6206 ED" userId="e6377c33-a923-4f14-8587-531c474c7b48" providerId="ADAL" clId="{6ECD27E6-B224-41CD-B4E0-E297462320DD}" dt="2023-11-24T08:35:24.187" v="22852"/>
          <ac:spMkLst>
            <pc:docMk/>
            <pc:sldMk cId="789548521" sldId="2147478568"/>
            <ac:spMk id="157" creationId="{2B52CAA7-2A32-9ADA-0C9A-41055D5C5E57}"/>
          </ac:spMkLst>
        </pc:spChg>
        <pc:spChg chg="add del mod">
          <ac:chgData name="Steiner Andreas 6206 ED" userId="e6377c33-a923-4f14-8587-531c474c7b48" providerId="ADAL" clId="{6ECD27E6-B224-41CD-B4E0-E297462320DD}" dt="2023-11-24T08:35:26.819" v="23007"/>
          <ac:spMkLst>
            <pc:docMk/>
            <pc:sldMk cId="789548521" sldId="2147478568"/>
            <ac:spMk id="158" creationId="{E6817108-EB4D-44DF-3C8E-12295F868182}"/>
          </ac:spMkLst>
        </pc:spChg>
        <pc:spChg chg="add del mod">
          <ac:chgData name="Steiner Andreas 6206 ED" userId="e6377c33-a923-4f14-8587-531c474c7b48" providerId="ADAL" clId="{6ECD27E6-B224-41CD-B4E0-E297462320DD}" dt="2023-11-24T08:35:29.421" v="23162"/>
          <ac:spMkLst>
            <pc:docMk/>
            <pc:sldMk cId="789548521" sldId="2147478568"/>
            <ac:spMk id="159" creationId="{D5315EAA-099B-869B-E418-C15EC8ECE90C}"/>
          </ac:spMkLst>
        </pc:spChg>
        <pc:spChg chg="add del mod">
          <ac:chgData name="Steiner Andreas 6206 ED" userId="e6377c33-a923-4f14-8587-531c474c7b48" providerId="ADAL" clId="{6ECD27E6-B224-41CD-B4E0-E297462320DD}" dt="2023-11-24T08:35:31.865" v="23317"/>
          <ac:spMkLst>
            <pc:docMk/>
            <pc:sldMk cId="789548521" sldId="2147478568"/>
            <ac:spMk id="160" creationId="{708C692C-C06B-3F8F-A75E-09B20A0347F1}"/>
          </ac:spMkLst>
        </pc:spChg>
        <pc:spChg chg="add del mod">
          <ac:chgData name="Steiner Andreas 6206 ED" userId="e6377c33-a923-4f14-8587-531c474c7b48" providerId="ADAL" clId="{6ECD27E6-B224-41CD-B4E0-E297462320DD}" dt="2023-11-24T08:35:34.298" v="23472"/>
          <ac:spMkLst>
            <pc:docMk/>
            <pc:sldMk cId="789548521" sldId="2147478568"/>
            <ac:spMk id="161" creationId="{5BC2794C-3289-53D3-6899-5F6002E5CC54}"/>
          </ac:spMkLst>
        </pc:spChg>
        <pc:spChg chg="add del mod">
          <ac:chgData name="Steiner Andreas 6206 ED" userId="e6377c33-a923-4f14-8587-531c474c7b48" providerId="ADAL" clId="{6ECD27E6-B224-41CD-B4E0-E297462320DD}" dt="2023-11-24T08:35:36.599" v="23627"/>
          <ac:spMkLst>
            <pc:docMk/>
            <pc:sldMk cId="789548521" sldId="2147478568"/>
            <ac:spMk id="162" creationId="{A1E2B983-86A0-FF0F-E5BF-0C29DC712754}"/>
          </ac:spMkLst>
        </pc:spChg>
        <pc:spChg chg="add del mod">
          <ac:chgData name="Steiner Andreas 6206 ED" userId="e6377c33-a923-4f14-8587-531c474c7b48" providerId="ADAL" clId="{6ECD27E6-B224-41CD-B4E0-E297462320DD}" dt="2023-11-24T08:35:39.003" v="23782"/>
          <ac:spMkLst>
            <pc:docMk/>
            <pc:sldMk cId="789548521" sldId="2147478568"/>
            <ac:spMk id="163" creationId="{9BDBBAF9-60B0-DB9C-A867-C9141B1940F0}"/>
          </ac:spMkLst>
        </pc:spChg>
        <pc:spChg chg="add del mod">
          <ac:chgData name="Steiner Andreas 6206 ED" userId="e6377c33-a923-4f14-8587-531c474c7b48" providerId="ADAL" clId="{6ECD27E6-B224-41CD-B4E0-E297462320DD}" dt="2023-11-24T08:35:41.700" v="23937"/>
          <ac:spMkLst>
            <pc:docMk/>
            <pc:sldMk cId="789548521" sldId="2147478568"/>
            <ac:spMk id="164" creationId="{80C7B994-24FB-140A-2BE2-D3E147889F64}"/>
          </ac:spMkLst>
        </pc:spChg>
        <pc:spChg chg="add del mod">
          <ac:chgData name="Steiner Andreas 6206 ED" userId="e6377c33-a923-4f14-8587-531c474c7b48" providerId="ADAL" clId="{6ECD27E6-B224-41CD-B4E0-E297462320DD}" dt="2023-11-24T08:35:44.129" v="24092"/>
          <ac:spMkLst>
            <pc:docMk/>
            <pc:sldMk cId="789548521" sldId="2147478568"/>
            <ac:spMk id="165" creationId="{E059BC6E-544B-D23E-3EED-079C88670316}"/>
          </ac:spMkLst>
        </pc:spChg>
        <pc:spChg chg="add del mod">
          <ac:chgData name="Steiner Andreas 6206 ED" userId="e6377c33-a923-4f14-8587-531c474c7b48" providerId="ADAL" clId="{6ECD27E6-B224-41CD-B4E0-E297462320DD}" dt="2023-11-24T08:35:46.457" v="24247"/>
          <ac:spMkLst>
            <pc:docMk/>
            <pc:sldMk cId="789548521" sldId="2147478568"/>
            <ac:spMk id="166" creationId="{17C40BC6-00BE-31E3-BD0E-24FB8C61BA73}"/>
          </ac:spMkLst>
        </pc:spChg>
        <pc:spChg chg="add del mod">
          <ac:chgData name="Steiner Andreas 6206 ED" userId="e6377c33-a923-4f14-8587-531c474c7b48" providerId="ADAL" clId="{6ECD27E6-B224-41CD-B4E0-E297462320DD}" dt="2023-11-24T08:35:48.674" v="24402"/>
          <ac:spMkLst>
            <pc:docMk/>
            <pc:sldMk cId="789548521" sldId="2147478568"/>
            <ac:spMk id="167" creationId="{1A87DF38-6714-E605-CDE5-D7AA1D574E21}"/>
          </ac:spMkLst>
        </pc:spChg>
        <pc:spChg chg="add del mod">
          <ac:chgData name="Steiner Andreas 6206 ED" userId="e6377c33-a923-4f14-8587-531c474c7b48" providerId="ADAL" clId="{6ECD27E6-B224-41CD-B4E0-E297462320DD}" dt="2023-11-24T08:35:50.969" v="24557"/>
          <ac:spMkLst>
            <pc:docMk/>
            <pc:sldMk cId="789548521" sldId="2147478568"/>
            <ac:spMk id="168" creationId="{CE8F8A11-E776-5D08-DE9E-3D47FE9DAC54}"/>
          </ac:spMkLst>
        </pc:spChg>
        <pc:spChg chg="add del mod">
          <ac:chgData name="Steiner Andreas 6206 ED" userId="e6377c33-a923-4f14-8587-531c474c7b48" providerId="ADAL" clId="{6ECD27E6-B224-41CD-B4E0-E297462320DD}" dt="2023-11-24T08:35:53.826" v="24712"/>
          <ac:spMkLst>
            <pc:docMk/>
            <pc:sldMk cId="789548521" sldId="2147478568"/>
            <ac:spMk id="169" creationId="{32AC15AB-1B10-41FE-467F-47CBAED8480E}"/>
          </ac:spMkLst>
        </pc:spChg>
        <pc:spChg chg="add del mod">
          <ac:chgData name="Steiner Andreas 6206 ED" userId="e6377c33-a923-4f14-8587-531c474c7b48" providerId="ADAL" clId="{6ECD27E6-B224-41CD-B4E0-E297462320DD}" dt="2023-11-24T08:35:56.383" v="24867"/>
          <ac:spMkLst>
            <pc:docMk/>
            <pc:sldMk cId="789548521" sldId="2147478568"/>
            <ac:spMk id="170" creationId="{BDC14324-1D60-58B6-E823-162F3FFF3FB7}"/>
          </ac:spMkLst>
        </pc:spChg>
        <pc:spChg chg="add del mod">
          <ac:chgData name="Steiner Andreas 6206 ED" userId="e6377c33-a923-4f14-8587-531c474c7b48" providerId="ADAL" clId="{6ECD27E6-B224-41CD-B4E0-E297462320DD}" dt="2023-11-24T08:35:58.879" v="25022"/>
          <ac:spMkLst>
            <pc:docMk/>
            <pc:sldMk cId="789548521" sldId="2147478568"/>
            <ac:spMk id="171" creationId="{CDBA7FE5-FEE6-C7AF-50D1-AC218FEDD52F}"/>
          </ac:spMkLst>
        </pc:spChg>
        <pc:spChg chg="add del mod">
          <ac:chgData name="Steiner Andreas 6206 ED" userId="e6377c33-a923-4f14-8587-531c474c7b48" providerId="ADAL" clId="{6ECD27E6-B224-41CD-B4E0-E297462320DD}" dt="2023-11-24T08:36:01.310" v="25177"/>
          <ac:spMkLst>
            <pc:docMk/>
            <pc:sldMk cId="789548521" sldId="2147478568"/>
            <ac:spMk id="172" creationId="{6DB44819-DCDC-0800-699D-62E2CF6C488E}"/>
          </ac:spMkLst>
        </pc:spChg>
        <pc:spChg chg="add del mod">
          <ac:chgData name="Steiner Andreas 6206 ED" userId="e6377c33-a923-4f14-8587-531c474c7b48" providerId="ADAL" clId="{6ECD27E6-B224-41CD-B4E0-E297462320DD}" dt="2023-11-24T08:36:03.856" v="25332"/>
          <ac:spMkLst>
            <pc:docMk/>
            <pc:sldMk cId="789548521" sldId="2147478568"/>
            <ac:spMk id="173" creationId="{3D9F89C6-AA4D-FE75-7F20-626E884CCEB9}"/>
          </ac:spMkLst>
        </pc:spChg>
        <pc:spChg chg="add del mod">
          <ac:chgData name="Steiner Andreas 6206 ED" userId="e6377c33-a923-4f14-8587-531c474c7b48" providerId="ADAL" clId="{6ECD27E6-B224-41CD-B4E0-E297462320DD}" dt="2023-11-24T08:36:06.491" v="25487"/>
          <ac:spMkLst>
            <pc:docMk/>
            <pc:sldMk cId="789548521" sldId="2147478568"/>
            <ac:spMk id="174" creationId="{B4E8B3F7-002B-3C46-9BFF-FD896C56F07B}"/>
          </ac:spMkLst>
        </pc:spChg>
        <pc:spChg chg="add del mod">
          <ac:chgData name="Steiner Andreas 6206 ED" userId="e6377c33-a923-4f14-8587-531c474c7b48" providerId="ADAL" clId="{6ECD27E6-B224-41CD-B4E0-E297462320DD}" dt="2023-11-24T08:36:09.014" v="25642"/>
          <ac:spMkLst>
            <pc:docMk/>
            <pc:sldMk cId="789548521" sldId="2147478568"/>
            <ac:spMk id="175" creationId="{AD11320E-8BEC-1364-8601-E79A73063109}"/>
          </ac:spMkLst>
        </pc:spChg>
        <pc:spChg chg="add del mod">
          <ac:chgData name="Steiner Andreas 6206 ED" userId="e6377c33-a923-4f14-8587-531c474c7b48" providerId="ADAL" clId="{6ECD27E6-B224-41CD-B4E0-E297462320DD}" dt="2023-11-24T08:36:11.488" v="25797"/>
          <ac:spMkLst>
            <pc:docMk/>
            <pc:sldMk cId="789548521" sldId="2147478568"/>
            <ac:spMk id="176" creationId="{E747A6E8-EF65-D633-33B7-34BE0FE5C755}"/>
          </ac:spMkLst>
        </pc:spChg>
        <pc:spChg chg="add del mod">
          <ac:chgData name="Steiner Andreas 6206 ED" userId="e6377c33-a923-4f14-8587-531c474c7b48" providerId="ADAL" clId="{6ECD27E6-B224-41CD-B4E0-E297462320DD}" dt="2023-11-24T08:36:13.918" v="25952"/>
          <ac:spMkLst>
            <pc:docMk/>
            <pc:sldMk cId="789548521" sldId="2147478568"/>
            <ac:spMk id="177" creationId="{C854E593-76F0-ED81-C474-3E3ED7C3E33D}"/>
          </ac:spMkLst>
        </pc:spChg>
        <pc:spChg chg="add del mod">
          <ac:chgData name="Steiner Andreas 6206 ED" userId="e6377c33-a923-4f14-8587-531c474c7b48" providerId="ADAL" clId="{6ECD27E6-B224-41CD-B4E0-E297462320DD}" dt="2023-11-24T08:36:16.553" v="26107"/>
          <ac:spMkLst>
            <pc:docMk/>
            <pc:sldMk cId="789548521" sldId="2147478568"/>
            <ac:spMk id="178" creationId="{463AAF33-0C78-6297-8A9C-AB2CBDFE5688}"/>
          </ac:spMkLst>
        </pc:spChg>
        <pc:spChg chg="add del mod">
          <ac:chgData name="Steiner Andreas 6206 ED" userId="e6377c33-a923-4f14-8587-531c474c7b48" providerId="ADAL" clId="{6ECD27E6-B224-41CD-B4E0-E297462320DD}" dt="2023-11-24T08:36:19.131" v="26262"/>
          <ac:spMkLst>
            <pc:docMk/>
            <pc:sldMk cId="789548521" sldId="2147478568"/>
            <ac:spMk id="179" creationId="{B8DC71B2-562A-09A7-F64C-387F28CB2874}"/>
          </ac:spMkLst>
        </pc:spChg>
        <pc:spChg chg="add del mod">
          <ac:chgData name="Steiner Andreas 6206 ED" userId="e6377c33-a923-4f14-8587-531c474c7b48" providerId="ADAL" clId="{6ECD27E6-B224-41CD-B4E0-E297462320DD}" dt="2023-11-24T08:36:21.439" v="26417"/>
          <ac:spMkLst>
            <pc:docMk/>
            <pc:sldMk cId="789548521" sldId="2147478568"/>
            <ac:spMk id="180" creationId="{6BDB00DB-C98A-76E3-E7B1-4DB846570EE1}"/>
          </ac:spMkLst>
        </pc:spChg>
        <pc:spChg chg="add del mod">
          <ac:chgData name="Steiner Andreas 6206 ED" userId="e6377c33-a923-4f14-8587-531c474c7b48" providerId="ADAL" clId="{6ECD27E6-B224-41CD-B4E0-E297462320DD}" dt="2023-11-24T08:36:23.897" v="26572"/>
          <ac:spMkLst>
            <pc:docMk/>
            <pc:sldMk cId="789548521" sldId="2147478568"/>
            <ac:spMk id="181" creationId="{A8195F0D-6C30-775B-C56F-F1B9ACF6108D}"/>
          </ac:spMkLst>
        </pc:spChg>
        <pc:spChg chg="add del mod">
          <ac:chgData name="Steiner Andreas 6206 ED" userId="e6377c33-a923-4f14-8587-531c474c7b48" providerId="ADAL" clId="{6ECD27E6-B224-41CD-B4E0-E297462320DD}" dt="2023-11-24T08:36:26.436" v="26727"/>
          <ac:spMkLst>
            <pc:docMk/>
            <pc:sldMk cId="789548521" sldId="2147478568"/>
            <ac:spMk id="182" creationId="{0DE3F137-2434-2C67-27EB-8F317F1E9503}"/>
          </ac:spMkLst>
        </pc:spChg>
        <pc:spChg chg="add del mod">
          <ac:chgData name="Steiner Andreas 6206 ED" userId="e6377c33-a923-4f14-8587-531c474c7b48" providerId="ADAL" clId="{6ECD27E6-B224-41CD-B4E0-E297462320DD}" dt="2023-11-24T08:36:29.270" v="26882"/>
          <ac:spMkLst>
            <pc:docMk/>
            <pc:sldMk cId="789548521" sldId="2147478568"/>
            <ac:spMk id="183" creationId="{43FBA976-365E-745F-A719-5C5F93B7957C}"/>
          </ac:spMkLst>
        </pc:spChg>
        <pc:spChg chg="add del mod">
          <ac:chgData name="Steiner Andreas 6206 ED" userId="e6377c33-a923-4f14-8587-531c474c7b48" providerId="ADAL" clId="{6ECD27E6-B224-41CD-B4E0-E297462320DD}" dt="2023-11-24T08:36:31.935" v="27037"/>
          <ac:spMkLst>
            <pc:docMk/>
            <pc:sldMk cId="789548521" sldId="2147478568"/>
            <ac:spMk id="184" creationId="{F78B0846-940C-0D36-DF58-DB1D29A84DE4}"/>
          </ac:spMkLst>
        </pc:spChg>
        <pc:spChg chg="add del mod">
          <ac:chgData name="Steiner Andreas 6206 ED" userId="e6377c33-a923-4f14-8587-531c474c7b48" providerId="ADAL" clId="{6ECD27E6-B224-41CD-B4E0-E297462320DD}" dt="2023-11-24T08:36:34.598" v="27192"/>
          <ac:spMkLst>
            <pc:docMk/>
            <pc:sldMk cId="789548521" sldId="2147478568"/>
            <ac:spMk id="185" creationId="{FA8A1A31-E4F8-24FD-9384-5DF67BE052A9}"/>
          </ac:spMkLst>
        </pc:spChg>
        <pc:spChg chg="add del mod">
          <ac:chgData name="Steiner Andreas 6206 ED" userId="e6377c33-a923-4f14-8587-531c474c7b48" providerId="ADAL" clId="{6ECD27E6-B224-41CD-B4E0-E297462320DD}" dt="2023-11-24T08:36:37.126" v="27347"/>
          <ac:spMkLst>
            <pc:docMk/>
            <pc:sldMk cId="789548521" sldId="2147478568"/>
            <ac:spMk id="186" creationId="{132E22B6-D820-B051-01D1-21A31818FF83}"/>
          </ac:spMkLst>
        </pc:spChg>
        <pc:spChg chg="add del mod">
          <ac:chgData name="Steiner Andreas 6206 ED" userId="e6377c33-a923-4f14-8587-531c474c7b48" providerId="ADAL" clId="{6ECD27E6-B224-41CD-B4E0-E297462320DD}" dt="2023-11-24T08:36:39.626" v="27502"/>
          <ac:spMkLst>
            <pc:docMk/>
            <pc:sldMk cId="789548521" sldId="2147478568"/>
            <ac:spMk id="187" creationId="{0A471B37-200C-6A72-6022-819213F51823}"/>
          </ac:spMkLst>
        </pc:spChg>
        <pc:spChg chg="add del mod">
          <ac:chgData name="Steiner Andreas 6206 ED" userId="e6377c33-a923-4f14-8587-531c474c7b48" providerId="ADAL" clId="{6ECD27E6-B224-41CD-B4E0-E297462320DD}" dt="2023-11-24T08:36:42.469" v="27657"/>
          <ac:spMkLst>
            <pc:docMk/>
            <pc:sldMk cId="789548521" sldId="2147478568"/>
            <ac:spMk id="188" creationId="{4729560B-9D99-3545-4A13-981AD76AB0CF}"/>
          </ac:spMkLst>
        </pc:spChg>
        <pc:spChg chg="add del mod">
          <ac:chgData name="Steiner Andreas 6206 ED" userId="e6377c33-a923-4f14-8587-531c474c7b48" providerId="ADAL" clId="{6ECD27E6-B224-41CD-B4E0-E297462320DD}" dt="2023-11-24T08:36:44.991" v="27812"/>
          <ac:spMkLst>
            <pc:docMk/>
            <pc:sldMk cId="789548521" sldId="2147478568"/>
            <ac:spMk id="189" creationId="{7981C57F-5C68-6DBD-9AC4-7D3C170B3E78}"/>
          </ac:spMkLst>
        </pc:spChg>
        <pc:spChg chg="add del mod">
          <ac:chgData name="Steiner Andreas 6206 ED" userId="e6377c33-a923-4f14-8587-531c474c7b48" providerId="ADAL" clId="{6ECD27E6-B224-41CD-B4E0-E297462320DD}" dt="2023-11-24T08:36:47.356" v="27967"/>
          <ac:spMkLst>
            <pc:docMk/>
            <pc:sldMk cId="789548521" sldId="2147478568"/>
            <ac:spMk id="190" creationId="{E06953A0-5854-F505-85D2-C3A881651B5F}"/>
          </ac:spMkLst>
        </pc:spChg>
        <pc:spChg chg="add del mod">
          <ac:chgData name="Steiner Andreas 6206 ED" userId="e6377c33-a923-4f14-8587-531c474c7b48" providerId="ADAL" clId="{6ECD27E6-B224-41CD-B4E0-E297462320DD}" dt="2023-11-24T08:36:49.811" v="28122"/>
          <ac:spMkLst>
            <pc:docMk/>
            <pc:sldMk cId="789548521" sldId="2147478568"/>
            <ac:spMk id="191" creationId="{E74BDCDB-08FC-D5D7-212A-3A186205E5DF}"/>
          </ac:spMkLst>
        </pc:spChg>
        <pc:spChg chg="add del mod">
          <ac:chgData name="Steiner Andreas 6206 ED" userId="e6377c33-a923-4f14-8587-531c474c7b48" providerId="ADAL" clId="{6ECD27E6-B224-41CD-B4E0-E297462320DD}" dt="2023-11-24T08:36:52.718" v="28277"/>
          <ac:spMkLst>
            <pc:docMk/>
            <pc:sldMk cId="789548521" sldId="2147478568"/>
            <ac:spMk id="192" creationId="{FCA248D7-27FA-AA58-2A6A-EC41F05DDBDC}"/>
          </ac:spMkLst>
        </pc:spChg>
        <pc:spChg chg="add del mod">
          <ac:chgData name="Steiner Andreas 6206 ED" userId="e6377c33-a923-4f14-8587-531c474c7b48" providerId="ADAL" clId="{6ECD27E6-B224-41CD-B4E0-E297462320DD}" dt="2023-11-24T08:36:55.891" v="28432"/>
          <ac:spMkLst>
            <pc:docMk/>
            <pc:sldMk cId="789548521" sldId="2147478568"/>
            <ac:spMk id="193" creationId="{216210CA-0E67-7170-BB41-B1593F201545}"/>
          </ac:spMkLst>
        </pc:spChg>
        <pc:spChg chg="add del mod">
          <ac:chgData name="Steiner Andreas 6206 ED" userId="e6377c33-a923-4f14-8587-531c474c7b48" providerId="ADAL" clId="{6ECD27E6-B224-41CD-B4E0-E297462320DD}" dt="2023-11-24T08:36:58.668" v="28587"/>
          <ac:spMkLst>
            <pc:docMk/>
            <pc:sldMk cId="789548521" sldId="2147478568"/>
            <ac:spMk id="194" creationId="{E976C5FD-8A6C-F4DC-17E9-C6BB763A1767}"/>
          </ac:spMkLst>
        </pc:spChg>
        <pc:spChg chg="add del mod">
          <ac:chgData name="Steiner Andreas 6206 ED" userId="e6377c33-a923-4f14-8587-531c474c7b48" providerId="ADAL" clId="{6ECD27E6-B224-41CD-B4E0-E297462320DD}" dt="2023-11-24T08:37:01.498" v="28742"/>
          <ac:spMkLst>
            <pc:docMk/>
            <pc:sldMk cId="789548521" sldId="2147478568"/>
            <ac:spMk id="195" creationId="{6302F5FF-1493-3AA1-1AFA-D5D553200B5D}"/>
          </ac:spMkLst>
        </pc:spChg>
        <pc:spChg chg="add del mod">
          <ac:chgData name="Steiner Andreas 6206 ED" userId="e6377c33-a923-4f14-8587-531c474c7b48" providerId="ADAL" clId="{6ECD27E6-B224-41CD-B4E0-E297462320DD}" dt="2023-11-24T08:37:04.138" v="28897"/>
          <ac:spMkLst>
            <pc:docMk/>
            <pc:sldMk cId="789548521" sldId="2147478568"/>
            <ac:spMk id="196" creationId="{227077E0-7ECC-064F-2289-ACB8CBA84B9E}"/>
          </ac:spMkLst>
        </pc:spChg>
        <pc:spChg chg="add del mod">
          <ac:chgData name="Steiner Andreas 6206 ED" userId="e6377c33-a923-4f14-8587-531c474c7b48" providerId="ADAL" clId="{6ECD27E6-B224-41CD-B4E0-E297462320DD}" dt="2023-11-24T08:37:07.050" v="29052"/>
          <ac:spMkLst>
            <pc:docMk/>
            <pc:sldMk cId="789548521" sldId="2147478568"/>
            <ac:spMk id="197" creationId="{A6E21B1C-A86F-D544-61D3-E334827B8482}"/>
          </ac:spMkLst>
        </pc:spChg>
        <pc:spChg chg="add del mod">
          <ac:chgData name="Steiner Andreas 6206 ED" userId="e6377c33-a923-4f14-8587-531c474c7b48" providerId="ADAL" clId="{6ECD27E6-B224-41CD-B4E0-E297462320DD}" dt="2023-11-24T08:37:09.621" v="29207"/>
          <ac:spMkLst>
            <pc:docMk/>
            <pc:sldMk cId="789548521" sldId="2147478568"/>
            <ac:spMk id="198" creationId="{2238FA72-79C3-7ECE-D9B6-BD396BF5080F}"/>
          </ac:spMkLst>
        </pc:spChg>
        <pc:spChg chg="add del mod">
          <ac:chgData name="Steiner Andreas 6206 ED" userId="e6377c33-a923-4f14-8587-531c474c7b48" providerId="ADAL" clId="{6ECD27E6-B224-41CD-B4E0-E297462320DD}" dt="2023-11-24T08:37:12.397" v="29362"/>
          <ac:spMkLst>
            <pc:docMk/>
            <pc:sldMk cId="789548521" sldId="2147478568"/>
            <ac:spMk id="199" creationId="{D2FFA5D6-1C07-F047-CFF2-112525EB8EA5}"/>
          </ac:spMkLst>
        </pc:spChg>
        <pc:spChg chg="add del mod">
          <ac:chgData name="Steiner Andreas 6206 ED" userId="e6377c33-a923-4f14-8587-531c474c7b48" providerId="ADAL" clId="{6ECD27E6-B224-41CD-B4E0-E297462320DD}" dt="2023-11-24T08:37:15.542" v="29517"/>
          <ac:spMkLst>
            <pc:docMk/>
            <pc:sldMk cId="789548521" sldId="2147478568"/>
            <ac:spMk id="200" creationId="{825C9311-B5C2-3B6E-FCA4-56506B7100AA}"/>
          </ac:spMkLst>
        </pc:spChg>
        <pc:spChg chg="add del mod">
          <ac:chgData name="Steiner Andreas 6206 ED" userId="e6377c33-a923-4f14-8587-531c474c7b48" providerId="ADAL" clId="{6ECD27E6-B224-41CD-B4E0-E297462320DD}" dt="2023-11-24T08:37:18.475" v="29672"/>
          <ac:spMkLst>
            <pc:docMk/>
            <pc:sldMk cId="789548521" sldId="2147478568"/>
            <ac:spMk id="201" creationId="{70743111-EB6A-DC55-16E0-F8A9EEE2C66C}"/>
          </ac:spMkLst>
        </pc:spChg>
        <pc:spChg chg="add del mod">
          <ac:chgData name="Steiner Andreas 6206 ED" userId="e6377c33-a923-4f14-8587-531c474c7b48" providerId="ADAL" clId="{6ECD27E6-B224-41CD-B4E0-E297462320DD}" dt="2023-11-24T08:37:20.954" v="29827"/>
          <ac:spMkLst>
            <pc:docMk/>
            <pc:sldMk cId="789548521" sldId="2147478568"/>
            <ac:spMk id="202" creationId="{3D2E3272-AAEB-B16B-3809-7A8C8B8A2834}"/>
          </ac:spMkLst>
        </pc:spChg>
        <pc:spChg chg="add del mod">
          <ac:chgData name="Steiner Andreas 6206 ED" userId="e6377c33-a923-4f14-8587-531c474c7b48" providerId="ADAL" clId="{6ECD27E6-B224-41CD-B4E0-E297462320DD}" dt="2023-11-24T08:37:23.772" v="29982"/>
          <ac:spMkLst>
            <pc:docMk/>
            <pc:sldMk cId="789548521" sldId="2147478568"/>
            <ac:spMk id="203" creationId="{201CBB38-67D0-2C9A-2C03-7AB4236CF358}"/>
          </ac:spMkLst>
        </pc:spChg>
        <pc:spChg chg="add del mod">
          <ac:chgData name="Steiner Andreas 6206 ED" userId="e6377c33-a923-4f14-8587-531c474c7b48" providerId="ADAL" clId="{6ECD27E6-B224-41CD-B4E0-E297462320DD}" dt="2023-11-24T08:37:26.332" v="30137"/>
          <ac:spMkLst>
            <pc:docMk/>
            <pc:sldMk cId="789548521" sldId="2147478568"/>
            <ac:spMk id="204" creationId="{4833C059-57BB-1020-BE49-CAC18E071330}"/>
          </ac:spMkLst>
        </pc:spChg>
        <pc:spChg chg="add del mod">
          <ac:chgData name="Steiner Andreas 6206 ED" userId="e6377c33-a923-4f14-8587-531c474c7b48" providerId="ADAL" clId="{6ECD27E6-B224-41CD-B4E0-E297462320DD}" dt="2023-11-24T08:37:29.434" v="30292"/>
          <ac:spMkLst>
            <pc:docMk/>
            <pc:sldMk cId="789548521" sldId="2147478568"/>
            <ac:spMk id="205" creationId="{874E583F-8A5A-E2E6-DFCC-DF3780400657}"/>
          </ac:spMkLst>
        </pc:spChg>
        <pc:spChg chg="add del mod">
          <ac:chgData name="Steiner Andreas 6206 ED" userId="e6377c33-a923-4f14-8587-531c474c7b48" providerId="ADAL" clId="{6ECD27E6-B224-41CD-B4E0-E297462320DD}" dt="2023-11-24T08:37:32.507" v="30447"/>
          <ac:spMkLst>
            <pc:docMk/>
            <pc:sldMk cId="789548521" sldId="2147478568"/>
            <ac:spMk id="206" creationId="{EB24BA6E-80BB-E07F-E5B0-8BE7123FB1CD}"/>
          </ac:spMkLst>
        </pc:spChg>
        <pc:spChg chg="add del mod">
          <ac:chgData name="Steiner Andreas 6206 ED" userId="e6377c33-a923-4f14-8587-531c474c7b48" providerId="ADAL" clId="{6ECD27E6-B224-41CD-B4E0-E297462320DD}" dt="2023-11-24T08:37:35.113" v="30602"/>
          <ac:spMkLst>
            <pc:docMk/>
            <pc:sldMk cId="789548521" sldId="2147478568"/>
            <ac:spMk id="207" creationId="{B3A25482-9999-EE28-A99C-5C1BA54B7E09}"/>
          </ac:spMkLst>
        </pc:spChg>
        <pc:spChg chg="add del mod">
          <ac:chgData name="Steiner Andreas 6206 ED" userId="e6377c33-a923-4f14-8587-531c474c7b48" providerId="ADAL" clId="{6ECD27E6-B224-41CD-B4E0-E297462320DD}" dt="2023-11-24T08:37:37.792" v="30757"/>
          <ac:spMkLst>
            <pc:docMk/>
            <pc:sldMk cId="789548521" sldId="2147478568"/>
            <ac:spMk id="208" creationId="{8168BD1E-9665-56AD-1D36-BAD99A8FBE24}"/>
          </ac:spMkLst>
        </pc:spChg>
        <pc:spChg chg="add del mod">
          <ac:chgData name="Steiner Andreas 6206 ED" userId="e6377c33-a923-4f14-8587-531c474c7b48" providerId="ADAL" clId="{6ECD27E6-B224-41CD-B4E0-E297462320DD}" dt="2023-11-24T08:37:41.188" v="30912"/>
          <ac:spMkLst>
            <pc:docMk/>
            <pc:sldMk cId="789548521" sldId="2147478568"/>
            <ac:spMk id="209" creationId="{3D13276B-F42B-D774-06DC-34091680FFBC}"/>
          </ac:spMkLst>
        </pc:spChg>
        <pc:spChg chg="add del mod">
          <ac:chgData name="Steiner Andreas 6206 ED" userId="e6377c33-a923-4f14-8587-531c474c7b48" providerId="ADAL" clId="{6ECD27E6-B224-41CD-B4E0-E297462320DD}" dt="2023-11-24T08:37:44.634" v="31067"/>
          <ac:spMkLst>
            <pc:docMk/>
            <pc:sldMk cId="789548521" sldId="2147478568"/>
            <ac:spMk id="210" creationId="{066064F8-0958-0CF4-ED61-7FA2007B3510}"/>
          </ac:spMkLst>
        </pc:spChg>
        <pc:spChg chg="add del mod">
          <ac:chgData name="Steiner Andreas 6206 ED" userId="e6377c33-a923-4f14-8587-531c474c7b48" providerId="ADAL" clId="{6ECD27E6-B224-41CD-B4E0-E297462320DD}" dt="2023-11-24T08:37:47.490" v="31222"/>
          <ac:spMkLst>
            <pc:docMk/>
            <pc:sldMk cId="789548521" sldId="2147478568"/>
            <ac:spMk id="211" creationId="{89BD12EC-0710-71D8-DC61-EF0D29276365}"/>
          </ac:spMkLst>
        </pc:spChg>
        <pc:spChg chg="add del mod">
          <ac:chgData name="Steiner Andreas 6206 ED" userId="e6377c33-a923-4f14-8587-531c474c7b48" providerId="ADAL" clId="{6ECD27E6-B224-41CD-B4E0-E297462320DD}" dt="2023-11-24T08:37:50.249" v="31377"/>
          <ac:spMkLst>
            <pc:docMk/>
            <pc:sldMk cId="789548521" sldId="2147478568"/>
            <ac:spMk id="212" creationId="{AC455EF6-7282-B50B-EAA0-5E95EFC96285}"/>
          </ac:spMkLst>
        </pc:spChg>
        <pc:spChg chg="add del mod">
          <ac:chgData name="Steiner Andreas 6206 ED" userId="e6377c33-a923-4f14-8587-531c474c7b48" providerId="ADAL" clId="{6ECD27E6-B224-41CD-B4E0-E297462320DD}" dt="2023-11-24T08:37:52.889" v="31532"/>
          <ac:spMkLst>
            <pc:docMk/>
            <pc:sldMk cId="789548521" sldId="2147478568"/>
            <ac:spMk id="213" creationId="{6CB14AA9-F6CE-1315-0BD2-2DD5E83C01A2}"/>
          </ac:spMkLst>
        </pc:spChg>
        <pc:spChg chg="add del mod">
          <ac:chgData name="Steiner Andreas 6206 ED" userId="e6377c33-a923-4f14-8587-531c474c7b48" providerId="ADAL" clId="{6ECD27E6-B224-41CD-B4E0-E297462320DD}" dt="2023-11-24T08:37:56.799" v="31687"/>
          <ac:spMkLst>
            <pc:docMk/>
            <pc:sldMk cId="789548521" sldId="2147478568"/>
            <ac:spMk id="214" creationId="{71DFDBE1-D7B6-15DF-A6BC-6BDCBE85FEC9}"/>
          </ac:spMkLst>
        </pc:spChg>
        <pc:spChg chg="add del mod">
          <ac:chgData name="Steiner Andreas 6206 ED" userId="e6377c33-a923-4f14-8587-531c474c7b48" providerId="ADAL" clId="{6ECD27E6-B224-41CD-B4E0-E297462320DD}" dt="2023-11-24T08:37:59.676" v="31842"/>
          <ac:spMkLst>
            <pc:docMk/>
            <pc:sldMk cId="789548521" sldId="2147478568"/>
            <ac:spMk id="215" creationId="{71084E03-77C7-9264-B73D-850151EDE7B1}"/>
          </ac:spMkLst>
        </pc:spChg>
        <pc:spChg chg="add del mod">
          <ac:chgData name="Steiner Andreas 6206 ED" userId="e6377c33-a923-4f14-8587-531c474c7b48" providerId="ADAL" clId="{6ECD27E6-B224-41CD-B4E0-E297462320DD}" dt="2023-11-24T08:38:02.700" v="31997"/>
          <ac:spMkLst>
            <pc:docMk/>
            <pc:sldMk cId="789548521" sldId="2147478568"/>
            <ac:spMk id="216" creationId="{1398B34A-B1D7-4DA5-0A88-2D3474E5A232}"/>
          </ac:spMkLst>
        </pc:spChg>
        <pc:spChg chg="add del mod">
          <ac:chgData name="Steiner Andreas 6206 ED" userId="e6377c33-a923-4f14-8587-531c474c7b48" providerId="ADAL" clId="{6ECD27E6-B224-41CD-B4E0-E297462320DD}" dt="2023-11-24T08:38:05.581" v="32152"/>
          <ac:spMkLst>
            <pc:docMk/>
            <pc:sldMk cId="789548521" sldId="2147478568"/>
            <ac:spMk id="217" creationId="{7700A069-0CE8-F160-3B26-E7E962D51CA9}"/>
          </ac:spMkLst>
        </pc:spChg>
        <pc:spChg chg="add del mod">
          <ac:chgData name="Steiner Andreas 6206 ED" userId="e6377c33-a923-4f14-8587-531c474c7b48" providerId="ADAL" clId="{6ECD27E6-B224-41CD-B4E0-E297462320DD}" dt="2023-11-24T08:38:08.701" v="32307"/>
          <ac:spMkLst>
            <pc:docMk/>
            <pc:sldMk cId="789548521" sldId="2147478568"/>
            <ac:spMk id="218" creationId="{C37740AA-F6C6-67A5-C5FB-B6CE22E99EA9}"/>
          </ac:spMkLst>
        </pc:spChg>
        <pc:spChg chg="add del mod">
          <ac:chgData name="Steiner Andreas 6206 ED" userId="e6377c33-a923-4f14-8587-531c474c7b48" providerId="ADAL" clId="{6ECD27E6-B224-41CD-B4E0-E297462320DD}" dt="2023-11-24T08:38:11.455" v="32462"/>
          <ac:spMkLst>
            <pc:docMk/>
            <pc:sldMk cId="789548521" sldId="2147478568"/>
            <ac:spMk id="219" creationId="{024402CF-59C7-2472-669B-FD0752C49B11}"/>
          </ac:spMkLst>
        </pc:spChg>
        <pc:spChg chg="add del mod">
          <ac:chgData name="Steiner Andreas 6206 ED" userId="e6377c33-a923-4f14-8587-531c474c7b48" providerId="ADAL" clId="{6ECD27E6-B224-41CD-B4E0-E297462320DD}" dt="2023-11-24T08:38:14.105" v="32617"/>
          <ac:spMkLst>
            <pc:docMk/>
            <pc:sldMk cId="789548521" sldId="2147478568"/>
            <ac:spMk id="220" creationId="{C3BEECF9-497E-5812-ADD7-281AFDE5E3D6}"/>
          </ac:spMkLst>
        </pc:spChg>
        <pc:spChg chg="add del mod">
          <ac:chgData name="Steiner Andreas 6206 ED" userId="e6377c33-a923-4f14-8587-531c474c7b48" providerId="ADAL" clId="{6ECD27E6-B224-41CD-B4E0-E297462320DD}" dt="2023-11-24T08:38:16.808" v="32772"/>
          <ac:spMkLst>
            <pc:docMk/>
            <pc:sldMk cId="789548521" sldId="2147478568"/>
            <ac:spMk id="221" creationId="{5246C7B9-EDEA-3C85-4200-5655B5852F94}"/>
          </ac:spMkLst>
        </pc:spChg>
        <pc:spChg chg="add del mod">
          <ac:chgData name="Steiner Andreas 6206 ED" userId="e6377c33-a923-4f14-8587-531c474c7b48" providerId="ADAL" clId="{6ECD27E6-B224-41CD-B4E0-E297462320DD}" dt="2023-11-24T08:38:19.683" v="32927"/>
          <ac:spMkLst>
            <pc:docMk/>
            <pc:sldMk cId="789548521" sldId="2147478568"/>
            <ac:spMk id="222" creationId="{BFD990BE-4E8A-80EC-DE94-E1F5581155A0}"/>
          </ac:spMkLst>
        </pc:spChg>
        <pc:spChg chg="add del mod">
          <ac:chgData name="Steiner Andreas 6206 ED" userId="e6377c33-a923-4f14-8587-531c474c7b48" providerId="ADAL" clId="{6ECD27E6-B224-41CD-B4E0-E297462320DD}" dt="2023-11-24T08:38:22.542" v="33082"/>
          <ac:spMkLst>
            <pc:docMk/>
            <pc:sldMk cId="789548521" sldId="2147478568"/>
            <ac:spMk id="223" creationId="{8EE7794D-71E4-AE5E-77AA-045A738A85FD}"/>
          </ac:spMkLst>
        </pc:spChg>
        <pc:spChg chg="add del mod">
          <ac:chgData name="Steiner Andreas 6206 ED" userId="e6377c33-a923-4f14-8587-531c474c7b48" providerId="ADAL" clId="{6ECD27E6-B224-41CD-B4E0-E297462320DD}" dt="2023-11-24T08:38:25.387" v="33237"/>
          <ac:spMkLst>
            <pc:docMk/>
            <pc:sldMk cId="789548521" sldId="2147478568"/>
            <ac:spMk id="224" creationId="{63DD4992-54AC-A6BF-EC82-590F29981CB0}"/>
          </ac:spMkLst>
        </pc:spChg>
        <pc:spChg chg="add del mod">
          <ac:chgData name="Steiner Andreas 6206 ED" userId="e6377c33-a923-4f14-8587-531c474c7b48" providerId="ADAL" clId="{6ECD27E6-B224-41CD-B4E0-E297462320DD}" dt="2023-11-24T08:38:28.957" v="33392"/>
          <ac:spMkLst>
            <pc:docMk/>
            <pc:sldMk cId="789548521" sldId="2147478568"/>
            <ac:spMk id="225" creationId="{23C35415-257E-89F5-19B6-3163DBCDF71A}"/>
          </ac:spMkLst>
        </pc:spChg>
        <pc:spChg chg="add del mod">
          <ac:chgData name="Steiner Andreas 6206 ED" userId="e6377c33-a923-4f14-8587-531c474c7b48" providerId="ADAL" clId="{6ECD27E6-B224-41CD-B4E0-E297462320DD}" dt="2023-11-24T08:38:32.093" v="33547"/>
          <ac:spMkLst>
            <pc:docMk/>
            <pc:sldMk cId="789548521" sldId="2147478568"/>
            <ac:spMk id="226" creationId="{8F438F24-F857-AEF8-DAC5-527E8D98BE7C}"/>
          </ac:spMkLst>
        </pc:spChg>
        <pc:spChg chg="add del mod">
          <ac:chgData name="Steiner Andreas 6206 ED" userId="e6377c33-a923-4f14-8587-531c474c7b48" providerId="ADAL" clId="{6ECD27E6-B224-41CD-B4E0-E297462320DD}" dt="2023-11-24T08:38:34.899" v="33702"/>
          <ac:spMkLst>
            <pc:docMk/>
            <pc:sldMk cId="789548521" sldId="2147478568"/>
            <ac:spMk id="227" creationId="{FD400DBC-99FD-E50A-CA96-CDA3F43A8B8F}"/>
          </ac:spMkLst>
        </pc:spChg>
        <pc:spChg chg="add del mod">
          <ac:chgData name="Steiner Andreas 6206 ED" userId="e6377c33-a923-4f14-8587-531c474c7b48" providerId="ADAL" clId="{6ECD27E6-B224-41CD-B4E0-E297462320DD}" dt="2023-11-24T08:38:37.559" v="33857"/>
          <ac:spMkLst>
            <pc:docMk/>
            <pc:sldMk cId="789548521" sldId="2147478568"/>
            <ac:spMk id="228" creationId="{524A546E-B5D7-6F1F-B304-D7ED10FC56FF}"/>
          </ac:spMkLst>
        </pc:spChg>
        <pc:spChg chg="add del mod">
          <ac:chgData name="Steiner Andreas 6206 ED" userId="e6377c33-a923-4f14-8587-531c474c7b48" providerId="ADAL" clId="{6ECD27E6-B224-41CD-B4E0-E297462320DD}" dt="2023-11-24T08:38:40.072" v="34012"/>
          <ac:spMkLst>
            <pc:docMk/>
            <pc:sldMk cId="789548521" sldId="2147478568"/>
            <ac:spMk id="229" creationId="{34FAD162-B78E-D9FE-F8F2-18EEFB86632B}"/>
          </ac:spMkLst>
        </pc:spChg>
        <pc:spChg chg="add del mod">
          <ac:chgData name="Steiner Andreas 6206 ED" userId="e6377c33-a923-4f14-8587-531c474c7b48" providerId="ADAL" clId="{6ECD27E6-B224-41CD-B4E0-E297462320DD}" dt="2023-11-24T08:38:42.582" v="34167"/>
          <ac:spMkLst>
            <pc:docMk/>
            <pc:sldMk cId="789548521" sldId="2147478568"/>
            <ac:spMk id="230" creationId="{4DE836C8-460E-FD19-97F7-1F9F5EB59290}"/>
          </ac:spMkLst>
        </pc:spChg>
        <pc:spChg chg="add del mod">
          <ac:chgData name="Steiner Andreas 6206 ED" userId="e6377c33-a923-4f14-8587-531c474c7b48" providerId="ADAL" clId="{6ECD27E6-B224-41CD-B4E0-E297462320DD}" dt="2023-11-24T08:38:46.579" v="34322"/>
          <ac:spMkLst>
            <pc:docMk/>
            <pc:sldMk cId="789548521" sldId="2147478568"/>
            <ac:spMk id="231" creationId="{8201F885-B249-3087-BA2B-B7295B673887}"/>
          </ac:spMkLst>
        </pc:spChg>
        <pc:spChg chg="add del mod">
          <ac:chgData name="Steiner Andreas 6206 ED" userId="e6377c33-a923-4f14-8587-531c474c7b48" providerId="ADAL" clId="{6ECD27E6-B224-41CD-B4E0-E297462320DD}" dt="2023-11-24T08:38:49.328" v="34477"/>
          <ac:spMkLst>
            <pc:docMk/>
            <pc:sldMk cId="789548521" sldId="2147478568"/>
            <ac:spMk id="232" creationId="{D91E5647-17EB-CF08-5040-5485F5F3AAC3}"/>
          </ac:spMkLst>
        </pc:spChg>
        <pc:spChg chg="add del mod">
          <ac:chgData name="Steiner Andreas 6206 ED" userId="e6377c33-a923-4f14-8587-531c474c7b48" providerId="ADAL" clId="{6ECD27E6-B224-41CD-B4E0-E297462320DD}" dt="2023-11-24T08:38:52.083" v="34632"/>
          <ac:spMkLst>
            <pc:docMk/>
            <pc:sldMk cId="789548521" sldId="2147478568"/>
            <ac:spMk id="233" creationId="{4C89C6B9-6E4C-E91A-9E66-D43C776A1152}"/>
          </ac:spMkLst>
        </pc:spChg>
        <pc:spChg chg="add del mod">
          <ac:chgData name="Steiner Andreas 6206 ED" userId="e6377c33-a923-4f14-8587-531c474c7b48" providerId="ADAL" clId="{6ECD27E6-B224-41CD-B4E0-E297462320DD}" dt="2023-11-24T08:38:54.998" v="34787"/>
          <ac:spMkLst>
            <pc:docMk/>
            <pc:sldMk cId="789548521" sldId="2147478568"/>
            <ac:spMk id="234" creationId="{D3CC73EF-83F0-8CD1-28D2-BD1FF89469CA}"/>
          </ac:spMkLst>
        </pc:spChg>
        <pc:spChg chg="add del mod">
          <ac:chgData name="Steiner Andreas 6206 ED" userId="e6377c33-a923-4f14-8587-531c474c7b48" providerId="ADAL" clId="{6ECD27E6-B224-41CD-B4E0-E297462320DD}" dt="2023-11-24T08:38:58.132" v="34942"/>
          <ac:spMkLst>
            <pc:docMk/>
            <pc:sldMk cId="789548521" sldId="2147478568"/>
            <ac:spMk id="235" creationId="{0A8E59C4-EF54-7F1D-F0CE-5C6121667B11}"/>
          </ac:spMkLst>
        </pc:spChg>
        <pc:spChg chg="add del mod">
          <ac:chgData name="Steiner Andreas 6206 ED" userId="e6377c33-a923-4f14-8587-531c474c7b48" providerId="ADAL" clId="{6ECD27E6-B224-41CD-B4E0-E297462320DD}" dt="2023-11-24T08:39:01.547" v="35097"/>
          <ac:spMkLst>
            <pc:docMk/>
            <pc:sldMk cId="789548521" sldId="2147478568"/>
            <ac:spMk id="236" creationId="{DC652F09-C163-834F-8545-07F306694732}"/>
          </ac:spMkLst>
        </pc:spChg>
        <pc:spChg chg="add del mod">
          <ac:chgData name="Steiner Andreas 6206 ED" userId="e6377c33-a923-4f14-8587-531c474c7b48" providerId="ADAL" clId="{6ECD27E6-B224-41CD-B4E0-E297462320DD}" dt="2023-11-24T08:39:04.908" v="35252"/>
          <ac:spMkLst>
            <pc:docMk/>
            <pc:sldMk cId="789548521" sldId="2147478568"/>
            <ac:spMk id="237" creationId="{334686BD-6FA1-2FC3-30C8-DCB802871994}"/>
          </ac:spMkLst>
        </pc:spChg>
        <pc:spChg chg="add del mod">
          <ac:chgData name="Steiner Andreas 6206 ED" userId="e6377c33-a923-4f14-8587-531c474c7b48" providerId="ADAL" clId="{6ECD27E6-B224-41CD-B4E0-E297462320DD}" dt="2023-11-24T08:39:07.749" v="35407"/>
          <ac:spMkLst>
            <pc:docMk/>
            <pc:sldMk cId="789548521" sldId="2147478568"/>
            <ac:spMk id="238" creationId="{109B858C-6513-0CBE-ACB2-73CEE8FB3220}"/>
          </ac:spMkLst>
        </pc:spChg>
        <pc:spChg chg="add del mod">
          <ac:chgData name="Steiner Andreas 6206 ED" userId="e6377c33-a923-4f14-8587-531c474c7b48" providerId="ADAL" clId="{6ECD27E6-B224-41CD-B4E0-E297462320DD}" dt="2023-11-24T08:39:12.333" v="35562"/>
          <ac:spMkLst>
            <pc:docMk/>
            <pc:sldMk cId="789548521" sldId="2147478568"/>
            <ac:spMk id="239" creationId="{23B3C938-2723-8D9D-2442-5C62DC54238E}"/>
          </ac:spMkLst>
        </pc:spChg>
        <pc:spChg chg="add del mod">
          <ac:chgData name="Steiner Andreas 6206 ED" userId="e6377c33-a923-4f14-8587-531c474c7b48" providerId="ADAL" clId="{6ECD27E6-B224-41CD-B4E0-E297462320DD}" dt="2023-11-24T08:39:15.163" v="35717"/>
          <ac:spMkLst>
            <pc:docMk/>
            <pc:sldMk cId="789548521" sldId="2147478568"/>
            <ac:spMk id="240" creationId="{156166AD-CC2D-0EBE-02A4-D655F0343912}"/>
          </ac:spMkLst>
        </pc:spChg>
        <pc:spChg chg="add del mod">
          <ac:chgData name="Steiner Andreas 6206 ED" userId="e6377c33-a923-4f14-8587-531c474c7b48" providerId="ADAL" clId="{6ECD27E6-B224-41CD-B4E0-E297462320DD}" dt="2023-11-24T08:39:17.712" v="35872"/>
          <ac:spMkLst>
            <pc:docMk/>
            <pc:sldMk cId="789548521" sldId="2147478568"/>
            <ac:spMk id="241" creationId="{35FAD6AC-CCE8-575A-6058-FD860F83065C}"/>
          </ac:spMkLst>
        </pc:spChg>
        <pc:spChg chg="add del mod">
          <ac:chgData name="Steiner Andreas 6206 ED" userId="e6377c33-a923-4f14-8587-531c474c7b48" providerId="ADAL" clId="{6ECD27E6-B224-41CD-B4E0-E297462320DD}" dt="2023-11-24T08:39:20.414" v="36027"/>
          <ac:spMkLst>
            <pc:docMk/>
            <pc:sldMk cId="789548521" sldId="2147478568"/>
            <ac:spMk id="242" creationId="{B175DE6B-D5BD-74FC-0D4E-8F1EDC58DE0D}"/>
          </ac:spMkLst>
        </pc:spChg>
        <pc:spChg chg="add del mod">
          <ac:chgData name="Steiner Andreas 6206 ED" userId="e6377c33-a923-4f14-8587-531c474c7b48" providerId="ADAL" clId="{6ECD27E6-B224-41CD-B4E0-E297462320DD}" dt="2023-11-24T08:39:23.469" v="36182"/>
          <ac:spMkLst>
            <pc:docMk/>
            <pc:sldMk cId="789548521" sldId="2147478568"/>
            <ac:spMk id="243" creationId="{FD32F8B4-6256-F9AD-7906-7287D6B0EAC9}"/>
          </ac:spMkLst>
        </pc:spChg>
        <pc:spChg chg="add del mod">
          <ac:chgData name="Steiner Andreas 6206 ED" userId="e6377c33-a923-4f14-8587-531c474c7b48" providerId="ADAL" clId="{6ECD27E6-B224-41CD-B4E0-E297462320DD}" dt="2023-11-24T08:39:26.315" v="36337"/>
          <ac:spMkLst>
            <pc:docMk/>
            <pc:sldMk cId="789548521" sldId="2147478568"/>
            <ac:spMk id="244" creationId="{929D9F4C-9B53-83C5-3F16-B4F73F8786C7}"/>
          </ac:spMkLst>
        </pc:spChg>
        <pc:spChg chg="add del mod">
          <ac:chgData name="Steiner Andreas 6206 ED" userId="e6377c33-a923-4f14-8587-531c474c7b48" providerId="ADAL" clId="{6ECD27E6-B224-41CD-B4E0-E297462320DD}" dt="2023-11-24T08:39:29.060" v="36492"/>
          <ac:spMkLst>
            <pc:docMk/>
            <pc:sldMk cId="789548521" sldId="2147478568"/>
            <ac:spMk id="245" creationId="{F188AD98-9DC2-90AD-7FAE-7F7BD6ED8113}"/>
          </ac:spMkLst>
        </pc:spChg>
        <pc:spChg chg="add del mod">
          <ac:chgData name="Steiner Andreas 6206 ED" userId="e6377c33-a923-4f14-8587-531c474c7b48" providerId="ADAL" clId="{6ECD27E6-B224-41CD-B4E0-E297462320DD}" dt="2023-11-24T08:39:31.641" v="36647"/>
          <ac:spMkLst>
            <pc:docMk/>
            <pc:sldMk cId="789548521" sldId="2147478568"/>
            <ac:spMk id="246" creationId="{C19B53CE-6548-B06E-97B0-05C75AFDA731}"/>
          </ac:spMkLst>
        </pc:spChg>
        <pc:spChg chg="add del mod">
          <ac:chgData name="Steiner Andreas 6206 ED" userId="e6377c33-a923-4f14-8587-531c474c7b48" providerId="ADAL" clId="{6ECD27E6-B224-41CD-B4E0-E297462320DD}" dt="2023-11-24T08:39:34.175" v="36802"/>
          <ac:spMkLst>
            <pc:docMk/>
            <pc:sldMk cId="789548521" sldId="2147478568"/>
            <ac:spMk id="247" creationId="{CFABFAC2-0471-F753-117B-BFA427AE5FFC}"/>
          </ac:spMkLst>
        </pc:spChg>
        <pc:spChg chg="add del mod">
          <ac:chgData name="Steiner Andreas 6206 ED" userId="e6377c33-a923-4f14-8587-531c474c7b48" providerId="ADAL" clId="{6ECD27E6-B224-41CD-B4E0-E297462320DD}" dt="2023-11-24T08:39:37.058" v="36957"/>
          <ac:spMkLst>
            <pc:docMk/>
            <pc:sldMk cId="789548521" sldId="2147478568"/>
            <ac:spMk id="248" creationId="{33002041-3ABD-A317-9A83-EDF8D10E6553}"/>
          </ac:spMkLst>
        </pc:spChg>
        <pc:spChg chg="add del mod">
          <ac:chgData name="Steiner Andreas 6206 ED" userId="e6377c33-a923-4f14-8587-531c474c7b48" providerId="ADAL" clId="{6ECD27E6-B224-41CD-B4E0-E297462320DD}" dt="2023-11-24T08:39:39.722" v="37112"/>
          <ac:spMkLst>
            <pc:docMk/>
            <pc:sldMk cId="789548521" sldId="2147478568"/>
            <ac:spMk id="249" creationId="{4A7CA562-C80B-994B-1AF2-70CB02502144}"/>
          </ac:spMkLst>
        </pc:spChg>
        <pc:spChg chg="add del mod">
          <ac:chgData name="Steiner Andreas 6206 ED" userId="e6377c33-a923-4f14-8587-531c474c7b48" providerId="ADAL" clId="{6ECD27E6-B224-41CD-B4E0-E297462320DD}" dt="2023-11-24T08:39:42.195" v="37267"/>
          <ac:spMkLst>
            <pc:docMk/>
            <pc:sldMk cId="789548521" sldId="2147478568"/>
            <ac:spMk id="250" creationId="{2BB262AE-2A4B-1D88-DE85-C04593834F3E}"/>
          </ac:spMkLst>
        </pc:spChg>
        <pc:spChg chg="add del mod">
          <ac:chgData name="Steiner Andreas 6206 ED" userId="e6377c33-a923-4f14-8587-531c474c7b48" providerId="ADAL" clId="{6ECD27E6-B224-41CD-B4E0-E297462320DD}" dt="2023-11-24T08:39:44.730" v="37422"/>
          <ac:spMkLst>
            <pc:docMk/>
            <pc:sldMk cId="789548521" sldId="2147478568"/>
            <ac:spMk id="251" creationId="{5574F65C-63A8-6C7C-4EA0-E1331CC14864}"/>
          </ac:spMkLst>
        </pc:spChg>
        <pc:spChg chg="add del mod">
          <ac:chgData name="Steiner Andreas 6206 ED" userId="e6377c33-a923-4f14-8587-531c474c7b48" providerId="ADAL" clId="{6ECD27E6-B224-41CD-B4E0-E297462320DD}" dt="2023-11-24T08:39:47.611" v="37577"/>
          <ac:spMkLst>
            <pc:docMk/>
            <pc:sldMk cId="789548521" sldId="2147478568"/>
            <ac:spMk id="252" creationId="{61624116-4841-296E-4BBD-9796E89E34A9}"/>
          </ac:spMkLst>
        </pc:spChg>
        <pc:spChg chg="add del mod">
          <ac:chgData name="Steiner Andreas 6206 ED" userId="e6377c33-a923-4f14-8587-531c474c7b48" providerId="ADAL" clId="{6ECD27E6-B224-41CD-B4E0-E297462320DD}" dt="2023-11-24T08:39:50.447" v="37732"/>
          <ac:spMkLst>
            <pc:docMk/>
            <pc:sldMk cId="789548521" sldId="2147478568"/>
            <ac:spMk id="253" creationId="{68150B03-AA83-7218-0323-EBA44B992A44}"/>
          </ac:spMkLst>
        </pc:spChg>
        <pc:spChg chg="add del mod">
          <ac:chgData name="Steiner Andreas 6206 ED" userId="e6377c33-a923-4f14-8587-531c474c7b48" providerId="ADAL" clId="{6ECD27E6-B224-41CD-B4E0-E297462320DD}" dt="2023-11-24T08:39:52.998" v="37887"/>
          <ac:spMkLst>
            <pc:docMk/>
            <pc:sldMk cId="789548521" sldId="2147478568"/>
            <ac:spMk id="254" creationId="{0E2A8459-7A48-AC45-1C02-4A593AA70515}"/>
          </ac:spMkLst>
        </pc:spChg>
        <pc:spChg chg="add del mod">
          <ac:chgData name="Steiner Andreas 6206 ED" userId="e6377c33-a923-4f14-8587-531c474c7b48" providerId="ADAL" clId="{6ECD27E6-B224-41CD-B4E0-E297462320DD}" dt="2023-11-24T08:39:56.003" v="38042"/>
          <ac:spMkLst>
            <pc:docMk/>
            <pc:sldMk cId="789548521" sldId="2147478568"/>
            <ac:spMk id="255" creationId="{BEB0CC38-6B84-7AA4-B0C6-D54C92EF5299}"/>
          </ac:spMkLst>
        </pc:spChg>
        <pc:spChg chg="add del mod">
          <ac:chgData name="Steiner Andreas 6206 ED" userId="e6377c33-a923-4f14-8587-531c474c7b48" providerId="ADAL" clId="{6ECD27E6-B224-41CD-B4E0-E297462320DD}" dt="2023-11-24T08:39:58.969" v="38197"/>
          <ac:spMkLst>
            <pc:docMk/>
            <pc:sldMk cId="789548521" sldId="2147478568"/>
            <ac:spMk id="256" creationId="{E555AE0D-7259-2616-14D4-D6D2F6F049A0}"/>
          </ac:spMkLst>
        </pc:spChg>
        <pc:spChg chg="add del mod">
          <ac:chgData name="Steiner Andreas 6206 ED" userId="e6377c33-a923-4f14-8587-531c474c7b48" providerId="ADAL" clId="{6ECD27E6-B224-41CD-B4E0-E297462320DD}" dt="2023-11-24T08:40:02.533" v="38352"/>
          <ac:spMkLst>
            <pc:docMk/>
            <pc:sldMk cId="789548521" sldId="2147478568"/>
            <ac:spMk id="257" creationId="{0994D8D6-4E22-BDE3-67F7-64E4BFAE8BCD}"/>
          </ac:spMkLst>
        </pc:spChg>
        <pc:spChg chg="add del mod">
          <ac:chgData name="Steiner Andreas 6206 ED" userId="e6377c33-a923-4f14-8587-531c474c7b48" providerId="ADAL" clId="{6ECD27E6-B224-41CD-B4E0-E297462320DD}" dt="2023-11-24T08:40:05.226" v="38507"/>
          <ac:spMkLst>
            <pc:docMk/>
            <pc:sldMk cId="789548521" sldId="2147478568"/>
            <ac:spMk id="258" creationId="{57A77F96-7DDF-12C8-A1E4-3E305F88D110}"/>
          </ac:spMkLst>
        </pc:spChg>
        <pc:spChg chg="add del mod">
          <ac:chgData name="Steiner Andreas 6206 ED" userId="e6377c33-a923-4f14-8587-531c474c7b48" providerId="ADAL" clId="{6ECD27E6-B224-41CD-B4E0-E297462320DD}" dt="2023-11-24T08:40:07.795" v="38662"/>
          <ac:spMkLst>
            <pc:docMk/>
            <pc:sldMk cId="789548521" sldId="2147478568"/>
            <ac:spMk id="259" creationId="{A1E94E0F-913E-7479-C648-D5FDC0AAF9CB}"/>
          </ac:spMkLst>
        </pc:spChg>
        <pc:spChg chg="add del mod">
          <ac:chgData name="Steiner Andreas 6206 ED" userId="e6377c33-a923-4f14-8587-531c474c7b48" providerId="ADAL" clId="{6ECD27E6-B224-41CD-B4E0-E297462320DD}" dt="2023-11-24T08:40:10.499" v="38817"/>
          <ac:spMkLst>
            <pc:docMk/>
            <pc:sldMk cId="789548521" sldId="2147478568"/>
            <ac:spMk id="260" creationId="{D1DE6C7F-410D-3963-715D-06E5A66F8F08}"/>
          </ac:spMkLst>
        </pc:spChg>
        <pc:spChg chg="add del mod">
          <ac:chgData name="Steiner Andreas 6206 ED" userId="e6377c33-a923-4f14-8587-531c474c7b48" providerId="ADAL" clId="{6ECD27E6-B224-41CD-B4E0-E297462320DD}" dt="2023-11-24T08:40:13.555" v="38972"/>
          <ac:spMkLst>
            <pc:docMk/>
            <pc:sldMk cId="789548521" sldId="2147478568"/>
            <ac:spMk id="261" creationId="{FCB4520A-2762-87ED-DE7F-22AC977A9CC4}"/>
          </ac:spMkLst>
        </pc:spChg>
        <pc:spChg chg="add del mod">
          <ac:chgData name="Steiner Andreas 6206 ED" userId="e6377c33-a923-4f14-8587-531c474c7b48" providerId="ADAL" clId="{6ECD27E6-B224-41CD-B4E0-E297462320DD}" dt="2023-11-24T08:40:16.378" v="39127"/>
          <ac:spMkLst>
            <pc:docMk/>
            <pc:sldMk cId="789548521" sldId="2147478568"/>
            <ac:spMk id="262" creationId="{A5ED375D-D38D-A914-D276-BAFB1064E8BC}"/>
          </ac:spMkLst>
        </pc:spChg>
        <pc:spChg chg="add del mod">
          <ac:chgData name="Steiner Andreas 6206 ED" userId="e6377c33-a923-4f14-8587-531c474c7b48" providerId="ADAL" clId="{6ECD27E6-B224-41CD-B4E0-E297462320DD}" dt="2023-11-24T08:40:18.907" v="39282"/>
          <ac:spMkLst>
            <pc:docMk/>
            <pc:sldMk cId="789548521" sldId="2147478568"/>
            <ac:spMk id="263" creationId="{9E9BC8AC-D1B3-CA99-423D-FD5CEA95CB0A}"/>
          </ac:spMkLst>
        </pc:spChg>
        <pc:spChg chg="add del mod">
          <ac:chgData name="Steiner Andreas 6206 ED" userId="e6377c33-a923-4f14-8587-531c474c7b48" providerId="ADAL" clId="{6ECD27E6-B224-41CD-B4E0-E297462320DD}" dt="2023-11-24T08:40:21.331" v="39437"/>
          <ac:spMkLst>
            <pc:docMk/>
            <pc:sldMk cId="789548521" sldId="2147478568"/>
            <ac:spMk id="264" creationId="{E4BC60A3-C3FA-98CE-D424-36C250DD7DE6}"/>
          </ac:spMkLst>
        </pc:spChg>
        <pc:spChg chg="add del mod">
          <ac:chgData name="Steiner Andreas 6206 ED" userId="e6377c33-a923-4f14-8587-531c474c7b48" providerId="ADAL" clId="{6ECD27E6-B224-41CD-B4E0-E297462320DD}" dt="2023-11-24T08:40:23.839" v="39592"/>
          <ac:spMkLst>
            <pc:docMk/>
            <pc:sldMk cId="789548521" sldId="2147478568"/>
            <ac:spMk id="265" creationId="{7712CA24-4108-4229-B001-5A3742FF0E3B}"/>
          </ac:spMkLst>
        </pc:spChg>
        <pc:spChg chg="add del mod">
          <ac:chgData name="Steiner Andreas 6206 ED" userId="e6377c33-a923-4f14-8587-531c474c7b48" providerId="ADAL" clId="{6ECD27E6-B224-41CD-B4E0-E297462320DD}" dt="2023-11-24T08:40:26.897" v="39747"/>
          <ac:spMkLst>
            <pc:docMk/>
            <pc:sldMk cId="789548521" sldId="2147478568"/>
            <ac:spMk id="266" creationId="{A6D7558F-03DF-D389-1A66-ADEF05C12E8B}"/>
          </ac:spMkLst>
        </pc:spChg>
        <pc:spChg chg="add del mod">
          <ac:chgData name="Steiner Andreas 6206 ED" userId="e6377c33-a923-4f14-8587-531c474c7b48" providerId="ADAL" clId="{6ECD27E6-B224-41CD-B4E0-E297462320DD}" dt="2023-11-24T08:40:29.559" v="39902"/>
          <ac:spMkLst>
            <pc:docMk/>
            <pc:sldMk cId="789548521" sldId="2147478568"/>
            <ac:spMk id="267" creationId="{A16AFB33-CBAD-8084-CD1B-DDFB7CB29331}"/>
          </ac:spMkLst>
        </pc:spChg>
        <pc:spChg chg="add del mod">
          <ac:chgData name="Steiner Andreas 6206 ED" userId="e6377c33-a923-4f14-8587-531c474c7b48" providerId="ADAL" clId="{6ECD27E6-B224-41CD-B4E0-E297462320DD}" dt="2023-11-24T08:40:32.099" v="40057"/>
          <ac:spMkLst>
            <pc:docMk/>
            <pc:sldMk cId="789548521" sldId="2147478568"/>
            <ac:spMk id="268" creationId="{4F77D66D-A85A-F17B-8DD4-8E0E37D647A6}"/>
          </ac:spMkLst>
        </pc:spChg>
        <pc:spChg chg="add del mod">
          <ac:chgData name="Steiner Andreas 6206 ED" userId="e6377c33-a923-4f14-8587-531c474c7b48" providerId="ADAL" clId="{6ECD27E6-B224-41CD-B4E0-E297462320DD}" dt="2023-11-24T08:40:34.722" v="40212"/>
          <ac:spMkLst>
            <pc:docMk/>
            <pc:sldMk cId="789548521" sldId="2147478568"/>
            <ac:spMk id="269" creationId="{65D7BFF6-F361-D382-3446-E9A89118D160}"/>
          </ac:spMkLst>
        </pc:spChg>
        <pc:spChg chg="add del mod">
          <ac:chgData name="Steiner Andreas 6206 ED" userId="e6377c33-a923-4f14-8587-531c474c7b48" providerId="ADAL" clId="{6ECD27E6-B224-41CD-B4E0-E297462320DD}" dt="2023-11-24T08:40:37.937" v="40367"/>
          <ac:spMkLst>
            <pc:docMk/>
            <pc:sldMk cId="789548521" sldId="2147478568"/>
            <ac:spMk id="270" creationId="{E310A444-372A-9294-81FE-B50D56FBCA89}"/>
          </ac:spMkLst>
        </pc:spChg>
        <pc:spChg chg="add del mod">
          <ac:chgData name="Steiner Andreas 6206 ED" userId="e6377c33-a923-4f14-8587-531c474c7b48" providerId="ADAL" clId="{6ECD27E6-B224-41CD-B4E0-E297462320DD}" dt="2023-11-24T08:40:40.720" v="40522"/>
          <ac:spMkLst>
            <pc:docMk/>
            <pc:sldMk cId="789548521" sldId="2147478568"/>
            <ac:spMk id="271" creationId="{2BA63AF0-21B6-4A24-37C3-2730BC9AD34C}"/>
          </ac:spMkLst>
        </pc:spChg>
        <pc:spChg chg="add del mod">
          <ac:chgData name="Steiner Andreas 6206 ED" userId="e6377c33-a923-4f14-8587-531c474c7b48" providerId="ADAL" clId="{6ECD27E6-B224-41CD-B4E0-E297462320DD}" dt="2023-11-24T08:40:43.619" v="40677"/>
          <ac:spMkLst>
            <pc:docMk/>
            <pc:sldMk cId="789548521" sldId="2147478568"/>
            <ac:spMk id="272" creationId="{0CAB7C68-9C15-FAEC-9BF4-089E24598859}"/>
          </ac:spMkLst>
        </pc:spChg>
        <pc:spChg chg="add del mod">
          <ac:chgData name="Steiner Andreas 6206 ED" userId="e6377c33-a923-4f14-8587-531c474c7b48" providerId="ADAL" clId="{6ECD27E6-B224-41CD-B4E0-E297462320DD}" dt="2023-11-24T08:40:46.074" v="40832"/>
          <ac:spMkLst>
            <pc:docMk/>
            <pc:sldMk cId="789548521" sldId="2147478568"/>
            <ac:spMk id="273" creationId="{CEEF411D-B343-6670-35BC-6904A72B5B8A}"/>
          </ac:spMkLst>
        </pc:spChg>
        <pc:spChg chg="add del mod">
          <ac:chgData name="Steiner Andreas 6206 ED" userId="e6377c33-a923-4f14-8587-531c474c7b48" providerId="ADAL" clId="{6ECD27E6-B224-41CD-B4E0-E297462320DD}" dt="2023-11-24T08:40:48.767" v="40987"/>
          <ac:spMkLst>
            <pc:docMk/>
            <pc:sldMk cId="789548521" sldId="2147478568"/>
            <ac:spMk id="274" creationId="{6DB539B0-1E5B-B8C7-A2AA-A922D42755D1}"/>
          </ac:spMkLst>
        </pc:spChg>
        <pc:spChg chg="add del mod">
          <ac:chgData name="Steiner Andreas 6206 ED" userId="e6377c33-a923-4f14-8587-531c474c7b48" providerId="ADAL" clId="{6ECD27E6-B224-41CD-B4E0-E297462320DD}" dt="2023-11-24T08:40:51.721" v="41142"/>
          <ac:spMkLst>
            <pc:docMk/>
            <pc:sldMk cId="789548521" sldId="2147478568"/>
            <ac:spMk id="275" creationId="{DC82027F-9C5F-62B6-783F-53C3A10F317D}"/>
          </ac:spMkLst>
        </pc:spChg>
        <pc:spChg chg="add del mod">
          <ac:chgData name="Steiner Andreas 6206 ED" userId="e6377c33-a923-4f14-8587-531c474c7b48" providerId="ADAL" clId="{6ECD27E6-B224-41CD-B4E0-E297462320DD}" dt="2023-11-24T08:40:54.225" v="41297"/>
          <ac:spMkLst>
            <pc:docMk/>
            <pc:sldMk cId="789548521" sldId="2147478568"/>
            <ac:spMk id="276" creationId="{EBBF3F18-F945-A218-6D56-3FE17B215BCC}"/>
          </ac:spMkLst>
        </pc:spChg>
        <pc:spChg chg="add del mod">
          <ac:chgData name="Steiner Andreas 6206 ED" userId="e6377c33-a923-4f14-8587-531c474c7b48" providerId="ADAL" clId="{6ECD27E6-B224-41CD-B4E0-E297462320DD}" dt="2023-11-24T08:40:56.698" v="41452"/>
          <ac:spMkLst>
            <pc:docMk/>
            <pc:sldMk cId="789548521" sldId="2147478568"/>
            <ac:spMk id="277" creationId="{DA6D899F-7B97-A70F-04E6-16C5A4041C3E}"/>
          </ac:spMkLst>
        </pc:spChg>
        <pc:spChg chg="add del mod">
          <ac:chgData name="Steiner Andreas 6206 ED" userId="e6377c33-a923-4f14-8587-531c474c7b48" providerId="ADAL" clId="{6ECD27E6-B224-41CD-B4E0-E297462320DD}" dt="2023-11-24T08:40:59.397" v="41607"/>
          <ac:spMkLst>
            <pc:docMk/>
            <pc:sldMk cId="789548521" sldId="2147478568"/>
            <ac:spMk id="278" creationId="{46DE967B-F341-9E8D-6885-0446210CDD34}"/>
          </ac:spMkLst>
        </pc:spChg>
        <pc:spChg chg="add del mod">
          <ac:chgData name="Steiner Andreas 6206 ED" userId="e6377c33-a923-4f14-8587-531c474c7b48" providerId="ADAL" clId="{6ECD27E6-B224-41CD-B4E0-E297462320DD}" dt="2023-11-24T08:41:02.344" v="41762"/>
          <ac:spMkLst>
            <pc:docMk/>
            <pc:sldMk cId="789548521" sldId="2147478568"/>
            <ac:spMk id="279" creationId="{B88B3786-5B0F-C36B-A9BC-ED33FAFED859}"/>
          </ac:spMkLst>
        </pc:spChg>
        <pc:spChg chg="add del mod">
          <ac:chgData name="Steiner Andreas 6206 ED" userId="e6377c33-a923-4f14-8587-531c474c7b48" providerId="ADAL" clId="{6ECD27E6-B224-41CD-B4E0-E297462320DD}" dt="2023-11-24T08:41:05.108" v="41917"/>
          <ac:spMkLst>
            <pc:docMk/>
            <pc:sldMk cId="789548521" sldId="2147478568"/>
            <ac:spMk id="280" creationId="{2B55C695-B004-FBC6-8E4F-19EC77341AE3}"/>
          </ac:spMkLst>
        </pc:spChg>
        <pc:spChg chg="add del mod">
          <ac:chgData name="Steiner Andreas 6206 ED" userId="e6377c33-a923-4f14-8587-531c474c7b48" providerId="ADAL" clId="{6ECD27E6-B224-41CD-B4E0-E297462320DD}" dt="2023-11-24T08:41:08.132" v="42072"/>
          <ac:spMkLst>
            <pc:docMk/>
            <pc:sldMk cId="789548521" sldId="2147478568"/>
            <ac:spMk id="281" creationId="{478C98A0-4949-6815-6FFB-24BBA9490142}"/>
          </ac:spMkLst>
        </pc:spChg>
        <pc:spChg chg="add del mod">
          <ac:chgData name="Steiner Andreas 6206 ED" userId="e6377c33-a923-4f14-8587-531c474c7b48" providerId="ADAL" clId="{6ECD27E6-B224-41CD-B4E0-E297462320DD}" dt="2023-11-24T08:41:12.189" v="42227"/>
          <ac:spMkLst>
            <pc:docMk/>
            <pc:sldMk cId="789548521" sldId="2147478568"/>
            <ac:spMk id="282" creationId="{6F6A2FD7-F067-23F5-7665-4774D7598698}"/>
          </ac:spMkLst>
        </pc:spChg>
        <pc:spChg chg="add del mod">
          <ac:chgData name="Steiner Andreas 6206 ED" userId="e6377c33-a923-4f14-8587-531c474c7b48" providerId="ADAL" clId="{6ECD27E6-B224-41CD-B4E0-E297462320DD}" dt="2023-11-24T08:41:15.104" v="42382"/>
          <ac:spMkLst>
            <pc:docMk/>
            <pc:sldMk cId="789548521" sldId="2147478568"/>
            <ac:spMk id="283" creationId="{C9DA549C-4F5C-64C0-0CAC-32DA37351D20}"/>
          </ac:spMkLst>
        </pc:spChg>
        <pc:spChg chg="add del mod">
          <ac:chgData name="Steiner Andreas 6206 ED" userId="e6377c33-a923-4f14-8587-531c474c7b48" providerId="ADAL" clId="{6ECD27E6-B224-41CD-B4E0-E297462320DD}" dt="2023-11-24T08:41:17.272" v="42537"/>
          <ac:spMkLst>
            <pc:docMk/>
            <pc:sldMk cId="789548521" sldId="2147478568"/>
            <ac:spMk id="284" creationId="{C8FDD361-1B73-5445-CB31-24E338F0F206}"/>
          </ac:spMkLst>
        </pc:spChg>
        <pc:spChg chg="add del mod">
          <ac:chgData name="Steiner Andreas 6206 ED" userId="e6377c33-a923-4f14-8587-531c474c7b48" providerId="ADAL" clId="{6ECD27E6-B224-41CD-B4E0-E297462320DD}" dt="2023-11-24T08:41:19.696" v="42692"/>
          <ac:spMkLst>
            <pc:docMk/>
            <pc:sldMk cId="789548521" sldId="2147478568"/>
            <ac:spMk id="285" creationId="{CF570741-F015-C0CF-4068-6B26B51BF514}"/>
          </ac:spMkLst>
        </pc:spChg>
        <pc:spChg chg="add del mod">
          <ac:chgData name="Steiner Andreas 6206 ED" userId="e6377c33-a923-4f14-8587-531c474c7b48" providerId="ADAL" clId="{6ECD27E6-B224-41CD-B4E0-E297462320DD}" dt="2023-11-24T08:41:22.031" v="42847"/>
          <ac:spMkLst>
            <pc:docMk/>
            <pc:sldMk cId="789548521" sldId="2147478568"/>
            <ac:spMk id="286" creationId="{1C8E212B-B354-1655-F046-C0F380586BA3}"/>
          </ac:spMkLst>
        </pc:spChg>
        <pc:spChg chg="add del mod">
          <ac:chgData name="Steiner Andreas 6206 ED" userId="e6377c33-a923-4f14-8587-531c474c7b48" providerId="ADAL" clId="{6ECD27E6-B224-41CD-B4E0-E297462320DD}" dt="2023-11-24T08:41:24.164" v="43002"/>
          <ac:spMkLst>
            <pc:docMk/>
            <pc:sldMk cId="789548521" sldId="2147478568"/>
            <ac:spMk id="287" creationId="{15832230-FBF6-1966-9C26-767DFCA1BA80}"/>
          </ac:spMkLst>
        </pc:spChg>
        <pc:spChg chg="add del mod">
          <ac:chgData name="Steiner Andreas 6206 ED" userId="e6377c33-a923-4f14-8587-531c474c7b48" providerId="ADAL" clId="{6ECD27E6-B224-41CD-B4E0-E297462320DD}" dt="2023-11-24T08:41:26.621" v="43157"/>
          <ac:spMkLst>
            <pc:docMk/>
            <pc:sldMk cId="789548521" sldId="2147478568"/>
            <ac:spMk id="288" creationId="{3FFF45BF-B46F-5C08-C9E8-EF99F832BBC5}"/>
          </ac:spMkLst>
        </pc:spChg>
        <pc:spChg chg="add del mod">
          <ac:chgData name="Steiner Andreas 6206 ED" userId="e6377c33-a923-4f14-8587-531c474c7b48" providerId="ADAL" clId="{6ECD27E6-B224-41CD-B4E0-E297462320DD}" dt="2023-11-24T08:41:28.849" v="43312"/>
          <ac:spMkLst>
            <pc:docMk/>
            <pc:sldMk cId="789548521" sldId="2147478568"/>
            <ac:spMk id="289" creationId="{A7558B3F-9869-7046-6069-3E349D004031}"/>
          </ac:spMkLst>
        </pc:spChg>
        <pc:spChg chg="add del mod">
          <ac:chgData name="Steiner Andreas 6206 ED" userId="e6377c33-a923-4f14-8587-531c474c7b48" providerId="ADAL" clId="{6ECD27E6-B224-41CD-B4E0-E297462320DD}" dt="2023-11-24T08:41:31.016" v="43467"/>
          <ac:spMkLst>
            <pc:docMk/>
            <pc:sldMk cId="789548521" sldId="2147478568"/>
            <ac:spMk id="290" creationId="{3C109F77-0159-D41F-ED1C-1AE5D1233D29}"/>
          </ac:spMkLst>
        </pc:spChg>
        <pc:spChg chg="add del mod">
          <ac:chgData name="Steiner Andreas 6206 ED" userId="e6377c33-a923-4f14-8587-531c474c7b48" providerId="ADAL" clId="{6ECD27E6-B224-41CD-B4E0-E297462320DD}" dt="2023-11-24T08:41:35.219" v="43622"/>
          <ac:spMkLst>
            <pc:docMk/>
            <pc:sldMk cId="789548521" sldId="2147478568"/>
            <ac:spMk id="291" creationId="{272F04DB-0231-E68A-DD80-FA6E0E07FEC2}"/>
          </ac:spMkLst>
        </pc:spChg>
        <pc:spChg chg="add del mod">
          <ac:chgData name="Steiner Andreas 6206 ED" userId="e6377c33-a923-4f14-8587-531c474c7b48" providerId="ADAL" clId="{6ECD27E6-B224-41CD-B4E0-E297462320DD}" dt="2023-11-24T08:41:38.284" v="43777"/>
          <ac:spMkLst>
            <pc:docMk/>
            <pc:sldMk cId="789548521" sldId="2147478568"/>
            <ac:spMk id="292" creationId="{59947DC6-9881-3AAB-9830-17B23B88A012}"/>
          </ac:spMkLst>
        </pc:spChg>
        <pc:spChg chg="add del mod">
          <ac:chgData name="Steiner Andreas 6206 ED" userId="e6377c33-a923-4f14-8587-531c474c7b48" providerId="ADAL" clId="{6ECD27E6-B224-41CD-B4E0-E297462320DD}" dt="2023-11-24T08:41:40.704" v="43932"/>
          <ac:spMkLst>
            <pc:docMk/>
            <pc:sldMk cId="789548521" sldId="2147478568"/>
            <ac:spMk id="293" creationId="{6659AFFB-A773-C68A-6305-58770BB8F9B0}"/>
          </ac:spMkLst>
        </pc:spChg>
        <pc:spChg chg="add del mod">
          <ac:chgData name="Steiner Andreas 6206 ED" userId="e6377c33-a923-4f14-8587-531c474c7b48" providerId="ADAL" clId="{6ECD27E6-B224-41CD-B4E0-E297462320DD}" dt="2023-11-24T08:41:43.092" v="44087"/>
          <ac:spMkLst>
            <pc:docMk/>
            <pc:sldMk cId="789548521" sldId="2147478568"/>
            <ac:spMk id="294" creationId="{47E717B0-DD0C-375B-C05C-B971BD4DAC5C}"/>
          </ac:spMkLst>
        </pc:spChg>
        <pc:spChg chg="add del mod">
          <ac:chgData name="Steiner Andreas 6206 ED" userId="e6377c33-a923-4f14-8587-531c474c7b48" providerId="ADAL" clId="{6ECD27E6-B224-41CD-B4E0-E297462320DD}" dt="2023-11-24T08:41:45.020" v="44242"/>
          <ac:spMkLst>
            <pc:docMk/>
            <pc:sldMk cId="789548521" sldId="2147478568"/>
            <ac:spMk id="295" creationId="{50BBCBAC-2CF7-7A82-04B8-A6675E6495C7}"/>
          </ac:spMkLst>
        </pc:spChg>
        <pc:spChg chg="add del mod">
          <ac:chgData name="Steiner Andreas 6206 ED" userId="e6377c33-a923-4f14-8587-531c474c7b48" providerId="ADAL" clId="{6ECD27E6-B224-41CD-B4E0-E297462320DD}" dt="2023-11-24T08:41:46.927" v="44397"/>
          <ac:spMkLst>
            <pc:docMk/>
            <pc:sldMk cId="789548521" sldId="2147478568"/>
            <ac:spMk id="296" creationId="{433A8D87-C230-CF45-043A-7352F702ED30}"/>
          </ac:spMkLst>
        </pc:spChg>
        <pc:spChg chg="add del mod">
          <ac:chgData name="Steiner Andreas 6206 ED" userId="e6377c33-a923-4f14-8587-531c474c7b48" providerId="ADAL" clId="{6ECD27E6-B224-41CD-B4E0-E297462320DD}" dt="2023-11-24T08:41:48.943" v="44552"/>
          <ac:spMkLst>
            <pc:docMk/>
            <pc:sldMk cId="789548521" sldId="2147478568"/>
            <ac:spMk id="297" creationId="{3D1DC9BF-5E62-F8E2-1000-CA19DBE152DD}"/>
          </ac:spMkLst>
        </pc:spChg>
        <pc:spChg chg="add del mod">
          <ac:chgData name="Steiner Andreas 6206 ED" userId="e6377c33-a923-4f14-8587-531c474c7b48" providerId="ADAL" clId="{6ECD27E6-B224-41CD-B4E0-E297462320DD}" dt="2023-11-24T08:41:50.828" v="44707"/>
          <ac:spMkLst>
            <pc:docMk/>
            <pc:sldMk cId="789548521" sldId="2147478568"/>
            <ac:spMk id="298" creationId="{3DACF573-08D8-CF79-5623-F603DCF6EF9B}"/>
          </ac:spMkLst>
        </pc:spChg>
        <pc:spChg chg="add del mod">
          <ac:chgData name="Steiner Andreas 6206 ED" userId="e6377c33-a923-4f14-8587-531c474c7b48" providerId="ADAL" clId="{6ECD27E6-B224-41CD-B4E0-E297462320DD}" dt="2023-11-24T08:41:53.142" v="44862"/>
          <ac:spMkLst>
            <pc:docMk/>
            <pc:sldMk cId="789548521" sldId="2147478568"/>
            <ac:spMk id="299" creationId="{932BB00E-D235-8FAA-CD5A-D3FA8B11CD3B}"/>
          </ac:spMkLst>
        </pc:spChg>
        <pc:spChg chg="add del mod">
          <ac:chgData name="Steiner Andreas 6206 ED" userId="e6377c33-a923-4f14-8587-531c474c7b48" providerId="ADAL" clId="{6ECD27E6-B224-41CD-B4E0-E297462320DD}" dt="2023-11-24T08:41:55.084" v="45017"/>
          <ac:spMkLst>
            <pc:docMk/>
            <pc:sldMk cId="789548521" sldId="2147478568"/>
            <ac:spMk id="300" creationId="{19C94C9F-9CFD-23E1-9682-DFF94F2B8AC0}"/>
          </ac:spMkLst>
        </pc:spChg>
        <pc:spChg chg="add del mod">
          <ac:chgData name="Steiner Andreas 6206 ED" userId="e6377c33-a923-4f14-8587-531c474c7b48" providerId="ADAL" clId="{6ECD27E6-B224-41CD-B4E0-E297462320DD}" dt="2023-11-24T08:41:57.344" v="45172"/>
          <ac:spMkLst>
            <pc:docMk/>
            <pc:sldMk cId="789548521" sldId="2147478568"/>
            <ac:spMk id="301" creationId="{C338E11C-94D6-97F6-98B8-19022CA67061}"/>
          </ac:spMkLst>
        </pc:spChg>
        <pc:spChg chg="add del mod">
          <ac:chgData name="Steiner Andreas 6206 ED" userId="e6377c33-a923-4f14-8587-531c474c7b48" providerId="ADAL" clId="{6ECD27E6-B224-41CD-B4E0-E297462320DD}" dt="2023-11-24T08:41:59.451" v="45327"/>
          <ac:spMkLst>
            <pc:docMk/>
            <pc:sldMk cId="789548521" sldId="2147478568"/>
            <ac:spMk id="302" creationId="{C7F23093-DDD5-F38E-B23C-891740F1B3E7}"/>
          </ac:spMkLst>
        </pc:spChg>
        <pc:spChg chg="add del mod">
          <ac:chgData name="Steiner Andreas 6206 ED" userId="e6377c33-a923-4f14-8587-531c474c7b48" providerId="ADAL" clId="{6ECD27E6-B224-41CD-B4E0-E297462320DD}" dt="2023-11-24T08:42:01.741" v="45482"/>
          <ac:spMkLst>
            <pc:docMk/>
            <pc:sldMk cId="789548521" sldId="2147478568"/>
            <ac:spMk id="303" creationId="{025037A6-3A94-3C6F-D5DD-B688DABA3E89}"/>
          </ac:spMkLst>
        </pc:spChg>
        <pc:spChg chg="add del mod">
          <ac:chgData name="Steiner Andreas 6206 ED" userId="e6377c33-a923-4f14-8587-531c474c7b48" providerId="ADAL" clId="{6ECD27E6-B224-41CD-B4E0-E297462320DD}" dt="2023-11-24T08:42:03.755" v="45637"/>
          <ac:spMkLst>
            <pc:docMk/>
            <pc:sldMk cId="789548521" sldId="2147478568"/>
            <ac:spMk id="304" creationId="{1F17B765-51BD-20AE-C9C8-685AEA26369E}"/>
          </ac:spMkLst>
        </pc:spChg>
        <pc:spChg chg="add del mod">
          <ac:chgData name="Steiner Andreas 6206 ED" userId="e6377c33-a923-4f14-8587-531c474c7b48" providerId="ADAL" clId="{6ECD27E6-B224-41CD-B4E0-E297462320DD}" dt="2023-11-24T08:42:05.722" v="45792"/>
          <ac:spMkLst>
            <pc:docMk/>
            <pc:sldMk cId="789548521" sldId="2147478568"/>
            <ac:spMk id="305" creationId="{91240B7C-B2C8-09A9-407F-D201157FB4DC}"/>
          </ac:spMkLst>
        </pc:spChg>
        <pc:spChg chg="add del mod">
          <ac:chgData name="Steiner Andreas 6206 ED" userId="e6377c33-a923-4f14-8587-531c474c7b48" providerId="ADAL" clId="{6ECD27E6-B224-41CD-B4E0-E297462320DD}" dt="2023-11-24T08:42:07.631" v="45947"/>
          <ac:spMkLst>
            <pc:docMk/>
            <pc:sldMk cId="789548521" sldId="2147478568"/>
            <ac:spMk id="306" creationId="{79480404-88D1-17D0-1FA7-30E1C6D4DC62}"/>
          </ac:spMkLst>
        </pc:spChg>
        <pc:spChg chg="add del mod">
          <ac:chgData name="Steiner Andreas 6206 ED" userId="e6377c33-a923-4f14-8587-531c474c7b48" providerId="ADAL" clId="{6ECD27E6-B224-41CD-B4E0-E297462320DD}" dt="2023-11-24T08:42:09.515" v="46102"/>
          <ac:spMkLst>
            <pc:docMk/>
            <pc:sldMk cId="789548521" sldId="2147478568"/>
            <ac:spMk id="307" creationId="{CC82E860-A87E-E852-9E67-C1842F22B0C6}"/>
          </ac:spMkLst>
        </pc:spChg>
        <pc:spChg chg="add del mod">
          <ac:chgData name="Steiner Andreas 6206 ED" userId="e6377c33-a923-4f14-8587-531c474c7b48" providerId="ADAL" clId="{6ECD27E6-B224-41CD-B4E0-E297462320DD}" dt="2023-11-24T08:42:11.819" v="46257"/>
          <ac:spMkLst>
            <pc:docMk/>
            <pc:sldMk cId="789548521" sldId="2147478568"/>
            <ac:spMk id="308" creationId="{D33A8A69-DC50-D99A-7D55-D3428C12F5F5}"/>
          </ac:spMkLst>
        </pc:spChg>
        <pc:spChg chg="add del mod">
          <ac:chgData name="Steiner Andreas 6206 ED" userId="e6377c33-a923-4f14-8587-531c474c7b48" providerId="ADAL" clId="{6ECD27E6-B224-41CD-B4E0-E297462320DD}" dt="2023-11-24T08:42:14.147" v="46412"/>
          <ac:spMkLst>
            <pc:docMk/>
            <pc:sldMk cId="789548521" sldId="2147478568"/>
            <ac:spMk id="309" creationId="{CB1B7633-6110-5592-1D12-70A9BE5D58E8}"/>
          </ac:spMkLst>
        </pc:spChg>
        <pc:spChg chg="add del mod">
          <ac:chgData name="Steiner Andreas 6206 ED" userId="e6377c33-a923-4f14-8587-531c474c7b48" providerId="ADAL" clId="{6ECD27E6-B224-41CD-B4E0-E297462320DD}" dt="2023-11-24T08:42:16.787" v="46567"/>
          <ac:spMkLst>
            <pc:docMk/>
            <pc:sldMk cId="789548521" sldId="2147478568"/>
            <ac:spMk id="310" creationId="{5F573381-5835-C0D1-822F-B933C85684E8}"/>
          </ac:spMkLst>
        </pc:spChg>
        <pc:spChg chg="add del mod">
          <ac:chgData name="Steiner Andreas 6206 ED" userId="e6377c33-a923-4f14-8587-531c474c7b48" providerId="ADAL" clId="{6ECD27E6-B224-41CD-B4E0-E297462320DD}" dt="2023-11-24T08:42:18.893" v="46722"/>
          <ac:spMkLst>
            <pc:docMk/>
            <pc:sldMk cId="789548521" sldId="2147478568"/>
            <ac:spMk id="311" creationId="{D9F068FD-91E8-CA98-55BE-2942D6360C17}"/>
          </ac:spMkLst>
        </pc:spChg>
        <pc:spChg chg="add del mod">
          <ac:chgData name="Steiner Andreas 6206 ED" userId="e6377c33-a923-4f14-8587-531c474c7b48" providerId="ADAL" clId="{6ECD27E6-B224-41CD-B4E0-E297462320DD}" dt="2023-11-24T08:42:21.167" v="46877"/>
          <ac:spMkLst>
            <pc:docMk/>
            <pc:sldMk cId="789548521" sldId="2147478568"/>
            <ac:spMk id="312" creationId="{1A0F648F-8254-CBE3-9CEC-0A6BF6DDFAAD}"/>
          </ac:spMkLst>
        </pc:spChg>
        <pc:spChg chg="add del mod">
          <ac:chgData name="Steiner Andreas 6206 ED" userId="e6377c33-a923-4f14-8587-531c474c7b48" providerId="ADAL" clId="{6ECD27E6-B224-41CD-B4E0-E297462320DD}" dt="2023-11-24T08:42:23.825" v="47032"/>
          <ac:spMkLst>
            <pc:docMk/>
            <pc:sldMk cId="789548521" sldId="2147478568"/>
            <ac:spMk id="313" creationId="{FAF42FA7-4913-1F12-B781-3B4BE64F4168}"/>
          </ac:spMkLst>
        </pc:spChg>
        <pc:spChg chg="add del mod">
          <ac:chgData name="Steiner Andreas 6206 ED" userId="e6377c33-a923-4f14-8587-531c474c7b48" providerId="ADAL" clId="{6ECD27E6-B224-41CD-B4E0-E297462320DD}" dt="2023-11-24T08:42:25.867" v="47187"/>
          <ac:spMkLst>
            <pc:docMk/>
            <pc:sldMk cId="789548521" sldId="2147478568"/>
            <ac:spMk id="314" creationId="{2A747A18-8158-9522-D14C-BB8951E7CF8E}"/>
          </ac:spMkLst>
        </pc:spChg>
        <pc:spChg chg="add del mod">
          <ac:chgData name="Steiner Andreas 6206 ED" userId="e6377c33-a923-4f14-8587-531c474c7b48" providerId="ADAL" clId="{6ECD27E6-B224-41CD-B4E0-E297462320DD}" dt="2023-11-24T08:42:27.758" v="47342"/>
          <ac:spMkLst>
            <pc:docMk/>
            <pc:sldMk cId="789548521" sldId="2147478568"/>
            <ac:spMk id="315" creationId="{29F53FB8-C209-E252-D5C9-C448497B104F}"/>
          </ac:spMkLst>
        </pc:spChg>
        <pc:spChg chg="add del mod">
          <ac:chgData name="Steiner Andreas 6206 ED" userId="e6377c33-a923-4f14-8587-531c474c7b48" providerId="ADAL" clId="{6ECD27E6-B224-41CD-B4E0-E297462320DD}" dt="2023-11-24T08:42:29.493" v="47497"/>
          <ac:spMkLst>
            <pc:docMk/>
            <pc:sldMk cId="789548521" sldId="2147478568"/>
            <ac:spMk id="316" creationId="{7D2DC6D7-9CFD-1705-34D0-FA9D01020C78}"/>
          </ac:spMkLst>
        </pc:spChg>
        <pc:spChg chg="add del mod">
          <ac:chgData name="Steiner Andreas 6206 ED" userId="e6377c33-a923-4f14-8587-531c474c7b48" providerId="ADAL" clId="{6ECD27E6-B224-41CD-B4E0-E297462320DD}" dt="2023-11-24T08:42:31.406" v="47652"/>
          <ac:spMkLst>
            <pc:docMk/>
            <pc:sldMk cId="789548521" sldId="2147478568"/>
            <ac:spMk id="317" creationId="{7151F59D-7242-2C37-1592-E032736C516B}"/>
          </ac:spMkLst>
        </pc:spChg>
        <pc:spChg chg="add del mod">
          <ac:chgData name="Steiner Andreas 6206 ED" userId="e6377c33-a923-4f14-8587-531c474c7b48" providerId="ADAL" clId="{6ECD27E6-B224-41CD-B4E0-E297462320DD}" dt="2023-11-24T08:42:33.385" v="47807"/>
          <ac:spMkLst>
            <pc:docMk/>
            <pc:sldMk cId="789548521" sldId="2147478568"/>
            <ac:spMk id="318" creationId="{1A93C19C-9BCD-2563-9E9E-DFCAED455298}"/>
          </ac:spMkLst>
        </pc:spChg>
        <pc:spChg chg="add del mod">
          <ac:chgData name="Steiner Andreas 6206 ED" userId="e6377c33-a923-4f14-8587-531c474c7b48" providerId="ADAL" clId="{6ECD27E6-B224-41CD-B4E0-E297462320DD}" dt="2023-11-24T08:42:35.468" v="47962"/>
          <ac:spMkLst>
            <pc:docMk/>
            <pc:sldMk cId="789548521" sldId="2147478568"/>
            <ac:spMk id="319" creationId="{93F88869-F557-96B6-F332-A1D34AF603F0}"/>
          </ac:spMkLst>
        </pc:spChg>
        <pc:spChg chg="add del mod">
          <ac:chgData name="Steiner Andreas 6206 ED" userId="e6377c33-a923-4f14-8587-531c474c7b48" providerId="ADAL" clId="{6ECD27E6-B224-41CD-B4E0-E297462320DD}" dt="2023-11-24T08:42:37.356" v="48117"/>
          <ac:spMkLst>
            <pc:docMk/>
            <pc:sldMk cId="789548521" sldId="2147478568"/>
            <ac:spMk id="320" creationId="{92AE6B5B-17FF-67FD-0D35-92184FE3D1A8}"/>
          </ac:spMkLst>
        </pc:spChg>
        <pc:spChg chg="add del mod">
          <ac:chgData name="Steiner Andreas 6206 ED" userId="e6377c33-a923-4f14-8587-531c474c7b48" providerId="ADAL" clId="{6ECD27E6-B224-41CD-B4E0-E297462320DD}" dt="2023-11-24T08:42:39.216" v="48272"/>
          <ac:spMkLst>
            <pc:docMk/>
            <pc:sldMk cId="789548521" sldId="2147478568"/>
            <ac:spMk id="321" creationId="{E5E8187E-ACE4-9E57-D1BF-EE34F59C2D0A}"/>
          </ac:spMkLst>
        </pc:spChg>
        <pc:spChg chg="add del mod">
          <ac:chgData name="Steiner Andreas 6206 ED" userId="e6377c33-a923-4f14-8587-531c474c7b48" providerId="ADAL" clId="{6ECD27E6-B224-41CD-B4E0-E297462320DD}" dt="2023-11-24T08:42:41.314" v="48427"/>
          <ac:spMkLst>
            <pc:docMk/>
            <pc:sldMk cId="789548521" sldId="2147478568"/>
            <ac:spMk id="322" creationId="{7EFD4A9A-4AEF-FF09-657B-D2EAB8AC3EF6}"/>
          </ac:spMkLst>
        </pc:spChg>
        <pc:spChg chg="add del mod">
          <ac:chgData name="Steiner Andreas 6206 ED" userId="e6377c33-a923-4f14-8587-531c474c7b48" providerId="ADAL" clId="{6ECD27E6-B224-41CD-B4E0-E297462320DD}" dt="2023-11-24T08:42:43.423" v="48582"/>
          <ac:spMkLst>
            <pc:docMk/>
            <pc:sldMk cId="789548521" sldId="2147478568"/>
            <ac:spMk id="323" creationId="{F02BE13A-525B-9019-C82A-94423FD71434}"/>
          </ac:spMkLst>
        </pc:spChg>
        <pc:spChg chg="add del mod">
          <ac:chgData name="Steiner Andreas 6206 ED" userId="e6377c33-a923-4f14-8587-531c474c7b48" providerId="ADAL" clId="{6ECD27E6-B224-41CD-B4E0-E297462320DD}" dt="2023-11-24T08:42:45.432" v="48737"/>
          <ac:spMkLst>
            <pc:docMk/>
            <pc:sldMk cId="789548521" sldId="2147478568"/>
            <ac:spMk id="324" creationId="{3AABEB73-A9C8-2C34-1952-F140A4A803C8}"/>
          </ac:spMkLst>
        </pc:spChg>
        <pc:spChg chg="add del mod">
          <ac:chgData name="Steiner Andreas 6206 ED" userId="e6377c33-a923-4f14-8587-531c474c7b48" providerId="ADAL" clId="{6ECD27E6-B224-41CD-B4E0-E297462320DD}" dt="2023-11-24T08:42:47.355" v="48892"/>
          <ac:spMkLst>
            <pc:docMk/>
            <pc:sldMk cId="789548521" sldId="2147478568"/>
            <ac:spMk id="325" creationId="{0EA47CF3-A346-B5A1-ED7E-049AA365D175}"/>
          </ac:spMkLst>
        </pc:spChg>
        <pc:spChg chg="add del mod">
          <ac:chgData name="Steiner Andreas 6206 ED" userId="e6377c33-a923-4f14-8587-531c474c7b48" providerId="ADAL" clId="{6ECD27E6-B224-41CD-B4E0-E297462320DD}" dt="2023-11-24T08:42:49.181" v="49047"/>
          <ac:spMkLst>
            <pc:docMk/>
            <pc:sldMk cId="789548521" sldId="2147478568"/>
            <ac:spMk id="326" creationId="{68B5B129-A1AF-B459-FEF4-3DE06B8C730C}"/>
          </ac:spMkLst>
        </pc:spChg>
        <pc:spChg chg="add del mod">
          <ac:chgData name="Steiner Andreas 6206 ED" userId="e6377c33-a923-4f14-8587-531c474c7b48" providerId="ADAL" clId="{6ECD27E6-B224-41CD-B4E0-E297462320DD}" dt="2023-11-24T08:42:51.035" v="49202"/>
          <ac:spMkLst>
            <pc:docMk/>
            <pc:sldMk cId="789548521" sldId="2147478568"/>
            <ac:spMk id="327" creationId="{6EBB5684-2F0C-C51F-41D2-24D0096C38F1}"/>
          </ac:spMkLst>
        </pc:spChg>
        <pc:spChg chg="add del mod">
          <ac:chgData name="Steiner Andreas 6206 ED" userId="e6377c33-a923-4f14-8587-531c474c7b48" providerId="ADAL" clId="{6ECD27E6-B224-41CD-B4E0-E297462320DD}" dt="2023-11-24T08:42:53.113" v="49357"/>
          <ac:spMkLst>
            <pc:docMk/>
            <pc:sldMk cId="789548521" sldId="2147478568"/>
            <ac:spMk id="328" creationId="{E87A1B74-2092-7655-0DEA-0B3DD54FAC10}"/>
          </ac:spMkLst>
        </pc:spChg>
        <pc:spChg chg="add del mod">
          <ac:chgData name="Steiner Andreas 6206 ED" userId="e6377c33-a923-4f14-8587-531c474c7b48" providerId="ADAL" clId="{6ECD27E6-B224-41CD-B4E0-E297462320DD}" dt="2023-11-24T08:42:55.692" v="49512"/>
          <ac:spMkLst>
            <pc:docMk/>
            <pc:sldMk cId="789548521" sldId="2147478568"/>
            <ac:spMk id="329" creationId="{0A2EDB6E-E137-4CB8-3EFF-8DAF17541662}"/>
          </ac:spMkLst>
        </pc:spChg>
        <pc:spChg chg="add del mod">
          <ac:chgData name="Steiner Andreas 6206 ED" userId="e6377c33-a923-4f14-8587-531c474c7b48" providerId="ADAL" clId="{6ECD27E6-B224-41CD-B4E0-E297462320DD}" dt="2023-11-24T08:42:57.817" v="49667"/>
          <ac:spMkLst>
            <pc:docMk/>
            <pc:sldMk cId="789548521" sldId="2147478568"/>
            <ac:spMk id="330" creationId="{645551A6-3EDC-0CAE-0A89-887CC784ABE0}"/>
          </ac:spMkLst>
        </pc:spChg>
        <pc:spChg chg="add del mod">
          <ac:chgData name="Steiner Andreas 6206 ED" userId="e6377c33-a923-4f14-8587-531c474c7b48" providerId="ADAL" clId="{6ECD27E6-B224-41CD-B4E0-E297462320DD}" dt="2023-11-24T08:42:59.761" v="49822"/>
          <ac:spMkLst>
            <pc:docMk/>
            <pc:sldMk cId="789548521" sldId="2147478568"/>
            <ac:spMk id="331" creationId="{E2553FC9-B3AE-CB56-52E2-FA28DCD1DCE1}"/>
          </ac:spMkLst>
        </pc:spChg>
        <pc:spChg chg="add del mod">
          <ac:chgData name="Steiner Andreas 6206 ED" userId="e6377c33-a923-4f14-8587-531c474c7b48" providerId="ADAL" clId="{6ECD27E6-B224-41CD-B4E0-E297462320DD}" dt="2023-11-24T08:43:01.748" v="49977"/>
          <ac:spMkLst>
            <pc:docMk/>
            <pc:sldMk cId="789548521" sldId="2147478568"/>
            <ac:spMk id="332" creationId="{8B2E3D47-A2DE-8ED0-BA32-C5146B412DC0}"/>
          </ac:spMkLst>
        </pc:spChg>
        <pc:spChg chg="add del mod">
          <ac:chgData name="Steiner Andreas 6206 ED" userId="e6377c33-a923-4f14-8587-531c474c7b48" providerId="ADAL" clId="{6ECD27E6-B224-41CD-B4E0-E297462320DD}" dt="2023-11-24T08:43:03.750" v="50132"/>
          <ac:spMkLst>
            <pc:docMk/>
            <pc:sldMk cId="789548521" sldId="2147478568"/>
            <ac:spMk id="333" creationId="{DABDC42F-E58B-6622-3359-B273532F0982}"/>
          </ac:spMkLst>
        </pc:spChg>
        <pc:spChg chg="add del mod">
          <ac:chgData name="Steiner Andreas 6206 ED" userId="e6377c33-a923-4f14-8587-531c474c7b48" providerId="ADAL" clId="{6ECD27E6-B224-41CD-B4E0-E297462320DD}" dt="2023-11-24T08:43:05.606" v="50287"/>
          <ac:spMkLst>
            <pc:docMk/>
            <pc:sldMk cId="789548521" sldId="2147478568"/>
            <ac:spMk id="334" creationId="{22A372E8-B6A4-7AB8-E7CB-933363B04075}"/>
          </ac:spMkLst>
        </pc:spChg>
        <pc:spChg chg="add del mod">
          <ac:chgData name="Steiner Andreas 6206 ED" userId="e6377c33-a923-4f14-8587-531c474c7b48" providerId="ADAL" clId="{6ECD27E6-B224-41CD-B4E0-E297462320DD}" dt="2023-11-24T08:43:07.748" v="50442"/>
          <ac:spMkLst>
            <pc:docMk/>
            <pc:sldMk cId="789548521" sldId="2147478568"/>
            <ac:spMk id="335" creationId="{A553CDC7-C166-CD7B-7E9F-B285820F870B}"/>
          </ac:spMkLst>
        </pc:spChg>
        <pc:spChg chg="add del mod">
          <ac:chgData name="Steiner Andreas 6206 ED" userId="e6377c33-a923-4f14-8587-531c474c7b48" providerId="ADAL" clId="{6ECD27E6-B224-41CD-B4E0-E297462320DD}" dt="2023-11-24T08:43:09.904" v="50597"/>
          <ac:spMkLst>
            <pc:docMk/>
            <pc:sldMk cId="789548521" sldId="2147478568"/>
            <ac:spMk id="336" creationId="{A03119AC-253D-E572-4809-6566E5B8BBFE}"/>
          </ac:spMkLst>
        </pc:spChg>
        <pc:spChg chg="add del mod">
          <ac:chgData name="Steiner Andreas 6206 ED" userId="e6377c33-a923-4f14-8587-531c474c7b48" providerId="ADAL" clId="{6ECD27E6-B224-41CD-B4E0-E297462320DD}" dt="2023-11-24T08:43:11.723" v="50752"/>
          <ac:spMkLst>
            <pc:docMk/>
            <pc:sldMk cId="789548521" sldId="2147478568"/>
            <ac:spMk id="337" creationId="{D1C50B09-4F10-BEC2-2B76-5EFFF51A604B}"/>
          </ac:spMkLst>
        </pc:spChg>
        <pc:spChg chg="add del mod">
          <ac:chgData name="Steiner Andreas 6206 ED" userId="e6377c33-a923-4f14-8587-531c474c7b48" providerId="ADAL" clId="{6ECD27E6-B224-41CD-B4E0-E297462320DD}" dt="2023-11-24T08:43:13.780" v="50907"/>
          <ac:spMkLst>
            <pc:docMk/>
            <pc:sldMk cId="789548521" sldId="2147478568"/>
            <ac:spMk id="338" creationId="{7C1512DC-4764-79C7-71E2-2493113FED0C}"/>
          </ac:spMkLst>
        </pc:spChg>
        <pc:spChg chg="add del mod">
          <ac:chgData name="Steiner Andreas 6206 ED" userId="e6377c33-a923-4f14-8587-531c474c7b48" providerId="ADAL" clId="{6ECD27E6-B224-41CD-B4E0-E297462320DD}" dt="2023-11-24T08:43:15.728" v="51062"/>
          <ac:spMkLst>
            <pc:docMk/>
            <pc:sldMk cId="789548521" sldId="2147478568"/>
            <ac:spMk id="339" creationId="{723CE1A9-C254-14C4-F969-DA1B68430CFB}"/>
          </ac:spMkLst>
        </pc:spChg>
        <pc:spChg chg="add del mod">
          <ac:chgData name="Steiner Andreas 6206 ED" userId="e6377c33-a923-4f14-8587-531c474c7b48" providerId="ADAL" clId="{6ECD27E6-B224-41CD-B4E0-E297462320DD}" dt="2023-11-24T08:43:17.845" v="51217"/>
          <ac:spMkLst>
            <pc:docMk/>
            <pc:sldMk cId="789548521" sldId="2147478568"/>
            <ac:spMk id="340" creationId="{7849B144-3DA5-B04A-FC27-D4BB666C554B}"/>
          </ac:spMkLst>
        </pc:spChg>
        <pc:spChg chg="add del mod">
          <ac:chgData name="Steiner Andreas 6206 ED" userId="e6377c33-a923-4f14-8587-531c474c7b48" providerId="ADAL" clId="{6ECD27E6-B224-41CD-B4E0-E297462320DD}" dt="2023-11-24T08:43:19.808" v="51372"/>
          <ac:spMkLst>
            <pc:docMk/>
            <pc:sldMk cId="789548521" sldId="2147478568"/>
            <ac:spMk id="341" creationId="{2C42852F-FA2B-D9CF-00BC-53F7EE7E52BA}"/>
          </ac:spMkLst>
        </pc:spChg>
        <pc:spChg chg="add del mod">
          <ac:chgData name="Steiner Andreas 6206 ED" userId="e6377c33-a923-4f14-8587-531c474c7b48" providerId="ADAL" clId="{6ECD27E6-B224-41CD-B4E0-E297462320DD}" dt="2023-11-24T08:43:21.733" v="51527"/>
          <ac:spMkLst>
            <pc:docMk/>
            <pc:sldMk cId="789548521" sldId="2147478568"/>
            <ac:spMk id="342" creationId="{90CEA25D-5504-95DD-5684-EA111055C0AB}"/>
          </ac:spMkLst>
        </pc:spChg>
        <pc:spChg chg="add del mod">
          <ac:chgData name="Steiner Andreas 6206 ED" userId="e6377c33-a923-4f14-8587-531c474c7b48" providerId="ADAL" clId="{6ECD27E6-B224-41CD-B4E0-E297462320DD}" dt="2023-11-24T08:43:23.665" v="51682"/>
          <ac:spMkLst>
            <pc:docMk/>
            <pc:sldMk cId="789548521" sldId="2147478568"/>
            <ac:spMk id="343" creationId="{F21A8701-F15E-AB11-0D95-C0299DD99762}"/>
          </ac:spMkLst>
        </pc:spChg>
        <pc:spChg chg="add del mod">
          <ac:chgData name="Steiner Andreas 6206 ED" userId="e6377c33-a923-4f14-8587-531c474c7b48" providerId="ADAL" clId="{6ECD27E6-B224-41CD-B4E0-E297462320DD}" dt="2023-11-24T08:43:25.560" v="51837"/>
          <ac:spMkLst>
            <pc:docMk/>
            <pc:sldMk cId="789548521" sldId="2147478568"/>
            <ac:spMk id="344" creationId="{A0D4A424-E518-5EF6-70A4-9DC153D3B2E8}"/>
          </ac:spMkLst>
        </pc:spChg>
        <pc:spChg chg="add del mod">
          <ac:chgData name="Steiner Andreas 6206 ED" userId="e6377c33-a923-4f14-8587-531c474c7b48" providerId="ADAL" clId="{6ECD27E6-B224-41CD-B4E0-E297462320DD}" dt="2023-11-24T08:43:27.387" v="51992"/>
          <ac:spMkLst>
            <pc:docMk/>
            <pc:sldMk cId="789548521" sldId="2147478568"/>
            <ac:spMk id="345" creationId="{8BD504D7-52BA-B12D-D3BA-CC17B02EC6B8}"/>
          </ac:spMkLst>
        </pc:spChg>
        <pc:spChg chg="add del mod">
          <ac:chgData name="Steiner Andreas 6206 ED" userId="e6377c33-a923-4f14-8587-531c474c7b48" providerId="ADAL" clId="{6ECD27E6-B224-41CD-B4E0-E297462320DD}" dt="2023-11-24T08:43:29.208" v="52147"/>
          <ac:spMkLst>
            <pc:docMk/>
            <pc:sldMk cId="789548521" sldId="2147478568"/>
            <ac:spMk id="346" creationId="{8253C349-5880-0B84-2E20-6360A3B1317A}"/>
          </ac:spMkLst>
        </pc:spChg>
        <pc:spChg chg="add del mod">
          <ac:chgData name="Steiner Andreas 6206 ED" userId="e6377c33-a923-4f14-8587-531c474c7b48" providerId="ADAL" clId="{6ECD27E6-B224-41CD-B4E0-E297462320DD}" dt="2023-11-24T08:43:31.727" v="52302"/>
          <ac:spMkLst>
            <pc:docMk/>
            <pc:sldMk cId="789548521" sldId="2147478568"/>
            <ac:spMk id="347" creationId="{5F22330B-9F07-23B1-DB9A-4C1E56F80234}"/>
          </ac:spMkLst>
        </pc:spChg>
        <pc:spChg chg="add del mod">
          <ac:chgData name="Steiner Andreas 6206 ED" userId="e6377c33-a923-4f14-8587-531c474c7b48" providerId="ADAL" clId="{6ECD27E6-B224-41CD-B4E0-E297462320DD}" dt="2023-11-24T08:43:34.355" v="52457"/>
          <ac:spMkLst>
            <pc:docMk/>
            <pc:sldMk cId="789548521" sldId="2147478568"/>
            <ac:spMk id="348" creationId="{14FB46D0-23F4-CAB3-1F1E-C605AD1A705C}"/>
          </ac:spMkLst>
        </pc:spChg>
        <pc:spChg chg="add del mod">
          <ac:chgData name="Steiner Andreas 6206 ED" userId="e6377c33-a923-4f14-8587-531c474c7b48" providerId="ADAL" clId="{6ECD27E6-B224-41CD-B4E0-E297462320DD}" dt="2023-11-24T08:43:36.460" v="52612"/>
          <ac:spMkLst>
            <pc:docMk/>
            <pc:sldMk cId="789548521" sldId="2147478568"/>
            <ac:spMk id="349" creationId="{E923155D-258F-21AF-2652-163885358764}"/>
          </ac:spMkLst>
        </pc:spChg>
        <pc:spChg chg="add del mod">
          <ac:chgData name="Steiner Andreas 6206 ED" userId="e6377c33-a923-4f14-8587-531c474c7b48" providerId="ADAL" clId="{6ECD27E6-B224-41CD-B4E0-E297462320DD}" dt="2023-11-24T08:43:38.476" v="52767"/>
          <ac:spMkLst>
            <pc:docMk/>
            <pc:sldMk cId="789548521" sldId="2147478568"/>
            <ac:spMk id="350" creationId="{841DC9A6-C3CE-67DA-93D7-6B82469BEEAF}"/>
          </ac:spMkLst>
        </pc:spChg>
        <pc:spChg chg="add del mod">
          <ac:chgData name="Steiner Andreas 6206 ED" userId="e6377c33-a923-4f14-8587-531c474c7b48" providerId="ADAL" clId="{6ECD27E6-B224-41CD-B4E0-E297462320DD}" dt="2023-11-24T08:43:40.687" v="52922"/>
          <ac:spMkLst>
            <pc:docMk/>
            <pc:sldMk cId="789548521" sldId="2147478568"/>
            <ac:spMk id="351" creationId="{0DA12B3C-7AA2-AEF6-B8FA-C261038A6E87}"/>
          </ac:spMkLst>
        </pc:spChg>
        <pc:spChg chg="add del mod">
          <ac:chgData name="Steiner Andreas 6206 ED" userId="e6377c33-a923-4f14-8587-531c474c7b48" providerId="ADAL" clId="{6ECD27E6-B224-41CD-B4E0-E297462320DD}" dt="2023-11-24T08:43:42.681" v="53077"/>
          <ac:spMkLst>
            <pc:docMk/>
            <pc:sldMk cId="789548521" sldId="2147478568"/>
            <ac:spMk id="352" creationId="{0821E6B5-6374-783E-071B-208500B8104F}"/>
          </ac:spMkLst>
        </pc:spChg>
        <pc:spChg chg="add del mod">
          <ac:chgData name="Steiner Andreas 6206 ED" userId="e6377c33-a923-4f14-8587-531c474c7b48" providerId="ADAL" clId="{6ECD27E6-B224-41CD-B4E0-E297462320DD}" dt="2023-11-24T08:43:44.516" v="53232"/>
          <ac:spMkLst>
            <pc:docMk/>
            <pc:sldMk cId="789548521" sldId="2147478568"/>
            <ac:spMk id="353" creationId="{459A9B4D-C2C6-8DEF-1052-679C8316ECB7}"/>
          </ac:spMkLst>
        </pc:spChg>
        <pc:spChg chg="add del mod">
          <ac:chgData name="Steiner Andreas 6206 ED" userId="e6377c33-a923-4f14-8587-531c474c7b48" providerId="ADAL" clId="{6ECD27E6-B224-41CD-B4E0-E297462320DD}" dt="2023-11-24T08:43:46.293" v="53387"/>
          <ac:spMkLst>
            <pc:docMk/>
            <pc:sldMk cId="789548521" sldId="2147478568"/>
            <ac:spMk id="354" creationId="{CAB1730B-94BC-58AB-2016-2B51B517AEFD}"/>
          </ac:spMkLst>
        </pc:spChg>
        <pc:spChg chg="add del mod">
          <ac:chgData name="Steiner Andreas 6206 ED" userId="e6377c33-a923-4f14-8587-531c474c7b48" providerId="ADAL" clId="{6ECD27E6-B224-41CD-B4E0-E297462320DD}" dt="2023-11-24T08:43:48.219" v="53542"/>
          <ac:spMkLst>
            <pc:docMk/>
            <pc:sldMk cId="789548521" sldId="2147478568"/>
            <ac:spMk id="355" creationId="{D7601295-4F35-2364-6823-1982A0CE360A}"/>
          </ac:spMkLst>
        </pc:spChg>
        <pc:spChg chg="add del mod">
          <ac:chgData name="Steiner Andreas 6206 ED" userId="e6377c33-a923-4f14-8587-531c474c7b48" providerId="ADAL" clId="{6ECD27E6-B224-41CD-B4E0-E297462320DD}" dt="2023-11-24T08:43:50.201" v="53697"/>
          <ac:spMkLst>
            <pc:docMk/>
            <pc:sldMk cId="789548521" sldId="2147478568"/>
            <ac:spMk id="356" creationId="{9A6E4989-19EA-9A2B-B749-033DA9990341}"/>
          </ac:spMkLst>
        </pc:spChg>
        <pc:spChg chg="add del mod">
          <ac:chgData name="Steiner Andreas 6206 ED" userId="e6377c33-a923-4f14-8587-531c474c7b48" providerId="ADAL" clId="{6ECD27E6-B224-41CD-B4E0-E297462320DD}" dt="2023-11-24T08:43:52.214" v="53852"/>
          <ac:spMkLst>
            <pc:docMk/>
            <pc:sldMk cId="789548521" sldId="2147478568"/>
            <ac:spMk id="357" creationId="{27562266-2031-42EE-8331-584D96E34029}"/>
          </ac:spMkLst>
        </pc:spChg>
        <pc:spChg chg="add del mod">
          <ac:chgData name="Steiner Andreas 6206 ED" userId="e6377c33-a923-4f14-8587-531c474c7b48" providerId="ADAL" clId="{6ECD27E6-B224-41CD-B4E0-E297462320DD}" dt="2023-11-24T08:43:54.975" v="54007"/>
          <ac:spMkLst>
            <pc:docMk/>
            <pc:sldMk cId="789548521" sldId="2147478568"/>
            <ac:spMk id="358" creationId="{9BFDD2BA-CDB8-3226-286F-8EB69460865A}"/>
          </ac:spMkLst>
        </pc:spChg>
        <pc:spChg chg="add del mod">
          <ac:chgData name="Steiner Andreas 6206 ED" userId="e6377c33-a923-4f14-8587-531c474c7b48" providerId="ADAL" clId="{6ECD27E6-B224-41CD-B4E0-E297462320DD}" dt="2023-11-24T08:43:57.043" v="54162"/>
          <ac:spMkLst>
            <pc:docMk/>
            <pc:sldMk cId="789548521" sldId="2147478568"/>
            <ac:spMk id="359" creationId="{35872ECB-1EB3-8057-3AC4-1522D2843DD4}"/>
          </ac:spMkLst>
        </pc:spChg>
        <pc:spChg chg="add del mod">
          <ac:chgData name="Steiner Andreas 6206 ED" userId="e6377c33-a923-4f14-8587-531c474c7b48" providerId="ADAL" clId="{6ECD27E6-B224-41CD-B4E0-E297462320DD}" dt="2023-11-24T08:43:59.168" v="54317"/>
          <ac:spMkLst>
            <pc:docMk/>
            <pc:sldMk cId="789548521" sldId="2147478568"/>
            <ac:spMk id="360" creationId="{E01B3912-4249-8D50-7731-E42F6CDB3304}"/>
          </ac:spMkLst>
        </pc:spChg>
        <pc:spChg chg="add del mod">
          <ac:chgData name="Steiner Andreas 6206 ED" userId="e6377c33-a923-4f14-8587-531c474c7b48" providerId="ADAL" clId="{6ECD27E6-B224-41CD-B4E0-E297462320DD}" dt="2023-11-24T08:44:01.473" v="54472"/>
          <ac:spMkLst>
            <pc:docMk/>
            <pc:sldMk cId="789548521" sldId="2147478568"/>
            <ac:spMk id="361" creationId="{F594C5E2-F9A6-9BF7-3AD5-EE275A03B30D}"/>
          </ac:spMkLst>
        </pc:spChg>
        <pc:spChg chg="add del mod">
          <ac:chgData name="Steiner Andreas 6206 ED" userId="e6377c33-a923-4f14-8587-531c474c7b48" providerId="ADAL" clId="{6ECD27E6-B224-41CD-B4E0-E297462320DD}" dt="2023-11-24T08:44:03.592" v="54627"/>
          <ac:spMkLst>
            <pc:docMk/>
            <pc:sldMk cId="789548521" sldId="2147478568"/>
            <ac:spMk id="362" creationId="{624CE60A-C0C2-F9B5-08CA-DAF6645BC4BB}"/>
          </ac:spMkLst>
        </pc:spChg>
        <pc:spChg chg="add del mod">
          <ac:chgData name="Steiner Andreas 6206 ED" userId="e6377c33-a923-4f14-8587-531c474c7b48" providerId="ADAL" clId="{6ECD27E6-B224-41CD-B4E0-E297462320DD}" dt="2023-11-24T08:44:05.710" v="54782"/>
          <ac:spMkLst>
            <pc:docMk/>
            <pc:sldMk cId="789548521" sldId="2147478568"/>
            <ac:spMk id="363" creationId="{A92962F2-D87E-98DF-981D-1EA01FABAF74}"/>
          </ac:spMkLst>
        </pc:spChg>
        <pc:spChg chg="add del mod">
          <ac:chgData name="Steiner Andreas 6206 ED" userId="e6377c33-a923-4f14-8587-531c474c7b48" providerId="ADAL" clId="{6ECD27E6-B224-41CD-B4E0-E297462320DD}" dt="2023-11-24T08:44:07.665" v="54937"/>
          <ac:spMkLst>
            <pc:docMk/>
            <pc:sldMk cId="789548521" sldId="2147478568"/>
            <ac:spMk id="364" creationId="{AF02A01E-386C-9443-2FCA-4D0DFC1DA65B}"/>
          </ac:spMkLst>
        </pc:spChg>
        <pc:spChg chg="add del mod">
          <ac:chgData name="Steiner Andreas 6206 ED" userId="e6377c33-a923-4f14-8587-531c474c7b48" providerId="ADAL" clId="{6ECD27E6-B224-41CD-B4E0-E297462320DD}" dt="2023-11-24T08:44:09.694" v="55092"/>
          <ac:spMkLst>
            <pc:docMk/>
            <pc:sldMk cId="789548521" sldId="2147478568"/>
            <ac:spMk id="365" creationId="{A3E5C887-6EFC-B0B2-9A0B-0E728DA2E66C}"/>
          </ac:spMkLst>
        </pc:spChg>
        <pc:spChg chg="add del mod">
          <ac:chgData name="Steiner Andreas 6206 ED" userId="e6377c33-a923-4f14-8587-531c474c7b48" providerId="ADAL" clId="{6ECD27E6-B224-41CD-B4E0-E297462320DD}" dt="2023-11-24T08:44:11.639" v="55247"/>
          <ac:spMkLst>
            <pc:docMk/>
            <pc:sldMk cId="789548521" sldId="2147478568"/>
            <ac:spMk id="366" creationId="{975EDBC5-FED9-75CF-666F-8AAE25EF01A2}"/>
          </ac:spMkLst>
        </pc:spChg>
        <pc:spChg chg="add del mod">
          <ac:chgData name="Steiner Andreas 6206 ED" userId="e6377c33-a923-4f14-8587-531c474c7b48" providerId="ADAL" clId="{6ECD27E6-B224-41CD-B4E0-E297462320DD}" dt="2023-11-24T08:44:13.842" v="55402"/>
          <ac:spMkLst>
            <pc:docMk/>
            <pc:sldMk cId="789548521" sldId="2147478568"/>
            <ac:spMk id="367" creationId="{E4CF2FA8-38FC-6827-5760-3EFC09F81D6C}"/>
          </ac:spMkLst>
        </pc:spChg>
        <pc:spChg chg="add del mod">
          <ac:chgData name="Steiner Andreas 6206 ED" userId="e6377c33-a923-4f14-8587-531c474c7b48" providerId="ADAL" clId="{6ECD27E6-B224-41CD-B4E0-E297462320DD}" dt="2023-11-24T08:44:15.897" v="55557"/>
          <ac:spMkLst>
            <pc:docMk/>
            <pc:sldMk cId="789548521" sldId="2147478568"/>
            <ac:spMk id="368" creationId="{FFFF8168-48B2-9D9E-90E1-AA86D889EA86}"/>
          </ac:spMkLst>
        </pc:spChg>
        <pc:spChg chg="add del mod">
          <ac:chgData name="Steiner Andreas 6206 ED" userId="e6377c33-a923-4f14-8587-531c474c7b48" providerId="ADAL" clId="{6ECD27E6-B224-41CD-B4E0-E297462320DD}" dt="2023-11-24T08:44:18.357" v="55712"/>
          <ac:spMkLst>
            <pc:docMk/>
            <pc:sldMk cId="789548521" sldId="2147478568"/>
            <ac:spMk id="369" creationId="{D5EB0A3B-8C06-B877-6E4F-8806BD65A000}"/>
          </ac:spMkLst>
        </pc:spChg>
        <pc:spChg chg="add del mod">
          <ac:chgData name="Steiner Andreas 6206 ED" userId="e6377c33-a923-4f14-8587-531c474c7b48" providerId="ADAL" clId="{6ECD27E6-B224-41CD-B4E0-E297462320DD}" dt="2023-11-24T08:44:21.152" v="55867"/>
          <ac:spMkLst>
            <pc:docMk/>
            <pc:sldMk cId="789548521" sldId="2147478568"/>
            <ac:spMk id="370" creationId="{42EE2AD3-5C44-4204-F139-9958DFDD5811}"/>
          </ac:spMkLst>
        </pc:spChg>
        <pc:spChg chg="add del mod">
          <ac:chgData name="Steiner Andreas 6206 ED" userId="e6377c33-a923-4f14-8587-531c474c7b48" providerId="ADAL" clId="{6ECD27E6-B224-41CD-B4E0-E297462320DD}" dt="2023-11-24T08:44:23.635" v="56022"/>
          <ac:spMkLst>
            <pc:docMk/>
            <pc:sldMk cId="789548521" sldId="2147478568"/>
            <ac:spMk id="371" creationId="{2CC9BCFB-DEC3-A005-98A2-AF00FC4F4AB3}"/>
          </ac:spMkLst>
        </pc:spChg>
        <pc:spChg chg="add del mod">
          <ac:chgData name="Steiner Andreas 6206 ED" userId="e6377c33-a923-4f14-8587-531c474c7b48" providerId="ADAL" clId="{6ECD27E6-B224-41CD-B4E0-E297462320DD}" dt="2023-11-24T08:44:25.556" v="56177"/>
          <ac:spMkLst>
            <pc:docMk/>
            <pc:sldMk cId="789548521" sldId="2147478568"/>
            <ac:spMk id="372" creationId="{9F1C2C43-4B64-6084-0D48-4EF7EEEC9CA5}"/>
          </ac:spMkLst>
        </pc:spChg>
        <pc:spChg chg="add del mod">
          <ac:chgData name="Steiner Andreas 6206 ED" userId="e6377c33-a923-4f14-8587-531c474c7b48" providerId="ADAL" clId="{6ECD27E6-B224-41CD-B4E0-E297462320DD}" dt="2023-11-24T08:44:27.756" v="56332"/>
          <ac:spMkLst>
            <pc:docMk/>
            <pc:sldMk cId="789548521" sldId="2147478568"/>
            <ac:spMk id="373" creationId="{F366E35F-8ED5-D59B-26D2-BB047A54163B}"/>
          </ac:spMkLst>
        </pc:spChg>
        <pc:spChg chg="add del mod">
          <ac:chgData name="Steiner Andreas 6206 ED" userId="e6377c33-a923-4f14-8587-531c474c7b48" providerId="ADAL" clId="{6ECD27E6-B224-41CD-B4E0-E297462320DD}" dt="2023-11-24T08:44:29.775" v="56487"/>
          <ac:spMkLst>
            <pc:docMk/>
            <pc:sldMk cId="789548521" sldId="2147478568"/>
            <ac:spMk id="374" creationId="{6CF44CA4-4BE9-E7AA-B946-45ABBEF94312}"/>
          </ac:spMkLst>
        </pc:spChg>
        <pc:spChg chg="add del mod">
          <ac:chgData name="Steiner Andreas 6206 ED" userId="e6377c33-a923-4f14-8587-531c474c7b48" providerId="ADAL" clId="{6ECD27E6-B224-41CD-B4E0-E297462320DD}" dt="2023-11-24T08:44:31.744" v="56642"/>
          <ac:spMkLst>
            <pc:docMk/>
            <pc:sldMk cId="789548521" sldId="2147478568"/>
            <ac:spMk id="375" creationId="{11BD6E33-FFE5-A65B-229C-260A697244F4}"/>
          </ac:spMkLst>
        </pc:spChg>
        <pc:spChg chg="add del mod">
          <ac:chgData name="Steiner Andreas 6206 ED" userId="e6377c33-a923-4f14-8587-531c474c7b48" providerId="ADAL" clId="{6ECD27E6-B224-41CD-B4E0-E297462320DD}" dt="2023-11-24T08:44:33.691" v="56797"/>
          <ac:spMkLst>
            <pc:docMk/>
            <pc:sldMk cId="789548521" sldId="2147478568"/>
            <ac:spMk id="376" creationId="{7756A669-D5E3-7930-3E5A-33480D7B27C8}"/>
          </ac:spMkLst>
        </pc:spChg>
        <pc:spChg chg="add del mod">
          <ac:chgData name="Steiner Andreas 6206 ED" userId="e6377c33-a923-4f14-8587-531c474c7b48" providerId="ADAL" clId="{6ECD27E6-B224-41CD-B4E0-E297462320DD}" dt="2023-11-24T08:44:35.988" v="56952"/>
          <ac:spMkLst>
            <pc:docMk/>
            <pc:sldMk cId="789548521" sldId="2147478568"/>
            <ac:spMk id="377" creationId="{0D1AF694-ABE1-F57A-62F5-095C18F489A8}"/>
          </ac:spMkLst>
        </pc:spChg>
        <pc:spChg chg="add del mod">
          <ac:chgData name="Steiner Andreas 6206 ED" userId="e6377c33-a923-4f14-8587-531c474c7b48" providerId="ADAL" clId="{6ECD27E6-B224-41CD-B4E0-E297462320DD}" dt="2023-11-24T08:44:38.634" v="57107"/>
          <ac:spMkLst>
            <pc:docMk/>
            <pc:sldMk cId="789548521" sldId="2147478568"/>
            <ac:spMk id="378" creationId="{0360102D-DED4-FACC-AFF9-0E18BF4589BE}"/>
          </ac:spMkLst>
        </pc:spChg>
        <pc:spChg chg="add del mod">
          <ac:chgData name="Steiner Andreas 6206 ED" userId="e6377c33-a923-4f14-8587-531c474c7b48" providerId="ADAL" clId="{6ECD27E6-B224-41CD-B4E0-E297462320DD}" dt="2023-11-24T08:44:40.977" v="57262"/>
          <ac:spMkLst>
            <pc:docMk/>
            <pc:sldMk cId="789548521" sldId="2147478568"/>
            <ac:spMk id="379" creationId="{4D0B2149-FDCE-97C6-6B29-6CEF91F83689}"/>
          </ac:spMkLst>
        </pc:spChg>
        <pc:spChg chg="add del mod">
          <ac:chgData name="Steiner Andreas 6206 ED" userId="e6377c33-a923-4f14-8587-531c474c7b48" providerId="ADAL" clId="{6ECD27E6-B224-41CD-B4E0-E297462320DD}" dt="2023-11-24T08:44:43.216" v="57417"/>
          <ac:spMkLst>
            <pc:docMk/>
            <pc:sldMk cId="789548521" sldId="2147478568"/>
            <ac:spMk id="380" creationId="{46FBA2BD-A17A-ACD6-A83C-84CC72B00E54}"/>
          </ac:spMkLst>
        </pc:spChg>
        <pc:spChg chg="add del mod">
          <ac:chgData name="Steiner Andreas 6206 ED" userId="e6377c33-a923-4f14-8587-531c474c7b48" providerId="ADAL" clId="{6ECD27E6-B224-41CD-B4E0-E297462320DD}" dt="2023-11-24T08:44:45.364" v="57572"/>
          <ac:spMkLst>
            <pc:docMk/>
            <pc:sldMk cId="789548521" sldId="2147478568"/>
            <ac:spMk id="381" creationId="{7CD8290E-4F5E-DDAB-F70F-B64D859E8D2A}"/>
          </ac:spMkLst>
        </pc:spChg>
        <pc:spChg chg="add del mod">
          <ac:chgData name="Steiner Andreas 6206 ED" userId="e6377c33-a923-4f14-8587-531c474c7b48" providerId="ADAL" clId="{6ECD27E6-B224-41CD-B4E0-E297462320DD}" dt="2023-11-24T08:44:47.974" v="57727"/>
          <ac:spMkLst>
            <pc:docMk/>
            <pc:sldMk cId="789548521" sldId="2147478568"/>
            <ac:spMk id="382" creationId="{001AD8B6-A491-FEB3-F935-E8B5698EF386}"/>
          </ac:spMkLst>
        </pc:spChg>
        <pc:spChg chg="add del mod">
          <ac:chgData name="Steiner Andreas 6206 ED" userId="e6377c33-a923-4f14-8587-531c474c7b48" providerId="ADAL" clId="{6ECD27E6-B224-41CD-B4E0-E297462320DD}" dt="2023-11-24T08:44:50.385" v="57882"/>
          <ac:spMkLst>
            <pc:docMk/>
            <pc:sldMk cId="789548521" sldId="2147478568"/>
            <ac:spMk id="383" creationId="{CC00BFC5-75C2-36EC-8EB7-1D38F983B8DD}"/>
          </ac:spMkLst>
        </pc:spChg>
        <pc:spChg chg="add del mod">
          <ac:chgData name="Steiner Andreas 6206 ED" userId="e6377c33-a923-4f14-8587-531c474c7b48" providerId="ADAL" clId="{6ECD27E6-B224-41CD-B4E0-E297462320DD}" dt="2023-11-24T08:44:52.532" v="58037"/>
          <ac:spMkLst>
            <pc:docMk/>
            <pc:sldMk cId="789548521" sldId="2147478568"/>
            <ac:spMk id="384" creationId="{1B6EBF47-A101-8CC8-16B0-724F62256226}"/>
          </ac:spMkLst>
        </pc:spChg>
        <pc:spChg chg="add del mod">
          <ac:chgData name="Steiner Andreas 6206 ED" userId="e6377c33-a923-4f14-8587-531c474c7b48" providerId="ADAL" clId="{6ECD27E6-B224-41CD-B4E0-E297462320DD}" dt="2023-11-24T08:44:54.717" v="58192"/>
          <ac:spMkLst>
            <pc:docMk/>
            <pc:sldMk cId="789548521" sldId="2147478568"/>
            <ac:spMk id="385" creationId="{835D3A2B-A888-A297-7C88-021E183A3262}"/>
          </ac:spMkLst>
        </pc:spChg>
        <pc:spChg chg="add del mod">
          <ac:chgData name="Steiner Andreas 6206 ED" userId="e6377c33-a923-4f14-8587-531c474c7b48" providerId="ADAL" clId="{6ECD27E6-B224-41CD-B4E0-E297462320DD}" dt="2023-11-24T08:44:56.761" v="58347"/>
          <ac:spMkLst>
            <pc:docMk/>
            <pc:sldMk cId="789548521" sldId="2147478568"/>
            <ac:spMk id="386" creationId="{AFD48963-A643-3C2C-17C6-70F22E392480}"/>
          </ac:spMkLst>
        </pc:spChg>
        <pc:spChg chg="add del mod">
          <ac:chgData name="Steiner Andreas 6206 ED" userId="e6377c33-a923-4f14-8587-531c474c7b48" providerId="ADAL" clId="{6ECD27E6-B224-41CD-B4E0-E297462320DD}" dt="2023-11-24T08:44:58.690" v="58502"/>
          <ac:spMkLst>
            <pc:docMk/>
            <pc:sldMk cId="789548521" sldId="2147478568"/>
            <ac:spMk id="387" creationId="{99253B11-6551-D709-F3B5-AA143E096C6A}"/>
          </ac:spMkLst>
        </pc:spChg>
        <pc:spChg chg="add del mod">
          <ac:chgData name="Steiner Andreas 6206 ED" userId="e6377c33-a923-4f14-8587-531c474c7b48" providerId="ADAL" clId="{6ECD27E6-B224-41CD-B4E0-E297462320DD}" dt="2023-11-24T08:45:00.834" v="58657"/>
          <ac:spMkLst>
            <pc:docMk/>
            <pc:sldMk cId="789548521" sldId="2147478568"/>
            <ac:spMk id="388" creationId="{455B28CC-6390-DB94-B09D-C835BD20B72F}"/>
          </ac:spMkLst>
        </pc:spChg>
        <pc:spChg chg="add del mod">
          <ac:chgData name="Steiner Andreas 6206 ED" userId="e6377c33-a923-4f14-8587-531c474c7b48" providerId="ADAL" clId="{6ECD27E6-B224-41CD-B4E0-E297462320DD}" dt="2023-11-24T08:45:02.777" v="58812"/>
          <ac:spMkLst>
            <pc:docMk/>
            <pc:sldMk cId="789548521" sldId="2147478568"/>
            <ac:spMk id="389" creationId="{8696AD54-92BA-555D-308D-CE9D51696452}"/>
          </ac:spMkLst>
        </pc:spChg>
        <pc:spChg chg="add del mod">
          <ac:chgData name="Steiner Andreas 6206 ED" userId="e6377c33-a923-4f14-8587-531c474c7b48" providerId="ADAL" clId="{6ECD27E6-B224-41CD-B4E0-E297462320DD}" dt="2023-11-24T08:45:04.636" v="58967"/>
          <ac:spMkLst>
            <pc:docMk/>
            <pc:sldMk cId="789548521" sldId="2147478568"/>
            <ac:spMk id="390" creationId="{F3424054-4C5A-2B81-5EB7-D3FCF696DFE5}"/>
          </ac:spMkLst>
        </pc:spChg>
        <pc:spChg chg="add del mod">
          <ac:chgData name="Steiner Andreas 6206 ED" userId="e6377c33-a923-4f14-8587-531c474c7b48" providerId="ADAL" clId="{6ECD27E6-B224-41CD-B4E0-E297462320DD}" dt="2023-11-24T08:45:06.488" v="59122"/>
          <ac:spMkLst>
            <pc:docMk/>
            <pc:sldMk cId="789548521" sldId="2147478568"/>
            <ac:spMk id="391" creationId="{3F77AB20-9D56-07AF-B4B1-40A4BF11BDD7}"/>
          </ac:spMkLst>
        </pc:spChg>
        <pc:spChg chg="add del mod">
          <ac:chgData name="Steiner Andreas 6206 ED" userId="e6377c33-a923-4f14-8587-531c474c7b48" providerId="ADAL" clId="{6ECD27E6-B224-41CD-B4E0-E297462320DD}" dt="2023-11-24T08:45:08.332" v="59277"/>
          <ac:spMkLst>
            <pc:docMk/>
            <pc:sldMk cId="789548521" sldId="2147478568"/>
            <ac:spMk id="392" creationId="{EE15C494-9CCF-2258-3694-6379D8908049}"/>
          </ac:spMkLst>
        </pc:spChg>
        <pc:spChg chg="add del mod">
          <ac:chgData name="Steiner Andreas 6206 ED" userId="e6377c33-a923-4f14-8587-531c474c7b48" providerId="ADAL" clId="{6ECD27E6-B224-41CD-B4E0-E297462320DD}" dt="2023-11-24T08:45:10.124" v="59432"/>
          <ac:spMkLst>
            <pc:docMk/>
            <pc:sldMk cId="789548521" sldId="2147478568"/>
            <ac:spMk id="393" creationId="{09F4A1E0-CE26-38D4-806D-4E0746045324}"/>
          </ac:spMkLst>
        </pc:spChg>
        <pc:spChg chg="add del mod">
          <ac:chgData name="Steiner Andreas 6206 ED" userId="e6377c33-a923-4f14-8587-531c474c7b48" providerId="ADAL" clId="{6ECD27E6-B224-41CD-B4E0-E297462320DD}" dt="2023-11-24T08:45:12.211" v="59587"/>
          <ac:spMkLst>
            <pc:docMk/>
            <pc:sldMk cId="789548521" sldId="2147478568"/>
            <ac:spMk id="394" creationId="{7F97993E-8673-BD2D-305A-41D2D28543FC}"/>
          </ac:spMkLst>
        </pc:spChg>
        <pc:spChg chg="add del mod">
          <ac:chgData name="Steiner Andreas 6206 ED" userId="e6377c33-a923-4f14-8587-531c474c7b48" providerId="ADAL" clId="{6ECD27E6-B224-41CD-B4E0-E297462320DD}" dt="2023-11-24T08:45:14.132" v="59742"/>
          <ac:spMkLst>
            <pc:docMk/>
            <pc:sldMk cId="789548521" sldId="2147478568"/>
            <ac:spMk id="395" creationId="{13039607-8D0A-0871-4281-606BBC6660B9}"/>
          </ac:spMkLst>
        </pc:spChg>
        <pc:spChg chg="add del mod">
          <ac:chgData name="Steiner Andreas 6206 ED" userId="e6377c33-a923-4f14-8587-531c474c7b48" providerId="ADAL" clId="{6ECD27E6-B224-41CD-B4E0-E297462320DD}" dt="2023-11-24T08:45:16.214" v="59897"/>
          <ac:spMkLst>
            <pc:docMk/>
            <pc:sldMk cId="789548521" sldId="2147478568"/>
            <ac:spMk id="396" creationId="{E27D3306-D4F4-8C34-2F9D-503E769B8449}"/>
          </ac:spMkLst>
        </pc:spChg>
        <pc:spChg chg="add del mod">
          <ac:chgData name="Steiner Andreas 6206 ED" userId="e6377c33-a923-4f14-8587-531c474c7b48" providerId="ADAL" clId="{6ECD27E6-B224-41CD-B4E0-E297462320DD}" dt="2023-11-24T08:45:18.156" v="60052"/>
          <ac:spMkLst>
            <pc:docMk/>
            <pc:sldMk cId="789548521" sldId="2147478568"/>
            <ac:spMk id="397" creationId="{1AD67D4B-7B12-46FD-615F-5111F61AF742}"/>
          </ac:spMkLst>
        </pc:spChg>
        <pc:spChg chg="add del mod">
          <ac:chgData name="Steiner Andreas 6206 ED" userId="e6377c33-a923-4f14-8587-531c474c7b48" providerId="ADAL" clId="{6ECD27E6-B224-41CD-B4E0-E297462320DD}" dt="2023-11-24T08:45:20.051" v="60207"/>
          <ac:spMkLst>
            <pc:docMk/>
            <pc:sldMk cId="789548521" sldId="2147478568"/>
            <ac:spMk id="398" creationId="{1E1FD109-96B5-C756-AD89-1E1913784BF7}"/>
          </ac:spMkLst>
        </pc:spChg>
        <pc:spChg chg="add del mod">
          <ac:chgData name="Steiner Andreas 6206 ED" userId="e6377c33-a923-4f14-8587-531c474c7b48" providerId="ADAL" clId="{6ECD27E6-B224-41CD-B4E0-E297462320DD}" dt="2023-11-24T08:45:22.149" v="60362"/>
          <ac:spMkLst>
            <pc:docMk/>
            <pc:sldMk cId="789548521" sldId="2147478568"/>
            <ac:spMk id="399" creationId="{96C651BB-FDF1-3DCE-960F-D90F70B2BFD1}"/>
          </ac:spMkLst>
        </pc:spChg>
        <pc:spChg chg="add del mod">
          <ac:chgData name="Steiner Andreas 6206 ED" userId="e6377c33-a923-4f14-8587-531c474c7b48" providerId="ADAL" clId="{6ECD27E6-B224-41CD-B4E0-E297462320DD}" dt="2023-11-24T08:45:24.368" v="60517"/>
          <ac:spMkLst>
            <pc:docMk/>
            <pc:sldMk cId="789548521" sldId="2147478568"/>
            <ac:spMk id="400" creationId="{8A9E03AC-BE7F-8322-C801-25DA26406834}"/>
          </ac:spMkLst>
        </pc:spChg>
        <pc:spChg chg="add del mod">
          <ac:chgData name="Steiner Andreas 6206 ED" userId="e6377c33-a923-4f14-8587-531c474c7b48" providerId="ADAL" clId="{6ECD27E6-B224-41CD-B4E0-E297462320DD}" dt="2023-11-24T08:45:26.362" v="60672"/>
          <ac:spMkLst>
            <pc:docMk/>
            <pc:sldMk cId="789548521" sldId="2147478568"/>
            <ac:spMk id="401" creationId="{F1609427-64A3-B6A6-EC7A-3117C3462F32}"/>
          </ac:spMkLst>
        </pc:spChg>
        <pc:spChg chg="add del mod">
          <ac:chgData name="Steiner Andreas 6206 ED" userId="e6377c33-a923-4f14-8587-531c474c7b48" providerId="ADAL" clId="{6ECD27E6-B224-41CD-B4E0-E297462320DD}" dt="2023-11-24T08:45:28.263" v="60827"/>
          <ac:spMkLst>
            <pc:docMk/>
            <pc:sldMk cId="789548521" sldId="2147478568"/>
            <ac:spMk id="402" creationId="{E6E76A4B-A451-8235-779E-23ED9B62856A}"/>
          </ac:spMkLst>
        </pc:spChg>
        <pc:spChg chg="add del mod">
          <ac:chgData name="Steiner Andreas 6206 ED" userId="e6377c33-a923-4f14-8587-531c474c7b48" providerId="ADAL" clId="{6ECD27E6-B224-41CD-B4E0-E297462320DD}" dt="2023-11-24T08:45:30.084" v="60982"/>
          <ac:spMkLst>
            <pc:docMk/>
            <pc:sldMk cId="789548521" sldId="2147478568"/>
            <ac:spMk id="403" creationId="{9367BF11-0BCC-FDC9-22B5-7BDB6E679933}"/>
          </ac:spMkLst>
        </pc:spChg>
        <pc:spChg chg="add del mod">
          <ac:chgData name="Steiner Andreas 6206 ED" userId="e6377c33-a923-4f14-8587-531c474c7b48" providerId="ADAL" clId="{6ECD27E6-B224-41CD-B4E0-E297462320DD}" dt="2023-11-24T08:45:31.954" v="61137"/>
          <ac:spMkLst>
            <pc:docMk/>
            <pc:sldMk cId="789548521" sldId="2147478568"/>
            <ac:spMk id="404" creationId="{A065252D-22E1-B7B1-73C4-E981C5920B6D}"/>
          </ac:spMkLst>
        </pc:spChg>
        <pc:spChg chg="add del mod">
          <ac:chgData name="Steiner Andreas 6206 ED" userId="e6377c33-a923-4f14-8587-531c474c7b48" providerId="ADAL" clId="{6ECD27E6-B224-41CD-B4E0-E297462320DD}" dt="2023-11-24T08:45:34.035" v="61292"/>
          <ac:spMkLst>
            <pc:docMk/>
            <pc:sldMk cId="789548521" sldId="2147478568"/>
            <ac:spMk id="405" creationId="{ECFD98A8-E793-E872-00B9-E49FC792C954}"/>
          </ac:spMkLst>
        </pc:spChg>
        <pc:spChg chg="add del mod">
          <ac:chgData name="Steiner Andreas 6206 ED" userId="e6377c33-a923-4f14-8587-531c474c7b48" providerId="ADAL" clId="{6ECD27E6-B224-41CD-B4E0-E297462320DD}" dt="2023-11-24T08:45:36.102" v="61447"/>
          <ac:spMkLst>
            <pc:docMk/>
            <pc:sldMk cId="789548521" sldId="2147478568"/>
            <ac:spMk id="406" creationId="{AB44FAB3-B796-CD56-F179-DA8D7494D064}"/>
          </ac:spMkLst>
        </pc:spChg>
        <pc:spChg chg="add del mod">
          <ac:chgData name="Steiner Andreas 6206 ED" userId="e6377c33-a923-4f14-8587-531c474c7b48" providerId="ADAL" clId="{6ECD27E6-B224-41CD-B4E0-E297462320DD}" dt="2023-11-24T08:45:38.030" v="61602"/>
          <ac:spMkLst>
            <pc:docMk/>
            <pc:sldMk cId="789548521" sldId="2147478568"/>
            <ac:spMk id="407" creationId="{62038972-8A60-8255-F537-203AE703A4D0}"/>
          </ac:spMkLst>
        </pc:spChg>
        <pc:spChg chg="add del mod">
          <ac:chgData name="Steiner Andreas 6206 ED" userId="e6377c33-a923-4f14-8587-531c474c7b48" providerId="ADAL" clId="{6ECD27E6-B224-41CD-B4E0-E297462320DD}" dt="2023-11-24T08:45:39.901" v="61757"/>
          <ac:spMkLst>
            <pc:docMk/>
            <pc:sldMk cId="789548521" sldId="2147478568"/>
            <ac:spMk id="408" creationId="{8920E837-BEAF-49A2-9AB7-9F85EABD79D5}"/>
          </ac:spMkLst>
        </pc:spChg>
        <pc:spChg chg="add del mod">
          <ac:chgData name="Steiner Andreas 6206 ED" userId="e6377c33-a923-4f14-8587-531c474c7b48" providerId="ADAL" clId="{6ECD27E6-B224-41CD-B4E0-E297462320DD}" dt="2023-11-24T08:45:41.889" v="61912"/>
          <ac:spMkLst>
            <pc:docMk/>
            <pc:sldMk cId="789548521" sldId="2147478568"/>
            <ac:spMk id="409" creationId="{39484195-3F07-98B4-194E-B523065F6269}"/>
          </ac:spMkLst>
        </pc:spChg>
        <pc:spChg chg="add del mod">
          <ac:chgData name="Steiner Andreas 6206 ED" userId="e6377c33-a923-4f14-8587-531c474c7b48" providerId="ADAL" clId="{6ECD27E6-B224-41CD-B4E0-E297462320DD}" dt="2023-11-24T08:45:43.900" v="62067"/>
          <ac:spMkLst>
            <pc:docMk/>
            <pc:sldMk cId="789548521" sldId="2147478568"/>
            <ac:spMk id="410" creationId="{B7B355FE-4C1A-1E02-AC37-FBDC0A8C8B30}"/>
          </ac:spMkLst>
        </pc:spChg>
        <pc:spChg chg="add del mod">
          <ac:chgData name="Steiner Andreas 6206 ED" userId="e6377c33-a923-4f14-8587-531c474c7b48" providerId="ADAL" clId="{6ECD27E6-B224-41CD-B4E0-E297462320DD}" dt="2023-11-24T08:45:45.994" v="62222"/>
          <ac:spMkLst>
            <pc:docMk/>
            <pc:sldMk cId="789548521" sldId="2147478568"/>
            <ac:spMk id="411" creationId="{E0172614-2B15-FE3E-3664-032D35662DD0}"/>
          </ac:spMkLst>
        </pc:spChg>
        <pc:spChg chg="add del mod">
          <ac:chgData name="Steiner Andreas 6206 ED" userId="e6377c33-a923-4f14-8587-531c474c7b48" providerId="ADAL" clId="{6ECD27E6-B224-41CD-B4E0-E297462320DD}" dt="2023-11-24T08:45:47.902" v="62377"/>
          <ac:spMkLst>
            <pc:docMk/>
            <pc:sldMk cId="789548521" sldId="2147478568"/>
            <ac:spMk id="412" creationId="{6F11CB94-AFAE-0FFF-A931-A14422E289F1}"/>
          </ac:spMkLst>
        </pc:spChg>
        <pc:spChg chg="add del mod">
          <ac:chgData name="Steiner Andreas 6206 ED" userId="e6377c33-a923-4f14-8587-531c474c7b48" providerId="ADAL" clId="{6ECD27E6-B224-41CD-B4E0-E297462320DD}" dt="2023-11-24T08:45:50.151" v="62532"/>
          <ac:spMkLst>
            <pc:docMk/>
            <pc:sldMk cId="789548521" sldId="2147478568"/>
            <ac:spMk id="413" creationId="{F922030B-27EC-BA46-2A61-4F7EBB13A8D4}"/>
          </ac:spMkLst>
        </pc:spChg>
        <pc:spChg chg="add del mod">
          <ac:chgData name="Steiner Andreas 6206 ED" userId="e6377c33-a923-4f14-8587-531c474c7b48" providerId="ADAL" clId="{6ECD27E6-B224-41CD-B4E0-E297462320DD}" dt="2023-11-24T08:45:52.244" v="62687"/>
          <ac:spMkLst>
            <pc:docMk/>
            <pc:sldMk cId="789548521" sldId="2147478568"/>
            <ac:spMk id="414" creationId="{1E4F847A-F2B1-BE7A-8D37-BF4F58119695}"/>
          </ac:spMkLst>
        </pc:spChg>
        <pc:spChg chg="add del mod">
          <ac:chgData name="Steiner Andreas 6206 ED" userId="e6377c33-a923-4f14-8587-531c474c7b48" providerId="ADAL" clId="{6ECD27E6-B224-41CD-B4E0-E297462320DD}" dt="2023-11-24T08:45:54.239" v="62842"/>
          <ac:spMkLst>
            <pc:docMk/>
            <pc:sldMk cId="789548521" sldId="2147478568"/>
            <ac:spMk id="415" creationId="{DE2779A4-9D8C-DDA1-B7BC-3474CDA265FE}"/>
          </ac:spMkLst>
        </pc:spChg>
        <pc:spChg chg="add del mod">
          <ac:chgData name="Steiner Andreas 6206 ED" userId="e6377c33-a923-4f14-8587-531c474c7b48" providerId="ADAL" clId="{6ECD27E6-B224-41CD-B4E0-E297462320DD}" dt="2023-11-24T08:45:56.393" v="62997"/>
          <ac:spMkLst>
            <pc:docMk/>
            <pc:sldMk cId="789548521" sldId="2147478568"/>
            <ac:spMk id="416" creationId="{B508B51E-D584-974A-D059-7DF144322C9D}"/>
          </ac:spMkLst>
        </pc:spChg>
        <pc:spChg chg="add del mod">
          <ac:chgData name="Steiner Andreas 6206 ED" userId="e6377c33-a923-4f14-8587-531c474c7b48" providerId="ADAL" clId="{6ECD27E6-B224-41CD-B4E0-E297462320DD}" dt="2023-11-24T08:45:58.478" v="63152"/>
          <ac:spMkLst>
            <pc:docMk/>
            <pc:sldMk cId="789548521" sldId="2147478568"/>
            <ac:spMk id="417" creationId="{F2D61E31-F7D2-F9E6-6292-326F9C339E1B}"/>
          </ac:spMkLst>
        </pc:spChg>
        <pc:spChg chg="add del mod">
          <ac:chgData name="Steiner Andreas 6206 ED" userId="e6377c33-a923-4f14-8587-531c474c7b48" providerId="ADAL" clId="{6ECD27E6-B224-41CD-B4E0-E297462320DD}" dt="2023-11-24T08:46:00.555" v="63307"/>
          <ac:spMkLst>
            <pc:docMk/>
            <pc:sldMk cId="789548521" sldId="2147478568"/>
            <ac:spMk id="418" creationId="{E15CC8F4-1973-327C-9851-5FA1BDFE35A3}"/>
          </ac:spMkLst>
        </pc:spChg>
        <pc:spChg chg="add del mod">
          <ac:chgData name="Steiner Andreas 6206 ED" userId="e6377c33-a923-4f14-8587-531c474c7b48" providerId="ADAL" clId="{6ECD27E6-B224-41CD-B4E0-E297462320DD}" dt="2023-11-24T08:46:02.633" v="63462"/>
          <ac:spMkLst>
            <pc:docMk/>
            <pc:sldMk cId="789548521" sldId="2147478568"/>
            <ac:spMk id="419" creationId="{F40DCA01-9F04-6CF7-E1D0-80B35E98517E}"/>
          </ac:spMkLst>
        </pc:spChg>
        <pc:spChg chg="add del mod">
          <ac:chgData name="Steiner Andreas 6206 ED" userId="e6377c33-a923-4f14-8587-531c474c7b48" providerId="ADAL" clId="{6ECD27E6-B224-41CD-B4E0-E297462320DD}" dt="2023-11-24T08:46:04.860" v="63617"/>
          <ac:spMkLst>
            <pc:docMk/>
            <pc:sldMk cId="789548521" sldId="2147478568"/>
            <ac:spMk id="420" creationId="{155B325A-FE9D-AF99-642A-CE5AF0E8B204}"/>
          </ac:spMkLst>
        </pc:spChg>
        <pc:spChg chg="add del mod">
          <ac:chgData name="Steiner Andreas 6206 ED" userId="e6377c33-a923-4f14-8587-531c474c7b48" providerId="ADAL" clId="{6ECD27E6-B224-41CD-B4E0-E297462320DD}" dt="2023-11-24T08:46:07.527" v="63772"/>
          <ac:spMkLst>
            <pc:docMk/>
            <pc:sldMk cId="789548521" sldId="2147478568"/>
            <ac:spMk id="421" creationId="{8CC6094C-D538-B58E-9CBA-42F1DDCB61DA}"/>
          </ac:spMkLst>
        </pc:spChg>
        <pc:spChg chg="add del mod">
          <ac:chgData name="Steiner Andreas 6206 ED" userId="e6377c33-a923-4f14-8587-531c474c7b48" providerId="ADAL" clId="{6ECD27E6-B224-41CD-B4E0-E297462320DD}" dt="2023-11-24T08:46:09.723" v="63927"/>
          <ac:spMkLst>
            <pc:docMk/>
            <pc:sldMk cId="789548521" sldId="2147478568"/>
            <ac:spMk id="422" creationId="{AA1C0D27-B1B9-9F34-0B23-75E850B519BC}"/>
          </ac:spMkLst>
        </pc:spChg>
        <pc:spChg chg="add del mod">
          <ac:chgData name="Steiner Andreas 6206 ED" userId="e6377c33-a923-4f14-8587-531c474c7b48" providerId="ADAL" clId="{6ECD27E6-B224-41CD-B4E0-E297462320DD}" dt="2023-11-24T08:46:11.901" v="64082"/>
          <ac:spMkLst>
            <pc:docMk/>
            <pc:sldMk cId="789548521" sldId="2147478568"/>
            <ac:spMk id="423" creationId="{A904A574-25F6-C2E4-D5ED-32729B5843DD}"/>
          </ac:spMkLst>
        </pc:spChg>
        <pc:spChg chg="add del mod">
          <ac:chgData name="Steiner Andreas 6206 ED" userId="e6377c33-a923-4f14-8587-531c474c7b48" providerId="ADAL" clId="{6ECD27E6-B224-41CD-B4E0-E297462320DD}" dt="2023-11-24T08:46:14.056" v="64237"/>
          <ac:spMkLst>
            <pc:docMk/>
            <pc:sldMk cId="789548521" sldId="2147478568"/>
            <ac:spMk id="424" creationId="{7B454FEC-224E-378E-91EA-277409F9DDA9}"/>
          </ac:spMkLst>
        </pc:spChg>
        <pc:spChg chg="add del mod">
          <ac:chgData name="Steiner Andreas 6206 ED" userId="e6377c33-a923-4f14-8587-531c474c7b48" providerId="ADAL" clId="{6ECD27E6-B224-41CD-B4E0-E297462320DD}" dt="2023-11-24T08:46:16.299" v="64392"/>
          <ac:spMkLst>
            <pc:docMk/>
            <pc:sldMk cId="789548521" sldId="2147478568"/>
            <ac:spMk id="425" creationId="{BB5EF877-263E-0E4C-C051-1D18EDE14BD1}"/>
          </ac:spMkLst>
        </pc:spChg>
        <pc:spChg chg="add del mod">
          <ac:chgData name="Steiner Andreas 6206 ED" userId="e6377c33-a923-4f14-8587-531c474c7b48" providerId="ADAL" clId="{6ECD27E6-B224-41CD-B4E0-E297462320DD}" dt="2023-11-24T08:46:18.178" v="64547"/>
          <ac:spMkLst>
            <pc:docMk/>
            <pc:sldMk cId="789548521" sldId="2147478568"/>
            <ac:spMk id="426" creationId="{D86698BF-9843-83DA-ECC5-FADB4A81353F}"/>
          </ac:spMkLst>
        </pc:spChg>
        <pc:spChg chg="add del mod">
          <ac:chgData name="Steiner Andreas 6206 ED" userId="e6377c33-a923-4f14-8587-531c474c7b48" providerId="ADAL" clId="{6ECD27E6-B224-41CD-B4E0-E297462320DD}" dt="2023-11-24T08:46:20.653" v="64702"/>
          <ac:spMkLst>
            <pc:docMk/>
            <pc:sldMk cId="789548521" sldId="2147478568"/>
            <ac:spMk id="427" creationId="{7C76BDD3-6FB5-CACD-C79A-08A70BA437AF}"/>
          </ac:spMkLst>
        </pc:spChg>
        <pc:spChg chg="add del mod">
          <ac:chgData name="Steiner Andreas 6206 ED" userId="e6377c33-a923-4f14-8587-531c474c7b48" providerId="ADAL" clId="{6ECD27E6-B224-41CD-B4E0-E297462320DD}" dt="2023-11-24T08:46:22.937" v="64857"/>
          <ac:spMkLst>
            <pc:docMk/>
            <pc:sldMk cId="789548521" sldId="2147478568"/>
            <ac:spMk id="428" creationId="{D550B257-F39B-C7AB-39DF-370A1168FC9C}"/>
          </ac:spMkLst>
        </pc:spChg>
        <pc:spChg chg="add del mod">
          <ac:chgData name="Steiner Andreas 6206 ED" userId="e6377c33-a923-4f14-8587-531c474c7b48" providerId="ADAL" clId="{6ECD27E6-B224-41CD-B4E0-E297462320DD}" dt="2023-11-24T08:46:25.216" v="65012"/>
          <ac:spMkLst>
            <pc:docMk/>
            <pc:sldMk cId="789548521" sldId="2147478568"/>
            <ac:spMk id="429" creationId="{DF08DA8E-C28E-7F9C-3B6F-74E574E7FC63}"/>
          </ac:spMkLst>
        </pc:spChg>
        <pc:spChg chg="add del mod">
          <ac:chgData name="Steiner Andreas 6206 ED" userId="e6377c33-a923-4f14-8587-531c474c7b48" providerId="ADAL" clId="{6ECD27E6-B224-41CD-B4E0-E297462320DD}" dt="2023-11-24T08:46:27.550" v="65167"/>
          <ac:spMkLst>
            <pc:docMk/>
            <pc:sldMk cId="789548521" sldId="2147478568"/>
            <ac:spMk id="430" creationId="{B7A87B99-AEE0-0952-4D37-E06D9C6CA5FA}"/>
          </ac:spMkLst>
        </pc:spChg>
        <pc:spChg chg="add del mod">
          <ac:chgData name="Steiner Andreas 6206 ED" userId="e6377c33-a923-4f14-8587-531c474c7b48" providerId="ADAL" clId="{6ECD27E6-B224-41CD-B4E0-E297462320DD}" dt="2023-11-24T08:46:29.553" v="65322"/>
          <ac:spMkLst>
            <pc:docMk/>
            <pc:sldMk cId="789548521" sldId="2147478568"/>
            <ac:spMk id="431" creationId="{5A536F50-768D-EDCB-3ADA-C2EBCD57642A}"/>
          </ac:spMkLst>
        </pc:spChg>
        <pc:spChg chg="add del mod">
          <ac:chgData name="Steiner Andreas 6206 ED" userId="e6377c33-a923-4f14-8587-531c474c7b48" providerId="ADAL" clId="{6ECD27E6-B224-41CD-B4E0-E297462320DD}" dt="2023-11-24T08:46:32.012" v="65477"/>
          <ac:spMkLst>
            <pc:docMk/>
            <pc:sldMk cId="789548521" sldId="2147478568"/>
            <ac:spMk id="432" creationId="{E3F33F84-D8D1-CDC6-827E-F67668D50297}"/>
          </ac:spMkLst>
        </pc:spChg>
        <pc:spChg chg="add del mod">
          <ac:chgData name="Steiner Andreas 6206 ED" userId="e6377c33-a923-4f14-8587-531c474c7b48" providerId="ADAL" clId="{6ECD27E6-B224-41CD-B4E0-E297462320DD}" dt="2023-11-24T08:46:34.118" v="65632"/>
          <ac:spMkLst>
            <pc:docMk/>
            <pc:sldMk cId="789548521" sldId="2147478568"/>
            <ac:spMk id="433" creationId="{F3FFC526-9739-6D4C-C509-3E81FC3E8213}"/>
          </ac:spMkLst>
        </pc:spChg>
        <pc:spChg chg="add del mod">
          <ac:chgData name="Steiner Andreas 6206 ED" userId="e6377c33-a923-4f14-8587-531c474c7b48" providerId="ADAL" clId="{6ECD27E6-B224-41CD-B4E0-E297462320DD}" dt="2023-11-24T08:46:36.062" v="65787"/>
          <ac:spMkLst>
            <pc:docMk/>
            <pc:sldMk cId="789548521" sldId="2147478568"/>
            <ac:spMk id="434" creationId="{5D979DAC-AE73-45D1-C307-B70F43B54E1C}"/>
          </ac:spMkLst>
        </pc:spChg>
        <pc:spChg chg="add del mod">
          <ac:chgData name="Steiner Andreas 6206 ED" userId="e6377c33-a923-4f14-8587-531c474c7b48" providerId="ADAL" clId="{6ECD27E6-B224-41CD-B4E0-E297462320DD}" dt="2023-11-24T08:46:38.122" v="65942"/>
          <ac:spMkLst>
            <pc:docMk/>
            <pc:sldMk cId="789548521" sldId="2147478568"/>
            <ac:spMk id="435" creationId="{49F4A532-4527-9E11-4E11-CF06F51E2319}"/>
          </ac:spMkLst>
        </pc:spChg>
        <pc:spChg chg="add del mod">
          <ac:chgData name="Steiner Andreas 6206 ED" userId="e6377c33-a923-4f14-8587-531c474c7b48" providerId="ADAL" clId="{6ECD27E6-B224-41CD-B4E0-E297462320DD}" dt="2023-11-24T08:46:40.192" v="66097"/>
          <ac:spMkLst>
            <pc:docMk/>
            <pc:sldMk cId="789548521" sldId="2147478568"/>
            <ac:spMk id="436" creationId="{893E7FF2-F1E8-8D89-497C-65C675F36FCD}"/>
          </ac:spMkLst>
        </pc:spChg>
        <pc:spChg chg="add del mod">
          <ac:chgData name="Steiner Andreas 6206 ED" userId="e6377c33-a923-4f14-8587-531c474c7b48" providerId="ADAL" clId="{6ECD27E6-B224-41CD-B4E0-E297462320DD}" dt="2023-11-24T08:46:42.445" v="66252"/>
          <ac:spMkLst>
            <pc:docMk/>
            <pc:sldMk cId="789548521" sldId="2147478568"/>
            <ac:spMk id="437" creationId="{171E1F1D-7C83-387A-0350-D021DB1FA8BE}"/>
          </ac:spMkLst>
        </pc:spChg>
        <pc:spChg chg="add del mod">
          <ac:chgData name="Steiner Andreas 6206 ED" userId="e6377c33-a923-4f14-8587-531c474c7b48" providerId="ADAL" clId="{6ECD27E6-B224-41CD-B4E0-E297462320DD}" dt="2023-11-24T08:46:44.587" v="66407"/>
          <ac:spMkLst>
            <pc:docMk/>
            <pc:sldMk cId="789548521" sldId="2147478568"/>
            <ac:spMk id="438" creationId="{2AD89047-E805-26D8-C862-196C030C75B1}"/>
          </ac:spMkLst>
        </pc:spChg>
        <pc:spChg chg="add del mod">
          <ac:chgData name="Steiner Andreas 6206 ED" userId="e6377c33-a923-4f14-8587-531c474c7b48" providerId="ADAL" clId="{6ECD27E6-B224-41CD-B4E0-E297462320DD}" dt="2023-11-24T08:46:46.655" v="66562"/>
          <ac:spMkLst>
            <pc:docMk/>
            <pc:sldMk cId="789548521" sldId="2147478568"/>
            <ac:spMk id="439" creationId="{48ED04FD-06D3-66A7-5A32-06641D6F530A}"/>
          </ac:spMkLst>
        </pc:spChg>
        <pc:spChg chg="add del mod">
          <ac:chgData name="Steiner Andreas 6206 ED" userId="e6377c33-a923-4f14-8587-531c474c7b48" providerId="ADAL" clId="{6ECD27E6-B224-41CD-B4E0-E297462320DD}" dt="2023-11-24T08:46:48.751" v="66717"/>
          <ac:spMkLst>
            <pc:docMk/>
            <pc:sldMk cId="789548521" sldId="2147478568"/>
            <ac:spMk id="440" creationId="{865CE516-5874-BC28-119D-CE42D0A10225}"/>
          </ac:spMkLst>
        </pc:spChg>
        <pc:spChg chg="add del mod">
          <ac:chgData name="Steiner Andreas 6206 ED" userId="e6377c33-a923-4f14-8587-531c474c7b48" providerId="ADAL" clId="{6ECD27E6-B224-41CD-B4E0-E297462320DD}" dt="2023-11-24T08:46:50.732" v="66872"/>
          <ac:spMkLst>
            <pc:docMk/>
            <pc:sldMk cId="789548521" sldId="2147478568"/>
            <ac:spMk id="441" creationId="{CC5AAAD5-F7AC-5AE9-2139-8B8703439C41}"/>
          </ac:spMkLst>
        </pc:spChg>
        <pc:spChg chg="add del mod">
          <ac:chgData name="Steiner Andreas 6206 ED" userId="e6377c33-a923-4f14-8587-531c474c7b48" providerId="ADAL" clId="{6ECD27E6-B224-41CD-B4E0-E297462320DD}" dt="2023-11-24T08:46:52.921" v="67027"/>
          <ac:spMkLst>
            <pc:docMk/>
            <pc:sldMk cId="789548521" sldId="2147478568"/>
            <ac:spMk id="442" creationId="{B37A1AD7-3158-6E2B-F6B2-721D572953D7}"/>
          </ac:spMkLst>
        </pc:spChg>
        <pc:spChg chg="add del mod">
          <ac:chgData name="Steiner Andreas 6206 ED" userId="e6377c33-a923-4f14-8587-531c474c7b48" providerId="ADAL" clId="{6ECD27E6-B224-41CD-B4E0-E297462320DD}" dt="2023-11-24T08:46:54.856" v="67182"/>
          <ac:spMkLst>
            <pc:docMk/>
            <pc:sldMk cId="789548521" sldId="2147478568"/>
            <ac:spMk id="443" creationId="{54A7CA19-E9FB-51F3-EE6A-1CAB13925CFB}"/>
          </ac:spMkLst>
        </pc:spChg>
        <pc:spChg chg="add del mod">
          <ac:chgData name="Steiner Andreas 6206 ED" userId="e6377c33-a923-4f14-8587-531c474c7b48" providerId="ADAL" clId="{6ECD27E6-B224-41CD-B4E0-E297462320DD}" dt="2023-11-24T08:46:56.861" v="67337"/>
          <ac:spMkLst>
            <pc:docMk/>
            <pc:sldMk cId="789548521" sldId="2147478568"/>
            <ac:spMk id="444" creationId="{8C4C160A-65B7-5268-22D9-E30884A3AC51}"/>
          </ac:spMkLst>
        </pc:spChg>
        <pc:spChg chg="add del mod">
          <ac:chgData name="Steiner Andreas 6206 ED" userId="e6377c33-a923-4f14-8587-531c474c7b48" providerId="ADAL" clId="{6ECD27E6-B224-41CD-B4E0-E297462320DD}" dt="2023-11-24T08:46:58.729" v="67492"/>
          <ac:spMkLst>
            <pc:docMk/>
            <pc:sldMk cId="789548521" sldId="2147478568"/>
            <ac:spMk id="445" creationId="{FA4A8096-708E-E4C7-82D2-E873CCD4FD50}"/>
          </ac:spMkLst>
        </pc:spChg>
        <pc:spChg chg="add del mod">
          <ac:chgData name="Steiner Andreas 6206 ED" userId="e6377c33-a923-4f14-8587-531c474c7b48" providerId="ADAL" clId="{6ECD27E6-B224-41CD-B4E0-E297462320DD}" dt="2023-11-24T08:47:00.817" v="67647"/>
          <ac:spMkLst>
            <pc:docMk/>
            <pc:sldMk cId="789548521" sldId="2147478568"/>
            <ac:spMk id="446" creationId="{E0F1A398-12E6-898A-0819-4C299EB3FAEF}"/>
          </ac:spMkLst>
        </pc:spChg>
        <pc:spChg chg="add del mod">
          <ac:chgData name="Steiner Andreas 6206 ED" userId="e6377c33-a923-4f14-8587-531c474c7b48" providerId="ADAL" clId="{6ECD27E6-B224-41CD-B4E0-E297462320DD}" dt="2023-11-24T08:47:02.944" v="67802"/>
          <ac:spMkLst>
            <pc:docMk/>
            <pc:sldMk cId="789548521" sldId="2147478568"/>
            <ac:spMk id="447" creationId="{17D2C7C1-A06F-C8EA-CC4A-36445C02F11B}"/>
          </ac:spMkLst>
        </pc:spChg>
        <pc:spChg chg="add del mod">
          <ac:chgData name="Steiner Andreas 6206 ED" userId="e6377c33-a923-4f14-8587-531c474c7b48" providerId="ADAL" clId="{6ECD27E6-B224-41CD-B4E0-E297462320DD}" dt="2023-11-24T08:47:04.998" v="67957"/>
          <ac:spMkLst>
            <pc:docMk/>
            <pc:sldMk cId="789548521" sldId="2147478568"/>
            <ac:spMk id="448" creationId="{CC26FE1E-F8D9-0561-E7E7-7800F4D3FFAA}"/>
          </ac:spMkLst>
        </pc:spChg>
        <pc:spChg chg="add del mod">
          <ac:chgData name="Steiner Andreas 6206 ED" userId="e6377c33-a923-4f14-8587-531c474c7b48" providerId="ADAL" clId="{6ECD27E6-B224-41CD-B4E0-E297462320DD}" dt="2023-11-24T08:47:06.775" v="68112"/>
          <ac:spMkLst>
            <pc:docMk/>
            <pc:sldMk cId="789548521" sldId="2147478568"/>
            <ac:spMk id="449" creationId="{F1DC61A2-D504-BDC4-9016-0AB258BD2362}"/>
          </ac:spMkLst>
        </pc:spChg>
        <pc:spChg chg="add del mod">
          <ac:chgData name="Steiner Andreas 6206 ED" userId="e6377c33-a923-4f14-8587-531c474c7b48" providerId="ADAL" clId="{6ECD27E6-B224-41CD-B4E0-E297462320DD}" dt="2023-11-24T08:47:08.648" v="68267"/>
          <ac:spMkLst>
            <pc:docMk/>
            <pc:sldMk cId="789548521" sldId="2147478568"/>
            <ac:spMk id="450" creationId="{3DB4C77E-8A94-ED59-E30C-D54887F91448}"/>
          </ac:spMkLst>
        </pc:spChg>
        <pc:spChg chg="add del mod">
          <ac:chgData name="Steiner Andreas 6206 ED" userId="e6377c33-a923-4f14-8587-531c474c7b48" providerId="ADAL" clId="{6ECD27E6-B224-41CD-B4E0-E297462320DD}" dt="2023-11-24T08:47:10.507" v="68422"/>
          <ac:spMkLst>
            <pc:docMk/>
            <pc:sldMk cId="789548521" sldId="2147478568"/>
            <ac:spMk id="451" creationId="{9B052360-138F-3420-4EE9-1CAAF91C4D19}"/>
          </ac:spMkLst>
        </pc:spChg>
        <pc:spChg chg="add del mod">
          <ac:chgData name="Steiner Andreas 6206 ED" userId="e6377c33-a923-4f14-8587-531c474c7b48" providerId="ADAL" clId="{6ECD27E6-B224-41CD-B4E0-E297462320DD}" dt="2023-11-24T08:47:12.411" v="68577"/>
          <ac:spMkLst>
            <pc:docMk/>
            <pc:sldMk cId="789548521" sldId="2147478568"/>
            <ac:spMk id="452" creationId="{4526FC4B-A02F-6362-D597-292718F14D86}"/>
          </ac:spMkLst>
        </pc:spChg>
        <pc:spChg chg="add del mod">
          <ac:chgData name="Steiner Andreas 6206 ED" userId="e6377c33-a923-4f14-8587-531c474c7b48" providerId="ADAL" clId="{6ECD27E6-B224-41CD-B4E0-E297462320DD}" dt="2023-11-24T08:47:14.537" v="68732"/>
          <ac:spMkLst>
            <pc:docMk/>
            <pc:sldMk cId="789548521" sldId="2147478568"/>
            <ac:spMk id="453" creationId="{303AAC60-F007-BCF4-73BE-DC9A7319EDAD}"/>
          </ac:spMkLst>
        </pc:spChg>
        <pc:spChg chg="add del mod">
          <ac:chgData name="Steiner Andreas 6206 ED" userId="e6377c33-a923-4f14-8587-531c474c7b48" providerId="ADAL" clId="{6ECD27E6-B224-41CD-B4E0-E297462320DD}" dt="2023-11-24T08:47:16.546" v="68887"/>
          <ac:spMkLst>
            <pc:docMk/>
            <pc:sldMk cId="789548521" sldId="2147478568"/>
            <ac:spMk id="454" creationId="{5395FDF1-F339-0181-CB3A-4C30E90A569B}"/>
          </ac:spMkLst>
        </pc:spChg>
        <pc:spChg chg="add del mod">
          <ac:chgData name="Steiner Andreas 6206 ED" userId="e6377c33-a923-4f14-8587-531c474c7b48" providerId="ADAL" clId="{6ECD27E6-B224-41CD-B4E0-E297462320DD}" dt="2023-11-24T08:47:18.438" v="69042"/>
          <ac:spMkLst>
            <pc:docMk/>
            <pc:sldMk cId="789548521" sldId="2147478568"/>
            <ac:spMk id="455" creationId="{5C126CC6-A8E2-7654-A700-9D6205641B31}"/>
          </ac:spMkLst>
        </pc:spChg>
        <pc:spChg chg="add del mod">
          <ac:chgData name="Steiner Andreas 6206 ED" userId="e6377c33-a923-4f14-8587-531c474c7b48" providerId="ADAL" clId="{6ECD27E6-B224-41CD-B4E0-E297462320DD}" dt="2023-11-24T08:47:20.443" v="69197"/>
          <ac:spMkLst>
            <pc:docMk/>
            <pc:sldMk cId="789548521" sldId="2147478568"/>
            <ac:spMk id="456" creationId="{E65B3752-AD24-764A-581F-94E1CB68CBEF}"/>
          </ac:spMkLst>
        </pc:spChg>
        <pc:spChg chg="add del mod">
          <ac:chgData name="Steiner Andreas 6206 ED" userId="e6377c33-a923-4f14-8587-531c474c7b48" providerId="ADAL" clId="{6ECD27E6-B224-41CD-B4E0-E297462320DD}" dt="2023-11-24T08:47:22.671" v="69352"/>
          <ac:spMkLst>
            <pc:docMk/>
            <pc:sldMk cId="789548521" sldId="2147478568"/>
            <ac:spMk id="457" creationId="{8023B738-58A1-1193-C21E-0DDD0C140D31}"/>
          </ac:spMkLst>
        </pc:spChg>
        <pc:spChg chg="add del mod">
          <ac:chgData name="Steiner Andreas 6206 ED" userId="e6377c33-a923-4f14-8587-531c474c7b48" providerId="ADAL" clId="{6ECD27E6-B224-41CD-B4E0-E297462320DD}" dt="2023-11-24T08:47:25.429" v="69507"/>
          <ac:spMkLst>
            <pc:docMk/>
            <pc:sldMk cId="789548521" sldId="2147478568"/>
            <ac:spMk id="458" creationId="{7E35AC77-78CE-EC68-E5D9-801E8A58E974}"/>
          </ac:spMkLst>
        </pc:spChg>
        <pc:spChg chg="add del mod">
          <ac:chgData name="Steiner Andreas 6206 ED" userId="e6377c33-a923-4f14-8587-531c474c7b48" providerId="ADAL" clId="{6ECD27E6-B224-41CD-B4E0-E297462320DD}" dt="2023-11-24T08:47:27.671" v="69662"/>
          <ac:spMkLst>
            <pc:docMk/>
            <pc:sldMk cId="789548521" sldId="2147478568"/>
            <ac:spMk id="459" creationId="{49A483EB-679B-5E89-1077-4482ABB83FAE}"/>
          </ac:spMkLst>
        </pc:spChg>
        <pc:spChg chg="add del mod">
          <ac:chgData name="Steiner Andreas 6206 ED" userId="e6377c33-a923-4f14-8587-531c474c7b48" providerId="ADAL" clId="{6ECD27E6-B224-41CD-B4E0-E297462320DD}" dt="2023-11-24T08:47:29.728" v="69817"/>
          <ac:spMkLst>
            <pc:docMk/>
            <pc:sldMk cId="789548521" sldId="2147478568"/>
            <ac:spMk id="460" creationId="{CDB08A16-A79D-F6BA-B976-E18DDE22D62B}"/>
          </ac:spMkLst>
        </pc:spChg>
        <pc:spChg chg="add del mod">
          <ac:chgData name="Steiner Andreas 6206 ED" userId="e6377c33-a923-4f14-8587-531c474c7b48" providerId="ADAL" clId="{6ECD27E6-B224-41CD-B4E0-E297462320DD}" dt="2023-11-24T08:47:31.716" v="69972"/>
          <ac:spMkLst>
            <pc:docMk/>
            <pc:sldMk cId="789548521" sldId="2147478568"/>
            <ac:spMk id="461" creationId="{64302287-1B9D-82D1-5FD8-01495FCC10F8}"/>
          </ac:spMkLst>
        </pc:spChg>
        <pc:spChg chg="add del mod">
          <ac:chgData name="Steiner Andreas 6206 ED" userId="e6377c33-a923-4f14-8587-531c474c7b48" providerId="ADAL" clId="{6ECD27E6-B224-41CD-B4E0-E297462320DD}" dt="2023-11-24T08:47:33.721" v="70127"/>
          <ac:spMkLst>
            <pc:docMk/>
            <pc:sldMk cId="789548521" sldId="2147478568"/>
            <ac:spMk id="462" creationId="{C06B3E0E-5400-4BED-9E87-54CBC37CAF14}"/>
          </ac:spMkLst>
        </pc:spChg>
        <pc:spChg chg="add del mod">
          <ac:chgData name="Steiner Andreas 6206 ED" userId="e6377c33-a923-4f14-8587-531c474c7b48" providerId="ADAL" clId="{6ECD27E6-B224-41CD-B4E0-E297462320DD}" dt="2023-11-24T08:47:35.867" v="70282"/>
          <ac:spMkLst>
            <pc:docMk/>
            <pc:sldMk cId="789548521" sldId="2147478568"/>
            <ac:spMk id="463" creationId="{B6F2A5FF-CA89-2998-1B85-8923DB37B80B}"/>
          </ac:spMkLst>
        </pc:spChg>
        <pc:spChg chg="add del mod">
          <ac:chgData name="Steiner Andreas 6206 ED" userId="e6377c33-a923-4f14-8587-531c474c7b48" providerId="ADAL" clId="{6ECD27E6-B224-41CD-B4E0-E297462320DD}" dt="2023-11-24T08:47:37.965" v="70437"/>
          <ac:spMkLst>
            <pc:docMk/>
            <pc:sldMk cId="789548521" sldId="2147478568"/>
            <ac:spMk id="464" creationId="{9B1DAE75-C395-E9A1-D3D8-7D5204F3C325}"/>
          </ac:spMkLst>
        </pc:spChg>
        <pc:spChg chg="add del mod">
          <ac:chgData name="Steiner Andreas 6206 ED" userId="e6377c33-a923-4f14-8587-531c474c7b48" providerId="ADAL" clId="{6ECD27E6-B224-41CD-B4E0-E297462320DD}" dt="2023-11-24T08:47:40.038" v="70592"/>
          <ac:spMkLst>
            <pc:docMk/>
            <pc:sldMk cId="789548521" sldId="2147478568"/>
            <ac:spMk id="465" creationId="{AB3FE059-2399-A536-9EC5-A6252E13028D}"/>
          </ac:spMkLst>
        </pc:spChg>
        <pc:spChg chg="add del mod">
          <ac:chgData name="Steiner Andreas 6206 ED" userId="e6377c33-a923-4f14-8587-531c474c7b48" providerId="ADAL" clId="{6ECD27E6-B224-41CD-B4E0-E297462320DD}" dt="2023-11-24T08:47:41.991" v="70747"/>
          <ac:spMkLst>
            <pc:docMk/>
            <pc:sldMk cId="789548521" sldId="2147478568"/>
            <ac:spMk id="466" creationId="{4666308E-CA6C-29FF-8AF0-FA643AF1FC9B}"/>
          </ac:spMkLst>
        </pc:spChg>
        <pc:spChg chg="add del mod">
          <ac:chgData name="Steiner Andreas 6206 ED" userId="e6377c33-a923-4f14-8587-531c474c7b48" providerId="ADAL" clId="{6ECD27E6-B224-41CD-B4E0-E297462320DD}" dt="2023-11-24T08:47:43.897" v="70902"/>
          <ac:spMkLst>
            <pc:docMk/>
            <pc:sldMk cId="789548521" sldId="2147478568"/>
            <ac:spMk id="467" creationId="{48753B2A-9541-92BF-7E05-329026C4D54E}"/>
          </ac:spMkLst>
        </pc:spChg>
        <pc:spChg chg="add del mod">
          <ac:chgData name="Steiner Andreas 6206 ED" userId="e6377c33-a923-4f14-8587-531c474c7b48" providerId="ADAL" clId="{6ECD27E6-B224-41CD-B4E0-E297462320DD}" dt="2023-11-24T08:47:45.822" v="71057"/>
          <ac:spMkLst>
            <pc:docMk/>
            <pc:sldMk cId="789548521" sldId="2147478568"/>
            <ac:spMk id="468" creationId="{070CAEC5-64F3-09DD-041D-CA7DADDFA655}"/>
          </ac:spMkLst>
        </pc:spChg>
        <pc:spChg chg="add del mod">
          <ac:chgData name="Steiner Andreas 6206 ED" userId="e6377c33-a923-4f14-8587-531c474c7b48" providerId="ADAL" clId="{6ECD27E6-B224-41CD-B4E0-E297462320DD}" dt="2023-11-24T08:47:47.884" v="71212"/>
          <ac:spMkLst>
            <pc:docMk/>
            <pc:sldMk cId="789548521" sldId="2147478568"/>
            <ac:spMk id="469" creationId="{EF28D636-EFF9-8F10-F71D-91093CE2AFB6}"/>
          </ac:spMkLst>
        </pc:spChg>
        <pc:spChg chg="add del mod">
          <ac:chgData name="Steiner Andreas 6206 ED" userId="e6377c33-a923-4f14-8587-531c474c7b48" providerId="ADAL" clId="{6ECD27E6-B224-41CD-B4E0-E297462320DD}" dt="2023-11-24T08:47:49.976" v="71367"/>
          <ac:spMkLst>
            <pc:docMk/>
            <pc:sldMk cId="789548521" sldId="2147478568"/>
            <ac:spMk id="470" creationId="{F2D7C91E-08F4-9E62-D551-64C7372D65B1}"/>
          </ac:spMkLst>
        </pc:spChg>
        <pc:spChg chg="add del mod">
          <ac:chgData name="Steiner Andreas 6206 ED" userId="e6377c33-a923-4f14-8587-531c474c7b48" providerId="ADAL" clId="{6ECD27E6-B224-41CD-B4E0-E297462320DD}" dt="2023-11-24T08:47:51.932" v="71522"/>
          <ac:spMkLst>
            <pc:docMk/>
            <pc:sldMk cId="789548521" sldId="2147478568"/>
            <ac:spMk id="471" creationId="{D1A2259C-AE71-6D6F-5A27-C99090BB9FF6}"/>
          </ac:spMkLst>
        </pc:spChg>
        <pc:spChg chg="add del mod">
          <ac:chgData name="Steiner Andreas 6206 ED" userId="e6377c33-a923-4f14-8587-531c474c7b48" providerId="ADAL" clId="{6ECD27E6-B224-41CD-B4E0-E297462320DD}" dt="2023-11-24T08:47:53.897" v="71677"/>
          <ac:spMkLst>
            <pc:docMk/>
            <pc:sldMk cId="789548521" sldId="2147478568"/>
            <ac:spMk id="472" creationId="{C1BDE90B-424B-19C6-63A3-8F3461E48B41}"/>
          </ac:spMkLst>
        </pc:spChg>
        <pc:spChg chg="add del mod">
          <ac:chgData name="Steiner Andreas 6206 ED" userId="e6377c33-a923-4f14-8587-531c474c7b48" providerId="ADAL" clId="{6ECD27E6-B224-41CD-B4E0-E297462320DD}" dt="2023-11-24T08:47:55.716" v="71832"/>
          <ac:spMkLst>
            <pc:docMk/>
            <pc:sldMk cId="789548521" sldId="2147478568"/>
            <ac:spMk id="473" creationId="{0DD701DE-B541-315A-A0AE-4FD789C948BD}"/>
          </ac:spMkLst>
        </pc:spChg>
        <pc:spChg chg="add del mod">
          <ac:chgData name="Steiner Andreas 6206 ED" userId="e6377c33-a923-4f14-8587-531c474c7b48" providerId="ADAL" clId="{6ECD27E6-B224-41CD-B4E0-E297462320DD}" dt="2023-11-24T08:47:57.685" v="71987"/>
          <ac:spMkLst>
            <pc:docMk/>
            <pc:sldMk cId="789548521" sldId="2147478568"/>
            <ac:spMk id="474" creationId="{5059B2FC-5DDC-D6B1-8A64-96368DC09ABA}"/>
          </ac:spMkLst>
        </pc:spChg>
        <pc:spChg chg="add del mod">
          <ac:chgData name="Steiner Andreas 6206 ED" userId="e6377c33-a923-4f14-8587-531c474c7b48" providerId="ADAL" clId="{6ECD27E6-B224-41CD-B4E0-E297462320DD}" dt="2023-11-24T08:47:59.798" v="72142"/>
          <ac:spMkLst>
            <pc:docMk/>
            <pc:sldMk cId="789548521" sldId="2147478568"/>
            <ac:spMk id="475" creationId="{0811C0A3-FCAC-20F6-C3DA-B4ACF353C055}"/>
          </ac:spMkLst>
        </pc:spChg>
        <pc:spChg chg="add del mod">
          <ac:chgData name="Steiner Andreas 6206 ED" userId="e6377c33-a923-4f14-8587-531c474c7b48" providerId="ADAL" clId="{6ECD27E6-B224-41CD-B4E0-E297462320DD}" dt="2023-11-24T08:48:01.948" v="72297"/>
          <ac:spMkLst>
            <pc:docMk/>
            <pc:sldMk cId="789548521" sldId="2147478568"/>
            <ac:spMk id="476" creationId="{1F80E167-D689-713D-DFDA-B042FA360D38}"/>
          </ac:spMkLst>
        </pc:spChg>
        <pc:spChg chg="add del mod">
          <ac:chgData name="Steiner Andreas 6206 ED" userId="e6377c33-a923-4f14-8587-531c474c7b48" providerId="ADAL" clId="{6ECD27E6-B224-41CD-B4E0-E297462320DD}" dt="2023-11-24T08:48:03.979" v="72452"/>
          <ac:spMkLst>
            <pc:docMk/>
            <pc:sldMk cId="789548521" sldId="2147478568"/>
            <ac:spMk id="477" creationId="{51839907-01E8-68AF-FA60-6372E5557AC0}"/>
          </ac:spMkLst>
        </pc:spChg>
        <pc:spChg chg="add del mod">
          <ac:chgData name="Steiner Andreas 6206 ED" userId="e6377c33-a923-4f14-8587-531c474c7b48" providerId="ADAL" clId="{6ECD27E6-B224-41CD-B4E0-E297462320DD}" dt="2023-11-24T08:48:06.134" v="72607"/>
          <ac:spMkLst>
            <pc:docMk/>
            <pc:sldMk cId="789548521" sldId="2147478568"/>
            <ac:spMk id="478" creationId="{0649F932-9504-6274-3F18-F18D06B5071A}"/>
          </ac:spMkLst>
        </pc:spChg>
        <pc:spChg chg="add del mod">
          <ac:chgData name="Steiner Andreas 6206 ED" userId="e6377c33-a923-4f14-8587-531c474c7b48" providerId="ADAL" clId="{6ECD27E6-B224-41CD-B4E0-E297462320DD}" dt="2023-11-24T08:48:08.368" v="72762"/>
          <ac:spMkLst>
            <pc:docMk/>
            <pc:sldMk cId="789548521" sldId="2147478568"/>
            <ac:spMk id="479" creationId="{D3AF8EEE-B3C0-13BC-B48E-78DE92B87807}"/>
          </ac:spMkLst>
        </pc:spChg>
        <pc:spChg chg="add del mod">
          <ac:chgData name="Steiner Andreas 6206 ED" userId="e6377c33-a923-4f14-8587-531c474c7b48" providerId="ADAL" clId="{6ECD27E6-B224-41CD-B4E0-E297462320DD}" dt="2023-11-24T08:48:10.384" v="72917"/>
          <ac:spMkLst>
            <pc:docMk/>
            <pc:sldMk cId="789548521" sldId="2147478568"/>
            <ac:spMk id="480" creationId="{0D0E7B53-4138-F978-536D-8A078FE8F58F}"/>
          </ac:spMkLst>
        </pc:spChg>
        <pc:spChg chg="add del mod">
          <ac:chgData name="Steiner Andreas 6206 ED" userId="e6377c33-a923-4f14-8587-531c474c7b48" providerId="ADAL" clId="{6ECD27E6-B224-41CD-B4E0-E297462320DD}" dt="2023-11-24T08:48:12.377" v="73072"/>
          <ac:spMkLst>
            <pc:docMk/>
            <pc:sldMk cId="789548521" sldId="2147478568"/>
            <ac:spMk id="481" creationId="{6E3858E4-B223-DF1F-4466-94AFA5D46D25}"/>
          </ac:spMkLst>
        </pc:spChg>
        <pc:spChg chg="add del mod">
          <ac:chgData name="Steiner Andreas 6206 ED" userId="e6377c33-a923-4f14-8587-531c474c7b48" providerId="ADAL" clId="{6ECD27E6-B224-41CD-B4E0-E297462320DD}" dt="2023-11-24T08:48:14.803" v="73227"/>
          <ac:spMkLst>
            <pc:docMk/>
            <pc:sldMk cId="789548521" sldId="2147478568"/>
            <ac:spMk id="482" creationId="{1675DB77-0F89-AD04-BADE-0B167F23A30E}"/>
          </ac:spMkLst>
        </pc:spChg>
        <pc:spChg chg="add del mod">
          <ac:chgData name="Steiner Andreas 6206 ED" userId="e6377c33-a923-4f14-8587-531c474c7b48" providerId="ADAL" clId="{6ECD27E6-B224-41CD-B4E0-E297462320DD}" dt="2023-11-24T08:48:17.612" v="73382"/>
          <ac:spMkLst>
            <pc:docMk/>
            <pc:sldMk cId="789548521" sldId="2147478568"/>
            <ac:spMk id="483" creationId="{97F301C4-B9DE-A906-B376-267F58FF1792}"/>
          </ac:spMkLst>
        </pc:spChg>
        <pc:spChg chg="add del mod">
          <ac:chgData name="Steiner Andreas 6206 ED" userId="e6377c33-a923-4f14-8587-531c474c7b48" providerId="ADAL" clId="{6ECD27E6-B224-41CD-B4E0-E297462320DD}" dt="2023-11-24T08:48:20.174" v="73537"/>
          <ac:spMkLst>
            <pc:docMk/>
            <pc:sldMk cId="789548521" sldId="2147478568"/>
            <ac:spMk id="484" creationId="{2A7AF879-5DC7-3031-8826-31784984CC1E}"/>
          </ac:spMkLst>
        </pc:spChg>
        <pc:spChg chg="add del mod">
          <ac:chgData name="Steiner Andreas 6206 ED" userId="e6377c33-a923-4f14-8587-531c474c7b48" providerId="ADAL" clId="{6ECD27E6-B224-41CD-B4E0-E297462320DD}" dt="2023-11-24T08:48:22.311" v="73692"/>
          <ac:spMkLst>
            <pc:docMk/>
            <pc:sldMk cId="789548521" sldId="2147478568"/>
            <ac:spMk id="485" creationId="{D6A2FC5A-E67B-2C33-3FAB-841A015A59D5}"/>
          </ac:spMkLst>
        </pc:spChg>
        <pc:spChg chg="add del mod">
          <ac:chgData name="Steiner Andreas 6206 ED" userId="e6377c33-a923-4f14-8587-531c474c7b48" providerId="ADAL" clId="{6ECD27E6-B224-41CD-B4E0-E297462320DD}" dt="2023-11-24T08:48:24.422" v="73847"/>
          <ac:spMkLst>
            <pc:docMk/>
            <pc:sldMk cId="789548521" sldId="2147478568"/>
            <ac:spMk id="486" creationId="{BF876B56-2C37-1C26-249A-768779C158FD}"/>
          </ac:spMkLst>
        </pc:spChg>
        <pc:spChg chg="add del mod">
          <ac:chgData name="Steiner Andreas 6206 ED" userId="e6377c33-a923-4f14-8587-531c474c7b48" providerId="ADAL" clId="{6ECD27E6-B224-41CD-B4E0-E297462320DD}" dt="2023-11-24T08:48:26.529" v="74002"/>
          <ac:spMkLst>
            <pc:docMk/>
            <pc:sldMk cId="789548521" sldId="2147478568"/>
            <ac:spMk id="487" creationId="{D491D0EC-8DC0-B860-63C6-479F803CBEFD}"/>
          </ac:spMkLst>
        </pc:spChg>
        <pc:spChg chg="add del mod">
          <ac:chgData name="Steiner Andreas 6206 ED" userId="e6377c33-a923-4f14-8587-531c474c7b48" providerId="ADAL" clId="{6ECD27E6-B224-41CD-B4E0-E297462320DD}" dt="2023-11-24T08:48:28.544" v="74157"/>
          <ac:spMkLst>
            <pc:docMk/>
            <pc:sldMk cId="789548521" sldId="2147478568"/>
            <ac:spMk id="488" creationId="{726AC979-1017-8A23-974C-3D96207B1039}"/>
          </ac:spMkLst>
        </pc:spChg>
        <pc:spChg chg="add del mod">
          <ac:chgData name="Steiner Andreas 6206 ED" userId="e6377c33-a923-4f14-8587-531c474c7b48" providerId="ADAL" clId="{6ECD27E6-B224-41CD-B4E0-E297462320DD}" dt="2023-11-24T08:48:30.406" v="74312"/>
          <ac:spMkLst>
            <pc:docMk/>
            <pc:sldMk cId="789548521" sldId="2147478568"/>
            <ac:spMk id="489" creationId="{1A198C72-E44C-96B3-E45D-988FE201498C}"/>
          </ac:spMkLst>
        </pc:spChg>
        <pc:spChg chg="add del mod">
          <ac:chgData name="Steiner Andreas 6206 ED" userId="e6377c33-a923-4f14-8587-531c474c7b48" providerId="ADAL" clId="{6ECD27E6-B224-41CD-B4E0-E297462320DD}" dt="2023-11-24T08:48:32.382" v="74467"/>
          <ac:spMkLst>
            <pc:docMk/>
            <pc:sldMk cId="789548521" sldId="2147478568"/>
            <ac:spMk id="490" creationId="{82FE87B8-8099-E755-F9D3-E75DAD0A7141}"/>
          </ac:spMkLst>
        </pc:spChg>
        <pc:spChg chg="add del mod">
          <ac:chgData name="Steiner Andreas 6206 ED" userId="e6377c33-a923-4f14-8587-531c474c7b48" providerId="ADAL" clId="{6ECD27E6-B224-41CD-B4E0-E297462320DD}" dt="2023-11-24T08:48:34.666" v="74622"/>
          <ac:spMkLst>
            <pc:docMk/>
            <pc:sldMk cId="789548521" sldId="2147478568"/>
            <ac:spMk id="491" creationId="{B176ED58-D2BC-F4BF-28DA-D506BD986755}"/>
          </ac:spMkLst>
        </pc:spChg>
        <pc:spChg chg="add del mod">
          <ac:chgData name="Steiner Andreas 6206 ED" userId="e6377c33-a923-4f14-8587-531c474c7b48" providerId="ADAL" clId="{6ECD27E6-B224-41CD-B4E0-E297462320DD}" dt="2023-11-24T08:48:36.783" v="74777"/>
          <ac:spMkLst>
            <pc:docMk/>
            <pc:sldMk cId="789548521" sldId="2147478568"/>
            <ac:spMk id="492" creationId="{E3439360-0037-FA73-74D7-281E6851DE16}"/>
          </ac:spMkLst>
        </pc:spChg>
        <pc:spChg chg="add del mod">
          <ac:chgData name="Steiner Andreas 6206 ED" userId="e6377c33-a923-4f14-8587-531c474c7b48" providerId="ADAL" clId="{6ECD27E6-B224-41CD-B4E0-E297462320DD}" dt="2023-11-24T08:48:38.862" v="74932"/>
          <ac:spMkLst>
            <pc:docMk/>
            <pc:sldMk cId="789548521" sldId="2147478568"/>
            <ac:spMk id="493" creationId="{C6E9C6A1-764E-95AD-F836-35EDEB8E4577}"/>
          </ac:spMkLst>
        </pc:spChg>
        <pc:spChg chg="add del mod">
          <ac:chgData name="Steiner Andreas 6206 ED" userId="e6377c33-a923-4f14-8587-531c474c7b48" providerId="ADAL" clId="{6ECD27E6-B224-41CD-B4E0-E297462320DD}" dt="2023-11-24T08:48:40.973" v="75087"/>
          <ac:spMkLst>
            <pc:docMk/>
            <pc:sldMk cId="789548521" sldId="2147478568"/>
            <ac:spMk id="494" creationId="{67FE1B2A-4E34-67DB-1334-87C5DB2A4C23}"/>
          </ac:spMkLst>
        </pc:spChg>
        <pc:spChg chg="add del mod">
          <ac:chgData name="Steiner Andreas 6206 ED" userId="e6377c33-a923-4f14-8587-531c474c7b48" providerId="ADAL" clId="{6ECD27E6-B224-41CD-B4E0-E297462320DD}" dt="2023-11-24T08:48:43.423" v="75242"/>
          <ac:spMkLst>
            <pc:docMk/>
            <pc:sldMk cId="789548521" sldId="2147478568"/>
            <ac:spMk id="495" creationId="{18C9C60A-9708-5055-E5BD-DBF663C70819}"/>
          </ac:spMkLst>
        </pc:spChg>
        <pc:spChg chg="add del mod">
          <ac:chgData name="Steiner Andreas 6206 ED" userId="e6377c33-a923-4f14-8587-531c474c7b48" providerId="ADAL" clId="{6ECD27E6-B224-41CD-B4E0-E297462320DD}" dt="2023-11-24T08:48:45.711" v="75397"/>
          <ac:spMkLst>
            <pc:docMk/>
            <pc:sldMk cId="789548521" sldId="2147478568"/>
            <ac:spMk id="496" creationId="{03D9BC0D-5925-5C89-BCA8-6F6273AABC37}"/>
          </ac:spMkLst>
        </pc:spChg>
        <pc:spChg chg="add del mod">
          <ac:chgData name="Steiner Andreas 6206 ED" userId="e6377c33-a923-4f14-8587-531c474c7b48" providerId="ADAL" clId="{6ECD27E6-B224-41CD-B4E0-E297462320DD}" dt="2023-11-24T08:48:47.800" v="75552"/>
          <ac:spMkLst>
            <pc:docMk/>
            <pc:sldMk cId="789548521" sldId="2147478568"/>
            <ac:spMk id="497" creationId="{1CA0CDE6-D766-0962-B06A-2566FE8E707A}"/>
          </ac:spMkLst>
        </pc:spChg>
        <pc:spChg chg="add del mod">
          <ac:chgData name="Steiner Andreas 6206 ED" userId="e6377c33-a923-4f14-8587-531c474c7b48" providerId="ADAL" clId="{6ECD27E6-B224-41CD-B4E0-E297462320DD}" dt="2023-11-24T08:48:49.724" v="75707"/>
          <ac:spMkLst>
            <pc:docMk/>
            <pc:sldMk cId="789548521" sldId="2147478568"/>
            <ac:spMk id="498" creationId="{F46F4F19-038A-DAF4-5700-C1A3FA87FD19}"/>
          </ac:spMkLst>
        </pc:spChg>
        <pc:spChg chg="add del mod">
          <ac:chgData name="Steiner Andreas 6206 ED" userId="e6377c33-a923-4f14-8587-531c474c7b48" providerId="ADAL" clId="{6ECD27E6-B224-41CD-B4E0-E297462320DD}" dt="2023-11-24T08:48:51.938" v="75862"/>
          <ac:spMkLst>
            <pc:docMk/>
            <pc:sldMk cId="789548521" sldId="2147478568"/>
            <ac:spMk id="499" creationId="{6A924AC6-3553-ADB3-6DF0-5F4C05BDCF0F}"/>
          </ac:spMkLst>
        </pc:spChg>
        <pc:spChg chg="add del mod">
          <ac:chgData name="Steiner Andreas 6206 ED" userId="e6377c33-a923-4f14-8587-531c474c7b48" providerId="ADAL" clId="{6ECD27E6-B224-41CD-B4E0-E297462320DD}" dt="2023-11-24T08:48:53.902" v="76017"/>
          <ac:spMkLst>
            <pc:docMk/>
            <pc:sldMk cId="789548521" sldId="2147478568"/>
            <ac:spMk id="500" creationId="{F87CF280-9413-7737-0B57-59466AE80540}"/>
          </ac:spMkLst>
        </pc:spChg>
        <pc:spChg chg="add del mod">
          <ac:chgData name="Steiner Andreas 6206 ED" userId="e6377c33-a923-4f14-8587-531c474c7b48" providerId="ADAL" clId="{6ECD27E6-B224-41CD-B4E0-E297462320DD}" dt="2023-11-24T08:48:55.857" v="76172"/>
          <ac:spMkLst>
            <pc:docMk/>
            <pc:sldMk cId="789548521" sldId="2147478568"/>
            <ac:spMk id="501" creationId="{C1896E41-202A-2EBB-D250-3316CDD6BAC0}"/>
          </ac:spMkLst>
        </pc:spChg>
        <pc:spChg chg="add del mod">
          <ac:chgData name="Steiner Andreas 6206 ED" userId="e6377c33-a923-4f14-8587-531c474c7b48" providerId="ADAL" clId="{6ECD27E6-B224-41CD-B4E0-E297462320DD}" dt="2023-11-24T08:48:57.828" v="76327"/>
          <ac:spMkLst>
            <pc:docMk/>
            <pc:sldMk cId="789548521" sldId="2147478568"/>
            <ac:spMk id="502" creationId="{8A7B901D-84C2-4C60-8F90-E42CB394AB01}"/>
          </ac:spMkLst>
        </pc:spChg>
        <pc:spChg chg="add del mod">
          <ac:chgData name="Steiner Andreas 6206 ED" userId="e6377c33-a923-4f14-8587-531c474c7b48" providerId="ADAL" clId="{6ECD27E6-B224-41CD-B4E0-E297462320DD}" dt="2023-11-24T08:48:59.880" v="76482"/>
          <ac:spMkLst>
            <pc:docMk/>
            <pc:sldMk cId="789548521" sldId="2147478568"/>
            <ac:spMk id="503" creationId="{5EE34838-9C6B-20B9-28FA-D8646C940E26}"/>
          </ac:spMkLst>
        </pc:spChg>
        <pc:spChg chg="add del mod">
          <ac:chgData name="Steiner Andreas 6206 ED" userId="e6377c33-a923-4f14-8587-531c474c7b48" providerId="ADAL" clId="{6ECD27E6-B224-41CD-B4E0-E297462320DD}" dt="2023-11-24T08:49:01.854" v="76637"/>
          <ac:spMkLst>
            <pc:docMk/>
            <pc:sldMk cId="789548521" sldId="2147478568"/>
            <ac:spMk id="504" creationId="{3C0D6C16-365A-EDEF-4D21-883D2EC1E8A7}"/>
          </ac:spMkLst>
        </pc:spChg>
        <pc:spChg chg="add del mod">
          <ac:chgData name="Steiner Andreas 6206 ED" userId="e6377c33-a923-4f14-8587-531c474c7b48" providerId="ADAL" clId="{6ECD27E6-B224-41CD-B4E0-E297462320DD}" dt="2023-11-24T08:49:03.820" v="76792"/>
          <ac:spMkLst>
            <pc:docMk/>
            <pc:sldMk cId="789548521" sldId="2147478568"/>
            <ac:spMk id="505" creationId="{38946148-950F-A960-8239-3BF9429EC0D0}"/>
          </ac:spMkLst>
        </pc:spChg>
        <pc:spChg chg="add del mod">
          <ac:chgData name="Steiner Andreas 6206 ED" userId="e6377c33-a923-4f14-8587-531c474c7b48" providerId="ADAL" clId="{6ECD27E6-B224-41CD-B4E0-E297462320DD}" dt="2023-11-24T08:49:05.714" v="76947"/>
          <ac:spMkLst>
            <pc:docMk/>
            <pc:sldMk cId="789548521" sldId="2147478568"/>
            <ac:spMk id="506" creationId="{89F248DC-3B86-0C79-6905-153818BFD91B}"/>
          </ac:spMkLst>
        </pc:spChg>
        <pc:spChg chg="add del mod">
          <ac:chgData name="Steiner Andreas 6206 ED" userId="e6377c33-a923-4f14-8587-531c474c7b48" providerId="ADAL" clId="{6ECD27E6-B224-41CD-B4E0-E297462320DD}" dt="2023-11-24T08:49:07.815" v="77102"/>
          <ac:spMkLst>
            <pc:docMk/>
            <pc:sldMk cId="789548521" sldId="2147478568"/>
            <ac:spMk id="507" creationId="{4049E2C7-AB99-D853-2C99-B3C5815F7582}"/>
          </ac:spMkLst>
        </pc:spChg>
        <pc:spChg chg="add del mod">
          <ac:chgData name="Steiner Andreas 6206 ED" userId="e6377c33-a923-4f14-8587-531c474c7b48" providerId="ADAL" clId="{6ECD27E6-B224-41CD-B4E0-E297462320DD}" dt="2023-11-24T08:49:09.693" v="77257"/>
          <ac:spMkLst>
            <pc:docMk/>
            <pc:sldMk cId="789548521" sldId="2147478568"/>
            <ac:spMk id="508" creationId="{80F9A58E-3AFF-285D-4723-D6C74CBBC42A}"/>
          </ac:spMkLst>
        </pc:spChg>
        <pc:spChg chg="add del mod">
          <ac:chgData name="Steiner Andreas 6206 ED" userId="e6377c33-a923-4f14-8587-531c474c7b48" providerId="ADAL" clId="{6ECD27E6-B224-41CD-B4E0-E297462320DD}" dt="2023-11-24T08:49:11.496" v="77412"/>
          <ac:spMkLst>
            <pc:docMk/>
            <pc:sldMk cId="789548521" sldId="2147478568"/>
            <ac:spMk id="509" creationId="{3055C655-9826-2A34-8948-B3E1D45B128D}"/>
          </ac:spMkLst>
        </pc:spChg>
        <pc:spChg chg="add del mod">
          <ac:chgData name="Steiner Andreas 6206 ED" userId="e6377c33-a923-4f14-8587-531c474c7b48" providerId="ADAL" clId="{6ECD27E6-B224-41CD-B4E0-E297462320DD}" dt="2023-11-24T08:49:13.554" v="77567"/>
          <ac:spMkLst>
            <pc:docMk/>
            <pc:sldMk cId="789548521" sldId="2147478568"/>
            <ac:spMk id="510" creationId="{D521498C-1025-DB40-4D50-84A722E3362F}"/>
          </ac:spMkLst>
        </pc:spChg>
        <pc:spChg chg="add del mod">
          <ac:chgData name="Steiner Andreas 6206 ED" userId="e6377c33-a923-4f14-8587-531c474c7b48" providerId="ADAL" clId="{6ECD27E6-B224-41CD-B4E0-E297462320DD}" dt="2023-11-24T08:49:15.573" v="77722"/>
          <ac:spMkLst>
            <pc:docMk/>
            <pc:sldMk cId="789548521" sldId="2147478568"/>
            <ac:spMk id="511" creationId="{1145218D-EFEE-1485-0410-04DFA280FC2C}"/>
          </ac:spMkLst>
        </pc:spChg>
        <pc:spChg chg="add del mod">
          <ac:chgData name="Steiner Andreas 6206 ED" userId="e6377c33-a923-4f14-8587-531c474c7b48" providerId="ADAL" clId="{6ECD27E6-B224-41CD-B4E0-E297462320DD}" dt="2023-11-24T08:49:17.572" v="77877"/>
          <ac:spMkLst>
            <pc:docMk/>
            <pc:sldMk cId="789548521" sldId="2147478568"/>
            <ac:spMk id="512" creationId="{CAC5587F-722B-1DE6-3BF9-52D7E7EBF402}"/>
          </ac:spMkLst>
        </pc:spChg>
        <pc:spChg chg="add del mod">
          <ac:chgData name="Steiner Andreas 6206 ED" userId="e6377c33-a923-4f14-8587-531c474c7b48" providerId="ADAL" clId="{6ECD27E6-B224-41CD-B4E0-E297462320DD}" dt="2023-11-24T08:49:19.643" v="78032"/>
          <ac:spMkLst>
            <pc:docMk/>
            <pc:sldMk cId="789548521" sldId="2147478568"/>
            <ac:spMk id="513" creationId="{3B618DFA-7718-0D7E-359D-C8DBCF74EB79}"/>
          </ac:spMkLst>
        </pc:spChg>
        <pc:spChg chg="add del mod">
          <ac:chgData name="Steiner Andreas 6206 ED" userId="e6377c33-a923-4f14-8587-531c474c7b48" providerId="ADAL" clId="{6ECD27E6-B224-41CD-B4E0-E297462320DD}" dt="2023-11-24T08:49:21.580" v="78187"/>
          <ac:spMkLst>
            <pc:docMk/>
            <pc:sldMk cId="789548521" sldId="2147478568"/>
            <ac:spMk id="514" creationId="{89A6E652-6567-7F12-9F16-CBE9B5D4C7DE}"/>
          </ac:spMkLst>
        </pc:spChg>
        <pc:spChg chg="add del mod">
          <ac:chgData name="Steiner Andreas 6206 ED" userId="e6377c33-a923-4f14-8587-531c474c7b48" providerId="ADAL" clId="{6ECD27E6-B224-41CD-B4E0-E297462320DD}" dt="2023-11-24T08:49:23.443" v="78342"/>
          <ac:spMkLst>
            <pc:docMk/>
            <pc:sldMk cId="789548521" sldId="2147478568"/>
            <ac:spMk id="515" creationId="{26B89704-2E00-E39D-31CF-92863B6D4E65}"/>
          </ac:spMkLst>
        </pc:spChg>
        <pc:spChg chg="add del mod">
          <ac:chgData name="Steiner Andreas 6206 ED" userId="e6377c33-a923-4f14-8587-531c474c7b48" providerId="ADAL" clId="{6ECD27E6-B224-41CD-B4E0-E297462320DD}" dt="2023-11-24T08:49:25.354" v="78497"/>
          <ac:spMkLst>
            <pc:docMk/>
            <pc:sldMk cId="789548521" sldId="2147478568"/>
            <ac:spMk id="516" creationId="{A86074E0-5351-23E6-AC95-2E58A15B38CD}"/>
          </ac:spMkLst>
        </pc:spChg>
        <pc:spChg chg="add del mod">
          <ac:chgData name="Steiner Andreas 6206 ED" userId="e6377c33-a923-4f14-8587-531c474c7b48" providerId="ADAL" clId="{6ECD27E6-B224-41CD-B4E0-E297462320DD}" dt="2023-11-24T08:49:27.381" v="78652"/>
          <ac:spMkLst>
            <pc:docMk/>
            <pc:sldMk cId="789548521" sldId="2147478568"/>
            <ac:spMk id="517" creationId="{6221834E-C6A6-1A8B-1F38-2C2C09CBFF79}"/>
          </ac:spMkLst>
        </pc:spChg>
        <pc:spChg chg="add del mod">
          <ac:chgData name="Steiner Andreas 6206 ED" userId="e6377c33-a923-4f14-8587-531c474c7b48" providerId="ADAL" clId="{6ECD27E6-B224-41CD-B4E0-E297462320DD}" dt="2023-11-24T08:49:29.387" v="78807"/>
          <ac:spMkLst>
            <pc:docMk/>
            <pc:sldMk cId="789548521" sldId="2147478568"/>
            <ac:spMk id="518" creationId="{ED3AE572-A63F-CAF6-71C2-CF74691F27F4}"/>
          </ac:spMkLst>
        </pc:spChg>
        <pc:spChg chg="add del mod">
          <ac:chgData name="Steiner Andreas 6206 ED" userId="e6377c33-a923-4f14-8587-531c474c7b48" providerId="ADAL" clId="{6ECD27E6-B224-41CD-B4E0-E297462320DD}" dt="2023-11-24T08:49:31.377" v="78962"/>
          <ac:spMkLst>
            <pc:docMk/>
            <pc:sldMk cId="789548521" sldId="2147478568"/>
            <ac:spMk id="519" creationId="{29FD7D4F-4ED0-4269-9604-5350F8A5774E}"/>
          </ac:spMkLst>
        </pc:spChg>
        <pc:spChg chg="add del mod">
          <ac:chgData name="Steiner Andreas 6206 ED" userId="e6377c33-a923-4f14-8587-531c474c7b48" providerId="ADAL" clId="{6ECD27E6-B224-41CD-B4E0-E297462320DD}" dt="2023-11-24T08:49:33.266" v="79117"/>
          <ac:spMkLst>
            <pc:docMk/>
            <pc:sldMk cId="789548521" sldId="2147478568"/>
            <ac:spMk id="520" creationId="{AB4FCB15-9121-9DC0-7A22-729475FBAAB3}"/>
          </ac:spMkLst>
        </pc:spChg>
        <pc:spChg chg="add del mod">
          <ac:chgData name="Steiner Andreas 6206 ED" userId="e6377c33-a923-4f14-8587-531c474c7b48" providerId="ADAL" clId="{6ECD27E6-B224-41CD-B4E0-E297462320DD}" dt="2023-11-24T08:49:35.185" v="79272"/>
          <ac:spMkLst>
            <pc:docMk/>
            <pc:sldMk cId="789548521" sldId="2147478568"/>
            <ac:spMk id="521" creationId="{E8519E2C-6ADD-C59D-E06C-B6918CFF6D73}"/>
          </ac:spMkLst>
        </pc:spChg>
        <pc:spChg chg="add del mod">
          <ac:chgData name="Steiner Andreas 6206 ED" userId="e6377c33-a923-4f14-8587-531c474c7b48" providerId="ADAL" clId="{6ECD27E6-B224-41CD-B4E0-E297462320DD}" dt="2023-11-24T08:49:37.024" v="79427"/>
          <ac:spMkLst>
            <pc:docMk/>
            <pc:sldMk cId="789548521" sldId="2147478568"/>
            <ac:spMk id="522" creationId="{E01F86DF-30A3-762D-92CD-9219E391B9ED}"/>
          </ac:spMkLst>
        </pc:spChg>
        <pc:spChg chg="add del mod">
          <ac:chgData name="Steiner Andreas 6206 ED" userId="e6377c33-a923-4f14-8587-531c474c7b48" providerId="ADAL" clId="{6ECD27E6-B224-41CD-B4E0-E297462320DD}" dt="2023-11-24T08:49:38.979" v="79582"/>
          <ac:spMkLst>
            <pc:docMk/>
            <pc:sldMk cId="789548521" sldId="2147478568"/>
            <ac:spMk id="523" creationId="{D392B4F7-3214-E830-ECB9-6608F0547146}"/>
          </ac:spMkLst>
        </pc:spChg>
        <pc:spChg chg="add del mod">
          <ac:chgData name="Steiner Andreas 6206 ED" userId="e6377c33-a923-4f14-8587-531c474c7b48" providerId="ADAL" clId="{6ECD27E6-B224-41CD-B4E0-E297462320DD}" dt="2023-11-24T08:49:41.028" v="79737"/>
          <ac:spMkLst>
            <pc:docMk/>
            <pc:sldMk cId="789548521" sldId="2147478568"/>
            <ac:spMk id="524" creationId="{B0DA079D-3D33-57B7-2F5E-E1B967CE428F}"/>
          </ac:spMkLst>
        </pc:spChg>
        <pc:spChg chg="add del mod">
          <ac:chgData name="Steiner Andreas 6206 ED" userId="e6377c33-a923-4f14-8587-531c474c7b48" providerId="ADAL" clId="{6ECD27E6-B224-41CD-B4E0-E297462320DD}" dt="2023-11-24T08:49:42.976" v="79892"/>
          <ac:spMkLst>
            <pc:docMk/>
            <pc:sldMk cId="789548521" sldId="2147478568"/>
            <ac:spMk id="525" creationId="{D3B99870-6124-9B0B-75B7-26C71BD48A48}"/>
          </ac:spMkLst>
        </pc:spChg>
        <pc:spChg chg="add del mod">
          <ac:chgData name="Steiner Andreas 6206 ED" userId="e6377c33-a923-4f14-8587-531c474c7b48" providerId="ADAL" clId="{6ECD27E6-B224-41CD-B4E0-E297462320DD}" dt="2023-11-24T08:49:44.913" v="80047"/>
          <ac:spMkLst>
            <pc:docMk/>
            <pc:sldMk cId="789548521" sldId="2147478568"/>
            <ac:spMk id="526" creationId="{D881566A-E3E4-CA4F-3CD4-FEC52295E1DF}"/>
          </ac:spMkLst>
        </pc:spChg>
        <pc:spChg chg="add del mod">
          <ac:chgData name="Steiner Andreas 6206 ED" userId="e6377c33-a923-4f14-8587-531c474c7b48" providerId="ADAL" clId="{6ECD27E6-B224-41CD-B4E0-E297462320DD}" dt="2023-11-24T08:49:46.863" v="80202"/>
          <ac:spMkLst>
            <pc:docMk/>
            <pc:sldMk cId="789548521" sldId="2147478568"/>
            <ac:spMk id="527" creationId="{A38BEA65-A899-E815-6CB6-208053902176}"/>
          </ac:spMkLst>
        </pc:spChg>
        <pc:spChg chg="add del mod">
          <ac:chgData name="Steiner Andreas 6206 ED" userId="e6377c33-a923-4f14-8587-531c474c7b48" providerId="ADAL" clId="{6ECD27E6-B224-41CD-B4E0-E297462320DD}" dt="2023-11-24T08:49:48.757" v="80357"/>
          <ac:spMkLst>
            <pc:docMk/>
            <pc:sldMk cId="789548521" sldId="2147478568"/>
            <ac:spMk id="528" creationId="{D322DF31-B999-5930-AD24-61036F2F521B}"/>
          </ac:spMkLst>
        </pc:spChg>
        <pc:spChg chg="add del mod">
          <ac:chgData name="Steiner Andreas 6206 ED" userId="e6377c33-a923-4f14-8587-531c474c7b48" providerId="ADAL" clId="{6ECD27E6-B224-41CD-B4E0-E297462320DD}" dt="2023-11-24T08:49:50.655" v="80512"/>
          <ac:spMkLst>
            <pc:docMk/>
            <pc:sldMk cId="789548521" sldId="2147478568"/>
            <ac:spMk id="529" creationId="{0DAA4DD9-57E5-8D66-E81A-52BB6128A28C}"/>
          </ac:spMkLst>
        </pc:spChg>
        <pc:spChg chg="add del mod">
          <ac:chgData name="Steiner Andreas 6206 ED" userId="e6377c33-a923-4f14-8587-531c474c7b48" providerId="ADAL" clId="{6ECD27E6-B224-41CD-B4E0-E297462320DD}" dt="2023-11-24T08:49:52.588" v="80667"/>
          <ac:spMkLst>
            <pc:docMk/>
            <pc:sldMk cId="789548521" sldId="2147478568"/>
            <ac:spMk id="530" creationId="{D14FDC65-E558-3DA8-8E3C-44670CCF6D10}"/>
          </ac:spMkLst>
        </pc:spChg>
        <pc:spChg chg="add del mod">
          <ac:chgData name="Steiner Andreas 6206 ED" userId="e6377c33-a923-4f14-8587-531c474c7b48" providerId="ADAL" clId="{6ECD27E6-B224-41CD-B4E0-E297462320DD}" dt="2023-11-24T08:49:54.525" v="80822"/>
          <ac:spMkLst>
            <pc:docMk/>
            <pc:sldMk cId="789548521" sldId="2147478568"/>
            <ac:spMk id="531" creationId="{AD489B04-E11D-1C16-D961-AB0BBBD58961}"/>
          </ac:spMkLst>
        </pc:spChg>
        <pc:spChg chg="add del mod">
          <ac:chgData name="Steiner Andreas 6206 ED" userId="e6377c33-a923-4f14-8587-531c474c7b48" providerId="ADAL" clId="{6ECD27E6-B224-41CD-B4E0-E297462320DD}" dt="2023-11-24T08:49:56.396" v="80977"/>
          <ac:spMkLst>
            <pc:docMk/>
            <pc:sldMk cId="789548521" sldId="2147478568"/>
            <ac:spMk id="532" creationId="{722354DB-3937-AA80-18E5-DAD65C1D99FD}"/>
          </ac:spMkLst>
        </pc:spChg>
        <pc:spChg chg="add del mod">
          <ac:chgData name="Steiner Andreas 6206 ED" userId="e6377c33-a923-4f14-8587-531c474c7b48" providerId="ADAL" clId="{6ECD27E6-B224-41CD-B4E0-E297462320DD}" dt="2023-11-24T08:49:58.270" v="81132"/>
          <ac:spMkLst>
            <pc:docMk/>
            <pc:sldMk cId="789548521" sldId="2147478568"/>
            <ac:spMk id="533" creationId="{7631AC06-5AEB-AA53-A5DA-D813BDD9AA33}"/>
          </ac:spMkLst>
        </pc:spChg>
        <pc:spChg chg="add del mod">
          <ac:chgData name="Steiner Andreas 6206 ED" userId="e6377c33-a923-4f14-8587-531c474c7b48" providerId="ADAL" clId="{6ECD27E6-B224-41CD-B4E0-E297462320DD}" dt="2023-11-24T08:50:00.213" v="81287"/>
          <ac:spMkLst>
            <pc:docMk/>
            <pc:sldMk cId="789548521" sldId="2147478568"/>
            <ac:spMk id="534" creationId="{FEDF2E87-836C-0118-B0AB-8946ECE194CF}"/>
          </ac:spMkLst>
        </pc:spChg>
        <pc:spChg chg="add del mod">
          <ac:chgData name="Steiner Andreas 6206 ED" userId="e6377c33-a923-4f14-8587-531c474c7b48" providerId="ADAL" clId="{6ECD27E6-B224-41CD-B4E0-E297462320DD}" dt="2023-11-24T08:50:02.265" v="81442"/>
          <ac:spMkLst>
            <pc:docMk/>
            <pc:sldMk cId="789548521" sldId="2147478568"/>
            <ac:spMk id="535" creationId="{7A4B3072-4DF0-65E4-65C8-76F3E6DAEBDB}"/>
          </ac:spMkLst>
        </pc:spChg>
        <pc:spChg chg="add del mod">
          <ac:chgData name="Steiner Andreas 6206 ED" userId="e6377c33-a923-4f14-8587-531c474c7b48" providerId="ADAL" clId="{6ECD27E6-B224-41CD-B4E0-E297462320DD}" dt="2023-11-24T08:50:04.310" v="81597"/>
          <ac:spMkLst>
            <pc:docMk/>
            <pc:sldMk cId="789548521" sldId="2147478568"/>
            <ac:spMk id="536" creationId="{BE397240-7285-8C34-AAD4-65F1DDAE92C7}"/>
          </ac:spMkLst>
        </pc:spChg>
        <pc:spChg chg="add del mod">
          <ac:chgData name="Steiner Andreas 6206 ED" userId="e6377c33-a923-4f14-8587-531c474c7b48" providerId="ADAL" clId="{6ECD27E6-B224-41CD-B4E0-E297462320DD}" dt="2023-11-24T08:50:06.268" v="81752"/>
          <ac:spMkLst>
            <pc:docMk/>
            <pc:sldMk cId="789548521" sldId="2147478568"/>
            <ac:spMk id="537" creationId="{143432B6-B894-91B4-C5EB-08D28C9A4D47}"/>
          </ac:spMkLst>
        </pc:spChg>
        <pc:spChg chg="add del mod">
          <ac:chgData name="Steiner Andreas 6206 ED" userId="e6377c33-a923-4f14-8587-531c474c7b48" providerId="ADAL" clId="{6ECD27E6-B224-41CD-B4E0-E297462320DD}" dt="2023-11-24T08:50:08.189" v="81907"/>
          <ac:spMkLst>
            <pc:docMk/>
            <pc:sldMk cId="789548521" sldId="2147478568"/>
            <ac:spMk id="538" creationId="{262786E8-B22B-8174-4236-166BD771420D}"/>
          </ac:spMkLst>
        </pc:spChg>
        <pc:spChg chg="add del mod">
          <ac:chgData name="Steiner Andreas 6206 ED" userId="e6377c33-a923-4f14-8587-531c474c7b48" providerId="ADAL" clId="{6ECD27E6-B224-41CD-B4E0-E297462320DD}" dt="2023-11-24T08:50:10.062" v="82062"/>
          <ac:spMkLst>
            <pc:docMk/>
            <pc:sldMk cId="789548521" sldId="2147478568"/>
            <ac:spMk id="539" creationId="{744A06DD-F955-D6F0-D96D-3F649896E7F0}"/>
          </ac:spMkLst>
        </pc:spChg>
        <pc:spChg chg="add del mod">
          <ac:chgData name="Steiner Andreas 6206 ED" userId="e6377c33-a923-4f14-8587-531c474c7b48" providerId="ADAL" clId="{6ECD27E6-B224-41CD-B4E0-E297462320DD}" dt="2023-11-24T08:50:11.970" v="82217"/>
          <ac:spMkLst>
            <pc:docMk/>
            <pc:sldMk cId="789548521" sldId="2147478568"/>
            <ac:spMk id="540" creationId="{C7364D4A-D035-413A-3347-A631C29D0498}"/>
          </ac:spMkLst>
        </pc:spChg>
        <pc:spChg chg="add del mod">
          <ac:chgData name="Steiner Andreas 6206 ED" userId="e6377c33-a923-4f14-8587-531c474c7b48" providerId="ADAL" clId="{6ECD27E6-B224-41CD-B4E0-E297462320DD}" dt="2023-11-24T08:50:14.029" v="82372"/>
          <ac:spMkLst>
            <pc:docMk/>
            <pc:sldMk cId="789548521" sldId="2147478568"/>
            <ac:spMk id="541" creationId="{4C8DA19F-DD18-02F7-E0E1-59FAA9677269}"/>
          </ac:spMkLst>
        </pc:spChg>
        <pc:spChg chg="add del mod">
          <ac:chgData name="Steiner Andreas 6206 ED" userId="e6377c33-a923-4f14-8587-531c474c7b48" providerId="ADAL" clId="{6ECD27E6-B224-41CD-B4E0-E297462320DD}" dt="2023-11-24T08:50:15.993" v="82527"/>
          <ac:spMkLst>
            <pc:docMk/>
            <pc:sldMk cId="789548521" sldId="2147478568"/>
            <ac:spMk id="542" creationId="{A8178A96-D17C-0A12-6ACD-57D6BAB1783D}"/>
          </ac:spMkLst>
        </pc:spChg>
        <pc:spChg chg="add del mod">
          <ac:chgData name="Steiner Andreas 6206 ED" userId="e6377c33-a923-4f14-8587-531c474c7b48" providerId="ADAL" clId="{6ECD27E6-B224-41CD-B4E0-E297462320DD}" dt="2023-11-24T08:50:17.964" v="82682"/>
          <ac:spMkLst>
            <pc:docMk/>
            <pc:sldMk cId="789548521" sldId="2147478568"/>
            <ac:spMk id="543" creationId="{13C60988-62D3-F3C5-CE72-3BA6C9F2C0CA}"/>
          </ac:spMkLst>
        </pc:spChg>
        <pc:spChg chg="add del mod">
          <ac:chgData name="Steiner Andreas 6206 ED" userId="e6377c33-a923-4f14-8587-531c474c7b48" providerId="ADAL" clId="{6ECD27E6-B224-41CD-B4E0-E297462320DD}" dt="2023-11-24T08:50:20.071" v="82837"/>
          <ac:spMkLst>
            <pc:docMk/>
            <pc:sldMk cId="789548521" sldId="2147478568"/>
            <ac:spMk id="544" creationId="{CDBACFBE-2DCE-502C-AA04-A95D3D707391}"/>
          </ac:spMkLst>
        </pc:spChg>
        <pc:spChg chg="add del mod">
          <ac:chgData name="Steiner Andreas 6206 ED" userId="e6377c33-a923-4f14-8587-531c474c7b48" providerId="ADAL" clId="{6ECD27E6-B224-41CD-B4E0-E297462320DD}" dt="2023-11-24T08:50:22.135" v="82992"/>
          <ac:spMkLst>
            <pc:docMk/>
            <pc:sldMk cId="789548521" sldId="2147478568"/>
            <ac:spMk id="545" creationId="{BD9897DF-F022-1585-5EAA-723D7C9DECF7}"/>
          </ac:spMkLst>
        </pc:spChg>
        <pc:spChg chg="add del mod">
          <ac:chgData name="Steiner Andreas 6206 ED" userId="e6377c33-a923-4f14-8587-531c474c7b48" providerId="ADAL" clId="{6ECD27E6-B224-41CD-B4E0-E297462320DD}" dt="2023-11-24T08:50:24.164" v="83147"/>
          <ac:spMkLst>
            <pc:docMk/>
            <pc:sldMk cId="789548521" sldId="2147478568"/>
            <ac:spMk id="546" creationId="{1A49039C-06A2-3CE1-C120-BB41B697134B}"/>
          </ac:spMkLst>
        </pc:spChg>
        <pc:spChg chg="add del mod">
          <ac:chgData name="Steiner Andreas 6206 ED" userId="e6377c33-a923-4f14-8587-531c474c7b48" providerId="ADAL" clId="{6ECD27E6-B224-41CD-B4E0-E297462320DD}" dt="2023-11-24T08:50:26.227" v="83302"/>
          <ac:spMkLst>
            <pc:docMk/>
            <pc:sldMk cId="789548521" sldId="2147478568"/>
            <ac:spMk id="547" creationId="{92FB7E4B-3A5D-009A-DC41-5C28E77AC494}"/>
          </ac:spMkLst>
        </pc:spChg>
        <pc:spChg chg="add del mod">
          <ac:chgData name="Steiner Andreas 6206 ED" userId="e6377c33-a923-4f14-8587-531c474c7b48" providerId="ADAL" clId="{6ECD27E6-B224-41CD-B4E0-E297462320DD}" dt="2023-11-24T08:50:28.148" v="83457"/>
          <ac:spMkLst>
            <pc:docMk/>
            <pc:sldMk cId="789548521" sldId="2147478568"/>
            <ac:spMk id="548" creationId="{4100EB51-65FC-F782-33ED-FC66166FD2BA}"/>
          </ac:spMkLst>
        </pc:spChg>
        <pc:spChg chg="add del mod">
          <ac:chgData name="Steiner Andreas 6206 ED" userId="e6377c33-a923-4f14-8587-531c474c7b48" providerId="ADAL" clId="{6ECD27E6-B224-41CD-B4E0-E297462320DD}" dt="2023-11-24T08:50:30.044" v="83612"/>
          <ac:spMkLst>
            <pc:docMk/>
            <pc:sldMk cId="789548521" sldId="2147478568"/>
            <ac:spMk id="549" creationId="{B622DAE3-565E-C76F-8B81-13CF87A8D134}"/>
          </ac:spMkLst>
        </pc:spChg>
        <pc:spChg chg="add del mod">
          <ac:chgData name="Steiner Andreas 6206 ED" userId="e6377c33-a923-4f14-8587-531c474c7b48" providerId="ADAL" clId="{6ECD27E6-B224-41CD-B4E0-E297462320DD}" dt="2023-11-24T08:50:32.073" v="83767"/>
          <ac:spMkLst>
            <pc:docMk/>
            <pc:sldMk cId="789548521" sldId="2147478568"/>
            <ac:spMk id="550" creationId="{50913EF5-630A-9292-FB86-B85AC5924CA1}"/>
          </ac:spMkLst>
        </pc:spChg>
        <pc:spChg chg="add del mod">
          <ac:chgData name="Steiner Andreas 6206 ED" userId="e6377c33-a923-4f14-8587-531c474c7b48" providerId="ADAL" clId="{6ECD27E6-B224-41CD-B4E0-E297462320DD}" dt="2023-11-24T08:50:34.128" v="83922"/>
          <ac:spMkLst>
            <pc:docMk/>
            <pc:sldMk cId="789548521" sldId="2147478568"/>
            <ac:spMk id="551" creationId="{4DF33B3F-11C0-33FB-236E-0F62BBABADE7}"/>
          </ac:spMkLst>
        </pc:spChg>
        <pc:spChg chg="add del mod">
          <ac:chgData name="Steiner Andreas 6206 ED" userId="e6377c33-a923-4f14-8587-531c474c7b48" providerId="ADAL" clId="{6ECD27E6-B224-41CD-B4E0-E297462320DD}" dt="2023-11-24T08:50:36.362" v="84077"/>
          <ac:spMkLst>
            <pc:docMk/>
            <pc:sldMk cId="789548521" sldId="2147478568"/>
            <ac:spMk id="552" creationId="{74C80533-33FA-EF20-2F2C-402E94103967}"/>
          </ac:spMkLst>
        </pc:spChg>
        <pc:spChg chg="add del mod">
          <ac:chgData name="Steiner Andreas 6206 ED" userId="e6377c33-a923-4f14-8587-531c474c7b48" providerId="ADAL" clId="{6ECD27E6-B224-41CD-B4E0-E297462320DD}" dt="2023-11-24T08:50:38.332" v="84232"/>
          <ac:spMkLst>
            <pc:docMk/>
            <pc:sldMk cId="789548521" sldId="2147478568"/>
            <ac:spMk id="553" creationId="{6BAFF68A-65F1-E7C7-FA61-5B4016C0C391}"/>
          </ac:spMkLst>
        </pc:spChg>
        <pc:spChg chg="add del mod">
          <ac:chgData name="Steiner Andreas 6206 ED" userId="e6377c33-a923-4f14-8587-531c474c7b48" providerId="ADAL" clId="{6ECD27E6-B224-41CD-B4E0-E297462320DD}" dt="2023-11-24T08:50:40.295" v="84387"/>
          <ac:spMkLst>
            <pc:docMk/>
            <pc:sldMk cId="789548521" sldId="2147478568"/>
            <ac:spMk id="554" creationId="{1EF71DC9-F574-4BDB-D4CF-24EFA9538FED}"/>
          </ac:spMkLst>
        </pc:spChg>
        <pc:spChg chg="add del mod">
          <ac:chgData name="Steiner Andreas 6206 ED" userId="e6377c33-a923-4f14-8587-531c474c7b48" providerId="ADAL" clId="{6ECD27E6-B224-41CD-B4E0-E297462320DD}" dt="2023-11-24T08:50:42.314" v="84542"/>
          <ac:spMkLst>
            <pc:docMk/>
            <pc:sldMk cId="789548521" sldId="2147478568"/>
            <ac:spMk id="555" creationId="{9C348DDE-0371-96D0-BD46-4F83D4811851}"/>
          </ac:spMkLst>
        </pc:spChg>
        <pc:spChg chg="add del mod">
          <ac:chgData name="Steiner Andreas 6206 ED" userId="e6377c33-a923-4f14-8587-531c474c7b48" providerId="ADAL" clId="{6ECD27E6-B224-41CD-B4E0-E297462320DD}" dt="2023-11-24T08:50:44.427" v="84697"/>
          <ac:spMkLst>
            <pc:docMk/>
            <pc:sldMk cId="789548521" sldId="2147478568"/>
            <ac:spMk id="556" creationId="{127CA796-BF95-F842-5C31-DF49E846BE59}"/>
          </ac:spMkLst>
        </pc:spChg>
        <pc:spChg chg="add del mod">
          <ac:chgData name="Steiner Andreas 6206 ED" userId="e6377c33-a923-4f14-8587-531c474c7b48" providerId="ADAL" clId="{6ECD27E6-B224-41CD-B4E0-E297462320DD}" dt="2023-11-24T08:50:46.541" v="84852"/>
          <ac:spMkLst>
            <pc:docMk/>
            <pc:sldMk cId="789548521" sldId="2147478568"/>
            <ac:spMk id="557" creationId="{9C5C2112-03FA-E028-B0DC-7504A0C8A0EA}"/>
          </ac:spMkLst>
        </pc:spChg>
        <pc:spChg chg="add del mod">
          <ac:chgData name="Steiner Andreas 6206 ED" userId="e6377c33-a923-4f14-8587-531c474c7b48" providerId="ADAL" clId="{6ECD27E6-B224-41CD-B4E0-E297462320DD}" dt="2023-11-24T08:50:48.696" v="85007"/>
          <ac:spMkLst>
            <pc:docMk/>
            <pc:sldMk cId="789548521" sldId="2147478568"/>
            <ac:spMk id="558" creationId="{745C9B21-0979-ACA3-B816-88B49B0874D2}"/>
          </ac:spMkLst>
        </pc:spChg>
        <pc:spChg chg="add del mod">
          <ac:chgData name="Steiner Andreas 6206 ED" userId="e6377c33-a923-4f14-8587-531c474c7b48" providerId="ADAL" clId="{6ECD27E6-B224-41CD-B4E0-E297462320DD}" dt="2023-11-24T08:50:50.789" v="85162"/>
          <ac:spMkLst>
            <pc:docMk/>
            <pc:sldMk cId="789548521" sldId="2147478568"/>
            <ac:spMk id="559" creationId="{716DCF6A-BCBB-7A13-9D0A-0E964F8CD61E}"/>
          </ac:spMkLst>
        </pc:spChg>
        <pc:spChg chg="add del mod">
          <ac:chgData name="Steiner Andreas 6206 ED" userId="e6377c33-a923-4f14-8587-531c474c7b48" providerId="ADAL" clId="{6ECD27E6-B224-41CD-B4E0-E297462320DD}" dt="2023-11-24T08:50:52.931" v="85317"/>
          <ac:spMkLst>
            <pc:docMk/>
            <pc:sldMk cId="789548521" sldId="2147478568"/>
            <ac:spMk id="560" creationId="{FB49C842-7617-92FA-4B4A-2F8033F1EAFB}"/>
          </ac:spMkLst>
        </pc:spChg>
        <pc:spChg chg="add del mod">
          <ac:chgData name="Steiner Andreas 6206 ED" userId="e6377c33-a923-4f14-8587-531c474c7b48" providerId="ADAL" clId="{6ECD27E6-B224-41CD-B4E0-E297462320DD}" dt="2023-11-24T08:50:54.848" v="85472"/>
          <ac:spMkLst>
            <pc:docMk/>
            <pc:sldMk cId="789548521" sldId="2147478568"/>
            <ac:spMk id="561" creationId="{07E76C93-9A69-7419-9BC1-EB61202D8D7F}"/>
          </ac:spMkLst>
        </pc:spChg>
        <pc:spChg chg="add del mod">
          <ac:chgData name="Steiner Andreas 6206 ED" userId="e6377c33-a923-4f14-8587-531c474c7b48" providerId="ADAL" clId="{6ECD27E6-B224-41CD-B4E0-E297462320DD}" dt="2023-11-24T08:50:56.761" v="85627"/>
          <ac:spMkLst>
            <pc:docMk/>
            <pc:sldMk cId="789548521" sldId="2147478568"/>
            <ac:spMk id="562" creationId="{2CFCB7AA-008A-9EFD-83C8-9E5D528706EF}"/>
          </ac:spMkLst>
        </pc:spChg>
        <pc:spChg chg="add del mod">
          <ac:chgData name="Steiner Andreas 6206 ED" userId="e6377c33-a923-4f14-8587-531c474c7b48" providerId="ADAL" clId="{6ECD27E6-B224-41CD-B4E0-E297462320DD}" dt="2023-11-24T08:50:58.916" v="85782"/>
          <ac:spMkLst>
            <pc:docMk/>
            <pc:sldMk cId="789548521" sldId="2147478568"/>
            <ac:spMk id="563" creationId="{EF46E2B5-73E0-99F3-CC9C-C3B1EFFA98DC}"/>
          </ac:spMkLst>
        </pc:spChg>
        <pc:spChg chg="add del mod">
          <ac:chgData name="Steiner Andreas 6206 ED" userId="e6377c33-a923-4f14-8587-531c474c7b48" providerId="ADAL" clId="{6ECD27E6-B224-41CD-B4E0-E297462320DD}" dt="2023-11-24T08:51:00.905" v="85937"/>
          <ac:spMkLst>
            <pc:docMk/>
            <pc:sldMk cId="789548521" sldId="2147478568"/>
            <ac:spMk id="564" creationId="{5E40722D-35F7-1761-D9E1-F52AF13379C5}"/>
          </ac:spMkLst>
        </pc:spChg>
        <pc:spChg chg="add del mod">
          <ac:chgData name="Steiner Andreas 6206 ED" userId="e6377c33-a923-4f14-8587-531c474c7b48" providerId="ADAL" clId="{6ECD27E6-B224-41CD-B4E0-E297462320DD}" dt="2023-11-24T08:51:02.873" v="86092"/>
          <ac:spMkLst>
            <pc:docMk/>
            <pc:sldMk cId="789548521" sldId="2147478568"/>
            <ac:spMk id="565" creationId="{FD1B4B8F-47AE-FAD6-5C5E-DD95B0FD4999}"/>
          </ac:spMkLst>
        </pc:spChg>
        <pc:spChg chg="add del mod">
          <ac:chgData name="Steiner Andreas 6206 ED" userId="e6377c33-a923-4f14-8587-531c474c7b48" providerId="ADAL" clId="{6ECD27E6-B224-41CD-B4E0-E297462320DD}" dt="2023-11-24T08:51:04.730" v="86247"/>
          <ac:spMkLst>
            <pc:docMk/>
            <pc:sldMk cId="789548521" sldId="2147478568"/>
            <ac:spMk id="566" creationId="{91A881A4-BF3F-BC96-CD7F-798D6F38C924}"/>
          </ac:spMkLst>
        </pc:spChg>
        <pc:spChg chg="add del mod">
          <ac:chgData name="Steiner Andreas 6206 ED" userId="e6377c33-a923-4f14-8587-531c474c7b48" providerId="ADAL" clId="{6ECD27E6-B224-41CD-B4E0-E297462320DD}" dt="2023-11-24T08:51:06.658" v="86402"/>
          <ac:spMkLst>
            <pc:docMk/>
            <pc:sldMk cId="789548521" sldId="2147478568"/>
            <ac:spMk id="567" creationId="{25AA8808-4D31-101A-C0D7-481B8AF7EB75}"/>
          </ac:spMkLst>
        </pc:spChg>
        <pc:spChg chg="add del mod">
          <ac:chgData name="Steiner Andreas 6206 ED" userId="e6377c33-a923-4f14-8587-531c474c7b48" providerId="ADAL" clId="{6ECD27E6-B224-41CD-B4E0-E297462320DD}" dt="2023-11-24T08:51:08.630" v="86557"/>
          <ac:spMkLst>
            <pc:docMk/>
            <pc:sldMk cId="789548521" sldId="2147478568"/>
            <ac:spMk id="568" creationId="{443F6321-4139-936C-A1E9-8F358EC99400}"/>
          </ac:spMkLst>
        </pc:spChg>
        <pc:spChg chg="add del mod">
          <ac:chgData name="Steiner Andreas 6206 ED" userId="e6377c33-a923-4f14-8587-531c474c7b48" providerId="ADAL" clId="{6ECD27E6-B224-41CD-B4E0-E297462320DD}" dt="2023-11-24T08:51:10.664" v="86712"/>
          <ac:spMkLst>
            <pc:docMk/>
            <pc:sldMk cId="789548521" sldId="2147478568"/>
            <ac:spMk id="569" creationId="{5FD8F5EB-BD32-4320-A4A7-A3BB441C3AEC}"/>
          </ac:spMkLst>
        </pc:spChg>
        <pc:spChg chg="add del mod">
          <ac:chgData name="Steiner Andreas 6206 ED" userId="e6377c33-a923-4f14-8587-531c474c7b48" providerId="ADAL" clId="{6ECD27E6-B224-41CD-B4E0-E297462320DD}" dt="2023-11-24T08:51:12.543" v="86867"/>
          <ac:spMkLst>
            <pc:docMk/>
            <pc:sldMk cId="789548521" sldId="2147478568"/>
            <ac:spMk id="570" creationId="{8D18A3E7-C292-43A0-2BDE-5FD54AA0A770}"/>
          </ac:spMkLst>
        </pc:spChg>
        <pc:spChg chg="add del mod">
          <ac:chgData name="Steiner Andreas 6206 ED" userId="e6377c33-a923-4f14-8587-531c474c7b48" providerId="ADAL" clId="{6ECD27E6-B224-41CD-B4E0-E297462320DD}" dt="2023-11-24T08:51:14.715" v="87022"/>
          <ac:spMkLst>
            <pc:docMk/>
            <pc:sldMk cId="789548521" sldId="2147478568"/>
            <ac:spMk id="571" creationId="{6FB71EC1-8D92-7745-B395-AE51A20E2DC8}"/>
          </ac:spMkLst>
        </pc:spChg>
        <pc:spChg chg="add del mod">
          <ac:chgData name="Steiner Andreas 6206 ED" userId="e6377c33-a923-4f14-8587-531c474c7b48" providerId="ADAL" clId="{6ECD27E6-B224-41CD-B4E0-E297462320DD}" dt="2023-11-24T08:51:16.841" v="87177"/>
          <ac:spMkLst>
            <pc:docMk/>
            <pc:sldMk cId="789548521" sldId="2147478568"/>
            <ac:spMk id="572" creationId="{48126F56-00E0-01EE-EB50-3A8D78EBC6ED}"/>
          </ac:spMkLst>
        </pc:spChg>
        <pc:spChg chg="add del mod">
          <ac:chgData name="Steiner Andreas 6206 ED" userId="e6377c33-a923-4f14-8587-531c474c7b48" providerId="ADAL" clId="{6ECD27E6-B224-41CD-B4E0-E297462320DD}" dt="2023-11-24T08:51:18.747" v="87332"/>
          <ac:spMkLst>
            <pc:docMk/>
            <pc:sldMk cId="789548521" sldId="2147478568"/>
            <ac:spMk id="573" creationId="{2F6B7929-98D3-E1C9-80DB-B1EA93EEF8F9}"/>
          </ac:spMkLst>
        </pc:spChg>
        <pc:spChg chg="add del mod">
          <ac:chgData name="Steiner Andreas 6206 ED" userId="e6377c33-a923-4f14-8587-531c474c7b48" providerId="ADAL" clId="{6ECD27E6-B224-41CD-B4E0-E297462320DD}" dt="2023-11-24T08:51:20.785" v="87487"/>
          <ac:spMkLst>
            <pc:docMk/>
            <pc:sldMk cId="789548521" sldId="2147478568"/>
            <ac:spMk id="574" creationId="{10A56503-9F23-5D8B-D86A-C784C1B31414}"/>
          </ac:spMkLst>
        </pc:spChg>
        <pc:spChg chg="add del mod">
          <ac:chgData name="Steiner Andreas 6206 ED" userId="e6377c33-a923-4f14-8587-531c474c7b48" providerId="ADAL" clId="{6ECD27E6-B224-41CD-B4E0-E297462320DD}" dt="2023-11-24T08:51:22.740" v="87642"/>
          <ac:spMkLst>
            <pc:docMk/>
            <pc:sldMk cId="789548521" sldId="2147478568"/>
            <ac:spMk id="575" creationId="{E0DABC57-A75E-5C3E-51FB-EC6FEFF2B371}"/>
          </ac:spMkLst>
        </pc:spChg>
        <pc:spChg chg="add del mod">
          <ac:chgData name="Steiner Andreas 6206 ED" userId="e6377c33-a923-4f14-8587-531c474c7b48" providerId="ADAL" clId="{6ECD27E6-B224-41CD-B4E0-E297462320DD}" dt="2023-11-24T08:51:24.675" v="87797"/>
          <ac:spMkLst>
            <pc:docMk/>
            <pc:sldMk cId="789548521" sldId="2147478568"/>
            <ac:spMk id="576" creationId="{3FA2A9BF-D51D-3707-613C-C7D5AA6481DB}"/>
          </ac:spMkLst>
        </pc:spChg>
        <pc:spChg chg="add del mod">
          <ac:chgData name="Steiner Andreas 6206 ED" userId="e6377c33-a923-4f14-8587-531c474c7b48" providerId="ADAL" clId="{6ECD27E6-B224-41CD-B4E0-E297462320DD}" dt="2023-11-24T08:51:26.548" v="87952"/>
          <ac:spMkLst>
            <pc:docMk/>
            <pc:sldMk cId="789548521" sldId="2147478568"/>
            <ac:spMk id="577" creationId="{157C485F-5175-998C-EC93-8A6F7E7C9466}"/>
          </ac:spMkLst>
        </pc:spChg>
        <pc:spChg chg="add del mod">
          <ac:chgData name="Steiner Andreas 6206 ED" userId="e6377c33-a923-4f14-8587-531c474c7b48" providerId="ADAL" clId="{6ECD27E6-B224-41CD-B4E0-E297462320DD}" dt="2023-11-24T08:51:28.443" v="88107"/>
          <ac:spMkLst>
            <pc:docMk/>
            <pc:sldMk cId="789548521" sldId="2147478568"/>
            <ac:spMk id="578" creationId="{39CBC85B-7B08-84AA-14D3-15BBE67FF4E6}"/>
          </ac:spMkLst>
        </pc:spChg>
        <pc:spChg chg="add del mod">
          <ac:chgData name="Steiner Andreas 6206 ED" userId="e6377c33-a923-4f14-8587-531c474c7b48" providerId="ADAL" clId="{6ECD27E6-B224-41CD-B4E0-E297462320DD}" dt="2023-11-24T08:51:30.379" v="88262"/>
          <ac:spMkLst>
            <pc:docMk/>
            <pc:sldMk cId="789548521" sldId="2147478568"/>
            <ac:spMk id="579" creationId="{2A0AA32F-C227-58F6-E198-C88C49019BE8}"/>
          </ac:spMkLst>
        </pc:spChg>
        <pc:spChg chg="add del mod">
          <ac:chgData name="Steiner Andreas 6206 ED" userId="e6377c33-a923-4f14-8587-531c474c7b48" providerId="ADAL" clId="{6ECD27E6-B224-41CD-B4E0-E297462320DD}" dt="2023-11-24T08:51:32.560" v="88417"/>
          <ac:spMkLst>
            <pc:docMk/>
            <pc:sldMk cId="789548521" sldId="2147478568"/>
            <ac:spMk id="580" creationId="{DE986F31-FC04-9FFC-E0AC-2F4B8DD37CA3}"/>
          </ac:spMkLst>
        </pc:spChg>
        <pc:spChg chg="add del mod">
          <ac:chgData name="Steiner Andreas 6206 ED" userId="e6377c33-a923-4f14-8587-531c474c7b48" providerId="ADAL" clId="{6ECD27E6-B224-41CD-B4E0-E297462320DD}" dt="2023-11-24T08:51:34.541" v="88572"/>
          <ac:spMkLst>
            <pc:docMk/>
            <pc:sldMk cId="789548521" sldId="2147478568"/>
            <ac:spMk id="581" creationId="{C0AF9F75-345A-D815-D726-01B2FB733411}"/>
          </ac:spMkLst>
        </pc:spChg>
        <pc:spChg chg="add del mod">
          <ac:chgData name="Steiner Andreas 6206 ED" userId="e6377c33-a923-4f14-8587-531c474c7b48" providerId="ADAL" clId="{6ECD27E6-B224-41CD-B4E0-E297462320DD}" dt="2023-11-24T08:51:36.420" v="88727"/>
          <ac:spMkLst>
            <pc:docMk/>
            <pc:sldMk cId="789548521" sldId="2147478568"/>
            <ac:spMk id="582" creationId="{8B51D96B-9D93-07E9-9872-A4A4515E30A1}"/>
          </ac:spMkLst>
        </pc:spChg>
        <pc:spChg chg="add del mod">
          <ac:chgData name="Steiner Andreas 6206 ED" userId="e6377c33-a923-4f14-8587-531c474c7b48" providerId="ADAL" clId="{6ECD27E6-B224-41CD-B4E0-E297462320DD}" dt="2023-11-24T08:51:38.361" v="88882"/>
          <ac:spMkLst>
            <pc:docMk/>
            <pc:sldMk cId="789548521" sldId="2147478568"/>
            <ac:spMk id="583" creationId="{0D1CFD09-6526-4098-1D85-8D47B3B9CF48}"/>
          </ac:spMkLst>
        </pc:spChg>
        <pc:spChg chg="add del mod">
          <ac:chgData name="Steiner Andreas 6206 ED" userId="e6377c33-a923-4f14-8587-531c474c7b48" providerId="ADAL" clId="{6ECD27E6-B224-41CD-B4E0-E297462320DD}" dt="2023-11-24T08:51:40.291" v="89037"/>
          <ac:spMkLst>
            <pc:docMk/>
            <pc:sldMk cId="789548521" sldId="2147478568"/>
            <ac:spMk id="584" creationId="{89F59210-5DD2-0828-29F2-89B38186650A}"/>
          </ac:spMkLst>
        </pc:spChg>
        <pc:spChg chg="add del mod">
          <ac:chgData name="Steiner Andreas 6206 ED" userId="e6377c33-a923-4f14-8587-531c474c7b48" providerId="ADAL" clId="{6ECD27E6-B224-41CD-B4E0-E297462320DD}" dt="2023-11-24T08:51:42.261" v="89192"/>
          <ac:spMkLst>
            <pc:docMk/>
            <pc:sldMk cId="789548521" sldId="2147478568"/>
            <ac:spMk id="585" creationId="{859F2374-9285-08D5-61B8-DBE5A0251422}"/>
          </ac:spMkLst>
        </pc:spChg>
        <pc:spChg chg="add del mod">
          <ac:chgData name="Steiner Andreas 6206 ED" userId="e6377c33-a923-4f14-8587-531c474c7b48" providerId="ADAL" clId="{6ECD27E6-B224-41CD-B4E0-E297462320DD}" dt="2023-11-24T08:51:44.380" v="89347"/>
          <ac:spMkLst>
            <pc:docMk/>
            <pc:sldMk cId="789548521" sldId="2147478568"/>
            <ac:spMk id="586" creationId="{0EDA9B3C-5475-04CA-0A75-072EFFAA5305}"/>
          </ac:spMkLst>
        </pc:spChg>
        <pc:spChg chg="add del mod">
          <ac:chgData name="Steiner Andreas 6206 ED" userId="e6377c33-a923-4f14-8587-531c474c7b48" providerId="ADAL" clId="{6ECD27E6-B224-41CD-B4E0-E297462320DD}" dt="2023-11-24T08:51:46.377" v="89502"/>
          <ac:spMkLst>
            <pc:docMk/>
            <pc:sldMk cId="789548521" sldId="2147478568"/>
            <ac:spMk id="587" creationId="{6BE49B6E-44D5-C4EB-A8D8-5802AE2D4E09}"/>
          </ac:spMkLst>
        </pc:spChg>
        <pc:spChg chg="add del mod">
          <ac:chgData name="Steiner Andreas 6206 ED" userId="e6377c33-a923-4f14-8587-531c474c7b48" providerId="ADAL" clId="{6ECD27E6-B224-41CD-B4E0-E297462320DD}" dt="2023-11-24T08:51:48.270" v="89657"/>
          <ac:spMkLst>
            <pc:docMk/>
            <pc:sldMk cId="789548521" sldId="2147478568"/>
            <ac:spMk id="588" creationId="{4D26F4D8-6235-1F7D-F152-380B53233B61}"/>
          </ac:spMkLst>
        </pc:spChg>
        <pc:spChg chg="add del mod">
          <ac:chgData name="Steiner Andreas 6206 ED" userId="e6377c33-a923-4f14-8587-531c474c7b48" providerId="ADAL" clId="{6ECD27E6-B224-41CD-B4E0-E297462320DD}" dt="2023-11-24T08:51:50.185" v="89812"/>
          <ac:spMkLst>
            <pc:docMk/>
            <pc:sldMk cId="789548521" sldId="2147478568"/>
            <ac:spMk id="589" creationId="{505F585B-8C8F-0C2B-470E-F78AB6921105}"/>
          </ac:spMkLst>
        </pc:spChg>
        <pc:spChg chg="add del mod">
          <ac:chgData name="Steiner Andreas 6206 ED" userId="e6377c33-a923-4f14-8587-531c474c7b48" providerId="ADAL" clId="{6ECD27E6-B224-41CD-B4E0-E297462320DD}" dt="2023-11-24T08:51:52.106" v="89967"/>
          <ac:spMkLst>
            <pc:docMk/>
            <pc:sldMk cId="789548521" sldId="2147478568"/>
            <ac:spMk id="590" creationId="{B37B36DE-61F1-39F2-8954-424BE79CE6BD}"/>
          </ac:spMkLst>
        </pc:spChg>
        <pc:spChg chg="add del mod">
          <ac:chgData name="Steiner Andreas 6206 ED" userId="e6377c33-a923-4f14-8587-531c474c7b48" providerId="ADAL" clId="{6ECD27E6-B224-41CD-B4E0-E297462320DD}" dt="2023-11-24T08:51:54.051" v="90122"/>
          <ac:spMkLst>
            <pc:docMk/>
            <pc:sldMk cId="789548521" sldId="2147478568"/>
            <ac:spMk id="591" creationId="{E33817BB-15E3-6048-EB5C-3CF8665DBCA0}"/>
          </ac:spMkLst>
        </pc:spChg>
        <pc:spChg chg="add del mod">
          <ac:chgData name="Steiner Andreas 6206 ED" userId="e6377c33-a923-4f14-8587-531c474c7b48" providerId="ADAL" clId="{6ECD27E6-B224-41CD-B4E0-E297462320DD}" dt="2023-11-24T08:51:56.073" v="90277"/>
          <ac:spMkLst>
            <pc:docMk/>
            <pc:sldMk cId="789548521" sldId="2147478568"/>
            <ac:spMk id="592" creationId="{D1BDA3A5-2DA7-3A06-CA1E-00D8DD5EBB81}"/>
          </ac:spMkLst>
        </pc:spChg>
        <pc:spChg chg="add del mod">
          <ac:chgData name="Steiner Andreas 6206 ED" userId="e6377c33-a923-4f14-8587-531c474c7b48" providerId="ADAL" clId="{6ECD27E6-B224-41CD-B4E0-E297462320DD}" dt="2023-11-24T08:51:57.993" v="90432"/>
          <ac:spMkLst>
            <pc:docMk/>
            <pc:sldMk cId="789548521" sldId="2147478568"/>
            <ac:spMk id="593" creationId="{02183A5A-E595-2801-5D19-BEFBBACD8D00}"/>
          </ac:spMkLst>
        </pc:spChg>
        <pc:spChg chg="add del mod">
          <ac:chgData name="Steiner Andreas 6206 ED" userId="e6377c33-a923-4f14-8587-531c474c7b48" providerId="ADAL" clId="{6ECD27E6-B224-41CD-B4E0-E297462320DD}" dt="2023-11-24T08:52:00.119" v="90587"/>
          <ac:spMkLst>
            <pc:docMk/>
            <pc:sldMk cId="789548521" sldId="2147478568"/>
            <ac:spMk id="594" creationId="{A5C7D0D2-F617-F3A3-8172-95B214FAC547}"/>
          </ac:spMkLst>
        </pc:spChg>
        <pc:spChg chg="add del mod">
          <ac:chgData name="Steiner Andreas 6206 ED" userId="e6377c33-a923-4f14-8587-531c474c7b48" providerId="ADAL" clId="{6ECD27E6-B224-41CD-B4E0-E297462320DD}" dt="2023-11-24T08:52:02.080" v="90742"/>
          <ac:spMkLst>
            <pc:docMk/>
            <pc:sldMk cId="789548521" sldId="2147478568"/>
            <ac:spMk id="595" creationId="{E6819642-4533-9FDE-4122-BD10EB99223E}"/>
          </ac:spMkLst>
        </pc:spChg>
        <pc:spChg chg="add del mod">
          <ac:chgData name="Steiner Andreas 6206 ED" userId="e6377c33-a923-4f14-8587-531c474c7b48" providerId="ADAL" clId="{6ECD27E6-B224-41CD-B4E0-E297462320DD}" dt="2023-11-24T08:52:04.011" v="90897"/>
          <ac:spMkLst>
            <pc:docMk/>
            <pc:sldMk cId="789548521" sldId="2147478568"/>
            <ac:spMk id="596" creationId="{A3A9DC79-2DAA-3B2A-91D2-04A395EFCFF0}"/>
          </ac:spMkLst>
        </pc:spChg>
        <pc:spChg chg="add del mod">
          <ac:chgData name="Steiner Andreas 6206 ED" userId="e6377c33-a923-4f14-8587-531c474c7b48" providerId="ADAL" clId="{6ECD27E6-B224-41CD-B4E0-E297462320DD}" dt="2023-11-24T08:52:06.167" v="91052"/>
          <ac:spMkLst>
            <pc:docMk/>
            <pc:sldMk cId="789548521" sldId="2147478568"/>
            <ac:spMk id="597" creationId="{A265C229-11A6-1032-1296-AD76DB4E2114}"/>
          </ac:spMkLst>
        </pc:spChg>
        <pc:spChg chg="add del mod">
          <ac:chgData name="Steiner Andreas 6206 ED" userId="e6377c33-a923-4f14-8587-531c474c7b48" providerId="ADAL" clId="{6ECD27E6-B224-41CD-B4E0-E297462320DD}" dt="2023-11-24T08:52:08.163" v="91207"/>
          <ac:spMkLst>
            <pc:docMk/>
            <pc:sldMk cId="789548521" sldId="2147478568"/>
            <ac:spMk id="598" creationId="{E7F5C620-35F3-F974-CC16-2456525A96AE}"/>
          </ac:spMkLst>
        </pc:spChg>
        <pc:spChg chg="add del mod">
          <ac:chgData name="Steiner Andreas 6206 ED" userId="e6377c33-a923-4f14-8587-531c474c7b48" providerId="ADAL" clId="{6ECD27E6-B224-41CD-B4E0-E297462320DD}" dt="2023-11-24T08:52:10.043" v="91362"/>
          <ac:spMkLst>
            <pc:docMk/>
            <pc:sldMk cId="789548521" sldId="2147478568"/>
            <ac:spMk id="599" creationId="{AD40CC35-3528-5D64-8155-F090EA968640}"/>
          </ac:spMkLst>
        </pc:spChg>
        <pc:spChg chg="add del mod">
          <ac:chgData name="Steiner Andreas 6206 ED" userId="e6377c33-a923-4f14-8587-531c474c7b48" providerId="ADAL" clId="{6ECD27E6-B224-41CD-B4E0-E297462320DD}" dt="2023-11-24T08:52:11.913" v="91517"/>
          <ac:spMkLst>
            <pc:docMk/>
            <pc:sldMk cId="789548521" sldId="2147478568"/>
            <ac:spMk id="600" creationId="{5CC70C35-DDEA-B4D9-692A-B8050E115E5D}"/>
          </ac:spMkLst>
        </pc:spChg>
        <pc:spChg chg="add del mod">
          <ac:chgData name="Steiner Andreas 6206 ED" userId="e6377c33-a923-4f14-8587-531c474c7b48" providerId="ADAL" clId="{6ECD27E6-B224-41CD-B4E0-E297462320DD}" dt="2023-11-24T08:52:13.824" v="91672"/>
          <ac:spMkLst>
            <pc:docMk/>
            <pc:sldMk cId="789548521" sldId="2147478568"/>
            <ac:spMk id="601" creationId="{CB0F4B47-AE79-6ED0-BEA2-AEF1CEDF341C}"/>
          </ac:spMkLst>
        </pc:spChg>
        <pc:spChg chg="add del mod">
          <ac:chgData name="Steiner Andreas 6206 ED" userId="e6377c33-a923-4f14-8587-531c474c7b48" providerId="ADAL" clId="{6ECD27E6-B224-41CD-B4E0-E297462320DD}" dt="2023-11-24T08:52:15.756" v="91827"/>
          <ac:spMkLst>
            <pc:docMk/>
            <pc:sldMk cId="789548521" sldId="2147478568"/>
            <ac:spMk id="602" creationId="{10DE0221-F393-406C-4EEA-98A8ADA6F5D2}"/>
          </ac:spMkLst>
        </pc:spChg>
        <pc:spChg chg="add del mod">
          <ac:chgData name="Steiner Andreas 6206 ED" userId="e6377c33-a923-4f14-8587-531c474c7b48" providerId="ADAL" clId="{6ECD27E6-B224-41CD-B4E0-E297462320DD}" dt="2023-11-24T08:52:17.906" v="91982"/>
          <ac:spMkLst>
            <pc:docMk/>
            <pc:sldMk cId="789548521" sldId="2147478568"/>
            <ac:spMk id="603" creationId="{4A51B36E-889D-695F-5028-B634A61DAE9C}"/>
          </ac:spMkLst>
        </pc:spChg>
        <pc:spChg chg="add del mod">
          <ac:chgData name="Steiner Andreas 6206 ED" userId="e6377c33-a923-4f14-8587-531c474c7b48" providerId="ADAL" clId="{6ECD27E6-B224-41CD-B4E0-E297462320DD}" dt="2023-11-24T08:52:19.852" v="92137"/>
          <ac:spMkLst>
            <pc:docMk/>
            <pc:sldMk cId="789548521" sldId="2147478568"/>
            <ac:spMk id="604" creationId="{F9BB8075-173B-F589-4C21-2B47D71CF455}"/>
          </ac:spMkLst>
        </pc:spChg>
        <pc:spChg chg="add del mod">
          <ac:chgData name="Steiner Andreas 6206 ED" userId="e6377c33-a923-4f14-8587-531c474c7b48" providerId="ADAL" clId="{6ECD27E6-B224-41CD-B4E0-E297462320DD}" dt="2023-11-24T08:52:21.730" v="92292"/>
          <ac:spMkLst>
            <pc:docMk/>
            <pc:sldMk cId="789548521" sldId="2147478568"/>
            <ac:spMk id="605" creationId="{11418DB3-8936-8B78-73A5-A0813EC93E8A}"/>
          </ac:spMkLst>
        </pc:spChg>
        <pc:spChg chg="add del mod">
          <ac:chgData name="Steiner Andreas 6206 ED" userId="e6377c33-a923-4f14-8587-531c474c7b48" providerId="ADAL" clId="{6ECD27E6-B224-41CD-B4E0-E297462320DD}" dt="2023-11-24T08:52:23.779" v="92447"/>
          <ac:spMkLst>
            <pc:docMk/>
            <pc:sldMk cId="789548521" sldId="2147478568"/>
            <ac:spMk id="606" creationId="{23A468F1-A3C3-FC46-2D53-7C7CA610658D}"/>
          </ac:spMkLst>
        </pc:spChg>
        <pc:spChg chg="add del mod">
          <ac:chgData name="Steiner Andreas 6206 ED" userId="e6377c33-a923-4f14-8587-531c474c7b48" providerId="ADAL" clId="{6ECD27E6-B224-41CD-B4E0-E297462320DD}" dt="2023-11-24T08:52:25.676" v="92602"/>
          <ac:spMkLst>
            <pc:docMk/>
            <pc:sldMk cId="789548521" sldId="2147478568"/>
            <ac:spMk id="607" creationId="{56F83EC5-6580-D6A6-3A7B-CCE1B3F788BE}"/>
          </ac:spMkLst>
        </pc:spChg>
        <pc:spChg chg="add del mod">
          <ac:chgData name="Steiner Andreas 6206 ED" userId="e6377c33-a923-4f14-8587-531c474c7b48" providerId="ADAL" clId="{6ECD27E6-B224-41CD-B4E0-E297462320DD}" dt="2023-11-24T08:52:27.537" v="92757"/>
          <ac:spMkLst>
            <pc:docMk/>
            <pc:sldMk cId="789548521" sldId="2147478568"/>
            <ac:spMk id="608" creationId="{51B4A11A-B18F-D429-8E33-A09CB816AF79}"/>
          </ac:spMkLst>
        </pc:spChg>
        <pc:spChg chg="add del mod">
          <ac:chgData name="Steiner Andreas 6206 ED" userId="e6377c33-a923-4f14-8587-531c474c7b48" providerId="ADAL" clId="{6ECD27E6-B224-41CD-B4E0-E297462320DD}" dt="2023-11-24T08:52:29.580" v="92912"/>
          <ac:spMkLst>
            <pc:docMk/>
            <pc:sldMk cId="789548521" sldId="2147478568"/>
            <ac:spMk id="609" creationId="{B8EE3371-5D34-8788-183F-9DC0ACCA181B}"/>
          </ac:spMkLst>
        </pc:spChg>
        <pc:spChg chg="add del mod">
          <ac:chgData name="Steiner Andreas 6206 ED" userId="e6377c33-a923-4f14-8587-531c474c7b48" providerId="ADAL" clId="{6ECD27E6-B224-41CD-B4E0-E297462320DD}" dt="2023-11-24T08:52:31.549" v="93067"/>
          <ac:spMkLst>
            <pc:docMk/>
            <pc:sldMk cId="789548521" sldId="2147478568"/>
            <ac:spMk id="610" creationId="{7AD695F9-3D8E-FAF2-7EAD-C18C5D23C2A8}"/>
          </ac:spMkLst>
        </pc:spChg>
        <pc:spChg chg="add del mod">
          <ac:chgData name="Steiner Andreas 6206 ED" userId="e6377c33-a923-4f14-8587-531c474c7b48" providerId="ADAL" clId="{6ECD27E6-B224-41CD-B4E0-E297462320DD}" dt="2023-11-24T08:52:33.486" v="93222"/>
          <ac:spMkLst>
            <pc:docMk/>
            <pc:sldMk cId="789548521" sldId="2147478568"/>
            <ac:spMk id="611" creationId="{C6605396-770F-AA94-F5AE-7AFA576C572D}"/>
          </ac:spMkLst>
        </pc:spChg>
        <pc:spChg chg="add del mod">
          <ac:chgData name="Steiner Andreas 6206 ED" userId="e6377c33-a923-4f14-8587-531c474c7b48" providerId="ADAL" clId="{6ECD27E6-B224-41CD-B4E0-E297462320DD}" dt="2023-11-24T08:52:35.368" v="93377"/>
          <ac:spMkLst>
            <pc:docMk/>
            <pc:sldMk cId="789548521" sldId="2147478568"/>
            <ac:spMk id="612" creationId="{7CE76D22-6BCF-6283-808D-9A063FB9BC32}"/>
          </ac:spMkLst>
        </pc:spChg>
        <pc:spChg chg="add del mod">
          <ac:chgData name="Steiner Andreas 6206 ED" userId="e6377c33-a923-4f14-8587-531c474c7b48" providerId="ADAL" clId="{6ECD27E6-B224-41CD-B4E0-E297462320DD}" dt="2023-11-24T08:52:37.290" v="93532"/>
          <ac:spMkLst>
            <pc:docMk/>
            <pc:sldMk cId="789548521" sldId="2147478568"/>
            <ac:spMk id="613" creationId="{AFEDB356-9032-B998-B7E4-C6FBC4907FAD}"/>
          </ac:spMkLst>
        </pc:spChg>
        <pc:spChg chg="add del mod">
          <ac:chgData name="Steiner Andreas 6206 ED" userId="e6377c33-a923-4f14-8587-531c474c7b48" providerId="ADAL" clId="{6ECD27E6-B224-41CD-B4E0-E297462320DD}" dt="2023-11-24T08:52:39.170" v="93687"/>
          <ac:spMkLst>
            <pc:docMk/>
            <pc:sldMk cId="789548521" sldId="2147478568"/>
            <ac:spMk id="614" creationId="{692577B5-1F5C-139E-570E-A805ECA31546}"/>
          </ac:spMkLst>
        </pc:spChg>
        <pc:spChg chg="add del mod">
          <ac:chgData name="Steiner Andreas 6206 ED" userId="e6377c33-a923-4f14-8587-531c474c7b48" providerId="ADAL" clId="{6ECD27E6-B224-41CD-B4E0-E297462320DD}" dt="2023-11-24T08:52:41.226" v="93842"/>
          <ac:spMkLst>
            <pc:docMk/>
            <pc:sldMk cId="789548521" sldId="2147478568"/>
            <ac:spMk id="615" creationId="{75086B8E-136C-466F-D31B-4B51203C0553}"/>
          </ac:spMkLst>
        </pc:spChg>
        <pc:spChg chg="add del mod">
          <ac:chgData name="Steiner Andreas 6206 ED" userId="e6377c33-a923-4f14-8587-531c474c7b48" providerId="ADAL" clId="{6ECD27E6-B224-41CD-B4E0-E297462320DD}" dt="2023-11-24T08:52:43.205" v="93997"/>
          <ac:spMkLst>
            <pc:docMk/>
            <pc:sldMk cId="789548521" sldId="2147478568"/>
            <ac:spMk id="616" creationId="{4A9D7417-9B32-028D-8AE6-7A61CD9E5F0D}"/>
          </ac:spMkLst>
        </pc:spChg>
        <pc:spChg chg="add del mod">
          <ac:chgData name="Steiner Andreas 6206 ED" userId="e6377c33-a923-4f14-8587-531c474c7b48" providerId="ADAL" clId="{6ECD27E6-B224-41CD-B4E0-E297462320DD}" dt="2023-11-24T08:52:45.128" v="94152"/>
          <ac:spMkLst>
            <pc:docMk/>
            <pc:sldMk cId="789548521" sldId="2147478568"/>
            <ac:spMk id="617" creationId="{CCF7BC5D-C723-6B4B-C9E3-FF2F8BAE1253}"/>
          </ac:spMkLst>
        </pc:spChg>
        <pc:spChg chg="add del mod">
          <ac:chgData name="Steiner Andreas 6206 ED" userId="e6377c33-a923-4f14-8587-531c474c7b48" providerId="ADAL" clId="{6ECD27E6-B224-41CD-B4E0-E297462320DD}" dt="2023-11-24T08:52:47.088" v="94307"/>
          <ac:spMkLst>
            <pc:docMk/>
            <pc:sldMk cId="789548521" sldId="2147478568"/>
            <ac:spMk id="618" creationId="{47701EF9-F5DD-A643-5429-9F85CC09403B}"/>
          </ac:spMkLst>
        </pc:spChg>
        <pc:spChg chg="add del mod">
          <ac:chgData name="Steiner Andreas 6206 ED" userId="e6377c33-a923-4f14-8587-531c474c7b48" providerId="ADAL" clId="{6ECD27E6-B224-41CD-B4E0-E297462320DD}" dt="2023-11-24T08:52:49.132" v="94462"/>
          <ac:spMkLst>
            <pc:docMk/>
            <pc:sldMk cId="789548521" sldId="2147478568"/>
            <ac:spMk id="619" creationId="{E9FE09FB-DD78-C2CA-8BAF-BF7870E36F98}"/>
          </ac:spMkLst>
        </pc:spChg>
        <pc:spChg chg="add del mod">
          <ac:chgData name="Steiner Andreas 6206 ED" userId="e6377c33-a923-4f14-8587-531c474c7b48" providerId="ADAL" clId="{6ECD27E6-B224-41CD-B4E0-E297462320DD}" dt="2023-11-24T08:52:51.355" v="94617"/>
          <ac:spMkLst>
            <pc:docMk/>
            <pc:sldMk cId="789548521" sldId="2147478568"/>
            <ac:spMk id="620" creationId="{38B8053E-EDFF-8367-7B23-6F2D34367C72}"/>
          </ac:spMkLst>
        </pc:spChg>
        <pc:spChg chg="add del mod">
          <ac:chgData name="Steiner Andreas 6206 ED" userId="e6377c33-a923-4f14-8587-531c474c7b48" providerId="ADAL" clId="{6ECD27E6-B224-41CD-B4E0-E297462320DD}" dt="2023-11-24T08:52:53.312" v="94772"/>
          <ac:spMkLst>
            <pc:docMk/>
            <pc:sldMk cId="789548521" sldId="2147478568"/>
            <ac:spMk id="621" creationId="{72D00842-19CD-6332-6A22-04F4A96954FC}"/>
          </ac:spMkLst>
        </pc:spChg>
        <pc:spChg chg="add del mod">
          <ac:chgData name="Steiner Andreas 6206 ED" userId="e6377c33-a923-4f14-8587-531c474c7b48" providerId="ADAL" clId="{6ECD27E6-B224-41CD-B4E0-E297462320DD}" dt="2023-11-24T08:52:55.253" v="94927"/>
          <ac:spMkLst>
            <pc:docMk/>
            <pc:sldMk cId="789548521" sldId="2147478568"/>
            <ac:spMk id="622" creationId="{42FC2867-5FE2-96BE-855E-C0D50FF7D2C5}"/>
          </ac:spMkLst>
        </pc:spChg>
        <pc:spChg chg="add del mod">
          <ac:chgData name="Steiner Andreas 6206 ED" userId="e6377c33-a923-4f14-8587-531c474c7b48" providerId="ADAL" clId="{6ECD27E6-B224-41CD-B4E0-E297462320DD}" dt="2023-11-24T08:52:57.280" v="95082"/>
          <ac:spMkLst>
            <pc:docMk/>
            <pc:sldMk cId="789548521" sldId="2147478568"/>
            <ac:spMk id="623" creationId="{DE7E0C27-A3E1-EB63-73B8-4C1B5F066AA1}"/>
          </ac:spMkLst>
        </pc:spChg>
        <pc:spChg chg="add del mod">
          <ac:chgData name="Steiner Andreas 6206 ED" userId="e6377c33-a923-4f14-8587-531c474c7b48" providerId="ADAL" clId="{6ECD27E6-B224-41CD-B4E0-E297462320DD}" dt="2023-11-24T08:52:59.244" v="95237"/>
          <ac:spMkLst>
            <pc:docMk/>
            <pc:sldMk cId="789548521" sldId="2147478568"/>
            <ac:spMk id="624" creationId="{4EBA8571-42E3-C04A-2C71-309386E6F6EB}"/>
          </ac:spMkLst>
        </pc:spChg>
        <pc:spChg chg="add del mod">
          <ac:chgData name="Steiner Andreas 6206 ED" userId="e6377c33-a923-4f14-8587-531c474c7b48" providerId="ADAL" clId="{6ECD27E6-B224-41CD-B4E0-E297462320DD}" dt="2023-11-24T08:53:01.234" v="95392"/>
          <ac:spMkLst>
            <pc:docMk/>
            <pc:sldMk cId="789548521" sldId="2147478568"/>
            <ac:spMk id="625" creationId="{E9784E5E-7C72-447F-E420-04315471BA5A}"/>
          </ac:spMkLst>
        </pc:spChg>
        <pc:spChg chg="add del mod">
          <ac:chgData name="Steiner Andreas 6206 ED" userId="e6377c33-a923-4f14-8587-531c474c7b48" providerId="ADAL" clId="{6ECD27E6-B224-41CD-B4E0-E297462320DD}" dt="2023-11-24T08:53:03.351" v="95547"/>
          <ac:spMkLst>
            <pc:docMk/>
            <pc:sldMk cId="789548521" sldId="2147478568"/>
            <ac:spMk id="626" creationId="{3C5F6BBB-E3DF-8B65-BF4B-16F59B18FC00}"/>
          </ac:spMkLst>
        </pc:spChg>
        <pc:spChg chg="add del mod">
          <ac:chgData name="Steiner Andreas 6206 ED" userId="e6377c33-a923-4f14-8587-531c474c7b48" providerId="ADAL" clId="{6ECD27E6-B224-41CD-B4E0-E297462320DD}" dt="2023-11-24T08:53:05.348" v="95702"/>
          <ac:spMkLst>
            <pc:docMk/>
            <pc:sldMk cId="789548521" sldId="2147478568"/>
            <ac:spMk id="627" creationId="{8E4C0FEF-3575-09CA-1FE6-F01CD41975C0}"/>
          </ac:spMkLst>
        </pc:spChg>
        <pc:spChg chg="add del mod">
          <ac:chgData name="Steiner Andreas 6206 ED" userId="e6377c33-a923-4f14-8587-531c474c7b48" providerId="ADAL" clId="{6ECD27E6-B224-41CD-B4E0-E297462320DD}" dt="2023-11-24T08:53:07.207" v="95857"/>
          <ac:spMkLst>
            <pc:docMk/>
            <pc:sldMk cId="789548521" sldId="2147478568"/>
            <ac:spMk id="628" creationId="{97707D15-A122-8E28-4EB8-04EBA9D5510E}"/>
          </ac:spMkLst>
        </pc:spChg>
        <pc:spChg chg="add del mod">
          <ac:chgData name="Steiner Andreas 6206 ED" userId="e6377c33-a923-4f14-8587-531c474c7b48" providerId="ADAL" clId="{6ECD27E6-B224-41CD-B4E0-E297462320DD}" dt="2023-11-24T08:53:09.155" v="96012"/>
          <ac:spMkLst>
            <pc:docMk/>
            <pc:sldMk cId="789548521" sldId="2147478568"/>
            <ac:spMk id="629" creationId="{FA4EA9B3-E40C-C806-CDD1-850E024ECEE7}"/>
          </ac:spMkLst>
        </pc:spChg>
        <pc:spChg chg="add del mod">
          <ac:chgData name="Steiner Andreas 6206 ED" userId="e6377c33-a923-4f14-8587-531c474c7b48" providerId="ADAL" clId="{6ECD27E6-B224-41CD-B4E0-E297462320DD}" dt="2023-11-24T08:53:11.084" v="96167"/>
          <ac:spMkLst>
            <pc:docMk/>
            <pc:sldMk cId="789548521" sldId="2147478568"/>
            <ac:spMk id="630" creationId="{38433482-AAEF-BFC3-A4DA-9CAEA0B2534B}"/>
          </ac:spMkLst>
        </pc:spChg>
        <pc:spChg chg="add del mod">
          <ac:chgData name="Steiner Andreas 6206 ED" userId="e6377c33-a923-4f14-8587-531c474c7b48" providerId="ADAL" clId="{6ECD27E6-B224-41CD-B4E0-E297462320DD}" dt="2023-11-24T08:53:13.051" v="96322"/>
          <ac:spMkLst>
            <pc:docMk/>
            <pc:sldMk cId="789548521" sldId="2147478568"/>
            <ac:spMk id="631" creationId="{A2DD9322-4FFF-164F-BF1F-8DB75BB06758}"/>
          </ac:spMkLst>
        </pc:spChg>
        <pc:spChg chg="add del mod">
          <ac:chgData name="Steiner Andreas 6206 ED" userId="e6377c33-a923-4f14-8587-531c474c7b48" providerId="ADAL" clId="{6ECD27E6-B224-41CD-B4E0-E297462320DD}" dt="2023-11-24T08:53:15.163" v="96477"/>
          <ac:spMkLst>
            <pc:docMk/>
            <pc:sldMk cId="789548521" sldId="2147478568"/>
            <ac:spMk id="632" creationId="{D67E51D0-1AE1-9709-EB13-627884F7B0B3}"/>
          </ac:spMkLst>
        </pc:spChg>
        <pc:spChg chg="add del mod">
          <ac:chgData name="Steiner Andreas 6206 ED" userId="e6377c33-a923-4f14-8587-531c474c7b48" providerId="ADAL" clId="{6ECD27E6-B224-41CD-B4E0-E297462320DD}" dt="2023-11-24T08:53:17.115" v="96632"/>
          <ac:spMkLst>
            <pc:docMk/>
            <pc:sldMk cId="789548521" sldId="2147478568"/>
            <ac:spMk id="633" creationId="{A38A6EC4-85E6-B59F-0531-B0CA0DCE1884}"/>
          </ac:spMkLst>
        </pc:spChg>
        <pc:spChg chg="add del mod">
          <ac:chgData name="Steiner Andreas 6206 ED" userId="e6377c33-a923-4f14-8587-531c474c7b48" providerId="ADAL" clId="{6ECD27E6-B224-41CD-B4E0-E297462320DD}" dt="2023-11-24T08:53:19.063" v="96787"/>
          <ac:spMkLst>
            <pc:docMk/>
            <pc:sldMk cId="789548521" sldId="2147478568"/>
            <ac:spMk id="634" creationId="{4A970B25-4DD5-A1DF-AB99-737906E22AFC}"/>
          </ac:spMkLst>
        </pc:spChg>
        <pc:spChg chg="add del mod">
          <ac:chgData name="Steiner Andreas 6206 ED" userId="e6377c33-a923-4f14-8587-531c474c7b48" providerId="ADAL" clId="{6ECD27E6-B224-41CD-B4E0-E297462320DD}" dt="2023-11-24T08:53:21.050" v="96942"/>
          <ac:spMkLst>
            <pc:docMk/>
            <pc:sldMk cId="789548521" sldId="2147478568"/>
            <ac:spMk id="635" creationId="{62C3608C-D7F8-F4F8-A7FC-8F494A8D6AE8}"/>
          </ac:spMkLst>
        </pc:spChg>
        <pc:spChg chg="add del mod">
          <ac:chgData name="Steiner Andreas 6206 ED" userId="e6377c33-a923-4f14-8587-531c474c7b48" providerId="ADAL" clId="{6ECD27E6-B224-41CD-B4E0-E297462320DD}" dt="2023-11-24T08:53:23.009" v="97097"/>
          <ac:spMkLst>
            <pc:docMk/>
            <pc:sldMk cId="789548521" sldId="2147478568"/>
            <ac:spMk id="636" creationId="{1A06D976-5FCD-8398-0EDF-917C82EEF681}"/>
          </ac:spMkLst>
        </pc:spChg>
        <pc:spChg chg="add del mod">
          <ac:chgData name="Steiner Andreas 6206 ED" userId="e6377c33-a923-4f14-8587-531c474c7b48" providerId="ADAL" clId="{6ECD27E6-B224-41CD-B4E0-E297462320DD}" dt="2023-11-24T08:53:25.113" v="97252"/>
          <ac:spMkLst>
            <pc:docMk/>
            <pc:sldMk cId="789548521" sldId="2147478568"/>
            <ac:spMk id="637" creationId="{C9F42D71-F08F-8514-9436-49D9000BCECF}"/>
          </ac:spMkLst>
        </pc:spChg>
        <pc:spChg chg="add del mod">
          <ac:chgData name="Steiner Andreas 6206 ED" userId="e6377c33-a923-4f14-8587-531c474c7b48" providerId="ADAL" clId="{6ECD27E6-B224-41CD-B4E0-E297462320DD}" dt="2023-11-24T08:53:27.122" v="97407"/>
          <ac:spMkLst>
            <pc:docMk/>
            <pc:sldMk cId="789548521" sldId="2147478568"/>
            <ac:spMk id="638" creationId="{AB63C815-9BF0-30B1-F082-90A1E927C66C}"/>
          </ac:spMkLst>
        </pc:spChg>
        <pc:spChg chg="add del mod">
          <ac:chgData name="Steiner Andreas 6206 ED" userId="e6377c33-a923-4f14-8587-531c474c7b48" providerId="ADAL" clId="{6ECD27E6-B224-41CD-B4E0-E297462320DD}" dt="2023-11-24T08:53:29.017" v="97562"/>
          <ac:spMkLst>
            <pc:docMk/>
            <pc:sldMk cId="789548521" sldId="2147478568"/>
            <ac:spMk id="639" creationId="{E2D5593C-FC8F-D7E2-9846-880FACC27BB8}"/>
          </ac:spMkLst>
        </pc:spChg>
        <pc:spChg chg="add del mod">
          <ac:chgData name="Steiner Andreas 6206 ED" userId="e6377c33-a923-4f14-8587-531c474c7b48" providerId="ADAL" clId="{6ECD27E6-B224-41CD-B4E0-E297462320DD}" dt="2023-11-24T08:53:30.926" v="97717"/>
          <ac:spMkLst>
            <pc:docMk/>
            <pc:sldMk cId="789548521" sldId="2147478568"/>
            <ac:spMk id="640" creationId="{331F4E4A-59A8-C74C-11FB-0C73D44807EB}"/>
          </ac:spMkLst>
        </pc:spChg>
        <pc:spChg chg="add del mod">
          <ac:chgData name="Steiner Andreas 6206 ED" userId="e6377c33-a923-4f14-8587-531c474c7b48" providerId="ADAL" clId="{6ECD27E6-B224-41CD-B4E0-E297462320DD}" dt="2023-11-24T08:53:32.861" v="97872"/>
          <ac:spMkLst>
            <pc:docMk/>
            <pc:sldMk cId="789548521" sldId="2147478568"/>
            <ac:spMk id="641" creationId="{A69825F2-CB5F-8C54-17DC-B357A25D507E}"/>
          </ac:spMkLst>
        </pc:spChg>
        <pc:spChg chg="add del mod">
          <ac:chgData name="Steiner Andreas 6206 ED" userId="e6377c33-a923-4f14-8587-531c474c7b48" providerId="ADAL" clId="{6ECD27E6-B224-41CD-B4E0-E297462320DD}" dt="2023-11-24T08:53:34.785" v="98027"/>
          <ac:spMkLst>
            <pc:docMk/>
            <pc:sldMk cId="789548521" sldId="2147478568"/>
            <ac:spMk id="642" creationId="{D45DE21A-331D-5143-C1F8-6D2D6ACDF7F2}"/>
          </ac:spMkLst>
        </pc:spChg>
        <pc:spChg chg="add del mod">
          <ac:chgData name="Steiner Andreas 6206 ED" userId="e6377c33-a923-4f14-8587-531c474c7b48" providerId="ADAL" clId="{6ECD27E6-B224-41CD-B4E0-E297462320DD}" dt="2023-11-24T08:53:36.871" v="98182"/>
          <ac:spMkLst>
            <pc:docMk/>
            <pc:sldMk cId="789548521" sldId="2147478568"/>
            <ac:spMk id="643" creationId="{8A38FB03-76B7-AAAE-DCD0-0038ACB5AF5D}"/>
          </ac:spMkLst>
        </pc:spChg>
        <pc:spChg chg="add del mod">
          <ac:chgData name="Steiner Andreas 6206 ED" userId="e6377c33-a923-4f14-8587-531c474c7b48" providerId="ADAL" clId="{6ECD27E6-B224-41CD-B4E0-E297462320DD}" dt="2023-11-24T08:53:38.787" v="98337"/>
          <ac:spMkLst>
            <pc:docMk/>
            <pc:sldMk cId="789548521" sldId="2147478568"/>
            <ac:spMk id="644" creationId="{212A32C9-F6E4-71DF-FD80-B411CA2E18AA}"/>
          </ac:spMkLst>
        </pc:spChg>
        <pc:spChg chg="add del mod">
          <ac:chgData name="Steiner Andreas 6206 ED" userId="e6377c33-a923-4f14-8587-531c474c7b48" providerId="ADAL" clId="{6ECD27E6-B224-41CD-B4E0-E297462320DD}" dt="2023-11-24T08:53:40.766" v="98492"/>
          <ac:spMkLst>
            <pc:docMk/>
            <pc:sldMk cId="789548521" sldId="2147478568"/>
            <ac:spMk id="645" creationId="{1DAD2D0C-96C8-0261-5A91-18BEBE6F42C8}"/>
          </ac:spMkLst>
        </pc:spChg>
        <pc:spChg chg="add del mod">
          <ac:chgData name="Steiner Andreas 6206 ED" userId="e6377c33-a923-4f14-8587-531c474c7b48" providerId="ADAL" clId="{6ECD27E6-B224-41CD-B4E0-E297462320DD}" dt="2023-11-24T08:53:42.680" v="98647"/>
          <ac:spMkLst>
            <pc:docMk/>
            <pc:sldMk cId="789548521" sldId="2147478568"/>
            <ac:spMk id="646" creationId="{A7EB3A45-1172-DCBF-6D17-41CCAAA456E7}"/>
          </ac:spMkLst>
        </pc:spChg>
        <pc:spChg chg="add del mod">
          <ac:chgData name="Steiner Andreas 6206 ED" userId="e6377c33-a923-4f14-8587-531c474c7b48" providerId="ADAL" clId="{6ECD27E6-B224-41CD-B4E0-E297462320DD}" dt="2023-11-24T08:53:44.654" v="98802"/>
          <ac:spMkLst>
            <pc:docMk/>
            <pc:sldMk cId="789548521" sldId="2147478568"/>
            <ac:spMk id="647" creationId="{8F88AD28-EDC0-ED65-F7AC-9B2873E4A72B}"/>
          </ac:spMkLst>
        </pc:spChg>
        <pc:spChg chg="add del mod">
          <ac:chgData name="Steiner Andreas 6206 ED" userId="e6377c33-a923-4f14-8587-531c474c7b48" providerId="ADAL" clId="{6ECD27E6-B224-41CD-B4E0-E297462320DD}" dt="2023-11-24T08:53:46.560" v="98957"/>
          <ac:spMkLst>
            <pc:docMk/>
            <pc:sldMk cId="789548521" sldId="2147478568"/>
            <ac:spMk id="648" creationId="{D5863B02-6F0D-B2AB-464C-F4BAF6F712B7}"/>
          </ac:spMkLst>
        </pc:spChg>
        <pc:spChg chg="add del mod">
          <ac:chgData name="Steiner Andreas 6206 ED" userId="e6377c33-a923-4f14-8587-531c474c7b48" providerId="ADAL" clId="{6ECD27E6-B224-41CD-B4E0-E297462320DD}" dt="2023-11-24T08:53:48.626" v="99112"/>
          <ac:spMkLst>
            <pc:docMk/>
            <pc:sldMk cId="789548521" sldId="2147478568"/>
            <ac:spMk id="649" creationId="{80C08DFB-085C-8E2A-1C2E-C680DCFB1C20}"/>
          </ac:spMkLst>
        </pc:spChg>
        <pc:spChg chg="add del mod">
          <ac:chgData name="Steiner Andreas 6206 ED" userId="e6377c33-a923-4f14-8587-531c474c7b48" providerId="ADAL" clId="{6ECD27E6-B224-41CD-B4E0-E297462320DD}" dt="2023-11-24T08:53:50.594" v="99267"/>
          <ac:spMkLst>
            <pc:docMk/>
            <pc:sldMk cId="789548521" sldId="2147478568"/>
            <ac:spMk id="650" creationId="{8108D795-6288-AAEE-6396-C914AC6014D9}"/>
          </ac:spMkLst>
        </pc:spChg>
        <pc:spChg chg="add del mod">
          <ac:chgData name="Steiner Andreas 6206 ED" userId="e6377c33-a923-4f14-8587-531c474c7b48" providerId="ADAL" clId="{6ECD27E6-B224-41CD-B4E0-E297462320DD}" dt="2023-11-24T08:53:52.546" v="99422"/>
          <ac:spMkLst>
            <pc:docMk/>
            <pc:sldMk cId="789548521" sldId="2147478568"/>
            <ac:spMk id="651" creationId="{3F525D47-97CA-730E-09F3-24A6A75CD98B}"/>
          </ac:spMkLst>
        </pc:spChg>
        <pc:spChg chg="add del mod">
          <ac:chgData name="Steiner Andreas 6206 ED" userId="e6377c33-a923-4f14-8587-531c474c7b48" providerId="ADAL" clId="{6ECD27E6-B224-41CD-B4E0-E297462320DD}" dt="2023-11-24T08:53:54.529" v="99577"/>
          <ac:spMkLst>
            <pc:docMk/>
            <pc:sldMk cId="789548521" sldId="2147478568"/>
            <ac:spMk id="652" creationId="{CFD04842-1980-2D9A-12A5-DFA447845851}"/>
          </ac:spMkLst>
        </pc:spChg>
        <pc:spChg chg="add del mod">
          <ac:chgData name="Steiner Andreas 6206 ED" userId="e6377c33-a923-4f14-8587-531c474c7b48" providerId="ADAL" clId="{6ECD27E6-B224-41CD-B4E0-E297462320DD}" dt="2023-11-24T08:53:56.463" v="99732"/>
          <ac:spMkLst>
            <pc:docMk/>
            <pc:sldMk cId="789548521" sldId="2147478568"/>
            <ac:spMk id="653" creationId="{83815BE9-574E-B788-CA28-EA7D737B8D8A}"/>
          </ac:spMkLst>
        </pc:spChg>
        <pc:spChg chg="add del mod">
          <ac:chgData name="Steiner Andreas 6206 ED" userId="e6377c33-a923-4f14-8587-531c474c7b48" providerId="ADAL" clId="{6ECD27E6-B224-41CD-B4E0-E297462320DD}" dt="2023-11-24T08:53:58.512" v="99887"/>
          <ac:spMkLst>
            <pc:docMk/>
            <pc:sldMk cId="789548521" sldId="2147478568"/>
            <ac:spMk id="654" creationId="{162BF3B6-D7B1-0465-9D0A-3F9E0B0909EF}"/>
          </ac:spMkLst>
        </pc:spChg>
        <pc:spChg chg="add del mod">
          <ac:chgData name="Steiner Andreas 6206 ED" userId="e6377c33-a923-4f14-8587-531c474c7b48" providerId="ADAL" clId="{6ECD27E6-B224-41CD-B4E0-E297462320DD}" dt="2023-11-24T08:54:00.642" v="100042"/>
          <ac:spMkLst>
            <pc:docMk/>
            <pc:sldMk cId="789548521" sldId="2147478568"/>
            <ac:spMk id="655" creationId="{B0E9E652-F226-7579-63C6-2D1FA99F4960}"/>
          </ac:spMkLst>
        </pc:spChg>
        <pc:spChg chg="add del mod">
          <ac:chgData name="Steiner Andreas 6206 ED" userId="e6377c33-a923-4f14-8587-531c474c7b48" providerId="ADAL" clId="{6ECD27E6-B224-41CD-B4E0-E297462320DD}" dt="2023-11-24T08:54:02.614" v="100197"/>
          <ac:spMkLst>
            <pc:docMk/>
            <pc:sldMk cId="789548521" sldId="2147478568"/>
            <ac:spMk id="656" creationId="{E74EE8F6-3814-2603-AD1E-1C67771D93CE}"/>
          </ac:spMkLst>
        </pc:spChg>
        <pc:spChg chg="add del mod">
          <ac:chgData name="Steiner Andreas 6206 ED" userId="e6377c33-a923-4f14-8587-531c474c7b48" providerId="ADAL" clId="{6ECD27E6-B224-41CD-B4E0-E297462320DD}" dt="2023-11-24T08:54:04.575" v="100352"/>
          <ac:spMkLst>
            <pc:docMk/>
            <pc:sldMk cId="789548521" sldId="2147478568"/>
            <ac:spMk id="657" creationId="{E9AF1E25-0DD0-6345-66D9-8AAAAD9409AF}"/>
          </ac:spMkLst>
        </pc:spChg>
        <pc:spChg chg="add del mod">
          <ac:chgData name="Steiner Andreas 6206 ED" userId="e6377c33-a923-4f14-8587-531c474c7b48" providerId="ADAL" clId="{6ECD27E6-B224-41CD-B4E0-E297462320DD}" dt="2023-11-24T08:54:06.555" v="100507"/>
          <ac:spMkLst>
            <pc:docMk/>
            <pc:sldMk cId="789548521" sldId="2147478568"/>
            <ac:spMk id="658" creationId="{390C63E8-EA03-48AE-F2B5-391B066AC0DD}"/>
          </ac:spMkLst>
        </pc:spChg>
        <pc:spChg chg="add del mod">
          <ac:chgData name="Steiner Andreas 6206 ED" userId="e6377c33-a923-4f14-8587-531c474c7b48" providerId="ADAL" clId="{6ECD27E6-B224-41CD-B4E0-E297462320DD}" dt="2023-11-24T08:54:08.524" v="100662"/>
          <ac:spMkLst>
            <pc:docMk/>
            <pc:sldMk cId="789548521" sldId="2147478568"/>
            <ac:spMk id="659" creationId="{2D39B5FE-E0A8-0D55-3916-15815B85B381}"/>
          </ac:spMkLst>
        </pc:spChg>
        <pc:spChg chg="add del mod">
          <ac:chgData name="Steiner Andreas 6206 ED" userId="e6377c33-a923-4f14-8587-531c474c7b48" providerId="ADAL" clId="{6ECD27E6-B224-41CD-B4E0-E297462320DD}" dt="2023-11-24T08:54:10.679" v="100817"/>
          <ac:spMkLst>
            <pc:docMk/>
            <pc:sldMk cId="789548521" sldId="2147478568"/>
            <ac:spMk id="660" creationId="{4488199E-6D50-7622-A676-AFA8CD515AC5}"/>
          </ac:spMkLst>
        </pc:spChg>
        <pc:spChg chg="add del mod">
          <ac:chgData name="Steiner Andreas 6206 ED" userId="e6377c33-a923-4f14-8587-531c474c7b48" providerId="ADAL" clId="{6ECD27E6-B224-41CD-B4E0-E297462320DD}" dt="2023-11-24T08:54:12.606" v="100972"/>
          <ac:spMkLst>
            <pc:docMk/>
            <pc:sldMk cId="789548521" sldId="2147478568"/>
            <ac:spMk id="661" creationId="{E0D487BB-E536-227B-4CE3-E9EFB315B5F8}"/>
          </ac:spMkLst>
        </pc:spChg>
        <pc:spChg chg="add del mod">
          <ac:chgData name="Steiner Andreas 6206 ED" userId="e6377c33-a923-4f14-8587-531c474c7b48" providerId="ADAL" clId="{6ECD27E6-B224-41CD-B4E0-E297462320DD}" dt="2023-11-24T08:54:14.565" v="101127"/>
          <ac:spMkLst>
            <pc:docMk/>
            <pc:sldMk cId="789548521" sldId="2147478568"/>
            <ac:spMk id="662" creationId="{01B31FB2-E741-506C-8999-9FE931805596}"/>
          </ac:spMkLst>
        </pc:spChg>
        <pc:spChg chg="add del mod">
          <ac:chgData name="Steiner Andreas 6206 ED" userId="e6377c33-a923-4f14-8587-531c474c7b48" providerId="ADAL" clId="{6ECD27E6-B224-41CD-B4E0-E297462320DD}" dt="2023-11-24T08:54:16.460" v="101282"/>
          <ac:spMkLst>
            <pc:docMk/>
            <pc:sldMk cId="789548521" sldId="2147478568"/>
            <ac:spMk id="663" creationId="{AEA3CF90-0E72-3AD2-1F98-0ED2FDCC81B7}"/>
          </ac:spMkLst>
        </pc:spChg>
        <pc:spChg chg="add del mod">
          <ac:chgData name="Steiner Andreas 6206 ED" userId="e6377c33-a923-4f14-8587-531c474c7b48" providerId="ADAL" clId="{6ECD27E6-B224-41CD-B4E0-E297462320DD}" dt="2023-11-24T08:54:18.364" v="101437"/>
          <ac:spMkLst>
            <pc:docMk/>
            <pc:sldMk cId="789548521" sldId="2147478568"/>
            <ac:spMk id="664" creationId="{FF6EF0B5-FE05-87CA-185D-4A6A43DB91AE}"/>
          </ac:spMkLst>
        </pc:spChg>
        <pc:spChg chg="add del mod">
          <ac:chgData name="Steiner Andreas 6206 ED" userId="e6377c33-a923-4f14-8587-531c474c7b48" providerId="ADAL" clId="{6ECD27E6-B224-41CD-B4E0-E297462320DD}" dt="2023-11-24T08:54:20.315" v="101592"/>
          <ac:spMkLst>
            <pc:docMk/>
            <pc:sldMk cId="789548521" sldId="2147478568"/>
            <ac:spMk id="665" creationId="{F23B5D3F-295B-EFBC-F620-2D4E06997FAD}"/>
          </ac:spMkLst>
        </pc:spChg>
        <pc:spChg chg="add del mod">
          <ac:chgData name="Steiner Andreas 6206 ED" userId="e6377c33-a923-4f14-8587-531c474c7b48" providerId="ADAL" clId="{6ECD27E6-B224-41CD-B4E0-E297462320DD}" dt="2023-11-24T08:54:22.439" v="101747"/>
          <ac:spMkLst>
            <pc:docMk/>
            <pc:sldMk cId="789548521" sldId="2147478568"/>
            <ac:spMk id="666" creationId="{A7599DC1-3EF8-C4FB-ADA5-43A8AED42EE3}"/>
          </ac:spMkLst>
        </pc:spChg>
        <pc:spChg chg="add del mod">
          <ac:chgData name="Steiner Andreas 6206 ED" userId="e6377c33-a923-4f14-8587-531c474c7b48" providerId="ADAL" clId="{6ECD27E6-B224-41CD-B4E0-E297462320DD}" dt="2023-11-24T08:54:24.383" v="101902"/>
          <ac:spMkLst>
            <pc:docMk/>
            <pc:sldMk cId="789548521" sldId="2147478568"/>
            <ac:spMk id="667" creationId="{257B8C1E-4E61-1520-9342-2F01B5CDBAF9}"/>
          </ac:spMkLst>
        </pc:spChg>
        <pc:spChg chg="add del mod">
          <ac:chgData name="Steiner Andreas 6206 ED" userId="e6377c33-a923-4f14-8587-531c474c7b48" providerId="ADAL" clId="{6ECD27E6-B224-41CD-B4E0-E297462320DD}" dt="2023-11-24T08:54:26.359" v="102057"/>
          <ac:spMkLst>
            <pc:docMk/>
            <pc:sldMk cId="789548521" sldId="2147478568"/>
            <ac:spMk id="668" creationId="{9A79A0FA-9509-686E-F419-24D4FB7777A9}"/>
          </ac:spMkLst>
        </pc:spChg>
        <pc:spChg chg="add del mod">
          <ac:chgData name="Steiner Andreas 6206 ED" userId="e6377c33-a923-4f14-8587-531c474c7b48" providerId="ADAL" clId="{6ECD27E6-B224-41CD-B4E0-E297462320DD}" dt="2023-11-24T08:54:28.305" v="102212"/>
          <ac:spMkLst>
            <pc:docMk/>
            <pc:sldMk cId="789548521" sldId="2147478568"/>
            <ac:spMk id="669" creationId="{F59641BA-DF12-FD96-9497-64BA3349CF55}"/>
          </ac:spMkLst>
        </pc:spChg>
        <pc:spChg chg="add del mod">
          <ac:chgData name="Steiner Andreas 6206 ED" userId="e6377c33-a923-4f14-8587-531c474c7b48" providerId="ADAL" clId="{6ECD27E6-B224-41CD-B4E0-E297462320DD}" dt="2023-11-24T08:54:30.250" v="102367"/>
          <ac:spMkLst>
            <pc:docMk/>
            <pc:sldMk cId="789548521" sldId="2147478568"/>
            <ac:spMk id="670" creationId="{1F2EE36F-4FCF-D7CD-1053-3670FE242ECB}"/>
          </ac:spMkLst>
        </pc:spChg>
        <pc:spChg chg="add del mod">
          <ac:chgData name="Steiner Andreas 6206 ED" userId="e6377c33-a923-4f14-8587-531c474c7b48" providerId="ADAL" clId="{6ECD27E6-B224-41CD-B4E0-E297462320DD}" dt="2023-11-24T08:54:32.378" v="102522"/>
          <ac:spMkLst>
            <pc:docMk/>
            <pc:sldMk cId="789548521" sldId="2147478568"/>
            <ac:spMk id="671" creationId="{F6E081B0-8175-2C82-4D38-DD324AC2ED76}"/>
          </ac:spMkLst>
        </pc:spChg>
        <pc:spChg chg="add del mod">
          <ac:chgData name="Steiner Andreas 6206 ED" userId="e6377c33-a923-4f14-8587-531c474c7b48" providerId="ADAL" clId="{6ECD27E6-B224-41CD-B4E0-E297462320DD}" dt="2023-11-24T08:54:34.374" v="102677"/>
          <ac:spMkLst>
            <pc:docMk/>
            <pc:sldMk cId="789548521" sldId="2147478568"/>
            <ac:spMk id="672" creationId="{B0F7BED8-6AD8-DA56-00FB-844059FC6469}"/>
          </ac:spMkLst>
        </pc:spChg>
        <pc:spChg chg="add del mod">
          <ac:chgData name="Steiner Andreas 6206 ED" userId="e6377c33-a923-4f14-8587-531c474c7b48" providerId="ADAL" clId="{6ECD27E6-B224-41CD-B4E0-E297462320DD}" dt="2023-11-24T08:54:36.320" v="102832"/>
          <ac:spMkLst>
            <pc:docMk/>
            <pc:sldMk cId="789548521" sldId="2147478568"/>
            <ac:spMk id="673" creationId="{82451CBD-CE2C-0546-0803-15C14C40496F}"/>
          </ac:spMkLst>
        </pc:spChg>
        <pc:spChg chg="add del mod">
          <ac:chgData name="Steiner Andreas 6206 ED" userId="e6377c33-a923-4f14-8587-531c474c7b48" providerId="ADAL" clId="{6ECD27E6-B224-41CD-B4E0-E297462320DD}" dt="2023-11-24T08:54:38.489" v="102987"/>
          <ac:spMkLst>
            <pc:docMk/>
            <pc:sldMk cId="789548521" sldId="2147478568"/>
            <ac:spMk id="674" creationId="{95F2F289-DD7C-31A9-C9AB-3F342BB1D251}"/>
          </ac:spMkLst>
        </pc:spChg>
        <pc:spChg chg="add del mod">
          <ac:chgData name="Steiner Andreas 6206 ED" userId="e6377c33-a923-4f14-8587-531c474c7b48" providerId="ADAL" clId="{6ECD27E6-B224-41CD-B4E0-E297462320DD}" dt="2023-11-24T08:54:40.679" v="103142"/>
          <ac:spMkLst>
            <pc:docMk/>
            <pc:sldMk cId="789548521" sldId="2147478568"/>
            <ac:spMk id="675" creationId="{1BDCDFAE-4CC1-BD51-A6C9-F2A3EB524CC0}"/>
          </ac:spMkLst>
        </pc:spChg>
        <pc:spChg chg="add del mod">
          <ac:chgData name="Steiner Andreas 6206 ED" userId="e6377c33-a923-4f14-8587-531c474c7b48" providerId="ADAL" clId="{6ECD27E6-B224-41CD-B4E0-E297462320DD}" dt="2023-11-24T08:54:42.595" v="103297"/>
          <ac:spMkLst>
            <pc:docMk/>
            <pc:sldMk cId="789548521" sldId="2147478568"/>
            <ac:spMk id="676" creationId="{9A274B2E-5070-A544-98FA-441DEE9E41ED}"/>
          </ac:spMkLst>
        </pc:spChg>
        <pc:spChg chg="add del mod">
          <ac:chgData name="Steiner Andreas 6206 ED" userId="e6377c33-a923-4f14-8587-531c474c7b48" providerId="ADAL" clId="{6ECD27E6-B224-41CD-B4E0-E297462320DD}" dt="2023-11-24T08:54:44.843" v="103452"/>
          <ac:spMkLst>
            <pc:docMk/>
            <pc:sldMk cId="789548521" sldId="2147478568"/>
            <ac:spMk id="677" creationId="{83400F4D-D3DA-22D1-350B-D2735A62EBAF}"/>
          </ac:spMkLst>
        </pc:spChg>
        <pc:spChg chg="add del mod">
          <ac:chgData name="Steiner Andreas 6206 ED" userId="e6377c33-a923-4f14-8587-531c474c7b48" providerId="ADAL" clId="{6ECD27E6-B224-41CD-B4E0-E297462320DD}" dt="2023-11-24T08:54:47.074" v="103607"/>
          <ac:spMkLst>
            <pc:docMk/>
            <pc:sldMk cId="789548521" sldId="2147478568"/>
            <ac:spMk id="678" creationId="{7FFB42D3-9E29-7B55-2A33-8482B08A00A5}"/>
          </ac:spMkLst>
        </pc:spChg>
        <pc:spChg chg="add del mod">
          <ac:chgData name="Steiner Andreas 6206 ED" userId="e6377c33-a923-4f14-8587-531c474c7b48" providerId="ADAL" clId="{6ECD27E6-B224-41CD-B4E0-E297462320DD}" dt="2023-11-24T08:54:49.211" v="103762"/>
          <ac:spMkLst>
            <pc:docMk/>
            <pc:sldMk cId="789548521" sldId="2147478568"/>
            <ac:spMk id="679" creationId="{C249130D-F4F8-0599-837C-185A6B292E6A}"/>
          </ac:spMkLst>
        </pc:spChg>
        <pc:spChg chg="add del mod">
          <ac:chgData name="Steiner Andreas 6206 ED" userId="e6377c33-a923-4f14-8587-531c474c7b48" providerId="ADAL" clId="{6ECD27E6-B224-41CD-B4E0-E297462320DD}" dt="2023-11-24T08:54:51.552" v="103917"/>
          <ac:spMkLst>
            <pc:docMk/>
            <pc:sldMk cId="789548521" sldId="2147478568"/>
            <ac:spMk id="680" creationId="{B792574D-3F96-064C-47CC-F43494690168}"/>
          </ac:spMkLst>
        </pc:spChg>
        <pc:spChg chg="add del mod">
          <ac:chgData name="Steiner Andreas 6206 ED" userId="e6377c33-a923-4f14-8587-531c474c7b48" providerId="ADAL" clId="{6ECD27E6-B224-41CD-B4E0-E297462320DD}" dt="2023-11-24T08:54:53.620" v="104072"/>
          <ac:spMkLst>
            <pc:docMk/>
            <pc:sldMk cId="789548521" sldId="2147478568"/>
            <ac:spMk id="681" creationId="{63EEE3DF-5C4D-8E68-171D-3AE6BFBF6C2E}"/>
          </ac:spMkLst>
        </pc:spChg>
        <pc:spChg chg="add del mod">
          <ac:chgData name="Steiner Andreas 6206 ED" userId="e6377c33-a923-4f14-8587-531c474c7b48" providerId="ADAL" clId="{6ECD27E6-B224-41CD-B4E0-E297462320DD}" dt="2023-11-24T08:54:55.771" v="104227"/>
          <ac:spMkLst>
            <pc:docMk/>
            <pc:sldMk cId="789548521" sldId="2147478568"/>
            <ac:spMk id="682" creationId="{E0F8F82D-CC2F-4280-0D27-8E8AA487E45B}"/>
          </ac:spMkLst>
        </pc:spChg>
        <pc:spChg chg="add del mod">
          <ac:chgData name="Steiner Andreas 6206 ED" userId="e6377c33-a923-4f14-8587-531c474c7b48" providerId="ADAL" clId="{6ECD27E6-B224-41CD-B4E0-E297462320DD}" dt="2023-11-24T08:54:57.811" v="104382"/>
          <ac:spMkLst>
            <pc:docMk/>
            <pc:sldMk cId="789548521" sldId="2147478568"/>
            <ac:spMk id="683" creationId="{525F6451-7F8D-4D7A-7C40-6C703499C80A}"/>
          </ac:spMkLst>
        </pc:spChg>
        <pc:spChg chg="add del mod">
          <ac:chgData name="Steiner Andreas 6206 ED" userId="e6377c33-a923-4f14-8587-531c474c7b48" providerId="ADAL" clId="{6ECD27E6-B224-41CD-B4E0-E297462320DD}" dt="2023-11-24T08:54:59.862" v="104537"/>
          <ac:spMkLst>
            <pc:docMk/>
            <pc:sldMk cId="789548521" sldId="2147478568"/>
            <ac:spMk id="684" creationId="{7F19E1AA-DD9C-F171-555F-07705273F75C}"/>
          </ac:spMkLst>
        </pc:spChg>
        <pc:spChg chg="add del mod">
          <ac:chgData name="Steiner Andreas 6206 ED" userId="e6377c33-a923-4f14-8587-531c474c7b48" providerId="ADAL" clId="{6ECD27E6-B224-41CD-B4E0-E297462320DD}" dt="2023-11-24T08:55:01.802" v="104692"/>
          <ac:spMkLst>
            <pc:docMk/>
            <pc:sldMk cId="789548521" sldId="2147478568"/>
            <ac:spMk id="685" creationId="{29C407DE-75C0-B138-2D39-8E4BF6E3DC48}"/>
          </ac:spMkLst>
        </pc:spChg>
        <pc:spChg chg="add del mod">
          <ac:chgData name="Steiner Andreas 6206 ED" userId="e6377c33-a923-4f14-8587-531c474c7b48" providerId="ADAL" clId="{6ECD27E6-B224-41CD-B4E0-E297462320DD}" dt="2023-11-24T08:55:03.758" v="104847"/>
          <ac:spMkLst>
            <pc:docMk/>
            <pc:sldMk cId="789548521" sldId="2147478568"/>
            <ac:spMk id="686" creationId="{D1521407-1E62-5E72-A69F-20E052C5D7EB}"/>
          </ac:spMkLst>
        </pc:spChg>
        <pc:spChg chg="add del mod">
          <ac:chgData name="Steiner Andreas 6206 ED" userId="e6377c33-a923-4f14-8587-531c474c7b48" providerId="ADAL" clId="{6ECD27E6-B224-41CD-B4E0-E297462320DD}" dt="2023-11-24T08:55:05.858" v="105002"/>
          <ac:spMkLst>
            <pc:docMk/>
            <pc:sldMk cId="789548521" sldId="2147478568"/>
            <ac:spMk id="687" creationId="{1F012F32-2F25-F691-0F67-7B625A8FD9C2}"/>
          </ac:spMkLst>
        </pc:spChg>
        <pc:spChg chg="add del mod">
          <ac:chgData name="Steiner Andreas 6206 ED" userId="e6377c33-a923-4f14-8587-531c474c7b48" providerId="ADAL" clId="{6ECD27E6-B224-41CD-B4E0-E297462320DD}" dt="2023-11-24T08:55:07.993" v="105157"/>
          <ac:spMkLst>
            <pc:docMk/>
            <pc:sldMk cId="789548521" sldId="2147478568"/>
            <ac:spMk id="688" creationId="{77C2B586-3E74-6BD3-7EEF-BD42D3057040}"/>
          </ac:spMkLst>
        </pc:spChg>
        <pc:spChg chg="add del mod">
          <ac:chgData name="Steiner Andreas 6206 ED" userId="e6377c33-a923-4f14-8587-531c474c7b48" providerId="ADAL" clId="{6ECD27E6-B224-41CD-B4E0-E297462320DD}" dt="2023-11-24T08:55:09.951" v="105312"/>
          <ac:spMkLst>
            <pc:docMk/>
            <pc:sldMk cId="789548521" sldId="2147478568"/>
            <ac:spMk id="689" creationId="{0487FA1F-4E18-D872-45F1-1246A76685C2}"/>
          </ac:spMkLst>
        </pc:spChg>
        <pc:spChg chg="add del mod">
          <ac:chgData name="Steiner Andreas 6206 ED" userId="e6377c33-a923-4f14-8587-531c474c7b48" providerId="ADAL" clId="{6ECD27E6-B224-41CD-B4E0-E297462320DD}" dt="2023-11-24T08:55:11.946" v="105467"/>
          <ac:spMkLst>
            <pc:docMk/>
            <pc:sldMk cId="789548521" sldId="2147478568"/>
            <ac:spMk id="690" creationId="{0ACD1AF1-EBC9-6BFC-4ECB-CF606809600D}"/>
          </ac:spMkLst>
        </pc:spChg>
        <pc:spChg chg="add del mod">
          <ac:chgData name="Steiner Andreas 6206 ED" userId="e6377c33-a923-4f14-8587-531c474c7b48" providerId="ADAL" clId="{6ECD27E6-B224-41CD-B4E0-E297462320DD}" dt="2023-11-24T08:55:13.994" v="105622"/>
          <ac:spMkLst>
            <pc:docMk/>
            <pc:sldMk cId="789548521" sldId="2147478568"/>
            <ac:spMk id="691" creationId="{0B02ECE0-EE9F-FD45-12EF-1575230A7D82}"/>
          </ac:spMkLst>
        </pc:spChg>
        <pc:spChg chg="add del mod">
          <ac:chgData name="Steiner Andreas 6206 ED" userId="e6377c33-a923-4f14-8587-531c474c7b48" providerId="ADAL" clId="{6ECD27E6-B224-41CD-B4E0-E297462320DD}" dt="2023-11-24T08:55:16.072" v="105777"/>
          <ac:spMkLst>
            <pc:docMk/>
            <pc:sldMk cId="789548521" sldId="2147478568"/>
            <ac:spMk id="692" creationId="{AD785F60-C254-F9EF-B2AE-413BB2A0A894}"/>
          </ac:spMkLst>
        </pc:spChg>
        <pc:spChg chg="add del mod">
          <ac:chgData name="Steiner Andreas 6206 ED" userId="e6377c33-a923-4f14-8587-531c474c7b48" providerId="ADAL" clId="{6ECD27E6-B224-41CD-B4E0-E297462320DD}" dt="2023-11-24T08:55:18.132" v="105932"/>
          <ac:spMkLst>
            <pc:docMk/>
            <pc:sldMk cId="789548521" sldId="2147478568"/>
            <ac:spMk id="693" creationId="{9CFDF8C1-6646-5171-7B1C-468B95853045}"/>
          </ac:spMkLst>
        </pc:spChg>
        <pc:spChg chg="add del mod">
          <ac:chgData name="Steiner Andreas 6206 ED" userId="e6377c33-a923-4f14-8587-531c474c7b48" providerId="ADAL" clId="{6ECD27E6-B224-41CD-B4E0-E297462320DD}" dt="2023-11-24T08:55:20.152" v="106087"/>
          <ac:spMkLst>
            <pc:docMk/>
            <pc:sldMk cId="789548521" sldId="2147478568"/>
            <ac:spMk id="694" creationId="{0788CDE9-AC59-CC41-A9EA-3B8DB64C4C84}"/>
          </ac:spMkLst>
        </pc:spChg>
        <pc:spChg chg="add del mod">
          <ac:chgData name="Steiner Andreas 6206 ED" userId="e6377c33-a923-4f14-8587-531c474c7b48" providerId="ADAL" clId="{6ECD27E6-B224-41CD-B4E0-E297462320DD}" dt="2023-11-24T08:55:22.082" v="106242"/>
          <ac:spMkLst>
            <pc:docMk/>
            <pc:sldMk cId="789548521" sldId="2147478568"/>
            <ac:spMk id="695" creationId="{EB23C7F5-8325-BCA3-193D-F9D58E64CB32}"/>
          </ac:spMkLst>
        </pc:spChg>
        <pc:spChg chg="add del mod">
          <ac:chgData name="Steiner Andreas 6206 ED" userId="e6377c33-a923-4f14-8587-531c474c7b48" providerId="ADAL" clId="{6ECD27E6-B224-41CD-B4E0-E297462320DD}" dt="2023-11-24T08:55:24.080" v="106397"/>
          <ac:spMkLst>
            <pc:docMk/>
            <pc:sldMk cId="789548521" sldId="2147478568"/>
            <ac:spMk id="696" creationId="{8698F8D2-6527-CEAF-A12D-F15D4E51DDCC}"/>
          </ac:spMkLst>
        </pc:spChg>
        <pc:spChg chg="add del mod">
          <ac:chgData name="Steiner Andreas 6206 ED" userId="e6377c33-a923-4f14-8587-531c474c7b48" providerId="ADAL" clId="{6ECD27E6-B224-41CD-B4E0-E297462320DD}" dt="2023-11-24T08:55:26.042" v="106552"/>
          <ac:spMkLst>
            <pc:docMk/>
            <pc:sldMk cId="789548521" sldId="2147478568"/>
            <ac:spMk id="697" creationId="{28D93031-3864-4D98-5863-8348D013FFC8}"/>
          </ac:spMkLst>
        </pc:spChg>
        <pc:spChg chg="add del mod">
          <ac:chgData name="Steiner Andreas 6206 ED" userId="e6377c33-a923-4f14-8587-531c474c7b48" providerId="ADAL" clId="{6ECD27E6-B224-41CD-B4E0-E297462320DD}" dt="2023-11-24T08:55:28.215" v="106707"/>
          <ac:spMkLst>
            <pc:docMk/>
            <pc:sldMk cId="789548521" sldId="2147478568"/>
            <ac:spMk id="698" creationId="{411D993A-ABF6-1B9C-9E27-3ECAA5831F60}"/>
          </ac:spMkLst>
        </pc:spChg>
        <pc:spChg chg="add del mod">
          <ac:chgData name="Steiner Andreas 6206 ED" userId="e6377c33-a923-4f14-8587-531c474c7b48" providerId="ADAL" clId="{6ECD27E6-B224-41CD-B4E0-E297462320DD}" dt="2023-11-24T08:55:30.191" v="106862"/>
          <ac:spMkLst>
            <pc:docMk/>
            <pc:sldMk cId="789548521" sldId="2147478568"/>
            <ac:spMk id="699" creationId="{E37E55AC-77C6-080E-14C7-A90F126DE0FC}"/>
          </ac:spMkLst>
        </pc:spChg>
        <pc:spChg chg="add del mod">
          <ac:chgData name="Steiner Andreas 6206 ED" userId="e6377c33-a923-4f14-8587-531c474c7b48" providerId="ADAL" clId="{6ECD27E6-B224-41CD-B4E0-E297462320DD}" dt="2023-11-24T08:55:32.370" v="107017"/>
          <ac:spMkLst>
            <pc:docMk/>
            <pc:sldMk cId="789548521" sldId="2147478568"/>
            <ac:spMk id="700" creationId="{BDD7CCBD-3C39-C0E5-A803-D3B20813DF4F}"/>
          </ac:spMkLst>
        </pc:spChg>
        <pc:spChg chg="add del mod">
          <ac:chgData name="Steiner Andreas 6206 ED" userId="e6377c33-a923-4f14-8587-531c474c7b48" providerId="ADAL" clId="{6ECD27E6-B224-41CD-B4E0-E297462320DD}" dt="2023-11-24T08:55:34.278" v="107172"/>
          <ac:spMkLst>
            <pc:docMk/>
            <pc:sldMk cId="789548521" sldId="2147478568"/>
            <ac:spMk id="701" creationId="{EF732E13-55C3-BCDB-9070-959326CA3362}"/>
          </ac:spMkLst>
        </pc:spChg>
        <pc:spChg chg="add del mod">
          <ac:chgData name="Steiner Andreas 6206 ED" userId="e6377c33-a923-4f14-8587-531c474c7b48" providerId="ADAL" clId="{6ECD27E6-B224-41CD-B4E0-E297462320DD}" dt="2023-11-24T08:55:36.208" v="107327"/>
          <ac:spMkLst>
            <pc:docMk/>
            <pc:sldMk cId="789548521" sldId="2147478568"/>
            <ac:spMk id="702" creationId="{918791F1-58DE-3D2A-35C6-87482DE44E70}"/>
          </ac:spMkLst>
        </pc:spChg>
        <pc:spChg chg="add del mod">
          <ac:chgData name="Steiner Andreas 6206 ED" userId="e6377c33-a923-4f14-8587-531c474c7b48" providerId="ADAL" clId="{6ECD27E6-B224-41CD-B4E0-E297462320DD}" dt="2023-11-24T08:55:38.226" v="107482"/>
          <ac:spMkLst>
            <pc:docMk/>
            <pc:sldMk cId="789548521" sldId="2147478568"/>
            <ac:spMk id="703" creationId="{1C06F4AF-F55A-90C0-2815-E29F8EF246F0}"/>
          </ac:spMkLst>
        </pc:spChg>
        <pc:spChg chg="add del mod">
          <ac:chgData name="Steiner Andreas 6206 ED" userId="e6377c33-a923-4f14-8587-531c474c7b48" providerId="ADAL" clId="{6ECD27E6-B224-41CD-B4E0-E297462320DD}" dt="2023-11-24T08:55:40.264" v="107637"/>
          <ac:spMkLst>
            <pc:docMk/>
            <pc:sldMk cId="789548521" sldId="2147478568"/>
            <ac:spMk id="704" creationId="{11A4C5AD-241D-115F-99CF-281D3CF71625}"/>
          </ac:spMkLst>
        </pc:spChg>
        <pc:spChg chg="add del mod">
          <ac:chgData name="Steiner Andreas 6206 ED" userId="e6377c33-a923-4f14-8587-531c474c7b48" providerId="ADAL" clId="{6ECD27E6-B224-41CD-B4E0-E297462320DD}" dt="2023-11-24T08:55:42.181" v="107792"/>
          <ac:spMkLst>
            <pc:docMk/>
            <pc:sldMk cId="789548521" sldId="2147478568"/>
            <ac:spMk id="705" creationId="{E764061F-B9C6-FD7F-0D4C-5CA332B3EFDA}"/>
          </ac:spMkLst>
        </pc:spChg>
        <pc:spChg chg="add del mod">
          <ac:chgData name="Steiner Andreas 6206 ED" userId="e6377c33-a923-4f14-8587-531c474c7b48" providerId="ADAL" clId="{6ECD27E6-B224-41CD-B4E0-E297462320DD}" dt="2023-11-24T08:55:44.158" v="107947"/>
          <ac:spMkLst>
            <pc:docMk/>
            <pc:sldMk cId="789548521" sldId="2147478568"/>
            <ac:spMk id="706" creationId="{D559906A-7482-802C-BC1E-6AD94735EE2F}"/>
          </ac:spMkLst>
        </pc:spChg>
        <pc:spChg chg="add del mod">
          <ac:chgData name="Steiner Andreas 6206 ED" userId="e6377c33-a923-4f14-8587-531c474c7b48" providerId="ADAL" clId="{6ECD27E6-B224-41CD-B4E0-E297462320DD}" dt="2023-11-24T08:55:46.382" v="108102"/>
          <ac:spMkLst>
            <pc:docMk/>
            <pc:sldMk cId="789548521" sldId="2147478568"/>
            <ac:spMk id="707" creationId="{E393DC53-A0E3-BB98-14C1-F586C113607E}"/>
          </ac:spMkLst>
        </pc:spChg>
        <pc:spChg chg="add del mod">
          <ac:chgData name="Steiner Andreas 6206 ED" userId="e6377c33-a923-4f14-8587-531c474c7b48" providerId="ADAL" clId="{6ECD27E6-B224-41CD-B4E0-E297462320DD}" dt="2023-11-24T08:55:48.623" v="108257"/>
          <ac:spMkLst>
            <pc:docMk/>
            <pc:sldMk cId="789548521" sldId="2147478568"/>
            <ac:spMk id="708" creationId="{F12459F9-9EDA-5654-8BC1-025351B3BAB8}"/>
          </ac:spMkLst>
        </pc:spChg>
        <pc:spChg chg="add del mod">
          <ac:chgData name="Steiner Andreas 6206 ED" userId="e6377c33-a923-4f14-8587-531c474c7b48" providerId="ADAL" clId="{6ECD27E6-B224-41CD-B4E0-E297462320DD}" dt="2023-11-24T08:55:51.070" v="108412"/>
          <ac:spMkLst>
            <pc:docMk/>
            <pc:sldMk cId="789548521" sldId="2147478568"/>
            <ac:spMk id="709" creationId="{B4B5DC50-6346-3174-1C03-6F2B7E583AAE}"/>
          </ac:spMkLst>
        </pc:spChg>
        <pc:spChg chg="add del mod">
          <ac:chgData name="Steiner Andreas 6206 ED" userId="e6377c33-a923-4f14-8587-531c474c7b48" providerId="ADAL" clId="{6ECD27E6-B224-41CD-B4E0-E297462320DD}" dt="2023-11-24T08:55:53.097" v="108567"/>
          <ac:spMkLst>
            <pc:docMk/>
            <pc:sldMk cId="789548521" sldId="2147478568"/>
            <ac:spMk id="710" creationId="{23BD5729-525A-1B88-6DDE-2B1EE8A40A0F}"/>
          </ac:spMkLst>
        </pc:spChg>
        <pc:spChg chg="add del mod">
          <ac:chgData name="Steiner Andreas 6206 ED" userId="e6377c33-a923-4f14-8587-531c474c7b48" providerId="ADAL" clId="{6ECD27E6-B224-41CD-B4E0-E297462320DD}" dt="2023-11-24T08:55:55.280" v="108722"/>
          <ac:spMkLst>
            <pc:docMk/>
            <pc:sldMk cId="789548521" sldId="2147478568"/>
            <ac:spMk id="711" creationId="{F6ACBFB0-1E13-EBAF-150E-7C4EE0D3794A}"/>
          </ac:spMkLst>
        </pc:spChg>
        <pc:spChg chg="add del mod">
          <ac:chgData name="Steiner Andreas 6206 ED" userId="e6377c33-a923-4f14-8587-531c474c7b48" providerId="ADAL" clId="{6ECD27E6-B224-41CD-B4E0-E297462320DD}" dt="2023-11-24T08:55:57.285" v="108877"/>
          <ac:spMkLst>
            <pc:docMk/>
            <pc:sldMk cId="789548521" sldId="2147478568"/>
            <ac:spMk id="712" creationId="{A69FEBBD-E942-A13F-A613-5B5FC75E3E8E}"/>
          </ac:spMkLst>
        </pc:spChg>
        <pc:spChg chg="add del mod">
          <ac:chgData name="Steiner Andreas 6206 ED" userId="e6377c33-a923-4f14-8587-531c474c7b48" providerId="ADAL" clId="{6ECD27E6-B224-41CD-B4E0-E297462320DD}" dt="2023-11-24T08:55:59.383" v="109032"/>
          <ac:spMkLst>
            <pc:docMk/>
            <pc:sldMk cId="789548521" sldId="2147478568"/>
            <ac:spMk id="713" creationId="{5416AFD7-E9E9-A0DF-3AFF-F3AE35929A0C}"/>
          </ac:spMkLst>
        </pc:spChg>
        <pc:spChg chg="add del mod">
          <ac:chgData name="Steiner Andreas 6206 ED" userId="e6377c33-a923-4f14-8587-531c474c7b48" providerId="ADAL" clId="{6ECD27E6-B224-41CD-B4E0-E297462320DD}" dt="2023-11-24T08:56:01.679" v="109187"/>
          <ac:spMkLst>
            <pc:docMk/>
            <pc:sldMk cId="789548521" sldId="2147478568"/>
            <ac:spMk id="714" creationId="{56FC502A-183D-230B-F1F7-720E7D134F5B}"/>
          </ac:spMkLst>
        </pc:spChg>
        <pc:spChg chg="add del mod">
          <ac:chgData name="Steiner Andreas 6206 ED" userId="e6377c33-a923-4f14-8587-531c474c7b48" providerId="ADAL" clId="{6ECD27E6-B224-41CD-B4E0-E297462320DD}" dt="2023-11-24T08:56:03.989" v="109342"/>
          <ac:spMkLst>
            <pc:docMk/>
            <pc:sldMk cId="789548521" sldId="2147478568"/>
            <ac:spMk id="715" creationId="{4B87798A-7D1E-D237-1798-E422B707EC41}"/>
          </ac:spMkLst>
        </pc:spChg>
        <pc:spChg chg="add del mod">
          <ac:chgData name="Steiner Andreas 6206 ED" userId="e6377c33-a923-4f14-8587-531c474c7b48" providerId="ADAL" clId="{6ECD27E6-B224-41CD-B4E0-E297462320DD}" dt="2023-11-24T08:56:06.257" v="109497"/>
          <ac:spMkLst>
            <pc:docMk/>
            <pc:sldMk cId="789548521" sldId="2147478568"/>
            <ac:spMk id="716" creationId="{626D7A35-FAD2-81B4-378E-17196A0B7BC8}"/>
          </ac:spMkLst>
        </pc:spChg>
        <pc:spChg chg="add del mod">
          <ac:chgData name="Steiner Andreas 6206 ED" userId="e6377c33-a923-4f14-8587-531c474c7b48" providerId="ADAL" clId="{6ECD27E6-B224-41CD-B4E0-E297462320DD}" dt="2023-11-24T08:56:08.586" v="109652"/>
          <ac:spMkLst>
            <pc:docMk/>
            <pc:sldMk cId="789548521" sldId="2147478568"/>
            <ac:spMk id="717" creationId="{76969D88-4A4C-C4F6-D044-6648BFBDE380}"/>
          </ac:spMkLst>
        </pc:spChg>
        <pc:spChg chg="add del mod">
          <ac:chgData name="Steiner Andreas 6206 ED" userId="e6377c33-a923-4f14-8587-531c474c7b48" providerId="ADAL" clId="{6ECD27E6-B224-41CD-B4E0-E297462320DD}" dt="2023-11-24T08:56:10.625" v="109807"/>
          <ac:spMkLst>
            <pc:docMk/>
            <pc:sldMk cId="789548521" sldId="2147478568"/>
            <ac:spMk id="718" creationId="{30A1EACD-CBD4-44D3-017E-F6E25CD78A63}"/>
          </ac:spMkLst>
        </pc:spChg>
        <pc:spChg chg="add del mod">
          <ac:chgData name="Steiner Andreas 6206 ED" userId="e6377c33-a923-4f14-8587-531c474c7b48" providerId="ADAL" clId="{6ECD27E6-B224-41CD-B4E0-E297462320DD}" dt="2023-11-24T08:56:12.725" v="109962"/>
          <ac:spMkLst>
            <pc:docMk/>
            <pc:sldMk cId="789548521" sldId="2147478568"/>
            <ac:spMk id="719" creationId="{D0F4E4EF-A45B-ACBD-5A22-0FF19F700358}"/>
          </ac:spMkLst>
        </pc:spChg>
        <pc:spChg chg="add del mod">
          <ac:chgData name="Steiner Andreas 6206 ED" userId="e6377c33-a923-4f14-8587-531c474c7b48" providerId="ADAL" clId="{6ECD27E6-B224-41CD-B4E0-E297462320DD}" dt="2023-11-24T08:56:14.871" v="110117"/>
          <ac:spMkLst>
            <pc:docMk/>
            <pc:sldMk cId="789548521" sldId="2147478568"/>
            <ac:spMk id="720" creationId="{211DC744-71CF-E0ED-637F-93428ED8EB3B}"/>
          </ac:spMkLst>
        </pc:spChg>
        <pc:spChg chg="add del mod">
          <ac:chgData name="Steiner Andreas 6206 ED" userId="e6377c33-a923-4f14-8587-531c474c7b48" providerId="ADAL" clId="{6ECD27E6-B224-41CD-B4E0-E297462320DD}" dt="2023-11-24T08:56:16.853" v="110272"/>
          <ac:spMkLst>
            <pc:docMk/>
            <pc:sldMk cId="789548521" sldId="2147478568"/>
            <ac:spMk id="721" creationId="{733531A3-4304-F375-2199-9A8F7A8757B9}"/>
          </ac:spMkLst>
        </pc:spChg>
        <pc:spChg chg="add del mod">
          <ac:chgData name="Steiner Andreas 6206 ED" userId="e6377c33-a923-4f14-8587-531c474c7b48" providerId="ADAL" clId="{6ECD27E6-B224-41CD-B4E0-E297462320DD}" dt="2023-11-24T08:56:18.842" v="110427"/>
          <ac:spMkLst>
            <pc:docMk/>
            <pc:sldMk cId="789548521" sldId="2147478568"/>
            <ac:spMk id="722" creationId="{75416FB2-3664-A657-450B-9907299561FB}"/>
          </ac:spMkLst>
        </pc:spChg>
        <pc:spChg chg="add del mod">
          <ac:chgData name="Steiner Andreas 6206 ED" userId="e6377c33-a923-4f14-8587-531c474c7b48" providerId="ADAL" clId="{6ECD27E6-B224-41CD-B4E0-E297462320DD}" dt="2023-11-24T08:56:20.785" v="110582"/>
          <ac:spMkLst>
            <pc:docMk/>
            <pc:sldMk cId="789548521" sldId="2147478568"/>
            <ac:spMk id="723" creationId="{BA7DEAF9-1E38-BCF1-6955-8FFDCDDD3DB0}"/>
          </ac:spMkLst>
        </pc:spChg>
        <pc:spChg chg="add del mod">
          <ac:chgData name="Steiner Andreas 6206 ED" userId="e6377c33-a923-4f14-8587-531c474c7b48" providerId="ADAL" clId="{6ECD27E6-B224-41CD-B4E0-E297462320DD}" dt="2023-11-24T08:56:22.879" v="110737"/>
          <ac:spMkLst>
            <pc:docMk/>
            <pc:sldMk cId="789548521" sldId="2147478568"/>
            <ac:spMk id="724" creationId="{73BE5AFB-86C1-39ED-635F-8F4EFA391A71}"/>
          </ac:spMkLst>
        </pc:spChg>
        <pc:spChg chg="add del mod">
          <ac:chgData name="Steiner Andreas 6206 ED" userId="e6377c33-a923-4f14-8587-531c474c7b48" providerId="ADAL" clId="{6ECD27E6-B224-41CD-B4E0-E297462320DD}" dt="2023-11-24T08:56:25.112" v="110892"/>
          <ac:spMkLst>
            <pc:docMk/>
            <pc:sldMk cId="789548521" sldId="2147478568"/>
            <ac:spMk id="725" creationId="{285114E5-C45F-A399-CF82-A23FD5845041}"/>
          </ac:spMkLst>
        </pc:spChg>
        <pc:spChg chg="add del mod">
          <ac:chgData name="Steiner Andreas 6206 ED" userId="e6377c33-a923-4f14-8587-531c474c7b48" providerId="ADAL" clId="{6ECD27E6-B224-41CD-B4E0-E297462320DD}" dt="2023-11-24T08:56:27.140" v="111047"/>
          <ac:spMkLst>
            <pc:docMk/>
            <pc:sldMk cId="789548521" sldId="2147478568"/>
            <ac:spMk id="726" creationId="{0F02976A-E838-2FD7-6F33-A95FC0A25FB6}"/>
          </ac:spMkLst>
        </pc:spChg>
        <pc:spChg chg="add del mod">
          <ac:chgData name="Steiner Andreas 6206 ED" userId="e6377c33-a923-4f14-8587-531c474c7b48" providerId="ADAL" clId="{6ECD27E6-B224-41CD-B4E0-E297462320DD}" dt="2023-11-24T08:56:29.155" v="111202"/>
          <ac:spMkLst>
            <pc:docMk/>
            <pc:sldMk cId="789548521" sldId="2147478568"/>
            <ac:spMk id="727" creationId="{8FCCDF64-66DD-AF0C-7CD3-E98BDDE68FD7}"/>
          </ac:spMkLst>
        </pc:spChg>
        <pc:spChg chg="add del mod">
          <ac:chgData name="Steiner Andreas 6206 ED" userId="e6377c33-a923-4f14-8587-531c474c7b48" providerId="ADAL" clId="{6ECD27E6-B224-41CD-B4E0-E297462320DD}" dt="2023-11-24T08:56:31.271" v="111357"/>
          <ac:spMkLst>
            <pc:docMk/>
            <pc:sldMk cId="789548521" sldId="2147478568"/>
            <ac:spMk id="728" creationId="{1598EAC8-71B5-D778-9D00-CC8B431D1670}"/>
          </ac:spMkLst>
        </pc:spChg>
        <pc:spChg chg="add del mod">
          <ac:chgData name="Steiner Andreas 6206 ED" userId="e6377c33-a923-4f14-8587-531c474c7b48" providerId="ADAL" clId="{6ECD27E6-B224-41CD-B4E0-E297462320DD}" dt="2023-11-24T08:56:33.480" v="111512"/>
          <ac:spMkLst>
            <pc:docMk/>
            <pc:sldMk cId="789548521" sldId="2147478568"/>
            <ac:spMk id="729" creationId="{DD3177EF-4D44-FADC-4A44-8D5648D09B54}"/>
          </ac:spMkLst>
        </pc:spChg>
        <pc:spChg chg="add del mod">
          <ac:chgData name="Steiner Andreas 6206 ED" userId="e6377c33-a923-4f14-8587-531c474c7b48" providerId="ADAL" clId="{6ECD27E6-B224-41CD-B4E0-E297462320DD}" dt="2023-11-24T08:56:35.657" v="111667"/>
          <ac:spMkLst>
            <pc:docMk/>
            <pc:sldMk cId="789548521" sldId="2147478568"/>
            <ac:spMk id="730" creationId="{523773F3-6BB3-F917-43B0-D9E2A77FF33E}"/>
          </ac:spMkLst>
        </pc:spChg>
        <pc:spChg chg="add del mod">
          <ac:chgData name="Steiner Andreas 6206 ED" userId="e6377c33-a923-4f14-8587-531c474c7b48" providerId="ADAL" clId="{6ECD27E6-B224-41CD-B4E0-E297462320DD}" dt="2023-11-24T08:56:37.750" v="111822"/>
          <ac:spMkLst>
            <pc:docMk/>
            <pc:sldMk cId="789548521" sldId="2147478568"/>
            <ac:spMk id="731" creationId="{EAF6E122-A2E3-79DA-E60B-B3A228278CB9}"/>
          </ac:spMkLst>
        </pc:spChg>
        <pc:spChg chg="add del mod">
          <ac:chgData name="Steiner Andreas 6206 ED" userId="e6377c33-a923-4f14-8587-531c474c7b48" providerId="ADAL" clId="{6ECD27E6-B224-41CD-B4E0-E297462320DD}" dt="2023-11-24T08:56:39.907" v="111977"/>
          <ac:spMkLst>
            <pc:docMk/>
            <pc:sldMk cId="789548521" sldId="2147478568"/>
            <ac:spMk id="732" creationId="{2F71C596-157B-1E26-9B39-C90289E9C08B}"/>
          </ac:spMkLst>
        </pc:spChg>
        <pc:spChg chg="add del mod">
          <ac:chgData name="Steiner Andreas 6206 ED" userId="e6377c33-a923-4f14-8587-531c474c7b48" providerId="ADAL" clId="{6ECD27E6-B224-41CD-B4E0-E297462320DD}" dt="2023-11-24T08:56:41.863" v="112132"/>
          <ac:spMkLst>
            <pc:docMk/>
            <pc:sldMk cId="789548521" sldId="2147478568"/>
            <ac:spMk id="733" creationId="{DAC57FE0-02A4-EF06-2FE5-AFBEA8E6DB98}"/>
          </ac:spMkLst>
        </pc:spChg>
        <pc:spChg chg="add del mod">
          <ac:chgData name="Steiner Andreas 6206 ED" userId="e6377c33-a923-4f14-8587-531c474c7b48" providerId="ADAL" clId="{6ECD27E6-B224-41CD-B4E0-E297462320DD}" dt="2023-11-24T08:56:43.848" v="112287"/>
          <ac:spMkLst>
            <pc:docMk/>
            <pc:sldMk cId="789548521" sldId="2147478568"/>
            <ac:spMk id="734" creationId="{C40349D2-EB81-84CD-565B-F0E1E842D0CC}"/>
          </ac:spMkLst>
        </pc:spChg>
        <pc:spChg chg="add del mod">
          <ac:chgData name="Steiner Andreas 6206 ED" userId="e6377c33-a923-4f14-8587-531c474c7b48" providerId="ADAL" clId="{6ECD27E6-B224-41CD-B4E0-E297462320DD}" dt="2023-11-24T08:56:45.889" v="112442"/>
          <ac:spMkLst>
            <pc:docMk/>
            <pc:sldMk cId="789548521" sldId="2147478568"/>
            <ac:spMk id="735" creationId="{C48C75D3-B7C2-2089-B3B2-E339258E38F5}"/>
          </ac:spMkLst>
        </pc:spChg>
        <pc:spChg chg="add del mod">
          <ac:chgData name="Steiner Andreas 6206 ED" userId="e6377c33-a923-4f14-8587-531c474c7b48" providerId="ADAL" clId="{6ECD27E6-B224-41CD-B4E0-E297462320DD}" dt="2023-11-24T08:56:48.103" v="112597"/>
          <ac:spMkLst>
            <pc:docMk/>
            <pc:sldMk cId="789548521" sldId="2147478568"/>
            <ac:spMk id="736" creationId="{3524E42E-29B6-20FA-B162-ACE2DEBCC471}"/>
          </ac:spMkLst>
        </pc:spChg>
        <pc:spChg chg="add del mod">
          <ac:chgData name="Steiner Andreas 6206 ED" userId="e6377c33-a923-4f14-8587-531c474c7b48" providerId="ADAL" clId="{6ECD27E6-B224-41CD-B4E0-E297462320DD}" dt="2023-11-24T08:56:50.153" v="112752"/>
          <ac:spMkLst>
            <pc:docMk/>
            <pc:sldMk cId="789548521" sldId="2147478568"/>
            <ac:spMk id="737" creationId="{DBC1F595-AF64-3185-CAA4-1589C6F5E912}"/>
          </ac:spMkLst>
        </pc:spChg>
        <pc:spChg chg="add del mod">
          <ac:chgData name="Steiner Andreas 6206 ED" userId="e6377c33-a923-4f14-8587-531c474c7b48" providerId="ADAL" clId="{6ECD27E6-B224-41CD-B4E0-E297462320DD}" dt="2023-11-24T08:56:52.085" v="112907"/>
          <ac:spMkLst>
            <pc:docMk/>
            <pc:sldMk cId="789548521" sldId="2147478568"/>
            <ac:spMk id="738" creationId="{A983589E-B953-F865-9668-14CB1CC3DC7C}"/>
          </ac:spMkLst>
        </pc:spChg>
        <pc:spChg chg="add del mod">
          <ac:chgData name="Steiner Andreas 6206 ED" userId="e6377c33-a923-4f14-8587-531c474c7b48" providerId="ADAL" clId="{6ECD27E6-B224-41CD-B4E0-E297462320DD}" dt="2023-11-24T08:56:54.039" v="113062"/>
          <ac:spMkLst>
            <pc:docMk/>
            <pc:sldMk cId="789548521" sldId="2147478568"/>
            <ac:spMk id="739" creationId="{652B2090-EBFB-F12B-DFEC-5A40E5245AC3}"/>
          </ac:spMkLst>
        </pc:spChg>
        <pc:spChg chg="add del mod">
          <ac:chgData name="Steiner Andreas 6206 ED" userId="e6377c33-a923-4f14-8587-531c474c7b48" providerId="ADAL" clId="{6ECD27E6-B224-41CD-B4E0-E297462320DD}" dt="2023-11-24T08:56:56.173" v="113217"/>
          <ac:spMkLst>
            <pc:docMk/>
            <pc:sldMk cId="789548521" sldId="2147478568"/>
            <ac:spMk id="740" creationId="{7DA75C7E-2287-F91B-F0DC-C51A1CC7D34F}"/>
          </ac:spMkLst>
        </pc:spChg>
        <pc:spChg chg="add del mod">
          <ac:chgData name="Steiner Andreas 6206 ED" userId="e6377c33-a923-4f14-8587-531c474c7b48" providerId="ADAL" clId="{6ECD27E6-B224-41CD-B4E0-E297462320DD}" dt="2023-11-24T08:56:58.237" v="113372"/>
          <ac:spMkLst>
            <pc:docMk/>
            <pc:sldMk cId="789548521" sldId="2147478568"/>
            <ac:spMk id="741" creationId="{4230F8AB-A287-3DC7-182F-4E6D70E1519D}"/>
          </ac:spMkLst>
        </pc:spChg>
        <pc:spChg chg="add del mod">
          <ac:chgData name="Steiner Andreas 6206 ED" userId="e6377c33-a923-4f14-8587-531c474c7b48" providerId="ADAL" clId="{6ECD27E6-B224-41CD-B4E0-E297462320DD}" dt="2023-11-24T08:57:00.587" v="113527"/>
          <ac:spMkLst>
            <pc:docMk/>
            <pc:sldMk cId="789548521" sldId="2147478568"/>
            <ac:spMk id="742" creationId="{CCD34A3B-DC46-A7F1-C192-897DD63D0B86}"/>
          </ac:spMkLst>
        </pc:spChg>
        <pc:spChg chg="add del mod">
          <ac:chgData name="Steiner Andreas 6206 ED" userId="e6377c33-a923-4f14-8587-531c474c7b48" providerId="ADAL" clId="{6ECD27E6-B224-41CD-B4E0-E297462320DD}" dt="2023-11-24T08:57:02.819" v="113682"/>
          <ac:spMkLst>
            <pc:docMk/>
            <pc:sldMk cId="789548521" sldId="2147478568"/>
            <ac:spMk id="743" creationId="{8A28095A-2743-7E24-4D80-9894E7782EC3}"/>
          </ac:spMkLst>
        </pc:spChg>
        <pc:spChg chg="add del mod">
          <ac:chgData name="Steiner Andreas 6206 ED" userId="e6377c33-a923-4f14-8587-531c474c7b48" providerId="ADAL" clId="{6ECD27E6-B224-41CD-B4E0-E297462320DD}" dt="2023-11-24T09:02:21.398" v="113837"/>
          <ac:spMkLst>
            <pc:docMk/>
            <pc:sldMk cId="789548521" sldId="2147478568"/>
            <ac:spMk id="744" creationId="{257E1868-A6D4-79F2-5E2A-E8A7671DFF36}"/>
          </ac:spMkLst>
        </pc:spChg>
        <pc:spChg chg="add del mod">
          <ac:chgData name="Steiner Andreas 6206 ED" userId="e6377c33-a923-4f14-8587-531c474c7b48" providerId="ADAL" clId="{6ECD27E6-B224-41CD-B4E0-E297462320DD}" dt="2023-11-24T09:02:27.269" v="113992"/>
          <ac:spMkLst>
            <pc:docMk/>
            <pc:sldMk cId="789548521" sldId="2147478568"/>
            <ac:spMk id="745" creationId="{C331BF69-4F2B-8CD5-B440-D30277626866}"/>
          </ac:spMkLst>
        </pc:spChg>
        <pc:spChg chg="add del mod">
          <ac:chgData name="Steiner Andreas 6206 ED" userId="e6377c33-a923-4f14-8587-531c474c7b48" providerId="ADAL" clId="{6ECD27E6-B224-41CD-B4E0-E297462320DD}" dt="2023-11-24T09:02:29.753" v="114147"/>
          <ac:spMkLst>
            <pc:docMk/>
            <pc:sldMk cId="789548521" sldId="2147478568"/>
            <ac:spMk id="746" creationId="{6DA8E94F-397A-684C-92C8-5D72BC8FB359}"/>
          </ac:spMkLst>
        </pc:spChg>
        <pc:spChg chg="add del mod">
          <ac:chgData name="Steiner Andreas 6206 ED" userId="e6377c33-a923-4f14-8587-531c474c7b48" providerId="ADAL" clId="{6ECD27E6-B224-41CD-B4E0-E297462320DD}" dt="2023-11-24T09:02:32.942" v="114302"/>
          <ac:spMkLst>
            <pc:docMk/>
            <pc:sldMk cId="789548521" sldId="2147478568"/>
            <ac:spMk id="747" creationId="{21AD4E12-6AFB-5153-7A39-50BD98267DF9}"/>
          </ac:spMkLst>
        </pc:spChg>
        <pc:spChg chg="add del mod">
          <ac:chgData name="Steiner Andreas 6206 ED" userId="e6377c33-a923-4f14-8587-531c474c7b48" providerId="ADAL" clId="{6ECD27E6-B224-41CD-B4E0-E297462320DD}" dt="2023-11-24T09:02:36.433" v="114457"/>
          <ac:spMkLst>
            <pc:docMk/>
            <pc:sldMk cId="789548521" sldId="2147478568"/>
            <ac:spMk id="748" creationId="{DF924C13-AAB0-4F5A-C3DE-CDB13B755F1C}"/>
          </ac:spMkLst>
        </pc:spChg>
        <pc:spChg chg="add del mod">
          <ac:chgData name="Steiner Andreas 6206 ED" userId="e6377c33-a923-4f14-8587-531c474c7b48" providerId="ADAL" clId="{6ECD27E6-B224-41CD-B4E0-E297462320DD}" dt="2023-11-24T11:31:22.240" v="114612"/>
          <ac:spMkLst>
            <pc:docMk/>
            <pc:sldMk cId="789548521" sldId="2147478568"/>
            <ac:spMk id="749" creationId="{5E5762C1-ECD7-0CC7-2D2F-FFBEC4CD7FCF}"/>
          </ac:spMkLst>
        </pc:spChg>
        <pc:spChg chg="add del mod">
          <ac:chgData name="Steiner Andreas 6206 ED" userId="e6377c33-a923-4f14-8587-531c474c7b48" providerId="ADAL" clId="{6ECD27E6-B224-41CD-B4E0-E297462320DD}" dt="2023-11-24T11:33:29.603" v="114767"/>
          <ac:spMkLst>
            <pc:docMk/>
            <pc:sldMk cId="789548521" sldId="2147478568"/>
            <ac:spMk id="750" creationId="{4D30E620-DC88-BF54-6D49-D8D63E172B4C}"/>
          </ac:spMkLst>
        </pc:spChg>
        <pc:spChg chg="add del mod">
          <ac:chgData name="Steiner Andreas 6206 ED" userId="e6377c33-a923-4f14-8587-531c474c7b48" providerId="ADAL" clId="{6ECD27E6-B224-41CD-B4E0-E297462320DD}" dt="2023-11-24T11:33:36.079" v="114922"/>
          <ac:spMkLst>
            <pc:docMk/>
            <pc:sldMk cId="789548521" sldId="2147478568"/>
            <ac:spMk id="751" creationId="{9AB25385-E731-2E6F-F393-8135BDCC28F3}"/>
          </ac:spMkLst>
        </pc:spChg>
        <pc:spChg chg="add del mod">
          <ac:chgData name="Steiner Andreas 6206 ED" userId="e6377c33-a923-4f14-8587-531c474c7b48" providerId="ADAL" clId="{6ECD27E6-B224-41CD-B4E0-E297462320DD}" dt="2023-11-24T11:33:39.159" v="115077"/>
          <ac:spMkLst>
            <pc:docMk/>
            <pc:sldMk cId="789548521" sldId="2147478568"/>
            <ac:spMk id="752" creationId="{5C580C8E-6793-77FA-F76E-E0E1154286B9}"/>
          </ac:spMkLst>
        </pc:spChg>
        <pc:spChg chg="add del mod">
          <ac:chgData name="Steiner Andreas 6206 ED" userId="e6377c33-a923-4f14-8587-531c474c7b48" providerId="ADAL" clId="{6ECD27E6-B224-41CD-B4E0-E297462320DD}" dt="2023-11-24T11:33:42.727" v="115232"/>
          <ac:spMkLst>
            <pc:docMk/>
            <pc:sldMk cId="789548521" sldId="2147478568"/>
            <ac:spMk id="753" creationId="{5B8B2043-B951-F239-BA65-025A369D911C}"/>
          </ac:spMkLst>
        </pc:spChg>
        <pc:spChg chg="add del mod">
          <ac:chgData name="Steiner Andreas 6206 ED" userId="e6377c33-a923-4f14-8587-531c474c7b48" providerId="ADAL" clId="{6ECD27E6-B224-41CD-B4E0-E297462320DD}" dt="2023-11-24T11:33:45.921" v="115387"/>
          <ac:spMkLst>
            <pc:docMk/>
            <pc:sldMk cId="789548521" sldId="2147478568"/>
            <ac:spMk id="754" creationId="{264B2072-F143-5954-0731-224E624B7A6A}"/>
          </ac:spMkLst>
        </pc:spChg>
        <pc:spChg chg="add del mod">
          <ac:chgData name="Steiner Andreas 6206 ED" userId="e6377c33-a923-4f14-8587-531c474c7b48" providerId="ADAL" clId="{6ECD27E6-B224-41CD-B4E0-E297462320DD}" dt="2023-11-24T11:33:49.081" v="115542"/>
          <ac:spMkLst>
            <pc:docMk/>
            <pc:sldMk cId="789548521" sldId="2147478568"/>
            <ac:spMk id="755" creationId="{1CFC586E-6DCF-D42E-C33B-D0241BBFE8FD}"/>
          </ac:spMkLst>
        </pc:spChg>
        <pc:spChg chg="add del mod">
          <ac:chgData name="Steiner Andreas 6206 ED" userId="e6377c33-a923-4f14-8587-531c474c7b48" providerId="ADAL" clId="{6ECD27E6-B224-41CD-B4E0-E297462320DD}" dt="2023-11-24T11:33:51.765" v="115697"/>
          <ac:spMkLst>
            <pc:docMk/>
            <pc:sldMk cId="789548521" sldId="2147478568"/>
            <ac:spMk id="756" creationId="{0F5DA9BA-F4DA-6148-EA90-850A2AF64DA3}"/>
          </ac:spMkLst>
        </pc:spChg>
        <pc:spChg chg="add del mod">
          <ac:chgData name="Steiner Andreas 6206 ED" userId="e6377c33-a923-4f14-8587-531c474c7b48" providerId="ADAL" clId="{6ECD27E6-B224-41CD-B4E0-E297462320DD}" dt="2023-11-24T11:33:54.621" v="115852"/>
          <ac:spMkLst>
            <pc:docMk/>
            <pc:sldMk cId="789548521" sldId="2147478568"/>
            <ac:spMk id="757" creationId="{6EF21EF8-11D1-4855-D16A-70E19C273E67}"/>
          </ac:spMkLst>
        </pc:spChg>
        <pc:spChg chg="add del mod">
          <ac:chgData name="Steiner Andreas 6206 ED" userId="e6377c33-a923-4f14-8587-531c474c7b48" providerId="ADAL" clId="{6ECD27E6-B224-41CD-B4E0-E297462320DD}" dt="2023-11-24T11:33:57.165" v="116007"/>
          <ac:spMkLst>
            <pc:docMk/>
            <pc:sldMk cId="789548521" sldId="2147478568"/>
            <ac:spMk id="758" creationId="{B88E9CB2-28B1-3809-4831-39ACFFE5A965}"/>
          </ac:spMkLst>
        </pc:spChg>
        <pc:spChg chg="add del mod">
          <ac:chgData name="Steiner Andreas 6206 ED" userId="e6377c33-a923-4f14-8587-531c474c7b48" providerId="ADAL" clId="{6ECD27E6-B224-41CD-B4E0-E297462320DD}" dt="2023-11-24T11:33:59.503" v="116162"/>
          <ac:spMkLst>
            <pc:docMk/>
            <pc:sldMk cId="789548521" sldId="2147478568"/>
            <ac:spMk id="759" creationId="{C0B093C2-D705-3FB1-37FD-7B71DDA6D9F5}"/>
          </ac:spMkLst>
        </pc:spChg>
        <pc:spChg chg="add del mod">
          <ac:chgData name="Steiner Andreas 6206 ED" userId="e6377c33-a923-4f14-8587-531c474c7b48" providerId="ADAL" clId="{6ECD27E6-B224-41CD-B4E0-E297462320DD}" dt="2023-11-24T11:34:01.867" v="116317"/>
          <ac:spMkLst>
            <pc:docMk/>
            <pc:sldMk cId="789548521" sldId="2147478568"/>
            <ac:spMk id="760" creationId="{D9B3F2F9-234F-BDAB-DFCC-7E9CB3BB4386}"/>
          </ac:spMkLst>
        </pc:spChg>
        <pc:spChg chg="add del mod">
          <ac:chgData name="Steiner Andreas 6206 ED" userId="e6377c33-a923-4f14-8587-531c474c7b48" providerId="ADAL" clId="{6ECD27E6-B224-41CD-B4E0-E297462320DD}" dt="2023-11-24T11:34:04.206" v="116472"/>
          <ac:spMkLst>
            <pc:docMk/>
            <pc:sldMk cId="789548521" sldId="2147478568"/>
            <ac:spMk id="761" creationId="{D52AC0CB-0815-9B42-8EDF-F150C2F3FAC4}"/>
          </ac:spMkLst>
        </pc:spChg>
        <pc:spChg chg="add del mod">
          <ac:chgData name="Steiner Andreas 6206 ED" userId="e6377c33-a923-4f14-8587-531c474c7b48" providerId="ADAL" clId="{6ECD27E6-B224-41CD-B4E0-E297462320DD}" dt="2023-11-24T11:34:06.642" v="116627"/>
          <ac:spMkLst>
            <pc:docMk/>
            <pc:sldMk cId="789548521" sldId="2147478568"/>
            <ac:spMk id="762" creationId="{B8CA1C07-9E58-535A-EEF6-6A06256FB785}"/>
          </ac:spMkLst>
        </pc:spChg>
        <pc:spChg chg="add del mod">
          <ac:chgData name="Steiner Andreas 6206 ED" userId="e6377c33-a923-4f14-8587-531c474c7b48" providerId="ADAL" clId="{6ECD27E6-B224-41CD-B4E0-E297462320DD}" dt="2023-11-24T11:34:09.240" v="116782"/>
          <ac:spMkLst>
            <pc:docMk/>
            <pc:sldMk cId="789548521" sldId="2147478568"/>
            <ac:spMk id="763" creationId="{BA3CF0CF-AE4D-6913-73F0-6DD3E043ADC8}"/>
          </ac:spMkLst>
        </pc:spChg>
        <pc:spChg chg="add del mod">
          <ac:chgData name="Steiner Andreas 6206 ED" userId="e6377c33-a923-4f14-8587-531c474c7b48" providerId="ADAL" clId="{6ECD27E6-B224-41CD-B4E0-E297462320DD}" dt="2023-11-24T11:34:11.314" v="116937"/>
          <ac:spMkLst>
            <pc:docMk/>
            <pc:sldMk cId="789548521" sldId="2147478568"/>
            <ac:spMk id="764" creationId="{336D9A90-038E-BCF6-AEC1-7E5029DC1280}"/>
          </ac:spMkLst>
        </pc:spChg>
        <pc:spChg chg="add del mod">
          <ac:chgData name="Steiner Andreas 6206 ED" userId="e6377c33-a923-4f14-8587-531c474c7b48" providerId="ADAL" clId="{6ECD27E6-B224-41CD-B4E0-E297462320DD}" dt="2023-11-24T11:34:13.080" v="117092"/>
          <ac:spMkLst>
            <pc:docMk/>
            <pc:sldMk cId="789548521" sldId="2147478568"/>
            <ac:spMk id="765" creationId="{B6563A81-205C-7156-0D82-5F06F7060234}"/>
          </ac:spMkLst>
        </pc:spChg>
        <pc:spChg chg="add del mod">
          <ac:chgData name="Steiner Andreas 6206 ED" userId="e6377c33-a923-4f14-8587-531c474c7b48" providerId="ADAL" clId="{6ECD27E6-B224-41CD-B4E0-E297462320DD}" dt="2023-11-24T11:34:14.875" v="117247"/>
          <ac:spMkLst>
            <pc:docMk/>
            <pc:sldMk cId="789548521" sldId="2147478568"/>
            <ac:spMk id="766" creationId="{739C7E0C-DE67-34F7-005E-34BE672B10E5}"/>
          </ac:spMkLst>
        </pc:spChg>
        <pc:spChg chg="add del mod">
          <ac:chgData name="Steiner Andreas 6206 ED" userId="e6377c33-a923-4f14-8587-531c474c7b48" providerId="ADAL" clId="{6ECD27E6-B224-41CD-B4E0-E297462320DD}" dt="2023-11-24T11:34:16.622" v="117402"/>
          <ac:spMkLst>
            <pc:docMk/>
            <pc:sldMk cId="789548521" sldId="2147478568"/>
            <ac:spMk id="767" creationId="{57A4C0A4-F0EF-A49E-E382-163081EED794}"/>
          </ac:spMkLst>
        </pc:spChg>
        <pc:spChg chg="add del mod">
          <ac:chgData name="Steiner Andreas 6206 ED" userId="e6377c33-a923-4f14-8587-531c474c7b48" providerId="ADAL" clId="{6ECD27E6-B224-41CD-B4E0-E297462320DD}" dt="2023-11-24T11:34:18.483" v="117557"/>
          <ac:spMkLst>
            <pc:docMk/>
            <pc:sldMk cId="789548521" sldId="2147478568"/>
            <ac:spMk id="768" creationId="{9910F6DC-65CE-FAC3-9661-89448BE3514C}"/>
          </ac:spMkLst>
        </pc:spChg>
        <pc:spChg chg="add del mod">
          <ac:chgData name="Steiner Andreas 6206 ED" userId="e6377c33-a923-4f14-8587-531c474c7b48" providerId="ADAL" clId="{6ECD27E6-B224-41CD-B4E0-E297462320DD}" dt="2023-11-24T11:34:20.528" v="117712"/>
          <ac:spMkLst>
            <pc:docMk/>
            <pc:sldMk cId="789548521" sldId="2147478568"/>
            <ac:spMk id="769" creationId="{44045FE5-4E43-FB07-E521-08683E11E03A}"/>
          </ac:spMkLst>
        </pc:spChg>
        <pc:spChg chg="add del mod">
          <ac:chgData name="Steiner Andreas 6206 ED" userId="e6377c33-a923-4f14-8587-531c474c7b48" providerId="ADAL" clId="{6ECD27E6-B224-41CD-B4E0-E297462320DD}" dt="2023-11-24T11:34:22.513" v="117867"/>
          <ac:spMkLst>
            <pc:docMk/>
            <pc:sldMk cId="789548521" sldId="2147478568"/>
            <ac:spMk id="770" creationId="{422753B8-3BFE-28B4-D7E2-6854B3A88DDF}"/>
          </ac:spMkLst>
        </pc:spChg>
        <pc:spChg chg="add del mod">
          <ac:chgData name="Steiner Andreas 6206 ED" userId="e6377c33-a923-4f14-8587-531c474c7b48" providerId="ADAL" clId="{6ECD27E6-B224-41CD-B4E0-E297462320DD}" dt="2023-11-24T11:34:24.608" v="118022"/>
          <ac:spMkLst>
            <pc:docMk/>
            <pc:sldMk cId="789548521" sldId="2147478568"/>
            <ac:spMk id="771" creationId="{02C89563-5314-DF40-5D1E-819F4B97318D}"/>
          </ac:spMkLst>
        </pc:spChg>
        <pc:spChg chg="add del mod">
          <ac:chgData name="Steiner Andreas 6206 ED" userId="e6377c33-a923-4f14-8587-531c474c7b48" providerId="ADAL" clId="{6ECD27E6-B224-41CD-B4E0-E297462320DD}" dt="2023-11-24T11:34:27.056" v="118177"/>
          <ac:spMkLst>
            <pc:docMk/>
            <pc:sldMk cId="789548521" sldId="2147478568"/>
            <ac:spMk id="772" creationId="{2B32B044-5587-DBE5-905E-59DB0AC5EA65}"/>
          </ac:spMkLst>
        </pc:spChg>
        <pc:spChg chg="add del mod">
          <ac:chgData name="Steiner Andreas 6206 ED" userId="e6377c33-a923-4f14-8587-531c474c7b48" providerId="ADAL" clId="{6ECD27E6-B224-41CD-B4E0-E297462320DD}" dt="2023-11-24T11:34:29.171" v="118332"/>
          <ac:spMkLst>
            <pc:docMk/>
            <pc:sldMk cId="789548521" sldId="2147478568"/>
            <ac:spMk id="773" creationId="{CC942217-F02B-6AF9-E498-596C6A4E7E5A}"/>
          </ac:spMkLst>
        </pc:spChg>
        <pc:spChg chg="add del mod">
          <ac:chgData name="Steiner Andreas 6206 ED" userId="e6377c33-a923-4f14-8587-531c474c7b48" providerId="ADAL" clId="{6ECD27E6-B224-41CD-B4E0-E297462320DD}" dt="2023-11-24T11:34:31.444" v="118487"/>
          <ac:spMkLst>
            <pc:docMk/>
            <pc:sldMk cId="789548521" sldId="2147478568"/>
            <ac:spMk id="774" creationId="{0EC7F619-9B39-3D04-C2F0-3C83A6324C13}"/>
          </ac:spMkLst>
        </pc:spChg>
        <pc:spChg chg="add del mod">
          <ac:chgData name="Steiner Andreas 6206 ED" userId="e6377c33-a923-4f14-8587-531c474c7b48" providerId="ADAL" clId="{6ECD27E6-B224-41CD-B4E0-E297462320DD}" dt="2023-11-24T11:34:33.476" v="118642"/>
          <ac:spMkLst>
            <pc:docMk/>
            <pc:sldMk cId="789548521" sldId="2147478568"/>
            <ac:spMk id="775" creationId="{97CCA0EC-4A73-25AF-32D6-73C8AD256245}"/>
          </ac:spMkLst>
        </pc:spChg>
        <pc:spChg chg="add del mod">
          <ac:chgData name="Steiner Andreas 6206 ED" userId="e6377c33-a923-4f14-8587-531c474c7b48" providerId="ADAL" clId="{6ECD27E6-B224-41CD-B4E0-E297462320DD}" dt="2023-11-24T11:34:35.446" v="118797"/>
          <ac:spMkLst>
            <pc:docMk/>
            <pc:sldMk cId="789548521" sldId="2147478568"/>
            <ac:spMk id="776" creationId="{20FFDF98-ABEE-4915-7178-BF973DBC9634}"/>
          </ac:spMkLst>
        </pc:spChg>
        <pc:spChg chg="add del mod">
          <ac:chgData name="Steiner Andreas 6206 ED" userId="e6377c33-a923-4f14-8587-531c474c7b48" providerId="ADAL" clId="{6ECD27E6-B224-41CD-B4E0-E297462320DD}" dt="2023-11-24T11:34:37.476" v="118952"/>
          <ac:spMkLst>
            <pc:docMk/>
            <pc:sldMk cId="789548521" sldId="2147478568"/>
            <ac:spMk id="777" creationId="{C20B3BDE-A387-9C30-DDED-5E59FE269825}"/>
          </ac:spMkLst>
        </pc:spChg>
        <pc:spChg chg="add del mod">
          <ac:chgData name="Steiner Andreas 6206 ED" userId="e6377c33-a923-4f14-8587-531c474c7b48" providerId="ADAL" clId="{6ECD27E6-B224-41CD-B4E0-E297462320DD}" dt="2023-11-24T11:34:39.484" v="119107"/>
          <ac:spMkLst>
            <pc:docMk/>
            <pc:sldMk cId="789548521" sldId="2147478568"/>
            <ac:spMk id="778" creationId="{5E215E41-D7AE-06AF-604C-CF3DCD3414A5}"/>
          </ac:spMkLst>
        </pc:spChg>
        <pc:spChg chg="add del mod">
          <ac:chgData name="Steiner Andreas 6206 ED" userId="e6377c33-a923-4f14-8587-531c474c7b48" providerId="ADAL" clId="{6ECD27E6-B224-41CD-B4E0-E297462320DD}" dt="2023-11-24T11:34:41.567" v="119262"/>
          <ac:spMkLst>
            <pc:docMk/>
            <pc:sldMk cId="789548521" sldId="2147478568"/>
            <ac:spMk id="779" creationId="{C7469704-BEA5-37DC-0C1D-52BFA04E955A}"/>
          </ac:spMkLst>
        </pc:spChg>
        <pc:spChg chg="add del mod">
          <ac:chgData name="Steiner Andreas 6206 ED" userId="e6377c33-a923-4f14-8587-531c474c7b48" providerId="ADAL" clId="{6ECD27E6-B224-41CD-B4E0-E297462320DD}" dt="2023-11-24T11:34:43.797" v="119417"/>
          <ac:spMkLst>
            <pc:docMk/>
            <pc:sldMk cId="789548521" sldId="2147478568"/>
            <ac:spMk id="780" creationId="{00E98ACC-F378-A629-6216-067447A8D879}"/>
          </ac:spMkLst>
        </pc:spChg>
        <pc:spChg chg="add del mod">
          <ac:chgData name="Steiner Andreas 6206 ED" userId="e6377c33-a923-4f14-8587-531c474c7b48" providerId="ADAL" clId="{6ECD27E6-B224-41CD-B4E0-E297462320DD}" dt="2023-11-24T11:34:45.804" v="119572"/>
          <ac:spMkLst>
            <pc:docMk/>
            <pc:sldMk cId="789548521" sldId="2147478568"/>
            <ac:spMk id="781" creationId="{6CEAD844-DC26-954E-5139-6BCB931C2CBC}"/>
          </ac:spMkLst>
        </pc:spChg>
        <pc:spChg chg="add del mod">
          <ac:chgData name="Steiner Andreas 6206 ED" userId="e6377c33-a923-4f14-8587-531c474c7b48" providerId="ADAL" clId="{6ECD27E6-B224-41CD-B4E0-E297462320DD}" dt="2023-11-24T11:34:47.739" v="119727"/>
          <ac:spMkLst>
            <pc:docMk/>
            <pc:sldMk cId="789548521" sldId="2147478568"/>
            <ac:spMk id="782" creationId="{16EC81F4-5AD5-DCD1-EA42-A1D7423EAE85}"/>
          </ac:spMkLst>
        </pc:spChg>
        <pc:spChg chg="add del mod">
          <ac:chgData name="Steiner Andreas 6206 ED" userId="e6377c33-a923-4f14-8587-531c474c7b48" providerId="ADAL" clId="{6ECD27E6-B224-41CD-B4E0-E297462320DD}" dt="2023-11-24T11:34:49.887" v="119882"/>
          <ac:spMkLst>
            <pc:docMk/>
            <pc:sldMk cId="789548521" sldId="2147478568"/>
            <ac:spMk id="783" creationId="{5C0EF1D3-2EC6-773A-6F0B-CAF290079ED7}"/>
          </ac:spMkLst>
        </pc:spChg>
        <pc:spChg chg="add del mod">
          <ac:chgData name="Steiner Andreas 6206 ED" userId="e6377c33-a923-4f14-8587-531c474c7b48" providerId="ADAL" clId="{6ECD27E6-B224-41CD-B4E0-E297462320DD}" dt="2023-11-24T11:34:52.014" v="120037"/>
          <ac:spMkLst>
            <pc:docMk/>
            <pc:sldMk cId="789548521" sldId="2147478568"/>
            <ac:spMk id="784" creationId="{E6E1E23F-699E-0437-CD58-E605255565DB}"/>
          </ac:spMkLst>
        </pc:spChg>
        <pc:spChg chg="add del mod">
          <ac:chgData name="Steiner Andreas 6206 ED" userId="e6377c33-a923-4f14-8587-531c474c7b48" providerId="ADAL" clId="{6ECD27E6-B224-41CD-B4E0-E297462320DD}" dt="2023-11-24T11:34:53.987" v="120192"/>
          <ac:spMkLst>
            <pc:docMk/>
            <pc:sldMk cId="789548521" sldId="2147478568"/>
            <ac:spMk id="785" creationId="{71E1845A-74B7-54A5-5F7D-595D678170F7}"/>
          </ac:spMkLst>
        </pc:spChg>
        <pc:spChg chg="add del mod">
          <ac:chgData name="Steiner Andreas 6206 ED" userId="e6377c33-a923-4f14-8587-531c474c7b48" providerId="ADAL" clId="{6ECD27E6-B224-41CD-B4E0-E297462320DD}" dt="2023-11-24T11:34:55.848" v="120347"/>
          <ac:spMkLst>
            <pc:docMk/>
            <pc:sldMk cId="789548521" sldId="2147478568"/>
            <ac:spMk id="786" creationId="{B191338B-FA5E-09D9-E753-6007C3259A02}"/>
          </ac:spMkLst>
        </pc:spChg>
        <pc:spChg chg="add del mod">
          <ac:chgData name="Steiner Andreas 6206 ED" userId="e6377c33-a923-4f14-8587-531c474c7b48" providerId="ADAL" clId="{6ECD27E6-B224-41CD-B4E0-E297462320DD}" dt="2023-11-24T11:34:57.687" v="120502"/>
          <ac:spMkLst>
            <pc:docMk/>
            <pc:sldMk cId="789548521" sldId="2147478568"/>
            <ac:spMk id="787" creationId="{54F9DA0D-5E22-8E93-C6C0-0A543D20B876}"/>
          </ac:spMkLst>
        </pc:spChg>
        <pc:spChg chg="add del mod">
          <ac:chgData name="Steiner Andreas 6206 ED" userId="e6377c33-a923-4f14-8587-531c474c7b48" providerId="ADAL" clId="{6ECD27E6-B224-41CD-B4E0-E297462320DD}" dt="2023-11-24T11:34:59.559" v="120657"/>
          <ac:spMkLst>
            <pc:docMk/>
            <pc:sldMk cId="789548521" sldId="2147478568"/>
            <ac:spMk id="788" creationId="{DBD8E725-EE2D-FF19-C82A-08E66BB28DA9}"/>
          </ac:spMkLst>
        </pc:spChg>
        <pc:spChg chg="add del mod">
          <ac:chgData name="Steiner Andreas 6206 ED" userId="e6377c33-a923-4f14-8587-531c474c7b48" providerId="ADAL" clId="{6ECD27E6-B224-41CD-B4E0-E297462320DD}" dt="2023-11-24T11:35:01.393" v="120812"/>
          <ac:spMkLst>
            <pc:docMk/>
            <pc:sldMk cId="789548521" sldId="2147478568"/>
            <ac:spMk id="789" creationId="{DFE9E102-DAE9-2AA2-4985-48BC3820A2E4}"/>
          </ac:spMkLst>
        </pc:spChg>
        <pc:spChg chg="add del mod">
          <ac:chgData name="Steiner Andreas 6206 ED" userId="e6377c33-a923-4f14-8587-531c474c7b48" providerId="ADAL" clId="{6ECD27E6-B224-41CD-B4E0-E297462320DD}" dt="2023-11-24T11:35:03.265" v="120967"/>
          <ac:spMkLst>
            <pc:docMk/>
            <pc:sldMk cId="789548521" sldId="2147478568"/>
            <ac:spMk id="790" creationId="{6290F30D-D2C7-6F82-C696-6CBDB447BE9C}"/>
          </ac:spMkLst>
        </pc:spChg>
        <pc:spChg chg="add del mod">
          <ac:chgData name="Steiner Andreas 6206 ED" userId="e6377c33-a923-4f14-8587-531c474c7b48" providerId="ADAL" clId="{6ECD27E6-B224-41CD-B4E0-E297462320DD}" dt="2023-11-24T11:35:05.166" v="121122"/>
          <ac:spMkLst>
            <pc:docMk/>
            <pc:sldMk cId="789548521" sldId="2147478568"/>
            <ac:spMk id="791" creationId="{E95CD385-DB34-A4FA-52E4-8F85451DF5A7}"/>
          </ac:spMkLst>
        </pc:spChg>
        <pc:spChg chg="add del mod">
          <ac:chgData name="Steiner Andreas 6206 ED" userId="e6377c33-a923-4f14-8587-531c474c7b48" providerId="ADAL" clId="{6ECD27E6-B224-41CD-B4E0-E297462320DD}" dt="2023-11-24T11:35:07.272" v="121277"/>
          <ac:spMkLst>
            <pc:docMk/>
            <pc:sldMk cId="789548521" sldId="2147478568"/>
            <ac:spMk id="792" creationId="{66BDA090-0BA2-E509-6398-4EFBC165F06B}"/>
          </ac:spMkLst>
        </pc:spChg>
        <pc:spChg chg="add del mod">
          <ac:chgData name="Steiner Andreas 6206 ED" userId="e6377c33-a923-4f14-8587-531c474c7b48" providerId="ADAL" clId="{6ECD27E6-B224-41CD-B4E0-E297462320DD}" dt="2023-11-24T11:35:09.313" v="121432"/>
          <ac:spMkLst>
            <pc:docMk/>
            <pc:sldMk cId="789548521" sldId="2147478568"/>
            <ac:spMk id="793" creationId="{F41E36E4-0991-C177-B6A2-0DDEA7485B5E}"/>
          </ac:spMkLst>
        </pc:spChg>
        <pc:spChg chg="add del mod">
          <ac:chgData name="Steiner Andreas 6206 ED" userId="e6377c33-a923-4f14-8587-531c474c7b48" providerId="ADAL" clId="{6ECD27E6-B224-41CD-B4E0-E297462320DD}" dt="2023-11-24T11:35:11.268" v="121587"/>
          <ac:spMkLst>
            <pc:docMk/>
            <pc:sldMk cId="789548521" sldId="2147478568"/>
            <ac:spMk id="794" creationId="{38615309-6E6C-94B9-AEFD-98EFA84731F3}"/>
          </ac:spMkLst>
        </pc:spChg>
        <pc:spChg chg="add del mod">
          <ac:chgData name="Steiner Andreas 6206 ED" userId="e6377c33-a923-4f14-8587-531c474c7b48" providerId="ADAL" clId="{6ECD27E6-B224-41CD-B4E0-E297462320DD}" dt="2023-11-24T11:35:13.032" v="121742"/>
          <ac:spMkLst>
            <pc:docMk/>
            <pc:sldMk cId="789548521" sldId="2147478568"/>
            <ac:spMk id="795" creationId="{06117CEE-4580-3649-733E-01BB45E180AE}"/>
          </ac:spMkLst>
        </pc:spChg>
        <pc:spChg chg="add del mod">
          <ac:chgData name="Steiner Andreas 6206 ED" userId="e6377c33-a923-4f14-8587-531c474c7b48" providerId="ADAL" clId="{6ECD27E6-B224-41CD-B4E0-E297462320DD}" dt="2023-11-24T11:35:14.929" v="121897"/>
          <ac:spMkLst>
            <pc:docMk/>
            <pc:sldMk cId="789548521" sldId="2147478568"/>
            <ac:spMk id="796" creationId="{B2140F4A-5F19-6073-6E19-D26C6547A4DE}"/>
          </ac:spMkLst>
        </pc:spChg>
        <pc:spChg chg="add del mod">
          <ac:chgData name="Steiner Andreas 6206 ED" userId="e6377c33-a923-4f14-8587-531c474c7b48" providerId="ADAL" clId="{6ECD27E6-B224-41CD-B4E0-E297462320DD}" dt="2023-11-24T11:35:16.672" v="122052"/>
          <ac:spMkLst>
            <pc:docMk/>
            <pc:sldMk cId="789548521" sldId="2147478568"/>
            <ac:spMk id="797" creationId="{E71F07B3-4BE9-26A3-051F-48B83E9D5218}"/>
          </ac:spMkLst>
        </pc:spChg>
        <pc:spChg chg="add del mod">
          <ac:chgData name="Steiner Andreas 6206 ED" userId="e6377c33-a923-4f14-8587-531c474c7b48" providerId="ADAL" clId="{6ECD27E6-B224-41CD-B4E0-E297462320DD}" dt="2023-11-24T11:35:18.387" v="122207"/>
          <ac:spMkLst>
            <pc:docMk/>
            <pc:sldMk cId="789548521" sldId="2147478568"/>
            <ac:spMk id="798" creationId="{3C377788-A623-F896-BD58-E2F11267C693}"/>
          </ac:spMkLst>
        </pc:spChg>
        <pc:spChg chg="add del mod">
          <ac:chgData name="Steiner Andreas 6206 ED" userId="e6377c33-a923-4f14-8587-531c474c7b48" providerId="ADAL" clId="{6ECD27E6-B224-41CD-B4E0-E297462320DD}" dt="2023-11-24T11:35:20.002" v="122362"/>
          <ac:spMkLst>
            <pc:docMk/>
            <pc:sldMk cId="789548521" sldId="2147478568"/>
            <ac:spMk id="799" creationId="{990B76CD-D76E-EA12-9660-5239191A3292}"/>
          </ac:spMkLst>
        </pc:spChg>
        <pc:spChg chg="add del mod">
          <ac:chgData name="Steiner Andreas 6206 ED" userId="e6377c33-a923-4f14-8587-531c474c7b48" providerId="ADAL" clId="{6ECD27E6-B224-41CD-B4E0-E297462320DD}" dt="2023-11-24T11:35:21.639" v="122517"/>
          <ac:spMkLst>
            <pc:docMk/>
            <pc:sldMk cId="789548521" sldId="2147478568"/>
            <ac:spMk id="800" creationId="{0033BC94-4DF9-44E0-CC7C-85D8728221D0}"/>
          </ac:spMkLst>
        </pc:spChg>
        <pc:spChg chg="add del mod">
          <ac:chgData name="Steiner Andreas 6206 ED" userId="e6377c33-a923-4f14-8587-531c474c7b48" providerId="ADAL" clId="{6ECD27E6-B224-41CD-B4E0-E297462320DD}" dt="2023-11-24T11:35:23.344" v="122672"/>
          <ac:spMkLst>
            <pc:docMk/>
            <pc:sldMk cId="789548521" sldId="2147478568"/>
            <ac:spMk id="801" creationId="{4282DCD4-12B9-6FA1-B7EF-2294F54BAB95}"/>
          </ac:spMkLst>
        </pc:spChg>
        <pc:spChg chg="add del mod">
          <ac:chgData name="Steiner Andreas 6206 ED" userId="e6377c33-a923-4f14-8587-531c474c7b48" providerId="ADAL" clId="{6ECD27E6-B224-41CD-B4E0-E297462320DD}" dt="2023-11-24T11:35:25.282" v="122827"/>
          <ac:spMkLst>
            <pc:docMk/>
            <pc:sldMk cId="789548521" sldId="2147478568"/>
            <ac:spMk id="802" creationId="{BAE40488-9376-DB34-CC67-34026BD24BCC}"/>
          </ac:spMkLst>
        </pc:spChg>
        <pc:spChg chg="add del mod">
          <ac:chgData name="Steiner Andreas 6206 ED" userId="e6377c33-a923-4f14-8587-531c474c7b48" providerId="ADAL" clId="{6ECD27E6-B224-41CD-B4E0-E297462320DD}" dt="2023-11-24T11:35:27.374" v="122982"/>
          <ac:spMkLst>
            <pc:docMk/>
            <pc:sldMk cId="789548521" sldId="2147478568"/>
            <ac:spMk id="803" creationId="{1D7FEC0F-4742-C6AD-868B-5C47ABE8F02D}"/>
          </ac:spMkLst>
        </pc:spChg>
        <pc:spChg chg="add del mod">
          <ac:chgData name="Steiner Andreas 6206 ED" userId="e6377c33-a923-4f14-8587-531c474c7b48" providerId="ADAL" clId="{6ECD27E6-B224-41CD-B4E0-E297462320DD}" dt="2023-11-24T11:35:29.248" v="123137"/>
          <ac:spMkLst>
            <pc:docMk/>
            <pc:sldMk cId="789548521" sldId="2147478568"/>
            <ac:spMk id="804" creationId="{9F4B2F63-B588-C528-5174-5D20356A5DA2}"/>
          </ac:spMkLst>
        </pc:spChg>
        <pc:spChg chg="add del mod">
          <ac:chgData name="Steiner Andreas 6206 ED" userId="e6377c33-a923-4f14-8587-531c474c7b48" providerId="ADAL" clId="{6ECD27E6-B224-41CD-B4E0-E297462320DD}" dt="2023-11-24T11:35:31.014" v="123292"/>
          <ac:spMkLst>
            <pc:docMk/>
            <pc:sldMk cId="789548521" sldId="2147478568"/>
            <ac:spMk id="805" creationId="{432B15D7-FB89-F69E-2A1A-52E2B560703A}"/>
          </ac:spMkLst>
        </pc:spChg>
        <pc:spChg chg="add del mod">
          <ac:chgData name="Steiner Andreas 6206 ED" userId="e6377c33-a923-4f14-8587-531c474c7b48" providerId="ADAL" clId="{6ECD27E6-B224-41CD-B4E0-E297462320DD}" dt="2023-11-24T11:35:33.885" v="123447"/>
          <ac:spMkLst>
            <pc:docMk/>
            <pc:sldMk cId="789548521" sldId="2147478568"/>
            <ac:spMk id="806" creationId="{173924BD-EAE4-B246-00B9-3C7997BEC522}"/>
          </ac:spMkLst>
        </pc:spChg>
        <pc:spChg chg="add del mod">
          <ac:chgData name="Steiner Andreas 6206 ED" userId="e6377c33-a923-4f14-8587-531c474c7b48" providerId="ADAL" clId="{6ECD27E6-B224-41CD-B4E0-E297462320DD}" dt="2023-11-24T11:35:35.727" v="123602"/>
          <ac:spMkLst>
            <pc:docMk/>
            <pc:sldMk cId="789548521" sldId="2147478568"/>
            <ac:spMk id="807" creationId="{C6B9A085-9FB6-4B9C-6942-B9DC00863833}"/>
          </ac:spMkLst>
        </pc:spChg>
        <pc:spChg chg="add del mod">
          <ac:chgData name="Steiner Andreas 6206 ED" userId="e6377c33-a923-4f14-8587-531c474c7b48" providerId="ADAL" clId="{6ECD27E6-B224-41CD-B4E0-E297462320DD}" dt="2023-11-24T11:35:37.442" v="123757"/>
          <ac:spMkLst>
            <pc:docMk/>
            <pc:sldMk cId="789548521" sldId="2147478568"/>
            <ac:spMk id="808" creationId="{DAD8A865-C0D8-340F-3947-D9C096A2836E}"/>
          </ac:spMkLst>
        </pc:spChg>
        <pc:spChg chg="add del mod">
          <ac:chgData name="Steiner Andreas 6206 ED" userId="e6377c33-a923-4f14-8587-531c474c7b48" providerId="ADAL" clId="{6ECD27E6-B224-41CD-B4E0-E297462320DD}" dt="2023-11-24T11:35:39.074" v="123912"/>
          <ac:spMkLst>
            <pc:docMk/>
            <pc:sldMk cId="789548521" sldId="2147478568"/>
            <ac:spMk id="809" creationId="{7C7D1B62-FE4B-37F8-922B-0E634FCDB77C}"/>
          </ac:spMkLst>
        </pc:spChg>
        <pc:spChg chg="add del mod">
          <ac:chgData name="Steiner Andreas 6206 ED" userId="e6377c33-a923-4f14-8587-531c474c7b48" providerId="ADAL" clId="{6ECD27E6-B224-41CD-B4E0-E297462320DD}" dt="2023-11-24T11:35:40.781" v="124067"/>
          <ac:spMkLst>
            <pc:docMk/>
            <pc:sldMk cId="789548521" sldId="2147478568"/>
            <ac:spMk id="810" creationId="{48457914-36DE-A40E-045D-0D009A7BCFAF}"/>
          </ac:spMkLst>
        </pc:spChg>
        <pc:spChg chg="add del mod">
          <ac:chgData name="Steiner Andreas 6206 ED" userId="e6377c33-a923-4f14-8587-531c474c7b48" providerId="ADAL" clId="{6ECD27E6-B224-41CD-B4E0-E297462320DD}" dt="2023-11-24T11:35:42.378" v="124222"/>
          <ac:spMkLst>
            <pc:docMk/>
            <pc:sldMk cId="789548521" sldId="2147478568"/>
            <ac:spMk id="811" creationId="{1954F79A-0149-EDDE-8EE4-3FBDCABA15B9}"/>
          </ac:spMkLst>
        </pc:spChg>
        <pc:spChg chg="add del mod">
          <ac:chgData name="Steiner Andreas 6206 ED" userId="e6377c33-a923-4f14-8587-531c474c7b48" providerId="ADAL" clId="{6ECD27E6-B224-41CD-B4E0-E297462320DD}" dt="2023-11-24T11:35:44.048" v="124377"/>
          <ac:spMkLst>
            <pc:docMk/>
            <pc:sldMk cId="789548521" sldId="2147478568"/>
            <ac:spMk id="812" creationId="{F65FAE93-D5B4-9B67-3438-6A7E768DB10B}"/>
          </ac:spMkLst>
        </pc:spChg>
        <pc:spChg chg="add del mod">
          <ac:chgData name="Steiner Andreas 6206 ED" userId="e6377c33-a923-4f14-8587-531c474c7b48" providerId="ADAL" clId="{6ECD27E6-B224-41CD-B4E0-E297462320DD}" dt="2023-11-24T11:35:45.704" v="124532"/>
          <ac:spMkLst>
            <pc:docMk/>
            <pc:sldMk cId="789548521" sldId="2147478568"/>
            <ac:spMk id="813" creationId="{33538516-4A06-9216-5681-42FE610B49D9}"/>
          </ac:spMkLst>
        </pc:spChg>
        <pc:spChg chg="add del mod">
          <ac:chgData name="Steiner Andreas 6206 ED" userId="e6377c33-a923-4f14-8587-531c474c7b48" providerId="ADAL" clId="{6ECD27E6-B224-41CD-B4E0-E297462320DD}" dt="2023-11-24T11:35:47.426" v="124687"/>
          <ac:spMkLst>
            <pc:docMk/>
            <pc:sldMk cId="789548521" sldId="2147478568"/>
            <ac:spMk id="814" creationId="{7B103651-5DAD-7931-9D68-8638FB75092A}"/>
          </ac:spMkLst>
        </pc:spChg>
        <pc:spChg chg="add del mod">
          <ac:chgData name="Steiner Andreas 6206 ED" userId="e6377c33-a923-4f14-8587-531c474c7b48" providerId="ADAL" clId="{6ECD27E6-B224-41CD-B4E0-E297462320DD}" dt="2023-11-24T11:35:49.156" v="124842"/>
          <ac:spMkLst>
            <pc:docMk/>
            <pc:sldMk cId="789548521" sldId="2147478568"/>
            <ac:spMk id="815" creationId="{1BAE6125-55F7-9665-E895-A96BF632493A}"/>
          </ac:spMkLst>
        </pc:spChg>
        <pc:spChg chg="add del mod">
          <ac:chgData name="Steiner Andreas 6206 ED" userId="e6377c33-a923-4f14-8587-531c474c7b48" providerId="ADAL" clId="{6ECD27E6-B224-41CD-B4E0-E297462320DD}" dt="2023-11-24T11:35:51.084" v="124997"/>
          <ac:spMkLst>
            <pc:docMk/>
            <pc:sldMk cId="789548521" sldId="2147478568"/>
            <ac:spMk id="816" creationId="{2E513BE1-A7FF-1EDC-8296-142C493EDC46}"/>
          </ac:spMkLst>
        </pc:spChg>
        <pc:spChg chg="add del mod">
          <ac:chgData name="Steiner Andreas 6206 ED" userId="e6377c33-a923-4f14-8587-531c474c7b48" providerId="ADAL" clId="{6ECD27E6-B224-41CD-B4E0-E297462320DD}" dt="2023-11-24T11:35:52.828" v="125152"/>
          <ac:spMkLst>
            <pc:docMk/>
            <pc:sldMk cId="789548521" sldId="2147478568"/>
            <ac:spMk id="817" creationId="{297DA77D-4DEF-ED00-7F35-B2BA0A6387C4}"/>
          </ac:spMkLst>
        </pc:spChg>
        <pc:spChg chg="add del mod">
          <ac:chgData name="Steiner Andreas 6206 ED" userId="e6377c33-a923-4f14-8587-531c474c7b48" providerId="ADAL" clId="{6ECD27E6-B224-41CD-B4E0-E297462320DD}" dt="2023-11-24T11:35:54.807" v="125307"/>
          <ac:spMkLst>
            <pc:docMk/>
            <pc:sldMk cId="789548521" sldId="2147478568"/>
            <ac:spMk id="818" creationId="{A062C358-71C0-CD46-197D-9239A1701784}"/>
          </ac:spMkLst>
        </pc:spChg>
        <pc:spChg chg="add del mod">
          <ac:chgData name="Steiner Andreas 6206 ED" userId="e6377c33-a923-4f14-8587-531c474c7b48" providerId="ADAL" clId="{6ECD27E6-B224-41CD-B4E0-E297462320DD}" dt="2023-11-24T11:35:56.907" v="125462"/>
          <ac:spMkLst>
            <pc:docMk/>
            <pc:sldMk cId="789548521" sldId="2147478568"/>
            <ac:spMk id="819" creationId="{EB0BF328-6526-9344-51D8-A293E29C6200}"/>
          </ac:spMkLst>
        </pc:spChg>
        <pc:spChg chg="add del mod">
          <ac:chgData name="Steiner Andreas 6206 ED" userId="e6377c33-a923-4f14-8587-531c474c7b48" providerId="ADAL" clId="{6ECD27E6-B224-41CD-B4E0-E297462320DD}" dt="2023-11-24T11:35:58.798" v="125617"/>
          <ac:spMkLst>
            <pc:docMk/>
            <pc:sldMk cId="789548521" sldId="2147478568"/>
            <ac:spMk id="820" creationId="{028EB55D-190F-D4A1-69DF-29C1F8C0D45F}"/>
          </ac:spMkLst>
        </pc:spChg>
        <pc:spChg chg="add del mod">
          <ac:chgData name="Steiner Andreas 6206 ED" userId="e6377c33-a923-4f14-8587-531c474c7b48" providerId="ADAL" clId="{6ECD27E6-B224-41CD-B4E0-E297462320DD}" dt="2023-11-24T11:36:00.531" v="125772"/>
          <ac:spMkLst>
            <pc:docMk/>
            <pc:sldMk cId="789548521" sldId="2147478568"/>
            <ac:spMk id="821" creationId="{AD0470E7-A700-147E-8F3A-577FD8CB5987}"/>
          </ac:spMkLst>
        </pc:spChg>
        <pc:spChg chg="add del mod">
          <ac:chgData name="Steiner Andreas 6206 ED" userId="e6377c33-a923-4f14-8587-531c474c7b48" providerId="ADAL" clId="{6ECD27E6-B224-41CD-B4E0-E297462320DD}" dt="2023-11-24T11:36:02.266" v="125927"/>
          <ac:spMkLst>
            <pc:docMk/>
            <pc:sldMk cId="789548521" sldId="2147478568"/>
            <ac:spMk id="822" creationId="{E4D8FC49-43BD-FF68-3A85-3F3F9A9D362B}"/>
          </ac:spMkLst>
        </pc:spChg>
        <pc:spChg chg="add del mod">
          <ac:chgData name="Steiner Andreas 6206 ED" userId="e6377c33-a923-4f14-8587-531c474c7b48" providerId="ADAL" clId="{6ECD27E6-B224-41CD-B4E0-E297462320DD}" dt="2023-11-24T11:36:04.013" v="126082"/>
          <ac:spMkLst>
            <pc:docMk/>
            <pc:sldMk cId="789548521" sldId="2147478568"/>
            <ac:spMk id="823" creationId="{4AD4EAF3-0DBF-54F8-CB4D-380FB465A0DC}"/>
          </ac:spMkLst>
        </pc:spChg>
        <pc:spChg chg="add del mod">
          <ac:chgData name="Steiner Andreas 6206 ED" userId="e6377c33-a923-4f14-8587-531c474c7b48" providerId="ADAL" clId="{6ECD27E6-B224-41CD-B4E0-E297462320DD}" dt="2023-11-24T11:36:05.790" v="126237"/>
          <ac:spMkLst>
            <pc:docMk/>
            <pc:sldMk cId="789548521" sldId="2147478568"/>
            <ac:spMk id="824" creationId="{0447978A-A349-F6B2-8FCE-92B4BA4DB2DF}"/>
          </ac:spMkLst>
        </pc:spChg>
        <pc:spChg chg="add del mod">
          <ac:chgData name="Steiner Andreas 6206 ED" userId="e6377c33-a923-4f14-8587-531c474c7b48" providerId="ADAL" clId="{6ECD27E6-B224-41CD-B4E0-E297462320DD}" dt="2023-11-24T11:36:07.456" v="126392"/>
          <ac:spMkLst>
            <pc:docMk/>
            <pc:sldMk cId="789548521" sldId="2147478568"/>
            <ac:spMk id="825" creationId="{4544BB6A-A632-B732-C363-FF64B7161C74}"/>
          </ac:spMkLst>
        </pc:spChg>
        <pc:spChg chg="add del mod">
          <ac:chgData name="Steiner Andreas 6206 ED" userId="e6377c33-a923-4f14-8587-531c474c7b48" providerId="ADAL" clId="{6ECD27E6-B224-41CD-B4E0-E297462320DD}" dt="2023-11-24T11:36:09.311" v="126547"/>
          <ac:spMkLst>
            <pc:docMk/>
            <pc:sldMk cId="789548521" sldId="2147478568"/>
            <ac:spMk id="826" creationId="{A544CB8B-008C-CE7E-27FB-3943DBBA6624}"/>
          </ac:spMkLst>
        </pc:spChg>
        <pc:spChg chg="add del mod">
          <ac:chgData name="Steiner Andreas 6206 ED" userId="e6377c33-a923-4f14-8587-531c474c7b48" providerId="ADAL" clId="{6ECD27E6-B224-41CD-B4E0-E297462320DD}" dt="2023-11-24T11:36:11.109" v="126702"/>
          <ac:spMkLst>
            <pc:docMk/>
            <pc:sldMk cId="789548521" sldId="2147478568"/>
            <ac:spMk id="827" creationId="{8D5766F6-1E85-A5BF-06CE-B0EC2090493B}"/>
          </ac:spMkLst>
        </pc:spChg>
        <pc:spChg chg="add del mod">
          <ac:chgData name="Steiner Andreas 6206 ED" userId="e6377c33-a923-4f14-8587-531c474c7b48" providerId="ADAL" clId="{6ECD27E6-B224-41CD-B4E0-E297462320DD}" dt="2023-11-24T11:36:13.030" v="126857"/>
          <ac:spMkLst>
            <pc:docMk/>
            <pc:sldMk cId="789548521" sldId="2147478568"/>
            <ac:spMk id="828" creationId="{88C9DD2C-DDC4-73E9-BF45-386E7DCFA8E9}"/>
          </ac:spMkLst>
        </pc:spChg>
        <pc:spChg chg="add del mod">
          <ac:chgData name="Steiner Andreas 6206 ED" userId="e6377c33-a923-4f14-8587-531c474c7b48" providerId="ADAL" clId="{6ECD27E6-B224-41CD-B4E0-E297462320DD}" dt="2023-11-24T11:36:14.911" v="127012"/>
          <ac:spMkLst>
            <pc:docMk/>
            <pc:sldMk cId="789548521" sldId="2147478568"/>
            <ac:spMk id="829" creationId="{21C4D702-CF66-9D07-EE23-195C0B9DA320}"/>
          </ac:spMkLst>
        </pc:spChg>
        <pc:spChg chg="add del mod">
          <ac:chgData name="Steiner Andreas 6206 ED" userId="e6377c33-a923-4f14-8587-531c474c7b48" providerId="ADAL" clId="{6ECD27E6-B224-41CD-B4E0-E297462320DD}" dt="2023-11-24T11:36:17.277" v="127167"/>
          <ac:spMkLst>
            <pc:docMk/>
            <pc:sldMk cId="789548521" sldId="2147478568"/>
            <ac:spMk id="830" creationId="{867DB521-1C1E-838F-5929-959F9C09550E}"/>
          </ac:spMkLst>
        </pc:spChg>
        <pc:spChg chg="add del mod">
          <ac:chgData name="Steiner Andreas 6206 ED" userId="e6377c33-a923-4f14-8587-531c474c7b48" providerId="ADAL" clId="{6ECD27E6-B224-41CD-B4E0-E297462320DD}" dt="2023-11-24T11:36:19.942" v="127322"/>
          <ac:spMkLst>
            <pc:docMk/>
            <pc:sldMk cId="789548521" sldId="2147478568"/>
            <ac:spMk id="831" creationId="{63209FA5-C333-78BC-BFB2-EB7FCC8296A0}"/>
          </ac:spMkLst>
        </pc:spChg>
        <pc:spChg chg="add del mod">
          <ac:chgData name="Steiner Andreas 6206 ED" userId="e6377c33-a923-4f14-8587-531c474c7b48" providerId="ADAL" clId="{6ECD27E6-B224-41CD-B4E0-E297462320DD}" dt="2023-11-24T11:36:22.316" v="127477"/>
          <ac:spMkLst>
            <pc:docMk/>
            <pc:sldMk cId="789548521" sldId="2147478568"/>
            <ac:spMk id="832" creationId="{F153CF76-33AA-4A08-C4CC-4A7843E4AA04}"/>
          </ac:spMkLst>
        </pc:spChg>
        <pc:spChg chg="add del mod">
          <ac:chgData name="Steiner Andreas 6206 ED" userId="e6377c33-a923-4f14-8587-531c474c7b48" providerId="ADAL" clId="{6ECD27E6-B224-41CD-B4E0-E297462320DD}" dt="2023-11-24T11:36:25.321" v="127632"/>
          <ac:spMkLst>
            <pc:docMk/>
            <pc:sldMk cId="789548521" sldId="2147478568"/>
            <ac:spMk id="833" creationId="{C30F041A-93C4-BB86-C017-09EA9D1B2EAA}"/>
          </ac:spMkLst>
        </pc:spChg>
        <pc:spChg chg="add del mod">
          <ac:chgData name="Steiner Andreas 6206 ED" userId="e6377c33-a923-4f14-8587-531c474c7b48" providerId="ADAL" clId="{6ECD27E6-B224-41CD-B4E0-E297462320DD}" dt="2023-11-24T11:36:28.297" v="127787"/>
          <ac:spMkLst>
            <pc:docMk/>
            <pc:sldMk cId="789548521" sldId="2147478568"/>
            <ac:spMk id="834" creationId="{E9EE09D8-74E1-8475-35CF-3DFEACA3EEFE}"/>
          </ac:spMkLst>
        </pc:spChg>
        <pc:spChg chg="add del mod">
          <ac:chgData name="Steiner Andreas 6206 ED" userId="e6377c33-a923-4f14-8587-531c474c7b48" providerId="ADAL" clId="{6ECD27E6-B224-41CD-B4E0-E297462320DD}" dt="2023-11-24T11:36:30.969" v="127942"/>
          <ac:spMkLst>
            <pc:docMk/>
            <pc:sldMk cId="789548521" sldId="2147478568"/>
            <ac:spMk id="835" creationId="{EAB77D41-3705-6270-42F0-12DAE5B553D9}"/>
          </ac:spMkLst>
        </pc:spChg>
        <pc:spChg chg="add del mod">
          <ac:chgData name="Steiner Andreas 6206 ED" userId="e6377c33-a923-4f14-8587-531c474c7b48" providerId="ADAL" clId="{6ECD27E6-B224-41CD-B4E0-E297462320DD}" dt="2023-11-24T11:36:33.205" v="128097"/>
          <ac:spMkLst>
            <pc:docMk/>
            <pc:sldMk cId="789548521" sldId="2147478568"/>
            <ac:spMk id="836" creationId="{5A0AE361-EC7B-912B-4EE3-57A5FAB1B98E}"/>
          </ac:spMkLst>
        </pc:spChg>
        <pc:spChg chg="add del mod">
          <ac:chgData name="Steiner Andreas 6206 ED" userId="e6377c33-a923-4f14-8587-531c474c7b48" providerId="ADAL" clId="{6ECD27E6-B224-41CD-B4E0-E297462320DD}" dt="2023-11-24T11:36:35.302" v="128252"/>
          <ac:spMkLst>
            <pc:docMk/>
            <pc:sldMk cId="789548521" sldId="2147478568"/>
            <ac:spMk id="837" creationId="{4E4D3D77-9AFD-0EE1-0F70-10FE6E81A0FC}"/>
          </ac:spMkLst>
        </pc:spChg>
        <pc:spChg chg="add del mod">
          <ac:chgData name="Steiner Andreas 6206 ED" userId="e6377c33-a923-4f14-8587-531c474c7b48" providerId="ADAL" clId="{6ECD27E6-B224-41CD-B4E0-E297462320DD}" dt="2023-11-24T11:36:37.377" v="128407"/>
          <ac:spMkLst>
            <pc:docMk/>
            <pc:sldMk cId="789548521" sldId="2147478568"/>
            <ac:spMk id="838" creationId="{F6575315-A05F-826E-7CE6-7C88234EB7B1}"/>
          </ac:spMkLst>
        </pc:spChg>
        <pc:spChg chg="add del mod">
          <ac:chgData name="Steiner Andreas 6206 ED" userId="e6377c33-a923-4f14-8587-531c474c7b48" providerId="ADAL" clId="{6ECD27E6-B224-41CD-B4E0-E297462320DD}" dt="2023-11-24T11:36:39.588" v="128562"/>
          <ac:spMkLst>
            <pc:docMk/>
            <pc:sldMk cId="789548521" sldId="2147478568"/>
            <ac:spMk id="839" creationId="{F488DDBC-C8F4-5CC6-515A-102657C788F8}"/>
          </ac:spMkLst>
        </pc:spChg>
        <pc:spChg chg="add del mod">
          <ac:chgData name="Steiner Andreas 6206 ED" userId="e6377c33-a923-4f14-8587-531c474c7b48" providerId="ADAL" clId="{6ECD27E6-B224-41CD-B4E0-E297462320DD}" dt="2023-11-24T11:36:42.141" v="128717"/>
          <ac:spMkLst>
            <pc:docMk/>
            <pc:sldMk cId="789548521" sldId="2147478568"/>
            <ac:spMk id="840" creationId="{3082E4E6-9BA6-66D4-43A5-A1575D995D50}"/>
          </ac:spMkLst>
        </pc:spChg>
        <pc:spChg chg="add del mod">
          <ac:chgData name="Steiner Andreas 6206 ED" userId="e6377c33-a923-4f14-8587-531c474c7b48" providerId="ADAL" clId="{6ECD27E6-B224-41CD-B4E0-E297462320DD}" dt="2023-11-24T11:36:44.463" v="128872"/>
          <ac:spMkLst>
            <pc:docMk/>
            <pc:sldMk cId="789548521" sldId="2147478568"/>
            <ac:spMk id="841" creationId="{4410F4CA-3948-47C6-4DBB-F8CC0DB39D21}"/>
          </ac:spMkLst>
        </pc:spChg>
        <pc:spChg chg="add del mod">
          <ac:chgData name="Steiner Andreas 6206 ED" userId="e6377c33-a923-4f14-8587-531c474c7b48" providerId="ADAL" clId="{6ECD27E6-B224-41CD-B4E0-E297462320DD}" dt="2023-11-24T11:36:46.476" v="129027"/>
          <ac:spMkLst>
            <pc:docMk/>
            <pc:sldMk cId="789548521" sldId="2147478568"/>
            <ac:spMk id="842" creationId="{B0B57501-29A6-9AB4-8690-CE2F26FB6813}"/>
          </ac:spMkLst>
        </pc:spChg>
        <pc:spChg chg="add del mod">
          <ac:chgData name="Steiner Andreas 6206 ED" userId="e6377c33-a923-4f14-8587-531c474c7b48" providerId="ADAL" clId="{6ECD27E6-B224-41CD-B4E0-E297462320DD}" dt="2023-11-24T11:36:48.433" v="129182"/>
          <ac:spMkLst>
            <pc:docMk/>
            <pc:sldMk cId="789548521" sldId="2147478568"/>
            <ac:spMk id="843" creationId="{559A3CC3-F7F5-C0D6-C2E9-C4DB271156D9}"/>
          </ac:spMkLst>
        </pc:spChg>
        <pc:spChg chg="add del mod">
          <ac:chgData name="Steiner Andreas 6206 ED" userId="e6377c33-a923-4f14-8587-531c474c7b48" providerId="ADAL" clId="{6ECD27E6-B224-41CD-B4E0-E297462320DD}" dt="2023-11-24T11:36:50.391" v="129337"/>
          <ac:spMkLst>
            <pc:docMk/>
            <pc:sldMk cId="789548521" sldId="2147478568"/>
            <ac:spMk id="844" creationId="{3AAE9272-8267-B6C4-E397-892D434D6E05}"/>
          </ac:spMkLst>
        </pc:spChg>
        <pc:spChg chg="add del mod">
          <ac:chgData name="Steiner Andreas 6206 ED" userId="e6377c33-a923-4f14-8587-531c474c7b48" providerId="ADAL" clId="{6ECD27E6-B224-41CD-B4E0-E297462320DD}" dt="2023-11-24T11:36:52.553" v="129492"/>
          <ac:spMkLst>
            <pc:docMk/>
            <pc:sldMk cId="789548521" sldId="2147478568"/>
            <ac:spMk id="845" creationId="{0557FFD1-B6C1-CB31-3F23-8BC1E97911F5}"/>
          </ac:spMkLst>
        </pc:spChg>
        <pc:spChg chg="add del mod">
          <ac:chgData name="Steiner Andreas 6206 ED" userId="e6377c33-a923-4f14-8587-531c474c7b48" providerId="ADAL" clId="{6ECD27E6-B224-41CD-B4E0-E297462320DD}" dt="2023-11-24T11:36:55.351" v="129647"/>
          <ac:spMkLst>
            <pc:docMk/>
            <pc:sldMk cId="789548521" sldId="2147478568"/>
            <ac:spMk id="846" creationId="{E27D5FAF-752E-E36D-4493-FCFC871F94ED}"/>
          </ac:spMkLst>
        </pc:spChg>
        <pc:spChg chg="add del mod">
          <ac:chgData name="Steiner Andreas 6206 ED" userId="e6377c33-a923-4f14-8587-531c474c7b48" providerId="ADAL" clId="{6ECD27E6-B224-41CD-B4E0-E297462320DD}" dt="2023-11-24T11:36:57.576" v="129802"/>
          <ac:spMkLst>
            <pc:docMk/>
            <pc:sldMk cId="789548521" sldId="2147478568"/>
            <ac:spMk id="847" creationId="{873BFBED-9698-8DCA-CBEF-004878856931}"/>
          </ac:spMkLst>
        </pc:spChg>
        <pc:spChg chg="add del mod">
          <ac:chgData name="Steiner Andreas 6206 ED" userId="e6377c33-a923-4f14-8587-531c474c7b48" providerId="ADAL" clId="{6ECD27E6-B224-41CD-B4E0-E297462320DD}" dt="2023-11-24T11:37:00.015" v="129957"/>
          <ac:spMkLst>
            <pc:docMk/>
            <pc:sldMk cId="789548521" sldId="2147478568"/>
            <ac:spMk id="848" creationId="{941B410E-861F-3885-83D9-8E9D054425D3}"/>
          </ac:spMkLst>
        </pc:spChg>
        <pc:spChg chg="add del mod">
          <ac:chgData name="Steiner Andreas 6206 ED" userId="e6377c33-a923-4f14-8587-531c474c7b48" providerId="ADAL" clId="{6ECD27E6-B224-41CD-B4E0-E297462320DD}" dt="2023-11-24T11:37:01.870" v="130112"/>
          <ac:spMkLst>
            <pc:docMk/>
            <pc:sldMk cId="789548521" sldId="2147478568"/>
            <ac:spMk id="849" creationId="{A9C75091-475D-C9C9-B55B-590A53A4263C}"/>
          </ac:spMkLst>
        </pc:spChg>
        <pc:spChg chg="add del mod">
          <ac:chgData name="Steiner Andreas 6206 ED" userId="e6377c33-a923-4f14-8587-531c474c7b48" providerId="ADAL" clId="{6ECD27E6-B224-41CD-B4E0-E297462320DD}" dt="2023-11-24T11:37:03.613" v="130267"/>
          <ac:spMkLst>
            <pc:docMk/>
            <pc:sldMk cId="789548521" sldId="2147478568"/>
            <ac:spMk id="850" creationId="{1F1F731C-9CB8-8980-68FA-3AAD8CF696F4}"/>
          </ac:spMkLst>
        </pc:spChg>
        <pc:spChg chg="add del mod">
          <ac:chgData name="Steiner Andreas 6206 ED" userId="e6377c33-a923-4f14-8587-531c474c7b48" providerId="ADAL" clId="{6ECD27E6-B224-41CD-B4E0-E297462320DD}" dt="2023-11-24T11:37:05.492" v="130422"/>
          <ac:spMkLst>
            <pc:docMk/>
            <pc:sldMk cId="789548521" sldId="2147478568"/>
            <ac:spMk id="851" creationId="{33BF8AC9-8735-8E69-58E3-0C858E66E4A5}"/>
          </ac:spMkLst>
        </pc:spChg>
        <pc:spChg chg="add del mod">
          <ac:chgData name="Steiner Andreas 6206 ED" userId="e6377c33-a923-4f14-8587-531c474c7b48" providerId="ADAL" clId="{6ECD27E6-B224-41CD-B4E0-E297462320DD}" dt="2023-11-24T11:37:07.243" v="130577"/>
          <ac:spMkLst>
            <pc:docMk/>
            <pc:sldMk cId="789548521" sldId="2147478568"/>
            <ac:spMk id="852" creationId="{54450EBE-33FF-680C-F63D-D0BDF58CA659}"/>
          </ac:spMkLst>
        </pc:spChg>
        <pc:spChg chg="add del mod">
          <ac:chgData name="Steiner Andreas 6206 ED" userId="e6377c33-a923-4f14-8587-531c474c7b48" providerId="ADAL" clId="{6ECD27E6-B224-41CD-B4E0-E297462320DD}" dt="2023-11-24T11:37:08.987" v="130732"/>
          <ac:spMkLst>
            <pc:docMk/>
            <pc:sldMk cId="789548521" sldId="2147478568"/>
            <ac:spMk id="853" creationId="{57178D72-11D9-42FB-F202-8162D62257AB}"/>
          </ac:spMkLst>
        </pc:spChg>
        <pc:spChg chg="add del mod">
          <ac:chgData name="Steiner Andreas 6206 ED" userId="e6377c33-a923-4f14-8587-531c474c7b48" providerId="ADAL" clId="{6ECD27E6-B224-41CD-B4E0-E297462320DD}" dt="2023-11-24T11:37:10.649" v="130887"/>
          <ac:spMkLst>
            <pc:docMk/>
            <pc:sldMk cId="789548521" sldId="2147478568"/>
            <ac:spMk id="854" creationId="{F33C006C-9A87-E426-3611-8F2CD7CE4B8D}"/>
          </ac:spMkLst>
        </pc:spChg>
        <pc:spChg chg="add del mod">
          <ac:chgData name="Steiner Andreas 6206 ED" userId="e6377c33-a923-4f14-8587-531c474c7b48" providerId="ADAL" clId="{6ECD27E6-B224-41CD-B4E0-E297462320DD}" dt="2023-11-24T11:37:12.338" v="131042"/>
          <ac:spMkLst>
            <pc:docMk/>
            <pc:sldMk cId="789548521" sldId="2147478568"/>
            <ac:spMk id="855" creationId="{058075D1-CA48-2F65-219D-E58B26093CBA}"/>
          </ac:spMkLst>
        </pc:spChg>
        <pc:spChg chg="add del mod">
          <ac:chgData name="Steiner Andreas 6206 ED" userId="e6377c33-a923-4f14-8587-531c474c7b48" providerId="ADAL" clId="{6ECD27E6-B224-41CD-B4E0-E297462320DD}" dt="2023-11-24T11:37:14.023" v="131197"/>
          <ac:spMkLst>
            <pc:docMk/>
            <pc:sldMk cId="789548521" sldId="2147478568"/>
            <ac:spMk id="856" creationId="{1DE8142C-97F3-D200-92BD-C30C3FD84BAF}"/>
          </ac:spMkLst>
        </pc:spChg>
        <pc:spChg chg="add del mod">
          <ac:chgData name="Steiner Andreas 6206 ED" userId="e6377c33-a923-4f14-8587-531c474c7b48" providerId="ADAL" clId="{6ECD27E6-B224-41CD-B4E0-E297462320DD}" dt="2023-11-24T11:37:15.994" v="131352"/>
          <ac:spMkLst>
            <pc:docMk/>
            <pc:sldMk cId="789548521" sldId="2147478568"/>
            <ac:spMk id="857" creationId="{AC5BA8AB-ECB7-48DC-4069-E847546685D5}"/>
          </ac:spMkLst>
        </pc:spChg>
        <pc:spChg chg="add del mod">
          <ac:chgData name="Steiner Andreas 6206 ED" userId="e6377c33-a923-4f14-8587-531c474c7b48" providerId="ADAL" clId="{6ECD27E6-B224-41CD-B4E0-E297462320DD}" dt="2023-11-24T11:37:17.996" v="131507"/>
          <ac:spMkLst>
            <pc:docMk/>
            <pc:sldMk cId="789548521" sldId="2147478568"/>
            <ac:spMk id="858" creationId="{64AC20D9-2312-CFA6-1F73-226CD7D17239}"/>
          </ac:spMkLst>
        </pc:spChg>
        <pc:spChg chg="add del mod">
          <ac:chgData name="Steiner Andreas 6206 ED" userId="e6377c33-a923-4f14-8587-531c474c7b48" providerId="ADAL" clId="{6ECD27E6-B224-41CD-B4E0-E297462320DD}" dt="2023-11-24T11:37:19.922" v="131662"/>
          <ac:spMkLst>
            <pc:docMk/>
            <pc:sldMk cId="789548521" sldId="2147478568"/>
            <ac:spMk id="859" creationId="{CD08DB38-2484-0111-A1F8-A934B5095C78}"/>
          </ac:spMkLst>
        </pc:spChg>
        <pc:spChg chg="add del mod">
          <ac:chgData name="Steiner Andreas 6206 ED" userId="e6377c33-a923-4f14-8587-531c474c7b48" providerId="ADAL" clId="{6ECD27E6-B224-41CD-B4E0-E297462320DD}" dt="2023-11-24T11:37:21.818" v="131817"/>
          <ac:spMkLst>
            <pc:docMk/>
            <pc:sldMk cId="789548521" sldId="2147478568"/>
            <ac:spMk id="860" creationId="{8AB2483B-5672-CCC8-81B7-3C3ADBA65E7D}"/>
          </ac:spMkLst>
        </pc:spChg>
        <pc:spChg chg="add del mod">
          <ac:chgData name="Steiner Andreas 6206 ED" userId="e6377c33-a923-4f14-8587-531c474c7b48" providerId="ADAL" clId="{6ECD27E6-B224-41CD-B4E0-E297462320DD}" dt="2023-11-24T11:37:23.609" v="131972"/>
          <ac:spMkLst>
            <pc:docMk/>
            <pc:sldMk cId="789548521" sldId="2147478568"/>
            <ac:spMk id="861" creationId="{F323F8C3-844B-51EA-A999-8F92AC8A8546}"/>
          </ac:spMkLst>
        </pc:spChg>
        <pc:spChg chg="add del mod">
          <ac:chgData name="Steiner Andreas 6206 ED" userId="e6377c33-a923-4f14-8587-531c474c7b48" providerId="ADAL" clId="{6ECD27E6-B224-41CD-B4E0-E297462320DD}" dt="2023-11-24T11:37:25.339" v="132127"/>
          <ac:spMkLst>
            <pc:docMk/>
            <pc:sldMk cId="789548521" sldId="2147478568"/>
            <ac:spMk id="862" creationId="{DC3C2DCB-8FD4-0804-78BD-B0580C482D63}"/>
          </ac:spMkLst>
        </pc:spChg>
        <pc:spChg chg="add del mod">
          <ac:chgData name="Steiner Andreas 6206 ED" userId="e6377c33-a923-4f14-8587-531c474c7b48" providerId="ADAL" clId="{6ECD27E6-B224-41CD-B4E0-E297462320DD}" dt="2023-11-24T11:37:27.236" v="132282"/>
          <ac:spMkLst>
            <pc:docMk/>
            <pc:sldMk cId="789548521" sldId="2147478568"/>
            <ac:spMk id="863" creationId="{47BC7251-56EF-CC40-8616-F6A7D824846A}"/>
          </ac:spMkLst>
        </pc:spChg>
        <pc:spChg chg="add del mod">
          <ac:chgData name="Steiner Andreas 6206 ED" userId="e6377c33-a923-4f14-8587-531c474c7b48" providerId="ADAL" clId="{6ECD27E6-B224-41CD-B4E0-E297462320DD}" dt="2023-11-24T11:37:29.874" v="132437"/>
          <ac:spMkLst>
            <pc:docMk/>
            <pc:sldMk cId="789548521" sldId="2147478568"/>
            <ac:spMk id="864" creationId="{392D0825-5CE5-9540-A7F6-CD7AE4EF5995}"/>
          </ac:spMkLst>
        </pc:spChg>
        <pc:spChg chg="add del mod">
          <ac:chgData name="Steiner Andreas 6206 ED" userId="e6377c33-a923-4f14-8587-531c474c7b48" providerId="ADAL" clId="{6ECD27E6-B224-41CD-B4E0-E297462320DD}" dt="2023-11-24T11:37:32.440" v="132592"/>
          <ac:spMkLst>
            <pc:docMk/>
            <pc:sldMk cId="789548521" sldId="2147478568"/>
            <ac:spMk id="865" creationId="{9F373A8A-021B-8EBC-7DAC-8A9BCB890669}"/>
          </ac:spMkLst>
        </pc:spChg>
        <pc:spChg chg="add del mod">
          <ac:chgData name="Steiner Andreas 6206 ED" userId="e6377c33-a923-4f14-8587-531c474c7b48" providerId="ADAL" clId="{6ECD27E6-B224-41CD-B4E0-E297462320DD}" dt="2023-11-24T11:37:35.412" v="132747"/>
          <ac:spMkLst>
            <pc:docMk/>
            <pc:sldMk cId="789548521" sldId="2147478568"/>
            <ac:spMk id="866" creationId="{20F0CBA9-7942-DB10-77D9-EF474361856E}"/>
          </ac:spMkLst>
        </pc:spChg>
        <pc:spChg chg="add del mod">
          <ac:chgData name="Steiner Andreas 6206 ED" userId="e6377c33-a923-4f14-8587-531c474c7b48" providerId="ADAL" clId="{6ECD27E6-B224-41CD-B4E0-E297462320DD}" dt="2023-11-24T11:37:38.088" v="132902"/>
          <ac:spMkLst>
            <pc:docMk/>
            <pc:sldMk cId="789548521" sldId="2147478568"/>
            <ac:spMk id="867" creationId="{48441C22-CBDA-68E4-07B1-BE29D2A2BF01}"/>
          </ac:spMkLst>
        </pc:spChg>
        <pc:spChg chg="add del mod">
          <ac:chgData name="Steiner Andreas 6206 ED" userId="e6377c33-a923-4f14-8587-531c474c7b48" providerId="ADAL" clId="{6ECD27E6-B224-41CD-B4E0-E297462320DD}" dt="2023-11-24T11:37:40.703" v="133057"/>
          <ac:spMkLst>
            <pc:docMk/>
            <pc:sldMk cId="789548521" sldId="2147478568"/>
            <ac:spMk id="868" creationId="{D4935A09-FB35-3245-7035-A13A566630BE}"/>
          </ac:spMkLst>
        </pc:spChg>
        <pc:spChg chg="add del mod">
          <ac:chgData name="Steiner Andreas 6206 ED" userId="e6377c33-a923-4f14-8587-531c474c7b48" providerId="ADAL" clId="{6ECD27E6-B224-41CD-B4E0-E297462320DD}" dt="2023-11-24T11:37:43.528" v="133212"/>
          <ac:spMkLst>
            <pc:docMk/>
            <pc:sldMk cId="789548521" sldId="2147478568"/>
            <ac:spMk id="869" creationId="{4E043D4A-1B7A-B7C7-EB5F-556FB047394D}"/>
          </ac:spMkLst>
        </pc:spChg>
        <pc:spChg chg="add del mod">
          <ac:chgData name="Steiner Andreas 6206 ED" userId="e6377c33-a923-4f14-8587-531c474c7b48" providerId="ADAL" clId="{6ECD27E6-B224-41CD-B4E0-E297462320DD}" dt="2023-11-24T11:37:47.630" v="133367"/>
          <ac:spMkLst>
            <pc:docMk/>
            <pc:sldMk cId="789548521" sldId="2147478568"/>
            <ac:spMk id="870" creationId="{2DB324A9-35CB-ADA7-7F50-7E575082440A}"/>
          </ac:spMkLst>
        </pc:spChg>
        <pc:spChg chg="add del mod">
          <ac:chgData name="Steiner Andreas 6206 ED" userId="e6377c33-a923-4f14-8587-531c474c7b48" providerId="ADAL" clId="{6ECD27E6-B224-41CD-B4E0-E297462320DD}" dt="2023-11-24T11:37:50.746" v="133522"/>
          <ac:spMkLst>
            <pc:docMk/>
            <pc:sldMk cId="789548521" sldId="2147478568"/>
            <ac:spMk id="871" creationId="{E0B44E46-7DEF-EF12-CF84-49828980D2F8}"/>
          </ac:spMkLst>
        </pc:spChg>
        <pc:spChg chg="add del mod">
          <ac:chgData name="Steiner Andreas 6206 ED" userId="e6377c33-a923-4f14-8587-531c474c7b48" providerId="ADAL" clId="{6ECD27E6-B224-41CD-B4E0-E297462320DD}" dt="2023-11-24T11:37:53.901" v="133677"/>
          <ac:spMkLst>
            <pc:docMk/>
            <pc:sldMk cId="789548521" sldId="2147478568"/>
            <ac:spMk id="872" creationId="{0B698B74-4D20-E810-EE48-6D3547F1E693}"/>
          </ac:spMkLst>
        </pc:spChg>
        <pc:spChg chg="add del mod">
          <ac:chgData name="Steiner Andreas 6206 ED" userId="e6377c33-a923-4f14-8587-531c474c7b48" providerId="ADAL" clId="{6ECD27E6-B224-41CD-B4E0-E297462320DD}" dt="2023-11-24T11:37:56.124" v="133832"/>
          <ac:spMkLst>
            <pc:docMk/>
            <pc:sldMk cId="789548521" sldId="2147478568"/>
            <ac:spMk id="873" creationId="{6AA76F4F-54A6-652D-2422-BCA6CC002DA8}"/>
          </ac:spMkLst>
        </pc:spChg>
        <pc:spChg chg="add del mod">
          <ac:chgData name="Steiner Andreas 6206 ED" userId="e6377c33-a923-4f14-8587-531c474c7b48" providerId="ADAL" clId="{6ECD27E6-B224-41CD-B4E0-E297462320DD}" dt="2023-11-24T11:37:58.849" v="133987"/>
          <ac:spMkLst>
            <pc:docMk/>
            <pc:sldMk cId="789548521" sldId="2147478568"/>
            <ac:spMk id="874" creationId="{958145B1-B825-93C9-A36F-6BC648590427}"/>
          </ac:spMkLst>
        </pc:spChg>
        <pc:spChg chg="add del mod">
          <ac:chgData name="Steiner Andreas 6206 ED" userId="e6377c33-a923-4f14-8587-531c474c7b48" providerId="ADAL" clId="{6ECD27E6-B224-41CD-B4E0-E297462320DD}" dt="2023-11-24T11:38:01.133" v="134142"/>
          <ac:spMkLst>
            <pc:docMk/>
            <pc:sldMk cId="789548521" sldId="2147478568"/>
            <ac:spMk id="875" creationId="{4B10D9BB-3BB7-E5BD-494C-E394F2A64E44}"/>
          </ac:spMkLst>
        </pc:spChg>
        <pc:spChg chg="add del mod">
          <ac:chgData name="Steiner Andreas 6206 ED" userId="e6377c33-a923-4f14-8587-531c474c7b48" providerId="ADAL" clId="{6ECD27E6-B224-41CD-B4E0-E297462320DD}" dt="2023-11-24T11:38:03.691" v="134297"/>
          <ac:spMkLst>
            <pc:docMk/>
            <pc:sldMk cId="789548521" sldId="2147478568"/>
            <ac:spMk id="876" creationId="{04484F5A-AB75-60C9-BBF3-7BEA6068A8B7}"/>
          </ac:spMkLst>
        </pc:spChg>
        <pc:spChg chg="add del mod">
          <ac:chgData name="Steiner Andreas 6206 ED" userId="e6377c33-a923-4f14-8587-531c474c7b48" providerId="ADAL" clId="{6ECD27E6-B224-41CD-B4E0-E297462320DD}" dt="2023-11-24T11:38:05.979" v="134452"/>
          <ac:spMkLst>
            <pc:docMk/>
            <pc:sldMk cId="789548521" sldId="2147478568"/>
            <ac:spMk id="877" creationId="{8BBE0C63-701F-6975-C2A0-017DF5DEDDFF}"/>
          </ac:spMkLst>
        </pc:spChg>
        <pc:spChg chg="add del mod">
          <ac:chgData name="Steiner Andreas 6206 ED" userId="e6377c33-a923-4f14-8587-531c474c7b48" providerId="ADAL" clId="{6ECD27E6-B224-41CD-B4E0-E297462320DD}" dt="2023-11-24T11:38:08.774" v="134607"/>
          <ac:spMkLst>
            <pc:docMk/>
            <pc:sldMk cId="789548521" sldId="2147478568"/>
            <ac:spMk id="878" creationId="{05B4DA95-0203-86BD-E792-9850B36BD861}"/>
          </ac:spMkLst>
        </pc:spChg>
        <pc:spChg chg="add del mod">
          <ac:chgData name="Steiner Andreas 6206 ED" userId="e6377c33-a923-4f14-8587-531c474c7b48" providerId="ADAL" clId="{6ECD27E6-B224-41CD-B4E0-E297462320DD}" dt="2023-11-24T11:38:11.733" v="134762"/>
          <ac:spMkLst>
            <pc:docMk/>
            <pc:sldMk cId="789548521" sldId="2147478568"/>
            <ac:spMk id="879" creationId="{990188E4-8317-F454-D22E-75C298FCDD86}"/>
          </ac:spMkLst>
        </pc:spChg>
        <pc:spChg chg="add del mod">
          <ac:chgData name="Steiner Andreas 6206 ED" userId="e6377c33-a923-4f14-8587-531c474c7b48" providerId="ADAL" clId="{6ECD27E6-B224-41CD-B4E0-E297462320DD}" dt="2023-11-24T11:38:13.959" v="134917"/>
          <ac:spMkLst>
            <pc:docMk/>
            <pc:sldMk cId="789548521" sldId="2147478568"/>
            <ac:spMk id="880" creationId="{00A1D7B8-0710-D97D-E55A-96A85BB44581}"/>
          </ac:spMkLst>
        </pc:spChg>
        <pc:spChg chg="add del mod">
          <ac:chgData name="Steiner Andreas 6206 ED" userId="e6377c33-a923-4f14-8587-531c474c7b48" providerId="ADAL" clId="{6ECD27E6-B224-41CD-B4E0-E297462320DD}" dt="2023-11-24T11:38:16.442" v="135072"/>
          <ac:spMkLst>
            <pc:docMk/>
            <pc:sldMk cId="789548521" sldId="2147478568"/>
            <ac:spMk id="881" creationId="{A217441D-58FC-A4FB-1209-4CB65FB32040}"/>
          </ac:spMkLst>
        </pc:spChg>
        <pc:spChg chg="add del mod">
          <ac:chgData name="Steiner Andreas 6206 ED" userId="e6377c33-a923-4f14-8587-531c474c7b48" providerId="ADAL" clId="{6ECD27E6-B224-41CD-B4E0-E297462320DD}" dt="2023-11-24T11:38:18.955" v="135227"/>
          <ac:spMkLst>
            <pc:docMk/>
            <pc:sldMk cId="789548521" sldId="2147478568"/>
            <ac:spMk id="882" creationId="{FFD78507-6AC6-3A5C-3E00-31BB040CA260}"/>
          </ac:spMkLst>
        </pc:spChg>
        <pc:spChg chg="add del mod">
          <ac:chgData name="Steiner Andreas 6206 ED" userId="e6377c33-a923-4f14-8587-531c474c7b48" providerId="ADAL" clId="{6ECD27E6-B224-41CD-B4E0-E297462320DD}" dt="2023-11-24T11:38:21.848" v="135382"/>
          <ac:spMkLst>
            <pc:docMk/>
            <pc:sldMk cId="789548521" sldId="2147478568"/>
            <ac:spMk id="883" creationId="{33F260F3-46A8-10D1-D0E2-891C91C7B73D}"/>
          </ac:spMkLst>
        </pc:spChg>
        <pc:spChg chg="add del mod">
          <ac:chgData name="Steiner Andreas 6206 ED" userId="e6377c33-a923-4f14-8587-531c474c7b48" providerId="ADAL" clId="{6ECD27E6-B224-41CD-B4E0-E297462320DD}" dt="2023-11-24T11:38:24.692" v="135537"/>
          <ac:spMkLst>
            <pc:docMk/>
            <pc:sldMk cId="789548521" sldId="2147478568"/>
            <ac:spMk id="884" creationId="{363A25DF-28FB-154B-B7A6-957F45474A5F}"/>
          </ac:spMkLst>
        </pc:spChg>
        <pc:spChg chg="add del mod">
          <ac:chgData name="Steiner Andreas 6206 ED" userId="e6377c33-a923-4f14-8587-531c474c7b48" providerId="ADAL" clId="{6ECD27E6-B224-41CD-B4E0-E297462320DD}" dt="2023-11-24T11:38:27.421" v="135692"/>
          <ac:spMkLst>
            <pc:docMk/>
            <pc:sldMk cId="789548521" sldId="2147478568"/>
            <ac:spMk id="885" creationId="{F50644EA-5D3B-0F5A-1B71-355E03879A9A}"/>
          </ac:spMkLst>
        </pc:spChg>
        <pc:spChg chg="add del mod">
          <ac:chgData name="Steiner Andreas 6206 ED" userId="e6377c33-a923-4f14-8587-531c474c7b48" providerId="ADAL" clId="{6ECD27E6-B224-41CD-B4E0-E297462320DD}" dt="2023-11-24T11:38:30.065" v="135847"/>
          <ac:spMkLst>
            <pc:docMk/>
            <pc:sldMk cId="789548521" sldId="2147478568"/>
            <ac:spMk id="886" creationId="{F638B5A4-566E-1E9C-3874-10AA3237403F}"/>
          </ac:spMkLst>
        </pc:spChg>
        <pc:spChg chg="add del mod">
          <ac:chgData name="Steiner Andreas 6206 ED" userId="e6377c33-a923-4f14-8587-531c474c7b48" providerId="ADAL" clId="{6ECD27E6-B224-41CD-B4E0-E297462320DD}" dt="2023-11-24T11:38:32.471" v="136002"/>
          <ac:spMkLst>
            <pc:docMk/>
            <pc:sldMk cId="789548521" sldId="2147478568"/>
            <ac:spMk id="887" creationId="{E0102BB7-9498-709A-2220-CC63CA1331CE}"/>
          </ac:spMkLst>
        </pc:spChg>
        <pc:spChg chg="add del mod">
          <ac:chgData name="Steiner Andreas 6206 ED" userId="e6377c33-a923-4f14-8587-531c474c7b48" providerId="ADAL" clId="{6ECD27E6-B224-41CD-B4E0-E297462320DD}" dt="2023-11-24T11:38:34.957" v="136157"/>
          <ac:spMkLst>
            <pc:docMk/>
            <pc:sldMk cId="789548521" sldId="2147478568"/>
            <ac:spMk id="888" creationId="{19C65269-7413-116F-2DF2-C5FCDEF06A5B}"/>
          </ac:spMkLst>
        </pc:spChg>
        <pc:spChg chg="add del mod">
          <ac:chgData name="Steiner Andreas 6206 ED" userId="e6377c33-a923-4f14-8587-531c474c7b48" providerId="ADAL" clId="{6ECD27E6-B224-41CD-B4E0-E297462320DD}" dt="2023-11-24T11:38:37.490" v="136312"/>
          <ac:spMkLst>
            <pc:docMk/>
            <pc:sldMk cId="789548521" sldId="2147478568"/>
            <ac:spMk id="889" creationId="{F5FAB83E-E003-BA84-0DC1-9C7D58A1E3F7}"/>
          </ac:spMkLst>
        </pc:spChg>
        <pc:spChg chg="add del mod">
          <ac:chgData name="Steiner Andreas 6206 ED" userId="e6377c33-a923-4f14-8587-531c474c7b48" providerId="ADAL" clId="{6ECD27E6-B224-41CD-B4E0-E297462320DD}" dt="2023-11-24T11:38:40.357" v="136467"/>
          <ac:spMkLst>
            <pc:docMk/>
            <pc:sldMk cId="789548521" sldId="2147478568"/>
            <ac:spMk id="890" creationId="{D7A4899F-7CE4-F179-7DBF-ED539833852B}"/>
          </ac:spMkLst>
        </pc:spChg>
        <pc:spChg chg="add del mod">
          <ac:chgData name="Steiner Andreas 6206 ED" userId="e6377c33-a923-4f14-8587-531c474c7b48" providerId="ADAL" clId="{6ECD27E6-B224-41CD-B4E0-E297462320DD}" dt="2023-11-24T11:38:42.768" v="136622"/>
          <ac:spMkLst>
            <pc:docMk/>
            <pc:sldMk cId="789548521" sldId="2147478568"/>
            <ac:spMk id="891" creationId="{6554F2F6-D51B-709C-BBF9-77E017C959E4}"/>
          </ac:spMkLst>
        </pc:spChg>
        <pc:spChg chg="add del mod">
          <ac:chgData name="Steiner Andreas 6206 ED" userId="e6377c33-a923-4f14-8587-531c474c7b48" providerId="ADAL" clId="{6ECD27E6-B224-41CD-B4E0-E297462320DD}" dt="2023-11-24T11:38:45.127" v="136777"/>
          <ac:spMkLst>
            <pc:docMk/>
            <pc:sldMk cId="789548521" sldId="2147478568"/>
            <ac:spMk id="892" creationId="{2CD946DB-511D-C4FA-882E-63872992F706}"/>
          </ac:spMkLst>
        </pc:spChg>
        <pc:spChg chg="add del mod">
          <ac:chgData name="Steiner Andreas 6206 ED" userId="e6377c33-a923-4f14-8587-531c474c7b48" providerId="ADAL" clId="{6ECD27E6-B224-41CD-B4E0-E297462320DD}" dt="2023-11-24T11:38:47.485" v="136932"/>
          <ac:spMkLst>
            <pc:docMk/>
            <pc:sldMk cId="789548521" sldId="2147478568"/>
            <ac:spMk id="893" creationId="{DC3A41DD-C433-C2E8-C1BA-EE13093BAA02}"/>
          </ac:spMkLst>
        </pc:spChg>
        <pc:spChg chg="add del mod">
          <ac:chgData name="Steiner Andreas 6206 ED" userId="e6377c33-a923-4f14-8587-531c474c7b48" providerId="ADAL" clId="{6ECD27E6-B224-41CD-B4E0-E297462320DD}" dt="2023-11-24T11:38:50.462" v="137087"/>
          <ac:spMkLst>
            <pc:docMk/>
            <pc:sldMk cId="789548521" sldId="2147478568"/>
            <ac:spMk id="894" creationId="{70CEE774-D156-56FB-3CF7-6FA294A69875}"/>
          </ac:spMkLst>
        </pc:spChg>
        <pc:spChg chg="add del mod">
          <ac:chgData name="Steiner Andreas 6206 ED" userId="e6377c33-a923-4f14-8587-531c474c7b48" providerId="ADAL" clId="{6ECD27E6-B224-41CD-B4E0-E297462320DD}" dt="2023-11-24T11:38:52.942" v="137242"/>
          <ac:spMkLst>
            <pc:docMk/>
            <pc:sldMk cId="789548521" sldId="2147478568"/>
            <ac:spMk id="895" creationId="{E76185C6-19C9-5D11-D846-78970B0DF3D1}"/>
          </ac:spMkLst>
        </pc:spChg>
        <pc:spChg chg="add del mod">
          <ac:chgData name="Steiner Andreas 6206 ED" userId="e6377c33-a923-4f14-8587-531c474c7b48" providerId="ADAL" clId="{6ECD27E6-B224-41CD-B4E0-E297462320DD}" dt="2023-11-24T11:38:55.426" v="137397"/>
          <ac:spMkLst>
            <pc:docMk/>
            <pc:sldMk cId="789548521" sldId="2147478568"/>
            <ac:spMk id="896" creationId="{E86B9976-2A16-5534-DA1E-6C35EEC1D562}"/>
          </ac:spMkLst>
        </pc:spChg>
        <pc:spChg chg="add del mod">
          <ac:chgData name="Steiner Andreas 6206 ED" userId="e6377c33-a923-4f14-8587-531c474c7b48" providerId="ADAL" clId="{6ECD27E6-B224-41CD-B4E0-E297462320DD}" dt="2023-11-24T11:38:58.039" v="137552"/>
          <ac:spMkLst>
            <pc:docMk/>
            <pc:sldMk cId="789548521" sldId="2147478568"/>
            <ac:spMk id="897" creationId="{1777DF55-D919-E000-7EA9-6F081EC01BFC}"/>
          </ac:spMkLst>
        </pc:spChg>
        <pc:spChg chg="add del mod">
          <ac:chgData name="Steiner Andreas 6206 ED" userId="e6377c33-a923-4f14-8587-531c474c7b48" providerId="ADAL" clId="{6ECD27E6-B224-41CD-B4E0-E297462320DD}" dt="2023-11-24T11:39:00.268" v="137707"/>
          <ac:spMkLst>
            <pc:docMk/>
            <pc:sldMk cId="789548521" sldId="2147478568"/>
            <ac:spMk id="898" creationId="{69C9833D-6EED-2C5F-CCD4-3C27A24CEE86}"/>
          </ac:spMkLst>
        </pc:spChg>
        <pc:spChg chg="add del mod">
          <ac:chgData name="Steiner Andreas 6206 ED" userId="e6377c33-a923-4f14-8587-531c474c7b48" providerId="ADAL" clId="{6ECD27E6-B224-41CD-B4E0-E297462320DD}" dt="2023-11-24T11:39:03.206" v="137862"/>
          <ac:spMkLst>
            <pc:docMk/>
            <pc:sldMk cId="789548521" sldId="2147478568"/>
            <ac:spMk id="899" creationId="{32B4C361-BE00-582A-C11B-7729F116D7FA}"/>
          </ac:spMkLst>
        </pc:spChg>
        <pc:spChg chg="add del mod">
          <ac:chgData name="Steiner Andreas 6206 ED" userId="e6377c33-a923-4f14-8587-531c474c7b48" providerId="ADAL" clId="{6ECD27E6-B224-41CD-B4E0-E297462320DD}" dt="2023-11-24T11:39:05.978" v="138017"/>
          <ac:spMkLst>
            <pc:docMk/>
            <pc:sldMk cId="789548521" sldId="2147478568"/>
            <ac:spMk id="900" creationId="{C7425F77-8AD6-CA25-5F7E-5499DE030F10}"/>
          </ac:spMkLst>
        </pc:spChg>
        <pc:spChg chg="add del mod">
          <ac:chgData name="Steiner Andreas 6206 ED" userId="e6377c33-a923-4f14-8587-531c474c7b48" providerId="ADAL" clId="{6ECD27E6-B224-41CD-B4E0-E297462320DD}" dt="2023-11-24T11:39:08.420" v="138172"/>
          <ac:spMkLst>
            <pc:docMk/>
            <pc:sldMk cId="789548521" sldId="2147478568"/>
            <ac:spMk id="901" creationId="{BC573FC1-AFE0-32F4-94D1-766E3FD84E41}"/>
          </ac:spMkLst>
        </pc:spChg>
        <pc:spChg chg="add del mod">
          <ac:chgData name="Steiner Andreas 6206 ED" userId="e6377c33-a923-4f14-8587-531c474c7b48" providerId="ADAL" clId="{6ECD27E6-B224-41CD-B4E0-E297462320DD}" dt="2023-11-24T11:39:10.766" v="138327"/>
          <ac:spMkLst>
            <pc:docMk/>
            <pc:sldMk cId="789548521" sldId="2147478568"/>
            <ac:spMk id="902" creationId="{83F96124-9705-309A-76BA-688B4DF88B60}"/>
          </ac:spMkLst>
        </pc:spChg>
        <pc:spChg chg="add del mod">
          <ac:chgData name="Steiner Andreas 6206 ED" userId="e6377c33-a923-4f14-8587-531c474c7b48" providerId="ADAL" clId="{6ECD27E6-B224-41CD-B4E0-E297462320DD}" dt="2023-11-24T11:39:13.269" v="138482"/>
          <ac:spMkLst>
            <pc:docMk/>
            <pc:sldMk cId="789548521" sldId="2147478568"/>
            <ac:spMk id="903" creationId="{0ECAD3A8-F7C5-01B4-941C-41795F0D8D03}"/>
          </ac:spMkLst>
        </pc:spChg>
        <pc:spChg chg="add del mod">
          <ac:chgData name="Steiner Andreas 6206 ED" userId="e6377c33-a923-4f14-8587-531c474c7b48" providerId="ADAL" clId="{6ECD27E6-B224-41CD-B4E0-E297462320DD}" dt="2023-11-24T11:39:15.982" v="138637"/>
          <ac:spMkLst>
            <pc:docMk/>
            <pc:sldMk cId="789548521" sldId="2147478568"/>
            <ac:spMk id="904" creationId="{86492BD1-D987-594A-B4CE-6618382B9F5A}"/>
          </ac:spMkLst>
        </pc:spChg>
        <pc:spChg chg="add del mod">
          <ac:chgData name="Steiner Andreas 6206 ED" userId="e6377c33-a923-4f14-8587-531c474c7b48" providerId="ADAL" clId="{6ECD27E6-B224-41CD-B4E0-E297462320DD}" dt="2023-11-24T11:39:18.827" v="138792"/>
          <ac:spMkLst>
            <pc:docMk/>
            <pc:sldMk cId="789548521" sldId="2147478568"/>
            <ac:spMk id="905" creationId="{2D07F9F0-AA4F-5F28-A347-96516043C96B}"/>
          </ac:spMkLst>
        </pc:spChg>
        <pc:spChg chg="add del mod">
          <ac:chgData name="Steiner Andreas 6206 ED" userId="e6377c33-a923-4f14-8587-531c474c7b48" providerId="ADAL" clId="{6ECD27E6-B224-41CD-B4E0-E297462320DD}" dt="2023-11-24T11:39:21.478" v="138947"/>
          <ac:spMkLst>
            <pc:docMk/>
            <pc:sldMk cId="789548521" sldId="2147478568"/>
            <ac:spMk id="906" creationId="{2299AFD6-F0A2-F6F4-2EA5-697245B4EA05}"/>
          </ac:spMkLst>
        </pc:spChg>
        <pc:spChg chg="add del mod">
          <ac:chgData name="Steiner Andreas 6206 ED" userId="e6377c33-a923-4f14-8587-531c474c7b48" providerId="ADAL" clId="{6ECD27E6-B224-41CD-B4E0-E297462320DD}" dt="2023-11-24T11:39:24.045" v="139102"/>
          <ac:spMkLst>
            <pc:docMk/>
            <pc:sldMk cId="789548521" sldId="2147478568"/>
            <ac:spMk id="907" creationId="{BEED1742-16FE-932C-1799-571A79BDC5A4}"/>
          </ac:spMkLst>
        </pc:spChg>
        <pc:spChg chg="add del mod">
          <ac:chgData name="Steiner Andreas 6206 ED" userId="e6377c33-a923-4f14-8587-531c474c7b48" providerId="ADAL" clId="{6ECD27E6-B224-41CD-B4E0-E297462320DD}" dt="2023-11-24T11:39:26.719" v="139257"/>
          <ac:spMkLst>
            <pc:docMk/>
            <pc:sldMk cId="789548521" sldId="2147478568"/>
            <ac:spMk id="908" creationId="{EFB796B8-4015-2E0D-B7D5-E744849CF02C}"/>
          </ac:spMkLst>
        </pc:spChg>
        <pc:spChg chg="add del mod">
          <ac:chgData name="Steiner Andreas 6206 ED" userId="e6377c33-a923-4f14-8587-531c474c7b48" providerId="ADAL" clId="{6ECD27E6-B224-41CD-B4E0-E297462320DD}" dt="2023-11-24T11:39:29.414" v="139412"/>
          <ac:spMkLst>
            <pc:docMk/>
            <pc:sldMk cId="789548521" sldId="2147478568"/>
            <ac:spMk id="909" creationId="{1E9F0B84-1332-EFB4-FDD9-CA384D91E228}"/>
          </ac:spMkLst>
        </pc:spChg>
        <pc:spChg chg="add del mod">
          <ac:chgData name="Steiner Andreas 6206 ED" userId="e6377c33-a923-4f14-8587-531c474c7b48" providerId="ADAL" clId="{6ECD27E6-B224-41CD-B4E0-E297462320DD}" dt="2023-11-24T11:39:32.417" v="139567"/>
          <ac:spMkLst>
            <pc:docMk/>
            <pc:sldMk cId="789548521" sldId="2147478568"/>
            <ac:spMk id="910" creationId="{5C6AB1A1-65FE-0DCF-02F8-DDC8DFDCE969}"/>
          </ac:spMkLst>
        </pc:spChg>
        <pc:spChg chg="add del mod">
          <ac:chgData name="Steiner Andreas 6206 ED" userId="e6377c33-a923-4f14-8587-531c474c7b48" providerId="ADAL" clId="{6ECD27E6-B224-41CD-B4E0-E297462320DD}" dt="2023-11-24T11:39:35.105" v="139722"/>
          <ac:spMkLst>
            <pc:docMk/>
            <pc:sldMk cId="789548521" sldId="2147478568"/>
            <ac:spMk id="911" creationId="{C6865F31-C68D-A967-7F12-7CF9935891F7}"/>
          </ac:spMkLst>
        </pc:spChg>
        <pc:spChg chg="add del mod">
          <ac:chgData name="Steiner Andreas 6206 ED" userId="e6377c33-a923-4f14-8587-531c474c7b48" providerId="ADAL" clId="{6ECD27E6-B224-41CD-B4E0-E297462320DD}" dt="2023-11-24T11:39:37.973" v="139877"/>
          <ac:spMkLst>
            <pc:docMk/>
            <pc:sldMk cId="789548521" sldId="2147478568"/>
            <ac:spMk id="912" creationId="{237497A5-E3E3-2834-3D46-A7CBA3171AE8}"/>
          </ac:spMkLst>
        </pc:spChg>
        <pc:spChg chg="add del mod">
          <ac:chgData name="Steiner Andreas 6206 ED" userId="e6377c33-a923-4f14-8587-531c474c7b48" providerId="ADAL" clId="{6ECD27E6-B224-41CD-B4E0-E297462320DD}" dt="2023-11-24T11:39:40.745" v="140032"/>
          <ac:spMkLst>
            <pc:docMk/>
            <pc:sldMk cId="789548521" sldId="2147478568"/>
            <ac:spMk id="913" creationId="{349D2CB0-C69D-C751-AF36-05C3505B4110}"/>
          </ac:spMkLst>
        </pc:spChg>
        <pc:spChg chg="add del mod">
          <ac:chgData name="Steiner Andreas 6206 ED" userId="e6377c33-a923-4f14-8587-531c474c7b48" providerId="ADAL" clId="{6ECD27E6-B224-41CD-B4E0-E297462320DD}" dt="2023-11-24T11:39:43.330" v="140187"/>
          <ac:spMkLst>
            <pc:docMk/>
            <pc:sldMk cId="789548521" sldId="2147478568"/>
            <ac:spMk id="914" creationId="{AFB110D7-623C-2EFD-724A-CE430B47A907}"/>
          </ac:spMkLst>
        </pc:spChg>
        <pc:spChg chg="add del mod">
          <ac:chgData name="Steiner Andreas 6206 ED" userId="e6377c33-a923-4f14-8587-531c474c7b48" providerId="ADAL" clId="{6ECD27E6-B224-41CD-B4E0-E297462320DD}" dt="2023-11-24T11:39:45.985" v="140342"/>
          <ac:spMkLst>
            <pc:docMk/>
            <pc:sldMk cId="789548521" sldId="2147478568"/>
            <ac:spMk id="915" creationId="{68D5F778-B7E0-A5A9-1B2C-9E2954FB70A3}"/>
          </ac:spMkLst>
        </pc:spChg>
        <pc:spChg chg="add del mod">
          <ac:chgData name="Steiner Andreas 6206 ED" userId="e6377c33-a923-4f14-8587-531c474c7b48" providerId="ADAL" clId="{6ECD27E6-B224-41CD-B4E0-E297462320DD}" dt="2023-11-24T11:39:48.393" v="140497"/>
          <ac:spMkLst>
            <pc:docMk/>
            <pc:sldMk cId="789548521" sldId="2147478568"/>
            <ac:spMk id="916" creationId="{6026E5D0-99B2-AE53-AA03-0D140F121CBC}"/>
          </ac:spMkLst>
        </pc:spChg>
        <pc:spChg chg="add del mod">
          <ac:chgData name="Steiner Andreas 6206 ED" userId="e6377c33-a923-4f14-8587-531c474c7b48" providerId="ADAL" clId="{6ECD27E6-B224-41CD-B4E0-E297462320DD}" dt="2023-11-24T11:39:51.369" v="140652"/>
          <ac:spMkLst>
            <pc:docMk/>
            <pc:sldMk cId="789548521" sldId="2147478568"/>
            <ac:spMk id="917" creationId="{6E78707C-41E9-943C-66FF-5BE06D055B42}"/>
          </ac:spMkLst>
        </pc:spChg>
        <pc:spChg chg="add del mod">
          <ac:chgData name="Steiner Andreas 6206 ED" userId="e6377c33-a923-4f14-8587-531c474c7b48" providerId="ADAL" clId="{6ECD27E6-B224-41CD-B4E0-E297462320DD}" dt="2023-11-24T11:39:54.298" v="140807"/>
          <ac:spMkLst>
            <pc:docMk/>
            <pc:sldMk cId="789548521" sldId="2147478568"/>
            <ac:spMk id="918" creationId="{1D7C349D-2048-1AB1-F771-9D4BDC122F70}"/>
          </ac:spMkLst>
        </pc:spChg>
        <pc:spChg chg="add del mod">
          <ac:chgData name="Steiner Andreas 6206 ED" userId="e6377c33-a923-4f14-8587-531c474c7b48" providerId="ADAL" clId="{6ECD27E6-B224-41CD-B4E0-E297462320DD}" dt="2023-11-24T11:39:56.815" v="140962"/>
          <ac:spMkLst>
            <pc:docMk/>
            <pc:sldMk cId="789548521" sldId="2147478568"/>
            <ac:spMk id="919" creationId="{41C3531A-4A8D-BFCF-7EE5-6EDEC2BC7F97}"/>
          </ac:spMkLst>
        </pc:spChg>
        <pc:spChg chg="add del mod">
          <ac:chgData name="Steiner Andreas 6206 ED" userId="e6377c33-a923-4f14-8587-531c474c7b48" providerId="ADAL" clId="{6ECD27E6-B224-41CD-B4E0-E297462320DD}" dt="2023-11-24T11:39:59.182" v="141117"/>
          <ac:spMkLst>
            <pc:docMk/>
            <pc:sldMk cId="789548521" sldId="2147478568"/>
            <ac:spMk id="920" creationId="{983F9279-11EC-804C-374D-5B9371328B17}"/>
          </ac:spMkLst>
        </pc:spChg>
        <pc:spChg chg="add del mod">
          <ac:chgData name="Steiner Andreas 6206 ED" userId="e6377c33-a923-4f14-8587-531c474c7b48" providerId="ADAL" clId="{6ECD27E6-B224-41CD-B4E0-E297462320DD}" dt="2023-11-24T11:40:01.808" v="141272"/>
          <ac:spMkLst>
            <pc:docMk/>
            <pc:sldMk cId="789548521" sldId="2147478568"/>
            <ac:spMk id="921" creationId="{1C7089CA-7E30-E437-0CBD-F880B942E61B}"/>
          </ac:spMkLst>
        </pc:spChg>
        <pc:spChg chg="add del mod">
          <ac:chgData name="Steiner Andreas 6206 ED" userId="e6377c33-a923-4f14-8587-531c474c7b48" providerId="ADAL" clId="{6ECD27E6-B224-41CD-B4E0-E297462320DD}" dt="2023-11-24T11:40:04.752" v="141427"/>
          <ac:spMkLst>
            <pc:docMk/>
            <pc:sldMk cId="789548521" sldId="2147478568"/>
            <ac:spMk id="922" creationId="{A28B33F1-5D3F-8BFA-AF27-E6481C0EB1CC}"/>
          </ac:spMkLst>
        </pc:spChg>
        <pc:spChg chg="add del mod">
          <ac:chgData name="Steiner Andreas 6206 ED" userId="e6377c33-a923-4f14-8587-531c474c7b48" providerId="ADAL" clId="{6ECD27E6-B224-41CD-B4E0-E297462320DD}" dt="2023-11-24T11:40:07.528" v="141582"/>
          <ac:spMkLst>
            <pc:docMk/>
            <pc:sldMk cId="789548521" sldId="2147478568"/>
            <ac:spMk id="923" creationId="{409767D1-44A8-B1A2-6C9C-ECEFD835CFB7}"/>
          </ac:spMkLst>
        </pc:spChg>
        <pc:spChg chg="add del mod">
          <ac:chgData name="Steiner Andreas 6206 ED" userId="e6377c33-a923-4f14-8587-531c474c7b48" providerId="ADAL" clId="{6ECD27E6-B224-41CD-B4E0-E297462320DD}" dt="2023-11-24T11:40:09.966" v="141737"/>
          <ac:spMkLst>
            <pc:docMk/>
            <pc:sldMk cId="789548521" sldId="2147478568"/>
            <ac:spMk id="924" creationId="{94DFA009-AC7F-73AB-D9B4-815C8DD66AC1}"/>
          </ac:spMkLst>
        </pc:spChg>
        <pc:spChg chg="add del mod">
          <ac:chgData name="Steiner Andreas 6206 ED" userId="e6377c33-a923-4f14-8587-531c474c7b48" providerId="ADAL" clId="{6ECD27E6-B224-41CD-B4E0-E297462320DD}" dt="2023-11-24T11:40:12.413" v="141892"/>
          <ac:spMkLst>
            <pc:docMk/>
            <pc:sldMk cId="789548521" sldId="2147478568"/>
            <ac:spMk id="925" creationId="{4DB447D5-043B-3934-F37F-9367A240B56D}"/>
          </ac:spMkLst>
        </pc:spChg>
        <pc:spChg chg="add del mod">
          <ac:chgData name="Steiner Andreas 6206 ED" userId="e6377c33-a923-4f14-8587-531c474c7b48" providerId="ADAL" clId="{6ECD27E6-B224-41CD-B4E0-E297462320DD}" dt="2023-11-24T11:40:15.898" v="142047"/>
          <ac:spMkLst>
            <pc:docMk/>
            <pc:sldMk cId="789548521" sldId="2147478568"/>
            <ac:spMk id="926" creationId="{217DA405-051F-541C-3CC0-614EB143AEF6}"/>
          </ac:spMkLst>
        </pc:spChg>
        <pc:spChg chg="add del mod">
          <ac:chgData name="Steiner Andreas 6206 ED" userId="e6377c33-a923-4f14-8587-531c474c7b48" providerId="ADAL" clId="{6ECD27E6-B224-41CD-B4E0-E297462320DD}" dt="2023-11-24T11:40:19.400" v="142202"/>
          <ac:spMkLst>
            <pc:docMk/>
            <pc:sldMk cId="789548521" sldId="2147478568"/>
            <ac:spMk id="927" creationId="{21FE87DB-2439-F0D8-1482-2781C07ABC7D}"/>
          </ac:spMkLst>
        </pc:spChg>
        <pc:spChg chg="add del mod">
          <ac:chgData name="Steiner Andreas 6206 ED" userId="e6377c33-a923-4f14-8587-531c474c7b48" providerId="ADAL" clId="{6ECD27E6-B224-41CD-B4E0-E297462320DD}" dt="2023-11-24T11:40:22.323" v="142357"/>
          <ac:spMkLst>
            <pc:docMk/>
            <pc:sldMk cId="789548521" sldId="2147478568"/>
            <ac:spMk id="928" creationId="{7D29209F-0685-2C98-369D-3F0D423D6294}"/>
          </ac:spMkLst>
        </pc:spChg>
        <pc:spChg chg="add del mod">
          <ac:chgData name="Steiner Andreas 6206 ED" userId="e6377c33-a923-4f14-8587-531c474c7b48" providerId="ADAL" clId="{6ECD27E6-B224-41CD-B4E0-E297462320DD}" dt="2023-11-24T11:40:24.993" v="142512"/>
          <ac:spMkLst>
            <pc:docMk/>
            <pc:sldMk cId="789548521" sldId="2147478568"/>
            <ac:spMk id="929" creationId="{982BDB7A-FD87-3EBD-8542-6DFAEA018484}"/>
          </ac:spMkLst>
        </pc:spChg>
        <pc:spChg chg="add del mod">
          <ac:chgData name="Steiner Andreas 6206 ED" userId="e6377c33-a923-4f14-8587-531c474c7b48" providerId="ADAL" clId="{6ECD27E6-B224-41CD-B4E0-E297462320DD}" dt="2023-11-24T11:40:28.046" v="142667"/>
          <ac:spMkLst>
            <pc:docMk/>
            <pc:sldMk cId="789548521" sldId="2147478568"/>
            <ac:spMk id="930" creationId="{24A9E18B-38BD-CFB0-7385-F40F52388BC7}"/>
          </ac:spMkLst>
        </pc:spChg>
        <pc:spChg chg="add del mod">
          <ac:chgData name="Steiner Andreas 6206 ED" userId="e6377c33-a923-4f14-8587-531c474c7b48" providerId="ADAL" clId="{6ECD27E6-B224-41CD-B4E0-E297462320DD}" dt="2023-11-24T11:40:30.808" v="142822"/>
          <ac:spMkLst>
            <pc:docMk/>
            <pc:sldMk cId="789548521" sldId="2147478568"/>
            <ac:spMk id="931" creationId="{CEBF6C7C-A013-D7A6-73E2-D2D7ACB523E7}"/>
          </ac:spMkLst>
        </pc:spChg>
        <pc:spChg chg="add del mod">
          <ac:chgData name="Steiner Andreas 6206 ED" userId="e6377c33-a923-4f14-8587-531c474c7b48" providerId="ADAL" clId="{6ECD27E6-B224-41CD-B4E0-E297462320DD}" dt="2023-11-24T11:40:33.329" v="142977"/>
          <ac:spMkLst>
            <pc:docMk/>
            <pc:sldMk cId="789548521" sldId="2147478568"/>
            <ac:spMk id="932" creationId="{39CC7A4A-CD54-F111-9D2B-53AE49DCEA53}"/>
          </ac:spMkLst>
        </pc:spChg>
        <pc:spChg chg="add del mod">
          <ac:chgData name="Steiner Andreas 6206 ED" userId="e6377c33-a923-4f14-8587-531c474c7b48" providerId="ADAL" clId="{6ECD27E6-B224-41CD-B4E0-E297462320DD}" dt="2023-11-24T11:40:35.947" v="143132"/>
          <ac:spMkLst>
            <pc:docMk/>
            <pc:sldMk cId="789548521" sldId="2147478568"/>
            <ac:spMk id="933" creationId="{F6FF5DFA-C868-7B2F-4C7F-E4A37F9A98F3}"/>
          </ac:spMkLst>
        </pc:spChg>
        <pc:spChg chg="add del mod">
          <ac:chgData name="Steiner Andreas 6206 ED" userId="e6377c33-a923-4f14-8587-531c474c7b48" providerId="ADAL" clId="{6ECD27E6-B224-41CD-B4E0-E297462320DD}" dt="2023-11-24T11:40:39.009" v="143287"/>
          <ac:spMkLst>
            <pc:docMk/>
            <pc:sldMk cId="789548521" sldId="2147478568"/>
            <ac:spMk id="934" creationId="{828D0557-A4A0-D1AE-9BE6-C28F42D24EC2}"/>
          </ac:spMkLst>
        </pc:spChg>
        <pc:spChg chg="add del mod">
          <ac:chgData name="Steiner Andreas 6206 ED" userId="e6377c33-a923-4f14-8587-531c474c7b48" providerId="ADAL" clId="{6ECD27E6-B224-41CD-B4E0-E297462320DD}" dt="2023-11-24T11:40:42.069" v="143442"/>
          <ac:spMkLst>
            <pc:docMk/>
            <pc:sldMk cId="789548521" sldId="2147478568"/>
            <ac:spMk id="935" creationId="{59726773-44A4-EDE8-96A7-1C10DE989B12}"/>
          </ac:spMkLst>
        </pc:spChg>
        <pc:spChg chg="add del mod">
          <ac:chgData name="Steiner Andreas 6206 ED" userId="e6377c33-a923-4f14-8587-531c474c7b48" providerId="ADAL" clId="{6ECD27E6-B224-41CD-B4E0-E297462320DD}" dt="2023-11-24T11:40:44.754" v="143597"/>
          <ac:spMkLst>
            <pc:docMk/>
            <pc:sldMk cId="789548521" sldId="2147478568"/>
            <ac:spMk id="936" creationId="{2F0807A9-92EC-2384-AB04-085382B548ED}"/>
          </ac:spMkLst>
        </pc:spChg>
        <pc:spChg chg="add del mod">
          <ac:chgData name="Steiner Andreas 6206 ED" userId="e6377c33-a923-4f14-8587-531c474c7b48" providerId="ADAL" clId="{6ECD27E6-B224-41CD-B4E0-E297462320DD}" dt="2023-11-24T11:40:47.500" v="143752"/>
          <ac:spMkLst>
            <pc:docMk/>
            <pc:sldMk cId="789548521" sldId="2147478568"/>
            <ac:spMk id="937" creationId="{4C8FF1C1-F84C-E2F8-7D05-7D38B3BE9359}"/>
          </ac:spMkLst>
        </pc:spChg>
        <pc:spChg chg="add del mod">
          <ac:chgData name="Steiner Andreas 6206 ED" userId="e6377c33-a923-4f14-8587-531c474c7b48" providerId="ADAL" clId="{6ECD27E6-B224-41CD-B4E0-E297462320DD}" dt="2023-11-24T11:40:50.297" v="143907"/>
          <ac:spMkLst>
            <pc:docMk/>
            <pc:sldMk cId="789548521" sldId="2147478568"/>
            <ac:spMk id="938" creationId="{D97F3F72-A654-2220-F6EE-354854682C03}"/>
          </ac:spMkLst>
        </pc:spChg>
        <pc:spChg chg="add del mod">
          <ac:chgData name="Steiner Andreas 6206 ED" userId="e6377c33-a923-4f14-8587-531c474c7b48" providerId="ADAL" clId="{6ECD27E6-B224-41CD-B4E0-E297462320DD}" dt="2023-11-24T11:40:53.150" v="144062"/>
          <ac:spMkLst>
            <pc:docMk/>
            <pc:sldMk cId="789548521" sldId="2147478568"/>
            <ac:spMk id="939" creationId="{8F484A78-BD35-6F14-EE86-EC62F3B84E2C}"/>
          </ac:spMkLst>
        </pc:spChg>
        <pc:spChg chg="add del mod">
          <ac:chgData name="Steiner Andreas 6206 ED" userId="e6377c33-a923-4f14-8587-531c474c7b48" providerId="ADAL" clId="{6ECD27E6-B224-41CD-B4E0-E297462320DD}" dt="2023-11-24T11:40:55.794" v="144217"/>
          <ac:spMkLst>
            <pc:docMk/>
            <pc:sldMk cId="789548521" sldId="2147478568"/>
            <ac:spMk id="940" creationId="{1F0A3ECA-0AA2-2FB6-2A63-C373972C0447}"/>
          </ac:spMkLst>
        </pc:spChg>
        <pc:spChg chg="add del mod">
          <ac:chgData name="Steiner Andreas 6206 ED" userId="e6377c33-a923-4f14-8587-531c474c7b48" providerId="ADAL" clId="{6ECD27E6-B224-41CD-B4E0-E297462320DD}" dt="2023-11-24T11:40:58.409" v="144372"/>
          <ac:spMkLst>
            <pc:docMk/>
            <pc:sldMk cId="789548521" sldId="2147478568"/>
            <ac:spMk id="941" creationId="{E73D3CF4-3883-A16C-9543-CE7CC5BFFF41}"/>
          </ac:spMkLst>
        </pc:spChg>
        <pc:spChg chg="add del mod">
          <ac:chgData name="Steiner Andreas 6206 ED" userId="e6377c33-a923-4f14-8587-531c474c7b48" providerId="ADAL" clId="{6ECD27E6-B224-41CD-B4E0-E297462320DD}" dt="2023-11-24T11:41:01.008" v="144527"/>
          <ac:spMkLst>
            <pc:docMk/>
            <pc:sldMk cId="789548521" sldId="2147478568"/>
            <ac:spMk id="942" creationId="{12ABFD7F-5E95-E388-A86E-C8A1D59B9572}"/>
          </ac:spMkLst>
        </pc:spChg>
        <pc:spChg chg="add del mod">
          <ac:chgData name="Steiner Andreas 6206 ED" userId="e6377c33-a923-4f14-8587-531c474c7b48" providerId="ADAL" clId="{6ECD27E6-B224-41CD-B4E0-E297462320DD}" dt="2023-11-24T11:41:03.557" v="144682"/>
          <ac:spMkLst>
            <pc:docMk/>
            <pc:sldMk cId="789548521" sldId="2147478568"/>
            <ac:spMk id="943" creationId="{BA912A08-0CA9-FA33-7AFB-D9831689A177}"/>
          </ac:spMkLst>
        </pc:spChg>
        <pc:spChg chg="add del mod">
          <ac:chgData name="Steiner Andreas 6206 ED" userId="e6377c33-a923-4f14-8587-531c474c7b48" providerId="ADAL" clId="{6ECD27E6-B224-41CD-B4E0-E297462320DD}" dt="2023-11-24T11:41:06.780" v="144837"/>
          <ac:spMkLst>
            <pc:docMk/>
            <pc:sldMk cId="789548521" sldId="2147478568"/>
            <ac:spMk id="944" creationId="{E8DD91FC-13A8-65F6-09DA-B4DB0CC55B11}"/>
          </ac:spMkLst>
        </pc:spChg>
        <pc:spChg chg="add del mod">
          <ac:chgData name="Steiner Andreas 6206 ED" userId="e6377c33-a923-4f14-8587-531c474c7b48" providerId="ADAL" clId="{6ECD27E6-B224-41CD-B4E0-E297462320DD}" dt="2023-11-24T11:41:09.868" v="144992"/>
          <ac:spMkLst>
            <pc:docMk/>
            <pc:sldMk cId="789548521" sldId="2147478568"/>
            <ac:spMk id="945" creationId="{995E2C3B-6D80-07C5-6B3C-EA48AEC5B59B}"/>
          </ac:spMkLst>
        </pc:spChg>
        <pc:spChg chg="add del mod">
          <ac:chgData name="Steiner Andreas 6206 ED" userId="e6377c33-a923-4f14-8587-531c474c7b48" providerId="ADAL" clId="{6ECD27E6-B224-41CD-B4E0-E297462320DD}" dt="2023-11-24T11:41:12.714" v="145147"/>
          <ac:spMkLst>
            <pc:docMk/>
            <pc:sldMk cId="789548521" sldId="2147478568"/>
            <ac:spMk id="946" creationId="{C28B50C5-49E2-D0A6-CDFE-4E716708018D}"/>
          </ac:spMkLst>
        </pc:spChg>
        <pc:spChg chg="add del mod">
          <ac:chgData name="Steiner Andreas 6206 ED" userId="e6377c33-a923-4f14-8587-531c474c7b48" providerId="ADAL" clId="{6ECD27E6-B224-41CD-B4E0-E297462320DD}" dt="2023-11-24T11:41:15.617" v="145302"/>
          <ac:spMkLst>
            <pc:docMk/>
            <pc:sldMk cId="789548521" sldId="2147478568"/>
            <ac:spMk id="947" creationId="{713E3D20-24A2-12EF-AD03-0626538AE50E}"/>
          </ac:spMkLst>
        </pc:spChg>
        <pc:spChg chg="add del mod">
          <ac:chgData name="Steiner Andreas 6206 ED" userId="e6377c33-a923-4f14-8587-531c474c7b48" providerId="ADAL" clId="{6ECD27E6-B224-41CD-B4E0-E297462320DD}" dt="2023-11-24T11:41:18.941" v="145457"/>
          <ac:spMkLst>
            <pc:docMk/>
            <pc:sldMk cId="789548521" sldId="2147478568"/>
            <ac:spMk id="948" creationId="{1E1D585A-A3DF-8FE9-9D2C-7BE67B37B3A7}"/>
          </ac:spMkLst>
        </pc:spChg>
        <pc:spChg chg="add del mod">
          <ac:chgData name="Steiner Andreas 6206 ED" userId="e6377c33-a923-4f14-8587-531c474c7b48" providerId="ADAL" clId="{6ECD27E6-B224-41CD-B4E0-E297462320DD}" dt="2023-11-24T11:41:21.562" v="145612"/>
          <ac:spMkLst>
            <pc:docMk/>
            <pc:sldMk cId="789548521" sldId="2147478568"/>
            <ac:spMk id="949" creationId="{218C130E-2405-B25B-3DA5-D76FFB5FC823}"/>
          </ac:spMkLst>
        </pc:spChg>
        <pc:spChg chg="add del mod">
          <ac:chgData name="Steiner Andreas 6206 ED" userId="e6377c33-a923-4f14-8587-531c474c7b48" providerId="ADAL" clId="{6ECD27E6-B224-41CD-B4E0-E297462320DD}" dt="2023-11-24T11:41:25.387" v="145767"/>
          <ac:spMkLst>
            <pc:docMk/>
            <pc:sldMk cId="789548521" sldId="2147478568"/>
            <ac:spMk id="950" creationId="{B3631C1A-C793-CABE-9DD3-BB489EF733D9}"/>
          </ac:spMkLst>
        </pc:spChg>
        <pc:spChg chg="add del mod">
          <ac:chgData name="Steiner Andreas 6206 ED" userId="e6377c33-a923-4f14-8587-531c474c7b48" providerId="ADAL" clId="{6ECD27E6-B224-41CD-B4E0-E297462320DD}" dt="2023-11-24T11:41:28.333" v="145922"/>
          <ac:spMkLst>
            <pc:docMk/>
            <pc:sldMk cId="789548521" sldId="2147478568"/>
            <ac:spMk id="951" creationId="{37C645C5-6563-53AD-7FF3-DC15CED3EA0C}"/>
          </ac:spMkLst>
        </pc:spChg>
        <pc:spChg chg="add del mod">
          <ac:chgData name="Steiner Andreas 6206 ED" userId="e6377c33-a923-4f14-8587-531c474c7b48" providerId="ADAL" clId="{6ECD27E6-B224-41CD-B4E0-E297462320DD}" dt="2023-11-24T11:41:31.178" v="146077"/>
          <ac:spMkLst>
            <pc:docMk/>
            <pc:sldMk cId="789548521" sldId="2147478568"/>
            <ac:spMk id="952" creationId="{BEF14C14-34B4-4912-59FD-47012568ECAB}"/>
          </ac:spMkLst>
        </pc:spChg>
        <pc:spChg chg="add del mod">
          <ac:chgData name="Steiner Andreas 6206 ED" userId="e6377c33-a923-4f14-8587-531c474c7b48" providerId="ADAL" clId="{6ECD27E6-B224-41CD-B4E0-E297462320DD}" dt="2023-11-24T11:41:33.383" v="146232"/>
          <ac:spMkLst>
            <pc:docMk/>
            <pc:sldMk cId="789548521" sldId="2147478568"/>
            <ac:spMk id="953" creationId="{7289EFD6-AEDB-FCB7-37A4-484BF5DE8CCE}"/>
          </ac:spMkLst>
        </pc:spChg>
        <pc:spChg chg="add del mod">
          <ac:chgData name="Steiner Andreas 6206 ED" userId="e6377c33-a923-4f14-8587-531c474c7b48" providerId="ADAL" clId="{6ECD27E6-B224-41CD-B4E0-E297462320DD}" dt="2023-11-24T11:41:35.508" v="146387"/>
          <ac:spMkLst>
            <pc:docMk/>
            <pc:sldMk cId="789548521" sldId="2147478568"/>
            <ac:spMk id="954" creationId="{B9BFAE2F-C7AC-EAF4-C98A-F1E676BD30A7}"/>
          </ac:spMkLst>
        </pc:spChg>
        <pc:spChg chg="add del mod">
          <ac:chgData name="Steiner Andreas 6206 ED" userId="e6377c33-a923-4f14-8587-531c474c7b48" providerId="ADAL" clId="{6ECD27E6-B224-41CD-B4E0-E297462320DD}" dt="2023-11-24T11:41:37.683" v="146542"/>
          <ac:spMkLst>
            <pc:docMk/>
            <pc:sldMk cId="789548521" sldId="2147478568"/>
            <ac:spMk id="955" creationId="{BAEBDBC2-230E-3E71-A8B2-554078D7596D}"/>
          </ac:spMkLst>
        </pc:spChg>
        <pc:spChg chg="add del mod">
          <ac:chgData name="Steiner Andreas 6206 ED" userId="e6377c33-a923-4f14-8587-531c474c7b48" providerId="ADAL" clId="{6ECD27E6-B224-41CD-B4E0-E297462320DD}" dt="2023-11-24T11:41:40.283" v="146697"/>
          <ac:spMkLst>
            <pc:docMk/>
            <pc:sldMk cId="789548521" sldId="2147478568"/>
            <ac:spMk id="956" creationId="{196E589E-2871-E3E5-71FF-E7B4A0B8F44B}"/>
          </ac:spMkLst>
        </pc:spChg>
        <pc:spChg chg="add del mod">
          <ac:chgData name="Steiner Andreas 6206 ED" userId="e6377c33-a923-4f14-8587-531c474c7b48" providerId="ADAL" clId="{6ECD27E6-B224-41CD-B4E0-E297462320DD}" dt="2023-11-24T11:41:42.656" v="146852"/>
          <ac:spMkLst>
            <pc:docMk/>
            <pc:sldMk cId="789548521" sldId="2147478568"/>
            <ac:spMk id="957" creationId="{8648D916-336F-73F8-4E4B-B8ED7C0754C2}"/>
          </ac:spMkLst>
        </pc:spChg>
        <pc:spChg chg="add del mod">
          <ac:chgData name="Steiner Andreas 6206 ED" userId="e6377c33-a923-4f14-8587-531c474c7b48" providerId="ADAL" clId="{6ECD27E6-B224-41CD-B4E0-E297462320DD}" dt="2023-11-24T11:41:44.736" v="147007"/>
          <ac:spMkLst>
            <pc:docMk/>
            <pc:sldMk cId="789548521" sldId="2147478568"/>
            <ac:spMk id="958" creationId="{88ACF37A-E7A9-5ADB-22D2-90915CBDA84B}"/>
          </ac:spMkLst>
        </pc:spChg>
        <pc:spChg chg="add del mod">
          <ac:chgData name="Steiner Andreas 6206 ED" userId="e6377c33-a923-4f14-8587-531c474c7b48" providerId="ADAL" clId="{6ECD27E6-B224-41CD-B4E0-E297462320DD}" dt="2023-11-24T11:41:47.171" v="147162"/>
          <ac:spMkLst>
            <pc:docMk/>
            <pc:sldMk cId="789548521" sldId="2147478568"/>
            <ac:spMk id="959" creationId="{2A513D28-8804-C9C6-CC61-C44B2420490B}"/>
          </ac:spMkLst>
        </pc:spChg>
        <pc:spChg chg="add del mod">
          <ac:chgData name="Steiner Andreas 6206 ED" userId="e6377c33-a923-4f14-8587-531c474c7b48" providerId="ADAL" clId="{6ECD27E6-B224-41CD-B4E0-E297462320DD}" dt="2023-11-24T11:41:49.287" v="147317"/>
          <ac:spMkLst>
            <pc:docMk/>
            <pc:sldMk cId="789548521" sldId="2147478568"/>
            <ac:spMk id="960" creationId="{6AA9C5F5-0DFF-B178-B592-15D6907DB87C}"/>
          </ac:spMkLst>
        </pc:spChg>
        <pc:spChg chg="add del mod">
          <ac:chgData name="Steiner Andreas 6206 ED" userId="e6377c33-a923-4f14-8587-531c474c7b48" providerId="ADAL" clId="{6ECD27E6-B224-41CD-B4E0-E297462320DD}" dt="2023-11-24T11:41:51.630" v="147472"/>
          <ac:spMkLst>
            <pc:docMk/>
            <pc:sldMk cId="789548521" sldId="2147478568"/>
            <ac:spMk id="961" creationId="{0831C3EC-4866-3AD8-DF0C-612533F34AA8}"/>
          </ac:spMkLst>
        </pc:spChg>
        <pc:spChg chg="add del mod">
          <ac:chgData name="Steiner Andreas 6206 ED" userId="e6377c33-a923-4f14-8587-531c474c7b48" providerId="ADAL" clId="{6ECD27E6-B224-41CD-B4E0-E297462320DD}" dt="2023-11-24T11:41:54.090" v="147627"/>
          <ac:spMkLst>
            <pc:docMk/>
            <pc:sldMk cId="789548521" sldId="2147478568"/>
            <ac:spMk id="962" creationId="{597657DC-CA4A-7BF2-8420-7769A588E7D2}"/>
          </ac:spMkLst>
        </pc:spChg>
        <pc:spChg chg="add del mod">
          <ac:chgData name="Steiner Andreas 6206 ED" userId="e6377c33-a923-4f14-8587-531c474c7b48" providerId="ADAL" clId="{6ECD27E6-B224-41CD-B4E0-E297462320DD}" dt="2023-11-24T11:41:57.041" v="147782"/>
          <ac:spMkLst>
            <pc:docMk/>
            <pc:sldMk cId="789548521" sldId="2147478568"/>
            <ac:spMk id="963" creationId="{A9ACB38F-CC53-C55C-F8EB-078A9E09CA28}"/>
          </ac:spMkLst>
        </pc:spChg>
        <pc:spChg chg="add del mod">
          <ac:chgData name="Steiner Andreas 6206 ED" userId="e6377c33-a923-4f14-8587-531c474c7b48" providerId="ADAL" clId="{6ECD27E6-B224-41CD-B4E0-E297462320DD}" dt="2023-11-24T11:42:00.413" v="147937"/>
          <ac:spMkLst>
            <pc:docMk/>
            <pc:sldMk cId="789548521" sldId="2147478568"/>
            <ac:spMk id="964" creationId="{108BC288-D692-2641-B97B-8F3C04E0380F}"/>
          </ac:spMkLst>
        </pc:spChg>
        <pc:spChg chg="add del mod">
          <ac:chgData name="Steiner Andreas 6206 ED" userId="e6377c33-a923-4f14-8587-531c474c7b48" providerId="ADAL" clId="{6ECD27E6-B224-41CD-B4E0-E297462320DD}" dt="2023-11-24T11:42:03.824" v="148092"/>
          <ac:spMkLst>
            <pc:docMk/>
            <pc:sldMk cId="789548521" sldId="2147478568"/>
            <ac:spMk id="965" creationId="{2D2E6EA1-FD89-D7DD-D478-D6D62F9B68A4}"/>
          </ac:spMkLst>
        </pc:spChg>
        <pc:spChg chg="add del mod">
          <ac:chgData name="Steiner Andreas 6206 ED" userId="e6377c33-a923-4f14-8587-531c474c7b48" providerId="ADAL" clId="{6ECD27E6-B224-41CD-B4E0-E297462320DD}" dt="2023-11-24T11:42:06.290" v="148247"/>
          <ac:spMkLst>
            <pc:docMk/>
            <pc:sldMk cId="789548521" sldId="2147478568"/>
            <ac:spMk id="966" creationId="{E73E0975-1571-913A-214B-2AFCA3B4C77B}"/>
          </ac:spMkLst>
        </pc:spChg>
        <pc:spChg chg="add del mod">
          <ac:chgData name="Steiner Andreas 6206 ED" userId="e6377c33-a923-4f14-8587-531c474c7b48" providerId="ADAL" clId="{6ECD27E6-B224-41CD-B4E0-E297462320DD}" dt="2023-11-24T11:42:08.606" v="148402"/>
          <ac:spMkLst>
            <pc:docMk/>
            <pc:sldMk cId="789548521" sldId="2147478568"/>
            <ac:spMk id="967" creationId="{9DF90DAB-0E28-9CAC-8EA0-BB72443B855B}"/>
          </ac:spMkLst>
        </pc:spChg>
        <pc:spChg chg="add del mod">
          <ac:chgData name="Steiner Andreas 6206 ED" userId="e6377c33-a923-4f14-8587-531c474c7b48" providerId="ADAL" clId="{6ECD27E6-B224-41CD-B4E0-E297462320DD}" dt="2023-11-24T11:42:11.183" v="148557"/>
          <ac:spMkLst>
            <pc:docMk/>
            <pc:sldMk cId="789548521" sldId="2147478568"/>
            <ac:spMk id="968" creationId="{651CCFB3-0C59-FDA7-F3E7-25DF04A5D3D3}"/>
          </ac:spMkLst>
        </pc:spChg>
        <pc:spChg chg="add del mod">
          <ac:chgData name="Steiner Andreas 6206 ED" userId="e6377c33-a923-4f14-8587-531c474c7b48" providerId="ADAL" clId="{6ECD27E6-B224-41CD-B4E0-E297462320DD}" dt="2023-11-24T11:42:13.711" v="148712"/>
          <ac:spMkLst>
            <pc:docMk/>
            <pc:sldMk cId="789548521" sldId="2147478568"/>
            <ac:spMk id="969" creationId="{17CF70DC-343C-BD0C-DF05-D1CBA338E934}"/>
          </ac:spMkLst>
        </pc:spChg>
        <pc:spChg chg="add del mod">
          <ac:chgData name="Steiner Andreas 6206 ED" userId="e6377c33-a923-4f14-8587-531c474c7b48" providerId="ADAL" clId="{6ECD27E6-B224-41CD-B4E0-E297462320DD}" dt="2023-11-24T11:42:16.131" v="148867"/>
          <ac:spMkLst>
            <pc:docMk/>
            <pc:sldMk cId="789548521" sldId="2147478568"/>
            <ac:spMk id="970" creationId="{A98FD229-3896-308A-E2E0-0002BD66AC24}"/>
          </ac:spMkLst>
        </pc:spChg>
        <pc:spChg chg="add del mod">
          <ac:chgData name="Steiner Andreas 6206 ED" userId="e6377c33-a923-4f14-8587-531c474c7b48" providerId="ADAL" clId="{6ECD27E6-B224-41CD-B4E0-E297462320DD}" dt="2023-11-24T11:42:18.217" v="149022"/>
          <ac:spMkLst>
            <pc:docMk/>
            <pc:sldMk cId="789548521" sldId="2147478568"/>
            <ac:spMk id="971" creationId="{41AAF807-1307-DD99-4BBA-BF5427E4A1B7}"/>
          </ac:spMkLst>
        </pc:spChg>
        <pc:spChg chg="add del mod">
          <ac:chgData name="Steiner Andreas 6206 ED" userId="e6377c33-a923-4f14-8587-531c474c7b48" providerId="ADAL" clId="{6ECD27E6-B224-41CD-B4E0-E297462320DD}" dt="2023-11-24T11:42:20.286" v="149177"/>
          <ac:spMkLst>
            <pc:docMk/>
            <pc:sldMk cId="789548521" sldId="2147478568"/>
            <ac:spMk id="972" creationId="{4F4C8C6E-1040-520D-1260-7CF6290E897E}"/>
          </ac:spMkLst>
        </pc:spChg>
        <pc:spChg chg="add del mod">
          <ac:chgData name="Steiner Andreas 6206 ED" userId="e6377c33-a923-4f14-8587-531c474c7b48" providerId="ADAL" clId="{6ECD27E6-B224-41CD-B4E0-E297462320DD}" dt="2023-11-24T11:42:22.376" v="149332"/>
          <ac:spMkLst>
            <pc:docMk/>
            <pc:sldMk cId="789548521" sldId="2147478568"/>
            <ac:spMk id="973" creationId="{60B438AF-C3CC-3C6D-EE0C-94CC3329F7A4}"/>
          </ac:spMkLst>
        </pc:spChg>
        <pc:spChg chg="add del mod">
          <ac:chgData name="Steiner Andreas 6206 ED" userId="e6377c33-a923-4f14-8587-531c474c7b48" providerId="ADAL" clId="{6ECD27E6-B224-41CD-B4E0-E297462320DD}" dt="2023-11-24T11:42:24.323" v="149487"/>
          <ac:spMkLst>
            <pc:docMk/>
            <pc:sldMk cId="789548521" sldId="2147478568"/>
            <ac:spMk id="974" creationId="{6CDB91C4-F3CC-1084-A4BC-5ECEA0C93E79}"/>
          </ac:spMkLst>
        </pc:spChg>
        <pc:spChg chg="add del mod">
          <ac:chgData name="Steiner Andreas 6206 ED" userId="e6377c33-a923-4f14-8587-531c474c7b48" providerId="ADAL" clId="{6ECD27E6-B224-41CD-B4E0-E297462320DD}" dt="2023-11-24T11:42:26.267" v="149642"/>
          <ac:spMkLst>
            <pc:docMk/>
            <pc:sldMk cId="789548521" sldId="2147478568"/>
            <ac:spMk id="975" creationId="{95859DF1-A51E-6719-91DB-AB7E1B534246}"/>
          </ac:spMkLst>
        </pc:spChg>
        <pc:spChg chg="add del mod">
          <ac:chgData name="Steiner Andreas 6206 ED" userId="e6377c33-a923-4f14-8587-531c474c7b48" providerId="ADAL" clId="{6ECD27E6-B224-41CD-B4E0-E297462320DD}" dt="2023-11-24T11:42:29.255" v="149797"/>
          <ac:spMkLst>
            <pc:docMk/>
            <pc:sldMk cId="789548521" sldId="2147478568"/>
            <ac:spMk id="976" creationId="{9D5CA6D6-DE54-0135-F02D-9F2FB6068B0F}"/>
          </ac:spMkLst>
        </pc:spChg>
        <pc:spChg chg="add del mod">
          <ac:chgData name="Steiner Andreas 6206 ED" userId="e6377c33-a923-4f14-8587-531c474c7b48" providerId="ADAL" clId="{6ECD27E6-B224-41CD-B4E0-E297462320DD}" dt="2023-11-24T11:42:32.205" v="149952"/>
          <ac:spMkLst>
            <pc:docMk/>
            <pc:sldMk cId="789548521" sldId="2147478568"/>
            <ac:spMk id="977" creationId="{CD66D18F-E34C-7E97-CC77-D3F4DD62E101}"/>
          </ac:spMkLst>
        </pc:spChg>
        <pc:spChg chg="add del mod">
          <ac:chgData name="Steiner Andreas 6206 ED" userId="e6377c33-a923-4f14-8587-531c474c7b48" providerId="ADAL" clId="{6ECD27E6-B224-41CD-B4E0-E297462320DD}" dt="2023-11-24T11:42:35.523" v="150107"/>
          <ac:spMkLst>
            <pc:docMk/>
            <pc:sldMk cId="789548521" sldId="2147478568"/>
            <ac:spMk id="978" creationId="{AE6CB553-FE80-6CB2-E066-D74569913971}"/>
          </ac:spMkLst>
        </pc:spChg>
        <pc:spChg chg="add del mod">
          <ac:chgData name="Steiner Andreas 6206 ED" userId="e6377c33-a923-4f14-8587-531c474c7b48" providerId="ADAL" clId="{6ECD27E6-B224-41CD-B4E0-E297462320DD}" dt="2023-11-24T11:42:37.899" v="150262"/>
          <ac:spMkLst>
            <pc:docMk/>
            <pc:sldMk cId="789548521" sldId="2147478568"/>
            <ac:spMk id="979" creationId="{A560A501-611B-6A47-1879-96A0DB1B7FBB}"/>
          </ac:spMkLst>
        </pc:spChg>
        <pc:spChg chg="add del mod">
          <ac:chgData name="Steiner Andreas 6206 ED" userId="e6377c33-a923-4f14-8587-531c474c7b48" providerId="ADAL" clId="{6ECD27E6-B224-41CD-B4E0-E297462320DD}" dt="2023-11-24T11:42:39.982" v="150417"/>
          <ac:spMkLst>
            <pc:docMk/>
            <pc:sldMk cId="789548521" sldId="2147478568"/>
            <ac:spMk id="980" creationId="{6706BEDB-5047-34F0-2A48-F96C8ACFB397}"/>
          </ac:spMkLst>
        </pc:spChg>
        <pc:spChg chg="add del mod">
          <ac:chgData name="Steiner Andreas 6206 ED" userId="e6377c33-a923-4f14-8587-531c474c7b48" providerId="ADAL" clId="{6ECD27E6-B224-41CD-B4E0-E297462320DD}" dt="2023-11-24T11:42:42.047" v="150572"/>
          <ac:spMkLst>
            <pc:docMk/>
            <pc:sldMk cId="789548521" sldId="2147478568"/>
            <ac:spMk id="981" creationId="{AE832CB3-E396-290E-8E9B-DF561D7392DA}"/>
          </ac:spMkLst>
        </pc:spChg>
        <pc:spChg chg="add del mod">
          <ac:chgData name="Steiner Andreas 6206 ED" userId="e6377c33-a923-4f14-8587-531c474c7b48" providerId="ADAL" clId="{6ECD27E6-B224-41CD-B4E0-E297462320DD}" dt="2023-11-24T11:42:44.153" v="150727"/>
          <ac:spMkLst>
            <pc:docMk/>
            <pc:sldMk cId="789548521" sldId="2147478568"/>
            <ac:spMk id="982" creationId="{9FC0BDCA-5068-796D-FFF3-E4D724C51C12}"/>
          </ac:spMkLst>
        </pc:spChg>
        <pc:spChg chg="add del mod">
          <ac:chgData name="Steiner Andreas 6206 ED" userId="e6377c33-a923-4f14-8587-531c474c7b48" providerId="ADAL" clId="{6ECD27E6-B224-41CD-B4E0-E297462320DD}" dt="2023-11-24T11:42:46.366" v="150882"/>
          <ac:spMkLst>
            <pc:docMk/>
            <pc:sldMk cId="789548521" sldId="2147478568"/>
            <ac:spMk id="983" creationId="{FCA31B30-1ECD-BC4A-7962-9A100FB39C59}"/>
          </ac:spMkLst>
        </pc:spChg>
        <pc:spChg chg="add del mod">
          <ac:chgData name="Steiner Andreas 6206 ED" userId="e6377c33-a923-4f14-8587-531c474c7b48" providerId="ADAL" clId="{6ECD27E6-B224-41CD-B4E0-E297462320DD}" dt="2023-11-24T11:42:48.649" v="151037"/>
          <ac:spMkLst>
            <pc:docMk/>
            <pc:sldMk cId="789548521" sldId="2147478568"/>
            <ac:spMk id="984" creationId="{281E777D-3242-89E6-3CDE-B4EDA5917880}"/>
          </ac:spMkLst>
        </pc:spChg>
        <pc:spChg chg="add del mod">
          <ac:chgData name="Steiner Andreas 6206 ED" userId="e6377c33-a923-4f14-8587-531c474c7b48" providerId="ADAL" clId="{6ECD27E6-B224-41CD-B4E0-E297462320DD}" dt="2023-11-24T11:42:50.837" v="151192"/>
          <ac:spMkLst>
            <pc:docMk/>
            <pc:sldMk cId="789548521" sldId="2147478568"/>
            <ac:spMk id="985" creationId="{4CFE9A83-9C43-5D08-CA95-9058C8DD785A}"/>
          </ac:spMkLst>
        </pc:spChg>
        <pc:spChg chg="add del mod">
          <ac:chgData name="Steiner Andreas 6206 ED" userId="e6377c33-a923-4f14-8587-531c474c7b48" providerId="ADAL" clId="{6ECD27E6-B224-41CD-B4E0-E297462320DD}" dt="2023-11-24T11:42:53.204" v="151347"/>
          <ac:spMkLst>
            <pc:docMk/>
            <pc:sldMk cId="789548521" sldId="2147478568"/>
            <ac:spMk id="986" creationId="{CA4AFC6C-F617-7DF7-3D44-9B6B09873FCE}"/>
          </ac:spMkLst>
        </pc:spChg>
        <pc:spChg chg="add del mod">
          <ac:chgData name="Steiner Andreas 6206 ED" userId="e6377c33-a923-4f14-8587-531c474c7b48" providerId="ADAL" clId="{6ECD27E6-B224-41CD-B4E0-E297462320DD}" dt="2023-11-24T11:42:55.467" v="151502"/>
          <ac:spMkLst>
            <pc:docMk/>
            <pc:sldMk cId="789548521" sldId="2147478568"/>
            <ac:spMk id="987" creationId="{BE93E415-9F3A-3B4E-04D8-0C24911DF508}"/>
          </ac:spMkLst>
        </pc:spChg>
        <pc:spChg chg="add del mod">
          <ac:chgData name="Steiner Andreas 6206 ED" userId="e6377c33-a923-4f14-8587-531c474c7b48" providerId="ADAL" clId="{6ECD27E6-B224-41CD-B4E0-E297462320DD}" dt="2023-11-24T11:42:57.848" v="151657"/>
          <ac:spMkLst>
            <pc:docMk/>
            <pc:sldMk cId="789548521" sldId="2147478568"/>
            <ac:spMk id="988" creationId="{A8F4ED8A-0751-A4F8-1D5D-CF4CFA2AE7A7}"/>
          </ac:spMkLst>
        </pc:spChg>
        <pc:spChg chg="add del mod">
          <ac:chgData name="Steiner Andreas 6206 ED" userId="e6377c33-a923-4f14-8587-531c474c7b48" providerId="ADAL" clId="{6ECD27E6-B224-41CD-B4E0-E297462320DD}" dt="2023-11-24T11:43:01.552" v="151812"/>
          <ac:spMkLst>
            <pc:docMk/>
            <pc:sldMk cId="789548521" sldId="2147478568"/>
            <ac:spMk id="989" creationId="{B63C70E1-334F-A439-520E-587CD35FB257}"/>
          </ac:spMkLst>
        </pc:spChg>
        <pc:spChg chg="add del mod">
          <ac:chgData name="Steiner Andreas 6206 ED" userId="e6377c33-a923-4f14-8587-531c474c7b48" providerId="ADAL" clId="{6ECD27E6-B224-41CD-B4E0-E297462320DD}" dt="2023-11-24T11:43:03.912" v="151967"/>
          <ac:spMkLst>
            <pc:docMk/>
            <pc:sldMk cId="789548521" sldId="2147478568"/>
            <ac:spMk id="990" creationId="{140E3E8C-4B3A-4F57-4ADC-563F8B266EBA}"/>
          </ac:spMkLst>
        </pc:spChg>
        <pc:spChg chg="add del mod">
          <ac:chgData name="Steiner Andreas 6206 ED" userId="e6377c33-a923-4f14-8587-531c474c7b48" providerId="ADAL" clId="{6ECD27E6-B224-41CD-B4E0-E297462320DD}" dt="2023-11-24T11:43:06.175" v="152122"/>
          <ac:spMkLst>
            <pc:docMk/>
            <pc:sldMk cId="789548521" sldId="2147478568"/>
            <ac:spMk id="991" creationId="{2805E030-D2BD-5D2B-6515-A3453A871D76}"/>
          </ac:spMkLst>
        </pc:spChg>
        <pc:spChg chg="add del mod">
          <ac:chgData name="Steiner Andreas 6206 ED" userId="e6377c33-a923-4f14-8587-531c474c7b48" providerId="ADAL" clId="{6ECD27E6-B224-41CD-B4E0-E297462320DD}" dt="2023-11-24T11:43:08.238" v="152277"/>
          <ac:spMkLst>
            <pc:docMk/>
            <pc:sldMk cId="789548521" sldId="2147478568"/>
            <ac:spMk id="992" creationId="{747C28FE-ACE3-C8CD-C9B5-B6F30BC84DDC}"/>
          </ac:spMkLst>
        </pc:spChg>
        <pc:spChg chg="add del mod">
          <ac:chgData name="Steiner Andreas 6206 ED" userId="e6377c33-a923-4f14-8587-531c474c7b48" providerId="ADAL" clId="{6ECD27E6-B224-41CD-B4E0-E297462320DD}" dt="2023-11-24T11:43:10.430" v="152432"/>
          <ac:spMkLst>
            <pc:docMk/>
            <pc:sldMk cId="789548521" sldId="2147478568"/>
            <ac:spMk id="993" creationId="{327ABD50-A0EB-116B-FACA-EFD64F4D428F}"/>
          </ac:spMkLst>
        </pc:spChg>
        <pc:spChg chg="add del mod">
          <ac:chgData name="Steiner Andreas 6206 ED" userId="e6377c33-a923-4f14-8587-531c474c7b48" providerId="ADAL" clId="{6ECD27E6-B224-41CD-B4E0-E297462320DD}" dt="2023-11-24T11:43:12.594" v="152587"/>
          <ac:spMkLst>
            <pc:docMk/>
            <pc:sldMk cId="789548521" sldId="2147478568"/>
            <ac:spMk id="994" creationId="{06A6341B-F6B4-8B5F-376F-F878ECFEC57F}"/>
          </ac:spMkLst>
        </pc:spChg>
        <pc:spChg chg="add del mod">
          <ac:chgData name="Steiner Andreas 6206 ED" userId="e6377c33-a923-4f14-8587-531c474c7b48" providerId="ADAL" clId="{6ECD27E6-B224-41CD-B4E0-E297462320DD}" dt="2023-11-24T11:43:14.855" v="152742"/>
          <ac:spMkLst>
            <pc:docMk/>
            <pc:sldMk cId="789548521" sldId="2147478568"/>
            <ac:spMk id="995" creationId="{18878E9F-87D7-F063-E5D9-046F7BE61CFA}"/>
          </ac:spMkLst>
        </pc:spChg>
        <pc:spChg chg="add del mod">
          <ac:chgData name="Steiner Andreas 6206 ED" userId="e6377c33-a923-4f14-8587-531c474c7b48" providerId="ADAL" clId="{6ECD27E6-B224-41CD-B4E0-E297462320DD}" dt="2023-11-24T11:43:17.814" v="152897"/>
          <ac:spMkLst>
            <pc:docMk/>
            <pc:sldMk cId="789548521" sldId="2147478568"/>
            <ac:spMk id="996" creationId="{034310C5-336A-D715-395C-E36C8E8C2FF9}"/>
          </ac:spMkLst>
        </pc:spChg>
        <pc:spChg chg="add del mod">
          <ac:chgData name="Steiner Andreas 6206 ED" userId="e6377c33-a923-4f14-8587-531c474c7b48" providerId="ADAL" clId="{6ECD27E6-B224-41CD-B4E0-E297462320DD}" dt="2023-11-24T11:43:22.065" v="153052"/>
          <ac:spMkLst>
            <pc:docMk/>
            <pc:sldMk cId="789548521" sldId="2147478568"/>
            <ac:spMk id="997" creationId="{D9A8D979-4689-3C50-7C67-FBE3013E4F30}"/>
          </ac:spMkLst>
        </pc:spChg>
        <pc:spChg chg="add del mod">
          <ac:chgData name="Steiner Andreas 6206 ED" userId="e6377c33-a923-4f14-8587-531c474c7b48" providerId="ADAL" clId="{6ECD27E6-B224-41CD-B4E0-E297462320DD}" dt="2023-11-24T11:43:24.620" v="153207"/>
          <ac:spMkLst>
            <pc:docMk/>
            <pc:sldMk cId="789548521" sldId="2147478568"/>
            <ac:spMk id="998" creationId="{406EC06D-A0D3-F83E-4F94-435C2766F1A0}"/>
          </ac:spMkLst>
        </pc:spChg>
        <pc:spChg chg="add del mod">
          <ac:chgData name="Steiner Andreas 6206 ED" userId="e6377c33-a923-4f14-8587-531c474c7b48" providerId="ADAL" clId="{6ECD27E6-B224-41CD-B4E0-E297462320DD}" dt="2023-11-24T11:43:26.921" v="153362"/>
          <ac:spMkLst>
            <pc:docMk/>
            <pc:sldMk cId="789548521" sldId="2147478568"/>
            <ac:spMk id="999" creationId="{8118196E-C20B-DEE4-93DE-CDF5AE875CD6}"/>
          </ac:spMkLst>
        </pc:spChg>
        <pc:spChg chg="add del mod">
          <ac:chgData name="Steiner Andreas 6206 ED" userId="e6377c33-a923-4f14-8587-531c474c7b48" providerId="ADAL" clId="{6ECD27E6-B224-41CD-B4E0-E297462320DD}" dt="2023-11-24T11:43:29.205" v="153517"/>
          <ac:spMkLst>
            <pc:docMk/>
            <pc:sldMk cId="789548521" sldId="2147478568"/>
            <ac:spMk id="1000" creationId="{6C47FD04-2597-5ABA-11BE-DA5D29F7AD8D}"/>
          </ac:spMkLst>
        </pc:spChg>
        <pc:spChg chg="add del mod">
          <ac:chgData name="Steiner Andreas 6206 ED" userId="e6377c33-a923-4f14-8587-531c474c7b48" providerId="ADAL" clId="{6ECD27E6-B224-41CD-B4E0-E297462320DD}" dt="2023-11-24T11:43:31.455" v="153672"/>
          <ac:spMkLst>
            <pc:docMk/>
            <pc:sldMk cId="789548521" sldId="2147478568"/>
            <ac:spMk id="1001" creationId="{CCBB64A4-F3EE-C421-1325-8CC80B70B45F}"/>
          </ac:spMkLst>
        </pc:spChg>
        <pc:spChg chg="add del mod">
          <ac:chgData name="Steiner Andreas 6206 ED" userId="e6377c33-a923-4f14-8587-531c474c7b48" providerId="ADAL" clId="{6ECD27E6-B224-41CD-B4E0-E297462320DD}" dt="2023-11-24T11:43:34.096" v="153827"/>
          <ac:spMkLst>
            <pc:docMk/>
            <pc:sldMk cId="789548521" sldId="2147478568"/>
            <ac:spMk id="1002" creationId="{C4FF24DC-1734-D73A-EF64-05B9CB886A6C}"/>
          </ac:spMkLst>
        </pc:spChg>
        <pc:spChg chg="add del mod">
          <ac:chgData name="Steiner Andreas 6206 ED" userId="e6377c33-a923-4f14-8587-531c474c7b48" providerId="ADAL" clId="{6ECD27E6-B224-41CD-B4E0-E297462320DD}" dt="2023-11-24T11:43:36.343" v="153982"/>
          <ac:spMkLst>
            <pc:docMk/>
            <pc:sldMk cId="789548521" sldId="2147478568"/>
            <ac:spMk id="1003" creationId="{F73FDE69-3B0B-B7DB-DB52-FDD8B5C4626D}"/>
          </ac:spMkLst>
        </pc:spChg>
        <pc:spChg chg="add del mod">
          <ac:chgData name="Steiner Andreas 6206 ED" userId="e6377c33-a923-4f14-8587-531c474c7b48" providerId="ADAL" clId="{6ECD27E6-B224-41CD-B4E0-E297462320DD}" dt="2023-11-24T11:43:38.532" v="154137"/>
          <ac:spMkLst>
            <pc:docMk/>
            <pc:sldMk cId="789548521" sldId="2147478568"/>
            <ac:spMk id="1004" creationId="{C63D5FDB-474A-F5A7-62F4-D2A8F25C5B26}"/>
          </ac:spMkLst>
        </pc:spChg>
        <pc:spChg chg="add del mod">
          <ac:chgData name="Steiner Andreas 6206 ED" userId="e6377c33-a923-4f14-8587-531c474c7b48" providerId="ADAL" clId="{6ECD27E6-B224-41CD-B4E0-E297462320DD}" dt="2023-11-24T11:43:40.801" v="154292"/>
          <ac:spMkLst>
            <pc:docMk/>
            <pc:sldMk cId="789548521" sldId="2147478568"/>
            <ac:spMk id="1005" creationId="{61E6647A-7654-B8EB-68CB-170F07F0A66C}"/>
          </ac:spMkLst>
        </pc:spChg>
        <pc:spChg chg="add del mod">
          <ac:chgData name="Steiner Andreas 6206 ED" userId="e6377c33-a923-4f14-8587-531c474c7b48" providerId="ADAL" clId="{6ECD27E6-B224-41CD-B4E0-E297462320DD}" dt="2023-11-24T11:43:43.789" v="154447"/>
          <ac:spMkLst>
            <pc:docMk/>
            <pc:sldMk cId="789548521" sldId="2147478568"/>
            <ac:spMk id="1006" creationId="{CD3852BB-6924-1D38-B4CD-54F2D3C780BD}"/>
          </ac:spMkLst>
        </pc:spChg>
        <pc:spChg chg="add del mod">
          <ac:chgData name="Steiner Andreas 6206 ED" userId="e6377c33-a923-4f14-8587-531c474c7b48" providerId="ADAL" clId="{6ECD27E6-B224-41CD-B4E0-E297462320DD}" dt="2023-11-24T11:43:46.153" v="154602"/>
          <ac:spMkLst>
            <pc:docMk/>
            <pc:sldMk cId="789548521" sldId="2147478568"/>
            <ac:spMk id="1007" creationId="{774EB9B2-298D-975E-4305-797BECAEBF01}"/>
          </ac:spMkLst>
        </pc:spChg>
        <pc:spChg chg="add del mod">
          <ac:chgData name="Steiner Andreas 6206 ED" userId="e6377c33-a923-4f14-8587-531c474c7b48" providerId="ADAL" clId="{6ECD27E6-B224-41CD-B4E0-E297462320DD}" dt="2023-11-24T11:43:48.446" v="154757"/>
          <ac:spMkLst>
            <pc:docMk/>
            <pc:sldMk cId="789548521" sldId="2147478568"/>
            <ac:spMk id="1008" creationId="{DEF5F12C-904F-8201-FABA-E888275FFFDA}"/>
          </ac:spMkLst>
        </pc:spChg>
        <pc:spChg chg="add del mod">
          <ac:chgData name="Steiner Andreas 6206 ED" userId="e6377c33-a923-4f14-8587-531c474c7b48" providerId="ADAL" clId="{6ECD27E6-B224-41CD-B4E0-E297462320DD}" dt="2023-11-24T11:43:50.521" v="154912"/>
          <ac:spMkLst>
            <pc:docMk/>
            <pc:sldMk cId="789548521" sldId="2147478568"/>
            <ac:spMk id="1009" creationId="{7ACE0E65-153E-EB36-1B78-545E091A5A45}"/>
          </ac:spMkLst>
        </pc:spChg>
        <pc:spChg chg="add del mod">
          <ac:chgData name="Steiner Andreas 6206 ED" userId="e6377c33-a923-4f14-8587-531c474c7b48" providerId="ADAL" clId="{6ECD27E6-B224-41CD-B4E0-E297462320DD}" dt="2023-11-24T11:43:52.708" v="155067"/>
          <ac:spMkLst>
            <pc:docMk/>
            <pc:sldMk cId="789548521" sldId="2147478568"/>
            <ac:spMk id="1010" creationId="{963D4CE0-69E8-347E-958E-93C2A35D10A8}"/>
          </ac:spMkLst>
        </pc:spChg>
        <pc:spChg chg="add del mod">
          <ac:chgData name="Steiner Andreas 6206 ED" userId="e6377c33-a923-4f14-8587-531c474c7b48" providerId="ADAL" clId="{6ECD27E6-B224-41CD-B4E0-E297462320DD}" dt="2023-11-24T11:43:55.608" v="155222"/>
          <ac:spMkLst>
            <pc:docMk/>
            <pc:sldMk cId="789548521" sldId="2147478568"/>
            <ac:spMk id="1011" creationId="{939B9639-EB85-7B13-99FE-583BCBC687CD}"/>
          </ac:spMkLst>
        </pc:spChg>
        <pc:spChg chg="add del mod">
          <ac:chgData name="Steiner Andreas 6206 ED" userId="e6377c33-a923-4f14-8587-531c474c7b48" providerId="ADAL" clId="{6ECD27E6-B224-41CD-B4E0-E297462320DD}" dt="2023-11-24T11:43:58.042" v="155377"/>
          <ac:spMkLst>
            <pc:docMk/>
            <pc:sldMk cId="789548521" sldId="2147478568"/>
            <ac:spMk id="1012" creationId="{9AE13BB9-349D-A805-E61D-2B16187B7515}"/>
          </ac:spMkLst>
        </pc:spChg>
        <pc:spChg chg="add del mod">
          <ac:chgData name="Steiner Andreas 6206 ED" userId="e6377c33-a923-4f14-8587-531c474c7b48" providerId="ADAL" clId="{6ECD27E6-B224-41CD-B4E0-E297462320DD}" dt="2023-11-24T11:44:00.165" v="155532"/>
          <ac:spMkLst>
            <pc:docMk/>
            <pc:sldMk cId="789548521" sldId="2147478568"/>
            <ac:spMk id="1013" creationId="{26F7345E-773B-3B49-1E01-A57EA7713845}"/>
          </ac:spMkLst>
        </pc:spChg>
        <pc:spChg chg="add del mod">
          <ac:chgData name="Steiner Andreas 6206 ED" userId="e6377c33-a923-4f14-8587-531c474c7b48" providerId="ADAL" clId="{6ECD27E6-B224-41CD-B4E0-E297462320DD}" dt="2023-11-24T11:44:02.191" v="155687"/>
          <ac:spMkLst>
            <pc:docMk/>
            <pc:sldMk cId="789548521" sldId="2147478568"/>
            <ac:spMk id="1014" creationId="{3C076C3C-9655-319E-080E-9334E484FE0E}"/>
          </ac:spMkLst>
        </pc:spChg>
        <pc:spChg chg="add del mod">
          <ac:chgData name="Steiner Andreas 6206 ED" userId="e6377c33-a923-4f14-8587-531c474c7b48" providerId="ADAL" clId="{6ECD27E6-B224-41CD-B4E0-E297462320DD}" dt="2023-11-24T11:44:04.208" v="155842"/>
          <ac:spMkLst>
            <pc:docMk/>
            <pc:sldMk cId="789548521" sldId="2147478568"/>
            <ac:spMk id="1015" creationId="{449A2313-3FB9-38AB-4B1A-BE7CDB0F54B3}"/>
          </ac:spMkLst>
        </pc:spChg>
        <pc:spChg chg="add del mod">
          <ac:chgData name="Steiner Andreas 6206 ED" userId="e6377c33-a923-4f14-8587-531c474c7b48" providerId="ADAL" clId="{6ECD27E6-B224-41CD-B4E0-E297462320DD}" dt="2023-11-24T11:44:06.231" v="155997"/>
          <ac:spMkLst>
            <pc:docMk/>
            <pc:sldMk cId="789548521" sldId="2147478568"/>
            <ac:spMk id="1016" creationId="{35EDF259-0DE5-85A6-2AC5-11B33453F9A9}"/>
          </ac:spMkLst>
        </pc:spChg>
        <pc:spChg chg="add del mod">
          <ac:chgData name="Steiner Andreas 6206 ED" userId="e6377c33-a923-4f14-8587-531c474c7b48" providerId="ADAL" clId="{6ECD27E6-B224-41CD-B4E0-E297462320DD}" dt="2023-11-24T11:44:08.380" v="156152"/>
          <ac:spMkLst>
            <pc:docMk/>
            <pc:sldMk cId="789548521" sldId="2147478568"/>
            <ac:spMk id="1017" creationId="{6A857D65-37F8-80F3-23E2-4CB8D7A34AF5}"/>
          </ac:spMkLst>
        </pc:spChg>
        <pc:spChg chg="add del mod">
          <ac:chgData name="Steiner Andreas 6206 ED" userId="e6377c33-a923-4f14-8587-531c474c7b48" providerId="ADAL" clId="{6ECD27E6-B224-41CD-B4E0-E297462320DD}" dt="2023-11-24T11:44:10.476" v="156307"/>
          <ac:spMkLst>
            <pc:docMk/>
            <pc:sldMk cId="789548521" sldId="2147478568"/>
            <ac:spMk id="1018" creationId="{643C3F32-D06D-14D5-5E2A-E912ED4771DD}"/>
          </ac:spMkLst>
        </pc:spChg>
        <pc:spChg chg="add del mod">
          <ac:chgData name="Steiner Andreas 6206 ED" userId="e6377c33-a923-4f14-8587-531c474c7b48" providerId="ADAL" clId="{6ECD27E6-B224-41CD-B4E0-E297462320DD}" dt="2023-11-24T11:44:12.485" v="156462"/>
          <ac:spMkLst>
            <pc:docMk/>
            <pc:sldMk cId="789548521" sldId="2147478568"/>
            <ac:spMk id="1019" creationId="{A3E3DE2C-0D77-1B3C-3C76-94029CA908E8}"/>
          </ac:spMkLst>
        </pc:spChg>
        <pc:spChg chg="add del mod">
          <ac:chgData name="Steiner Andreas 6206 ED" userId="e6377c33-a923-4f14-8587-531c474c7b48" providerId="ADAL" clId="{6ECD27E6-B224-41CD-B4E0-E297462320DD}" dt="2023-11-24T11:44:14.460" v="156617"/>
          <ac:spMkLst>
            <pc:docMk/>
            <pc:sldMk cId="789548521" sldId="2147478568"/>
            <ac:spMk id="1020" creationId="{1056282B-8B2F-21F8-6D40-56F535AD9A41}"/>
          </ac:spMkLst>
        </pc:spChg>
        <pc:spChg chg="add del mod">
          <ac:chgData name="Steiner Andreas 6206 ED" userId="e6377c33-a923-4f14-8587-531c474c7b48" providerId="ADAL" clId="{6ECD27E6-B224-41CD-B4E0-E297462320DD}" dt="2023-11-24T11:44:16.453" v="156772"/>
          <ac:spMkLst>
            <pc:docMk/>
            <pc:sldMk cId="789548521" sldId="2147478568"/>
            <ac:spMk id="1021" creationId="{ED52301B-5F74-CE3E-3624-4B3A1DF03714}"/>
          </ac:spMkLst>
        </pc:spChg>
        <pc:spChg chg="add del mod">
          <ac:chgData name="Steiner Andreas 6206 ED" userId="e6377c33-a923-4f14-8587-531c474c7b48" providerId="ADAL" clId="{6ECD27E6-B224-41CD-B4E0-E297462320DD}" dt="2023-11-24T11:44:18.524" v="156927"/>
          <ac:spMkLst>
            <pc:docMk/>
            <pc:sldMk cId="789548521" sldId="2147478568"/>
            <ac:spMk id="1022" creationId="{84C83649-DE9D-3A35-2ED2-43A2F3A75343}"/>
          </ac:spMkLst>
        </pc:spChg>
        <pc:spChg chg="add del mod">
          <ac:chgData name="Steiner Andreas 6206 ED" userId="e6377c33-a923-4f14-8587-531c474c7b48" providerId="ADAL" clId="{6ECD27E6-B224-41CD-B4E0-E297462320DD}" dt="2023-11-24T11:44:20.677" v="157082"/>
          <ac:spMkLst>
            <pc:docMk/>
            <pc:sldMk cId="789548521" sldId="2147478568"/>
            <ac:spMk id="1023" creationId="{F2C1747F-805E-3CE7-EA09-3D18B4DC8BB5}"/>
          </ac:spMkLst>
        </pc:spChg>
        <pc:spChg chg="add del mod">
          <ac:chgData name="Steiner Andreas 6206 ED" userId="e6377c33-a923-4f14-8587-531c474c7b48" providerId="ADAL" clId="{6ECD27E6-B224-41CD-B4E0-E297462320DD}" dt="2023-11-24T11:44:22.970" v="157237"/>
          <ac:spMkLst>
            <pc:docMk/>
            <pc:sldMk cId="789548521" sldId="2147478568"/>
            <ac:spMk id="1024" creationId="{FED0E86A-851D-181C-AA58-54EDC40DF064}"/>
          </ac:spMkLst>
        </pc:spChg>
        <pc:spChg chg="add del mod">
          <ac:chgData name="Steiner Andreas 6206 ED" userId="e6377c33-a923-4f14-8587-531c474c7b48" providerId="ADAL" clId="{6ECD27E6-B224-41CD-B4E0-E297462320DD}" dt="2023-11-24T11:44:25.147" v="157392"/>
          <ac:spMkLst>
            <pc:docMk/>
            <pc:sldMk cId="789548521" sldId="2147478568"/>
            <ac:spMk id="1025" creationId="{848AEF6D-92ED-C264-6F23-65D266909082}"/>
          </ac:spMkLst>
        </pc:spChg>
        <pc:spChg chg="add del mod">
          <ac:chgData name="Steiner Andreas 6206 ED" userId="e6377c33-a923-4f14-8587-531c474c7b48" providerId="ADAL" clId="{6ECD27E6-B224-41CD-B4E0-E297462320DD}" dt="2023-11-24T11:44:30.535" v="157547"/>
          <ac:spMkLst>
            <pc:docMk/>
            <pc:sldMk cId="789548521" sldId="2147478568"/>
            <ac:spMk id="1026" creationId="{42D0459B-647C-BDEA-BE81-EA24876ACD6D}"/>
          </ac:spMkLst>
        </pc:spChg>
        <pc:spChg chg="add mod">
          <ac:chgData name="Steiner Andreas 6206 ED" userId="e6377c33-a923-4f14-8587-531c474c7b48" providerId="ADAL" clId="{6ECD27E6-B224-41CD-B4E0-E297462320DD}" dt="2023-11-24T11:44:30.536" v="157548"/>
          <ac:spMkLst>
            <pc:docMk/>
            <pc:sldMk cId="789548521" sldId="2147478568"/>
            <ac:spMk id="1027" creationId="{FDDF5474-86D2-05EF-B926-2E5A32894A01}"/>
          </ac:spMkLst>
        </pc:spChg>
      </pc:sldChg>
      <pc:sldChg chg="addSp delSp modSp mod">
        <pc:chgData name="Steiner Andreas 6206 ED" userId="e6377c33-a923-4f14-8587-531c474c7b48" providerId="ADAL" clId="{6ECD27E6-B224-41CD-B4E0-E297462320DD}" dt="2023-11-24T11:44:30.668" v="157568"/>
        <pc:sldMkLst>
          <pc:docMk/>
          <pc:sldMk cId="3256052264" sldId="2147478569"/>
        </pc:sldMkLst>
        <pc:spChg chg="mod">
          <ac:chgData name="Steiner Andreas 6206 ED" userId="e6377c33-a923-4f14-8587-531c474c7b48" providerId="ADAL" clId="{6ECD27E6-B224-41CD-B4E0-E297462320DD}" dt="2023-11-24T11:44:30.668" v="157564" actId="20577"/>
          <ac:spMkLst>
            <pc:docMk/>
            <pc:sldMk cId="3256052264" sldId="2147478569"/>
            <ac:spMk id="3" creationId="{4E8CC9C0-365F-2AE2-45F2-482F3CE5F5BC}"/>
          </ac:spMkLst>
        </pc:spChg>
        <pc:spChg chg="del">
          <ac:chgData name="Steiner Andreas 6206 ED" userId="e6377c33-a923-4f14-8587-531c474c7b48" providerId="ADAL" clId="{6ECD27E6-B224-41CD-B4E0-E297462320DD}" dt="2023-11-23T19:49:53.509" v="71"/>
          <ac:spMkLst>
            <pc:docMk/>
            <pc:sldMk cId="3256052264" sldId="2147478569"/>
            <ac:spMk id="5" creationId="{64E93222-32B7-20A4-715C-D9A68AE48A8A}"/>
          </ac:spMkLst>
        </pc:spChg>
        <pc:spChg chg="add del mod">
          <ac:chgData name="Steiner Andreas 6206 ED" userId="e6377c33-a923-4f14-8587-531c474c7b48" providerId="ADAL" clId="{6ECD27E6-B224-41CD-B4E0-E297462320DD}" dt="2023-11-23T19:49:53.512" v="74"/>
          <ac:spMkLst>
            <pc:docMk/>
            <pc:sldMk cId="3256052264" sldId="2147478569"/>
            <ac:spMk id="10" creationId="{A927DF90-75E3-8067-53B2-AA92FD456AAD}"/>
          </ac:spMkLst>
        </pc:spChg>
        <pc:spChg chg="add del mod">
          <ac:chgData name="Steiner Andreas 6206 ED" userId="e6377c33-a923-4f14-8587-531c474c7b48" providerId="ADAL" clId="{6ECD27E6-B224-41CD-B4E0-E297462320DD}" dt="2023-11-23T19:49:54.437" v="242"/>
          <ac:spMkLst>
            <pc:docMk/>
            <pc:sldMk cId="3256052264" sldId="2147478569"/>
            <ac:spMk id="11" creationId="{2F684805-B9E8-4A22-A497-211192B8EE6F}"/>
          </ac:spMkLst>
        </pc:spChg>
        <pc:spChg chg="add del mod">
          <ac:chgData name="Steiner Andreas 6206 ED" userId="e6377c33-a923-4f14-8587-531c474c7b48" providerId="ADAL" clId="{6ECD27E6-B224-41CD-B4E0-E297462320DD}" dt="2023-11-23T19:50:25.234" v="397"/>
          <ac:spMkLst>
            <pc:docMk/>
            <pc:sldMk cId="3256052264" sldId="2147478569"/>
            <ac:spMk id="12" creationId="{8BFF7DAE-4690-C091-F523-4277D789C962}"/>
          </ac:spMkLst>
        </pc:spChg>
        <pc:spChg chg="add del mod">
          <ac:chgData name="Steiner Andreas 6206 ED" userId="e6377c33-a923-4f14-8587-531c474c7b48" providerId="ADAL" clId="{6ECD27E6-B224-41CD-B4E0-E297462320DD}" dt="2023-11-23T19:50:35.038" v="552"/>
          <ac:spMkLst>
            <pc:docMk/>
            <pc:sldMk cId="3256052264" sldId="2147478569"/>
            <ac:spMk id="13" creationId="{A707D42E-0AF7-046A-EB32-A67B7776887B}"/>
          </ac:spMkLst>
        </pc:spChg>
        <pc:spChg chg="add del mod">
          <ac:chgData name="Steiner Andreas 6206 ED" userId="e6377c33-a923-4f14-8587-531c474c7b48" providerId="ADAL" clId="{6ECD27E6-B224-41CD-B4E0-E297462320DD}" dt="2023-11-23T19:50:46.707" v="707"/>
          <ac:spMkLst>
            <pc:docMk/>
            <pc:sldMk cId="3256052264" sldId="2147478569"/>
            <ac:spMk id="14" creationId="{C651C620-05C1-5F07-710B-EA22F96535C0}"/>
          </ac:spMkLst>
        </pc:spChg>
        <pc:spChg chg="add del mod">
          <ac:chgData name="Steiner Andreas 6206 ED" userId="e6377c33-a923-4f14-8587-531c474c7b48" providerId="ADAL" clId="{6ECD27E6-B224-41CD-B4E0-E297462320DD}" dt="2023-11-23T19:50:58.415" v="862"/>
          <ac:spMkLst>
            <pc:docMk/>
            <pc:sldMk cId="3256052264" sldId="2147478569"/>
            <ac:spMk id="15" creationId="{EBE01979-B07D-D1CB-1F9B-808A88318953}"/>
          </ac:spMkLst>
        </pc:spChg>
        <pc:spChg chg="add del mod">
          <ac:chgData name="Steiner Andreas 6206 ED" userId="e6377c33-a923-4f14-8587-531c474c7b48" providerId="ADAL" clId="{6ECD27E6-B224-41CD-B4E0-E297462320DD}" dt="2023-11-23T19:51:09.094" v="1017"/>
          <ac:spMkLst>
            <pc:docMk/>
            <pc:sldMk cId="3256052264" sldId="2147478569"/>
            <ac:spMk id="16" creationId="{04C8BBF1-4B20-B90C-05A3-840363B0D02E}"/>
          </ac:spMkLst>
        </pc:spChg>
        <pc:spChg chg="add del mod">
          <ac:chgData name="Steiner Andreas 6206 ED" userId="e6377c33-a923-4f14-8587-531c474c7b48" providerId="ADAL" clId="{6ECD27E6-B224-41CD-B4E0-E297462320DD}" dt="2023-11-23T19:51:20.080" v="1172"/>
          <ac:spMkLst>
            <pc:docMk/>
            <pc:sldMk cId="3256052264" sldId="2147478569"/>
            <ac:spMk id="17" creationId="{C9629FC9-389D-EFDE-36CF-1AB30BB8AC3E}"/>
          </ac:spMkLst>
        </pc:spChg>
        <pc:spChg chg="add del mod">
          <ac:chgData name="Steiner Andreas 6206 ED" userId="e6377c33-a923-4f14-8587-531c474c7b48" providerId="ADAL" clId="{6ECD27E6-B224-41CD-B4E0-E297462320DD}" dt="2023-11-23T19:51:31.564" v="1327"/>
          <ac:spMkLst>
            <pc:docMk/>
            <pc:sldMk cId="3256052264" sldId="2147478569"/>
            <ac:spMk id="18" creationId="{69F49A2D-1681-0F46-6545-A76086F0747D}"/>
          </ac:spMkLst>
        </pc:spChg>
        <pc:spChg chg="add del mod">
          <ac:chgData name="Steiner Andreas 6206 ED" userId="e6377c33-a923-4f14-8587-531c474c7b48" providerId="ADAL" clId="{6ECD27E6-B224-41CD-B4E0-E297462320DD}" dt="2023-11-23T19:51:42.223" v="1482"/>
          <ac:spMkLst>
            <pc:docMk/>
            <pc:sldMk cId="3256052264" sldId="2147478569"/>
            <ac:spMk id="19" creationId="{5ACC2D3E-7315-734F-7E9F-11323848D49A}"/>
          </ac:spMkLst>
        </pc:spChg>
        <pc:spChg chg="add del mod">
          <ac:chgData name="Steiner Andreas 6206 ED" userId="e6377c33-a923-4f14-8587-531c474c7b48" providerId="ADAL" clId="{6ECD27E6-B224-41CD-B4E0-E297462320DD}" dt="2023-11-23T19:51:53.565" v="1637"/>
          <ac:spMkLst>
            <pc:docMk/>
            <pc:sldMk cId="3256052264" sldId="2147478569"/>
            <ac:spMk id="20" creationId="{954B8DF8-1364-FAFF-60C2-F458EBA9BB80}"/>
          </ac:spMkLst>
        </pc:spChg>
        <pc:spChg chg="add del mod">
          <ac:chgData name="Steiner Andreas 6206 ED" userId="e6377c33-a923-4f14-8587-531c474c7b48" providerId="ADAL" clId="{6ECD27E6-B224-41CD-B4E0-E297462320DD}" dt="2023-11-23T19:52:05.210" v="1792"/>
          <ac:spMkLst>
            <pc:docMk/>
            <pc:sldMk cId="3256052264" sldId="2147478569"/>
            <ac:spMk id="21" creationId="{DCAA06A8-F8DB-67A5-C6A0-9015538CC53C}"/>
          </ac:spMkLst>
        </pc:spChg>
        <pc:spChg chg="add del mod">
          <ac:chgData name="Steiner Andreas 6206 ED" userId="e6377c33-a923-4f14-8587-531c474c7b48" providerId="ADAL" clId="{6ECD27E6-B224-41CD-B4E0-E297462320DD}" dt="2023-11-23T19:52:16.910" v="1947"/>
          <ac:spMkLst>
            <pc:docMk/>
            <pc:sldMk cId="3256052264" sldId="2147478569"/>
            <ac:spMk id="22" creationId="{88E32D62-B4A5-DE83-6503-7940DE64F61C}"/>
          </ac:spMkLst>
        </pc:spChg>
        <pc:spChg chg="add del mod">
          <ac:chgData name="Steiner Andreas 6206 ED" userId="e6377c33-a923-4f14-8587-531c474c7b48" providerId="ADAL" clId="{6ECD27E6-B224-41CD-B4E0-E297462320DD}" dt="2023-11-23T19:52:28.608" v="2102"/>
          <ac:spMkLst>
            <pc:docMk/>
            <pc:sldMk cId="3256052264" sldId="2147478569"/>
            <ac:spMk id="23" creationId="{7EF4E095-DC37-35D8-D850-38AE79723479}"/>
          </ac:spMkLst>
        </pc:spChg>
        <pc:spChg chg="add del mod">
          <ac:chgData name="Steiner Andreas 6206 ED" userId="e6377c33-a923-4f14-8587-531c474c7b48" providerId="ADAL" clId="{6ECD27E6-B224-41CD-B4E0-E297462320DD}" dt="2023-11-23T19:52:40.291" v="2257"/>
          <ac:spMkLst>
            <pc:docMk/>
            <pc:sldMk cId="3256052264" sldId="2147478569"/>
            <ac:spMk id="24" creationId="{BE5FA2CE-E3F5-D5C6-492C-BCD2CC3F88E1}"/>
          </ac:spMkLst>
        </pc:spChg>
        <pc:spChg chg="add del mod">
          <ac:chgData name="Steiner Andreas 6206 ED" userId="e6377c33-a923-4f14-8587-531c474c7b48" providerId="ADAL" clId="{6ECD27E6-B224-41CD-B4E0-E297462320DD}" dt="2023-11-23T19:52:51.686" v="2412"/>
          <ac:spMkLst>
            <pc:docMk/>
            <pc:sldMk cId="3256052264" sldId="2147478569"/>
            <ac:spMk id="25" creationId="{31ED275B-23C1-1311-DB42-BED5CB8F89E7}"/>
          </ac:spMkLst>
        </pc:spChg>
        <pc:spChg chg="add del mod">
          <ac:chgData name="Steiner Andreas 6206 ED" userId="e6377c33-a923-4f14-8587-531c474c7b48" providerId="ADAL" clId="{6ECD27E6-B224-41CD-B4E0-E297462320DD}" dt="2023-11-23T19:53:03.351" v="2567"/>
          <ac:spMkLst>
            <pc:docMk/>
            <pc:sldMk cId="3256052264" sldId="2147478569"/>
            <ac:spMk id="26" creationId="{505C1AC2-7F63-2FF3-858F-D8007DE215E5}"/>
          </ac:spMkLst>
        </pc:spChg>
        <pc:spChg chg="add del mod">
          <ac:chgData name="Steiner Andreas 6206 ED" userId="e6377c33-a923-4f14-8587-531c474c7b48" providerId="ADAL" clId="{6ECD27E6-B224-41CD-B4E0-E297462320DD}" dt="2023-11-23T19:53:15.087" v="2722"/>
          <ac:spMkLst>
            <pc:docMk/>
            <pc:sldMk cId="3256052264" sldId="2147478569"/>
            <ac:spMk id="27" creationId="{80C63208-C834-3A21-0387-4DAA794AE822}"/>
          </ac:spMkLst>
        </pc:spChg>
        <pc:spChg chg="add del mod">
          <ac:chgData name="Steiner Andreas 6206 ED" userId="e6377c33-a923-4f14-8587-531c474c7b48" providerId="ADAL" clId="{6ECD27E6-B224-41CD-B4E0-E297462320DD}" dt="2023-11-23T19:53:26.770" v="2877"/>
          <ac:spMkLst>
            <pc:docMk/>
            <pc:sldMk cId="3256052264" sldId="2147478569"/>
            <ac:spMk id="28" creationId="{8A554FAE-971E-6395-741B-8B2DA6FE351F}"/>
          </ac:spMkLst>
        </pc:spChg>
        <pc:spChg chg="add del mod">
          <ac:chgData name="Steiner Andreas 6206 ED" userId="e6377c33-a923-4f14-8587-531c474c7b48" providerId="ADAL" clId="{6ECD27E6-B224-41CD-B4E0-E297462320DD}" dt="2023-11-23T19:53:38.428" v="3032"/>
          <ac:spMkLst>
            <pc:docMk/>
            <pc:sldMk cId="3256052264" sldId="2147478569"/>
            <ac:spMk id="29" creationId="{026FAC3F-8E28-D3C4-1FD0-0BADDA7B666F}"/>
          </ac:spMkLst>
        </pc:spChg>
        <pc:spChg chg="add del mod">
          <ac:chgData name="Steiner Andreas 6206 ED" userId="e6377c33-a923-4f14-8587-531c474c7b48" providerId="ADAL" clId="{6ECD27E6-B224-41CD-B4E0-E297462320DD}" dt="2023-11-23T19:53:50.089" v="3187"/>
          <ac:spMkLst>
            <pc:docMk/>
            <pc:sldMk cId="3256052264" sldId="2147478569"/>
            <ac:spMk id="30" creationId="{AFF47524-BC82-C36E-D33D-3F0CFB16F260}"/>
          </ac:spMkLst>
        </pc:spChg>
        <pc:spChg chg="add del mod">
          <ac:chgData name="Steiner Andreas 6206 ED" userId="e6377c33-a923-4f14-8587-531c474c7b48" providerId="ADAL" clId="{6ECD27E6-B224-41CD-B4E0-E297462320DD}" dt="2023-11-23T19:54:01.765" v="3342"/>
          <ac:spMkLst>
            <pc:docMk/>
            <pc:sldMk cId="3256052264" sldId="2147478569"/>
            <ac:spMk id="31" creationId="{A5A09009-950D-191C-250E-C41BF486C398}"/>
          </ac:spMkLst>
        </pc:spChg>
        <pc:spChg chg="add del mod">
          <ac:chgData name="Steiner Andreas 6206 ED" userId="e6377c33-a923-4f14-8587-531c474c7b48" providerId="ADAL" clId="{6ECD27E6-B224-41CD-B4E0-E297462320DD}" dt="2023-11-23T19:54:13.457" v="3497"/>
          <ac:spMkLst>
            <pc:docMk/>
            <pc:sldMk cId="3256052264" sldId="2147478569"/>
            <ac:spMk id="32" creationId="{0A86780D-8960-1BE4-C5A8-C494A6B378B2}"/>
          </ac:spMkLst>
        </pc:spChg>
        <pc:spChg chg="add del mod">
          <ac:chgData name="Steiner Andreas 6206 ED" userId="e6377c33-a923-4f14-8587-531c474c7b48" providerId="ADAL" clId="{6ECD27E6-B224-41CD-B4E0-E297462320DD}" dt="2023-11-23T19:54:25.119" v="3652"/>
          <ac:spMkLst>
            <pc:docMk/>
            <pc:sldMk cId="3256052264" sldId="2147478569"/>
            <ac:spMk id="33" creationId="{69A6C130-D42C-B497-9314-A80A8628013D}"/>
          </ac:spMkLst>
        </pc:spChg>
        <pc:spChg chg="add del mod">
          <ac:chgData name="Steiner Andreas 6206 ED" userId="e6377c33-a923-4f14-8587-531c474c7b48" providerId="ADAL" clId="{6ECD27E6-B224-41CD-B4E0-E297462320DD}" dt="2023-11-23T19:54:36.836" v="3807"/>
          <ac:spMkLst>
            <pc:docMk/>
            <pc:sldMk cId="3256052264" sldId="2147478569"/>
            <ac:spMk id="34" creationId="{CBDF6030-BDED-6DB6-928E-1EB05567650A}"/>
          </ac:spMkLst>
        </pc:spChg>
        <pc:spChg chg="add del mod">
          <ac:chgData name="Steiner Andreas 6206 ED" userId="e6377c33-a923-4f14-8587-531c474c7b48" providerId="ADAL" clId="{6ECD27E6-B224-41CD-B4E0-E297462320DD}" dt="2023-11-23T19:54:48.172" v="3962"/>
          <ac:spMkLst>
            <pc:docMk/>
            <pc:sldMk cId="3256052264" sldId="2147478569"/>
            <ac:spMk id="35" creationId="{D246A956-1155-9B3C-71E3-A313D1760103}"/>
          </ac:spMkLst>
        </pc:spChg>
        <pc:spChg chg="add del mod">
          <ac:chgData name="Steiner Andreas 6206 ED" userId="e6377c33-a923-4f14-8587-531c474c7b48" providerId="ADAL" clId="{6ECD27E6-B224-41CD-B4E0-E297462320DD}" dt="2023-11-23T19:54:59.808" v="4117"/>
          <ac:spMkLst>
            <pc:docMk/>
            <pc:sldMk cId="3256052264" sldId="2147478569"/>
            <ac:spMk id="36" creationId="{5FE5B05E-48E2-1012-BD84-566FCD645004}"/>
          </ac:spMkLst>
        </pc:spChg>
        <pc:spChg chg="add del mod">
          <ac:chgData name="Steiner Andreas 6206 ED" userId="e6377c33-a923-4f14-8587-531c474c7b48" providerId="ADAL" clId="{6ECD27E6-B224-41CD-B4E0-E297462320DD}" dt="2023-11-23T19:55:11.542" v="4272"/>
          <ac:spMkLst>
            <pc:docMk/>
            <pc:sldMk cId="3256052264" sldId="2147478569"/>
            <ac:spMk id="37" creationId="{2A85F0F7-A1BC-CD05-2D99-92141C76DE05}"/>
          </ac:spMkLst>
        </pc:spChg>
        <pc:spChg chg="add del mod">
          <ac:chgData name="Steiner Andreas 6206 ED" userId="e6377c33-a923-4f14-8587-531c474c7b48" providerId="ADAL" clId="{6ECD27E6-B224-41CD-B4E0-E297462320DD}" dt="2023-11-23T19:55:23.220" v="4427"/>
          <ac:spMkLst>
            <pc:docMk/>
            <pc:sldMk cId="3256052264" sldId="2147478569"/>
            <ac:spMk id="38" creationId="{5C87EDD3-86F4-B28A-01A9-6B37358D34B7}"/>
          </ac:spMkLst>
        </pc:spChg>
        <pc:spChg chg="add del mod">
          <ac:chgData name="Steiner Andreas 6206 ED" userId="e6377c33-a923-4f14-8587-531c474c7b48" providerId="ADAL" clId="{6ECD27E6-B224-41CD-B4E0-E297462320DD}" dt="2023-11-23T19:55:34.867" v="4582"/>
          <ac:spMkLst>
            <pc:docMk/>
            <pc:sldMk cId="3256052264" sldId="2147478569"/>
            <ac:spMk id="39" creationId="{532F8C2C-C00F-0CEE-D37A-DA70510F49A1}"/>
          </ac:spMkLst>
        </pc:spChg>
        <pc:spChg chg="add del mod">
          <ac:chgData name="Steiner Andreas 6206 ED" userId="e6377c33-a923-4f14-8587-531c474c7b48" providerId="ADAL" clId="{6ECD27E6-B224-41CD-B4E0-E297462320DD}" dt="2023-11-23T19:55:46.203" v="4737"/>
          <ac:spMkLst>
            <pc:docMk/>
            <pc:sldMk cId="3256052264" sldId="2147478569"/>
            <ac:spMk id="40" creationId="{54004EC7-6BA2-9392-07C7-01E498328EFE}"/>
          </ac:spMkLst>
        </pc:spChg>
        <pc:spChg chg="add del mod">
          <ac:chgData name="Steiner Andreas 6206 ED" userId="e6377c33-a923-4f14-8587-531c474c7b48" providerId="ADAL" clId="{6ECD27E6-B224-41CD-B4E0-E297462320DD}" dt="2023-11-23T19:55:57.867" v="4892"/>
          <ac:spMkLst>
            <pc:docMk/>
            <pc:sldMk cId="3256052264" sldId="2147478569"/>
            <ac:spMk id="41" creationId="{FE00E8E0-4F7B-E635-CB9A-2691518BB18E}"/>
          </ac:spMkLst>
        </pc:spChg>
        <pc:spChg chg="add del mod">
          <ac:chgData name="Steiner Andreas 6206 ED" userId="e6377c33-a923-4f14-8587-531c474c7b48" providerId="ADAL" clId="{6ECD27E6-B224-41CD-B4E0-E297462320DD}" dt="2023-11-23T19:56:09.532" v="5047"/>
          <ac:spMkLst>
            <pc:docMk/>
            <pc:sldMk cId="3256052264" sldId="2147478569"/>
            <ac:spMk id="42" creationId="{24B2FCF7-5FB9-F7F5-ED4B-C02042B76A5C}"/>
          </ac:spMkLst>
        </pc:spChg>
        <pc:spChg chg="add del mod">
          <ac:chgData name="Steiner Andreas 6206 ED" userId="e6377c33-a923-4f14-8587-531c474c7b48" providerId="ADAL" clId="{6ECD27E6-B224-41CD-B4E0-E297462320DD}" dt="2023-11-23T19:56:21.230" v="5202"/>
          <ac:spMkLst>
            <pc:docMk/>
            <pc:sldMk cId="3256052264" sldId="2147478569"/>
            <ac:spMk id="43" creationId="{C174CE55-8A64-A519-DBA6-A4A13DFCCFC3}"/>
          </ac:spMkLst>
        </pc:spChg>
        <pc:spChg chg="add del mod">
          <ac:chgData name="Steiner Andreas 6206 ED" userId="e6377c33-a923-4f14-8587-531c474c7b48" providerId="ADAL" clId="{6ECD27E6-B224-41CD-B4E0-E297462320DD}" dt="2023-11-23T19:56:32.916" v="5357"/>
          <ac:spMkLst>
            <pc:docMk/>
            <pc:sldMk cId="3256052264" sldId="2147478569"/>
            <ac:spMk id="44" creationId="{1920C431-1EE7-DC0D-1D0C-69E588933C66}"/>
          </ac:spMkLst>
        </pc:spChg>
        <pc:spChg chg="add del mod">
          <ac:chgData name="Steiner Andreas 6206 ED" userId="e6377c33-a923-4f14-8587-531c474c7b48" providerId="ADAL" clId="{6ECD27E6-B224-41CD-B4E0-E297462320DD}" dt="2023-11-23T19:56:44.276" v="5512"/>
          <ac:spMkLst>
            <pc:docMk/>
            <pc:sldMk cId="3256052264" sldId="2147478569"/>
            <ac:spMk id="45" creationId="{3E78BE4C-5784-94F9-1460-5ED58B239781}"/>
          </ac:spMkLst>
        </pc:spChg>
        <pc:spChg chg="add del mod">
          <ac:chgData name="Steiner Andreas 6206 ED" userId="e6377c33-a923-4f14-8587-531c474c7b48" providerId="ADAL" clId="{6ECD27E6-B224-41CD-B4E0-E297462320DD}" dt="2023-11-23T19:56:54.650" v="5667"/>
          <ac:spMkLst>
            <pc:docMk/>
            <pc:sldMk cId="3256052264" sldId="2147478569"/>
            <ac:spMk id="46" creationId="{9782DC16-295E-224D-7D98-298F7A748569}"/>
          </ac:spMkLst>
        </pc:spChg>
        <pc:spChg chg="add del mod">
          <ac:chgData name="Steiner Andreas 6206 ED" userId="e6377c33-a923-4f14-8587-531c474c7b48" providerId="ADAL" clId="{6ECD27E6-B224-41CD-B4E0-E297462320DD}" dt="2023-11-23T19:57:06.115" v="5822"/>
          <ac:spMkLst>
            <pc:docMk/>
            <pc:sldMk cId="3256052264" sldId="2147478569"/>
            <ac:spMk id="47" creationId="{E4B0BBA9-BE1A-B8D9-02A6-A218F75BE8E4}"/>
          </ac:spMkLst>
        </pc:spChg>
        <pc:spChg chg="add del mod">
          <ac:chgData name="Steiner Andreas 6206 ED" userId="e6377c33-a923-4f14-8587-531c474c7b48" providerId="ADAL" clId="{6ECD27E6-B224-41CD-B4E0-E297462320DD}" dt="2023-11-23T19:57:17.793" v="5977"/>
          <ac:spMkLst>
            <pc:docMk/>
            <pc:sldMk cId="3256052264" sldId="2147478569"/>
            <ac:spMk id="48" creationId="{8270FEEF-0F2A-3D58-8AF8-AB503BDCF526}"/>
          </ac:spMkLst>
        </pc:spChg>
        <pc:spChg chg="add del mod">
          <ac:chgData name="Steiner Andreas 6206 ED" userId="e6377c33-a923-4f14-8587-531c474c7b48" providerId="ADAL" clId="{6ECD27E6-B224-41CD-B4E0-E297462320DD}" dt="2023-11-23T19:57:29.261" v="6132"/>
          <ac:spMkLst>
            <pc:docMk/>
            <pc:sldMk cId="3256052264" sldId="2147478569"/>
            <ac:spMk id="49" creationId="{FCBAEE7A-6050-475D-E3FC-1C7A40AA49F2}"/>
          </ac:spMkLst>
        </pc:spChg>
        <pc:spChg chg="add del mod">
          <ac:chgData name="Steiner Andreas 6206 ED" userId="e6377c33-a923-4f14-8587-531c474c7b48" providerId="ADAL" clId="{6ECD27E6-B224-41CD-B4E0-E297462320DD}" dt="2023-11-23T19:57:40.886" v="6287"/>
          <ac:spMkLst>
            <pc:docMk/>
            <pc:sldMk cId="3256052264" sldId="2147478569"/>
            <ac:spMk id="50" creationId="{C91390A9-8EE7-6C58-EB4A-F3255DE52E3B}"/>
          </ac:spMkLst>
        </pc:spChg>
        <pc:spChg chg="add del mod">
          <ac:chgData name="Steiner Andreas 6206 ED" userId="e6377c33-a923-4f14-8587-531c474c7b48" providerId="ADAL" clId="{6ECD27E6-B224-41CD-B4E0-E297462320DD}" dt="2023-11-23T19:57:52.557" v="6442"/>
          <ac:spMkLst>
            <pc:docMk/>
            <pc:sldMk cId="3256052264" sldId="2147478569"/>
            <ac:spMk id="51" creationId="{FD090D58-F92D-C926-3104-D196E700B5B5}"/>
          </ac:spMkLst>
        </pc:spChg>
        <pc:spChg chg="add del mod">
          <ac:chgData name="Steiner Andreas 6206 ED" userId="e6377c33-a923-4f14-8587-531c474c7b48" providerId="ADAL" clId="{6ECD27E6-B224-41CD-B4E0-E297462320DD}" dt="2023-11-23T19:58:04.253" v="6597"/>
          <ac:spMkLst>
            <pc:docMk/>
            <pc:sldMk cId="3256052264" sldId="2147478569"/>
            <ac:spMk id="52" creationId="{6675A7BD-AAA9-5D3F-86CF-C29BF46DD7B6}"/>
          </ac:spMkLst>
        </pc:spChg>
        <pc:spChg chg="add del mod">
          <ac:chgData name="Steiner Andreas 6206 ED" userId="e6377c33-a923-4f14-8587-531c474c7b48" providerId="ADAL" clId="{6ECD27E6-B224-41CD-B4E0-E297462320DD}" dt="2023-11-23T19:58:15.653" v="6752"/>
          <ac:spMkLst>
            <pc:docMk/>
            <pc:sldMk cId="3256052264" sldId="2147478569"/>
            <ac:spMk id="53" creationId="{D9196E10-A979-7D27-1067-A1335A344427}"/>
          </ac:spMkLst>
        </pc:spChg>
        <pc:spChg chg="add del mod">
          <ac:chgData name="Steiner Andreas 6206 ED" userId="e6377c33-a923-4f14-8587-531c474c7b48" providerId="ADAL" clId="{6ECD27E6-B224-41CD-B4E0-E297462320DD}" dt="2023-11-23T19:58:27.774" v="6907"/>
          <ac:spMkLst>
            <pc:docMk/>
            <pc:sldMk cId="3256052264" sldId="2147478569"/>
            <ac:spMk id="54" creationId="{AAFBA423-DE5B-CC88-8FDE-D5B437D3FC37}"/>
          </ac:spMkLst>
        </pc:spChg>
        <pc:spChg chg="add del mod">
          <ac:chgData name="Steiner Andreas 6206 ED" userId="e6377c33-a923-4f14-8587-531c474c7b48" providerId="ADAL" clId="{6ECD27E6-B224-41CD-B4E0-E297462320DD}" dt="2023-11-23T19:58:39.517" v="7062"/>
          <ac:spMkLst>
            <pc:docMk/>
            <pc:sldMk cId="3256052264" sldId="2147478569"/>
            <ac:spMk id="55" creationId="{FE0FEC5A-0C7A-CA91-30BB-97E5D4247F22}"/>
          </ac:spMkLst>
        </pc:spChg>
        <pc:spChg chg="add del mod">
          <ac:chgData name="Steiner Andreas 6206 ED" userId="e6377c33-a923-4f14-8587-531c474c7b48" providerId="ADAL" clId="{6ECD27E6-B224-41CD-B4E0-E297462320DD}" dt="2023-11-23T19:58:51.206" v="7217"/>
          <ac:spMkLst>
            <pc:docMk/>
            <pc:sldMk cId="3256052264" sldId="2147478569"/>
            <ac:spMk id="56" creationId="{820984D6-6F91-2EFF-D062-4CCDF8819BFA}"/>
          </ac:spMkLst>
        </pc:spChg>
        <pc:spChg chg="add del mod">
          <ac:chgData name="Steiner Andreas 6206 ED" userId="e6377c33-a923-4f14-8587-531c474c7b48" providerId="ADAL" clId="{6ECD27E6-B224-41CD-B4E0-E297462320DD}" dt="2023-11-23T19:59:02.587" v="7372"/>
          <ac:spMkLst>
            <pc:docMk/>
            <pc:sldMk cId="3256052264" sldId="2147478569"/>
            <ac:spMk id="57" creationId="{248E5168-FA37-2B79-EC8A-AE22EF21C9C8}"/>
          </ac:spMkLst>
        </pc:spChg>
        <pc:spChg chg="add del mod">
          <ac:chgData name="Steiner Andreas 6206 ED" userId="e6377c33-a923-4f14-8587-531c474c7b48" providerId="ADAL" clId="{6ECD27E6-B224-41CD-B4E0-E297462320DD}" dt="2023-11-24T08:31:41.446" v="7527"/>
          <ac:spMkLst>
            <pc:docMk/>
            <pc:sldMk cId="3256052264" sldId="2147478569"/>
            <ac:spMk id="58" creationId="{DBCE0ACB-B249-D537-5780-25494F48E574}"/>
          </ac:spMkLst>
        </pc:spChg>
        <pc:spChg chg="add del mod">
          <ac:chgData name="Steiner Andreas 6206 ED" userId="e6377c33-a923-4f14-8587-531c474c7b48" providerId="ADAL" clId="{6ECD27E6-B224-41CD-B4E0-E297462320DD}" dt="2023-11-24T08:31:45.150" v="7682"/>
          <ac:spMkLst>
            <pc:docMk/>
            <pc:sldMk cId="3256052264" sldId="2147478569"/>
            <ac:spMk id="59" creationId="{4A44B31A-BAE4-76A2-8E95-A14C50971E1B}"/>
          </ac:spMkLst>
        </pc:spChg>
        <pc:spChg chg="add del mod">
          <ac:chgData name="Steiner Andreas 6206 ED" userId="e6377c33-a923-4f14-8587-531c474c7b48" providerId="ADAL" clId="{6ECD27E6-B224-41CD-B4E0-E297462320DD}" dt="2023-11-24T08:31:46.992" v="7837"/>
          <ac:spMkLst>
            <pc:docMk/>
            <pc:sldMk cId="3256052264" sldId="2147478569"/>
            <ac:spMk id="60" creationId="{FBD3F52A-4682-614B-5C48-A2A2ACB57398}"/>
          </ac:spMkLst>
        </pc:spChg>
        <pc:spChg chg="add del mod">
          <ac:chgData name="Steiner Andreas 6206 ED" userId="e6377c33-a923-4f14-8587-531c474c7b48" providerId="ADAL" clId="{6ECD27E6-B224-41CD-B4E0-E297462320DD}" dt="2023-11-24T08:31:48.858" v="7992"/>
          <ac:spMkLst>
            <pc:docMk/>
            <pc:sldMk cId="3256052264" sldId="2147478569"/>
            <ac:spMk id="61" creationId="{5D32A16F-62A9-28D7-A591-42509082DE80}"/>
          </ac:spMkLst>
        </pc:spChg>
        <pc:spChg chg="add del mod">
          <ac:chgData name="Steiner Andreas 6206 ED" userId="e6377c33-a923-4f14-8587-531c474c7b48" providerId="ADAL" clId="{6ECD27E6-B224-41CD-B4E0-E297462320DD}" dt="2023-11-24T08:31:50.732" v="8147"/>
          <ac:spMkLst>
            <pc:docMk/>
            <pc:sldMk cId="3256052264" sldId="2147478569"/>
            <ac:spMk id="62" creationId="{64998467-624E-B400-E955-9E3FB5F3E36A}"/>
          </ac:spMkLst>
        </pc:spChg>
        <pc:spChg chg="add del mod">
          <ac:chgData name="Steiner Andreas 6206 ED" userId="e6377c33-a923-4f14-8587-531c474c7b48" providerId="ADAL" clId="{6ECD27E6-B224-41CD-B4E0-E297462320DD}" dt="2023-11-24T08:31:52.508" v="8302"/>
          <ac:spMkLst>
            <pc:docMk/>
            <pc:sldMk cId="3256052264" sldId="2147478569"/>
            <ac:spMk id="63" creationId="{A9CCD591-5960-22EE-D952-30A7FF963076}"/>
          </ac:spMkLst>
        </pc:spChg>
        <pc:spChg chg="add del mod">
          <ac:chgData name="Steiner Andreas 6206 ED" userId="e6377c33-a923-4f14-8587-531c474c7b48" providerId="ADAL" clId="{6ECD27E6-B224-41CD-B4E0-E297462320DD}" dt="2023-11-24T08:31:54.330" v="8457"/>
          <ac:spMkLst>
            <pc:docMk/>
            <pc:sldMk cId="3256052264" sldId="2147478569"/>
            <ac:spMk id="64" creationId="{607D88A1-0849-A38D-5D39-3FA4F7F142D7}"/>
          </ac:spMkLst>
        </pc:spChg>
        <pc:spChg chg="add del mod">
          <ac:chgData name="Steiner Andreas 6206 ED" userId="e6377c33-a923-4f14-8587-531c474c7b48" providerId="ADAL" clId="{6ECD27E6-B224-41CD-B4E0-E297462320DD}" dt="2023-11-24T08:31:56.170" v="8612"/>
          <ac:spMkLst>
            <pc:docMk/>
            <pc:sldMk cId="3256052264" sldId="2147478569"/>
            <ac:spMk id="65" creationId="{3F277945-3B0D-F3FF-AFE9-B85B70DAA70C}"/>
          </ac:spMkLst>
        </pc:spChg>
        <pc:spChg chg="add del mod">
          <ac:chgData name="Steiner Andreas 6206 ED" userId="e6377c33-a923-4f14-8587-531c474c7b48" providerId="ADAL" clId="{6ECD27E6-B224-41CD-B4E0-E297462320DD}" dt="2023-11-24T08:31:58.053" v="8767"/>
          <ac:spMkLst>
            <pc:docMk/>
            <pc:sldMk cId="3256052264" sldId="2147478569"/>
            <ac:spMk id="66" creationId="{925307FB-5A41-0E52-E0A0-E8C6C90C18F9}"/>
          </ac:spMkLst>
        </pc:spChg>
        <pc:spChg chg="add del mod">
          <ac:chgData name="Steiner Andreas 6206 ED" userId="e6377c33-a923-4f14-8587-531c474c7b48" providerId="ADAL" clId="{6ECD27E6-B224-41CD-B4E0-E297462320DD}" dt="2023-11-24T08:32:00.764" v="8922"/>
          <ac:spMkLst>
            <pc:docMk/>
            <pc:sldMk cId="3256052264" sldId="2147478569"/>
            <ac:spMk id="67" creationId="{8F04C354-C9D7-1FDD-EC50-3F28D1644C1D}"/>
          </ac:spMkLst>
        </pc:spChg>
        <pc:spChg chg="add del mod">
          <ac:chgData name="Steiner Andreas 6206 ED" userId="e6377c33-a923-4f14-8587-531c474c7b48" providerId="ADAL" clId="{6ECD27E6-B224-41CD-B4E0-E297462320DD}" dt="2023-11-24T08:32:03.078" v="9077"/>
          <ac:spMkLst>
            <pc:docMk/>
            <pc:sldMk cId="3256052264" sldId="2147478569"/>
            <ac:spMk id="68" creationId="{5584EF78-0C4B-DBDC-2BF9-8A08EAD42459}"/>
          </ac:spMkLst>
        </pc:spChg>
        <pc:spChg chg="add del mod">
          <ac:chgData name="Steiner Andreas 6206 ED" userId="e6377c33-a923-4f14-8587-531c474c7b48" providerId="ADAL" clId="{6ECD27E6-B224-41CD-B4E0-E297462320DD}" dt="2023-11-24T08:32:05.139" v="9232"/>
          <ac:spMkLst>
            <pc:docMk/>
            <pc:sldMk cId="3256052264" sldId="2147478569"/>
            <ac:spMk id="69" creationId="{6929A7D9-BEE3-C2BC-F78F-60A5989DE48B}"/>
          </ac:spMkLst>
        </pc:spChg>
        <pc:spChg chg="add del mod">
          <ac:chgData name="Steiner Andreas 6206 ED" userId="e6377c33-a923-4f14-8587-531c474c7b48" providerId="ADAL" clId="{6ECD27E6-B224-41CD-B4E0-E297462320DD}" dt="2023-11-24T08:32:07.075" v="9387"/>
          <ac:spMkLst>
            <pc:docMk/>
            <pc:sldMk cId="3256052264" sldId="2147478569"/>
            <ac:spMk id="70" creationId="{A9796AB1-AED9-60D8-6C7F-852F726BB445}"/>
          </ac:spMkLst>
        </pc:spChg>
        <pc:spChg chg="add del mod">
          <ac:chgData name="Steiner Andreas 6206 ED" userId="e6377c33-a923-4f14-8587-531c474c7b48" providerId="ADAL" clId="{6ECD27E6-B224-41CD-B4E0-E297462320DD}" dt="2023-11-24T08:32:09.410" v="9542"/>
          <ac:spMkLst>
            <pc:docMk/>
            <pc:sldMk cId="3256052264" sldId="2147478569"/>
            <ac:spMk id="71" creationId="{4AE7617D-D54B-E10B-A9F7-9303CE012149}"/>
          </ac:spMkLst>
        </pc:spChg>
        <pc:spChg chg="add del mod">
          <ac:chgData name="Steiner Andreas 6206 ED" userId="e6377c33-a923-4f14-8587-531c474c7b48" providerId="ADAL" clId="{6ECD27E6-B224-41CD-B4E0-E297462320DD}" dt="2023-11-24T08:32:11.710" v="9697"/>
          <ac:spMkLst>
            <pc:docMk/>
            <pc:sldMk cId="3256052264" sldId="2147478569"/>
            <ac:spMk id="72" creationId="{6D740D18-1F02-4AFE-3F6B-A9D31B16EC81}"/>
          </ac:spMkLst>
        </pc:spChg>
        <pc:spChg chg="add del mod">
          <ac:chgData name="Steiner Andreas 6206 ED" userId="e6377c33-a923-4f14-8587-531c474c7b48" providerId="ADAL" clId="{6ECD27E6-B224-41CD-B4E0-E297462320DD}" dt="2023-11-24T08:32:13.880" v="9852"/>
          <ac:spMkLst>
            <pc:docMk/>
            <pc:sldMk cId="3256052264" sldId="2147478569"/>
            <ac:spMk id="73" creationId="{C631C4F9-1082-CBC1-7117-865180015D7C}"/>
          </ac:spMkLst>
        </pc:spChg>
        <pc:spChg chg="add del mod">
          <ac:chgData name="Steiner Andreas 6206 ED" userId="e6377c33-a923-4f14-8587-531c474c7b48" providerId="ADAL" clId="{6ECD27E6-B224-41CD-B4E0-E297462320DD}" dt="2023-11-24T08:32:15.818" v="10007"/>
          <ac:spMkLst>
            <pc:docMk/>
            <pc:sldMk cId="3256052264" sldId="2147478569"/>
            <ac:spMk id="74" creationId="{B2694906-8CD7-0643-8F59-2C7EB6601CD9}"/>
          </ac:spMkLst>
        </pc:spChg>
        <pc:spChg chg="add del mod">
          <ac:chgData name="Steiner Andreas 6206 ED" userId="e6377c33-a923-4f14-8587-531c474c7b48" providerId="ADAL" clId="{6ECD27E6-B224-41CD-B4E0-E297462320DD}" dt="2023-11-24T08:32:17.816" v="10162"/>
          <ac:spMkLst>
            <pc:docMk/>
            <pc:sldMk cId="3256052264" sldId="2147478569"/>
            <ac:spMk id="75" creationId="{87BEBBA6-03DB-5875-8F49-C22833F40FCC}"/>
          </ac:spMkLst>
        </pc:spChg>
        <pc:spChg chg="add del mod">
          <ac:chgData name="Steiner Andreas 6206 ED" userId="e6377c33-a923-4f14-8587-531c474c7b48" providerId="ADAL" clId="{6ECD27E6-B224-41CD-B4E0-E297462320DD}" dt="2023-11-24T08:32:19.767" v="10317"/>
          <ac:spMkLst>
            <pc:docMk/>
            <pc:sldMk cId="3256052264" sldId="2147478569"/>
            <ac:spMk id="76" creationId="{FA9E1AD0-A960-3634-8315-537A162B6F2E}"/>
          </ac:spMkLst>
        </pc:spChg>
        <pc:spChg chg="add del mod">
          <ac:chgData name="Steiner Andreas 6206 ED" userId="e6377c33-a923-4f14-8587-531c474c7b48" providerId="ADAL" clId="{6ECD27E6-B224-41CD-B4E0-E297462320DD}" dt="2023-11-24T08:32:21.734" v="10472"/>
          <ac:spMkLst>
            <pc:docMk/>
            <pc:sldMk cId="3256052264" sldId="2147478569"/>
            <ac:spMk id="77" creationId="{143FB268-4C67-E0C5-831C-B81BF4BDB706}"/>
          </ac:spMkLst>
        </pc:spChg>
        <pc:spChg chg="add del mod">
          <ac:chgData name="Steiner Andreas 6206 ED" userId="e6377c33-a923-4f14-8587-531c474c7b48" providerId="ADAL" clId="{6ECD27E6-B224-41CD-B4E0-E297462320DD}" dt="2023-11-24T08:32:23.877" v="10627"/>
          <ac:spMkLst>
            <pc:docMk/>
            <pc:sldMk cId="3256052264" sldId="2147478569"/>
            <ac:spMk id="78" creationId="{335F1DE1-0589-0612-5670-693A1834E23A}"/>
          </ac:spMkLst>
        </pc:spChg>
        <pc:spChg chg="add del mod">
          <ac:chgData name="Steiner Andreas 6206 ED" userId="e6377c33-a923-4f14-8587-531c474c7b48" providerId="ADAL" clId="{6ECD27E6-B224-41CD-B4E0-E297462320DD}" dt="2023-11-24T08:32:25.859" v="10782"/>
          <ac:spMkLst>
            <pc:docMk/>
            <pc:sldMk cId="3256052264" sldId="2147478569"/>
            <ac:spMk id="79" creationId="{D2BB3291-7B7B-5A98-C1F9-1641C6B3EE04}"/>
          </ac:spMkLst>
        </pc:spChg>
        <pc:spChg chg="add del mod">
          <ac:chgData name="Steiner Andreas 6206 ED" userId="e6377c33-a923-4f14-8587-531c474c7b48" providerId="ADAL" clId="{6ECD27E6-B224-41CD-B4E0-E297462320DD}" dt="2023-11-24T08:32:27.837" v="10937"/>
          <ac:spMkLst>
            <pc:docMk/>
            <pc:sldMk cId="3256052264" sldId="2147478569"/>
            <ac:spMk id="80" creationId="{516507CE-D8F2-6A63-0EE0-36E81ADC657B}"/>
          </ac:spMkLst>
        </pc:spChg>
        <pc:spChg chg="add del mod">
          <ac:chgData name="Steiner Andreas 6206 ED" userId="e6377c33-a923-4f14-8587-531c474c7b48" providerId="ADAL" clId="{6ECD27E6-B224-41CD-B4E0-E297462320DD}" dt="2023-11-24T08:32:29.755" v="11092"/>
          <ac:spMkLst>
            <pc:docMk/>
            <pc:sldMk cId="3256052264" sldId="2147478569"/>
            <ac:spMk id="81" creationId="{2B4C3E1F-5519-299F-DB7A-59672DEDEAA0}"/>
          </ac:spMkLst>
        </pc:spChg>
        <pc:spChg chg="add del mod">
          <ac:chgData name="Steiner Andreas 6206 ED" userId="e6377c33-a923-4f14-8587-531c474c7b48" providerId="ADAL" clId="{6ECD27E6-B224-41CD-B4E0-E297462320DD}" dt="2023-11-24T08:32:31.869" v="11247"/>
          <ac:spMkLst>
            <pc:docMk/>
            <pc:sldMk cId="3256052264" sldId="2147478569"/>
            <ac:spMk id="82" creationId="{3282E885-D15B-B509-BA75-CDA5FFC643C6}"/>
          </ac:spMkLst>
        </pc:spChg>
        <pc:spChg chg="add del mod">
          <ac:chgData name="Steiner Andreas 6206 ED" userId="e6377c33-a923-4f14-8587-531c474c7b48" providerId="ADAL" clId="{6ECD27E6-B224-41CD-B4E0-E297462320DD}" dt="2023-11-24T08:32:34.184" v="11402"/>
          <ac:spMkLst>
            <pc:docMk/>
            <pc:sldMk cId="3256052264" sldId="2147478569"/>
            <ac:spMk id="83" creationId="{364EEDE3-975C-125A-4369-26ED81DCD32F}"/>
          </ac:spMkLst>
        </pc:spChg>
        <pc:spChg chg="add del mod">
          <ac:chgData name="Steiner Andreas 6206 ED" userId="e6377c33-a923-4f14-8587-531c474c7b48" providerId="ADAL" clId="{6ECD27E6-B224-41CD-B4E0-E297462320DD}" dt="2023-11-24T08:32:36.595" v="11557"/>
          <ac:spMkLst>
            <pc:docMk/>
            <pc:sldMk cId="3256052264" sldId="2147478569"/>
            <ac:spMk id="84" creationId="{FE5497EE-4975-E111-A2DE-B8CA1B0BC35B}"/>
          </ac:spMkLst>
        </pc:spChg>
        <pc:spChg chg="add del mod">
          <ac:chgData name="Steiner Andreas 6206 ED" userId="e6377c33-a923-4f14-8587-531c474c7b48" providerId="ADAL" clId="{6ECD27E6-B224-41CD-B4E0-E297462320DD}" dt="2023-11-24T08:32:38.525" v="11712"/>
          <ac:spMkLst>
            <pc:docMk/>
            <pc:sldMk cId="3256052264" sldId="2147478569"/>
            <ac:spMk id="85" creationId="{A752BE20-CA31-554F-A4D1-5BD461D06EE8}"/>
          </ac:spMkLst>
        </pc:spChg>
        <pc:spChg chg="add del mod">
          <ac:chgData name="Steiner Andreas 6206 ED" userId="e6377c33-a923-4f14-8587-531c474c7b48" providerId="ADAL" clId="{6ECD27E6-B224-41CD-B4E0-E297462320DD}" dt="2023-11-24T08:32:40.625" v="11867"/>
          <ac:spMkLst>
            <pc:docMk/>
            <pc:sldMk cId="3256052264" sldId="2147478569"/>
            <ac:spMk id="86" creationId="{33433714-D3B6-9BEE-61BE-70CC4E9576B7}"/>
          </ac:spMkLst>
        </pc:spChg>
        <pc:spChg chg="add del mod">
          <ac:chgData name="Steiner Andreas 6206 ED" userId="e6377c33-a923-4f14-8587-531c474c7b48" providerId="ADAL" clId="{6ECD27E6-B224-41CD-B4E0-E297462320DD}" dt="2023-11-24T08:32:42.778" v="12022"/>
          <ac:spMkLst>
            <pc:docMk/>
            <pc:sldMk cId="3256052264" sldId="2147478569"/>
            <ac:spMk id="87" creationId="{7C4A1533-C558-D235-7A13-33219BB3E1D8}"/>
          </ac:spMkLst>
        </pc:spChg>
        <pc:spChg chg="add del mod">
          <ac:chgData name="Steiner Andreas 6206 ED" userId="e6377c33-a923-4f14-8587-531c474c7b48" providerId="ADAL" clId="{6ECD27E6-B224-41CD-B4E0-E297462320DD}" dt="2023-11-24T08:32:44.924" v="12177"/>
          <ac:spMkLst>
            <pc:docMk/>
            <pc:sldMk cId="3256052264" sldId="2147478569"/>
            <ac:spMk id="88" creationId="{E1202E33-11D7-9AEA-1C5C-D65F35EA4907}"/>
          </ac:spMkLst>
        </pc:spChg>
        <pc:spChg chg="add del mod">
          <ac:chgData name="Steiner Andreas 6206 ED" userId="e6377c33-a923-4f14-8587-531c474c7b48" providerId="ADAL" clId="{6ECD27E6-B224-41CD-B4E0-E297462320DD}" dt="2023-11-24T08:32:47.109" v="12332"/>
          <ac:spMkLst>
            <pc:docMk/>
            <pc:sldMk cId="3256052264" sldId="2147478569"/>
            <ac:spMk id="89" creationId="{B6376F7E-4C5D-270B-2A1C-88E2DE3FADDB}"/>
          </ac:spMkLst>
        </pc:spChg>
        <pc:spChg chg="add del mod">
          <ac:chgData name="Steiner Andreas 6206 ED" userId="e6377c33-a923-4f14-8587-531c474c7b48" providerId="ADAL" clId="{6ECD27E6-B224-41CD-B4E0-E297462320DD}" dt="2023-11-24T08:32:49.164" v="12487"/>
          <ac:spMkLst>
            <pc:docMk/>
            <pc:sldMk cId="3256052264" sldId="2147478569"/>
            <ac:spMk id="90" creationId="{03E6947C-6961-3FC5-4331-600ABDF0B8DA}"/>
          </ac:spMkLst>
        </pc:spChg>
        <pc:spChg chg="add del mod">
          <ac:chgData name="Steiner Andreas 6206 ED" userId="e6377c33-a923-4f14-8587-531c474c7b48" providerId="ADAL" clId="{6ECD27E6-B224-41CD-B4E0-E297462320DD}" dt="2023-11-24T08:32:51.109" v="12642"/>
          <ac:spMkLst>
            <pc:docMk/>
            <pc:sldMk cId="3256052264" sldId="2147478569"/>
            <ac:spMk id="91" creationId="{F44E0663-24E7-2DD8-1EB7-258CA132AAC6}"/>
          </ac:spMkLst>
        </pc:spChg>
        <pc:spChg chg="add del mod">
          <ac:chgData name="Steiner Andreas 6206 ED" userId="e6377c33-a923-4f14-8587-531c474c7b48" providerId="ADAL" clId="{6ECD27E6-B224-41CD-B4E0-E297462320DD}" dt="2023-11-24T08:32:53.126" v="12797"/>
          <ac:spMkLst>
            <pc:docMk/>
            <pc:sldMk cId="3256052264" sldId="2147478569"/>
            <ac:spMk id="92" creationId="{CE8B223C-84E4-3F52-1AF9-430B15C317F8}"/>
          </ac:spMkLst>
        </pc:spChg>
        <pc:spChg chg="add del mod">
          <ac:chgData name="Steiner Andreas 6206 ED" userId="e6377c33-a923-4f14-8587-531c474c7b48" providerId="ADAL" clId="{6ECD27E6-B224-41CD-B4E0-E297462320DD}" dt="2023-11-24T08:32:55.118" v="12952"/>
          <ac:spMkLst>
            <pc:docMk/>
            <pc:sldMk cId="3256052264" sldId="2147478569"/>
            <ac:spMk id="93" creationId="{1AE38DCE-ADF8-9590-D01E-B467E386099F}"/>
          </ac:spMkLst>
        </pc:spChg>
        <pc:spChg chg="add del mod">
          <ac:chgData name="Steiner Andreas 6206 ED" userId="e6377c33-a923-4f14-8587-531c474c7b48" providerId="ADAL" clId="{6ECD27E6-B224-41CD-B4E0-E297462320DD}" dt="2023-11-24T08:32:57.039" v="13107"/>
          <ac:spMkLst>
            <pc:docMk/>
            <pc:sldMk cId="3256052264" sldId="2147478569"/>
            <ac:spMk id="94" creationId="{1848E643-D32A-48CE-1CD1-43FA805E0144}"/>
          </ac:spMkLst>
        </pc:spChg>
        <pc:spChg chg="add del mod">
          <ac:chgData name="Steiner Andreas 6206 ED" userId="e6377c33-a923-4f14-8587-531c474c7b48" providerId="ADAL" clId="{6ECD27E6-B224-41CD-B4E0-E297462320DD}" dt="2023-11-24T08:32:59.137" v="13262"/>
          <ac:spMkLst>
            <pc:docMk/>
            <pc:sldMk cId="3256052264" sldId="2147478569"/>
            <ac:spMk id="95" creationId="{1B911E48-74E3-42DF-1F55-FA660388ECDF}"/>
          </ac:spMkLst>
        </pc:spChg>
        <pc:spChg chg="add del mod">
          <ac:chgData name="Steiner Andreas 6206 ED" userId="e6377c33-a923-4f14-8587-531c474c7b48" providerId="ADAL" clId="{6ECD27E6-B224-41CD-B4E0-E297462320DD}" dt="2023-11-24T08:33:01.272" v="13417"/>
          <ac:spMkLst>
            <pc:docMk/>
            <pc:sldMk cId="3256052264" sldId="2147478569"/>
            <ac:spMk id="96" creationId="{418F18B0-BAD7-FA69-E574-BDB50408C8AD}"/>
          </ac:spMkLst>
        </pc:spChg>
        <pc:spChg chg="add del mod">
          <ac:chgData name="Steiner Andreas 6206 ED" userId="e6377c33-a923-4f14-8587-531c474c7b48" providerId="ADAL" clId="{6ECD27E6-B224-41CD-B4E0-E297462320DD}" dt="2023-11-24T08:33:03.616" v="13572"/>
          <ac:spMkLst>
            <pc:docMk/>
            <pc:sldMk cId="3256052264" sldId="2147478569"/>
            <ac:spMk id="97" creationId="{D39A5BC4-5FDE-1E21-503B-4F6A5F634032}"/>
          </ac:spMkLst>
        </pc:spChg>
        <pc:spChg chg="add del mod">
          <ac:chgData name="Steiner Andreas 6206 ED" userId="e6377c33-a923-4f14-8587-531c474c7b48" providerId="ADAL" clId="{6ECD27E6-B224-41CD-B4E0-E297462320DD}" dt="2023-11-24T08:33:05.943" v="13727"/>
          <ac:spMkLst>
            <pc:docMk/>
            <pc:sldMk cId="3256052264" sldId="2147478569"/>
            <ac:spMk id="98" creationId="{F624B602-F4B7-EF62-A23B-DA16AC1947A0}"/>
          </ac:spMkLst>
        </pc:spChg>
        <pc:spChg chg="add del mod">
          <ac:chgData name="Steiner Andreas 6206 ED" userId="e6377c33-a923-4f14-8587-531c474c7b48" providerId="ADAL" clId="{6ECD27E6-B224-41CD-B4E0-E297462320DD}" dt="2023-11-24T08:33:08.180" v="13882"/>
          <ac:spMkLst>
            <pc:docMk/>
            <pc:sldMk cId="3256052264" sldId="2147478569"/>
            <ac:spMk id="99" creationId="{8A25E98C-CAAA-9929-E574-0960DA32A590}"/>
          </ac:spMkLst>
        </pc:spChg>
        <pc:spChg chg="add del mod">
          <ac:chgData name="Steiner Andreas 6206 ED" userId="e6377c33-a923-4f14-8587-531c474c7b48" providerId="ADAL" clId="{6ECD27E6-B224-41CD-B4E0-E297462320DD}" dt="2023-11-24T08:33:10.606" v="14037"/>
          <ac:spMkLst>
            <pc:docMk/>
            <pc:sldMk cId="3256052264" sldId="2147478569"/>
            <ac:spMk id="100" creationId="{2CD98EBF-B1F5-A6CE-DF6B-8F55DC7C1420}"/>
          </ac:spMkLst>
        </pc:spChg>
        <pc:spChg chg="add del mod">
          <ac:chgData name="Steiner Andreas 6206 ED" userId="e6377c33-a923-4f14-8587-531c474c7b48" providerId="ADAL" clId="{6ECD27E6-B224-41CD-B4E0-E297462320DD}" dt="2023-11-24T08:33:12.605" v="14192"/>
          <ac:spMkLst>
            <pc:docMk/>
            <pc:sldMk cId="3256052264" sldId="2147478569"/>
            <ac:spMk id="101" creationId="{BC7F1DA1-5CFF-7678-52A5-A1FE3BB2E84C}"/>
          </ac:spMkLst>
        </pc:spChg>
        <pc:spChg chg="add del mod">
          <ac:chgData name="Steiner Andreas 6206 ED" userId="e6377c33-a923-4f14-8587-531c474c7b48" providerId="ADAL" clId="{6ECD27E6-B224-41CD-B4E0-E297462320DD}" dt="2023-11-24T08:33:14.499" v="14347"/>
          <ac:spMkLst>
            <pc:docMk/>
            <pc:sldMk cId="3256052264" sldId="2147478569"/>
            <ac:spMk id="102" creationId="{D50B67B3-8290-D8FE-CC23-964BD4A4B998}"/>
          </ac:spMkLst>
        </pc:spChg>
        <pc:spChg chg="add del mod">
          <ac:chgData name="Steiner Andreas 6206 ED" userId="e6377c33-a923-4f14-8587-531c474c7b48" providerId="ADAL" clId="{6ECD27E6-B224-41CD-B4E0-E297462320DD}" dt="2023-11-24T08:33:16.503" v="14502"/>
          <ac:spMkLst>
            <pc:docMk/>
            <pc:sldMk cId="3256052264" sldId="2147478569"/>
            <ac:spMk id="103" creationId="{1048529B-1BFD-2579-EB1F-9AF808D69B60}"/>
          </ac:spMkLst>
        </pc:spChg>
        <pc:spChg chg="add del mod">
          <ac:chgData name="Steiner Andreas 6206 ED" userId="e6377c33-a923-4f14-8587-531c474c7b48" providerId="ADAL" clId="{6ECD27E6-B224-41CD-B4E0-E297462320DD}" dt="2023-11-24T08:33:18.814" v="14657"/>
          <ac:spMkLst>
            <pc:docMk/>
            <pc:sldMk cId="3256052264" sldId="2147478569"/>
            <ac:spMk id="104" creationId="{BEFF4617-8635-0269-43FB-428A5A390969}"/>
          </ac:spMkLst>
        </pc:spChg>
        <pc:spChg chg="add del mod">
          <ac:chgData name="Steiner Andreas 6206 ED" userId="e6377c33-a923-4f14-8587-531c474c7b48" providerId="ADAL" clId="{6ECD27E6-B224-41CD-B4E0-E297462320DD}" dt="2023-11-24T08:33:21.154" v="14812"/>
          <ac:spMkLst>
            <pc:docMk/>
            <pc:sldMk cId="3256052264" sldId="2147478569"/>
            <ac:spMk id="105" creationId="{0F0046B8-11D6-D010-EAF0-8A538FD9D48C}"/>
          </ac:spMkLst>
        </pc:spChg>
        <pc:spChg chg="add del mod">
          <ac:chgData name="Steiner Andreas 6206 ED" userId="e6377c33-a923-4f14-8587-531c474c7b48" providerId="ADAL" clId="{6ECD27E6-B224-41CD-B4E0-E297462320DD}" dt="2023-11-24T08:33:23.520" v="14967"/>
          <ac:spMkLst>
            <pc:docMk/>
            <pc:sldMk cId="3256052264" sldId="2147478569"/>
            <ac:spMk id="106" creationId="{886EAA20-E4C3-0CC1-4B33-C21299F9C27D}"/>
          </ac:spMkLst>
        </pc:spChg>
        <pc:spChg chg="add del mod">
          <ac:chgData name="Steiner Andreas 6206 ED" userId="e6377c33-a923-4f14-8587-531c474c7b48" providerId="ADAL" clId="{6ECD27E6-B224-41CD-B4E0-E297462320DD}" dt="2023-11-24T08:33:25.942" v="15122"/>
          <ac:spMkLst>
            <pc:docMk/>
            <pc:sldMk cId="3256052264" sldId="2147478569"/>
            <ac:spMk id="107" creationId="{2E89E43A-DF53-B78A-3CE3-433730BB57E2}"/>
          </ac:spMkLst>
        </pc:spChg>
        <pc:spChg chg="add del mod">
          <ac:chgData name="Steiner Andreas 6206 ED" userId="e6377c33-a923-4f14-8587-531c474c7b48" providerId="ADAL" clId="{6ECD27E6-B224-41CD-B4E0-E297462320DD}" dt="2023-11-24T08:33:28.226" v="15277"/>
          <ac:spMkLst>
            <pc:docMk/>
            <pc:sldMk cId="3256052264" sldId="2147478569"/>
            <ac:spMk id="108" creationId="{DB27B6EA-CC6A-5D6F-C674-408EF6F99935}"/>
          </ac:spMkLst>
        </pc:spChg>
        <pc:spChg chg="add del mod">
          <ac:chgData name="Steiner Andreas 6206 ED" userId="e6377c33-a923-4f14-8587-531c474c7b48" providerId="ADAL" clId="{6ECD27E6-B224-41CD-B4E0-E297462320DD}" dt="2023-11-24T08:33:30.663" v="15432"/>
          <ac:spMkLst>
            <pc:docMk/>
            <pc:sldMk cId="3256052264" sldId="2147478569"/>
            <ac:spMk id="109" creationId="{B18B7DF1-2DB8-CE79-7C60-F5F77E38A396}"/>
          </ac:spMkLst>
        </pc:spChg>
        <pc:spChg chg="add del mod">
          <ac:chgData name="Steiner Andreas 6206 ED" userId="e6377c33-a923-4f14-8587-531c474c7b48" providerId="ADAL" clId="{6ECD27E6-B224-41CD-B4E0-E297462320DD}" dt="2023-11-24T08:33:33.492" v="15587"/>
          <ac:spMkLst>
            <pc:docMk/>
            <pc:sldMk cId="3256052264" sldId="2147478569"/>
            <ac:spMk id="110" creationId="{7A7A2BE7-433E-1A7F-210E-DD877FB58170}"/>
          </ac:spMkLst>
        </pc:spChg>
        <pc:spChg chg="add del mod">
          <ac:chgData name="Steiner Andreas 6206 ED" userId="e6377c33-a923-4f14-8587-531c474c7b48" providerId="ADAL" clId="{6ECD27E6-B224-41CD-B4E0-E297462320DD}" dt="2023-11-24T08:33:35.787" v="15742"/>
          <ac:spMkLst>
            <pc:docMk/>
            <pc:sldMk cId="3256052264" sldId="2147478569"/>
            <ac:spMk id="111" creationId="{DD7E1338-AD6D-3779-3532-0BF70F17A41C}"/>
          </ac:spMkLst>
        </pc:spChg>
        <pc:spChg chg="add del mod">
          <ac:chgData name="Steiner Andreas 6206 ED" userId="e6377c33-a923-4f14-8587-531c474c7b48" providerId="ADAL" clId="{6ECD27E6-B224-41CD-B4E0-E297462320DD}" dt="2023-11-24T08:33:37.908" v="15897"/>
          <ac:spMkLst>
            <pc:docMk/>
            <pc:sldMk cId="3256052264" sldId="2147478569"/>
            <ac:spMk id="112" creationId="{FEE9BF99-4C78-33FC-CAC9-C447A7DBCE73}"/>
          </ac:spMkLst>
        </pc:spChg>
        <pc:spChg chg="add del mod">
          <ac:chgData name="Steiner Andreas 6206 ED" userId="e6377c33-a923-4f14-8587-531c474c7b48" providerId="ADAL" clId="{6ECD27E6-B224-41CD-B4E0-E297462320DD}" dt="2023-11-24T08:33:40.220" v="16052"/>
          <ac:spMkLst>
            <pc:docMk/>
            <pc:sldMk cId="3256052264" sldId="2147478569"/>
            <ac:spMk id="113" creationId="{DB52B3C4-8173-5AE3-0941-9FDD5A4D2D55}"/>
          </ac:spMkLst>
        </pc:spChg>
        <pc:spChg chg="add del mod">
          <ac:chgData name="Steiner Andreas 6206 ED" userId="e6377c33-a923-4f14-8587-531c474c7b48" providerId="ADAL" clId="{6ECD27E6-B224-41CD-B4E0-E297462320DD}" dt="2023-11-24T08:33:42.824" v="16207"/>
          <ac:spMkLst>
            <pc:docMk/>
            <pc:sldMk cId="3256052264" sldId="2147478569"/>
            <ac:spMk id="114" creationId="{ADBC613D-5F22-D60F-BF4D-BD131FB10053}"/>
          </ac:spMkLst>
        </pc:spChg>
        <pc:spChg chg="add del mod">
          <ac:chgData name="Steiner Andreas 6206 ED" userId="e6377c33-a923-4f14-8587-531c474c7b48" providerId="ADAL" clId="{6ECD27E6-B224-41CD-B4E0-E297462320DD}" dt="2023-11-24T08:33:45.412" v="16362"/>
          <ac:spMkLst>
            <pc:docMk/>
            <pc:sldMk cId="3256052264" sldId="2147478569"/>
            <ac:spMk id="115" creationId="{7143A9CE-B6D4-FC2B-A7E7-2734F8DEBD4C}"/>
          </ac:spMkLst>
        </pc:spChg>
        <pc:spChg chg="add del mod">
          <ac:chgData name="Steiner Andreas 6206 ED" userId="e6377c33-a923-4f14-8587-531c474c7b48" providerId="ADAL" clId="{6ECD27E6-B224-41CD-B4E0-E297462320DD}" dt="2023-11-24T08:33:47.625" v="16517"/>
          <ac:spMkLst>
            <pc:docMk/>
            <pc:sldMk cId="3256052264" sldId="2147478569"/>
            <ac:spMk id="116" creationId="{23C8C1F2-930A-8DEF-ED1B-4B200AA9DA7F}"/>
          </ac:spMkLst>
        </pc:spChg>
        <pc:spChg chg="add del mod">
          <ac:chgData name="Steiner Andreas 6206 ED" userId="e6377c33-a923-4f14-8587-531c474c7b48" providerId="ADAL" clId="{6ECD27E6-B224-41CD-B4E0-E297462320DD}" dt="2023-11-24T08:33:50.333" v="16672"/>
          <ac:spMkLst>
            <pc:docMk/>
            <pc:sldMk cId="3256052264" sldId="2147478569"/>
            <ac:spMk id="117" creationId="{CB1D16D7-130D-5D08-9874-A7504D455BE7}"/>
          </ac:spMkLst>
        </pc:spChg>
        <pc:spChg chg="add del mod">
          <ac:chgData name="Steiner Andreas 6206 ED" userId="e6377c33-a923-4f14-8587-531c474c7b48" providerId="ADAL" clId="{6ECD27E6-B224-41CD-B4E0-E297462320DD}" dt="2023-11-24T08:33:52.751" v="16827"/>
          <ac:spMkLst>
            <pc:docMk/>
            <pc:sldMk cId="3256052264" sldId="2147478569"/>
            <ac:spMk id="118" creationId="{37029CDE-30C1-B4BE-6AD0-FC8B40AD5B95}"/>
          </ac:spMkLst>
        </pc:spChg>
        <pc:spChg chg="add del mod">
          <ac:chgData name="Steiner Andreas 6206 ED" userId="e6377c33-a923-4f14-8587-531c474c7b48" providerId="ADAL" clId="{6ECD27E6-B224-41CD-B4E0-E297462320DD}" dt="2023-11-24T08:33:54.901" v="16982"/>
          <ac:spMkLst>
            <pc:docMk/>
            <pc:sldMk cId="3256052264" sldId="2147478569"/>
            <ac:spMk id="119" creationId="{8013B8FB-DBFD-345A-28E8-536A29C19C8C}"/>
          </ac:spMkLst>
        </pc:spChg>
        <pc:spChg chg="add del mod">
          <ac:chgData name="Steiner Andreas 6206 ED" userId="e6377c33-a923-4f14-8587-531c474c7b48" providerId="ADAL" clId="{6ECD27E6-B224-41CD-B4E0-E297462320DD}" dt="2023-11-24T08:33:57.279" v="17137"/>
          <ac:spMkLst>
            <pc:docMk/>
            <pc:sldMk cId="3256052264" sldId="2147478569"/>
            <ac:spMk id="120" creationId="{A95F1D4D-FF4C-8F4E-57C9-AC1C31CFFA61}"/>
          </ac:spMkLst>
        </pc:spChg>
        <pc:spChg chg="add del mod">
          <ac:chgData name="Steiner Andreas 6206 ED" userId="e6377c33-a923-4f14-8587-531c474c7b48" providerId="ADAL" clId="{6ECD27E6-B224-41CD-B4E0-E297462320DD}" dt="2023-11-24T08:33:59.714" v="17292"/>
          <ac:spMkLst>
            <pc:docMk/>
            <pc:sldMk cId="3256052264" sldId="2147478569"/>
            <ac:spMk id="121" creationId="{8ABCE180-4D9B-B751-3C3C-2423D7F95C0A}"/>
          </ac:spMkLst>
        </pc:spChg>
        <pc:spChg chg="add del mod">
          <ac:chgData name="Steiner Andreas 6206 ED" userId="e6377c33-a923-4f14-8587-531c474c7b48" providerId="ADAL" clId="{6ECD27E6-B224-41CD-B4E0-E297462320DD}" dt="2023-11-24T08:34:01.680" v="17447"/>
          <ac:spMkLst>
            <pc:docMk/>
            <pc:sldMk cId="3256052264" sldId="2147478569"/>
            <ac:spMk id="122" creationId="{ACC4633F-B779-1882-0E8D-E2F3D4AF3C8D}"/>
          </ac:spMkLst>
        </pc:spChg>
        <pc:spChg chg="add del mod">
          <ac:chgData name="Steiner Andreas 6206 ED" userId="e6377c33-a923-4f14-8587-531c474c7b48" providerId="ADAL" clId="{6ECD27E6-B224-41CD-B4E0-E297462320DD}" dt="2023-11-24T08:34:04.098" v="17602"/>
          <ac:spMkLst>
            <pc:docMk/>
            <pc:sldMk cId="3256052264" sldId="2147478569"/>
            <ac:spMk id="123" creationId="{090CD670-4F25-7AFE-913B-B79588E490F5}"/>
          </ac:spMkLst>
        </pc:spChg>
        <pc:spChg chg="add del mod">
          <ac:chgData name="Steiner Andreas 6206 ED" userId="e6377c33-a923-4f14-8587-531c474c7b48" providerId="ADAL" clId="{6ECD27E6-B224-41CD-B4E0-E297462320DD}" dt="2023-11-24T08:34:05.963" v="17757"/>
          <ac:spMkLst>
            <pc:docMk/>
            <pc:sldMk cId="3256052264" sldId="2147478569"/>
            <ac:spMk id="124" creationId="{78B14F4B-6875-608E-B77E-AE1B9DE6162F}"/>
          </ac:spMkLst>
        </pc:spChg>
        <pc:spChg chg="add del mod">
          <ac:chgData name="Steiner Andreas 6206 ED" userId="e6377c33-a923-4f14-8587-531c474c7b48" providerId="ADAL" clId="{6ECD27E6-B224-41CD-B4E0-E297462320DD}" dt="2023-11-24T08:34:08.073" v="17912"/>
          <ac:spMkLst>
            <pc:docMk/>
            <pc:sldMk cId="3256052264" sldId="2147478569"/>
            <ac:spMk id="125" creationId="{6B9EE4E6-5C19-A962-68C8-724594D5DE9E}"/>
          </ac:spMkLst>
        </pc:spChg>
        <pc:spChg chg="add del mod">
          <ac:chgData name="Steiner Andreas 6206 ED" userId="e6377c33-a923-4f14-8587-531c474c7b48" providerId="ADAL" clId="{6ECD27E6-B224-41CD-B4E0-E297462320DD}" dt="2023-11-24T08:34:10.022" v="18067"/>
          <ac:spMkLst>
            <pc:docMk/>
            <pc:sldMk cId="3256052264" sldId="2147478569"/>
            <ac:spMk id="126" creationId="{9DB96A72-659C-8A74-4FA9-78981576DDD9}"/>
          </ac:spMkLst>
        </pc:spChg>
        <pc:spChg chg="add del mod">
          <ac:chgData name="Steiner Andreas 6206 ED" userId="e6377c33-a923-4f14-8587-531c474c7b48" providerId="ADAL" clId="{6ECD27E6-B224-41CD-B4E0-E297462320DD}" dt="2023-11-24T08:34:12.098" v="18222"/>
          <ac:spMkLst>
            <pc:docMk/>
            <pc:sldMk cId="3256052264" sldId="2147478569"/>
            <ac:spMk id="127" creationId="{AF0BA5EA-E5C7-691C-C945-6B55AA1FE2A6}"/>
          </ac:spMkLst>
        </pc:spChg>
        <pc:spChg chg="add del mod">
          <ac:chgData name="Steiner Andreas 6206 ED" userId="e6377c33-a923-4f14-8587-531c474c7b48" providerId="ADAL" clId="{6ECD27E6-B224-41CD-B4E0-E297462320DD}" dt="2023-11-24T08:34:14.391" v="18377"/>
          <ac:spMkLst>
            <pc:docMk/>
            <pc:sldMk cId="3256052264" sldId="2147478569"/>
            <ac:spMk id="128" creationId="{9AE423DF-32A9-E8F0-9E2A-B07B50A8DC6F}"/>
          </ac:spMkLst>
        </pc:spChg>
        <pc:spChg chg="add del mod">
          <ac:chgData name="Steiner Andreas 6206 ED" userId="e6377c33-a923-4f14-8587-531c474c7b48" providerId="ADAL" clId="{6ECD27E6-B224-41CD-B4E0-E297462320DD}" dt="2023-11-24T08:34:16.476" v="18532"/>
          <ac:spMkLst>
            <pc:docMk/>
            <pc:sldMk cId="3256052264" sldId="2147478569"/>
            <ac:spMk id="129" creationId="{3C53AC88-74D7-B50B-2364-D2603BFB86E8}"/>
          </ac:spMkLst>
        </pc:spChg>
        <pc:spChg chg="add del mod">
          <ac:chgData name="Steiner Andreas 6206 ED" userId="e6377c33-a923-4f14-8587-531c474c7b48" providerId="ADAL" clId="{6ECD27E6-B224-41CD-B4E0-E297462320DD}" dt="2023-11-24T08:34:18.665" v="18687"/>
          <ac:spMkLst>
            <pc:docMk/>
            <pc:sldMk cId="3256052264" sldId="2147478569"/>
            <ac:spMk id="130" creationId="{2249E8F6-CBE7-C7E7-ABAA-DC903E508FA1}"/>
          </ac:spMkLst>
        </pc:spChg>
        <pc:spChg chg="add del mod">
          <ac:chgData name="Steiner Andreas 6206 ED" userId="e6377c33-a923-4f14-8587-531c474c7b48" providerId="ADAL" clId="{6ECD27E6-B224-41CD-B4E0-E297462320DD}" dt="2023-11-24T08:34:20.767" v="18842"/>
          <ac:spMkLst>
            <pc:docMk/>
            <pc:sldMk cId="3256052264" sldId="2147478569"/>
            <ac:spMk id="131" creationId="{C020D425-599E-2E72-A0D2-489C06CFE6FB}"/>
          </ac:spMkLst>
        </pc:spChg>
        <pc:spChg chg="add del mod">
          <ac:chgData name="Steiner Andreas 6206 ED" userId="e6377c33-a923-4f14-8587-531c474c7b48" providerId="ADAL" clId="{6ECD27E6-B224-41CD-B4E0-E297462320DD}" dt="2023-11-24T08:34:22.886" v="18997"/>
          <ac:spMkLst>
            <pc:docMk/>
            <pc:sldMk cId="3256052264" sldId="2147478569"/>
            <ac:spMk id="132" creationId="{04890BA5-710C-74FC-1B08-A574354D8C6C}"/>
          </ac:spMkLst>
        </pc:spChg>
        <pc:spChg chg="add del mod">
          <ac:chgData name="Steiner Andreas 6206 ED" userId="e6377c33-a923-4f14-8587-531c474c7b48" providerId="ADAL" clId="{6ECD27E6-B224-41CD-B4E0-E297462320DD}" dt="2023-11-24T08:34:26.160" v="19152"/>
          <ac:spMkLst>
            <pc:docMk/>
            <pc:sldMk cId="3256052264" sldId="2147478569"/>
            <ac:spMk id="133" creationId="{C2BCE85F-9B7D-3F32-6F10-F7F8D3828F7B}"/>
          </ac:spMkLst>
        </pc:spChg>
        <pc:spChg chg="add del mod">
          <ac:chgData name="Steiner Andreas 6206 ED" userId="e6377c33-a923-4f14-8587-531c474c7b48" providerId="ADAL" clId="{6ECD27E6-B224-41CD-B4E0-E297462320DD}" dt="2023-11-24T08:34:28.818" v="19307"/>
          <ac:spMkLst>
            <pc:docMk/>
            <pc:sldMk cId="3256052264" sldId="2147478569"/>
            <ac:spMk id="134" creationId="{3D141917-AC70-E2C1-3420-1FF9CDACFA83}"/>
          </ac:spMkLst>
        </pc:spChg>
        <pc:spChg chg="add del mod">
          <ac:chgData name="Steiner Andreas 6206 ED" userId="e6377c33-a923-4f14-8587-531c474c7b48" providerId="ADAL" clId="{6ECD27E6-B224-41CD-B4E0-E297462320DD}" dt="2023-11-24T08:34:31.451" v="19462"/>
          <ac:spMkLst>
            <pc:docMk/>
            <pc:sldMk cId="3256052264" sldId="2147478569"/>
            <ac:spMk id="135" creationId="{5F469BBA-13EC-5D72-31D5-A6F58B514C83}"/>
          </ac:spMkLst>
        </pc:spChg>
        <pc:spChg chg="add del mod">
          <ac:chgData name="Steiner Andreas 6206 ED" userId="e6377c33-a923-4f14-8587-531c474c7b48" providerId="ADAL" clId="{6ECD27E6-B224-41CD-B4E0-E297462320DD}" dt="2023-11-24T08:34:33.632" v="19617"/>
          <ac:spMkLst>
            <pc:docMk/>
            <pc:sldMk cId="3256052264" sldId="2147478569"/>
            <ac:spMk id="136" creationId="{FFB7B35C-4160-FBD0-76B3-5D3364D53B43}"/>
          </ac:spMkLst>
        </pc:spChg>
        <pc:spChg chg="add del mod">
          <ac:chgData name="Steiner Andreas 6206 ED" userId="e6377c33-a923-4f14-8587-531c474c7b48" providerId="ADAL" clId="{6ECD27E6-B224-41CD-B4E0-E297462320DD}" dt="2023-11-24T08:34:35.885" v="19772"/>
          <ac:spMkLst>
            <pc:docMk/>
            <pc:sldMk cId="3256052264" sldId="2147478569"/>
            <ac:spMk id="137" creationId="{7246F3C1-19FE-9054-917F-9F8C75770102}"/>
          </ac:spMkLst>
        </pc:spChg>
        <pc:spChg chg="add del mod">
          <ac:chgData name="Steiner Andreas 6206 ED" userId="e6377c33-a923-4f14-8587-531c474c7b48" providerId="ADAL" clId="{6ECD27E6-B224-41CD-B4E0-E297462320DD}" dt="2023-11-24T08:34:38.149" v="19927"/>
          <ac:spMkLst>
            <pc:docMk/>
            <pc:sldMk cId="3256052264" sldId="2147478569"/>
            <ac:spMk id="138" creationId="{41B98646-3E67-58DD-AD00-A04CFDC9B4BE}"/>
          </ac:spMkLst>
        </pc:spChg>
        <pc:spChg chg="add del mod">
          <ac:chgData name="Steiner Andreas 6206 ED" userId="e6377c33-a923-4f14-8587-531c474c7b48" providerId="ADAL" clId="{6ECD27E6-B224-41CD-B4E0-E297462320DD}" dt="2023-11-24T08:34:40.417" v="20082"/>
          <ac:spMkLst>
            <pc:docMk/>
            <pc:sldMk cId="3256052264" sldId="2147478569"/>
            <ac:spMk id="139" creationId="{63D08889-BDF9-895A-0290-8B043555EAA3}"/>
          </ac:spMkLst>
        </pc:spChg>
        <pc:spChg chg="add del mod">
          <ac:chgData name="Steiner Andreas 6206 ED" userId="e6377c33-a923-4f14-8587-531c474c7b48" providerId="ADAL" clId="{6ECD27E6-B224-41CD-B4E0-E297462320DD}" dt="2023-11-24T08:34:43.192" v="20237"/>
          <ac:spMkLst>
            <pc:docMk/>
            <pc:sldMk cId="3256052264" sldId="2147478569"/>
            <ac:spMk id="140" creationId="{C6F7EAC6-A3E2-F3BB-8F4A-991B02D18F8A}"/>
          </ac:spMkLst>
        </pc:spChg>
        <pc:spChg chg="add del mod">
          <ac:chgData name="Steiner Andreas 6206 ED" userId="e6377c33-a923-4f14-8587-531c474c7b48" providerId="ADAL" clId="{6ECD27E6-B224-41CD-B4E0-E297462320DD}" dt="2023-11-24T08:34:45.492" v="20392"/>
          <ac:spMkLst>
            <pc:docMk/>
            <pc:sldMk cId="3256052264" sldId="2147478569"/>
            <ac:spMk id="141" creationId="{883D5872-EBA1-27FB-970C-E7E448AE4DDE}"/>
          </ac:spMkLst>
        </pc:spChg>
        <pc:spChg chg="add del mod">
          <ac:chgData name="Steiner Andreas 6206 ED" userId="e6377c33-a923-4f14-8587-531c474c7b48" providerId="ADAL" clId="{6ECD27E6-B224-41CD-B4E0-E297462320DD}" dt="2023-11-24T08:34:47.768" v="20547"/>
          <ac:spMkLst>
            <pc:docMk/>
            <pc:sldMk cId="3256052264" sldId="2147478569"/>
            <ac:spMk id="142" creationId="{02BE04A2-65C5-E2BC-6953-B9B8E4D1DE11}"/>
          </ac:spMkLst>
        </pc:spChg>
        <pc:spChg chg="add del mod">
          <ac:chgData name="Steiner Andreas 6206 ED" userId="e6377c33-a923-4f14-8587-531c474c7b48" providerId="ADAL" clId="{6ECD27E6-B224-41CD-B4E0-E297462320DD}" dt="2023-11-24T08:34:50.153" v="20702"/>
          <ac:spMkLst>
            <pc:docMk/>
            <pc:sldMk cId="3256052264" sldId="2147478569"/>
            <ac:spMk id="143" creationId="{30055A24-AEAF-7485-C054-58127D72B2AF}"/>
          </ac:spMkLst>
        </pc:spChg>
        <pc:spChg chg="add del mod">
          <ac:chgData name="Steiner Andreas 6206 ED" userId="e6377c33-a923-4f14-8587-531c474c7b48" providerId="ADAL" clId="{6ECD27E6-B224-41CD-B4E0-E297462320DD}" dt="2023-11-24T08:34:52.715" v="20857"/>
          <ac:spMkLst>
            <pc:docMk/>
            <pc:sldMk cId="3256052264" sldId="2147478569"/>
            <ac:spMk id="144" creationId="{F180D3FF-8ADE-84C3-AB32-5F23A61A0ACA}"/>
          </ac:spMkLst>
        </pc:spChg>
        <pc:spChg chg="add del mod">
          <ac:chgData name="Steiner Andreas 6206 ED" userId="e6377c33-a923-4f14-8587-531c474c7b48" providerId="ADAL" clId="{6ECD27E6-B224-41CD-B4E0-E297462320DD}" dt="2023-11-24T08:34:55.229" v="21012"/>
          <ac:spMkLst>
            <pc:docMk/>
            <pc:sldMk cId="3256052264" sldId="2147478569"/>
            <ac:spMk id="145" creationId="{4137C0DD-43A8-BEC8-81A0-AA7A9841E4D2}"/>
          </ac:spMkLst>
        </pc:spChg>
        <pc:spChg chg="add del mod">
          <ac:chgData name="Steiner Andreas 6206 ED" userId="e6377c33-a923-4f14-8587-531c474c7b48" providerId="ADAL" clId="{6ECD27E6-B224-41CD-B4E0-E297462320DD}" dt="2023-11-24T08:34:57.526" v="21167"/>
          <ac:spMkLst>
            <pc:docMk/>
            <pc:sldMk cId="3256052264" sldId="2147478569"/>
            <ac:spMk id="146" creationId="{966EDC0A-B4EE-483D-5503-3B4E6F81CEA4}"/>
          </ac:spMkLst>
        </pc:spChg>
        <pc:spChg chg="add del mod">
          <ac:chgData name="Steiner Andreas 6206 ED" userId="e6377c33-a923-4f14-8587-531c474c7b48" providerId="ADAL" clId="{6ECD27E6-B224-41CD-B4E0-E297462320DD}" dt="2023-11-24T08:35:00.058" v="21322"/>
          <ac:spMkLst>
            <pc:docMk/>
            <pc:sldMk cId="3256052264" sldId="2147478569"/>
            <ac:spMk id="147" creationId="{A50E924A-E28A-9FDE-B570-E5643B42BD83}"/>
          </ac:spMkLst>
        </pc:spChg>
        <pc:spChg chg="add del mod">
          <ac:chgData name="Steiner Andreas 6206 ED" userId="e6377c33-a923-4f14-8587-531c474c7b48" providerId="ADAL" clId="{6ECD27E6-B224-41CD-B4E0-E297462320DD}" dt="2023-11-24T08:35:02.728" v="21477"/>
          <ac:spMkLst>
            <pc:docMk/>
            <pc:sldMk cId="3256052264" sldId="2147478569"/>
            <ac:spMk id="148" creationId="{D689EC0D-B320-C47D-5C53-06BD7BC2A631}"/>
          </ac:spMkLst>
        </pc:spChg>
        <pc:spChg chg="add del mod">
          <ac:chgData name="Steiner Andreas 6206 ED" userId="e6377c33-a923-4f14-8587-531c474c7b48" providerId="ADAL" clId="{6ECD27E6-B224-41CD-B4E0-E297462320DD}" dt="2023-11-24T08:35:05.207" v="21632"/>
          <ac:spMkLst>
            <pc:docMk/>
            <pc:sldMk cId="3256052264" sldId="2147478569"/>
            <ac:spMk id="149" creationId="{9112416A-1B17-5363-6FE5-115BA8188DC2}"/>
          </ac:spMkLst>
        </pc:spChg>
        <pc:spChg chg="add del mod">
          <ac:chgData name="Steiner Andreas 6206 ED" userId="e6377c33-a923-4f14-8587-531c474c7b48" providerId="ADAL" clId="{6ECD27E6-B224-41CD-B4E0-E297462320DD}" dt="2023-11-24T08:35:07.698" v="21787"/>
          <ac:spMkLst>
            <pc:docMk/>
            <pc:sldMk cId="3256052264" sldId="2147478569"/>
            <ac:spMk id="150" creationId="{4A172A89-BF77-CC65-0D17-CBB2C1808E68}"/>
          </ac:spMkLst>
        </pc:spChg>
        <pc:spChg chg="add del mod">
          <ac:chgData name="Steiner Andreas 6206 ED" userId="e6377c33-a923-4f14-8587-531c474c7b48" providerId="ADAL" clId="{6ECD27E6-B224-41CD-B4E0-E297462320DD}" dt="2023-11-24T08:35:10.242" v="21942"/>
          <ac:spMkLst>
            <pc:docMk/>
            <pc:sldMk cId="3256052264" sldId="2147478569"/>
            <ac:spMk id="151" creationId="{1B492B81-53FE-E98A-9BDF-8DAEF205D456}"/>
          </ac:spMkLst>
        </pc:spChg>
        <pc:spChg chg="add del mod">
          <ac:chgData name="Steiner Andreas 6206 ED" userId="e6377c33-a923-4f14-8587-531c474c7b48" providerId="ADAL" clId="{6ECD27E6-B224-41CD-B4E0-E297462320DD}" dt="2023-11-24T08:35:12.664" v="22097"/>
          <ac:spMkLst>
            <pc:docMk/>
            <pc:sldMk cId="3256052264" sldId="2147478569"/>
            <ac:spMk id="152" creationId="{6C94B99C-82E3-5B03-43BB-748AAAD6B2DF}"/>
          </ac:spMkLst>
        </pc:spChg>
        <pc:spChg chg="add del mod">
          <ac:chgData name="Steiner Andreas 6206 ED" userId="e6377c33-a923-4f14-8587-531c474c7b48" providerId="ADAL" clId="{6ECD27E6-B224-41CD-B4E0-E297462320DD}" dt="2023-11-24T08:35:14.750" v="22252"/>
          <ac:spMkLst>
            <pc:docMk/>
            <pc:sldMk cId="3256052264" sldId="2147478569"/>
            <ac:spMk id="153" creationId="{04FBBC36-1D5B-0653-4FB5-380A7429E6FE}"/>
          </ac:spMkLst>
        </pc:spChg>
        <pc:spChg chg="add del mod">
          <ac:chgData name="Steiner Andreas 6206 ED" userId="e6377c33-a923-4f14-8587-531c474c7b48" providerId="ADAL" clId="{6ECD27E6-B224-41CD-B4E0-E297462320DD}" dt="2023-11-24T08:35:17.128" v="22407"/>
          <ac:spMkLst>
            <pc:docMk/>
            <pc:sldMk cId="3256052264" sldId="2147478569"/>
            <ac:spMk id="154" creationId="{435E29F8-CC29-BFD4-8B78-031A46293A14}"/>
          </ac:spMkLst>
        </pc:spChg>
        <pc:spChg chg="add del mod">
          <ac:chgData name="Steiner Andreas 6206 ED" userId="e6377c33-a923-4f14-8587-531c474c7b48" providerId="ADAL" clId="{6ECD27E6-B224-41CD-B4E0-E297462320DD}" dt="2023-11-24T08:35:19.571" v="22562"/>
          <ac:spMkLst>
            <pc:docMk/>
            <pc:sldMk cId="3256052264" sldId="2147478569"/>
            <ac:spMk id="155" creationId="{4A10BE9B-440D-6C99-ED88-A427C053F857}"/>
          </ac:spMkLst>
        </pc:spChg>
        <pc:spChg chg="add del mod">
          <ac:chgData name="Steiner Andreas 6206 ED" userId="e6377c33-a923-4f14-8587-531c474c7b48" providerId="ADAL" clId="{6ECD27E6-B224-41CD-B4E0-E297462320DD}" dt="2023-11-24T08:35:22.006" v="22717"/>
          <ac:spMkLst>
            <pc:docMk/>
            <pc:sldMk cId="3256052264" sldId="2147478569"/>
            <ac:spMk id="156" creationId="{DBFA0064-1394-AF18-2674-9A765F141205}"/>
          </ac:spMkLst>
        </pc:spChg>
        <pc:spChg chg="add del mod">
          <ac:chgData name="Steiner Andreas 6206 ED" userId="e6377c33-a923-4f14-8587-531c474c7b48" providerId="ADAL" clId="{6ECD27E6-B224-41CD-B4E0-E297462320DD}" dt="2023-11-24T08:35:24.321" v="22872"/>
          <ac:spMkLst>
            <pc:docMk/>
            <pc:sldMk cId="3256052264" sldId="2147478569"/>
            <ac:spMk id="157" creationId="{12D21C6B-A372-1F89-5020-517D1D2E3F13}"/>
          </ac:spMkLst>
        </pc:spChg>
        <pc:spChg chg="add del mod">
          <ac:chgData name="Steiner Andreas 6206 ED" userId="e6377c33-a923-4f14-8587-531c474c7b48" providerId="ADAL" clId="{6ECD27E6-B224-41CD-B4E0-E297462320DD}" dt="2023-11-24T08:35:26.974" v="23027"/>
          <ac:spMkLst>
            <pc:docMk/>
            <pc:sldMk cId="3256052264" sldId="2147478569"/>
            <ac:spMk id="158" creationId="{AFC07272-840C-0096-7F24-93443B388845}"/>
          </ac:spMkLst>
        </pc:spChg>
        <pc:spChg chg="add del mod">
          <ac:chgData name="Steiner Andreas 6206 ED" userId="e6377c33-a923-4f14-8587-531c474c7b48" providerId="ADAL" clId="{6ECD27E6-B224-41CD-B4E0-E297462320DD}" dt="2023-11-24T08:35:29.698" v="23182"/>
          <ac:spMkLst>
            <pc:docMk/>
            <pc:sldMk cId="3256052264" sldId="2147478569"/>
            <ac:spMk id="159" creationId="{772B6DE4-9469-1CFB-B004-7129BF68704F}"/>
          </ac:spMkLst>
        </pc:spChg>
        <pc:spChg chg="add del mod">
          <ac:chgData name="Steiner Andreas 6206 ED" userId="e6377c33-a923-4f14-8587-531c474c7b48" providerId="ADAL" clId="{6ECD27E6-B224-41CD-B4E0-E297462320DD}" dt="2023-11-24T08:35:32.050" v="23337"/>
          <ac:spMkLst>
            <pc:docMk/>
            <pc:sldMk cId="3256052264" sldId="2147478569"/>
            <ac:spMk id="160" creationId="{90ADE498-1DC6-FE66-61C6-AD0630FAC73D}"/>
          </ac:spMkLst>
        </pc:spChg>
        <pc:spChg chg="add del mod">
          <ac:chgData name="Steiner Andreas 6206 ED" userId="e6377c33-a923-4f14-8587-531c474c7b48" providerId="ADAL" clId="{6ECD27E6-B224-41CD-B4E0-E297462320DD}" dt="2023-11-24T08:35:34.440" v="23492"/>
          <ac:spMkLst>
            <pc:docMk/>
            <pc:sldMk cId="3256052264" sldId="2147478569"/>
            <ac:spMk id="161" creationId="{184BD0DF-B9CC-DBCC-9EFD-4B10F8333EAD}"/>
          </ac:spMkLst>
        </pc:spChg>
        <pc:spChg chg="add del mod">
          <ac:chgData name="Steiner Andreas 6206 ED" userId="e6377c33-a923-4f14-8587-531c474c7b48" providerId="ADAL" clId="{6ECD27E6-B224-41CD-B4E0-E297462320DD}" dt="2023-11-24T08:35:36.763" v="23647"/>
          <ac:spMkLst>
            <pc:docMk/>
            <pc:sldMk cId="3256052264" sldId="2147478569"/>
            <ac:spMk id="162" creationId="{72FE6B60-7331-C22F-4893-451B222F563C}"/>
          </ac:spMkLst>
        </pc:spChg>
        <pc:spChg chg="add del mod">
          <ac:chgData name="Steiner Andreas 6206 ED" userId="e6377c33-a923-4f14-8587-531c474c7b48" providerId="ADAL" clId="{6ECD27E6-B224-41CD-B4E0-E297462320DD}" dt="2023-11-24T08:35:39.181" v="23802"/>
          <ac:spMkLst>
            <pc:docMk/>
            <pc:sldMk cId="3256052264" sldId="2147478569"/>
            <ac:spMk id="163" creationId="{0AA9F0AC-10BF-0650-66C8-CF73072CCC1B}"/>
          </ac:spMkLst>
        </pc:spChg>
        <pc:spChg chg="add del mod">
          <ac:chgData name="Steiner Andreas 6206 ED" userId="e6377c33-a923-4f14-8587-531c474c7b48" providerId="ADAL" clId="{6ECD27E6-B224-41CD-B4E0-E297462320DD}" dt="2023-11-24T08:35:41.848" v="23957"/>
          <ac:spMkLst>
            <pc:docMk/>
            <pc:sldMk cId="3256052264" sldId="2147478569"/>
            <ac:spMk id="164" creationId="{47A00D53-4270-7248-DC88-F72AC8E62101}"/>
          </ac:spMkLst>
        </pc:spChg>
        <pc:spChg chg="add del mod">
          <ac:chgData name="Steiner Andreas 6206 ED" userId="e6377c33-a923-4f14-8587-531c474c7b48" providerId="ADAL" clId="{6ECD27E6-B224-41CD-B4E0-E297462320DD}" dt="2023-11-24T08:35:44.301" v="24112"/>
          <ac:spMkLst>
            <pc:docMk/>
            <pc:sldMk cId="3256052264" sldId="2147478569"/>
            <ac:spMk id="165" creationId="{08E8865B-30F4-257C-DB78-95899A1A5DF9}"/>
          </ac:spMkLst>
        </pc:spChg>
        <pc:spChg chg="add del mod">
          <ac:chgData name="Steiner Andreas 6206 ED" userId="e6377c33-a923-4f14-8587-531c474c7b48" providerId="ADAL" clId="{6ECD27E6-B224-41CD-B4E0-E297462320DD}" dt="2023-11-24T08:35:46.582" v="24267"/>
          <ac:spMkLst>
            <pc:docMk/>
            <pc:sldMk cId="3256052264" sldId="2147478569"/>
            <ac:spMk id="166" creationId="{A11A9F2F-7556-6F80-FC23-4A0BA9D7A758}"/>
          </ac:spMkLst>
        </pc:spChg>
        <pc:spChg chg="add del mod">
          <ac:chgData name="Steiner Andreas 6206 ED" userId="e6377c33-a923-4f14-8587-531c474c7b48" providerId="ADAL" clId="{6ECD27E6-B224-41CD-B4E0-E297462320DD}" dt="2023-11-24T08:35:48.819" v="24422"/>
          <ac:spMkLst>
            <pc:docMk/>
            <pc:sldMk cId="3256052264" sldId="2147478569"/>
            <ac:spMk id="167" creationId="{3C95C528-54F1-D246-9075-396849E3F7E8}"/>
          </ac:spMkLst>
        </pc:spChg>
        <pc:spChg chg="add del mod">
          <ac:chgData name="Steiner Andreas 6206 ED" userId="e6377c33-a923-4f14-8587-531c474c7b48" providerId="ADAL" clId="{6ECD27E6-B224-41CD-B4E0-E297462320DD}" dt="2023-11-24T08:35:51.119" v="24577"/>
          <ac:spMkLst>
            <pc:docMk/>
            <pc:sldMk cId="3256052264" sldId="2147478569"/>
            <ac:spMk id="168" creationId="{B10FA1F2-1730-014B-E592-CC335BCD2812}"/>
          </ac:spMkLst>
        </pc:spChg>
        <pc:spChg chg="add del mod">
          <ac:chgData name="Steiner Andreas 6206 ED" userId="e6377c33-a923-4f14-8587-531c474c7b48" providerId="ADAL" clId="{6ECD27E6-B224-41CD-B4E0-E297462320DD}" dt="2023-11-24T08:35:53.995" v="24732"/>
          <ac:spMkLst>
            <pc:docMk/>
            <pc:sldMk cId="3256052264" sldId="2147478569"/>
            <ac:spMk id="169" creationId="{D2110DF3-882C-3E41-947B-5A2C9E463947}"/>
          </ac:spMkLst>
        </pc:spChg>
        <pc:spChg chg="add del mod">
          <ac:chgData name="Steiner Andreas 6206 ED" userId="e6377c33-a923-4f14-8587-531c474c7b48" providerId="ADAL" clId="{6ECD27E6-B224-41CD-B4E0-E297462320DD}" dt="2023-11-24T08:35:56.507" v="24887"/>
          <ac:spMkLst>
            <pc:docMk/>
            <pc:sldMk cId="3256052264" sldId="2147478569"/>
            <ac:spMk id="170" creationId="{6E39C4C7-4299-13E6-A53C-6340994FA23A}"/>
          </ac:spMkLst>
        </pc:spChg>
        <pc:spChg chg="add del mod">
          <ac:chgData name="Steiner Andreas 6206 ED" userId="e6377c33-a923-4f14-8587-531c474c7b48" providerId="ADAL" clId="{6ECD27E6-B224-41CD-B4E0-E297462320DD}" dt="2023-11-24T08:35:59.039" v="25042"/>
          <ac:spMkLst>
            <pc:docMk/>
            <pc:sldMk cId="3256052264" sldId="2147478569"/>
            <ac:spMk id="171" creationId="{1528BAD7-4973-EEE8-598B-5EDBC6042BA6}"/>
          </ac:spMkLst>
        </pc:spChg>
        <pc:spChg chg="add del mod">
          <ac:chgData name="Steiner Andreas 6206 ED" userId="e6377c33-a923-4f14-8587-531c474c7b48" providerId="ADAL" clId="{6ECD27E6-B224-41CD-B4E0-E297462320DD}" dt="2023-11-24T08:36:01.520" v="25197"/>
          <ac:spMkLst>
            <pc:docMk/>
            <pc:sldMk cId="3256052264" sldId="2147478569"/>
            <ac:spMk id="172" creationId="{D750D057-5CFA-67E4-A096-55FED3A502F6}"/>
          </ac:spMkLst>
        </pc:spChg>
        <pc:spChg chg="add del mod">
          <ac:chgData name="Steiner Andreas 6206 ED" userId="e6377c33-a923-4f14-8587-531c474c7b48" providerId="ADAL" clId="{6ECD27E6-B224-41CD-B4E0-E297462320DD}" dt="2023-11-24T08:36:04.105" v="25352"/>
          <ac:spMkLst>
            <pc:docMk/>
            <pc:sldMk cId="3256052264" sldId="2147478569"/>
            <ac:spMk id="173" creationId="{CEBC199F-1054-32F7-FC11-3E336005D525}"/>
          </ac:spMkLst>
        </pc:spChg>
        <pc:spChg chg="add del mod">
          <ac:chgData name="Steiner Andreas 6206 ED" userId="e6377c33-a923-4f14-8587-531c474c7b48" providerId="ADAL" clId="{6ECD27E6-B224-41CD-B4E0-E297462320DD}" dt="2023-11-24T08:36:06.648" v="25507"/>
          <ac:spMkLst>
            <pc:docMk/>
            <pc:sldMk cId="3256052264" sldId="2147478569"/>
            <ac:spMk id="174" creationId="{CBE2E324-CE46-6AD7-007E-ED78B1F96794}"/>
          </ac:spMkLst>
        </pc:spChg>
        <pc:spChg chg="add del mod">
          <ac:chgData name="Steiner Andreas 6206 ED" userId="e6377c33-a923-4f14-8587-531c474c7b48" providerId="ADAL" clId="{6ECD27E6-B224-41CD-B4E0-E297462320DD}" dt="2023-11-24T08:36:09.163" v="25662"/>
          <ac:spMkLst>
            <pc:docMk/>
            <pc:sldMk cId="3256052264" sldId="2147478569"/>
            <ac:spMk id="175" creationId="{70C05EB5-321C-95FA-A1BE-A42810461859}"/>
          </ac:spMkLst>
        </pc:spChg>
        <pc:spChg chg="add del mod">
          <ac:chgData name="Steiner Andreas 6206 ED" userId="e6377c33-a923-4f14-8587-531c474c7b48" providerId="ADAL" clId="{6ECD27E6-B224-41CD-B4E0-E297462320DD}" dt="2023-11-24T08:36:11.702" v="25817"/>
          <ac:spMkLst>
            <pc:docMk/>
            <pc:sldMk cId="3256052264" sldId="2147478569"/>
            <ac:spMk id="176" creationId="{9A021054-109C-D255-D99D-71C07389CCA9}"/>
          </ac:spMkLst>
        </pc:spChg>
        <pc:spChg chg="add del mod">
          <ac:chgData name="Steiner Andreas 6206 ED" userId="e6377c33-a923-4f14-8587-531c474c7b48" providerId="ADAL" clId="{6ECD27E6-B224-41CD-B4E0-E297462320DD}" dt="2023-11-24T08:36:14.085" v="25972"/>
          <ac:spMkLst>
            <pc:docMk/>
            <pc:sldMk cId="3256052264" sldId="2147478569"/>
            <ac:spMk id="177" creationId="{E27CD251-C289-B933-27FC-91387005547E}"/>
          </ac:spMkLst>
        </pc:spChg>
        <pc:spChg chg="add del mod">
          <ac:chgData name="Steiner Andreas 6206 ED" userId="e6377c33-a923-4f14-8587-531c474c7b48" providerId="ADAL" clId="{6ECD27E6-B224-41CD-B4E0-E297462320DD}" dt="2023-11-24T08:36:16.857" v="26127"/>
          <ac:spMkLst>
            <pc:docMk/>
            <pc:sldMk cId="3256052264" sldId="2147478569"/>
            <ac:spMk id="178" creationId="{DC3A3566-545B-8772-60AD-52F688608A36}"/>
          </ac:spMkLst>
        </pc:spChg>
        <pc:spChg chg="add del mod">
          <ac:chgData name="Steiner Andreas 6206 ED" userId="e6377c33-a923-4f14-8587-531c474c7b48" providerId="ADAL" clId="{6ECD27E6-B224-41CD-B4E0-E297462320DD}" dt="2023-11-24T08:36:19.325" v="26282"/>
          <ac:spMkLst>
            <pc:docMk/>
            <pc:sldMk cId="3256052264" sldId="2147478569"/>
            <ac:spMk id="179" creationId="{9C19051B-23B4-59CB-16B3-217CF2447C55}"/>
          </ac:spMkLst>
        </pc:spChg>
        <pc:spChg chg="add del mod">
          <ac:chgData name="Steiner Andreas 6206 ED" userId="e6377c33-a923-4f14-8587-531c474c7b48" providerId="ADAL" clId="{6ECD27E6-B224-41CD-B4E0-E297462320DD}" dt="2023-11-24T08:36:21.571" v="26437"/>
          <ac:spMkLst>
            <pc:docMk/>
            <pc:sldMk cId="3256052264" sldId="2147478569"/>
            <ac:spMk id="180" creationId="{95F5B831-0E50-B82D-749F-56FDDEF3F4FA}"/>
          </ac:spMkLst>
        </pc:spChg>
        <pc:spChg chg="add del mod">
          <ac:chgData name="Steiner Andreas 6206 ED" userId="e6377c33-a923-4f14-8587-531c474c7b48" providerId="ADAL" clId="{6ECD27E6-B224-41CD-B4E0-E297462320DD}" dt="2023-11-24T08:36:24.068" v="26592"/>
          <ac:spMkLst>
            <pc:docMk/>
            <pc:sldMk cId="3256052264" sldId="2147478569"/>
            <ac:spMk id="181" creationId="{EE370C28-CFAF-265C-C41C-713ADC315227}"/>
          </ac:spMkLst>
        </pc:spChg>
        <pc:spChg chg="add del mod">
          <ac:chgData name="Steiner Andreas 6206 ED" userId="e6377c33-a923-4f14-8587-531c474c7b48" providerId="ADAL" clId="{6ECD27E6-B224-41CD-B4E0-E297462320DD}" dt="2023-11-24T08:36:26.598" v="26747"/>
          <ac:spMkLst>
            <pc:docMk/>
            <pc:sldMk cId="3256052264" sldId="2147478569"/>
            <ac:spMk id="182" creationId="{C8493356-E2BB-3377-D629-6CB897B0D44C}"/>
          </ac:spMkLst>
        </pc:spChg>
        <pc:spChg chg="add del mod">
          <ac:chgData name="Steiner Andreas 6206 ED" userId="e6377c33-a923-4f14-8587-531c474c7b48" providerId="ADAL" clId="{6ECD27E6-B224-41CD-B4E0-E297462320DD}" dt="2023-11-24T08:36:29.516" v="26902"/>
          <ac:spMkLst>
            <pc:docMk/>
            <pc:sldMk cId="3256052264" sldId="2147478569"/>
            <ac:spMk id="183" creationId="{CF01F18B-5FD0-EC97-E2D0-93E8451402AA}"/>
          </ac:spMkLst>
        </pc:spChg>
        <pc:spChg chg="add del mod">
          <ac:chgData name="Steiner Andreas 6206 ED" userId="e6377c33-a923-4f14-8587-531c474c7b48" providerId="ADAL" clId="{6ECD27E6-B224-41CD-B4E0-E297462320DD}" dt="2023-11-24T08:36:32.212" v="27057"/>
          <ac:spMkLst>
            <pc:docMk/>
            <pc:sldMk cId="3256052264" sldId="2147478569"/>
            <ac:spMk id="184" creationId="{64B4869D-0063-A46B-3C6D-A1DE1FA7520F}"/>
          </ac:spMkLst>
        </pc:spChg>
        <pc:spChg chg="add del mod">
          <ac:chgData name="Steiner Andreas 6206 ED" userId="e6377c33-a923-4f14-8587-531c474c7b48" providerId="ADAL" clId="{6ECD27E6-B224-41CD-B4E0-E297462320DD}" dt="2023-11-24T08:36:34.745" v="27212"/>
          <ac:spMkLst>
            <pc:docMk/>
            <pc:sldMk cId="3256052264" sldId="2147478569"/>
            <ac:spMk id="185" creationId="{D955CED7-431A-551B-E3E2-8A67B469DDF2}"/>
          </ac:spMkLst>
        </pc:spChg>
        <pc:spChg chg="add del mod">
          <ac:chgData name="Steiner Andreas 6206 ED" userId="e6377c33-a923-4f14-8587-531c474c7b48" providerId="ADAL" clId="{6ECD27E6-B224-41CD-B4E0-E297462320DD}" dt="2023-11-24T08:36:37.272" v="27367"/>
          <ac:spMkLst>
            <pc:docMk/>
            <pc:sldMk cId="3256052264" sldId="2147478569"/>
            <ac:spMk id="186" creationId="{F8CEAA02-F00C-EE4A-8781-2E7067173D1B}"/>
          </ac:spMkLst>
        </pc:spChg>
        <pc:spChg chg="add del mod">
          <ac:chgData name="Steiner Andreas 6206 ED" userId="e6377c33-a923-4f14-8587-531c474c7b48" providerId="ADAL" clId="{6ECD27E6-B224-41CD-B4E0-E297462320DD}" dt="2023-11-24T08:36:39.829" v="27522"/>
          <ac:spMkLst>
            <pc:docMk/>
            <pc:sldMk cId="3256052264" sldId="2147478569"/>
            <ac:spMk id="187" creationId="{44AE08B3-1C6A-E3BA-1300-BC77D1C84F62}"/>
          </ac:spMkLst>
        </pc:spChg>
        <pc:spChg chg="add del mod">
          <ac:chgData name="Steiner Andreas 6206 ED" userId="e6377c33-a923-4f14-8587-531c474c7b48" providerId="ADAL" clId="{6ECD27E6-B224-41CD-B4E0-E297462320DD}" dt="2023-11-24T08:36:42.641" v="27677"/>
          <ac:spMkLst>
            <pc:docMk/>
            <pc:sldMk cId="3256052264" sldId="2147478569"/>
            <ac:spMk id="188" creationId="{D4B53DEC-CA59-B6A1-0AAE-11F789F2D904}"/>
          </ac:spMkLst>
        </pc:spChg>
        <pc:spChg chg="add del mod">
          <ac:chgData name="Steiner Andreas 6206 ED" userId="e6377c33-a923-4f14-8587-531c474c7b48" providerId="ADAL" clId="{6ECD27E6-B224-41CD-B4E0-E297462320DD}" dt="2023-11-24T08:36:45.152" v="27832"/>
          <ac:spMkLst>
            <pc:docMk/>
            <pc:sldMk cId="3256052264" sldId="2147478569"/>
            <ac:spMk id="189" creationId="{AAAD8632-5DC3-9BDE-BB76-C45A63A74195}"/>
          </ac:spMkLst>
        </pc:spChg>
        <pc:spChg chg="add del mod">
          <ac:chgData name="Steiner Andreas 6206 ED" userId="e6377c33-a923-4f14-8587-531c474c7b48" providerId="ADAL" clId="{6ECD27E6-B224-41CD-B4E0-E297462320DD}" dt="2023-11-24T08:36:47.541" v="27987"/>
          <ac:spMkLst>
            <pc:docMk/>
            <pc:sldMk cId="3256052264" sldId="2147478569"/>
            <ac:spMk id="190" creationId="{8275845B-EB46-11AB-5959-87329E0226F7}"/>
          </ac:spMkLst>
        </pc:spChg>
        <pc:spChg chg="add del mod">
          <ac:chgData name="Steiner Andreas 6206 ED" userId="e6377c33-a923-4f14-8587-531c474c7b48" providerId="ADAL" clId="{6ECD27E6-B224-41CD-B4E0-E297462320DD}" dt="2023-11-24T08:36:50.011" v="28142"/>
          <ac:spMkLst>
            <pc:docMk/>
            <pc:sldMk cId="3256052264" sldId="2147478569"/>
            <ac:spMk id="191" creationId="{2348523A-A2AB-EBB3-F39B-47DB6A030F9C}"/>
          </ac:spMkLst>
        </pc:spChg>
        <pc:spChg chg="add del mod">
          <ac:chgData name="Steiner Andreas 6206 ED" userId="e6377c33-a923-4f14-8587-531c474c7b48" providerId="ADAL" clId="{6ECD27E6-B224-41CD-B4E0-E297462320DD}" dt="2023-11-24T08:36:53.032" v="28297"/>
          <ac:spMkLst>
            <pc:docMk/>
            <pc:sldMk cId="3256052264" sldId="2147478569"/>
            <ac:spMk id="192" creationId="{2850C9D1-5992-2077-EC19-67A703E22DAC}"/>
          </ac:spMkLst>
        </pc:spChg>
        <pc:spChg chg="add del mod">
          <ac:chgData name="Steiner Andreas 6206 ED" userId="e6377c33-a923-4f14-8587-531c474c7b48" providerId="ADAL" clId="{6ECD27E6-B224-41CD-B4E0-E297462320DD}" dt="2023-11-24T08:36:56.115" v="28452"/>
          <ac:spMkLst>
            <pc:docMk/>
            <pc:sldMk cId="3256052264" sldId="2147478569"/>
            <ac:spMk id="193" creationId="{F3DE724F-CCEF-C41A-4496-C48077443EC0}"/>
          </ac:spMkLst>
        </pc:spChg>
        <pc:spChg chg="add del mod">
          <ac:chgData name="Steiner Andreas 6206 ED" userId="e6377c33-a923-4f14-8587-531c474c7b48" providerId="ADAL" clId="{6ECD27E6-B224-41CD-B4E0-E297462320DD}" dt="2023-11-24T08:36:58.935" v="28607"/>
          <ac:spMkLst>
            <pc:docMk/>
            <pc:sldMk cId="3256052264" sldId="2147478569"/>
            <ac:spMk id="194" creationId="{D48C59B4-3D60-0D09-0F67-957BDB08D708}"/>
          </ac:spMkLst>
        </pc:spChg>
        <pc:spChg chg="add del mod">
          <ac:chgData name="Steiner Andreas 6206 ED" userId="e6377c33-a923-4f14-8587-531c474c7b48" providerId="ADAL" clId="{6ECD27E6-B224-41CD-B4E0-E297462320DD}" dt="2023-11-24T08:37:01.649" v="28762"/>
          <ac:spMkLst>
            <pc:docMk/>
            <pc:sldMk cId="3256052264" sldId="2147478569"/>
            <ac:spMk id="195" creationId="{F37E0D23-D97E-CE3D-B540-73B9B5D1BFA0}"/>
          </ac:spMkLst>
        </pc:spChg>
        <pc:spChg chg="add del mod">
          <ac:chgData name="Steiner Andreas 6206 ED" userId="e6377c33-a923-4f14-8587-531c474c7b48" providerId="ADAL" clId="{6ECD27E6-B224-41CD-B4E0-E297462320DD}" dt="2023-11-24T08:37:04.397" v="28917"/>
          <ac:spMkLst>
            <pc:docMk/>
            <pc:sldMk cId="3256052264" sldId="2147478569"/>
            <ac:spMk id="196" creationId="{6052D692-8F8F-9A04-568B-3F611ED849EA}"/>
          </ac:spMkLst>
        </pc:spChg>
        <pc:spChg chg="add del mod">
          <ac:chgData name="Steiner Andreas 6206 ED" userId="e6377c33-a923-4f14-8587-531c474c7b48" providerId="ADAL" clId="{6ECD27E6-B224-41CD-B4E0-E297462320DD}" dt="2023-11-24T08:37:07.268" v="29072"/>
          <ac:spMkLst>
            <pc:docMk/>
            <pc:sldMk cId="3256052264" sldId="2147478569"/>
            <ac:spMk id="197" creationId="{D5F84DE2-3565-0855-3ACA-0939C23342BC}"/>
          </ac:spMkLst>
        </pc:spChg>
        <pc:spChg chg="add del mod">
          <ac:chgData name="Steiner Andreas 6206 ED" userId="e6377c33-a923-4f14-8587-531c474c7b48" providerId="ADAL" clId="{6ECD27E6-B224-41CD-B4E0-E297462320DD}" dt="2023-11-24T08:37:09.804" v="29227"/>
          <ac:spMkLst>
            <pc:docMk/>
            <pc:sldMk cId="3256052264" sldId="2147478569"/>
            <ac:spMk id="198" creationId="{2A7FF60E-9A23-B96E-D1CC-AC0D491614D5}"/>
          </ac:spMkLst>
        </pc:spChg>
        <pc:spChg chg="add del mod">
          <ac:chgData name="Steiner Andreas 6206 ED" userId="e6377c33-a923-4f14-8587-531c474c7b48" providerId="ADAL" clId="{6ECD27E6-B224-41CD-B4E0-E297462320DD}" dt="2023-11-24T08:37:12.563" v="29382"/>
          <ac:spMkLst>
            <pc:docMk/>
            <pc:sldMk cId="3256052264" sldId="2147478569"/>
            <ac:spMk id="199" creationId="{B0AA7178-CCB7-4BE7-009F-CEB90ED91F02}"/>
          </ac:spMkLst>
        </pc:spChg>
        <pc:spChg chg="add del mod">
          <ac:chgData name="Steiner Andreas 6206 ED" userId="e6377c33-a923-4f14-8587-531c474c7b48" providerId="ADAL" clId="{6ECD27E6-B224-41CD-B4E0-E297462320DD}" dt="2023-11-24T08:37:15.868" v="29537"/>
          <ac:spMkLst>
            <pc:docMk/>
            <pc:sldMk cId="3256052264" sldId="2147478569"/>
            <ac:spMk id="200" creationId="{2A1C6361-113A-C58E-F69A-556368A253EA}"/>
          </ac:spMkLst>
        </pc:spChg>
        <pc:spChg chg="add del mod">
          <ac:chgData name="Steiner Andreas 6206 ED" userId="e6377c33-a923-4f14-8587-531c474c7b48" providerId="ADAL" clId="{6ECD27E6-B224-41CD-B4E0-E297462320DD}" dt="2023-11-24T08:37:18.641" v="29692"/>
          <ac:spMkLst>
            <pc:docMk/>
            <pc:sldMk cId="3256052264" sldId="2147478569"/>
            <ac:spMk id="201" creationId="{5902AC9D-DFED-60AD-8FF9-7C92662866FB}"/>
          </ac:spMkLst>
        </pc:spChg>
        <pc:spChg chg="add del mod">
          <ac:chgData name="Steiner Andreas 6206 ED" userId="e6377c33-a923-4f14-8587-531c474c7b48" providerId="ADAL" clId="{6ECD27E6-B224-41CD-B4E0-E297462320DD}" dt="2023-11-24T08:37:21.131" v="29847"/>
          <ac:spMkLst>
            <pc:docMk/>
            <pc:sldMk cId="3256052264" sldId="2147478569"/>
            <ac:spMk id="202" creationId="{07A8F8D4-3A79-6F95-0FBA-EE0B4A44CA94}"/>
          </ac:spMkLst>
        </pc:spChg>
        <pc:spChg chg="add del mod">
          <ac:chgData name="Steiner Andreas 6206 ED" userId="e6377c33-a923-4f14-8587-531c474c7b48" providerId="ADAL" clId="{6ECD27E6-B224-41CD-B4E0-E297462320DD}" dt="2023-11-24T08:37:23.983" v="30002"/>
          <ac:spMkLst>
            <pc:docMk/>
            <pc:sldMk cId="3256052264" sldId="2147478569"/>
            <ac:spMk id="203" creationId="{CB7CE2D8-F941-43EB-E793-130C273B0EA1}"/>
          </ac:spMkLst>
        </pc:spChg>
        <pc:spChg chg="add del mod">
          <ac:chgData name="Steiner Andreas 6206 ED" userId="e6377c33-a923-4f14-8587-531c474c7b48" providerId="ADAL" clId="{6ECD27E6-B224-41CD-B4E0-E297462320DD}" dt="2023-11-24T08:37:26.499" v="30157"/>
          <ac:spMkLst>
            <pc:docMk/>
            <pc:sldMk cId="3256052264" sldId="2147478569"/>
            <ac:spMk id="204" creationId="{15490876-C532-55A2-B175-73BF40D39BC0}"/>
          </ac:spMkLst>
        </pc:spChg>
        <pc:spChg chg="add del mod">
          <ac:chgData name="Steiner Andreas 6206 ED" userId="e6377c33-a923-4f14-8587-531c474c7b48" providerId="ADAL" clId="{6ECD27E6-B224-41CD-B4E0-E297462320DD}" dt="2023-11-24T08:37:29.679" v="30312"/>
          <ac:spMkLst>
            <pc:docMk/>
            <pc:sldMk cId="3256052264" sldId="2147478569"/>
            <ac:spMk id="205" creationId="{46ABC7DC-5424-EFC3-5141-0FA511B948EC}"/>
          </ac:spMkLst>
        </pc:spChg>
        <pc:spChg chg="add del mod">
          <ac:chgData name="Steiner Andreas 6206 ED" userId="e6377c33-a923-4f14-8587-531c474c7b48" providerId="ADAL" clId="{6ECD27E6-B224-41CD-B4E0-E297462320DD}" dt="2023-11-24T08:37:32.677" v="30467"/>
          <ac:spMkLst>
            <pc:docMk/>
            <pc:sldMk cId="3256052264" sldId="2147478569"/>
            <ac:spMk id="206" creationId="{15CE0F3F-A51C-47E8-1DB8-E531DD5EC0E4}"/>
          </ac:spMkLst>
        </pc:spChg>
        <pc:spChg chg="add del mod">
          <ac:chgData name="Steiner Andreas 6206 ED" userId="e6377c33-a923-4f14-8587-531c474c7b48" providerId="ADAL" clId="{6ECD27E6-B224-41CD-B4E0-E297462320DD}" dt="2023-11-24T08:37:35.266" v="30622"/>
          <ac:spMkLst>
            <pc:docMk/>
            <pc:sldMk cId="3256052264" sldId="2147478569"/>
            <ac:spMk id="207" creationId="{F7535DD5-B221-3F16-EBF1-CD557A5A0580}"/>
          </ac:spMkLst>
        </pc:spChg>
        <pc:spChg chg="add del mod">
          <ac:chgData name="Steiner Andreas 6206 ED" userId="e6377c33-a923-4f14-8587-531c474c7b48" providerId="ADAL" clId="{6ECD27E6-B224-41CD-B4E0-E297462320DD}" dt="2023-11-24T08:37:37.940" v="30777"/>
          <ac:spMkLst>
            <pc:docMk/>
            <pc:sldMk cId="3256052264" sldId="2147478569"/>
            <ac:spMk id="208" creationId="{09379556-28BD-8672-DC70-0B2D5918A265}"/>
          </ac:spMkLst>
        </pc:spChg>
        <pc:spChg chg="add del mod">
          <ac:chgData name="Steiner Andreas 6206 ED" userId="e6377c33-a923-4f14-8587-531c474c7b48" providerId="ADAL" clId="{6ECD27E6-B224-41CD-B4E0-E297462320DD}" dt="2023-11-24T08:37:41.633" v="30932"/>
          <ac:spMkLst>
            <pc:docMk/>
            <pc:sldMk cId="3256052264" sldId="2147478569"/>
            <ac:spMk id="209" creationId="{54D8D8E9-FC3F-A602-2190-E180BD790B89}"/>
          </ac:spMkLst>
        </pc:spChg>
        <pc:spChg chg="add del mod">
          <ac:chgData name="Steiner Andreas 6206 ED" userId="e6377c33-a923-4f14-8587-531c474c7b48" providerId="ADAL" clId="{6ECD27E6-B224-41CD-B4E0-E297462320DD}" dt="2023-11-24T08:37:44.880" v="31087"/>
          <ac:spMkLst>
            <pc:docMk/>
            <pc:sldMk cId="3256052264" sldId="2147478569"/>
            <ac:spMk id="210" creationId="{47AE389D-C9BA-4DE5-F718-CCCB4BB030DD}"/>
          </ac:spMkLst>
        </pc:spChg>
        <pc:spChg chg="add del mod">
          <ac:chgData name="Steiner Andreas 6206 ED" userId="e6377c33-a923-4f14-8587-531c474c7b48" providerId="ADAL" clId="{6ECD27E6-B224-41CD-B4E0-E297462320DD}" dt="2023-11-24T08:37:47.652" v="31242"/>
          <ac:spMkLst>
            <pc:docMk/>
            <pc:sldMk cId="3256052264" sldId="2147478569"/>
            <ac:spMk id="211" creationId="{5F8966DB-2064-D59A-2376-C3254FE6F54A}"/>
          </ac:spMkLst>
        </pc:spChg>
        <pc:spChg chg="add del mod">
          <ac:chgData name="Steiner Andreas 6206 ED" userId="e6377c33-a923-4f14-8587-531c474c7b48" providerId="ADAL" clId="{6ECD27E6-B224-41CD-B4E0-E297462320DD}" dt="2023-11-24T08:37:50.432" v="31397"/>
          <ac:spMkLst>
            <pc:docMk/>
            <pc:sldMk cId="3256052264" sldId="2147478569"/>
            <ac:spMk id="212" creationId="{6099F827-FD3A-B5F9-204C-C0E82BFA6B49}"/>
          </ac:spMkLst>
        </pc:spChg>
        <pc:spChg chg="add del mod">
          <ac:chgData name="Steiner Andreas 6206 ED" userId="e6377c33-a923-4f14-8587-531c474c7b48" providerId="ADAL" clId="{6ECD27E6-B224-41CD-B4E0-E297462320DD}" dt="2023-11-24T08:37:53.032" v="31552"/>
          <ac:spMkLst>
            <pc:docMk/>
            <pc:sldMk cId="3256052264" sldId="2147478569"/>
            <ac:spMk id="213" creationId="{BE1939D1-53E5-E3B7-E2C9-947254FF73FA}"/>
          </ac:spMkLst>
        </pc:spChg>
        <pc:spChg chg="add del mod">
          <ac:chgData name="Steiner Andreas 6206 ED" userId="e6377c33-a923-4f14-8587-531c474c7b48" providerId="ADAL" clId="{6ECD27E6-B224-41CD-B4E0-E297462320DD}" dt="2023-11-24T08:37:57.085" v="31707"/>
          <ac:spMkLst>
            <pc:docMk/>
            <pc:sldMk cId="3256052264" sldId="2147478569"/>
            <ac:spMk id="214" creationId="{443DF02F-4DF7-707F-FFF3-938522D3AB34}"/>
          </ac:spMkLst>
        </pc:spChg>
        <pc:spChg chg="add del mod">
          <ac:chgData name="Steiner Andreas 6206 ED" userId="e6377c33-a923-4f14-8587-531c474c7b48" providerId="ADAL" clId="{6ECD27E6-B224-41CD-B4E0-E297462320DD}" dt="2023-11-24T08:37:59.886" v="31862"/>
          <ac:spMkLst>
            <pc:docMk/>
            <pc:sldMk cId="3256052264" sldId="2147478569"/>
            <ac:spMk id="215" creationId="{02EEBBB3-10C3-3F68-4828-76BDE70D74BB}"/>
          </ac:spMkLst>
        </pc:spChg>
        <pc:spChg chg="add del mod">
          <ac:chgData name="Steiner Andreas 6206 ED" userId="e6377c33-a923-4f14-8587-531c474c7b48" providerId="ADAL" clId="{6ECD27E6-B224-41CD-B4E0-E297462320DD}" dt="2023-11-24T08:38:02.884" v="32017"/>
          <ac:spMkLst>
            <pc:docMk/>
            <pc:sldMk cId="3256052264" sldId="2147478569"/>
            <ac:spMk id="216" creationId="{1FD47E75-35C4-5DC3-3B1E-5303EFD36DB1}"/>
          </ac:spMkLst>
        </pc:spChg>
        <pc:spChg chg="add del mod">
          <ac:chgData name="Steiner Andreas 6206 ED" userId="e6377c33-a923-4f14-8587-531c474c7b48" providerId="ADAL" clId="{6ECD27E6-B224-41CD-B4E0-E297462320DD}" dt="2023-11-24T08:38:05.756" v="32172"/>
          <ac:spMkLst>
            <pc:docMk/>
            <pc:sldMk cId="3256052264" sldId="2147478569"/>
            <ac:spMk id="217" creationId="{4F906261-E60A-D49D-9EE3-94A6C0FC9139}"/>
          </ac:spMkLst>
        </pc:spChg>
        <pc:spChg chg="add del mod">
          <ac:chgData name="Steiner Andreas 6206 ED" userId="e6377c33-a923-4f14-8587-531c474c7b48" providerId="ADAL" clId="{6ECD27E6-B224-41CD-B4E0-E297462320DD}" dt="2023-11-24T08:38:08.877" v="32327"/>
          <ac:spMkLst>
            <pc:docMk/>
            <pc:sldMk cId="3256052264" sldId="2147478569"/>
            <ac:spMk id="218" creationId="{D4913D59-5CE0-B495-19C4-5369CC0F97D4}"/>
          </ac:spMkLst>
        </pc:spChg>
        <pc:spChg chg="add del mod">
          <ac:chgData name="Steiner Andreas 6206 ED" userId="e6377c33-a923-4f14-8587-531c474c7b48" providerId="ADAL" clId="{6ECD27E6-B224-41CD-B4E0-E297462320DD}" dt="2023-11-24T08:38:11.638" v="32482"/>
          <ac:spMkLst>
            <pc:docMk/>
            <pc:sldMk cId="3256052264" sldId="2147478569"/>
            <ac:spMk id="219" creationId="{8EEB1AA4-8233-A87D-68E4-BE0E74EF606A}"/>
          </ac:spMkLst>
        </pc:spChg>
        <pc:spChg chg="add del mod">
          <ac:chgData name="Steiner Andreas 6206 ED" userId="e6377c33-a923-4f14-8587-531c474c7b48" providerId="ADAL" clId="{6ECD27E6-B224-41CD-B4E0-E297462320DD}" dt="2023-11-24T08:38:14.305" v="32637"/>
          <ac:spMkLst>
            <pc:docMk/>
            <pc:sldMk cId="3256052264" sldId="2147478569"/>
            <ac:spMk id="220" creationId="{5C54ED05-801D-ED3D-CB43-427E3DEB3FE6}"/>
          </ac:spMkLst>
        </pc:spChg>
        <pc:spChg chg="add del mod">
          <ac:chgData name="Steiner Andreas 6206 ED" userId="e6377c33-a923-4f14-8587-531c474c7b48" providerId="ADAL" clId="{6ECD27E6-B224-41CD-B4E0-E297462320DD}" dt="2023-11-24T08:38:16.958" v="32792"/>
          <ac:spMkLst>
            <pc:docMk/>
            <pc:sldMk cId="3256052264" sldId="2147478569"/>
            <ac:spMk id="221" creationId="{B09FACD3-DF31-819C-D779-9B76576FC3CE}"/>
          </ac:spMkLst>
        </pc:spChg>
        <pc:spChg chg="add del mod">
          <ac:chgData name="Steiner Andreas 6206 ED" userId="e6377c33-a923-4f14-8587-531c474c7b48" providerId="ADAL" clId="{6ECD27E6-B224-41CD-B4E0-E297462320DD}" dt="2023-11-24T08:38:19.990" v="32947"/>
          <ac:spMkLst>
            <pc:docMk/>
            <pc:sldMk cId="3256052264" sldId="2147478569"/>
            <ac:spMk id="222" creationId="{7E88CE33-E420-D380-10EE-20430C8E92CB}"/>
          </ac:spMkLst>
        </pc:spChg>
        <pc:spChg chg="add del mod">
          <ac:chgData name="Steiner Andreas 6206 ED" userId="e6377c33-a923-4f14-8587-531c474c7b48" providerId="ADAL" clId="{6ECD27E6-B224-41CD-B4E0-E297462320DD}" dt="2023-11-24T08:38:22.804" v="33102"/>
          <ac:spMkLst>
            <pc:docMk/>
            <pc:sldMk cId="3256052264" sldId="2147478569"/>
            <ac:spMk id="223" creationId="{E2353A97-0DD4-A4B8-8DBA-3A242F69204C}"/>
          </ac:spMkLst>
        </pc:spChg>
        <pc:spChg chg="add del mod">
          <ac:chgData name="Steiner Andreas 6206 ED" userId="e6377c33-a923-4f14-8587-531c474c7b48" providerId="ADAL" clId="{6ECD27E6-B224-41CD-B4E0-E297462320DD}" dt="2023-11-24T08:38:25.606" v="33257"/>
          <ac:spMkLst>
            <pc:docMk/>
            <pc:sldMk cId="3256052264" sldId="2147478569"/>
            <ac:spMk id="224" creationId="{70E80801-C58F-C44F-FB40-F7C6319FFAFB}"/>
          </ac:spMkLst>
        </pc:spChg>
        <pc:spChg chg="add del mod">
          <ac:chgData name="Steiner Andreas 6206 ED" userId="e6377c33-a923-4f14-8587-531c474c7b48" providerId="ADAL" clId="{6ECD27E6-B224-41CD-B4E0-E297462320DD}" dt="2023-11-24T08:38:29.158" v="33412"/>
          <ac:spMkLst>
            <pc:docMk/>
            <pc:sldMk cId="3256052264" sldId="2147478569"/>
            <ac:spMk id="225" creationId="{29F80C87-46F9-0C3D-2874-4E65007B533A}"/>
          </ac:spMkLst>
        </pc:spChg>
        <pc:spChg chg="add del mod">
          <ac:chgData name="Steiner Andreas 6206 ED" userId="e6377c33-a923-4f14-8587-531c474c7b48" providerId="ADAL" clId="{6ECD27E6-B224-41CD-B4E0-E297462320DD}" dt="2023-11-24T08:38:32.323" v="33567"/>
          <ac:spMkLst>
            <pc:docMk/>
            <pc:sldMk cId="3256052264" sldId="2147478569"/>
            <ac:spMk id="226" creationId="{82C4A9EA-6090-0C4B-16B8-60AADE8337FE}"/>
          </ac:spMkLst>
        </pc:spChg>
        <pc:spChg chg="add del mod">
          <ac:chgData name="Steiner Andreas 6206 ED" userId="e6377c33-a923-4f14-8587-531c474c7b48" providerId="ADAL" clId="{6ECD27E6-B224-41CD-B4E0-E297462320DD}" dt="2023-11-24T08:38:35.070" v="33722"/>
          <ac:spMkLst>
            <pc:docMk/>
            <pc:sldMk cId="3256052264" sldId="2147478569"/>
            <ac:spMk id="227" creationId="{C771EFE2-6221-6316-5B2A-281B04A45842}"/>
          </ac:spMkLst>
        </pc:spChg>
        <pc:spChg chg="add del mod">
          <ac:chgData name="Steiner Andreas 6206 ED" userId="e6377c33-a923-4f14-8587-531c474c7b48" providerId="ADAL" clId="{6ECD27E6-B224-41CD-B4E0-E297462320DD}" dt="2023-11-24T08:38:37.717" v="33877"/>
          <ac:spMkLst>
            <pc:docMk/>
            <pc:sldMk cId="3256052264" sldId="2147478569"/>
            <ac:spMk id="228" creationId="{D6B28F9F-DACD-8936-B168-7C2D7EC70A22}"/>
          </ac:spMkLst>
        </pc:spChg>
        <pc:spChg chg="add del mod">
          <ac:chgData name="Steiner Andreas 6206 ED" userId="e6377c33-a923-4f14-8587-531c474c7b48" providerId="ADAL" clId="{6ECD27E6-B224-41CD-B4E0-E297462320DD}" dt="2023-11-24T08:38:40.248" v="34032"/>
          <ac:spMkLst>
            <pc:docMk/>
            <pc:sldMk cId="3256052264" sldId="2147478569"/>
            <ac:spMk id="229" creationId="{25683695-183E-3823-4DC2-0E43114E9FE4}"/>
          </ac:spMkLst>
        </pc:spChg>
        <pc:spChg chg="add del mod">
          <ac:chgData name="Steiner Andreas 6206 ED" userId="e6377c33-a923-4f14-8587-531c474c7b48" providerId="ADAL" clId="{6ECD27E6-B224-41CD-B4E0-E297462320DD}" dt="2023-11-24T08:38:42.727" v="34187"/>
          <ac:spMkLst>
            <pc:docMk/>
            <pc:sldMk cId="3256052264" sldId="2147478569"/>
            <ac:spMk id="230" creationId="{B00910E9-F11D-B01F-D6E3-D4D90C6CCA6C}"/>
          </ac:spMkLst>
        </pc:spChg>
        <pc:spChg chg="add del mod">
          <ac:chgData name="Steiner Andreas 6206 ED" userId="e6377c33-a923-4f14-8587-531c474c7b48" providerId="ADAL" clId="{6ECD27E6-B224-41CD-B4E0-E297462320DD}" dt="2023-11-24T08:38:46.774" v="34342"/>
          <ac:spMkLst>
            <pc:docMk/>
            <pc:sldMk cId="3256052264" sldId="2147478569"/>
            <ac:spMk id="231" creationId="{4A6A5FAD-7B5C-02BF-9D99-31E90A839975}"/>
          </ac:spMkLst>
        </pc:spChg>
        <pc:spChg chg="add del mod">
          <ac:chgData name="Steiner Andreas 6206 ED" userId="e6377c33-a923-4f14-8587-531c474c7b48" providerId="ADAL" clId="{6ECD27E6-B224-41CD-B4E0-E297462320DD}" dt="2023-11-24T08:38:49.496" v="34497"/>
          <ac:spMkLst>
            <pc:docMk/>
            <pc:sldMk cId="3256052264" sldId="2147478569"/>
            <ac:spMk id="232" creationId="{92348722-520C-FB60-C3D9-66C352E8CA46}"/>
          </ac:spMkLst>
        </pc:spChg>
        <pc:spChg chg="add del mod">
          <ac:chgData name="Steiner Andreas 6206 ED" userId="e6377c33-a923-4f14-8587-531c474c7b48" providerId="ADAL" clId="{6ECD27E6-B224-41CD-B4E0-E297462320DD}" dt="2023-11-24T08:38:52.265" v="34652"/>
          <ac:spMkLst>
            <pc:docMk/>
            <pc:sldMk cId="3256052264" sldId="2147478569"/>
            <ac:spMk id="233" creationId="{08B30544-BAC8-FABB-7EEB-75842928D9A0}"/>
          </ac:spMkLst>
        </pc:spChg>
        <pc:spChg chg="add del mod">
          <ac:chgData name="Steiner Andreas 6206 ED" userId="e6377c33-a923-4f14-8587-531c474c7b48" providerId="ADAL" clId="{6ECD27E6-B224-41CD-B4E0-E297462320DD}" dt="2023-11-24T08:38:55.261" v="34807"/>
          <ac:spMkLst>
            <pc:docMk/>
            <pc:sldMk cId="3256052264" sldId="2147478569"/>
            <ac:spMk id="234" creationId="{1A20B8B8-68BD-DB95-9F0A-0A15D7786FF3}"/>
          </ac:spMkLst>
        </pc:spChg>
        <pc:spChg chg="add del mod">
          <ac:chgData name="Steiner Andreas 6206 ED" userId="e6377c33-a923-4f14-8587-531c474c7b48" providerId="ADAL" clId="{6ECD27E6-B224-41CD-B4E0-E297462320DD}" dt="2023-11-24T08:38:58.434" v="34962"/>
          <ac:spMkLst>
            <pc:docMk/>
            <pc:sldMk cId="3256052264" sldId="2147478569"/>
            <ac:spMk id="235" creationId="{F6C13463-E76F-ECB0-0D90-87857B521CB2}"/>
          </ac:spMkLst>
        </pc:spChg>
        <pc:spChg chg="add del mod">
          <ac:chgData name="Steiner Andreas 6206 ED" userId="e6377c33-a923-4f14-8587-531c474c7b48" providerId="ADAL" clId="{6ECD27E6-B224-41CD-B4E0-E297462320DD}" dt="2023-11-24T08:39:01.864" v="35117"/>
          <ac:spMkLst>
            <pc:docMk/>
            <pc:sldMk cId="3256052264" sldId="2147478569"/>
            <ac:spMk id="236" creationId="{AEFFA305-E175-BD9D-4078-DC8C80D56286}"/>
          </ac:spMkLst>
        </pc:spChg>
        <pc:spChg chg="add del mod">
          <ac:chgData name="Steiner Andreas 6206 ED" userId="e6377c33-a923-4f14-8587-531c474c7b48" providerId="ADAL" clId="{6ECD27E6-B224-41CD-B4E0-E297462320DD}" dt="2023-11-24T08:39:05.105" v="35272"/>
          <ac:spMkLst>
            <pc:docMk/>
            <pc:sldMk cId="3256052264" sldId="2147478569"/>
            <ac:spMk id="237" creationId="{89C6B6EA-63BA-F730-F29E-D3D88572757D}"/>
          </ac:spMkLst>
        </pc:spChg>
        <pc:spChg chg="add del mod">
          <ac:chgData name="Steiner Andreas 6206 ED" userId="e6377c33-a923-4f14-8587-531c474c7b48" providerId="ADAL" clId="{6ECD27E6-B224-41CD-B4E0-E297462320DD}" dt="2023-11-24T08:39:07.950" v="35427"/>
          <ac:spMkLst>
            <pc:docMk/>
            <pc:sldMk cId="3256052264" sldId="2147478569"/>
            <ac:spMk id="238" creationId="{54319EDA-7020-2254-5E71-9BC780FA4EA0}"/>
          </ac:spMkLst>
        </pc:spChg>
        <pc:spChg chg="add del mod">
          <ac:chgData name="Steiner Andreas 6206 ED" userId="e6377c33-a923-4f14-8587-531c474c7b48" providerId="ADAL" clId="{6ECD27E6-B224-41CD-B4E0-E297462320DD}" dt="2023-11-24T08:39:12.631" v="35582"/>
          <ac:spMkLst>
            <pc:docMk/>
            <pc:sldMk cId="3256052264" sldId="2147478569"/>
            <ac:spMk id="239" creationId="{1BA7ADF8-F5BD-0E39-3D2B-A8363262D579}"/>
          </ac:spMkLst>
        </pc:spChg>
        <pc:spChg chg="add del mod">
          <ac:chgData name="Steiner Andreas 6206 ED" userId="e6377c33-a923-4f14-8587-531c474c7b48" providerId="ADAL" clId="{6ECD27E6-B224-41CD-B4E0-E297462320DD}" dt="2023-11-24T08:39:15.323" v="35737"/>
          <ac:spMkLst>
            <pc:docMk/>
            <pc:sldMk cId="3256052264" sldId="2147478569"/>
            <ac:spMk id="240" creationId="{5796B039-668D-56A3-85E0-857C926919F5}"/>
          </ac:spMkLst>
        </pc:spChg>
        <pc:spChg chg="add del mod">
          <ac:chgData name="Steiner Andreas 6206 ED" userId="e6377c33-a923-4f14-8587-531c474c7b48" providerId="ADAL" clId="{6ECD27E6-B224-41CD-B4E0-E297462320DD}" dt="2023-11-24T08:39:17.900" v="35892"/>
          <ac:spMkLst>
            <pc:docMk/>
            <pc:sldMk cId="3256052264" sldId="2147478569"/>
            <ac:spMk id="241" creationId="{12A94AF2-BBC6-4CA1-77D2-C8FB93ED2A64}"/>
          </ac:spMkLst>
        </pc:spChg>
        <pc:spChg chg="add del mod">
          <ac:chgData name="Steiner Andreas 6206 ED" userId="e6377c33-a923-4f14-8587-531c474c7b48" providerId="ADAL" clId="{6ECD27E6-B224-41CD-B4E0-E297462320DD}" dt="2023-11-24T08:39:20.578" v="36047"/>
          <ac:spMkLst>
            <pc:docMk/>
            <pc:sldMk cId="3256052264" sldId="2147478569"/>
            <ac:spMk id="242" creationId="{914F9297-864B-C75F-F0F2-0B732FE1D05E}"/>
          </ac:spMkLst>
        </pc:spChg>
        <pc:spChg chg="add del mod">
          <ac:chgData name="Steiner Andreas 6206 ED" userId="e6377c33-a923-4f14-8587-531c474c7b48" providerId="ADAL" clId="{6ECD27E6-B224-41CD-B4E0-E297462320DD}" dt="2023-11-24T08:39:23.749" v="36202"/>
          <ac:spMkLst>
            <pc:docMk/>
            <pc:sldMk cId="3256052264" sldId="2147478569"/>
            <ac:spMk id="243" creationId="{AC1DA50B-4014-D074-F877-D27EC042DCE4}"/>
          </ac:spMkLst>
        </pc:spChg>
        <pc:spChg chg="add del mod">
          <ac:chgData name="Steiner Andreas 6206 ED" userId="e6377c33-a923-4f14-8587-531c474c7b48" providerId="ADAL" clId="{6ECD27E6-B224-41CD-B4E0-E297462320DD}" dt="2023-11-24T08:39:26.494" v="36357"/>
          <ac:spMkLst>
            <pc:docMk/>
            <pc:sldMk cId="3256052264" sldId="2147478569"/>
            <ac:spMk id="244" creationId="{F3D421B2-9D33-96F4-9647-8BAF92A8E076}"/>
          </ac:spMkLst>
        </pc:spChg>
        <pc:spChg chg="add del mod">
          <ac:chgData name="Steiner Andreas 6206 ED" userId="e6377c33-a923-4f14-8587-531c474c7b48" providerId="ADAL" clId="{6ECD27E6-B224-41CD-B4E0-E297462320DD}" dt="2023-11-24T08:39:29.234" v="36512"/>
          <ac:spMkLst>
            <pc:docMk/>
            <pc:sldMk cId="3256052264" sldId="2147478569"/>
            <ac:spMk id="245" creationId="{D7F7AE38-A037-FCDD-1F8F-FB5CDB38D094}"/>
          </ac:spMkLst>
        </pc:spChg>
        <pc:spChg chg="add del mod">
          <ac:chgData name="Steiner Andreas 6206 ED" userId="e6377c33-a923-4f14-8587-531c474c7b48" providerId="ADAL" clId="{6ECD27E6-B224-41CD-B4E0-E297462320DD}" dt="2023-11-24T08:39:31.812" v="36667"/>
          <ac:spMkLst>
            <pc:docMk/>
            <pc:sldMk cId="3256052264" sldId="2147478569"/>
            <ac:spMk id="246" creationId="{B5E0BB59-4286-73C3-02C5-46FF08251500}"/>
          </ac:spMkLst>
        </pc:spChg>
        <pc:spChg chg="add del mod">
          <ac:chgData name="Steiner Andreas 6206 ED" userId="e6377c33-a923-4f14-8587-531c474c7b48" providerId="ADAL" clId="{6ECD27E6-B224-41CD-B4E0-E297462320DD}" dt="2023-11-24T08:39:34.328" v="36822"/>
          <ac:spMkLst>
            <pc:docMk/>
            <pc:sldMk cId="3256052264" sldId="2147478569"/>
            <ac:spMk id="247" creationId="{CED6C0C8-3045-CFAC-66E9-D868D4255564}"/>
          </ac:spMkLst>
        </pc:spChg>
        <pc:spChg chg="add del mod">
          <ac:chgData name="Steiner Andreas 6206 ED" userId="e6377c33-a923-4f14-8587-531c474c7b48" providerId="ADAL" clId="{6ECD27E6-B224-41CD-B4E0-E297462320DD}" dt="2023-11-24T08:39:37.227" v="36977"/>
          <ac:spMkLst>
            <pc:docMk/>
            <pc:sldMk cId="3256052264" sldId="2147478569"/>
            <ac:spMk id="248" creationId="{02999D06-7F04-8675-5BFD-FBEC00461814}"/>
          </ac:spMkLst>
        </pc:spChg>
        <pc:spChg chg="add del mod">
          <ac:chgData name="Steiner Andreas 6206 ED" userId="e6377c33-a923-4f14-8587-531c474c7b48" providerId="ADAL" clId="{6ECD27E6-B224-41CD-B4E0-E297462320DD}" dt="2023-11-24T08:39:39.848" v="37132"/>
          <ac:spMkLst>
            <pc:docMk/>
            <pc:sldMk cId="3256052264" sldId="2147478569"/>
            <ac:spMk id="249" creationId="{0E310508-7636-FB59-E906-259DC8E6F59E}"/>
          </ac:spMkLst>
        </pc:spChg>
        <pc:spChg chg="add del mod">
          <ac:chgData name="Steiner Andreas 6206 ED" userId="e6377c33-a923-4f14-8587-531c474c7b48" providerId="ADAL" clId="{6ECD27E6-B224-41CD-B4E0-E297462320DD}" dt="2023-11-24T08:39:42.355" v="37287"/>
          <ac:spMkLst>
            <pc:docMk/>
            <pc:sldMk cId="3256052264" sldId="2147478569"/>
            <ac:spMk id="250" creationId="{7A64B146-15E8-F359-53F3-3037068A3D0D}"/>
          </ac:spMkLst>
        </pc:spChg>
        <pc:spChg chg="add del mod">
          <ac:chgData name="Steiner Andreas 6206 ED" userId="e6377c33-a923-4f14-8587-531c474c7b48" providerId="ADAL" clId="{6ECD27E6-B224-41CD-B4E0-E297462320DD}" dt="2023-11-24T08:39:44.884" v="37442"/>
          <ac:spMkLst>
            <pc:docMk/>
            <pc:sldMk cId="3256052264" sldId="2147478569"/>
            <ac:spMk id="251" creationId="{3DE04DDE-E128-9FB4-AF7B-FD4005B98F0D}"/>
          </ac:spMkLst>
        </pc:spChg>
        <pc:spChg chg="add del mod">
          <ac:chgData name="Steiner Andreas 6206 ED" userId="e6377c33-a923-4f14-8587-531c474c7b48" providerId="ADAL" clId="{6ECD27E6-B224-41CD-B4E0-E297462320DD}" dt="2023-11-24T08:39:47.823" v="37597"/>
          <ac:spMkLst>
            <pc:docMk/>
            <pc:sldMk cId="3256052264" sldId="2147478569"/>
            <ac:spMk id="252" creationId="{27D465AD-EE83-82D1-2D1D-C8225564F8DB}"/>
          </ac:spMkLst>
        </pc:spChg>
        <pc:spChg chg="add del mod">
          <ac:chgData name="Steiner Andreas 6206 ED" userId="e6377c33-a923-4f14-8587-531c474c7b48" providerId="ADAL" clId="{6ECD27E6-B224-41CD-B4E0-E297462320DD}" dt="2023-11-24T08:39:50.598" v="37752"/>
          <ac:spMkLst>
            <pc:docMk/>
            <pc:sldMk cId="3256052264" sldId="2147478569"/>
            <ac:spMk id="253" creationId="{5A4358A4-49F8-BA1C-93D3-FE4AEDFE417A}"/>
          </ac:spMkLst>
        </pc:spChg>
        <pc:spChg chg="add del mod">
          <ac:chgData name="Steiner Andreas 6206 ED" userId="e6377c33-a923-4f14-8587-531c474c7b48" providerId="ADAL" clId="{6ECD27E6-B224-41CD-B4E0-E297462320DD}" dt="2023-11-24T08:39:53.216" v="37907"/>
          <ac:spMkLst>
            <pc:docMk/>
            <pc:sldMk cId="3256052264" sldId="2147478569"/>
            <ac:spMk id="254" creationId="{40358965-4ED3-5372-27D4-1EEEA26068D7}"/>
          </ac:spMkLst>
        </pc:spChg>
        <pc:spChg chg="add del mod">
          <ac:chgData name="Steiner Andreas 6206 ED" userId="e6377c33-a923-4f14-8587-531c474c7b48" providerId="ADAL" clId="{6ECD27E6-B224-41CD-B4E0-E297462320DD}" dt="2023-11-24T08:39:56.167" v="38062"/>
          <ac:spMkLst>
            <pc:docMk/>
            <pc:sldMk cId="3256052264" sldId="2147478569"/>
            <ac:spMk id="255" creationId="{96F0B17F-1F07-9AEA-9ECA-1B14BAA5C7B1}"/>
          </ac:spMkLst>
        </pc:spChg>
        <pc:spChg chg="add del mod">
          <ac:chgData name="Steiner Andreas 6206 ED" userId="e6377c33-a923-4f14-8587-531c474c7b48" providerId="ADAL" clId="{6ECD27E6-B224-41CD-B4E0-E297462320DD}" dt="2023-11-24T08:39:59.280" v="38217"/>
          <ac:spMkLst>
            <pc:docMk/>
            <pc:sldMk cId="3256052264" sldId="2147478569"/>
            <ac:spMk id="256" creationId="{63041274-B0DF-6FDB-328A-0A82DE774E6E}"/>
          </ac:spMkLst>
        </pc:spChg>
        <pc:spChg chg="add del mod">
          <ac:chgData name="Steiner Andreas 6206 ED" userId="e6377c33-a923-4f14-8587-531c474c7b48" providerId="ADAL" clId="{6ECD27E6-B224-41CD-B4E0-E297462320DD}" dt="2023-11-24T08:40:02.671" v="38372"/>
          <ac:spMkLst>
            <pc:docMk/>
            <pc:sldMk cId="3256052264" sldId="2147478569"/>
            <ac:spMk id="257" creationId="{C87B4E59-50BB-141A-08AE-1653642C777D}"/>
          </ac:spMkLst>
        </pc:spChg>
        <pc:spChg chg="add del mod">
          <ac:chgData name="Steiner Andreas 6206 ED" userId="e6377c33-a923-4f14-8587-531c474c7b48" providerId="ADAL" clId="{6ECD27E6-B224-41CD-B4E0-E297462320DD}" dt="2023-11-24T08:40:05.428" v="38527"/>
          <ac:spMkLst>
            <pc:docMk/>
            <pc:sldMk cId="3256052264" sldId="2147478569"/>
            <ac:spMk id="258" creationId="{FB04AB58-CA2A-D0B0-3C31-E43D24F15D29}"/>
          </ac:spMkLst>
        </pc:spChg>
        <pc:spChg chg="add del mod">
          <ac:chgData name="Steiner Andreas 6206 ED" userId="e6377c33-a923-4f14-8587-531c474c7b48" providerId="ADAL" clId="{6ECD27E6-B224-41CD-B4E0-E297462320DD}" dt="2023-11-24T08:40:07.946" v="38682"/>
          <ac:spMkLst>
            <pc:docMk/>
            <pc:sldMk cId="3256052264" sldId="2147478569"/>
            <ac:spMk id="259" creationId="{505D59B0-6A3B-FAA6-58CD-411589A290D8}"/>
          </ac:spMkLst>
        </pc:spChg>
        <pc:spChg chg="add del mod">
          <ac:chgData name="Steiner Andreas 6206 ED" userId="e6377c33-a923-4f14-8587-531c474c7b48" providerId="ADAL" clId="{6ECD27E6-B224-41CD-B4E0-E297462320DD}" dt="2023-11-24T08:40:10.669" v="38837"/>
          <ac:spMkLst>
            <pc:docMk/>
            <pc:sldMk cId="3256052264" sldId="2147478569"/>
            <ac:spMk id="260" creationId="{2A5AEB72-3D3B-1310-2C84-582739D61337}"/>
          </ac:spMkLst>
        </pc:spChg>
        <pc:spChg chg="add del mod">
          <ac:chgData name="Steiner Andreas 6206 ED" userId="e6377c33-a923-4f14-8587-531c474c7b48" providerId="ADAL" clId="{6ECD27E6-B224-41CD-B4E0-E297462320DD}" dt="2023-11-24T08:40:13.828" v="38992"/>
          <ac:spMkLst>
            <pc:docMk/>
            <pc:sldMk cId="3256052264" sldId="2147478569"/>
            <ac:spMk id="261" creationId="{E3A8403F-2B6E-1CB5-2467-13D0382A9D1A}"/>
          </ac:spMkLst>
        </pc:spChg>
        <pc:spChg chg="add del mod">
          <ac:chgData name="Steiner Andreas 6206 ED" userId="e6377c33-a923-4f14-8587-531c474c7b48" providerId="ADAL" clId="{6ECD27E6-B224-41CD-B4E0-E297462320DD}" dt="2023-11-24T08:40:16.537" v="39147"/>
          <ac:spMkLst>
            <pc:docMk/>
            <pc:sldMk cId="3256052264" sldId="2147478569"/>
            <ac:spMk id="262" creationId="{FD51318B-5B64-C6B0-A965-4D246E4E628D}"/>
          </ac:spMkLst>
        </pc:spChg>
        <pc:spChg chg="add del mod">
          <ac:chgData name="Steiner Andreas 6206 ED" userId="e6377c33-a923-4f14-8587-531c474c7b48" providerId="ADAL" clId="{6ECD27E6-B224-41CD-B4E0-E297462320DD}" dt="2023-11-24T08:40:19.058" v="39302"/>
          <ac:spMkLst>
            <pc:docMk/>
            <pc:sldMk cId="3256052264" sldId="2147478569"/>
            <ac:spMk id="263" creationId="{BCFC4EE5-D80A-9323-857E-1032DE81DF20}"/>
          </ac:spMkLst>
        </pc:spChg>
        <pc:spChg chg="add del mod">
          <ac:chgData name="Steiner Andreas 6206 ED" userId="e6377c33-a923-4f14-8587-531c474c7b48" providerId="ADAL" clId="{6ECD27E6-B224-41CD-B4E0-E297462320DD}" dt="2023-11-24T08:40:21.473" v="39457"/>
          <ac:spMkLst>
            <pc:docMk/>
            <pc:sldMk cId="3256052264" sldId="2147478569"/>
            <ac:spMk id="264" creationId="{339CFF9E-8F0F-2891-E37C-51B81DE02523}"/>
          </ac:spMkLst>
        </pc:spChg>
        <pc:spChg chg="add del mod">
          <ac:chgData name="Steiner Andreas 6206 ED" userId="e6377c33-a923-4f14-8587-531c474c7b48" providerId="ADAL" clId="{6ECD27E6-B224-41CD-B4E0-E297462320DD}" dt="2023-11-24T08:40:24.107" v="39612"/>
          <ac:spMkLst>
            <pc:docMk/>
            <pc:sldMk cId="3256052264" sldId="2147478569"/>
            <ac:spMk id="265" creationId="{EA06AD98-E591-AF2A-AED9-78DAB7B7AF9C}"/>
          </ac:spMkLst>
        </pc:spChg>
        <pc:spChg chg="add del mod">
          <ac:chgData name="Steiner Andreas 6206 ED" userId="e6377c33-a923-4f14-8587-531c474c7b48" providerId="ADAL" clId="{6ECD27E6-B224-41CD-B4E0-E297462320DD}" dt="2023-11-24T08:40:27.070" v="39767"/>
          <ac:spMkLst>
            <pc:docMk/>
            <pc:sldMk cId="3256052264" sldId="2147478569"/>
            <ac:spMk id="266" creationId="{2350074B-EF3B-7440-81E7-616DA2CD7059}"/>
          </ac:spMkLst>
        </pc:spChg>
        <pc:spChg chg="add del mod">
          <ac:chgData name="Steiner Andreas 6206 ED" userId="e6377c33-a923-4f14-8587-531c474c7b48" providerId="ADAL" clId="{6ECD27E6-B224-41CD-B4E0-E297462320DD}" dt="2023-11-24T08:40:29.713" v="39922"/>
          <ac:spMkLst>
            <pc:docMk/>
            <pc:sldMk cId="3256052264" sldId="2147478569"/>
            <ac:spMk id="267" creationId="{4B444B7B-DF3A-65DC-DD89-3337DD2D2D1D}"/>
          </ac:spMkLst>
        </pc:spChg>
        <pc:spChg chg="add del mod">
          <ac:chgData name="Steiner Andreas 6206 ED" userId="e6377c33-a923-4f14-8587-531c474c7b48" providerId="ADAL" clId="{6ECD27E6-B224-41CD-B4E0-E297462320DD}" dt="2023-11-24T08:40:32.237" v="40077"/>
          <ac:spMkLst>
            <pc:docMk/>
            <pc:sldMk cId="3256052264" sldId="2147478569"/>
            <ac:spMk id="268" creationId="{E9B36813-425F-2010-A6EB-BE63794AE14E}"/>
          </ac:spMkLst>
        </pc:spChg>
        <pc:spChg chg="add del mod">
          <ac:chgData name="Steiner Andreas 6206 ED" userId="e6377c33-a923-4f14-8587-531c474c7b48" providerId="ADAL" clId="{6ECD27E6-B224-41CD-B4E0-E297462320DD}" dt="2023-11-24T08:40:34.865" v="40232"/>
          <ac:spMkLst>
            <pc:docMk/>
            <pc:sldMk cId="3256052264" sldId="2147478569"/>
            <ac:spMk id="269" creationId="{3651281F-942D-D0CD-DA1D-C975E407DCD6}"/>
          </ac:spMkLst>
        </pc:spChg>
        <pc:spChg chg="add del mod">
          <ac:chgData name="Steiner Andreas 6206 ED" userId="e6377c33-a923-4f14-8587-531c474c7b48" providerId="ADAL" clId="{6ECD27E6-B224-41CD-B4E0-E297462320DD}" dt="2023-11-24T08:40:38.273" v="40387"/>
          <ac:spMkLst>
            <pc:docMk/>
            <pc:sldMk cId="3256052264" sldId="2147478569"/>
            <ac:spMk id="270" creationId="{3734B89A-4BAC-10A7-BF06-A8E01F8DEDE4}"/>
          </ac:spMkLst>
        </pc:spChg>
        <pc:spChg chg="add del mod">
          <ac:chgData name="Steiner Andreas 6206 ED" userId="e6377c33-a923-4f14-8587-531c474c7b48" providerId="ADAL" clId="{6ECD27E6-B224-41CD-B4E0-E297462320DD}" dt="2023-11-24T08:40:40.952" v="40542"/>
          <ac:spMkLst>
            <pc:docMk/>
            <pc:sldMk cId="3256052264" sldId="2147478569"/>
            <ac:spMk id="271" creationId="{6AE9B7BA-DF95-2FD7-8EAF-C03B08167AF6}"/>
          </ac:spMkLst>
        </pc:spChg>
        <pc:spChg chg="add del mod">
          <ac:chgData name="Steiner Andreas 6206 ED" userId="e6377c33-a923-4f14-8587-531c474c7b48" providerId="ADAL" clId="{6ECD27E6-B224-41CD-B4E0-E297462320DD}" dt="2023-11-24T08:40:43.769" v="40697"/>
          <ac:spMkLst>
            <pc:docMk/>
            <pc:sldMk cId="3256052264" sldId="2147478569"/>
            <ac:spMk id="272" creationId="{E8CDB529-6808-4CBD-6FA7-240E6E6DF06D}"/>
          </ac:spMkLst>
        </pc:spChg>
        <pc:spChg chg="add del mod">
          <ac:chgData name="Steiner Andreas 6206 ED" userId="e6377c33-a923-4f14-8587-531c474c7b48" providerId="ADAL" clId="{6ECD27E6-B224-41CD-B4E0-E297462320DD}" dt="2023-11-24T08:40:46.214" v="40852"/>
          <ac:spMkLst>
            <pc:docMk/>
            <pc:sldMk cId="3256052264" sldId="2147478569"/>
            <ac:spMk id="273" creationId="{709D0144-B13B-5651-8EDE-FCB151F847B4}"/>
          </ac:spMkLst>
        </pc:spChg>
        <pc:spChg chg="add del mod">
          <ac:chgData name="Steiner Andreas 6206 ED" userId="e6377c33-a923-4f14-8587-531c474c7b48" providerId="ADAL" clId="{6ECD27E6-B224-41CD-B4E0-E297462320DD}" dt="2023-11-24T08:40:48.997" v="41007"/>
          <ac:spMkLst>
            <pc:docMk/>
            <pc:sldMk cId="3256052264" sldId="2147478569"/>
            <ac:spMk id="274" creationId="{8AFD792F-EA8F-DABB-9818-419399C5EDEA}"/>
          </ac:spMkLst>
        </pc:spChg>
        <pc:spChg chg="add del mod">
          <ac:chgData name="Steiner Andreas 6206 ED" userId="e6377c33-a923-4f14-8587-531c474c7b48" providerId="ADAL" clId="{6ECD27E6-B224-41CD-B4E0-E297462320DD}" dt="2023-11-24T08:40:51.868" v="41162"/>
          <ac:spMkLst>
            <pc:docMk/>
            <pc:sldMk cId="3256052264" sldId="2147478569"/>
            <ac:spMk id="275" creationId="{C800B274-AB2D-2CF7-37D7-403B966BE434}"/>
          </ac:spMkLst>
        </pc:spChg>
        <pc:spChg chg="add del mod">
          <ac:chgData name="Steiner Andreas 6206 ED" userId="e6377c33-a923-4f14-8587-531c474c7b48" providerId="ADAL" clId="{6ECD27E6-B224-41CD-B4E0-E297462320DD}" dt="2023-11-24T08:40:54.393" v="41317"/>
          <ac:spMkLst>
            <pc:docMk/>
            <pc:sldMk cId="3256052264" sldId="2147478569"/>
            <ac:spMk id="276" creationId="{47C85032-AF8A-B34C-1B86-B5D5C77C92B7}"/>
          </ac:spMkLst>
        </pc:spChg>
        <pc:spChg chg="add del mod">
          <ac:chgData name="Steiner Andreas 6206 ED" userId="e6377c33-a923-4f14-8587-531c474c7b48" providerId="ADAL" clId="{6ECD27E6-B224-41CD-B4E0-E297462320DD}" dt="2023-11-24T08:40:56.857" v="41472"/>
          <ac:spMkLst>
            <pc:docMk/>
            <pc:sldMk cId="3256052264" sldId="2147478569"/>
            <ac:spMk id="277" creationId="{14C454A3-C986-0C50-B4D3-B1767D8E492B}"/>
          </ac:spMkLst>
        </pc:spChg>
        <pc:spChg chg="add del mod">
          <ac:chgData name="Steiner Andreas 6206 ED" userId="e6377c33-a923-4f14-8587-531c474c7b48" providerId="ADAL" clId="{6ECD27E6-B224-41CD-B4E0-E297462320DD}" dt="2023-11-24T08:40:59.560" v="41627"/>
          <ac:spMkLst>
            <pc:docMk/>
            <pc:sldMk cId="3256052264" sldId="2147478569"/>
            <ac:spMk id="278" creationId="{60C390BD-AFCE-D402-98D7-DA67F473475E}"/>
          </ac:spMkLst>
        </pc:spChg>
        <pc:spChg chg="add del mod">
          <ac:chgData name="Steiner Andreas 6206 ED" userId="e6377c33-a923-4f14-8587-531c474c7b48" providerId="ADAL" clId="{6ECD27E6-B224-41CD-B4E0-E297462320DD}" dt="2023-11-24T08:41:02.538" v="41782"/>
          <ac:spMkLst>
            <pc:docMk/>
            <pc:sldMk cId="3256052264" sldId="2147478569"/>
            <ac:spMk id="279" creationId="{39478086-07B1-8FF5-3AEF-34583C4F45F7}"/>
          </ac:spMkLst>
        </pc:spChg>
        <pc:spChg chg="add del mod">
          <ac:chgData name="Steiner Andreas 6206 ED" userId="e6377c33-a923-4f14-8587-531c474c7b48" providerId="ADAL" clId="{6ECD27E6-B224-41CD-B4E0-E297462320DD}" dt="2023-11-24T08:41:05.272" v="41937"/>
          <ac:spMkLst>
            <pc:docMk/>
            <pc:sldMk cId="3256052264" sldId="2147478569"/>
            <ac:spMk id="280" creationId="{E9C91D49-CE5D-386F-F27C-C5E777D02F4F}"/>
          </ac:spMkLst>
        </pc:spChg>
        <pc:spChg chg="add del mod">
          <ac:chgData name="Steiner Andreas 6206 ED" userId="e6377c33-a923-4f14-8587-531c474c7b48" providerId="ADAL" clId="{6ECD27E6-B224-41CD-B4E0-E297462320DD}" dt="2023-11-24T08:41:08.557" v="42092"/>
          <ac:spMkLst>
            <pc:docMk/>
            <pc:sldMk cId="3256052264" sldId="2147478569"/>
            <ac:spMk id="281" creationId="{88894395-7354-9ECE-A953-AA4F085E0D83}"/>
          </ac:spMkLst>
        </pc:spChg>
        <pc:spChg chg="add del mod">
          <ac:chgData name="Steiner Andreas 6206 ED" userId="e6377c33-a923-4f14-8587-531c474c7b48" providerId="ADAL" clId="{6ECD27E6-B224-41CD-B4E0-E297462320DD}" dt="2023-11-24T08:41:12.455" v="42247"/>
          <ac:spMkLst>
            <pc:docMk/>
            <pc:sldMk cId="3256052264" sldId="2147478569"/>
            <ac:spMk id="282" creationId="{C417ECD3-0B17-6A1A-5BCB-FC52C7F49608}"/>
          </ac:spMkLst>
        </pc:spChg>
        <pc:spChg chg="add del mod">
          <ac:chgData name="Steiner Andreas 6206 ED" userId="e6377c33-a923-4f14-8587-531c474c7b48" providerId="ADAL" clId="{6ECD27E6-B224-41CD-B4E0-E297462320DD}" dt="2023-11-24T08:41:15.245" v="42402"/>
          <ac:spMkLst>
            <pc:docMk/>
            <pc:sldMk cId="3256052264" sldId="2147478569"/>
            <ac:spMk id="283" creationId="{A3791581-B118-FCDB-A588-8468D8232800}"/>
          </ac:spMkLst>
        </pc:spChg>
        <pc:spChg chg="add del mod">
          <ac:chgData name="Steiner Andreas 6206 ED" userId="e6377c33-a923-4f14-8587-531c474c7b48" providerId="ADAL" clId="{6ECD27E6-B224-41CD-B4E0-E297462320DD}" dt="2023-11-24T08:41:17.380" v="42557"/>
          <ac:spMkLst>
            <pc:docMk/>
            <pc:sldMk cId="3256052264" sldId="2147478569"/>
            <ac:spMk id="284" creationId="{A618C35D-CA22-E96B-3790-7A019E049056}"/>
          </ac:spMkLst>
        </pc:spChg>
        <pc:spChg chg="add del mod">
          <ac:chgData name="Steiner Andreas 6206 ED" userId="e6377c33-a923-4f14-8587-531c474c7b48" providerId="ADAL" clId="{6ECD27E6-B224-41CD-B4E0-E297462320DD}" dt="2023-11-24T08:41:19.820" v="42712"/>
          <ac:spMkLst>
            <pc:docMk/>
            <pc:sldMk cId="3256052264" sldId="2147478569"/>
            <ac:spMk id="285" creationId="{ABAF1843-9E4D-A4E6-2F97-C5499636A440}"/>
          </ac:spMkLst>
        </pc:spChg>
        <pc:spChg chg="add del mod">
          <ac:chgData name="Steiner Andreas 6206 ED" userId="e6377c33-a923-4f14-8587-531c474c7b48" providerId="ADAL" clId="{6ECD27E6-B224-41CD-B4E0-E297462320DD}" dt="2023-11-24T08:41:22.149" v="42867"/>
          <ac:spMkLst>
            <pc:docMk/>
            <pc:sldMk cId="3256052264" sldId="2147478569"/>
            <ac:spMk id="286" creationId="{EC167500-E176-52B9-72DD-7DBAFA05504E}"/>
          </ac:spMkLst>
        </pc:spChg>
        <pc:spChg chg="add del mod">
          <ac:chgData name="Steiner Andreas 6206 ED" userId="e6377c33-a923-4f14-8587-531c474c7b48" providerId="ADAL" clId="{6ECD27E6-B224-41CD-B4E0-E297462320DD}" dt="2023-11-24T08:41:24.293" v="43022"/>
          <ac:spMkLst>
            <pc:docMk/>
            <pc:sldMk cId="3256052264" sldId="2147478569"/>
            <ac:spMk id="287" creationId="{370C6699-7E15-835A-014B-EBA7E874CF62}"/>
          </ac:spMkLst>
        </pc:spChg>
        <pc:spChg chg="add del mod">
          <ac:chgData name="Steiner Andreas 6206 ED" userId="e6377c33-a923-4f14-8587-531c474c7b48" providerId="ADAL" clId="{6ECD27E6-B224-41CD-B4E0-E297462320DD}" dt="2023-11-24T08:41:26.803" v="43177"/>
          <ac:spMkLst>
            <pc:docMk/>
            <pc:sldMk cId="3256052264" sldId="2147478569"/>
            <ac:spMk id="288" creationId="{D04D7EBA-A17D-09EC-6675-1F88D0568A33}"/>
          </ac:spMkLst>
        </pc:spChg>
        <pc:spChg chg="add del mod">
          <ac:chgData name="Steiner Andreas 6206 ED" userId="e6377c33-a923-4f14-8587-531c474c7b48" providerId="ADAL" clId="{6ECD27E6-B224-41CD-B4E0-E297462320DD}" dt="2023-11-24T08:41:28.945" v="43332"/>
          <ac:spMkLst>
            <pc:docMk/>
            <pc:sldMk cId="3256052264" sldId="2147478569"/>
            <ac:spMk id="289" creationId="{AEAF3ACC-56BD-832D-D2E4-962BA161AAB4}"/>
          </ac:spMkLst>
        </pc:spChg>
        <pc:spChg chg="add del mod">
          <ac:chgData name="Steiner Andreas 6206 ED" userId="e6377c33-a923-4f14-8587-531c474c7b48" providerId="ADAL" clId="{6ECD27E6-B224-41CD-B4E0-E297462320DD}" dt="2023-11-24T08:41:31.157" v="43487"/>
          <ac:spMkLst>
            <pc:docMk/>
            <pc:sldMk cId="3256052264" sldId="2147478569"/>
            <ac:spMk id="290" creationId="{2710A6AE-B00B-CE40-0398-761284185F0A}"/>
          </ac:spMkLst>
        </pc:spChg>
        <pc:spChg chg="add del mod">
          <ac:chgData name="Steiner Andreas 6206 ED" userId="e6377c33-a923-4f14-8587-531c474c7b48" providerId="ADAL" clId="{6ECD27E6-B224-41CD-B4E0-E297462320DD}" dt="2023-11-24T08:41:35.576" v="43642"/>
          <ac:spMkLst>
            <pc:docMk/>
            <pc:sldMk cId="3256052264" sldId="2147478569"/>
            <ac:spMk id="291" creationId="{8CC03C79-3A16-DF74-71FD-D10A67DFC629}"/>
          </ac:spMkLst>
        </pc:spChg>
        <pc:spChg chg="add del mod">
          <ac:chgData name="Steiner Andreas 6206 ED" userId="e6377c33-a923-4f14-8587-531c474c7b48" providerId="ADAL" clId="{6ECD27E6-B224-41CD-B4E0-E297462320DD}" dt="2023-11-24T08:41:38.542" v="43797"/>
          <ac:spMkLst>
            <pc:docMk/>
            <pc:sldMk cId="3256052264" sldId="2147478569"/>
            <ac:spMk id="292" creationId="{8DAB439D-6B12-BD73-5712-F662CCBEF570}"/>
          </ac:spMkLst>
        </pc:spChg>
        <pc:spChg chg="add del mod">
          <ac:chgData name="Steiner Andreas 6206 ED" userId="e6377c33-a923-4f14-8587-531c474c7b48" providerId="ADAL" clId="{6ECD27E6-B224-41CD-B4E0-E297462320DD}" dt="2023-11-24T08:41:40.803" v="43952"/>
          <ac:spMkLst>
            <pc:docMk/>
            <pc:sldMk cId="3256052264" sldId="2147478569"/>
            <ac:spMk id="293" creationId="{953C134D-29ED-6FD2-6044-83701322101F}"/>
          </ac:spMkLst>
        </pc:spChg>
        <pc:spChg chg="add del mod">
          <ac:chgData name="Steiner Andreas 6206 ED" userId="e6377c33-a923-4f14-8587-531c474c7b48" providerId="ADAL" clId="{6ECD27E6-B224-41CD-B4E0-E297462320DD}" dt="2023-11-24T08:41:43.195" v="44107"/>
          <ac:spMkLst>
            <pc:docMk/>
            <pc:sldMk cId="3256052264" sldId="2147478569"/>
            <ac:spMk id="294" creationId="{EB71B4C8-5480-954E-3026-2441954DEF74}"/>
          </ac:spMkLst>
        </pc:spChg>
        <pc:spChg chg="add del mod">
          <ac:chgData name="Steiner Andreas 6206 ED" userId="e6377c33-a923-4f14-8587-531c474c7b48" providerId="ADAL" clId="{6ECD27E6-B224-41CD-B4E0-E297462320DD}" dt="2023-11-24T08:41:45.112" v="44262"/>
          <ac:spMkLst>
            <pc:docMk/>
            <pc:sldMk cId="3256052264" sldId="2147478569"/>
            <ac:spMk id="295" creationId="{312D267D-303A-A895-F330-8F88800EC7A1}"/>
          </ac:spMkLst>
        </pc:spChg>
        <pc:spChg chg="add del mod">
          <ac:chgData name="Steiner Andreas 6206 ED" userId="e6377c33-a923-4f14-8587-531c474c7b48" providerId="ADAL" clId="{6ECD27E6-B224-41CD-B4E0-E297462320DD}" dt="2023-11-24T08:41:47.018" v="44417"/>
          <ac:spMkLst>
            <pc:docMk/>
            <pc:sldMk cId="3256052264" sldId="2147478569"/>
            <ac:spMk id="296" creationId="{11F51F6C-AD75-659D-75C0-03158D8F7A0F}"/>
          </ac:spMkLst>
        </pc:spChg>
        <pc:spChg chg="add del mod">
          <ac:chgData name="Steiner Andreas 6206 ED" userId="e6377c33-a923-4f14-8587-531c474c7b48" providerId="ADAL" clId="{6ECD27E6-B224-41CD-B4E0-E297462320DD}" dt="2023-11-24T08:41:49.043" v="44572"/>
          <ac:spMkLst>
            <pc:docMk/>
            <pc:sldMk cId="3256052264" sldId="2147478569"/>
            <ac:spMk id="297" creationId="{3E67F961-75FB-FD08-2A9D-E5EFA55DDDCB}"/>
          </ac:spMkLst>
        </pc:spChg>
        <pc:spChg chg="add del mod">
          <ac:chgData name="Steiner Andreas 6206 ED" userId="e6377c33-a923-4f14-8587-531c474c7b48" providerId="ADAL" clId="{6ECD27E6-B224-41CD-B4E0-E297462320DD}" dt="2023-11-24T08:41:50.921" v="44727"/>
          <ac:spMkLst>
            <pc:docMk/>
            <pc:sldMk cId="3256052264" sldId="2147478569"/>
            <ac:spMk id="298" creationId="{60D61807-45A8-FF9E-F5D3-06E45435FDBE}"/>
          </ac:spMkLst>
        </pc:spChg>
        <pc:spChg chg="add del mod">
          <ac:chgData name="Steiner Andreas 6206 ED" userId="e6377c33-a923-4f14-8587-531c474c7b48" providerId="ADAL" clId="{6ECD27E6-B224-41CD-B4E0-E297462320DD}" dt="2023-11-24T08:41:53.255" v="44882"/>
          <ac:spMkLst>
            <pc:docMk/>
            <pc:sldMk cId="3256052264" sldId="2147478569"/>
            <ac:spMk id="299" creationId="{8148DAD2-E736-AD81-3FB9-503DCBAECAA1}"/>
          </ac:spMkLst>
        </pc:spChg>
        <pc:spChg chg="add del mod">
          <ac:chgData name="Steiner Andreas 6206 ED" userId="e6377c33-a923-4f14-8587-531c474c7b48" providerId="ADAL" clId="{6ECD27E6-B224-41CD-B4E0-E297462320DD}" dt="2023-11-24T08:41:55.186" v="45037"/>
          <ac:spMkLst>
            <pc:docMk/>
            <pc:sldMk cId="3256052264" sldId="2147478569"/>
            <ac:spMk id="300" creationId="{83C9BF69-D65E-9DF8-0A3B-F869B2C3226B}"/>
          </ac:spMkLst>
        </pc:spChg>
        <pc:spChg chg="add del mod">
          <ac:chgData name="Steiner Andreas 6206 ED" userId="e6377c33-a923-4f14-8587-531c474c7b48" providerId="ADAL" clId="{6ECD27E6-B224-41CD-B4E0-E297462320DD}" dt="2023-11-24T08:41:57.455" v="45192"/>
          <ac:spMkLst>
            <pc:docMk/>
            <pc:sldMk cId="3256052264" sldId="2147478569"/>
            <ac:spMk id="301" creationId="{5EA9C564-5110-C871-2846-D93942CA234B}"/>
          </ac:spMkLst>
        </pc:spChg>
        <pc:spChg chg="add del mod">
          <ac:chgData name="Steiner Andreas 6206 ED" userId="e6377c33-a923-4f14-8587-531c474c7b48" providerId="ADAL" clId="{6ECD27E6-B224-41CD-B4E0-E297462320DD}" dt="2023-11-24T08:41:59.608" v="45347"/>
          <ac:spMkLst>
            <pc:docMk/>
            <pc:sldMk cId="3256052264" sldId="2147478569"/>
            <ac:spMk id="302" creationId="{77F87358-EA56-1BC0-3A42-D968EF9E3769}"/>
          </ac:spMkLst>
        </pc:spChg>
        <pc:spChg chg="add del mod">
          <ac:chgData name="Steiner Andreas 6206 ED" userId="e6377c33-a923-4f14-8587-531c474c7b48" providerId="ADAL" clId="{6ECD27E6-B224-41CD-B4E0-E297462320DD}" dt="2023-11-24T08:42:01.833" v="45502"/>
          <ac:spMkLst>
            <pc:docMk/>
            <pc:sldMk cId="3256052264" sldId="2147478569"/>
            <ac:spMk id="303" creationId="{733C23B9-7D99-ADED-853E-F778653C9A3E}"/>
          </ac:spMkLst>
        </pc:spChg>
        <pc:spChg chg="add del mod">
          <ac:chgData name="Steiner Andreas 6206 ED" userId="e6377c33-a923-4f14-8587-531c474c7b48" providerId="ADAL" clId="{6ECD27E6-B224-41CD-B4E0-E297462320DD}" dt="2023-11-24T08:42:03.850" v="45657"/>
          <ac:spMkLst>
            <pc:docMk/>
            <pc:sldMk cId="3256052264" sldId="2147478569"/>
            <ac:spMk id="304" creationId="{629329D8-338A-831C-DD0E-B476976221CE}"/>
          </ac:spMkLst>
        </pc:spChg>
        <pc:spChg chg="add del mod">
          <ac:chgData name="Steiner Andreas 6206 ED" userId="e6377c33-a923-4f14-8587-531c474c7b48" providerId="ADAL" clId="{6ECD27E6-B224-41CD-B4E0-E297462320DD}" dt="2023-11-24T08:42:05.808" v="45812"/>
          <ac:spMkLst>
            <pc:docMk/>
            <pc:sldMk cId="3256052264" sldId="2147478569"/>
            <ac:spMk id="305" creationId="{A9FE65AE-6ED9-0E11-9F2A-0F296F3B94C4}"/>
          </ac:spMkLst>
        </pc:spChg>
        <pc:spChg chg="add del mod">
          <ac:chgData name="Steiner Andreas 6206 ED" userId="e6377c33-a923-4f14-8587-531c474c7b48" providerId="ADAL" clId="{6ECD27E6-B224-41CD-B4E0-E297462320DD}" dt="2023-11-24T08:42:07.715" v="45967"/>
          <ac:spMkLst>
            <pc:docMk/>
            <pc:sldMk cId="3256052264" sldId="2147478569"/>
            <ac:spMk id="306" creationId="{46D7718E-C903-FA62-3B50-56B6452E3D8B}"/>
          </ac:spMkLst>
        </pc:spChg>
        <pc:spChg chg="add del mod">
          <ac:chgData name="Steiner Andreas 6206 ED" userId="e6377c33-a923-4f14-8587-531c474c7b48" providerId="ADAL" clId="{6ECD27E6-B224-41CD-B4E0-E297462320DD}" dt="2023-11-24T08:42:09.605" v="46122"/>
          <ac:spMkLst>
            <pc:docMk/>
            <pc:sldMk cId="3256052264" sldId="2147478569"/>
            <ac:spMk id="307" creationId="{A1C0B1DF-CC93-C602-0953-06752F3EFE24}"/>
          </ac:spMkLst>
        </pc:spChg>
        <pc:spChg chg="add del mod">
          <ac:chgData name="Steiner Andreas 6206 ED" userId="e6377c33-a923-4f14-8587-531c474c7b48" providerId="ADAL" clId="{6ECD27E6-B224-41CD-B4E0-E297462320DD}" dt="2023-11-24T08:42:11.952" v="46277"/>
          <ac:spMkLst>
            <pc:docMk/>
            <pc:sldMk cId="3256052264" sldId="2147478569"/>
            <ac:spMk id="308" creationId="{6DFCBD2F-DD08-4193-37F9-876A6B1C1ECB}"/>
          </ac:spMkLst>
        </pc:spChg>
        <pc:spChg chg="add del mod">
          <ac:chgData name="Steiner Andreas 6206 ED" userId="e6377c33-a923-4f14-8587-531c474c7b48" providerId="ADAL" clId="{6ECD27E6-B224-41CD-B4E0-E297462320DD}" dt="2023-11-24T08:42:14.393" v="46432"/>
          <ac:spMkLst>
            <pc:docMk/>
            <pc:sldMk cId="3256052264" sldId="2147478569"/>
            <ac:spMk id="309" creationId="{2A56087C-0591-0676-45FF-E25462436E1A}"/>
          </ac:spMkLst>
        </pc:spChg>
        <pc:spChg chg="add del mod">
          <ac:chgData name="Steiner Andreas 6206 ED" userId="e6377c33-a923-4f14-8587-531c474c7b48" providerId="ADAL" clId="{6ECD27E6-B224-41CD-B4E0-E297462320DD}" dt="2023-11-24T08:42:16.878" v="46587"/>
          <ac:spMkLst>
            <pc:docMk/>
            <pc:sldMk cId="3256052264" sldId="2147478569"/>
            <ac:spMk id="310" creationId="{E0321B1C-BD1E-9243-3FE0-511F14B3E0BF}"/>
          </ac:spMkLst>
        </pc:spChg>
        <pc:spChg chg="add del mod">
          <ac:chgData name="Steiner Andreas 6206 ED" userId="e6377c33-a923-4f14-8587-531c474c7b48" providerId="ADAL" clId="{6ECD27E6-B224-41CD-B4E0-E297462320DD}" dt="2023-11-24T08:42:19.001" v="46742"/>
          <ac:spMkLst>
            <pc:docMk/>
            <pc:sldMk cId="3256052264" sldId="2147478569"/>
            <ac:spMk id="311" creationId="{75AFD0B7-CF55-4E7C-8631-44AF91EA0B7C}"/>
          </ac:spMkLst>
        </pc:spChg>
        <pc:spChg chg="add del mod">
          <ac:chgData name="Steiner Andreas 6206 ED" userId="e6377c33-a923-4f14-8587-531c474c7b48" providerId="ADAL" clId="{6ECD27E6-B224-41CD-B4E0-E297462320DD}" dt="2023-11-24T08:42:21.315" v="46897"/>
          <ac:spMkLst>
            <pc:docMk/>
            <pc:sldMk cId="3256052264" sldId="2147478569"/>
            <ac:spMk id="312" creationId="{BDC7DDB5-4918-6AD9-B09E-05C37CF466A1}"/>
          </ac:spMkLst>
        </pc:spChg>
        <pc:spChg chg="add del mod">
          <ac:chgData name="Steiner Andreas 6206 ED" userId="e6377c33-a923-4f14-8587-531c474c7b48" providerId="ADAL" clId="{6ECD27E6-B224-41CD-B4E0-E297462320DD}" dt="2023-11-24T08:42:23.954" v="47052"/>
          <ac:spMkLst>
            <pc:docMk/>
            <pc:sldMk cId="3256052264" sldId="2147478569"/>
            <ac:spMk id="313" creationId="{DAB5F725-D2F8-408F-3BDC-E795760D2BF1}"/>
          </ac:spMkLst>
        </pc:spChg>
        <pc:spChg chg="add del mod">
          <ac:chgData name="Steiner Andreas 6206 ED" userId="e6377c33-a923-4f14-8587-531c474c7b48" providerId="ADAL" clId="{6ECD27E6-B224-41CD-B4E0-E297462320DD}" dt="2023-11-24T08:42:25.945" v="47207"/>
          <ac:spMkLst>
            <pc:docMk/>
            <pc:sldMk cId="3256052264" sldId="2147478569"/>
            <ac:spMk id="314" creationId="{DC4E4E4B-B36B-5A4D-3A3F-926F6C2EC934}"/>
          </ac:spMkLst>
        </pc:spChg>
        <pc:spChg chg="add del mod">
          <ac:chgData name="Steiner Andreas 6206 ED" userId="e6377c33-a923-4f14-8587-531c474c7b48" providerId="ADAL" clId="{6ECD27E6-B224-41CD-B4E0-E297462320DD}" dt="2023-11-24T08:42:27.845" v="47362"/>
          <ac:spMkLst>
            <pc:docMk/>
            <pc:sldMk cId="3256052264" sldId="2147478569"/>
            <ac:spMk id="315" creationId="{3FEE50A4-F804-AC5E-9AAE-7730FBD271E3}"/>
          </ac:spMkLst>
        </pc:spChg>
        <pc:spChg chg="add del mod">
          <ac:chgData name="Steiner Andreas 6206 ED" userId="e6377c33-a923-4f14-8587-531c474c7b48" providerId="ADAL" clId="{6ECD27E6-B224-41CD-B4E0-E297462320DD}" dt="2023-11-24T08:42:29.613" v="47517"/>
          <ac:spMkLst>
            <pc:docMk/>
            <pc:sldMk cId="3256052264" sldId="2147478569"/>
            <ac:spMk id="316" creationId="{49C37998-08C8-3111-448B-01D6BE42F273}"/>
          </ac:spMkLst>
        </pc:spChg>
        <pc:spChg chg="add del mod">
          <ac:chgData name="Steiner Andreas 6206 ED" userId="e6377c33-a923-4f14-8587-531c474c7b48" providerId="ADAL" clId="{6ECD27E6-B224-41CD-B4E0-E297462320DD}" dt="2023-11-24T08:42:31.501" v="47672"/>
          <ac:spMkLst>
            <pc:docMk/>
            <pc:sldMk cId="3256052264" sldId="2147478569"/>
            <ac:spMk id="317" creationId="{D767ECD2-47F7-B00F-03EA-8CFCDA7F5265}"/>
          </ac:spMkLst>
        </pc:spChg>
        <pc:spChg chg="add del mod">
          <ac:chgData name="Steiner Andreas 6206 ED" userId="e6377c33-a923-4f14-8587-531c474c7b48" providerId="ADAL" clId="{6ECD27E6-B224-41CD-B4E0-E297462320DD}" dt="2023-11-24T08:42:33.484" v="47827"/>
          <ac:spMkLst>
            <pc:docMk/>
            <pc:sldMk cId="3256052264" sldId="2147478569"/>
            <ac:spMk id="318" creationId="{E6493374-6A74-B69D-5F0D-CA22B778A241}"/>
          </ac:spMkLst>
        </pc:spChg>
        <pc:spChg chg="add del mod">
          <ac:chgData name="Steiner Andreas 6206 ED" userId="e6377c33-a923-4f14-8587-531c474c7b48" providerId="ADAL" clId="{6ECD27E6-B224-41CD-B4E0-E297462320DD}" dt="2023-11-24T08:42:35.550" v="47982"/>
          <ac:spMkLst>
            <pc:docMk/>
            <pc:sldMk cId="3256052264" sldId="2147478569"/>
            <ac:spMk id="319" creationId="{A2EF7798-8336-D34E-E89C-4C6EEA6C6F93}"/>
          </ac:spMkLst>
        </pc:spChg>
        <pc:spChg chg="add del mod">
          <ac:chgData name="Steiner Andreas 6206 ED" userId="e6377c33-a923-4f14-8587-531c474c7b48" providerId="ADAL" clId="{6ECD27E6-B224-41CD-B4E0-E297462320DD}" dt="2023-11-24T08:42:37.437" v="48137"/>
          <ac:spMkLst>
            <pc:docMk/>
            <pc:sldMk cId="3256052264" sldId="2147478569"/>
            <ac:spMk id="320" creationId="{9D3CC3C0-DAD5-7B51-F124-93CFEB41E48E}"/>
          </ac:spMkLst>
        </pc:spChg>
        <pc:spChg chg="add del mod">
          <ac:chgData name="Steiner Andreas 6206 ED" userId="e6377c33-a923-4f14-8587-531c474c7b48" providerId="ADAL" clId="{6ECD27E6-B224-41CD-B4E0-E297462320DD}" dt="2023-11-24T08:42:39.305" v="48292"/>
          <ac:spMkLst>
            <pc:docMk/>
            <pc:sldMk cId="3256052264" sldId="2147478569"/>
            <ac:spMk id="321" creationId="{7A273B96-6468-058D-1894-375B47289A6E}"/>
          </ac:spMkLst>
        </pc:spChg>
        <pc:spChg chg="add del mod">
          <ac:chgData name="Steiner Andreas 6206 ED" userId="e6377c33-a923-4f14-8587-531c474c7b48" providerId="ADAL" clId="{6ECD27E6-B224-41CD-B4E0-E297462320DD}" dt="2023-11-24T08:42:41.415" v="48447"/>
          <ac:spMkLst>
            <pc:docMk/>
            <pc:sldMk cId="3256052264" sldId="2147478569"/>
            <ac:spMk id="322" creationId="{ED3AD9AC-19CF-BA95-637D-12D6CD9B4F2E}"/>
          </ac:spMkLst>
        </pc:spChg>
        <pc:spChg chg="add del mod">
          <ac:chgData name="Steiner Andreas 6206 ED" userId="e6377c33-a923-4f14-8587-531c474c7b48" providerId="ADAL" clId="{6ECD27E6-B224-41CD-B4E0-E297462320DD}" dt="2023-11-24T08:42:43.528" v="48602"/>
          <ac:spMkLst>
            <pc:docMk/>
            <pc:sldMk cId="3256052264" sldId="2147478569"/>
            <ac:spMk id="323" creationId="{31A00F22-C80B-8FC9-18CA-39819D73D706}"/>
          </ac:spMkLst>
        </pc:spChg>
        <pc:spChg chg="add del mod">
          <ac:chgData name="Steiner Andreas 6206 ED" userId="e6377c33-a923-4f14-8587-531c474c7b48" providerId="ADAL" clId="{6ECD27E6-B224-41CD-B4E0-E297462320DD}" dt="2023-11-24T08:42:45.560" v="48757"/>
          <ac:spMkLst>
            <pc:docMk/>
            <pc:sldMk cId="3256052264" sldId="2147478569"/>
            <ac:spMk id="324" creationId="{3BD7294B-B2CE-EA4A-7DFC-54D270A7A87F}"/>
          </ac:spMkLst>
        </pc:spChg>
        <pc:spChg chg="add del mod">
          <ac:chgData name="Steiner Andreas 6206 ED" userId="e6377c33-a923-4f14-8587-531c474c7b48" providerId="ADAL" clId="{6ECD27E6-B224-41CD-B4E0-E297462320DD}" dt="2023-11-24T08:42:47.448" v="48912"/>
          <ac:spMkLst>
            <pc:docMk/>
            <pc:sldMk cId="3256052264" sldId="2147478569"/>
            <ac:spMk id="325" creationId="{4792C4B4-E670-EBAD-8972-B7C3BC0CA4B5}"/>
          </ac:spMkLst>
        </pc:spChg>
        <pc:spChg chg="add del mod">
          <ac:chgData name="Steiner Andreas 6206 ED" userId="e6377c33-a923-4f14-8587-531c474c7b48" providerId="ADAL" clId="{6ECD27E6-B224-41CD-B4E0-E297462320DD}" dt="2023-11-24T08:42:49.253" v="49067"/>
          <ac:spMkLst>
            <pc:docMk/>
            <pc:sldMk cId="3256052264" sldId="2147478569"/>
            <ac:spMk id="326" creationId="{B2438882-D6E2-BDD7-7EE8-C55EC0C95CA5}"/>
          </ac:spMkLst>
        </pc:spChg>
        <pc:spChg chg="add del mod">
          <ac:chgData name="Steiner Andreas 6206 ED" userId="e6377c33-a923-4f14-8587-531c474c7b48" providerId="ADAL" clId="{6ECD27E6-B224-41CD-B4E0-E297462320DD}" dt="2023-11-24T08:42:51.127" v="49222"/>
          <ac:spMkLst>
            <pc:docMk/>
            <pc:sldMk cId="3256052264" sldId="2147478569"/>
            <ac:spMk id="327" creationId="{1EF0DC0D-73F2-028F-F8D3-14FAAB8FD070}"/>
          </ac:spMkLst>
        </pc:spChg>
        <pc:spChg chg="add del mod">
          <ac:chgData name="Steiner Andreas 6206 ED" userId="e6377c33-a923-4f14-8587-531c474c7b48" providerId="ADAL" clId="{6ECD27E6-B224-41CD-B4E0-E297462320DD}" dt="2023-11-24T08:42:53.215" v="49377"/>
          <ac:spMkLst>
            <pc:docMk/>
            <pc:sldMk cId="3256052264" sldId="2147478569"/>
            <ac:spMk id="328" creationId="{02BACD3B-A5F0-AEEA-7324-ED27AD566F4E}"/>
          </ac:spMkLst>
        </pc:spChg>
        <pc:spChg chg="add del mod">
          <ac:chgData name="Steiner Andreas 6206 ED" userId="e6377c33-a923-4f14-8587-531c474c7b48" providerId="ADAL" clId="{6ECD27E6-B224-41CD-B4E0-E297462320DD}" dt="2023-11-24T08:42:55.814" v="49532"/>
          <ac:spMkLst>
            <pc:docMk/>
            <pc:sldMk cId="3256052264" sldId="2147478569"/>
            <ac:spMk id="329" creationId="{EA4403EA-AD5E-54C1-A321-F90C42516293}"/>
          </ac:spMkLst>
        </pc:spChg>
        <pc:spChg chg="add del mod">
          <ac:chgData name="Steiner Andreas 6206 ED" userId="e6377c33-a923-4f14-8587-531c474c7b48" providerId="ADAL" clId="{6ECD27E6-B224-41CD-B4E0-E297462320DD}" dt="2023-11-24T08:42:57.921" v="49687"/>
          <ac:spMkLst>
            <pc:docMk/>
            <pc:sldMk cId="3256052264" sldId="2147478569"/>
            <ac:spMk id="330" creationId="{45D518D2-07A0-200D-4009-CB24ACC06A10}"/>
          </ac:spMkLst>
        </pc:spChg>
        <pc:spChg chg="add del mod">
          <ac:chgData name="Steiner Andreas 6206 ED" userId="e6377c33-a923-4f14-8587-531c474c7b48" providerId="ADAL" clId="{6ECD27E6-B224-41CD-B4E0-E297462320DD}" dt="2023-11-24T08:42:59.851" v="49842"/>
          <ac:spMkLst>
            <pc:docMk/>
            <pc:sldMk cId="3256052264" sldId="2147478569"/>
            <ac:spMk id="331" creationId="{46BE03DE-BD24-4F00-49D6-622C7B00827B}"/>
          </ac:spMkLst>
        </pc:spChg>
        <pc:spChg chg="add del mod">
          <ac:chgData name="Steiner Andreas 6206 ED" userId="e6377c33-a923-4f14-8587-531c474c7b48" providerId="ADAL" clId="{6ECD27E6-B224-41CD-B4E0-E297462320DD}" dt="2023-11-24T08:43:01.845" v="49997"/>
          <ac:spMkLst>
            <pc:docMk/>
            <pc:sldMk cId="3256052264" sldId="2147478569"/>
            <ac:spMk id="332" creationId="{DFEA8847-B23D-BC58-0C21-CA6C41A1F8E8}"/>
          </ac:spMkLst>
        </pc:spChg>
        <pc:spChg chg="add del mod">
          <ac:chgData name="Steiner Andreas 6206 ED" userId="e6377c33-a923-4f14-8587-531c474c7b48" providerId="ADAL" clId="{6ECD27E6-B224-41CD-B4E0-E297462320DD}" dt="2023-11-24T08:43:03.833" v="50152"/>
          <ac:spMkLst>
            <pc:docMk/>
            <pc:sldMk cId="3256052264" sldId="2147478569"/>
            <ac:spMk id="333" creationId="{9E226253-B066-0813-CD94-DADADA384042}"/>
          </ac:spMkLst>
        </pc:spChg>
        <pc:spChg chg="add del mod">
          <ac:chgData name="Steiner Andreas 6206 ED" userId="e6377c33-a923-4f14-8587-531c474c7b48" providerId="ADAL" clId="{6ECD27E6-B224-41CD-B4E0-E297462320DD}" dt="2023-11-24T08:43:05.708" v="50307"/>
          <ac:spMkLst>
            <pc:docMk/>
            <pc:sldMk cId="3256052264" sldId="2147478569"/>
            <ac:spMk id="334" creationId="{F88CD3E6-AF9F-5ACF-D9C6-1F0EDC136C44}"/>
          </ac:spMkLst>
        </pc:spChg>
        <pc:spChg chg="add del mod">
          <ac:chgData name="Steiner Andreas 6206 ED" userId="e6377c33-a923-4f14-8587-531c474c7b48" providerId="ADAL" clId="{6ECD27E6-B224-41CD-B4E0-E297462320DD}" dt="2023-11-24T08:43:07.906" v="50462"/>
          <ac:spMkLst>
            <pc:docMk/>
            <pc:sldMk cId="3256052264" sldId="2147478569"/>
            <ac:spMk id="335" creationId="{184E910E-5A0F-1F9F-E4EE-FFB820D18DCB}"/>
          </ac:spMkLst>
        </pc:spChg>
        <pc:spChg chg="add del mod">
          <ac:chgData name="Steiner Andreas 6206 ED" userId="e6377c33-a923-4f14-8587-531c474c7b48" providerId="ADAL" clId="{6ECD27E6-B224-41CD-B4E0-E297462320DD}" dt="2023-11-24T08:43:09.985" v="50617"/>
          <ac:spMkLst>
            <pc:docMk/>
            <pc:sldMk cId="3256052264" sldId="2147478569"/>
            <ac:spMk id="336" creationId="{DBBDD847-2092-4CEC-3ECD-FE8C7E5B75F6}"/>
          </ac:spMkLst>
        </pc:spChg>
        <pc:spChg chg="add del mod">
          <ac:chgData name="Steiner Andreas 6206 ED" userId="e6377c33-a923-4f14-8587-531c474c7b48" providerId="ADAL" clId="{6ECD27E6-B224-41CD-B4E0-E297462320DD}" dt="2023-11-24T08:43:11.819" v="50772"/>
          <ac:spMkLst>
            <pc:docMk/>
            <pc:sldMk cId="3256052264" sldId="2147478569"/>
            <ac:spMk id="337" creationId="{7DA68E4E-3BBB-3204-F8B5-4E948BA7A9CF}"/>
          </ac:spMkLst>
        </pc:spChg>
        <pc:spChg chg="add del mod">
          <ac:chgData name="Steiner Andreas 6206 ED" userId="e6377c33-a923-4f14-8587-531c474c7b48" providerId="ADAL" clId="{6ECD27E6-B224-41CD-B4E0-E297462320DD}" dt="2023-11-24T08:43:13.875" v="50927"/>
          <ac:spMkLst>
            <pc:docMk/>
            <pc:sldMk cId="3256052264" sldId="2147478569"/>
            <ac:spMk id="338" creationId="{200C8DD2-FAB6-E473-0292-0089C4C94DC2}"/>
          </ac:spMkLst>
        </pc:spChg>
        <pc:spChg chg="add del mod">
          <ac:chgData name="Steiner Andreas 6206 ED" userId="e6377c33-a923-4f14-8587-531c474c7b48" providerId="ADAL" clId="{6ECD27E6-B224-41CD-B4E0-E297462320DD}" dt="2023-11-24T08:43:15.849" v="51082"/>
          <ac:spMkLst>
            <pc:docMk/>
            <pc:sldMk cId="3256052264" sldId="2147478569"/>
            <ac:spMk id="339" creationId="{4CB891B1-751B-8A5E-FC36-29AEB7AF8119}"/>
          </ac:spMkLst>
        </pc:spChg>
        <pc:spChg chg="add del mod">
          <ac:chgData name="Steiner Andreas 6206 ED" userId="e6377c33-a923-4f14-8587-531c474c7b48" providerId="ADAL" clId="{6ECD27E6-B224-41CD-B4E0-E297462320DD}" dt="2023-11-24T08:43:17.933" v="51237"/>
          <ac:spMkLst>
            <pc:docMk/>
            <pc:sldMk cId="3256052264" sldId="2147478569"/>
            <ac:spMk id="340" creationId="{13E302D0-140D-BD27-00E1-E5BB400B4EDF}"/>
          </ac:spMkLst>
        </pc:spChg>
        <pc:spChg chg="add del mod">
          <ac:chgData name="Steiner Andreas 6206 ED" userId="e6377c33-a923-4f14-8587-531c474c7b48" providerId="ADAL" clId="{6ECD27E6-B224-41CD-B4E0-E297462320DD}" dt="2023-11-24T08:43:19.915" v="51392"/>
          <ac:spMkLst>
            <pc:docMk/>
            <pc:sldMk cId="3256052264" sldId="2147478569"/>
            <ac:spMk id="341" creationId="{32C43637-4DEC-AD59-4A43-7E9E33B10B97}"/>
          </ac:spMkLst>
        </pc:spChg>
        <pc:spChg chg="add del mod">
          <ac:chgData name="Steiner Andreas 6206 ED" userId="e6377c33-a923-4f14-8587-531c474c7b48" providerId="ADAL" clId="{6ECD27E6-B224-41CD-B4E0-E297462320DD}" dt="2023-11-24T08:43:21.827" v="51547"/>
          <ac:spMkLst>
            <pc:docMk/>
            <pc:sldMk cId="3256052264" sldId="2147478569"/>
            <ac:spMk id="342" creationId="{98A73DDA-A023-2A7A-39E7-31E01ED1CE0A}"/>
          </ac:spMkLst>
        </pc:spChg>
        <pc:spChg chg="add del mod">
          <ac:chgData name="Steiner Andreas 6206 ED" userId="e6377c33-a923-4f14-8587-531c474c7b48" providerId="ADAL" clId="{6ECD27E6-B224-41CD-B4E0-E297462320DD}" dt="2023-11-24T08:43:23.752" v="51702"/>
          <ac:spMkLst>
            <pc:docMk/>
            <pc:sldMk cId="3256052264" sldId="2147478569"/>
            <ac:spMk id="343" creationId="{E64B947E-614B-AADB-6FDA-B3BC4A6BFA09}"/>
          </ac:spMkLst>
        </pc:spChg>
        <pc:spChg chg="add del mod">
          <ac:chgData name="Steiner Andreas 6206 ED" userId="e6377c33-a923-4f14-8587-531c474c7b48" providerId="ADAL" clId="{6ECD27E6-B224-41CD-B4E0-E297462320DD}" dt="2023-11-24T08:43:25.652" v="51857"/>
          <ac:spMkLst>
            <pc:docMk/>
            <pc:sldMk cId="3256052264" sldId="2147478569"/>
            <ac:spMk id="344" creationId="{306BA211-BA8A-8A63-D793-6AF01DA4AE6C}"/>
          </ac:spMkLst>
        </pc:spChg>
        <pc:spChg chg="add del mod">
          <ac:chgData name="Steiner Andreas 6206 ED" userId="e6377c33-a923-4f14-8587-531c474c7b48" providerId="ADAL" clId="{6ECD27E6-B224-41CD-B4E0-E297462320DD}" dt="2023-11-24T08:43:27.491" v="52012"/>
          <ac:spMkLst>
            <pc:docMk/>
            <pc:sldMk cId="3256052264" sldId="2147478569"/>
            <ac:spMk id="345" creationId="{08144884-10E6-1752-99DB-E888876FA334}"/>
          </ac:spMkLst>
        </pc:spChg>
        <pc:spChg chg="add del mod">
          <ac:chgData name="Steiner Andreas 6206 ED" userId="e6377c33-a923-4f14-8587-531c474c7b48" providerId="ADAL" clId="{6ECD27E6-B224-41CD-B4E0-E297462320DD}" dt="2023-11-24T08:43:29.286" v="52167"/>
          <ac:spMkLst>
            <pc:docMk/>
            <pc:sldMk cId="3256052264" sldId="2147478569"/>
            <ac:spMk id="346" creationId="{EA53D8B5-B187-04D8-1EA9-2263FAFF0E19}"/>
          </ac:spMkLst>
        </pc:spChg>
        <pc:spChg chg="add del mod">
          <ac:chgData name="Steiner Andreas 6206 ED" userId="e6377c33-a923-4f14-8587-531c474c7b48" providerId="ADAL" clId="{6ECD27E6-B224-41CD-B4E0-E297462320DD}" dt="2023-11-24T08:43:31.944" v="52322"/>
          <ac:spMkLst>
            <pc:docMk/>
            <pc:sldMk cId="3256052264" sldId="2147478569"/>
            <ac:spMk id="347" creationId="{0B4A3CE4-EAE2-7F1E-34C3-2F4B6162A26E}"/>
          </ac:spMkLst>
        </pc:spChg>
        <pc:spChg chg="add del mod">
          <ac:chgData name="Steiner Andreas 6206 ED" userId="e6377c33-a923-4f14-8587-531c474c7b48" providerId="ADAL" clId="{6ECD27E6-B224-41CD-B4E0-E297462320DD}" dt="2023-11-24T08:43:34.479" v="52477"/>
          <ac:spMkLst>
            <pc:docMk/>
            <pc:sldMk cId="3256052264" sldId="2147478569"/>
            <ac:spMk id="348" creationId="{D480061B-FB52-380C-6106-C536A89063A8}"/>
          </ac:spMkLst>
        </pc:spChg>
        <pc:spChg chg="add del mod">
          <ac:chgData name="Steiner Andreas 6206 ED" userId="e6377c33-a923-4f14-8587-531c474c7b48" providerId="ADAL" clId="{6ECD27E6-B224-41CD-B4E0-E297462320DD}" dt="2023-11-24T08:43:36.568" v="52632"/>
          <ac:spMkLst>
            <pc:docMk/>
            <pc:sldMk cId="3256052264" sldId="2147478569"/>
            <ac:spMk id="349" creationId="{CB91708D-B424-6BA6-704A-85CEDDB56CED}"/>
          </ac:spMkLst>
        </pc:spChg>
        <pc:spChg chg="add del mod">
          <ac:chgData name="Steiner Andreas 6206 ED" userId="e6377c33-a923-4f14-8587-531c474c7b48" providerId="ADAL" clId="{6ECD27E6-B224-41CD-B4E0-E297462320DD}" dt="2023-11-24T08:43:38.670" v="52787"/>
          <ac:spMkLst>
            <pc:docMk/>
            <pc:sldMk cId="3256052264" sldId="2147478569"/>
            <ac:spMk id="350" creationId="{1C63785C-DA6A-68BF-8B17-61A9576E1B5D}"/>
          </ac:spMkLst>
        </pc:spChg>
        <pc:spChg chg="add del mod">
          <ac:chgData name="Steiner Andreas 6206 ED" userId="e6377c33-a923-4f14-8587-531c474c7b48" providerId="ADAL" clId="{6ECD27E6-B224-41CD-B4E0-E297462320DD}" dt="2023-11-24T08:43:40.791" v="52942"/>
          <ac:spMkLst>
            <pc:docMk/>
            <pc:sldMk cId="3256052264" sldId="2147478569"/>
            <ac:spMk id="351" creationId="{48EC3244-F4A4-1405-111F-12B1164A2830}"/>
          </ac:spMkLst>
        </pc:spChg>
        <pc:spChg chg="add del mod">
          <ac:chgData name="Steiner Andreas 6206 ED" userId="e6377c33-a923-4f14-8587-531c474c7b48" providerId="ADAL" clId="{6ECD27E6-B224-41CD-B4E0-E297462320DD}" dt="2023-11-24T08:43:42.771" v="53097"/>
          <ac:spMkLst>
            <pc:docMk/>
            <pc:sldMk cId="3256052264" sldId="2147478569"/>
            <ac:spMk id="352" creationId="{200F925C-D52C-5BE0-90E7-FCEDCC6B3E9A}"/>
          </ac:spMkLst>
        </pc:spChg>
        <pc:spChg chg="add del mod">
          <ac:chgData name="Steiner Andreas 6206 ED" userId="e6377c33-a923-4f14-8587-531c474c7b48" providerId="ADAL" clId="{6ECD27E6-B224-41CD-B4E0-E297462320DD}" dt="2023-11-24T08:43:44.594" v="53252"/>
          <ac:spMkLst>
            <pc:docMk/>
            <pc:sldMk cId="3256052264" sldId="2147478569"/>
            <ac:spMk id="353" creationId="{9FEF3CBF-B3D4-3159-D931-6F78AEBE614F}"/>
          </ac:spMkLst>
        </pc:spChg>
        <pc:spChg chg="add del mod">
          <ac:chgData name="Steiner Andreas 6206 ED" userId="e6377c33-a923-4f14-8587-531c474c7b48" providerId="ADAL" clId="{6ECD27E6-B224-41CD-B4E0-E297462320DD}" dt="2023-11-24T08:43:46.374" v="53407"/>
          <ac:spMkLst>
            <pc:docMk/>
            <pc:sldMk cId="3256052264" sldId="2147478569"/>
            <ac:spMk id="354" creationId="{CEB19765-3D04-BE1A-1213-7CDF6E78BF8C}"/>
          </ac:spMkLst>
        </pc:spChg>
        <pc:spChg chg="add del mod">
          <ac:chgData name="Steiner Andreas 6206 ED" userId="e6377c33-a923-4f14-8587-531c474c7b48" providerId="ADAL" clId="{6ECD27E6-B224-41CD-B4E0-E297462320DD}" dt="2023-11-24T08:43:48.324" v="53562"/>
          <ac:spMkLst>
            <pc:docMk/>
            <pc:sldMk cId="3256052264" sldId="2147478569"/>
            <ac:spMk id="355" creationId="{DA817623-37F8-2025-143F-063903F59F80}"/>
          </ac:spMkLst>
        </pc:spChg>
        <pc:spChg chg="add del mod">
          <ac:chgData name="Steiner Andreas 6206 ED" userId="e6377c33-a923-4f14-8587-531c474c7b48" providerId="ADAL" clId="{6ECD27E6-B224-41CD-B4E0-E297462320DD}" dt="2023-11-24T08:43:50.289" v="53717"/>
          <ac:spMkLst>
            <pc:docMk/>
            <pc:sldMk cId="3256052264" sldId="2147478569"/>
            <ac:spMk id="356" creationId="{E8E878EE-FA3C-D2E3-73F7-DC34BEB3BAE7}"/>
          </ac:spMkLst>
        </pc:spChg>
        <pc:spChg chg="add del mod">
          <ac:chgData name="Steiner Andreas 6206 ED" userId="e6377c33-a923-4f14-8587-531c474c7b48" providerId="ADAL" clId="{6ECD27E6-B224-41CD-B4E0-E297462320DD}" dt="2023-11-24T08:43:52.411" v="53872"/>
          <ac:spMkLst>
            <pc:docMk/>
            <pc:sldMk cId="3256052264" sldId="2147478569"/>
            <ac:spMk id="357" creationId="{560C98D3-4CBA-8E3B-5741-7C799C4B7D48}"/>
          </ac:spMkLst>
        </pc:spChg>
        <pc:spChg chg="add del mod">
          <ac:chgData name="Steiner Andreas 6206 ED" userId="e6377c33-a923-4f14-8587-531c474c7b48" providerId="ADAL" clId="{6ECD27E6-B224-41CD-B4E0-E297462320DD}" dt="2023-11-24T08:43:55.094" v="54027"/>
          <ac:spMkLst>
            <pc:docMk/>
            <pc:sldMk cId="3256052264" sldId="2147478569"/>
            <ac:spMk id="358" creationId="{58473D61-3CBA-E93E-0F93-7E5D6FDC6891}"/>
          </ac:spMkLst>
        </pc:spChg>
        <pc:spChg chg="add del mod">
          <ac:chgData name="Steiner Andreas 6206 ED" userId="e6377c33-a923-4f14-8587-531c474c7b48" providerId="ADAL" clId="{6ECD27E6-B224-41CD-B4E0-E297462320DD}" dt="2023-11-24T08:43:57.151" v="54182"/>
          <ac:spMkLst>
            <pc:docMk/>
            <pc:sldMk cId="3256052264" sldId="2147478569"/>
            <ac:spMk id="359" creationId="{FDC52BEA-6B57-42D1-2B92-6E1EF07D177B}"/>
          </ac:spMkLst>
        </pc:spChg>
        <pc:spChg chg="add del mod">
          <ac:chgData name="Steiner Andreas 6206 ED" userId="e6377c33-a923-4f14-8587-531c474c7b48" providerId="ADAL" clId="{6ECD27E6-B224-41CD-B4E0-E297462320DD}" dt="2023-11-24T08:43:59.305" v="54337"/>
          <ac:spMkLst>
            <pc:docMk/>
            <pc:sldMk cId="3256052264" sldId="2147478569"/>
            <ac:spMk id="360" creationId="{9C2F0039-AAA6-5866-79D9-01F5362CC464}"/>
          </ac:spMkLst>
        </pc:spChg>
        <pc:spChg chg="add del mod">
          <ac:chgData name="Steiner Andreas 6206 ED" userId="e6377c33-a923-4f14-8587-531c474c7b48" providerId="ADAL" clId="{6ECD27E6-B224-41CD-B4E0-E297462320DD}" dt="2023-11-24T08:44:01.589" v="54492"/>
          <ac:spMkLst>
            <pc:docMk/>
            <pc:sldMk cId="3256052264" sldId="2147478569"/>
            <ac:spMk id="361" creationId="{5D95C531-9580-27E4-CAFB-0DB30B94B23E}"/>
          </ac:spMkLst>
        </pc:spChg>
        <pc:spChg chg="add del mod">
          <ac:chgData name="Steiner Andreas 6206 ED" userId="e6377c33-a923-4f14-8587-531c474c7b48" providerId="ADAL" clId="{6ECD27E6-B224-41CD-B4E0-E297462320DD}" dt="2023-11-24T08:44:03.724" v="54647"/>
          <ac:spMkLst>
            <pc:docMk/>
            <pc:sldMk cId="3256052264" sldId="2147478569"/>
            <ac:spMk id="362" creationId="{4B42EA03-C10B-321C-EE59-C98551CC0272}"/>
          </ac:spMkLst>
        </pc:spChg>
        <pc:spChg chg="add del mod">
          <ac:chgData name="Steiner Andreas 6206 ED" userId="e6377c33-a923-4f14-8587-531c474c7b48" providerId="ADAL" clId="{6ECD27E6-B224-41CD-B4E0-E297462320DD}" dt="2023-11-24T08:44:05.824" v="54802"/>
          <ac:spMkLst>
            <pc:docMk/>
            <pc:sldMk cId="3256052264" sldId="2147478569"/>
            <ac:spMk id="363" creationId="{C6B1CCA1-5272-A220-6710-06B233AE7B65}"/>
          </ac:spMkLst>
        </pc:spChg>
        <pc:spChg chg="add del mod">
          <ac:chgData name="Steiner Andreas 6206 ED" userId="e6377c33-a923-4f14-8587-531c474c7b48" providerId="ADAL" clId="{6ECD27E6-B224-41CD-B4E0-E297462320DD}" dt="2023-11-24T08:44:07.800" v="54957"/>
          <ac:spMkLst>
            <pc:docMk/>
            <pc:sldMk cId="3256052264" sldId="2147478569"/>
            <ac:spMk id="364" creationId="{B7ED03D3-08BF-1563-0A3F-106CFCE39575}"/>
          </ac:spMkLst>
        </pc:spChg>
        <pc:spChg chg="add del mod">
          <ac:chgData name="Steiner Andreas 6206 ED" userId="e6377c33-a923-4f14-8587-531c474c7b48" providerId="ADAL" clId="{6ECD27E6-B224-41CD-B4E0-E297462320DD}" dt="2023-11-24T08:44:09.789" v="55112"/>
          <ac:spMkLst>
            <pc:docMk/>
            <pc:sldMk cId="3256052264" sldId="2147478569"/>
            <ac:spMk id="365" creationId="{F5670FBB-B387-745D-CE53-1E009030D870}"/>
          </ac:spMkLst>
        </pc:spChg>
        <pc:spChg chg="add del mod">
          <ac:chgData name="Steiner Andreas 6206 ED" userId="e6377c33-a923-4f14-8587-531c474c7b48" providerId="ADAL" clId="{6ECD27E6-B224-41CD-B4E0-E297462320DD}" dt="2023-11-24T08:44:11.777" v="55267"/>
          <ac:spMkLst>
            <pc:docMk/>
            <pc:sldMk cId="3256052264" sldId="2147478569"/>
            <ac:spMk id="366" creationId="{4B511062-F4CB-434B-E261-DC0C8B1E661C}"/>
          </ac:spMkLst>
        </pc:spChg>
        <pc:spChg chg="add del mod">
          <ac:chgData name="Steiner Andreas 6206 ED" userId="e6377c33-a923-4f14-8587-531c474c7b48" providerId="ADAL" clId="{6ECD27E6-B224-41CD-B4E0-E297462320DD}" dt="2023-11-24T08:44:13.942" v="55422"/>
          <ac:spMkLst>
            <pc:docMk/>
            <pc:sldMk cId="3256052264" sldId="2147478569"/>
            <ac:spMk id="367" creationId="{60B7E847-C758-490E-E698-FD5FAA53AB44}"/>
          </ac:spMkLst>
        </pc:spChg>
        <pc:spChg chg="add del mod">
          <ac:chgData name="Steiner Andreas 6206 ED" userId="e6377c33-a923-4f14-8587-531c474c7b48" providerId="ADAL" clId="{6ECD27E6-B224-41CD-B4E0-E297462320DD}" dt="2023-11-24T08:44:16.025" v="55577"/>
          <ac:spMkLst>
            <pc:docMk/>
            <pc:sldMk cId="3256052264" sldId="2147478569"/>
            <ac:spMk id="368" creationId="{871B7BC9-723D-5125-3A4B-D9DC8D0F7FF5}"/>
          </ac:spMkLst>
        </pc:spChg>
        <pc:spChg chg="add del mod">
          <ac:chgData name="Steiner Andreas 6206 ED" userId="e6377c33-a923-4f14-8587-531c474c7b48" providerId="ADAL" clId="{6ECD27E6-B224-41CD-B4E0-E297462320DD}" dt="2023-11-24T08:44:18.473" v="55732"/>
          <ac:spMkLst>
            <pc:docMk/>
            <pc:sldMk cId="3256052264" sldId="2147478569"/>
            <ac:spMk id="369" creationId="{EB87AC15-9649-8511-A0A8-197AC9FCB4F8}"/>
          </ac:spMkLst>
        </pc:spChg>
        <pc:spChg chg="add del mod">
          <ac:chgData name="Steiner Andreas 6206 ED" userId="e6377c33-a923-4f14-8587-531c474c7b48" providerId="ADAL" clId="{6ECD27E6-B224-41CD-B4E0-E297462320DD}" dt="2023-11-24T08:44:21.313" v="55887"/>
          <ac:spMkLst>
            <pc:docMk/>
            <pc:sldMk cId="3256052264" sldId="2147478569"/>
            <ac:spMk id="370" creationId="{339835AC-87C2-C9D9-7A61-0D568C6203B2}"/>
          </ac:spMkLst>
        </pc:spChg>
        <pc:spChg chg="add del mod">
          <ac:chgData name="Steiner Andreas 6206 ED" userId="e6377c33-a923-4f14-8587-531c474c7b48" providerId="ADAL" clId="{6ECD27E6-B224-41CD-B4E0-E297462320DD}" dt="2023-11-24T08:44:23.735" v="56042"/>
          <ac:spMkLst>
            <pc:docMk/>
            <pc:sldMk cId="3256052264" sldId="2147478569"/>
            <ac:spMk id="371" creationId="{3DE10427-6EA1-4A03-875C-19D0B643B749}"/>
          </ac:spMkLst>
        </pc:spChg>
        <pc:spChg chg="add del mod">
          <ac:chgData name="Steiner Andreas 6206 ED" userId="e6377c33-a923-4f14-8587-531c474c7b48" providerId="ADAL" clId="{6ECD27E6-B224-41CD-B4E0-E297462320DD}" dt="2023-11-24T08:44:25.667" v="56197"/>
          <ac:spMkLst>
            <pc:docMk/>
            <pc:sldMk cId="3256052264" sldId="2147478569"/>
            <ac:spMk id="372" creationId="{8AE76C98-D1F6-4B8E-35F4-35213AF5DF8A}"/>
          </ac:spMkLst>
        </pc:spChg>
        <pc:spChg chg="add del mod">
          <ac:chgData name="Steiner Andreas 6206 ED" userId="e6377c33-a923-4f14-8587-531c474c7b48" providerId="ADAL" clId="{6ECD27E6-B224-41CD-B4E0-E297462320DD}" dt="2023-11-24T08:44:27.853" v="56352"/>
          <ac:spMkLst>
            <pc:docMk/>
            <pc:sldMk cId="3256052264" sldId="2147478569"/>
            <ac:spMk id="373" creationId="{DC5E6865-65EE-F7E8-B7A4-02AC97DA9D9C}"/>
          </ac:spMkLst>
        </pc:spChg>
        <pc:spChg chg="add del mod">
          <ac:chgData name="Steiner Andreas 6206 ED" userId="e6377c33-a923-4f14-8587-531c474c7b48" providerId="ADAL" clId="{6ECD27E6-B224-41CD-B4E0-E297462320DD}" dt="2023-11-24T08:44:29.862" v="56507"/>
          <ac:spMkLst>
            <pc:docMk/>
            <pc:sldMk cId="3256052264" sldId="2147478569"/>
            <ac:spMk id="374" creationId="{B7287E38-280C-E62A-28FB-8EAF77D01682}"/>
          </ac:spMkLst>
        </pc:spChg>
        <pc:spChg chg="add del mod">
          <ac:chgData name="Steiner Andreas 6206 ED" userId="e6377c33-a923-4f14-8587-531c474c7b48" providerId="ADAL" clId="{6ECD27E6-B224-41CD-B4E0-E297462320DD}" dt="2023-11-24T08:44:31.843" v="56662"/>
          <ac:spMkLst>
            <pc:docMk/>
            <pc:sldMk cId="3256052264" sldId="2147478569"/>
            <ac:spMk id="375" creationId="{6AE4C8B3-02EC-47DB-E372-9C4C6020A066}"/>
          </ac:spMkLst>
        </pc:spChg>
        <pc:spChg chg="add del mod">
          <ac:chgData name="Steiner Andreas 6206 ED" userId="e6377c33-a923-4f14-8587-531c474c7b48" providerId="ADAL" clId="{6ECD27E6-B224-41CD-B4E0-E297462320DD}" dt="2023-11-24T08:44:33.798" v="56817"/>
          <ac:spMkLst>
            <pc:docMk/>
            <pc:sldMk cId="3256052264" sldId="2147478569"/>
            <ac:spMk id="376" creationId="{76CAB8C2-F4D4-61D1-B969-7D30535DD201}"/>
          </ac:spMkLst>
        </pc:spChg>
        <pc:spChg chg="add del mod">
          <ac:chgData name="Steiner Andreas 6206 ED" userId="e6377c33-a923-4f14-8587-531c474c7b48" providerId="ADAL" clId="{6ECD27E6-B224-41CD-B4E0-E297462320DD}" dt="2023-11-24T08:44:36.183" v="56972"/>
          <ac:spMkLst>
            <pc:docMk/>
            <pc:sldMk cId="3256052264" sldId="2147478569"/>
            <ac:spMk id="377" creationId="{C16BBABE-1B66-C37C-5DE0-D6047C5DE4DF}"/>
          </ac:spMkLst>
        </pc:spChg>
        <pc:spChg chg="add del mod">
          <ac:chgData name="Steiner Andreas 6206 ED" userId="e6377c33-a923-4f14-8587-531c474c7b48" providerId="ADAL" clId="{6ECD27E6-B224-41CD-B4E0-E297462320DD}" dt="2023-11-24T08:44:38.793" v="57127"/>
          <ac:spMkLst>
            <pc:docMk/>
            <pc:sldMk cId="3256052264" sldId="2147478569"/>
            <ac:spMk id="378" creationId="{C279CEF3-1BAE-C628-90B7-89121015FDC2}"/>
          </ac:spMkLst>
        </pc:spChg>
        <pc:spChg chg="add del mod">
          <ac:chgData name="Steiner Andreas 6206 ED" userId="e6377c33-a923-4f14-8587-531c474c7b48" providerId="ADAL" clId="{6ECD27E6-B224-41CD-B4E0-E297462320DD}" dt="2023-11-24T08:44:41.108" v="57282"/>
          <ac:spMkLst>
            <pc:docMk/>
            <pc:sldMk cId="3256052264" sldId="2147478569"/>
            <ac:spMk id="379" creationId="{7F3E962E-51EB-4A70-AEF8-EC88DBF5F973}"/>
          </ac:spMkLst>
        </pc:spChg>
        <pc:spChg chg="add del mod">
          <ac:chgData name="Steiner Andreas 6206 ED" userId="e6377c33-a923-4f14-8587-531c474c7b48" providerId="ADAL" clId="{6ECD27E6-B224-41CD-B4E0-E297462320DD}" dt="2023-11-24T08:44:43.330" v="57437"/>
          <ac:spMkLst>
            <pc:docMk/>
            <pc:sldMk cId="3256052264" sldId="2147478569"/>
            <ac:spMk id="380" creationId="{20E6FEB7-093D-7B60-B659-46381D0BB1F4}"/>
          </ac:spMkLst>
        </pc:spChg>
        <pc:spChg chg="add del mod">
          <ac:chgData name="Steiner Andreas 6206 ED" userId="e6377c33-a923-4f14-8587-531c474c7b48" providerId="ADAL" clId="{6ECD27E6-B224-41CD-B4E0-E297462320DD}" dt="2023-11-24T08:44:45.478" v="57592"/>
          <ac:spMkLst>
            <pc:docMk/>
            <pc:sldMk cId="3256052264" sldId="2147478569"/>
            <ac:spMk id="381" creationId="{DA97F410-3B57-467A-6909-F2AE84FF83CF}"/>
          </ac:spMkLst>
        </pc:spChg>
        <pc:spChg chg="add del mod">
          <ac:chgData name="Steiner Andreas 6206 ED" userId="e6377c33-a923-4f14-8587-531c474c7b48" providerId="ADAL" clId="{6ECD27E6-B224-41CD-B4E0-E297462320DD}" dt="2023-11-24T08:44:48.212" v="57747"/>
          <ac:spMkLst>
            <pc:docMk/>
            <pc:sldMk cId="3256052264" sldId="2147478569"/>
            <ac:spMk id="382" creationId="{D63B2313-DF3D-D805-91E5-82C3842B5113}"/>
          </ac:spMkLst>
        </pc:spChg>
        <pc:spChg chg="add del mod">
          <ac:chgData name="Steiner Andreas 6206 ED" userId="e6377c33-a923-4f14-8587-531c474c7b48" providerId="ADAL" clId="{6ECD27E6-B224-41CD-B4E0-E297462320DD}" dt="2023-11-24T08:44:50.491" v="57902"/>
          <ac:spMkLst>
            <pc:docMk/>
            <pc:sldMk cId="3256052264" sldId="2147478569"/>
            <ac:spMk id="383" creationId="{F255D23B-5A77-B37F-A761-BB31121FC3F9}"/>
          </ac:spMkLst>
        </pc:spChg>
        <pc:spChg chg="add del mod">
          <ac:chgData name="Steiner Andreas 6206 ED" userId="e6377c33-a923-4f14-8587-531c474c7b48" providerId="ADAL" clId="{6ECD27E6-B224-41CD-B4E0-E297462320DD}" dt="2023-11-24T08:44:52.636" v="58057"/>
          <ac:spMkLst>
            <pc:docMk/>
            <pc:sldMk cId="3256052264" sldId="2147478569"/>
            <ac:spMk id="384" creationId="{0E819F43-55A6-5B14-1F4C-20DD62879F35}"/>
          </ac:spMkLst>
        </pc:spChg>
        <pc:spChg chg="add del mod">
          <ac:chgData name="Steiner Andreas 6206 ED" userId="e6377c33-a923-4f14-8587-531c474c7b48" providerId="ADAL" clId="{6ECD27E6-B224-41CD-B4E0-E297462320DD}" dt="2023-11-24T08:44:54.830" v="58212"/>
          <ac:spMkLst>
            <pc:docMk/>
            <pc:sldMk cId="3256052264" sldId="2147478569"/>
            <ac:spMk id="385" creationId="{9E69B77B-6CEE-1153-B973-9CEBC7109570}"/>
          </ac:spMkLst>
        </pc:spChg>
        <pc:spChg chg="add del mod">
          <ac:chgData name="Steiner Andreas 6206 ED" userId="e6377c33-a923-4f14-8587-531c474c7b48" providerId="ADAL" clId="{6ECD27E6-B224-41CD-B4E0-E297462320DD}" dt="2023-11-24T08:44:56.852" v="58367"/>
          <ac:spMkLst>
            <pc:docMk/>
            <pc:sldMk cId="3256052264" sldId="2147478569"/>
            <ac:spMk id="386" creationId="{E2E9DF84-942B-AA7C-50EA-DFAEEDE3F84B}"/>
          </ac:spMkLst>
        </pc:spChg>
        <pc:spChg chg="add del mod">
          <ac:chgData name="Steiner Andreas 6206 ED" userId="e6377c33-a923-4f14-8587-531c474c7b48" providerId="ADAL" clId="{6ECD27E6-B224-41CD-B4E0-E297462320DD}" dt="2023-11-24T08:44:58.785" v="58522"/>
          <ac:spMkLst>
            <pc:docMk/>
            <pc:sldMk cId="3256052264" sldId="2147478569"/>
            <ac:spMk id="387" creationId="{28282814-92F2-3D03-3480-6E4F78A97705}"/>
          </ac:spMkLst>
        </pc:spChg>
        <pc:spChg chg="add del mod">
          <ac:chgData name="Steiner Andreas 6206 ED" userId="e6377c33-a923-4f14-8587-531c474c7b48" providerId="ADAL" clId="{6ECD27E6-B224-41CD-B4E0-E297462320DD}" dt="2023-11-24T08:45:00.945" v="58677"/>
          <ac:spMkLst>
            <pc:docMk/>
            <pc:sldMk cId="3256052264" sldId="2147478569"/>
            <ac:spMk id="388" creationId="{57314BA9-5CAA-F5B7-B62B-1A31BF2AAB7C}"/>
          </ac:spMkLst>
        </pc:spChg>
        <pc:spChg chg="add del mod">
          <ac:chgData name="Steiner Andreas 6206 ED" userId="e6377c33-a923-4f14-8587-531c474c7b48" providerId="ADAL" clId="{6ECD27E6-B224-41CD-B4E0-E297462320DD}" dt="2023-11-24T08:45:02.868" v="58832"/>
          <ac:spMkLst>
            <pc:docMk/>
            <pc:sldMk cId="3256052264" sldId="2147478569"/>
            <ac:spMk id="389" creationId="{1847EA0C-5C1F-9AB4-8F1C-7FA1E697ACFC}"/>
          </ac:spMkLst>
        </pc:spChg>
        <pc:spChg chg="add del mod">
          <ac:chgData name="Steiner Andreas 6206 ED" userId="e6377c33-a923-4f14-8587-531c474c7b48" providerId="ADAL" clId="{6ECD27E6-B224-41CD-B4E0-E297462320DD}" dt="2023-11-24T08:45:04.719" v="58987"/>
          <ac:spMkLst>
            <pc:docMk/>
            <pc:sldMk cId="3256052264" sldId="2147478569"/>
            <ac:spMk id="390" creationId="{3E001A4F-33DE-A44C-C982-A42290E7FF9C}"/>
          </ac:spMkLst>
        </pc:spChg>
        <pc:spChg chg="add del mod">
          <ac:chgData name="Steiner Andreas 6206 ED" userId="e6377c33-a923-4f14-8587-531c474c7b48" providerId="ADAL" clId="{6ECD27E6-B224-41CD-B4E0-E297462320DD}" dt="2023-11-24T08:45:06.577" v="59142"/>
          <ac:spMkLst>
            <pc:docMk/>
            <pc:sldMk cId="3256052264" sldId="2147478569"/>
            <ac:spMk id="391" creationId="{29EB3316-322F-C7E4-F7DC-001FDE52AE04}"/>
          </ac:spMkLst>
        </pc:spChg>
        <pc:spChg chg="add del mod">
          <ac:chgData name="Steiner Andreas 6206 ED" userId="e6377c33-a923-4f14-8587-531c474c7b48" providerId="ADAL" clId="{6ECD27E6-B224-41CD-B4E0-E297462320DD}" dt="2023-11-24T08:45:08.412" v="59297"/>
          <ac:spMkLst>
            <pc:docMk/>
            <pc:sldMk cId="3256052264" sldId="2147478569"/>
            <ac:spMk id="392" creationId="{866243A6-6A3B-0E6E-FAD2-C8557C746C19}"/>
          </ac:spMkLst>
        </pc:spChg>
        <pc:spChg chg="add del mod">
          <ac:chgData name="Steiner Andreas 6206 ED" userId="e6377c33-a923-4f14-8587-531c474c7b48" providerId="ADAL" clId="{6ECD27E6-B224-41CD-B4E0-E297462320DD}" dt="2023-11-24T08:45:10.221" v="59452"/>
          <ac:spMkLst>
            <pc:docMk/>
            <pc:sldMk cId="3256052264" sldId="2147478569"/>
            <ac:spMk id="393" creationId="{E68A61B8-1D65-1C72-7AE2-188AD9A36D57}"/>
          </ac:spMkLst>
        </pc:spChg>
        <pc:spChg chg="add del mod">
          <ac:chgData name="Steiner Andreas 6206 ED" userId="e6377c33-a923-4f14-8587-531c474c7b48" providerId="ADAL" clId="{6ECD27E6-B224-41CD-B4E0-E297462320DD}" dt="2023-11-24T08:45:12.302" v="59607"/>
          <ac:spMkLst>
            <pc:docMk/>
            <pc:sldMk cId="3256052264" sldId="2147478569"/>
            <ac:spMk id="394" creationId="{D866F818-27D9-3814-B732-643A93714FC9}"/>
          </ac:spMkLst>
        </pc:spChg>
        <pc:spChg chg="add del mod">
          <ac:chgData name="Steiner Andreas 6206 ED" userId="e6377c33-a923-4f14-8587-531c474c7b48" providerId="ADAL" clId="{6ECD27E6-B224-41CD-B4E0-E297462320DD}" dt="2023-11-24T08:45:14.235" v="59762"/>
          <ac:spMkLst>
            <pc:docMk/>
            <pc:sldMk cId="3256052264" sldId="2147478569"/>
            <ac:spMk id="395" creationId="{B0E43554-5CB7-8A21-1CDF-697310AE90C1}"/>
          </ac:spMkLst>
        </pc:spChg>
        <pc:spChg chg="add del mod">
          <ac:chgData name="Steiner Andreas 6206 ED" userId="e6377c33-a923-4f14-8587-531c474c7b48" providerId="ADAL" clId="{6ECD27E6-B224-41CD-B4E0-E297462320DD}" dt="2023-11-24T08:45:16.307" v="59917"/>
          <ac:spMkLst>
            <pc:docMk/>
            <pc:sldMk cId="3256052264" sldId="2147478569"/>
            <ac:spMk id="396" creationId="{0DC8BA30-DE5A-DB07-7BD4-A2FDEF15EECC}"/>
          </ac:spMkLst>
        </pc:spChg>
        <pc:spChg chg="add del mod">
          <ac:chgData name="Steiner Andreas 6206 ED" userId="e6377c33-a923-4f14-8587-531c474c7b48" providerId="ADAL" clId="{6ECD27E6-B224-41CD-B4E0-E297462320DD}" dt="2023-11-24T08:45:18.248" v="60072"/>
          <ac:spMkLst>
            <pc:docMk/>
            <pc:sldMk cId="3256052264" sldId="2147478569"/>
            <ac:spMk id="397" creationId="{5A4E18CB-CC3E-29AE-24DE-D36773E7CE10}"/>
          </ac:spMkLst>
        </pc:spChg>
        <pc:spChg chg="add del mod">
          <ac:chgData name="Steiner Andreas 6206 ED" userId="e6377c33-a923-4f14-8587-531c474c7b48" providerId="ADAL" clId="{6ECD27E6-B224-41CD-B4E0-E297462320DD}" dt="2023-11-24T08:45:20.144" v="60227"/>
          <ac:spMkLst>
            <pc:docMk/>
            <pc:sldMk cId="3256052264" sldId="2147478569"/>
            <ac:spMk id="398" creationId="{50AF0690-5244-5BC7-FA74-5EF038D62C92}"/>
          </ac:spMkLst>
        </pc:spChg>
        <pc:spChg chg="add del mod">
          <ac:chgData name="Steiner Andreas 6206 ED" userId="e6377c33-a923-4f14-8587-531c474c7b48" providerId="ADAL" clId="{6ECD27E6-B224-41CD-B4E0-E297462320DD}" dt="2023-11-24T08:45:22.282" v="60382"/>
          <ac:spMkLst>
            <pc:docMk/>
            <pc:sldMk cId="3256052264" sldId="2147478569"/>
            <ac:spMk id="399" creationId="{E5819AED-D75F-D5DD-3EFB-95EC593F4AC4}"/>
          </ac:spMkLst>
        </pc:spChg>
        <pc:spChg chg="add del mod">
          <ac:chgData name="Steiner Andreas 6206 ED" userId="e6377c33-a923-4f14-8587-531c474c7b48" providerId="ADAL" clId="{6ECD27E6-B224-41CD-B4E0-E297462320DD}" dt="2023-11-24T08:45:24.487" v="60537"/>
          <ac:spMkLst>
            <pc:docMk/>
            <pc:sldMk cId="3256052264" sldId="2147478569"/>
            <ac:spMk id="400" creationId="{5A6D02D9-6D1E-FBD7-FDCC-BC27CCA08D03}"/>
          </ac:spMkLst>
        </pc:spChg>
        <pc:spChg chg="add del mod">
          <ac:chgData name="Steiner Andreas 6206 ED" userId="e6377c33-a923-4f14-8587-531c474c7b48" providerId="ADAL" clId="{6ECD27E6-B224-41CD-B4E0-E297462320DD}" dt="2023-11-24T08:45:26.454" v="60692"/>
          <ac:spMkLst>
            <pc:docMk/>
            <pc:sldMk cId="3256052264" sldId="2147478569"/>
            <ac:spMk id="401" creationId="{F8328A06-4711-9AC7-FF6B-6DAF8631DF59}"/>
          </ac:spMkLst>
        </pc:spChg>
        <pc:spChg chg="add del mod">
          <ac:chgData name="Steiner Andreas 6206 ED" userId="e6377c33-a923-4f14-8587-531c474c7b48" providerId="ADAL" clId="{6ECD27E6-B224-41CD-B4E0-E297462320DD}" dt="2023-11-24T08:45:28.346" v="60847"/>
          <ac:spMkLst>
            <pc:docMk/>
            <pc:sldMk cId="3256052264" sldId="2147478569"/>
            <ac:spMk id="402" creationId="{C16DAD9C-BF54-DA56-CFC3-49552A65EB11}"/>
          </ac:spMkLst>
        </pc:spChg>
        <pc:spChg chg="add del mod">
          <ac:chgData name="Steiner Andreas 6206 ED" userId="e6377c33-a923-4f14-8587-531c474c7b48" providerId="ADAL" clId="{6ECD27E6-B224-41CD-B4E0-E297462320DD}" dt="2023-11-24T08:45:30.168" v="61002"/>
          <ac:spMkLst>
            <pc:docMk/>
            <pc:sldMk cId="3256052264" sldId="2147478569"/>
            <ac:spMk id="403" creationId="{F77CA66D-D615-9AF8-DCE7-0C5F2930D387}"/>
          </ac:spMkLst>
        </pc:spChg>
        <pc:spChg chg="add del mod">
          <ac:chgData name="Steiner Andreas 6206 ED" userId="e6377c33-a923-4f14-8587-531c474c7b48" providerId="ADAL" clId="{6ECD27E6-B224-41CD-B4E0-E297462320DD}" dt="2023-11-24T08:45:32.041" v="61157"/>
          <ac:spMkLst>
            <pc:docMk/>
            <pc:sldMk cId="3256052264" sldId="2147478569"/>
            <ac:spMk id="404" creationId="{5AF8CC70-442E-E628-BF03-96F9FA655294}"/>
          </ac:spMkLst>
        </pc:spChg>
        <pc:spChg chg="add del mod">
          <ac:chgData name="Steiner Andreas 6206 ED" userId="e6377c33-a923-4f14-8587-531c474c7b48" providerId="ADAL" clId="{6ECD27E6-B224-41CD-B4E0-E297462320DD}" dt="2023-11-24T08:45:34.164" v="61312"/>
          <ac:spMkLst>
            <pc:docMk/>
            <pc:sldMk cId="3256052264" sldId="2147478569"/>
            <ac:spMk id="405" creationId="{50980975-570A-2949-9DC4-D940F230DFE6}"/>
          </ac:spMkLst>
        </pc:spChg>
        <pc:spChg chg="add del mod">
          <ac:chgData name="Steiner Andreas 6206 ED" userId="e6377c33-a923-4f14-8587-531c474c7b48" providerId="ADAL" clId="{6ECD27E6-B224-41CD-B4E0-E297462320DD}" dt="2023-11-24T08:45:36.220" v="61467"/>
          <ac:spMkLst>
            <pc:docMk/>
            <pc:sldMk cId="3256052264" sldId="2147478569"/>
            <ac:spMk id="406" creationId="{454FC0F2-7BB1-4141-8405-4D8A27AD1ABA}"/>
          </ac:spMkLst>
        </pc:spChg>
        <pc:spChg chg="add del mod">
          <ac:chgData name="Steiner Andreas 6206 ED" userId="e6377c33-a923-4f14-8587-531c474c7b48" providerId="ADAL" clId="{6ECD27E6-B224-41CD-B4E0-E297462320DD}" dt="2023-11-24T08:45:38.112" v="61622"/>
          <ac:spMkLst>
            <pc:docMk/>
            <pc:sldMk cId="3256052264" sldId="2147478569"/>
            <ac:spMk id="407" creationId="{0C0A1373-0B09-7589-96AA-530B30AC2951}"/>
          </ac:spMkLst>
        </pc:spChg>
        <pc:spChg chg="add del mod">
          <ac:chgData name="Steiner Andreas 6206 ED" userId="e6377c33-a923-4f14-8587-531c474c7b48" providerId="ADAL" clId="{6ECD27E6-B224-41CD-B4E0-E297462320DD}" dt="2023-11-24T08:45:39.989" v="61777"/>
          <ac:spMkLst>
            <pc:docMk/>
            <pc:sldMk cId="3256052264" sldId="2147478569"/>
            <ac:spMk id="408" creationId="{6DEE7BD5-99FD-9015-8DB1-B9E7A600F0C3}"/>
          </ac:spMkLst>
        </pc:spChg>
        <pc:spChg chg="add del mod">
          <ac:chgData name="Steiner Andreas 6206 ED" userId="e6377c33-a923-4f14-8587-531c474c7b48" providerId="ADAL" clId="{6ECD27E6-B224-41CD-B4E0-E297462320DD}" dt="2023-11-24T08:45:41.996" v="61932"/>
          <ac:spMkLst>
            <pc:docMk/>
            <pc:sldMk cId="3256052264" sldId="2147478569"/>
            <ac:spMk id="409" creationId="{9F63F9E4-DE68-AC81-6851-25AB718457F8}"/>
          </ac:spMkLst>
        </pc:spChg>
        <pc:spChg chg="add del mod">
          <ac:chgData name="Steiner Andreas 6206 ED" userId="e6377c33-a923-4f14-8587-531c474c7b48" providerId="ADAL" clId="{6ECD27E6-B224-41CD-B4E0-E297462320DD}" dt="2023-11-24T08:45:43.983" v="62087"/>
          <ac:spMkLst>
            <pc:docMk/>
            <pc:sldMk cId="3256052264" sldId="2147478569"/>
            <ac:spMk id="410" creationId="{12794CC1-7D9A-08A5-8941-8C644D4BEC28}"/>
          </ac:spMkLst>
        </pc:spChg>
        <pc:spChg chg="add del mod">
          <ac:chgData name="Steiner Andreas 6206 ED" userId="e6377c33-a923-4f14-8587-531c474c7b48" providerId="ADAL" clId="{6ECD27E6-B224-41CD-B4E0-E297462320DD}" dt="2023-11-24T08:45:46.088" v="62242"/>
          <ac:spMkLst>
            <pc:docMk/>
            <pc:sldMk cId="3256052264" sldId="2147478569"/>
            <ac:spMk id="411" creationId="{B84489A9-5C8E-F4A8-4B71-7388708FF67C}"/>
          </ac:spMkLst>
        </pc:spChg>
        <pc:spChg chg="add del mod">
          <ac:chgData name="Steiner Andreas 6206 ED" userId="e6377c33-a923-4f14-8587-531c474c7b48" providerId="ADAL" clId="{6ECD27E6-B224-41CD-B4E0-E297462320DD}" dt="2023-11-24T08:45:47.993" v="62397"/>
          <ac:spMkLst>
            <pc:docMk/>
            <pc:sldMk cId="3256052264" sldId="2147478569"/>
            <ac:spMk id="412" creationId="{D430F10B-8EF7-C045-DC9D-C84CA7D982AD}"/>
          </ac:spMkLst>
        </pc:spChg>
        <pc:spChg chg="add del mod">
          <ac:chgData name="Steiner Andreas 6206 ED" userId="e6377c33-a923-4f14-8587-531c474c7b48" providerId="ADAL" clId="{6ECD27E6-B224-41CD-B4E0-E297462320DD}" dt="2023-11-24T08:45:50.300" v="62552"/>
          <ac:spMkLst>
            <pc:docMk/>
            <pc:sldMk cId="3256052264" sldId="2147478569"/>
            <ac:spMk id="413" creationId="{48E480B2-62B8-174C-6070-6E864598C171}"/>
          </ac:spMkLst>
        </pc:spChg>
        <pc:spChg chg="add del mod">
          <ac:chgData name="Steiner Andreas 6206 ED" userId="e6377c33-a923-4f14-8587-531c474c7b48" providerId="ADAL" clId="{6ECD27E6-B224-41CD-B4E0-E297462320DD}" dt="2023-11-24T08:45:52.339" v="62707"/>
          <ac:spMkLst>
            <pc:docMk/>
            <pc:sldMk cId="3256052264" sldId="2147478569"/>
            <ac:spMk id="414" creationId="{ABDE8427-4EB4-2938-21D6-A848C7CA1104}"/>
          </ac:spMkLst>
        </pc:spChg>
        <pc:spChg chg="add del mod">
          <ac:chgData name="Steiner Andreas 6206 ED" userId="e6377c33-a923-4f14-8587-531c474c7b48" providerId="ADAL" clId="{6ECD27E6-B224-41CD-B4E0-E297462320DD}" dt="2023-11-24T08:45:54.361" v="62862"/>
          <ac:spMkLst>
            <pc:docMk/>
            <pc:sldMk cId="3256052264" sldId="2147478569"/>
            <ac:spMk id="415" creationId="{FC644CF6-786A-7A72-8F89-0209191AAF7E}"/>
          </ac:spMkLst>
        </pc:spChg>
        <pc:spChg chg="add del mod">
          <ac:chgData name="Steiner Andreas 6206 ED" userId="e6377c33-a923-4f14-8587-531c474c7b48" providerId="ADAL" clId="{6ECD27E6-B224-41CD-B4E0-E297462320DD}" dt="2023-11-24T08:45:56.533" v="63017"/>
          <ac:spMkLst>
            <pc:docMk/>
            <pc:sldMk cId="3256052264" sldId="2147478569"/>
            <ac:spMk id="416" creationId="{8575312D-067F-4EE5-AA0B-6A2D3744864B}"/>
          </ac:spMkLst>
        </pc:spChg>
        <pc:spChg chg="add del mod">
          <ac:chgData name="Steiner Andreas 6206 ED" userId="e6377c33-a923-4f14-8587-531c474c7b48" providerId="ADAL" clId="{6ECD27E6-B224-41CD-B4E0-E297462320DD}" dt="2023-11-24T08:45:58.574" v="63172"/>
          <ac:spMkLst>
            <pc:docMk/>
            <pc:sldMk cId="3256052264" sldId="2147478569"/>
            <ac:spMk id="417" creationId="{C60E4A0E-DA7B-44D8-495F-559F8E511B91}"/>
          </ac:spMkLst>
        </pc:spChg>
        <pc:spChg chg="add del mod">
          <ac:chgData name="Steiner Andreas 6206 ED" userId="e6377c33-a923-4f14-8587-531c474c7b48" providerId="ADAL" clId="{6ECD27E6-B224-41CD-B4E0-E297462320DD}" dt="2023-11-24T08:46:00.657" v="63327"/>
          <ac:spMkLst>
            <pc:docMk/>
            <pc:sldMk cId="3256052264" sldId="2147478569"/>
            <ac:spMk id="418" creationId="{528DD621-E013-47E2-BC19-A0441B36D55C}"/>
          </ac:spMkLst>
        </pc:spChg>
        <pc:spChg chg="add del mod">
          <ac:chgData name="Steiner Andreas 6206 ED" userId="e6377c33-a923-4f14-8587-531c474c7b48" providerId="ADAL" clId="{6ECD27E6-B224-41CD-B4E0-E297462320DD}" dt="2023-11-24T08:46:02.734" v="63482"/>
          <ac:spMkLst>
            <pc:docMk/>
            <pc:sldMk cId="3256052264" sldId="2147478569"/>
            <ac:spMk id="419" creationId="{B21B54C7-AFA6-17AB-18DB-7D29E54B8E1F}"/>
          </ac:spMkLst>
        </pc:spChg>
        <pc:spChg chg="add del mod">
          <ac:chgData name="Steiner Andreas 6206 ED" userId="e6377c33-a923-4f14-8587-531c474c7b48" providerId="ADAL" clId="{6ECD27E6-B224-41CD-B4E0-E297462320DD}" dt="2023-11-24T08:46:05.089" v="63637"/>
          <ac:spMkLst>
            <pc:docMk/>
            <pc:sldMk cId="3256052264" sldId="2147478569"/>
            <ac:spMk id="420" creationId="{5C533495-78AD-9726-B279-A0CF0759F2B1}"/>
          </ac:spMkLst>
        </pc:spChg>
        <pc:spChg chg="add del mod">
          <ac:chgData name="Steiner Andreas 6206 ED" userId="e6377c33-a923-4f14-8587-531c474c7b48" providerId="ADAL" clId="{6ECD27E6-B224-41CD-B4E0-E297462320DD}" dt="2023-11-24T08:46:07.649" v="63792"/>
          <ac:spMkLst>
            <pc:docMk/>
            <pc:sldMk cId="3256052264" sldId="2147478569"/>
            <ac:spMk id="421" creationId="{F0994619-8875-E1E4-F6E8-94808ACE003E}"/>
          </ac:spMkLst>
        </pc:spChg>
        <pc:spChg chg="add del mod">
          <ac:chgData name="Steiner Andreas 6206 ED" userId="e6377c33-a923-4f14-8587-531c474c7b48" providerId="ADAL" clId="{6ECD27E6-B224-41CD-B4E0-E297462320DD}" dt="2023-11-24T08:46:09.849" v="63947"/>
          <ac:spMkLst>
            <pc:docMk/>
            <pc:sldMk cId="3256052264" sldId="2147478569"/>
            <ac:spMk id="422" creationId="{692C3003-F22F-4F4A-3FFC-DDAD65296D08}"/>
          </ac:spMkLst>
        </pc:spChg>
        <pc:spChg chg="add del mod">
          <ac:chgData name="Steiner Andreas 6206 ED" userId="e6377c33-a923-4f14-8587-531c474c7b48" providerId="ADAL" clId="{6ECD27E6-B224-41CD-B4E0-E297462320DD}" dt="2023-11-24T08:46:12.031" v="64102"/>
          <ac:spMkLst>
            <pc:docMk/>
            <pc:sldMk cId="3256052264" sldId="2147478569"/>
            <ac:spMk id="423" creationId="{1908667E-25B3-E04F-C74B-F81C0078715F}"/>
          </ac:spMkLst>
        </pc:spChg>
        <pc:spChg chg="add del mod">
          <ac:chgData name="Steiner Andreas 6206 ED" userId="e6377c33-a923-4f14-8587-531c474c7b48" providerId="ADAL" clId="{6ECD27E6-B224-41CD-B4E0-E297462320DD}" dt="2023-11-24T08:46:14.188" v="64257"/>
          <ac:spMkLst>
            <pc:docMk/>
            <pc:sldMk cId="3256052264" sldId="2147478569"/>
            <ac:spMk id="424" creationId="{FD4CA6C1-2E2E-AD4F-DF63-CA6A3000FDD0}"/>
          </ac:spMkLst>
        </pc:spChg>
        <pc:spChg chg="add del mod">
          <ac:chgData name="Steiner Andreas 6206 ED" userId="e6377c33-a923-4f14-8587-531c474c7b48" providerId="ADAL" clId="{6ECD27E6-B224-41CD-B4E0-E297462320DD}" dt="2023-11-24T08:46:16.418" v="64412"/>
          <ac:spMkLst>
            <pc:docMk/>
            <pc:sldMk cId="3256052264" sldId="2147478569"/>
            <ac:spMk id="425" creationId="{2684D7D8-6461-9B2F-764B-C4800E5FCA64}"/>
          </ac:spMkLst>
        </pc:spChg>
        <pc:spChg chg="add del mod">
          <ac:chgData name="Steiner Andreas 6206 ED" userId="e6377c33-a923-4f14-8587-531c474c7b48" providerId="ADAL" clId="{6ECD27E6-B224-41CD-B4E0-E297462320DD}" dt="2023-11-24T08:46:18.285" v="64567"/>
          <ac:spMkLst>
            <pc:docMk/>
            <pc:sldMk cId="3256052264" sldId="2147478569"/>
            <ac:spMk id="426" creationId="{26128E1B-85D5-A787-C67C-A00E46728295}"/>
          </ac:spMkLst>
        </pc:spChg>
        <pc:spChg chg="add del mod">
          <ac:chgData name="Steiner Andreas 6206 ED" userId="e6377c33-a923-4f14-8587-531c474c7b48" providerId="ADAL" clId="{6ECD27E6-B224-41CD-B4E0-E297462320DD}" dt="2023-11-24T08:46:20.794" v="64722"/>
          <ac:spMkLst>
            <pc:docMk/>
            <pc:sldMk cId="3256052264" sldId="2147478569"/>
            <ac:spMk id="427" creationId="{F149FF9C-7F94-0F1B-D62A-2794FDDBCBD0}"/>
          </ac:spMkLst>
        </pc:spChg>
        <pc:spChg chg="add del mod">
          <ac:chgData name="Steiner Andreas 6206 ED" userId="e6377c33-a923-4f14-8587-531c474c7b48" providerId="ADAL" clId="{6ECD27E6-B224-41CD-B4E0-E297462320DD}" dt="2023-11-24T08:46:23.056" v="64877"/>
          <ac:spMkLst>
            <pc:docMk/>
            <pc:sldMk cId="3256052264" sldId="2147478569"/>
            <ac:spMk id="428" creationId="{38B042BE-9EE3-3F1D-CFB6-4E4600C372A1}"/>
          </ac:spMkLst>
        </pc:spChg>
        <pc:spChg chg="add del mod">
          <ac:chgData name="Steiner Andreas 6206 ED" userId="e6377c33-a923-4f14-8587-531c474c7b48" providerId="ADAL" clId="{6ECD27E6-B224-41CD-B4E0-E297462320DD}" dt="2023-11-24T08:46:25.322" v="65032"/>
          <ac:spMkLst>
            <pc:docMk/>
            <pc:sldMk cId="3256052264" sldId="2147478569"/>
            <ac:spMk id="429" creationId="{41CD9FEE-DE41-280D-3633-F8FC70CCA887}"/>
          </ac:spMkLst>
        </pc:spChg>
        <pc:spChg chg="add del mod">
          <ac:chgData name="Steiner Andreas 6206 ED" userId="e6377c33-a923-4f14-8587-531c474c7b48" providerId="ADAL" clId="{6ECD27E6-B224-41CD-B4E0-E297462320DD}" dt="2023-11-24T08:46:27.651" v="65187"/>
          <ac:spMkLst>
            <pc:docMk/>
            <pc:sldMk cId="3256052264" sldId="2147478569"/>
            <ac:spMk id="430" creationId="{E1BAEB67-D8FB-04C9-A0F2-D434513697C6}"/>
          </ac:spMkLst>
        </pc:spChg>
        <pc:spChg chg="add del mod">
          <ac:chgData name="Steiner Andreas 6206 ED" userId="e6377c33-a923-4f14-8587-531c474c7b48" providerId="ADAL" clId="{6ECD27E6-B224-41CD-B4E0-E297462320DD}" dt="2023-11-24T08:46:29.665" v="65342"/>
          <ac:spMkLst>
            <pc:docMk/>
            <pc:sldMk cId="3256052264" sldId="2147478569"/>
            <ac:spMk id="431" creationId="{5EAC14EC-555D-31F1-E390-1A79B4A68049}"/>
          </ac:spMkLst>
        </pc:spChg>
        <pc:spChg chg="add del mod">
          <ac:chgData name="Steiner Andreas 6206 ED" userId="e6377c33-a923-4f14-8587-531c474c7b48" providerId="ADAL" clId="{6ECD27E6-B224-41CD-B4E0-E297462320DD}" dt="2023-11-24T08:46:32.142" v="65497"/>
          <ac:spMkLst>
            <pc:docMk/>
            <pc:sldMk cId="3256052264" sldId="2147478569"/>
            <ac:spMk id="432" creationId="{07CE8AB6-71EE-3D79-09D5-E56FD700256D}"/>
          </ac:spMkLst>
        </pc:spChg>
        <pc:spChg chg="add del mod">
          <ac:chgData name="Steiner Andreas 6206 ED" userId="e6377c33-a923-4f14-8587-531c474c7b48" providerId="ADAL" clId="{6ECD27E6-B224-41CD-B4E0-E297462320DD}" dt="2023-11-24T08:46:34.220" v="65652"/>
          <ac:spMkLst>
            <pc:docMk/>
            <pc:sldMk cId="3256052264" sldId="2147478569"/>
            <ac:spMk id="433" creationId="{CBE6EBBD-82E1-FD2A-533D-D2D65ACA7C59}"/>
          </ac:spMkLst>
        </pc:spChg>
        <pc:spChg chg="add del mod">
          <ac:chgData name="Steiner Andreas 6206 ED" userId="e6377c33-a923-4f14-8587-531c474c7b48" providerId="ADAL" clId="{6ECD27E6-B224-41CD-B4E0-E297462320DD}" dt="2023-11-24T08:46:36.154" v="65807"/>
          <ac:spMkLst>
            <pc:docMk/>
            <pc:sldMk cId="3256052264" sldId="2147478569"/>
            <ac:spMk id="434" creationId="{F0C7E78F-F03E-ABF3-F1B1-EC36E3FE54E1}"/>
          </ac:spMkLst>
        </pc:spChg>
        <pc:spChg chg="add del mod">
          <ac:chgData name="Steiner Andreas 6206 ED" userId="e6377c33-a923-4f14-8587-531c474c7b48" providerId="ADAL" clId="{6ECD27E6-B224-41CD-B4E0-E297462320DD}" dt="2023-11-24T08:46:38.230" v="65962"/>
          <ac:spMkLst>
            <pc:docMk/>
            <pc:sldMk cId="3256052264" sldId="2147478569"/>
            <ac:spMk id="435" creationId="{2377E821-F432-8324-160F-AEB3AE5FD693}"/>
          </ac:spMkLst>
        </pc:spChg>
        <pc:spChg chg="add del mod">
          <ac:chgData name="Steiner Andreas 6206 ED" userId="e6377c33-a923-4f14-8587-531c474c7b48" providerId="ADAL" clId="{6ECD27E6-B224-41CD-B4E0-E297462320DD}" dt="2023-11-24T08:46:40.306" v="66117"/>
          <ac:spMkLst>
            <pc:docMk/>
            <pc:sldMk cId="3256052264" sldId="2147478569"/>
            <ac:spMk id="436" creationId="{9E9FE14A-C74C-A4B6-6A53-E42B3D08AE9A}"/>
          </ac:spMkLst>
        </pc:spChg>
        <pc:spChg chg="add del mod">
          <ac:chgData name="Steiner Andreas 6206 ED" userId="e6377c33-a923-4f14-8587-531c474c7b48" providerId="ADAL" clId="{6ECD27E6-B224-41CD-B4E0-E297462320DD}" dt="2023-11-24T08:46:42.576" v="66272"/>
          <ac:spMkLst>
            <pc:docMk/>
            <pc:sldMk cId="3256052264" sldId="2147478569"/>
            <ac:spMk id="437" creationId="{E81F7903-35EF-34B2-D20D-66AB9558FCE9}"/>
          </ac:spMkLst>
        </pc:spChg>
        <pc:spChg chg="add del mod">
          <ac:chgData name="Steiner Andreas 6206 ED" userId="e6377c33-a923-4f14-8587-531c474c7b48" providerId="ADAL" clId="{6ECD27E6-B224-41CD-B4E0-E297462320DD}" dt="2023-11-24T08:46:44.694" v="66427"/>
          <ac:spMkLst>
            <pc:docMk/>
            <pc:sldMk cId="3256052264" sldId="2147478569"/>
            <ac:spMk id="438" creationId="{B3B1D366-1629-A97A-C605-93FE023DB673}"/>
          </ac:spMkLst>
        </pc:spChg>
        <pc:spChg chg="add del mod">
          <ac:chgData name="Steiner Andreas 6206 ED" userId="e6377c33-a923-4f14-8587-531c474c7b48" providerId="ADAL" clId="{6ECD27E6-B224-41CD-B4E0-E297462320DD}" dt="2023-11-24T08:46:46.763" v="66582"/>
          <ac:spMkLst>
            <pc:docMk/>
            <pc:sldMk cId="3256052264" sldId="2147478569"/>
            <ac:spMk id="439" creationId="{D122E8E8-42C5-AE52-47B2-741554121550}"/>
          </ac:spMkLst>
        </pc:spChg>
        <pc:spChg chg="add del mod">
          <ac:chgData name="Steiner Andreas 6206 ED" userId="e6377c33-a923-4f14-8587-531c474c7b48" providerId="ADAL" clId="{6ECD27E6-B224-41CD-B4E0-E297462320DD}" dt="2023-11-24T08:46:48.896" v="66737"/>
          <ac:spMkLst>
            <pc:docMk/>
            <pc:sldMk cId="3256052264" sldId="2147478569"/>
            <ac:spMk id="440" creationId="{7598A697-7FBE-AAFE-AF90-1603D3BBFB68}"/>
          </ac:spMkLst>
        </pc:spChg>
        <pc:spChg chg="add del mod">
          <ac:chgData name="Steiner Andreas 6206 ED" userId="e6377c33-a923-4f14-8587-531c474c7b48" providerId="ADAL" clId="{6ECD27E6-B224-41CD-B4E0-E297462320DD}" dt="2023-11-24T08:46:50.953" v="66892"/>
          <ac:spMkLst>
            <pc:docMk/>
            <pc:sldMk cId="3256052264" sldId="2147478569"/>
            <ac:spMk id="441" creationId="{F174C337-488D-9119-D708-992F0ED02A3A}"/>
          </ac:spMkLst>
        </pc:spChg>
        <pc:spChg chg="add del mod">
          <ac:chgData name="Steiner Andreas 6206 ED" userId="e6377c33-a923-4f14-8587-531c474c7b48" providerId="ADAL" clId="{6ECD27E6-B224-41CD-B4E0-E297462320DD}" dt="2023-11-24T08:46:53.011" v="67047"/>
          <ac:spMkLst>
            <pc:docMk/>
            <pc:sldMk cId="3256052264" sldId="2147478569"/>
            <ac:spMk id="442" creationId="{C9D225C2-E36C-7FBB-FFA5-F0C4F85C84E0}"/>
          </ac:spMkLst>
        </pc:spChg>
        <pc:spChg chg="add del mod">
          <ac:chgData name="Steiner Andreas 6206 ED" userId="e6377c33-a923-4f14-8587-531c474c7b48" providerId="ADAL" clId="{6ECD27E6-B224-41CD-B4E0-E297462320DD}" dt="2023-11-24T08:46:54.975" v="67202"/>
          <ac:spMkLst>
            <pc:docMk/>
            <pc:sldMk cId="3256052264" sldId="2147478569"/>
            <ac:spMk id="443" creationId="{F300F622-1B43-264D-3069-FF557FFF3E28}"/>
          </ac:spMkLst>
        </pc:spChg>
        <pc:spChg chg="add del mod">
          <ac:chgData name="Steiner Andreas 6206 ED" userId="e6377c33-a923-4f14-8587-531c474c7b48" providerId="ADAL" clId="{6ECD27E6-B224-41CD-B4E0-E297462320DD}" dt="2023-11-24T08:46:56.956" v="67357"/>
          <ac:spMkLst>
            <pc:docMk/>
            <pc:sldMk cId="3256052264" sldId="2147478569"/>
            <ac:spMk id="444" creationId="{4A7D65C0-92EA-E8EE-090A-3AA89B48C925}"/>
          </ac:spMkLst>
        </pc:spChg>
        <pc:spChg chg="add del mod">
          <ac:chgData name="Steiner Andreas 6206 ED" userId="e6377c33-a923-4f14-8587-531c474c7b48" providerId="ADAL" clId="{6ECD27E6-B224-41CD-B4E0-E297462320DD}" dt="2023-11-24T08:46:58.819" v="67512"/>
          <ac:spMkLst>
            <pc:docMk/>
            <pc:sldMk cId="3256052264" sldId="2147478569"/>
            <ac:spMk id="445" creationId="{59EA3745-9C6F-9D05-DCD1-A8F0AFB636C2}"/>
          </ac:spMkLst>
        </pc:spChg>
        <pc:spChg chg="add del mod">
          <ac:chgData name="Steiner Andreas 6206 ED" userId="e6377c33-a923-4f14-8587-531c474c7b48" providerId="ADAL" clId="{6ECD27E6-B224-41CD-B4E0-E297462320DD}" dt="2023-11-24T08:47:00.927" v="67667"/>
          <ac:spMkLst>
            <pc:docMk/>
            <pc:sldMk cId="3256052264" sldId="2147478569"/>
            <ac:spMk id="446" creationId="{FFA686C8-2BE5-28A8-64CE-C59A23729587}"/>
          </ac:spMkLst>
        </pc:spChg>
        <pc:spChg chg="add del mod">
          <ac:chgData name="Steiner Andreas 6206 ED" userId="e6377c33-a923-4f14-8587-531c474c7b48" providerId="ADAL" clId="{6ECD27E6-B224-41CD-B4E0-E297462320DD}" dt="2023-11-24T08:47:03.070" v="67822"/>
          <ac:spMkLst>
            <pc:docMk/>
            <pc:sldMk cId="3256052264" sldId="2147478569"/>
            <ac:spMk id="447" creationId="{B47CBE2A-9F58-C746-6A4D-AA0CE5507B42}"/>
          </ac:spMkLst>
        </pc:spChg>
        <pc:spChg chg="add del mod">
          <ac:chgData name="Steiner Andreas 6206 ED" userId="e6377c33-a923-4f14-8587-531c474c7b48" providerId="ADAL" clId="{6ECD27E6-B224-41CD-B4E0-E297462320DD}" dt="2023-11-24T08:47:05.084" v="67977"/>
          <ac:spMkLst>
            <pc:docMk/>
            <pc:sldMk cId="3256052264" sldId="2147478569"/>
            <ac:spMk id="448" creationId="{8C111BFE-7DF5-F13D-007A-1BD435F17DA3}"/>
          </ac:spMkLst>
        </pc:spChg>
        <pc:spChg chg="add del mod">
          <ac:chgData name="Steiner Andreas 6206 ED" userId="e6377c33-a923-4f14-8587-531c474c7b48" providerId="ADAL" clId="{6ECD27E6-B224-41CD-B4E0-E297462320DD}" dt="2023-11-24T08:47:06.858" v="68132"/>
          <ac:spMkLst>
            <pc:docMk/>
            <pc:sldMk cId="3256052264" sldId="2147478569"/>
            <ac:spMk id="449" creationId="{29D641FE-419C-C92B-CB8A-D478A99DF569}"/>
          </ac:spMkLst>
        </pc:spChg>
        <pc:spChg chg="add del mod">
          <ac:chgData name="Steiner Andreas 6206 ED" userId="e6377c33-a923-4f14-8587-531c474c7b48" providerId="ADAL" clId="{6ECD27E6-B224-41CD-B4E0-E297462320DD}" dt="2023-11-24T08:47:08.748" v="68287"/>
          <ac:spMkLst>
            <pc:docMk/>
            <pc:sldMk cId="3256052264" sldId="2147478569"/>
            <ac:spMk id="450" creationId="{D5B002A6-BDF9-5ADD-1657-1A7A2D0B1FB0}"/>
          </ac:spMkLst>
        </pc:spChg>
        <pc:spChg chg="add del mod">
          <ac:chgData name="Steiner Andreas 6206 ED" userId="e6377c33-a923-4f14-8587-531c474c7b48" providerId="ADAL" clId="{6ECD27E6-B224-41CD-B4E0-E297462320DD}" dt="2023-11-24T08:47:10.626" v="68442"/>
          <ac:spMkLst>
            <pc:docMk/>
            <pc:sldMk cId="3256052264" sldId="2147478569"/>
            <ac:spMk id="451" creationId="{9B6DD5A4-8B8A-0BD9-E130-D80DF2B87305}"/>
          </ac:spMkLst>
        </pc:spChg>
        <pc:spChg chg="add del mod">
          <ac:chgData name="Steiner Andreas 6206 ED" userId="e6377c33-a923-4f14-8587-531c474c7b48" providerId="ADAL" clId="{6ECD27E6-B224-41CD-B4E0-E297462320DD}" dt="2023-11-24T08:47:12.505" v="68597"/>
          <ac:spMkLst>
            <pc:docMk/>
            <pc:sldMk cId="3256052264" sldId="2147478569"/>
            <ac:spMk id="452" creationId="{C0F67EB8-7314-FBE2-22A7-F6B986FE8AFD}"/>
          </ac:spMkLst>
        </pc:spChg>
        <pc:spChg chg="add del mod">
          <ac:chgData name="Steiner Andreas 6206 ED" userId="e6377c33-a923-4f14-8587-531c474c7b48" providerId="ADAL" clId="{6ECD27E6-B224-41CD-B4E0-E297462320DD}" dt="2023-11-24T08:47:14.657" v="68752"/>
          <ac:spMkLst>
            <pc:docMk/>
            <pc:sldMk cId="3256052264" sldId="2147478569"/>
            <ac:spMk id="453" creationId="{4E0D6389-B202-4848-A6C6-B5FB3323342B}"/>
          </ac:spMkLst>
        </pc:spChg>
        <pc:spChg chg="add del mod">
          <ac:chgData name="Steiner Andreas 6206 ED" userId="e6377c33-a923-4f14-8587-531c474c7b48" providerId="ADAL" clId="{6ECD27E6-B224-41CD-B4E0-E297462320DD}" dt="2023-11-24T08:47:16.631" v="68907"/>
          <ac:spMkLst>
            <pc:docMk/>
            <pc:sldMk cId="3256052264" sldId="2147478569"/>
            <ac:spMk id="454" creationId="{FD0454BC-B4DF-F0C1-7D75-7ECA3C35FC2F}"/>
          </ac:spMkLst>
        </pc:spChg>
        <pc:spChg chg="add del mod">
          <ac:chgData name="Steiner Andreas 6206 ED" userId="e6377c33-a923-4f14-8587-531c474c7b48" providerId="ADAL" clId="{6ECD27E6-B224-41CD-B4E0-E297462320DD}" dt="2023-11-24T08:47:18.538" v="69062"/>
          <ac:spMkLst>
            <pc:docMk/>
            <pc:sldMk cId="3256052264" sldId="2147478569"/>
            <ac:spMk id="455" creationId="{D1E087FB-1951-1E61-B4BE-0F71051457E4}"/>
          </ac:spMkLst>
        </pc:spChg>
        <pc:spChg chg="add del mod">
          <ac:chgData name="Steiner Andreas 6206 ED" userId="e6377c33-a923-4f14-8587-531c474c7b48" providerId="ADAL" clId="{6ECD27E6-B224-41CD-B4E0-E297462320DD}" dt="2023-11-24T08:47:20.534" v="69217"/>
          <ac:spMkLst>
            <pc:docMk/>
            <pc:sldMk cId="3256052264" sldId="2147478569"/>
            <ac:spMk id="456" creationId="{B4FBF3FB-B7CD-85B6-35D1-D4479957F7F6}"/>
          </ac:spMkLst>
        </pc:spChg>
        <pc:spChg chg="add del mod">
          <ac:chgData name="Steiner Andreas 6206 ED" userId="e6377c33-a923-4f14-8587-531c474c7b48" providerId="ADAL" clId="{6ECD27E6-B224-41CD-B4E0-E297462320DD}" dt="2023-11-24T08:47:22.895" v="69372"/>
          <ac:spMkLst>
            <pc:docMk/>
            <pc:sldMk cId="3256052264" sldId="2147478569"/>
            <ac:spMk id="457" creationId="{AEFC1091-0D48-38AD-2531-2A75899F5583}"/>
          </ac:spMkLst>
        </pc:spChg>
        <pc:spChg chg="add del mod">
          <ac:chgData name="Steiner Andreas 6206 ED" userId="e6377c33-a923-4f14-8587-531c474c7b48" providerId="ADAL" clId="{6ECD27E6-B224-41CD-B4E0-E297462320DD}" dt="2023-11-24T08:47:25.570" v="69527"/>
          <ac:spMkLst>
            <pc:docMk/>
            <pc:sldMk cId="3256052264" sldId="2147478569"/>
            <ac:spMk id="458" creationId="{628EF9B2-B06D-C738-33E3-54FB5621AF66}"/>
          </ac:spMkLst>
        </pc:spChg>
        <pc:spChg chg="add del mod">
          <ac:chgData name="Steiner Andreas 6206 ED" userId="e6377c33-a923-4f14-8587-531c474c7b48" providerId="ADAL" clId="{6ECD27E6-B224-41CD-B4E0-E297462320DD}" dt="2023-11-24T08:47:27.775" v="69682"/>
          <ac:spMkLst>
            <pc:docMk/>
            <pc:sldMk cId="3256052264" sldId="2147478569"/>
            <ac:spMk id="459" creationId="{3C747C31-A0EC-95F1-4EEE-F9E9A15884BB}"/>
          </ac:spMkLst>
        </pc:spChg>
        <pc:spChg chg="add del mod">
          <ac:chgData name="Steiner Andreas 6206 ED" userId="e6377c33-a923-4f14-8587-531c474c7b48" providerId="ADAL" clId="{6ECD27E6-B224-41CD-B4E0-E297462320DD}" dt="2023-11-24T08:47:29.850" v="69837"/>
          <ac:spMkLst>
            <pc:docMk/>
            <pc:sldMk cId="3256052264" sldId="2147478569"/>
            <ac:spMk id="460" creationId="{6E6825DF-12B8-D4A5-E25F-F1A349FD9E72}"/>
          </ac:spMkLst>
        </pc:spChg>
        <pc:spChg chg="add del mod">
          <ac:chgData name="Steiner Andreas 6206 ED" userId="e6377c33-a923-4f14-8587-531c474c7b48" providerId="ADAL" clId="{6ECD27E6-B224-41CD-B4E0-E297462320DD}" dt="2023-11-24T08:47:31.816" v="69992"/>
          <ac:spMkLst>
            <pc:docMk/>
            <pc:sldMk cId="3256052264" sldId="2147478569"/>
            <ac:spMk id="461" creationId="{B8BC9408-3C0E-6067-F66B-7D7688D5C148}"/>
          </ac:spMkLst>
        </pc:spChg>
        <pc:spChg chg="add del mod">
          <ac:chgData name="Steiner Andreas 6206 ED" userId="e6377c33-a923-4f14-8587-531c474c7b48" providerId="ADAL" clId="{6ECD27E6-B224-41CD-B4E0-E297462320DD}" dt="2023-11-24T08:47:33.811" v="70147"/>
          <ac:spMkLst>
            <pc:docMk/>
            <pc:sldMk cId="3256052264" sldId="2147478569"/>
            <ac:spMk id="462" creationId="{BD3038F1-E2EF-8D3A-7C2D-BC21DB41E89A}"/>
          </ac:spMkLst>
        </pc:spChg>
        <pc:spChg chg="add del mod">
          <ac:chgData name="Steiner Andreas 6206 ED" userId="e6377c33-a923-4f14-8587-531c474c7b48" providerId="ADAL" clId="{6ECD27E6-B224-41CD-B4E0-E297462320DD}" dt="2023-11-24T08:47:35.964" v="70302"/>
          <ac:spMkLst>
            <pc:docMk/>
            <pc:sldMk cId="3256052264" sldId="2147478569"/>
            <ac:spMk id="463" creationId="{6175D8A1-437F-A329-2B19-F05DE35D061F}"/>
          </ac:spMkLst>
        </pc:spChg>
        <pc:spChg chg="add del mod">
          <ac:chgData name="Steiner Andreas 6206 ED" userId="e6377c33-a923-4f14-8587-531c474c7b48" providerId="ADAL" clId="{6ECD27E6-B224-41CD-B4E0-E297462320DD}" dt="2023-11-24T08:47:38.072" v="70457"/>
          <ac:spMkLst>
            <pc:docMk/>
            <pc:sldMk cId="3256052264" sldId="2147478569"/>
            <ac:spMk id="464" creationId="{4E92632F-5EC8-F831-4D63-0170B320F8D5}"/>
          </ac:spMkLst>
        </pc:spChg>
        <pc:spChg chg="add del mod">
          <ac:chgData name="Steiner Andreas 6206 ED" userId="e6377c33-a923-4f14-8587-531c474c7b48" providerId="ADAL" clId="{6ECD27E6-B224-41CD-B4E0-E297462320DD}" dt="2023-11-24T08:47:40.150" v="70612"/>
          <ac:spMkLst>
            <pc:docMk/>
            <pc:sldMk cId="3256052264" sldId="2147478569"/>
            <ac:spMk id="465" creationId="{BC05D640-954A-6FEB-9CF5-26FC01C55E55}"/>
          </ac:spMkLst>
        </pc:spChg>
        <pc:spChg chg="add del mod">
          <ac:chgData name="Steiner Andreas 6206 ED" userId="e6377c33-a923-4f14-8587-531c474c7b48" providerId="ADAL" clId="{6ECD27E6-B224-41CD-B4E0-E297462320DD}" dt="2023-11-24T08:47:42.078" v="70767"/>
          <ac:spMkLst>
            <pc:docMk/>
            <pc:sldMk cId="3256052264" sldId="2147478569"/>
            <ac:spMk id="466" creationId="{6E013387-AEFE-BC51-5EB3-27EE02BD46DD}"/>
          </ac:spMkLst>
        </pc:spChg>
        <pc:spChg chg="add del mod">
          <ac:chgData name="Steiner Andreas 6206 ED" userId="e6377c33-a923-4f14-8587-531c474c7b48" providerId="ADAL" clId="{6ECD27E6-B224-41CD-B4E0-E297462320DD}" dt="2023-11-24T08:47:43.997" v="70922"/>
          <ac:spMkLst>
            <pc:docMk/>
            <pc:sldMk cId="3256052264" sldId="2147478569"/>
            <ac:spMk id="467" creationId="{1EADA098-0238-B879-B302-0F667EBB0A9D}"/>
          </ac:spMkLst>
        </pc:spChg>
        <pc:spChg chg="add del mod">
          <ac:chgData name="Steiner Andreas 6206 ED" userId="e6377c33-a923-4f14-8587-531c474c7b48" providerId="ADAL" clId="{6ECD27E6-B224-41CD-B4E0-E297462320DD}" dt="2023-11-24T08:47:45.924" v="71077"/>
          <ac:spMkLst>
            <pc:docMk/>
            <pc:sldMk cId="3256052264" sldId="2147478569"/>
            <ac:spMk id="468" creationId="{D4096D66-649B-F41F-BB1B-E570BA2D0EE8}"/>
          </ac:spMkLst>
        </pc:spChg>
        <pc:spChg chg="add del mod">
          <ac:chgData name="Steiner Andreas 6206 ED" userId="e6377c33-a923-4f14-8587-531c474c7b48" providerId="ADAL" clId="{6ECD27E6-B224-41CD-B4E0-E297462320DD}" dt="2023-11-24T08:47:48.005" v="71232"/>
          <ac:spMkLst>
            <pc:docMk/>
            <pc:sldMk cId="3256052264" sldId="2147478569"/>
            <ac:spMk id="469" creationId="{7872372B-D596-C56D-C490-1EE60AFE9650}"/>
          </ac:spMkLst>
        </pc:spChg>
        <pc:spChg chg="add del mod">
          <ac:chgData name="Steiner Andreas 6206 ED" userId="e6377c33-a923-4f14-8587-531c474c7b48" providerId="ADAL" clId="{6ECD27E6-B224-41CD-B4E0-E297462320DD}" dt="2023-11-24T08:47:50.114" v="71387"/>
          <ac:spMkLst>
            <pc:docMk/>
            <pc:sldMk cId="3256052264" sldId="2147478569"/>
            <ac:spMk id="470" creationId="{AAEEBCA8-3343-896E-EE4A-4E47CB1F85AD}"/>
          </ac:spMkLst>
        </pc:spChg>
        <pc:spChg chg="add del mod">
          <ac:chgData name="Steiner Andreas 6206 ED" userId="e6377c33-a923-4f14-8587-531c474c7b48" providerId="ADAL" clId="{6ECD27E6-B224-41CD-B4E0-E297462320DD}" dt="2023-11-24T08:47:52.028" v="71542"/>
          <ac:spMkLst>
            <pc:docMk/>
            <pc:sldMk cId="3256052264" sldId="2147478569"/>
            <ac:spMk id="471" creationId="{942F8F09-4745-F0DD-E14F-A04C173BE51A}"/>
          </ac:spMkLst>
        </pc:spChg>
        <pc:spChg chg="add del mod">
          <ac:chgData name="Steiner Andreas 6206 ED" userId="e6377c33-a923-4f14-8587-531c474c7b48" providerId="ADAL" clId="{6ECD27E6-B224-41CD-B4E0-E297462320DD}" dt="2023-11-24T08:47:53.981" v="71697"/>
          <ac:spMkLst>
            <pc:docMk/>
            <pc:sldMk cId="3256052264" sldId="2147478569"/>
            <ac:spMk id="472" creationId="{E74F06EE-4F12-1A82-AE92-0D36B5E8C175}"/>
          </ac:spMkLst>
        </pc:spChg>
        <pc:spChg chg="add del mod">
          <ac:chgData name="Steiner Andreas 6206 ED" userId="e6377c33-a923-4f14-8587-531c474c7b48" providerId="ADAL" clId="{6ECD27E6-B224-41CD-B4E0-E297462320DD}" dt="2023-11-24T08:47:55.812" v="71852"/>
          <ac:spMkLst>
            <pc:docMk/>
            <pc:sldMk cId="3256052264" sldId="2147478569"/>
            <ac:spMk id="473" creationId="{63939B27-A824-7F86-D986-B97C0DEF2B37}"/>
          </ac:spMkLst>
        </pc:spChg>
        <pc:spChg chg="add del mod">
          <ac:chgData name="Steiner Andreas 6206 ED" userId="e6377c33-a923-4f14-8587-531c474c7b48" providerId="ADAL" clId="{6ECD27E6-B224-41CD-B4E0-E297462320DD}" dt="2023-11-24T08:47:57.802" v="72007"/>
          <ac:spMkLst>
            <pc:docMk/>
            <pc:sldMk cId="3256052264" sldId="2147478569"/>
            <ac:spMk id="474" creationId="{26548DE2-DC1D-0683-94E9-54914A8B8F34}"/>
          </ac:spMkLst>
        </pc:spChg>
        <pc:spChg chg="add del mod">
          <ac:chgData name="Steiner Andreas 6206 ED" userId="e6377c33-a923-4f14-8587-531c474c7b48" providerId="ADAL" clId="{6ECD27E6-B224-41CD-B4E0-E297462320DD}" dt="2023-11-24T08:47:59.925" v="72162"/>
          <ac:spMkLst>
            <pc:docMk/>
            <pc:sldMk cId="3256052264" sldId="2147478569"/>
            <ac:spMk id="475" creationId="{ADC4B109-4A27-61F4-ABE3-D75214F0CFE7}"/>
          </ac:spMkLst>
        </pc:spChg>
        <pc:spChg chg="add del mod">
          <ac:chgData name="Steiner Andreas 6206 ED" userId="e6377c33-a923-4f14-8587-531c474c7b48" providerId="ADAL" clId="{6ECD27E6-B224-41CD-B4E0-E297462320DD}" dt="2023-11-24T08:48:02.059" v="72317"/>
          <ac:spMkLst>
            <pc:docMk/>
            <pc:sldMk cId="3256052264" sldId="2147478569"/>
            <ac:spMk id="476" creationId="{ADE703CA-8BBA-EE27-267C-9D220E176800}"/>
          </ac:spMkLst>
        </pc:spChg>
        <pc:spChg chg="add del mod">
          <ac:chgData name="Steiner Andreas 6206 ED" userId="e6377c33-a923-4f14-8587-531c474c7b48" providerId="ADAL" clId="{6ECD27E6-B224-41CD-B4E0-E297462320DD}" dt="2023-11-24T08:48:04.082" v="72472"/>
          <ac:spMkLst>
            <pc:docMk/>
            <pc:sldMk cId="3256052264" sldId="2147478569"/>
            <ac:spMk id="477" creationId="{28DF4497-7584-CD58-142F-223F0E6D9990}"/>
          </ac:spMkLst>
        </pc:spChg>
        <pc:spChg chg="add del mod">
          <ac:chgData name="Steiner Andreas 6206 ED" userId="e6377c33-a923-4f14-8587-531c474c7b48" providerId="ADAL" clId="{6ECD27E6-B224-41CD-B4E0-E297462320DD}" dt="2023-11-24T08:48:06.275" v="72627"/>
          <ac:spMkLst>
            <pc:docMk/>
            <pc:sldMk cId="3256052264" sldId="2147478569"/>
            <ac:spMk id="478" creationId="{87BF564E-6CC3-B629-8F02-9E308B0885C2}"/>
          </ac:spMkLst>
        </pc:spChg>
        <pc:spChg chg="add del mod">
          <ac:chgData name="Steiner Andreas 6206 ED" userId="e6377c33-a923-4f14-8587-531c474c7b48" providerId="ADAL" clId="{6ECD27E6-B224-41CD-B4E0-E297462320DD}" dt="2023-11-24T08:48:08.462" v="72782"/>
          <ac:spMkLst>
            <pc:docMk/>
            <pc:sldMk cId="3256052264" sldId="2147478569"/>
            <ac:spMk id="479" creationId="{28A37294-A837-B124-AC0A-BD2133CB0E5D}"/>
          </ac:spMkLst>
        </pc:spChg>
        <pc:spChg chg="add del mod">
          <ac:chgData name="Steiner Andreas 6206 ED" userId="e6377c33-a923-4f14-8587-531c474c7b48" providerId="ADAL" clId="{6ECD27E6-B224-41CD-B4E0-E297462320DD}" dt="2023-11-24T08:48:10.505" v="72937"/>
          <ac:spMkLst>
            <pc:docMk/>
            <pc:sldMk cId="3256052264" sldId="2147478569"/>
            <ac:spMk id="480" creationId="{F464D7E5-AB36-0505-B9A8-5F6F14D92789}"/>
          </ac:spMkLst>
        </pc:spChg>
        <pc:spChg chg="add del mod">
          <ac:chgData name="Steiner Andreas 6206 ED" userId="e6377c33-a923-4f14-8587-531c474c7b48" providerId="ADAL" clId="{6ECD27E6-B224-41CD-B4E0-E297462320DD}" dt="2023-11-24T08:48:12.475" v="73092"/>
          <ac:spMkLst>
            <pc:docMk/>
            <pc:sldMk cId="3256052264" sldId="2147478569"/>
            <ac:spMk id="481" creationId="{02C630FB-A558-665B-97F1-52BAA346F6A1}"/>
          </ac:spMkLst>
        </pc:spChg>
        <pc:spChg chg="add del mod">
          <ac:chgData name="Steiner Andreas 6206 ED" userId="e6377c33-a923-4f14-8587-531c474c7b48" providerId="ADAL" clId="{6ECD27E6-B224-41CD-B4E0-E297462320DD}" dt="2023-11-24T08:48:14.975" v="73247"/>
          <ac:spMkLst>
            <pc:docMk/>
            <pc:sldMk cId="3256052264" sldId="2147478569"/>
            <ac:spMk id="482" creationId="{998E1B97-80CB-40C3-7148-E77CC6357AB7}"/>
          </ac:spMkLst>
        </pc:spChg>
        <pc:spChg chg="add del mod">
          <ac:chgData name="Steiner Andreas 6206 ED" userId="e6377c33-a923-4f14-8587-531c474c7b48" providerId="ADAL" clId="{6ECD27E6-B224-41CD-B4E0-E297462320DD}" dt="2023-11-24T08:48:17.773" v="73402"/>
          <ac:spMkLst>
            <pc:docMk/>
            <pc:sldMk cId="3256052264" sldId="2147478569"/>
            <ac:spMk id="483" creationId="{A6F79150-BD1C-29EE-00CD-244B65E94F8B}"/>
          </ac:spMkLst>
        </pc:spChg>
        <pc:spChg chg="add del mod">
          <ac:chgData name="Steiner Andreas 6206 ED" userId="e6377c33-a923-4f14-8587-531c474c7b48" providerId="ADAL" clId="{6ECD27E6-B224-41CD-B4E0-E297462320DD}" dt="2023-11-24T08:48:20.315" v="73557"/>
          <ac:spMkLst>
            <pc:docMk/>
            <pc:sldMk cId="3256052264" sldId="2147478569"/>
            <ac:spMk id="484" creationId="{9CB2C2DC-DAEB-101A-805D-208F3F0843C8}"/>
          </ac:spMkLst>
        </pc:spChg>
        <pc:spChg chg="add del mod">
          <ac:chgData name="Steiner Andreas 6206 ED" userId="e6377c33-a923-4f14-8587-531c474c7b48" providerId="ADAL" clId="{6ECD27E6-B224-41CD-B4E0-E297462320DD}" dt="2023-11-24T08:48:22.450" v="73712"/>
          <ac:spMkLst>
            <pc:docMk/>
            <pc:sldMk cId="3256052264" sldId="2147478569"/>
            <ac:spMk id="485" creationId="{161B8082-DF3B-CB7A-1587-5F8C7821A24B}"/>
          </ac:spMkLst>
        </pc:spChg>
        <pc:spChg chg="add del mod">
          <ac:chgData name="Steiner Andreas 6206 ED" userId="e6377c33-a923-4f14-8587-531c474c7b48" providerId="ADAL" clId="{6ECD27E6-B224-41CD-B4E0-E297462320DD}" dt="2023-11-24T08:48:24.529" v="73867"/>
          <ac:spMkLst>
            <pc:docMk/>
            <pc:sldMk cId="3256052264" sldId="2147478569"/>
            <ac:spMk id="486" creationId="{DCEA833B-EC47-7C8A-264A-72AC05DD8D6A}"/>
          </ac:spMkLst>
        </pc:spChg>
        <pc:spChg chg="add del mod">
          <ac:chgData name="Steiner Andreas 6206 ED" userId="e6377c33-a923-4f14-8587-531c474c7b48" providerId="ADAL" clId="{6ECD27E6-B224-41CD-B4E0-E297462320DD}" dt="2023-11-24T08:48:26.635" v="74022"/>
          <ac:spMkLst>
            <pc:docMk/>
            <pc:sldMk cId="3256052264" sldId="2147478569"/>
            <ac:spMk id="487" creationId="{AF9FB474-A3DD-2E7D-F9AC-3EBB973A518D}"/>
          </ac:spMkLst>
        </pc:spChg>
        <pc:spChg chg="add del mod">
          <ac:chgData name="Steiner Andreas 6206 ED" userId="e6377c33-a923-4f14-8587-531c474c7b48" providerId="ADAL" clId="{6ECD27E6-B224-41CD-B4E0-E297462320DD}" dt="2023-11-24T08:48:28.646" v="74177"/>
          <ac:spMkLst>
            <pc:docMk/>
            <pc:sldMk cId="3256052264" sldId="2147478569"/>
            <ac:spMk id="488" creationId="{3B5E8353-B47E-BC2A-F40B-623B1C09AB3F}"/>
          </ac:spMkLst>
        </pc:spChg>
        <pc:spChg chg="add del mod">
          <ac:chgData name="Steiner Andreas 6206 ED" userId="e6377c33-a923-4f14-8587-531c474c7b48" providerId="ADAL" clId="{6ECD27E6-B224-41CD-B4E0-E297462320DD}" dt="2023-11-24T08:48:30.524" v="74332"/>
          <ac:spMkLst>
            <pc:docMk/>
            <pc:sldMk cId="3256052264" sldId="2147478569"/>
            <ac:spMk id="489" creationId="{3CB7958E-9C02-D912-58BF-047C5B41C02C}"/>
          </ac:spMkLst>
        </pc:spChg>
        <pc:spChg chg="add del mod">
          <ac:chgData name="Steiner Andreas 6206 ED" userId="e6377c33-a923-4f14-8587-531c474c7b48" providerId="ADAL" clId="{6ECD27E6-B224-41CD-B4E0-E297462320DD}" dt="2023-11-24T08:48:32.491" v="74487"/>
          <ac:spMkLst>
            <pc:docMk/>
            <pc:sldMk cId="3256052264" sldId="2147478569"/>
            <ac:spMk id="490" creationId="{6E355234-8AF1-82CC-1DB4-0B2A85031267}"/>
          </ac:spMkLst>
        </pc:spChg>
        <pc:spChg chg="add del mod">
          <ac:chgData name="Steiner Andreas 6206 ED" userId="e6377c33-a923-4f14-8587-531c474c7b48" providerId="ADAL" clId="{6ECD27E6-B224-41CD-B4E0-E297462320DD}" dt="2023-11-24T08:48:34.773" v="74642"/>
          <ac:spMkLst>
            <pc:docMk/>
            <pc:sldMk cId="3256052264" sldId="2147478569"/>
            <ac:spMk id="491" creationId="{48095474-BEEE-DD7F-67D9-D7E016703E19}"/>
          </ac:spMkLst>
        </pc:spChg>
        <pc:spChg chg="add del mod">
          <ac:chgData name="Steiner Andreas 6206 ED" userId="e6377c33-a923-4f14-8587-531c474c7b48" providerId="ADAL" clId="{6ECD27E6-B224-41CD-B4E0-E297462320DD}" dt="2023-11-24T08:48:36.897" v="74797"/>
          <ac:spMkLst>
            <pc:docMk/>
            <pc:sldMk cId="3256052264" sldId="2147478569"/>
            <ac:spMk id="492" creationId="{9E687D44-DB81-BDD3-E160-563842384CF4}"/>
          </ac:spMkLst>
        </pc:spChg>
        <pc:spChg chg="add del mod">
          <ac:chgData name="Steiner Andreas 6206 ED" userId="e6377c33-a923-4f14-8587-531c474c7b48" providerId="ADAL" clId="{6ECD27E6-B224-41CD-B4E0-E297462320DD}" dt="2023-11-24T08:48:38.969" v="74952"/>
          <ac:spMkLst>
            <pc:docMk/>
            <pc:sldMk cId="3256052264" sldId="2147478569"/>
            <ac:spMk id="493" creationId="{4460799B-4933-8048-5750-A7F1699DB06B}"/>
          </ac:spMkLst>
        </pc:spChg>
        <pc:spChg chg="add del mod">
          <ac:chgData name="Steiner Andreas 6206 ED" userId="e6377c33-a923-4f14-8587-531c474c7b48" providerId="ADAL" clId="{6ECD27E6-B224-41CD-B4E0-E297462320DD}" dt="2023-11-24T08:48:41.094" v="75107"/>
          <ac:spMkLst>
            <pc:docMk/>
            <pc:sldMk cId="3256052264" sldId="2147478569"/>
            <ac:spMk id="494" creationId="{4E4C18DD-850C-BCE0-E49E-F8E17FE8FE93}"/>
          </ac:spMkLst>
        </pc:spChg>
        <pc:spChg chg="add del mod">
          <ac:chgData name="Steiner Andreas 6206 ED" userId="e6377c33-a923-4f14-8587-531c474c7b48" providerId="ADAL" clId="{6ECD27E6-B224-41CD-B4E0-E297462320DD}" dt="2023-11-24T08:48:43.525" v="75262"/>
          <ac:spMkLst>
            <pc:docMk/>
            <pc:sldMk cId="3256052264" sldId="2147478569"/>
            <ac:spMk id="495" creationId="{3E59383D-6F0B-6FC3-B5B0-9BA016E71B9C}"/>
          </ac:spMkLst>
        </pc:spChg>
        <pc:spChg chg="add del mod">
          <ac:chgData name="Steiner Andreas 6206 ED" userId="e6377c33-a923-4f14-8587-531c474c7b48" providerId="ADAL" clId="{6ECD27E6-B224-41CD-B4E0-E297462320DD}" dt="2023-11-24T08:48:45.841" v="75417"/>
          <ac:spMkLst>
            <pc:docMk/>
            <pc:sldMk cId="3256052264" sldId="2147478569"/>
            <ac:spMk id="496" creationId="{CB704434-B92F-A314-2697-07630BED5864}"/>
          </ac:spMkLst>
        </pc:spChg>
        <pc:spChg chg="add del mod">
          <ac:chgData name="Steiner Andreas 6206 ED" userId="e6377c33-a923-4f14-8587-531c474c7b48" providerId="ADAL" clId="{6ECD27E6-B224-41CD-B4E0-E297462320DD}" dt="2023-11-24T08:48:47.884" v="75572"/>
          <ac:spMkLst>
            <pc:docMk/>
            <pc:sldMk cId="3256052264" sldId="2147478569"/>
            <ac:spMk id="497" creationId="{B9823E0D-8190-26E1-E40E-5BF7439F3FA8}"/>
          </ac:spMkLst>
        </pc:spChg>
        <pc:spChg chg="add del mod">
          <ac:chgData name="Steiner Andreas 6206 ED" userId="e6377c33-a923-4f14-8587-531c474c7b48" providerId="ADAL" clId="{6ECD27E6-B224-41CD-B4E0-E297462320DD}" dt="2023-11-24T08:48:49.830" v="75727"/>
          <ac:spMkLst>
            <pc:docMk/>
            <pc:sldMk cId="3256052264" sldId="2147478569"/>
            <ac:spMk id="498" creationId="{6A3D3519-B880-98D5-2053-4F24F71D8298}"/>
          </ac:spMkLst>
        </pc:spChg>
        <pc:spChg chg="add del mod">
          <ac:chgData name="Steiner Andreas 6206 ED" userId="e6377c33-a923-4f14-8587-531c474c7b48" providerId="ADAL" clId="{6ECD27E6-B224-41CD-B4E0-E297462320DD}" dt="2023-11-24T08:48:52.077" v="75882"/>
          <ac:spMkLst>
            <pc:docMk/>
            <pc:sldMk cId="3256052264" sldId="2147478569"/>
            <ac:spMk id="499" creationId="{55E66A3B-4716-FA9B-78F6-624323A8E53F}"/>
          </ac:spMkLst>
        </pc:spChg>
        <pc:spChg chg="add del mod">
          <ac:chgData name="Steiner Andreas 6206 ED" userId="e6377c33-a923-4f14-8587-531c474c7b48" providerId="ADAL" clId="{6ECD27E6-B224-41CD-B4E0-E297462320DD}" dt="2023-11-24T08:48:53.986" v="76037"/>
          <ac:spMkLst>
            <pc:docMk/>
            <pc:sldMk cId="3256052264" sldId="2147478569"/>
            <ac:spMk id="500" creationId="{69E9E7C3-A54C-09C6-1037-843126F411BF}"/>
          </ac:spMkLst>
        </pc:spChg>
        <pc:spChg chg="add del mod">
          <ac:chgData name="Steiner Andreas 6206 ED" userId="e6377c33-a923-4f14-8587-531c474c7b48" providerId="ADAL" clId="{6ECD27E6-B224-41CD-B4E0-E297462320DD}" dt="2023-11-24T08:48:55.976" v="76192"/>
          <ac:spMkLst>
            <pc:docMk/>
            <pc:sldMk cId="3256052264" sldId="2147478569"/>
            <ac:spMk id="501" creationId="{DE9F4146-B82B-8AD8-9BB2-6D814BC38451}"/>
          </ac:spMkLst>
        </pc:spChg>
        <pc:spChg chg="add del mod">
          <ac:chgData name="Steiner Andreas 6206 ED" userId="e6377c33-a923-4f14-8587-531c474c7b48" providerId="ADAL" clId="{6ECD27E6-B224-41CD-B4E0-E297462320DD}" dt="2023-11-24T08:48:57.921" v="76347"/>
          <ac:spMkLst>
            <pc:docMk/>
            <pc:sldMk cId="3256052264" sldId="2147478569"/>
            <ac:spMk id="502" creationId="{F7429172-0DC1-E715-8734-8AD7DCD7D4FD}"/>
          </ac:spMkLst>
        </pc:spChg>
        <pc:spChg chg="add del mod">
          <ac:chgData name="Steiner Andreas 6206 ED" userId="e6377c33-a923-4f14-8587-531c474c7b48" providerId="ADAL" clId="{6ECD27E6-B224-41CD-B4E0-E297462320DD}" dt="2023-11-24T08:48:59.975" v="76502"/>
          <ac:spMkLst>
            <pc:docMk/>
            <pc:sldMk cId="3256052264" sldId="2147478569"/>
            <ac:spMk id="503" creationId="{B5A57655-24D4-5D37-41FF-6E27FCA7D53E}"/>
          </ac:spMkLst>
        </pc:spChg>
        <pc:spChg chg="add del mod">
          <ac:chgData name="Steiner Andreas 6206 ED" userId="e6377c33-a923-4f14-8587-531c474c7b48" providerId="ADAL" clId="{6ECD27E6-B224-41CD-B4E0-E297462320DD}" dt="2023-11-24T08:49:01.957" v="76657"/>
          <ac:spMkLst>
            <pc:docMk/>
            <pc:sldMk cId="3256052264" sldId="2147478569"/>
            <ac:spMk id="504" creationId="{367DF189-9A0E-22E5-CF73-3A32F5C93D24}"/>
          </ac:spMkLst>
        </pc:spChg>
        <pc:spChg chg="add del mod">
          <ac:chgData name="Steiner Andreas 6206 ED" userId="e6377c33-a923-4f14-8587-531c474c7b48" providerId="ADAL" clId="{6ECD27E6-B224-41CD-B4E0-E297462320DD}" dt="2023-11-24T08:49:03.918" v="76812"/>
          <ac:spMkLst>
            <pc:docMk/>
            <pc:sldMk cId="3256052264" sldId="2147478569"/>
            <ac:spMk id="505" creationId="{A0421692-3EAF-2940-684D-7281BC90A6A9}"/>
          </ac:spMkLst>
        </pc:spChg>
        <pc:spChg chg="add del mod">
          <ac:chgData name="Steiner Andreas 6206 ED" userId="e6377c33-a923-4f14-8587-531c474c7b48" providerId="ADAL" clId="{6ECD27E6-B224-41CD-B4E0-E297462320DD}" dt="2023-11-24T08:49:05.811" v="76967"/>
          <ac:spMkLst>
            <pc:docMk/>
            <pc:sldMk cId="3256052264" sldId="2147478569"/>
            <ac:spMk id="506" creationId="{5DB1BC24-FB7E-1D93-E407-8691A374E23E}"/>
          </ac:spMkLst>
        </pc:spChg>
        <pc:spChg chg="add del mod">
          <ac:chgData name="Steiner Andreas 6206 ED" userId="e6377c33-a923-4f14-8587-531c474c7b48" providerId="ADAL" clId="{6ECD27E6-B224-41CD-B4E0-E297462320DD}" dt="2023-11-24T08:49:07.924" v="77122"/>
          <ac:spMkLst>
            <pc:docMk/>
            <pc:sldMk cId="3256052264" sldId="2147478569"/>
            <ac:spMk id="507" creationId="{B460B8C0-82AE-487B-D15D-148CA7C5D2DE}"/>
          </ac:spMkLst>
        </pc:spChg>
        <pc:spChg chg="add del mod">
          <ac:chgData name="Steiner Andreas 6206 ED" userId="e6377c33-a923-4f14-8587-531c474c7b48" providerId="ADAL" clId="{6ECD27E6-B224-41CD-B4E0-E297462320DD}" dt="2023-11-24T08:49:09.810" v="77277"/>
          <ac:spMkLst>
            <pc:docMk/>
            <pc:sldMk cId="3256052264" sldId="2147478569"/>
            <ac:spMk id="508" creationId="{A60446BC-2EB4-E048-8505-7FAA8E453557}"/>
          </ac:spMkLst>
        </pc:spChg>
        <pc:spChg chg="add del mod">
          <ac:chgData name="Steiner Andreas 6206 ED" userId="e6377c33-a923-4f14-8587-531c474c7b48" providerId="ADAL" clId="{6ECD27E6-B224-41CD-B4E0-E297462320DD}" dt="2023-11-24T08:49:11.587" v="77432"/>
          <ac:spMkLst>
            <pc:docMk/>
            <pc:sldMk cId="3256052264" sldId="2147478569"/>
            <ac:spMk id="509" creationId="{43CA67FF-A506-D73B-AD28-6B10BC4F2015}"/>
          </ac:spMkLst>
        </pc:spChg>
        <pc:spChg chg="add del mod">
          <ac:chgData name="Steiner Andreas 6206 ED" userId="e6377c33-a923-4f14-8587-531c474c7b48" providerId="ADAL" clId="{6ECD27E6-B224-41CD-B4E0-E297462320DD}" dt="2023-11-24T08:49:13.682" v="77587"/>
          <ac:spMkLst>
            <pc:docMk/>
            <pc:sldMk cId="3256052264" sldId="2147478569"/>
            <ac:spMk id="510" creationId="{5FD23A6E-B377-75DC-4A14-A2978C4821C1}"/>
          </ac:spMkLst>
        </pc:spChg>
        <pc:spChg chg="add del mod">
          <ac:chgData name="Steiner Andreas 6206 ED" userId="e6377c33-a923-4f14-8587-531c474c7b48" providerId="ADAL" clId="{6ECD27E6-B224-41CD-B4E0-E297462320DD}" dt="2023-11-24T08:49:15.683" v="77742"/>
          <ac:spMkLst>
            <pc:docMk/>
            <pc:sldMk cId="3256052264" sldId="2147478569"/>
            <ac:spMk id="511" creationId="{11DF9EFA-544B-9F95-34A3-0721FA1DF788}"/>
          </ac:spMkLst>
        </pc:spChg>
        <pc:spChg chg="add del mod">
          <ac:chgData name="Steiner Andreas 6206 ED" userId="e6377c33-a923-4f14-8587-531c474c7b48" providerId="ADAL" clId="{6ECD27E6-B224-41CD-B4E0-E297462320DD}" dt="2023-11-24T08:49:17.702" v="77897"/>
          <ac:spMkLst>
            <pc:docMk/>
            <pc:sldMk cId="3256052264" sldId="2147478569"/>
            <ac:spMk id="512" creationId="{8F5917AB-0B45-F4B1-9BDA-26DFD404793B}"/>
          </ac:spMkLst>
        </pc:spChg>
        <pc:spChg chg="add del mod">
          <ac:chgData name="Steiner Andreas 6206 ED" userId="e6377c33-a923-4f14-8587-531c474c7b48" providerId="ADAL" clId="{6ECD27E6-B224-41CD-B4E0-E297462320DD}" dt="2023-11-24T08:49:19.761" v="78052"/>
          <ac:spMkLst>
            <pc:docMk/>
            <pc:sldMk cId="3256052264" sldId="2147478569"/>
            <ac:spMk id="513" creationId="{6CDFAD89-93D0-3A4F-EA6C-46E84B2F126B}"/>
          </ac:spMkLst>
        </pc:spChg>
        <pc:spChg chg="add del mod">
          <ac:chgData name="Steiner Andreas 6206 ED" userId="e6377c33-a923-4f14-8587-531c474c7b48" providerId="ADAL" clId="{6ECD27E6-B224-41CD-B4E0-E297462320DD}" dt="2023-11-24T08:49:21.664" v="78207"/>
          <ac:spMkLst>
            <pc:docMk/>
            <pc:sldMk cId="3256052264" sldId="2147478569"/>
            <ac:spMk id="514" creationId="{16E63643-A795-5385-0B1D-2E963BDE8595}"/>
          </ac:spMkLst>
        </pc:spChg>
        <pc:spChg chg="add del mod">
          <ac:chgData name="Steiner Andreas 6206 ED" userId="e6377c33-a923-4f14-8587-531c474c7b48" providerId="ADAL" clId="{6ECD27E6-B224-41CD-B4E0-E297462320DD}" dt="2023-11-24T08:49:23.562" v="78362"/>
          <ac:spMkLst>
            <pc:docMk/>
            <pc:sldMk cId="3256052264" sldId="2147478569"/>
            <ac:spMk id="515" creationId="{8D91DAF3-DC99-3F24-DEFC-0C134B07ECEF}"/>
          </ac:spMkLst>
        </pc:spChg>
        <pc:spChg chg="add del mod">
          <ac:chgData name="Steiner Andreas 6206 ED" userId="e6377c33-a923-4f14-8587-531c474c7b48" providerId="ADAL" clId="{6ECD27E6-B224-41CD-B4E0-E297462320DD}" dt="2023-11-24T08:49:25.442" v="78517"/>
          <ac:spMkLst>
            <pc:docMk/>
            <pc:sldMk cId="3256052264" sldId="2147478569"/>
            <ac:spMk id="516" creationId="{F4B1C1BC-C1C5-6982-494C-0D3E8BAB7A41}"/>
          </ac:spMkLst>
        </pc:spChg>
        <pc:spChg chg="add del mod">
          <ac:chgData name="Steiner Andreas 6206 ED" userId="e6377c33-a923-4f14-8587-531c474c7b48" providerId="ADAL" clId="{6ECD27E6-B224-41CD-B4E0-E297462320DD}" dt="2023-11-24T08:49:27.503" v="78672"/>
          <ac:spMkLst>
            <pc:docMk/>
            <pc:sldMk cId="3256052264" sldId="2147478569"/>
            <ac:spMk id="517" creationId="{8E67CD61-CEEE-94F3-1237-5EC7A26B8C62}"/>
          </ac:spMkLst>
        </pc:spChg>
        <pc:spChg chg="add del mod">
          <ac:chgData name="Steiner Andreas 6206 ED" userId="e6377c33-a923-4f14-8587-531c474c7b48" providerId="ADAL" clId="{6ECD27E6-B224-41CD-B4E0-E297462320DD}" dt="2023-11-24T08:49:29.528" v="78827"/>
          <ac:spMkLst>
            <pc:docMk/>
            <pc:sldMk cId="3256052264" sldId="2147478569"/>
            <ac:spMk id="518" creationId="{BA8994E8-DBCB-4FBE-AFA7-BEA1ED7B269A}"/>
          </ac:spMkLst>
        </pc:spChg>
        <pc:spChg chg="add del mod">
          <ac:chgData name="Steiner Andreas 6206 ED" userId="e6377c33-a923-4f14-8587-531c474c7b48" providerId="ADAL" clId="{6ECD27E6-B224-41CD-B4E0-E297462320DD}" dt="2023-11-24T08:49:31.468" v="78982"/>
          <ac:spMkLst>
            <pc:docMk/>
            <pc:sldMk cId="3256052264" sldId="2147478569"/>
            <ac:spMk id="519" creationId="{F8DA33CF-BADD-952F-FAB3-0C3A3EFCC178}"/>
          </ac:spMkLst>
        </pc:spChg>
        <pc:spChg chg="add del mod">
          <ac:chgData name="Steiner Andreas 6206 ED" userId="e6377c33-a923-4f14-8587-531c474c7b48" providerId="ADAL" clId="{6ECD27E6-B224-41CD-B4E0-E297462320DD}" dt="2023-11-24T08:49:33.371" v="79137"/>
          <ac:spMkLst>
            <pc:docMk/>
            <pc:sldMk cId="3256052264" sldId="2147478569"/>
            <ac:spMk id="520" creationId="{56EC9A48-49AC-C274-75CD-17F7267C53C2}"/>
          </ac:spMkLst>
        </pc:spChg>
        <pc:spChg chg="add del mod">
          <ac:chgData name="Steiner Andreas 6206 ED" userId="e6377c33-a923-4f14-8587-531c474c7b48" providerId="ADAL" clId="{6ECD27E6-B224-41CD-B4E0-E297462320DD}" dt="2023-11-24T08:49:35.275" v="79292"/>
          <ac:spMkLst>
            <pc:docMk/>
            <pc:sldMk cId="3256052264" sldId="2147478569"/>
            <ac:spMk id="521" creationId="{1666C549-D97E-C496-DCEC-37CCB353A36E}"/>
          </ac:spMkLst>
        </pc:spChg>
        <pc:spChg chg="add del mod">
          <ac:chgData name="Steiner Andreas 6206 ED" userId="e6377c33-a923-4f14-8587-531c474c7b48" providerId="ADAL" clId="{6ECD27E6-B224-41CD-B4E0-E297462320DD}" dt="2023-11-24T08:49:37.108" v="79447"/>
          <ac:spMkLst>
            <pc:docMk/>
            <pc:sldMk cId="3256052264" sldId="2147478569"/>
            <ac:spMk id="522" creationId="{1B3CBCA4-00C1-1E19-75FF-7311959345C3}"/>
          </ac:spMkLst>
        </pc:spChg>
        <pc:spChg chg="add del mod">
          <ac:chgData name="Steiner Andreas 6206 ED" userId="e6377c33-a923-4f14-8587-531c474c7b48" providerId="ADAL" clId="{6ECD27E6-B224-41CD-B4E0-E297462320DD}" dt="2023-11-24T08:49:39.074" v="79602"/>
          <ac:spMkLst>
            <pc:docMk/>
            <pc:sldMk cId="3256052264" sldId="2147478569"/>
            <ac:spMk id="523" creationId="{BA31C5AD-2F4B-3719-C033-FCFFFCF302C9}"/>
          </ac:spMkLst>
        </pc:spChg>
        <pc:spChg chg="add del mod">
          <ac:chgData name="Steiner Andreas 6206 ED" userId="e6377c33-a923-4f14-8587-531c474c7b48" providerId="ADAL" clId="{6ECD27E6-B224-41CD-B4E0-E297462320DD}" dt="2023-11-24T08:49:41.158" v="79757"/>
          <ac:spMkLst>
            <pc:docMk/>
            <pc:sldMk cId="3256052264" sldId="2147478569"/>
            <ac:spMk id="524" creationId="{D18BF592-3F8B-017C-2770-38CCD7A0EF44}"/>
          </ac:spMkLst>
        </pc:spChg>
        <pc:spChg chg="add del mod">
          <ac:chgData name="Steiner Andreas 6206 ED" userId="e6377c33-a923-4f14-8587-531c474c7b48" providerId="ADAL" clId="{6ECD27E6-B224-41CD-B4E0-E297462320DD}" dt="2023-11-24T08:49:43.071" v="79912"/>
          <ac:spMkLst>
            <pc:docMk/>
            <pc:sldMk cId="3256052264" sldId="2147478569"/>
            <ac:spMk id="525" creationId="{53445B0D-0887-DA1F-8366-F4B76283011E}"/>
          </ac:spMkLst>
        </pc:spChg>
        <pc:spChg chg="add del mod">
          <ac:chgData name="Steiner Andreas 6206 ED" userId="e6377c33-a923-4f14-8587-531c474c7b48" providerId="ADAL" clId="{6ECD27E6-B224-41CD-B4E0-E297462320DD}" dt="2023-11-24T08:49:45.016" v="80067"/>
          <ac:spMkLst>
            <pc:docMk/>
            <pc:sldMk cId="3256052264" sldId="2147478569"/>
            <ac:spMk id="526" creationId="{9D4D5AA1-3644-A464-276D-FC367DF2D457}"/>
          </ac:spMkLst>
        </pc:spChg>
        <pc:spChg chg="add del mod">
          <ac:chgData name="Steiner Andreas 6206 ED" userId="e6377c33-a923-4f14-8587-531c474c7b48" providerId="ADAL" clId="{6ECD27E6-B224-41CD-B4E0-E297462320DD}" dt="2023-11-24T08:49:46.972" v="80222"/>
          <ac:spMkLst>
            <pc:docMk/>
            <pc:sldMk cId="3256052264" sldId="2147478569"/>
            <ac:spMk id="527" creationId="{F2DCEAF0-97E5-2C36-0EA2-2ACD7EBA3AE7}"/>
          </ac:spMkLst>
        </pc:spChg>
        <pc:spChg chg="add del mod">
          <ac:chgData name="Steiner Andreas 6206 ED" userId="e6377c33-a923-4f14-8587-531c474c7b48" providerId="ADAL" clId="{6ECD27E6-B224-41CD-B4E0-E297462320DD}" dt="2023-11-24T08:49:48.853" v="80377"/>
          <ac:spMkLst>
            <pc:docMk/>
            <pc:sldMk cId="3256052264" sldId="2147478569"/>
            <ac:spMk id="528" creationId="{3999506D-2668-03A9-3E4C-77D5AF641171}"/>
          </ac:spMkLst>
        </pc:spChg>
        <pc:spChg chg="add del mod">
          <ac:chgData name="Steiner Andreas 6206 ED" userId="e6377c33-a923-4f14-8587-531c474c7b48" providerId="ADAL" clId="{6ECD27E6-B224-41CD-B4E0-E297462320DD}" dt="2023-11-24T08:49:50.748" v="80532"/>
          <ac:spMkLst>
            <pc:docMk/>
            <pc:sldMk cId="3256052264" sldId="2147478569"/>
            <ac:spMk id="529" creationId="{0835DCC9-7FBD-9944-5740-843DDAD3C2A3}"/>
          </ac:spMkLst>
        </pc:spChg>
        <pc:spChg chg="add del mod">
          <ac:chgData name="Steiner Andreas 6206 ED" userId="e6377c33-a923-4f14-8587-531c474c7b48" providerId="ADAL" clId="{6ECD27E6-B224-41CD-B4E0-E297462320DD}" dt="2023-11-24T08:49:52.677" v="80687"/>
          <ac:spMkLst>
            <pc:docMk/>
            <pc:sldMk cId="3256052264" sldId="2147478569"/>
            <ac:spMk id="530" creationId="{E7F2B707-225A-CEB3-A5E8-BB9C20A0FA45}"/>
          </ac:spMkLst>
        </pc:spChg>
        <pc:spChg chg="add del mod">
          <ac:chgData name="Steiner Andreas 6206 ED" userId="e6377c33-a923-4f14-8587-531c474c7b48" providerId="ADAL" clId="{6ECD27E6-B224-41CD-B4E0-E297462320DD}" dt="2023-11-24T08:49:54.612" v="80842"/>
          <ac:spMkLst>
            <pc:docMk/>
            <pc:sldMk cId="3256052264" sldId="2147478569"/>
            <ac:spMk id="531" creationId="{95BD0C31-181E-5533-71AC-014A1C24A1D8}"/>
          </ac:spMkLst>
        </pc:spChg>
        <pc:spChg chg="add del mod">
          <ac:chgData name="Steiner Andreas 6206 ED" userId="e6377c33-a923-4f14-8587-531c474c7b48" providerId="ADAL" clId="{6ECD27E6-B224-41CD-B4E0-E297462320DD}" dt="2023-11-24T08:49:56.486" v="80997"/>
          <ac:spMkLst>
            <pc:docMk/>
            <pc:sldMk cId="3256052264" sldId="2147478569"/>
            <ac:spMk id="532" creationId="{221EDF99-47EA-2773-8735-9DDC861DE9F0}"/>
          </ac:spMkLst>
        </pc:spChg>
        <pc:spChg chg="add del mod">
          <ac:chgData name="Steiner Andreas 6206 ED" userId="e6377c33-a923-4f14-8587-531c474c7b48" providerId="ADAL" clId="{6ECD27E6-B224-41CD-B4E0-E297462320DD}" dt="2023-11-24T08:49:58.375" v="81152"/>
          <ac:spMkLst>
            <pc:docMk/>
            <pc:sldMk cId="3256052264" sldId="2147478569"/>
            <ac:spMk id="533" creationId="{7D6D62C6-8820-AA10-8B11-F4419D07CDB5}"/>
          </ac:spMkLst>
        </pc:spChg>
        <pc:spChg chg="add del mod">
          <ac:chgData name="Steiner Andreas 6206 ED" userId="e6377c33-a923-4f14-8587-531c474c7b48" providerId="ADAL" clId="{6ECD27E6-B224-41CD-B4E0-E297462320DD}" dt="2023-11-24T08:50:00.303" v="81307"/>
          <ac:spMkLst>
            <pc:docMk/>
            <pc:sldMk cId="3256052264" sldId="2147478569"/>
            <ac:spMk id="534" creationId="{8F2A29CA-FF51-BA0D-A983-734F6F5CA075}"/>
          </ac:spMkLst>
        </pc:spChg>
        <pc:spChg chg="add del mod">
          <ac:chgData name="Steiner Andreas 6206 ED" userId="e6377c33-a923-4f14-8587-531c474c7b48" providerId="ADAL" clId="{6ECD27E6-B224-41CD-B4E0-E297462320DD}" dt="2023-11-24T08:50:02.376" v="81462"/>
          <ac:spMkLst>
            <pc:docMk/>
            <pc:sldMk cId="3256052264" sldId="2147478569"/>
            <ac:spMk id="535" creationId="{226B25C9-8688-6E5B-C97F-7D37144AA785}"/>
          </ac:spMkLst>
        </pc:spChg>
        <pc:spChg chg="add del mod">
          <ac:chgData name="Steiner Andreas 6206 ED" userId="e6377c33-a923-4f14-8587-531c474c7b48" providerId="ADAL" clId="{6ECD27E6-B224-41CD-B4E0-E297462320DD}" dt="2023-11-24T08:50:04.439" v="81617"/>
          <ac:spMkLst>
            <pc:docMk/>
            <pc:sldMk cId="3256052264" sldId="2147478569"/>
            <ac:spMk id="536" creationId="{7434AD5D-683F-8A57-687B-3F2D91017FB6}"/>
          </ac:spMkLst>
        </pc:spChg>
        <pc:spChg chg="add del mod">
          <ac:chgData name="Steiner Andreas 6206 ED" userId="e6377c33-a923-4f14-8587-531c474c7b48" providerId="ADAL" clId="{6ECD27E6-B224-41CD-B4E0-E297462320DD}" dt="2023-11-24T08:50:06.383" v="81772"/>
          <ac:spMkLst>
            <pc:docMk/>
            <pc:sldMk cId="3256052264" sldId="2147478569"/>
            <ac:spMk id="537" creationId="{393DBADC-40DF-B1F0-49C4-0548DF2E2FA3}"/>
          </ac:spMkLst>
        </pc:spChg>
        <pc:spChg chg="add del mod">
          <ac:chgData name="Steiner Andreas 6206 ED" userId="e6377c33-a923-4f14-8587-531c474c7b48" providerId="ADAL" clId="{6ECD27E6-B224-41CD-B4E0-E297462320DD}" dt="2023-11-24T08:50:08.267" v="81927"/>
          <ac:spMkLst>
            <pc:docMk/>
            <pc:sldMk cId="3256052264" sldId="2147478569"/>
            <ac:spMk id="538" creationId="{96F0B18B-F169-E3A8-7114-18C3FA69AA06}"/>
          </ac:spMkLst>
        </pc:spChg>
        <pc:spChg chg="add del mod">
          <ac:chgData name="Steiner Andreas 6206 ED" userId="e6377c33-a923-4f14-8587-531c474c7b48" providerId="ADAL" clId="{6ECD27E6-B224-41CD-B4E0-E297462320DD}" dt="2023-11-24T08:50:10.162" v="82082"/>
          <ac:spMkLst>
            <pc:docMk/>
            <pc:sldMk cId="3256052264" sldId="2147478569"/>
            <ac:spMk id="539" creationId="{6E54A62E-D91E-38B9-2BEA-48590C2B047C}"/>
          </ac:spMkLst>
        </pc:spChg>
        <pc:spChg chg="add del mod">
          <ac:chgData name="Steiner Andreas 6206 ED" userId="e6377c33-a923-4f14-8587-531c474c7b48" providerId="ADAL" clId="{6ECD27E6-B224-41CD-B4E0-E297462320DD}" dt="2023-11-24T08:50:12.075" v="82237"/>
          <ac:spMkLst>
            <pc:docMk/>
            <pc:sldMk cId="3256052264" sldId="2147478569"/>
            <ac:spMk id="540" creationId="{5EA2CF6F-5456-FEF0-70DE-87B70D2628C6}"/>
          </ac:spMkLst>
        </pc:spChg>
        <pc:spChg chg="add del mod">
          <ac:chgData name="Steiner Andreas 6206 ED" userId="e6377c33-a923-4f14-8587-531c474c7b48" providerId="ADAL" clId="{6ECD27E6-B224-41CD-B4E0-E297462320DD}" dt="2023-11-24T08:50:14.139" v="82392"/>
          <ac:spMkLst>
            <pc:docMk/>
            <pc:sldMk cId="3256052264" sldId="2147478569"/>
            <ac:spMk id="541" creationId="{0D340ECD-B570-7500-5A20-991DDD0D3A0C}"/>
          </ac:spMkLst>
        </pc:spChg>
        <pc:spChg chg="add del mod">
          <ac:chgData name="Steiner Andreas 6206 ED" userId="e6377c33-a923-4f14-8587-531c474c7b48" providerId="ADAL" clId="{6ECD27E6-B224-41CD-B4E0-E297462320DD}" dt="2023-11-24T08:50:16.097" v="82547"/>
          <ac:spMkLst>
            <pc:docMk/>
            <pc:sldMk cId="3256052264" sldId="2147478569"/>
            <ac:spMk id="542" creationId="{EF8F583C-927A-E785-321E-B1EE726F04FD}"/>
          </ac:spMkLst>
        </pc:spChg>
        <pc:spChg chg="add del mod">
          <ac:chgData name="Steiner Andreas 6206 ED" userId="e6377c33-a923-4f14-8587-531c474c7b48" providerId="ADAL" clId="{6ECD27E6-B224-41CD-B4E0-E297462320DD}" dt="2023-11-24T08:50:18.075" v="82702"/>
          <ac:spMkLst>
            <pc:docMk/>
            <pc:sldMk cId="3256052264" sldId="2147478569"/>
            <ac:spMk id="543" creationId="{C25BE3FA-A602-766E-1C51-BB579A4EF2CA}"/>
          </ac:spMkLst>
        </pc:spChg>
        <pc:spChg chg="add del mod">
          <ac:chgData name="Steiner Andreas 6206 ED" userId="e6377c33-a923-4f14-8587-531c474c7b48" providerId="ADAL" clId="{6ECD27E6-B224-41CD-B4E0-E297462320DD}" dt="2023-11-24T08:50:20.276" v="82857"/>
          <ac:spMkLst>
            <pc:docMk/>
            <pc:sldMk cId="3256052264" sldId="2147478569"/>
            <ac:spMk id="544" creationId="{88D8CC00-4973-CB07-7E7B-CFD9A0761CA5}"/>
          </ac:spMkLst>
        </pc:spChg>
        <pc:spChg chg="add del mod">
          <ac:chgData name="Steiner Andreas 6206 ED" userId="e6377c33-a923-4f14-8587-531c474c7b48" providerId="ADAL" clId="{6ECD27E6-B224-41CD-B4E0-E297462320DD}" dt="2023-11-24T08:50:22.219" v="83012"/>
          <ac:spMkLst>
            <pc:docMk/>
            <pc:sldMk cId="3256052264" sldId="2147478569"/>
            <ac:spMk id="545" creationId="{5A3C070A-8AEE-262A-3438-899E17023EF8}"/>
          </ac:spMkLst>
        </pc:spChg>
        <pc:spChg chg="add del mod">
          <ac:chgData name="Steiner Andreas 6206 ED" userId="e6377c33-a923-4f14-8587-531c474c7b48" providerId="ADAL" clId="{6ECD27E6-B224-41CD-B4E0-E297462320DD}" dt="2023-11-24T08:50:24.296" v="83167"/>
          <ac:spMkLst>
            <pc:docMk/>
            <pc:sldMk cId="3256052264" sldId="2147478569"/>
            <ac:spMk id="546" creationId="{CDE18A15-3A4F-494A-6359-ED5FAB5B8CE0}"/>
          </ac:spMkLst>
        </pc:spChg>
        <pc:spChg chg="add del mod">
          <ac:chgData name="Steiner Andreas 6206 ED" userId="e6377c33-a923-4f14-8587-531c474c7b48" providerId="ADAL" clId="{6ECD27E6-B224-41CD-B4E0-E297462320DD}" dt="2023-11-24T08:50:26.311" v="83322"/>
          <ac:spMkLst>
            <pc:docMk/>
            <pc:sldMk cId="3256052264" sldId="2147478569"/>
            <ac:spMk id="547" creationId="{E3B2DC71-3BC5-66F0-92F6-117DC39A276B}"/>
          </ac:spMkLst>
        </pc:spChg>
        <pc:spChg chg="add del mod">
          <ac:chgData name="Steiner Andreas 6206 ED" userId="e6377c33-a923-4f14-8587-531c474c7b48" providerId="ADAL" clId="{6ECD27E6-B224-41CD-B4E0-E297462320DD}" dt="2023-11-24T08:50:28.242" v="83477"/>
          <ac:spMkLst>
            <pc:docMk/>
            <pc:sldMk cId="3256052264" sldId="2147478569"/>
            <ac:spMk id="548" creationId="{E11233EA-83F6-662F-326B-E93A72792F50}"/>
          </ac:spMkLst>
        </pc:spChg>
        <pc:spChg chg="add del mod">
          <ac:chgData name="Steiner Andreas 6206 ED" userId="e6377c33-a923-4f14-8587-531c474c7b48" providerId="ADAL" clId="{6ECD27E6-B224-41CD-B4E0-E297462320DD}" dt="2023-11-24T08:50:30.156" v="83632"/>
          <ac:spMkLst>
            <pc:docMk/>
            <pc:sldMk cId="3256052264" sldId="2147478569"/>
            <ac:spMk id="549" creationId="{D446E743-25F6-5247-BCBC-1D722AA50DB5}"/>
          </ac:spMkLst>
        </pc:spChg>
        <pc:spChg chg="add del mod">
          <ac:chgData name="Steiner Andreas 6206 ED" userId="e6377c33-a923-4f14-8587-531c474c7b48" providerId="ADAL" clId="{6ECD27E6-B224-41CD-B4E0-E297462320DD}" dt="2023-11-24T08:50:32.193" v="83787"/>
          <ac:spMkLst>
            <pc:docMk/>
            <pc:sldMk cId="3256052264" sldId="2147478569"/>
            <ac:spMk id="550" creationId="{9B1466F0-A1E0-8388-81CB-7F479C35F199}"/>
          </ac:spMkLst>
        </pc:spChg>
        <pc:spChg chg="add del mod">
          <ac:chgData name="Steiner Andreas 6206 ED" userId="e6377c33-a923-4f14-8587-531c474c7b48" providerId="ADAL" clId="{6ECD27E6-B224-41CD-B4E0-E297462320DD}" dt="2023-11-24T08:50:34.229" v="83942"/>
          <ac:spMkLst>
            <pc:docMk/>
            <pc:sldMk cId="3256052264" sldId="2147478569"/>
            <ac:spMk id="551" creationId="{D86C3F61-9BE4-ACAB-045C-FE790C85DC06}"/>
          </ac:spMkLst>
        </pc:spChg>
        <pc:spChg chg="add del mod">
          <ac:chgData name="Steiner Andreas 6206 ED" userId="e6377c33-a923-4f14-8587-531c474c7b48" providerId="ADAL" clId="{6ECD27E6-B224-41CD-B4E0-E297462320DD}" dt="2023-11-24T08:50:36.473" v="84097"/>
          <ac:spMkLst>
            <pc:docMk/>
            <pc:sldMk cId="3256052264" sldId="2147478569"/>
            <ac:spMk id="552" creationId="{DA63A233-990C-622A-14F1-9C138583653F}"/>
          </ac:spMkLst>
        </pc:spChg>
        <pc:spChg chg="add del mod">
          <ac:chgData name="Steiner Andreas 6206 ED" userId="e6377c33-a923-4f14-8587-531c474c7b48" providerId="ADAL" clId="{6ECD27E6-B224-41CD-B4E0-E297462320DD}" dt="2023-11-24T08:50:38.432" v="84252"/>
          <ac:spMkLst>
            <pc:docMk/>
            <pc:sldMk cId="3256052264" sldId="2147478569"/>
            <ac:spMk id="553" creationId="{1B590938-5283-2699-56AE-0CDDB22C8CAA}"/>
          </ac:spMkLst>
        </pc:spChg>
        <pc:spChg chg="add del mod">
          <ac:chgData name="Steiner Andreas 6206 ED" userId="e6377c33-a923-4f14-8587-531c474c7b48" providerId="ADAL" clId="{6ECD27E6-B224-41CD-B4E0-E297462320DD}" dt="2023-11-24T08:50:40.409" v="84407"/>
          <ac:spMkLst>
            <pc:docMk/>
            <pc:sldMk cId="3256052264" sldId="2147478569"/>
            <ac:spMk id="554" creationId="{8D77B2D3-0BC6-8882-4F3A-128F9DF79805}"/>
          </ac:spMkLst>
        </pc:spChg>
        <pc:spChg chg="add del mod">
          <ac:chgData name="Steiner Andreas 6206 ED" userId="e6377c33-a923-4f14-8587-531c474c7b48" providerId="ADAL" clId="{6ECD27E6-B224-41CD-B4E0-E297462320DD}" dt="2023-11-24T08:50:42.415" v="84562"/>
          <ac:spMkLst>
            <pc:docMk/>
            <pc:sldMk cId="3256052264" sldId="2147478569"/>
            <ac:spMk id="555" creationId="{6A138900-957D-2D94-A2C9-F5AE46D2C636}"/>
          </ac:spMkLst>
        </pc:spChg>
        <pc:spChg chg="add del mod">
          <ac:chgData name="Steiner Andreas 6206 ED" userId="e6377c33-a923-4f14-8587-531c474c7b48" providerId="ADAL" clId="{6ECD27E6-B224-41CD-B4E0-E297462320DD}" dt="2023-11-24T08:50:44.572" v="84717"/>
          <ac:spMkLst>
            <pc:docMk/>
            <pc:sldMk cId="3256052264" sldId="2147478569"/>
            <ac:spMk id="556" creationId="{5B43FF74-1679-93B1-43FF-A326759FDDAD}"/>
          </ac:spMkLst>
        </pc:spChg>
        <pc:spChg chg="add del mod">
          <ac:chgData name="Steiner Andreas 6206 ED" userId="e6377c33-a923-4f14-8587-531c474c7b48" providerId="ADAL" clId="{6ECD27E6-B224-41CD-B4E0-E297462320DD}" dt="2023-11-24T08:50:46.675" v="84872"/>
          <ac:spMkLst>
            <pc:docMk/>
            <pc:sldMk cId="3256052264" sldId="2147478569"/>
            <ac:spMk id="557" creationId="{65AB23CC-521B-7D9C-DBCA-E700E90FC2C0}"/>
          </ac:spMkLst>
        </pc:spChg>
        <pc:spChg chg="add del mod">
          <ac:chgData name="Steiner Andreas 6206 ED" userId="e6377c33-a923-4f14-8587-531c474c7b48" providerId="ADAL" clId="{6ECD27E6-B224-41CD-B4E0-E297462320DD}" dt="2023-11-24T08:50:48.811" v="85027"/>
          <ac:spMkLst>
            <pc:docMk/>
            <pc:sldMk cId="3256052264" sldId="2147478569"/>
            <ac:spMk id="558" creationId="{7138E98F-BBAF-D2C0-9276-48FA53E1003A}"/>
          </ac:spMkLst>
        </pc:spChg>
        <pc:spChg chg="add del mod">
          <ac:chgData name="Steiner Andreas 6206 ED" userId="e6377c33-a923-4f14-8587-531c474c7b48" providerId="ADAL" clId="{6ECD27E6-B224-41CD-B4E0-E297462320DD}" dt="2023-11-24T08:50:50.904" v="85182"/>
          <ac:spMkLst>
            <pc:docMk/>
            <pc:sldMk cId="3256052264" sldId="2147478569"/>
            <ac:spMk id="559" creationId="{B2ABE49B-AD87-07FC-2776-7A8C67B0C89A}"/>
          </ac:spMkLst>
        </pc:spChg>
        <pc:spChg chg="add del mod">
          <ac:chgData name="Steiner Andreas 6206 ED" userId="e6377c33-a923-4f14-8587-531c474c7b48" providerId="ADAL" clId="{6ECD27E6-B224-41CD-B4E0-E297462320DD}" dt="2023-11-24T08:50:53.032" v="85337"/>
          <ac:spMkLst>
            <pc:docMk/>
            <pc:sldMk cId="3256052264" sldId="2147478569"/>
            <ac:spMk id="560" creationId="{A1D0AF8E-EEAC-DE73-4396-12CE4CFBA6A5}"/>
          </ac:spMkLst>
        </pc:spChg>
        <pc:spChg chg="add del mod">
          <ac:chgData name="Steiner Andreas 6206 ED" userId="e6377c33-a923-4f14-8587-531c474c7b48" providerId="ADAL" clId="{6ECD27E6-B224-41CD-B4E0-E297462320DD}" dt="2023-11-24T08:50:54.948" v="85492"/>
          <ac:spMkLst>
            <pc:docMk/>
            <pc:sldMk cId="3256052264" sldId="2147478569"/>
            <ac:spMk id="561" creationId="{7C1A8C46-233F-CF42-D5A6-8C00EF416C59}"/>
          </ac:spMkLst>
        </pc:spChg>
        <pc:spChg chg="add del mod">
          <ac:chgData name="Steiner Andreas 6206 ED" userId="e6377c33-a923-4f14-8587-531c474c7b48" providerId="ADAL" clId="{6ECD27E6-B224-41CD-B4E0-E297462320DD}" dt="2023-11-24T08:50:56.848" v="85647"/>
          <ac:spMkLst>
            <pc:docMk/>
            <pc:sldMk cId="3256052264" sldId="2147478569"/>
            <ac:spMk id="562" creationId="{CC0AA5F4-521F-DB51-F932-BB5423BE4CB7}"/>
          </ac:spMkLst>
        </pc:spChg>
        <pc:spChg chg="add del mod">
          <ac:chgData name="Steiner Andreas 6206 ED" userId="e6377c33-a923-4f14-8587-531c474c7b48" providerId="ADAL" clId="{6ECD27E6-B224-41CD-B4E0-E297462320DD}" dt="2023-11-24T08:50:59.034" v="85802"/>
          <ac:spMkLst>
            <pc:docMk/>
            <pc:sldMk cId="3256052264" sldId="2147478569"/>
            <ac:spMk id="563" creationId="{6EAEC752-89B7-A8DD-7AD9-5A502537E5CC}"/>
          </ac:spMkLst>
        </pc:spChg>
        <pc:spChg chg="add del mod">
          <ac:chgData name="Steiner Andreas 6206 ED" userId="e6377c33-a923-4f14-8587-531c474c7b48" providerId="ADAL" clId="{6ECD27E6-B224-41CD-B4E0-E297462320DD}" dt="2023-11-24T08:51:00.991" v="85957"/>
          <ac:spMkLst>
            <pc:docMk/>
            <pc:sldMk cId="3256052264" sldId="2147478569"/>
            <ac:spMk id="564" creationId="{F8524A77-1D14-FB2B-86FB-7B45529C9715}"/>
          </ac:spMkLst>
        </pc:spChg>
        <pc:spChg chg="add del mod">
          <ac:chgData name="Steiner Andreas 6206 ED" userId="e6377c33-a923-4f14-8587-531c474c7b48" providerId="ADAL" clId="{6ECD27E6-B224-41CD-B4E0-E297462320DD}" dt="2023-11-24T08:51:02.975" v="86112"/>
          <ac:spMkLst>
            <pc:docMk/>
            <pc:sldMk cId="3256052264" sldId="2147478569"/>
            <ac:spMk id="565" creationId="{ED52380F-5F8A-5B45-389E-50458C194C0B}"/>
          </ac:spMkLst>
        </pc:spChg>
        <pc:spChg chg="add del mod">
          <ac:chgData name="Steiner Andreas 6206 ED" userId="e6377c33-a923-4f14-8587-531c474c7b48" providerId="ADAL" clId="{6ECD27E6-B224-41CD-B4E0-E297462320DD}" dt="2023-11-24T08:51:04.812" v="86267"/>
          <ac:spMkLst>
            <pc:docMk/>
            <pc:sldMk cId="3256052264" sldId="2147478569"/>
            <ac:spMk id="566" creationId="{6466296B-40F8-6DE9-E717-D084ED20231F}"/>
          </ac:spMkLst>
        </pc:spChg>
        <pc:spChg chg="add del mod">
          <ac:chgData name="Steiner Andreas 6206 ED" userId="e6377c33-a923-4f14-8587-531c474c7b48" providerId="ADAL" clId="{6ECD27E6-B224-41CD-B4E0-E297462320DD}" dt="2023-11-24T08:51:06.743" v="86422"/>
          <ac:spMkLst>
            <pc:docMk/>
            <pc:sldMk cId="3256052264" sldId="2147478569"/>
            <ac:spMk id="567" creationId="{0E37AE1C-2FDD-94F0-709D-B15260ABAC28}"/>
          </ac:spMkLst>
        </pc:spChg>
        <pc:spChg chg="add del mod">
          <ac:chgData name="Steiner Andreas 6206 ED" userId="e6377c33-a923-4f14-8587-531c474c7b48" providerId="ADAL" clId="{6ECD27E6-B224-41CD-B4E0-E297462320DD}" dt="2023-11-24T08:51:08.725" v="86577"/>
          <ac:spMkLst>
            <pc:docMk/>
            <pc:sldMk cId="3256052264" sldId="2147478569"/>
            <ac:spMk id="568" creationId="{12B530B6-AAFE-72D0-D40C-A287A7DCCB71}"/>
          </ac:spMkLst>
        </pc:spChg>
        <pc:spChg chg="add del mod">
          <ac:chgData name="Steiner Andreas 6206 ED" userId="e6377c33-a923-4f14-8587-531c474c7b48" providerId="ADAL" clId="{6ECD27E6-B224-41CD-B4E0-E297462320DD}" dt="2023-11-24T08:51:10.755" v="86732"/>
          <ac:spMkLst>
            <pc:docMk/>
            <pc:sldMk cId="3256052264" sldId="2147478569"/>
            <ac:spMk id="569" creationId="{55F70E3A-510C-A4B1-C599-D80C1E049B16}"/>
          </ac:spMkLst>
        </pc:spChg>
        <pc:spChg chg="add del mod">
          <ac:chgData name="Steiner Andreas 6206 ED" userId="e6377c33-a923-4f14-8587-531c474c7b48" providerId="ADAL" clId="{6ECD27E6-B224-41CD-B4E0-E297462320DD}" dt="2023-11-24T08:51:12.648" v="86887"/>
          <ac:spMkLst>
            <pc:docMk/>
            <pc:sldMk cId="3256052264" sldId="2147478569"/>
            <ac:spMk id="570" creationId="{2F4A6C1E-AB41-2971-05C4-560442235666}"/>
          </ac:spMkLst>
        </pc:spChg>
        <pc:spChg chg="add del mod">
          <ac:chgData name="Steiner Andreas 6206 ED" userId="e6377c33-a923-4f14-8587-531c474c7b48" providerId="ADAL" clId="{6ECD27E6-B224-41CD-B4E0-E297462320DD}" dt="2023-11-24T08:51:14.836" v="87042"/>
          <ac:spMkLst>
            <pc:docMk/>
            <pc:sldMk cId="3256052264" sldId="2147478569"/>
            <ac:spMk id="571" creationId="{5E3DF8A4-EAFD-E3EB-0DF6-2DED5E26DCA8}"/>
          </ac:spMkLst>
        </pc:spChg>
        <pc:spChg chg="add del mod">
          <ac:chgData name="Steiner Andreas 6206 ED" userId="e6377c33-a923-4f14-8587-531c474c7b48" providerId="ADAL" clId="{6ECD27E6-B224-41CD-B4E0-E297462320DD}" dt="2023-11-24T08:51:16.932" v="87197"/>
          <ac:spMkLst>
            <pc:docMk/>
            <pc:sldMk cId="3256052264" sldId="2147478569"/>
            <ac:spMk id="572" creationId="{A44D3E2C-7A5E-CECB-2C16-FF2C32995992}"/>
          </ac:spMkLst>
        </pc:spChg>
        <pc:spChg chg="add del mod">
          <ac:chgData name="Steiner Andreas 6206 ED" userId="e6377c33-a923-4f14-8587-531c474c7b48" providerId="ADAL" clId="{6ECD27E6-B224-41CD-B4E0-E297462320DD}" dt="2023-11-24T08:51:18.845" v="87352"/>
          <ac:spMkLst>
            <pc:docMk/>
            <pc:sldMk cId="3256052264" sldId="2147478569"/>
            <ac:spMk id="573" creationId="{E6408CAF-3CA4-6A31-FCF5-242B892047DB}"/>
          </ac:spMkLst>
        </pc:spChg>
        <pc:spChg chg="add del mod">
          <ac:chgData name="Steiner Andreas 6206 ED" userId="e6377c33-a923-4f14-8587-531c474c7b48" providerId="ADAL" clId="{6ECD27E6-B224-41CD-B4E0-E297462320DD}" dt="2023-11-24T08:51:20.901" v="87507"/>
          <ac:spMkLst>
            <pc:docMk/>
            <pc:sldMk cId="3256052264" sldId="2147478569"/>
            <ac:spMk id="574" creationId="{2E713D19-1B89-F8D9-89FD-BF7719931A13}"/>
          </ac:spMkLst>
        </pc:spChg>
        <pc:spChg chg="add del mod">
          <ac:chgData name="Steiner Andreas 6206 ED" userId="e6377c33-a923-4f14-8587-531c474c7b48" providerId="ADAL" clId="{6ECD27E6-B224-41CD-B4E0-E297462320DD}" dt="2023-11-24T08:51:22.848" v="87662"/>
          <ac:spMkLst>
            <pc:docMk/>
            <pc:sldMk cId="3256052264" sldId="2147478569"/>
            <ac:spMk id="575" creationId="{F8C335B3-DAC0-CFBC-70D2-54772746C36B}"/>
          </ac:spMkLst>
        </pc:spChg>
        <pc:spChg chg="add del mod">
          <ac:chgData name="Steiner Andreas 6206 ED" userId="e6377c33-a923-4f14-8587-531c474c7b48" providerId="ADAL" clId="{6ECD27E6-B224-41CD-B4E0-E297462320DD}" dt="2023-11-24T08:51:24.771" v="87817"/>
          <ac:spMkLst>
            <pc:docMk/>
            <pc:sldMk cId="3256052264" sldId="2147478569"/>
            <ac:spMk id="576" creationId="{DFED9EDF-AB69-D85E-1DEA-0F490A01F71A}"/>
          </ac:spMkLst>
        </pc:spChg>
        <pc:spChg chg="add del mod">
          <ac:chgData name="Steiner Andreas 6206 ED" userId="e6377c33-a923-4f14-8587-531c474c7b48" providerId="ADAL" clId="{6ECD27E6-B224-41CD-B4E0-E297462320DD}" dt="2023-11-24T08:51:26.639" v="87972"/>
          <ac:spMkLst>
            <pc:docMk/>
            <pc:sldMk cId="3256052264" sldId="2147478569"/>
            <ac:spMk id="577" creationId="{3A6DD97C-71B2-17C3-03DC-1D87FD3BF937}"/>
          </ac:spMkLst>
        </pc:spChg>
        <pc:spChg chg="add del mod">
          <ac:chgData name="Steiner Andreas 6206 ED" userId="e6377c33-a923-4f14-8587-531c474c7b48" providerId="ADAL" clId="{6ECD27E6-B224-41CD-B4E0-E297462320DD}" dt="2023-11-24T08:51:28.549" v="88127"/>
          <ac:spMkLst>
            <pc:docMk/>
            <pc:sldMk cId="3256052264" sldId="2147478569"/>
            <ac:spMk id="578" creationId="{6F2F8A4B-DB7D-7FE7-EF0C-0D4C6327456D}"/>
          </ac:spMkLst>
        </pc:spChg>
        <pc:spChg chg="add del mod">
          <ac:chgData name="Steiner Andreas 6206 ED" userId="e6377c33-a923-4f14-8587-531c474c7b48" providerId="ADAL" clId="{6ECD27E6-B224-41CD-B4E0-E297462320DD}" dt="2023-11-24T08:51:30.514" v="88282"/>
          <ac:spMkLst>
            <pc:docMk/>
            <pc:sldMk cId="3256052264" sldId="2147478569"/>
            <ac:spMk id="579" creationId="{8E448B70-B668-96DF-D1C0-1888E2AF57D9}"/>
          </ac:spMkLst>
        </pc:spChg>
        <pc:spChg chg="add del mod">
          <ac:chgData name="Steiner Andreas 6206 ED" userId="e6377c33-a923-4f14-8587-531c474c7b48" providerId="ADAL" clId="{6ECD27E6-B224-41CD-B4E0-E297462320DD}" dt="2023-11-24T08:51:32.675" v="88437"/>
          <ac:spMkLst>
            <pc:docMk/>
            <pc:sldMk cId="3256052264" sldId="2147478569"/>
            <ac:spMk id="580" creationId="{30CCA416-1E50-B661-E0D3-57F8758D6E22}"/>
          </ac:spMkLst>
        </pc:spChg>
        <pc:spChg chg="add del mod">
          <ac:chgData name="Steiner Andreas 6206 ED" userId="e6377c33-a923-4f14-8587-531c474c7b48" providerId="ADAL" clId="{6ECD27E6-B224-41CD-B4E0-E297462320DD}" dt="2023-11-24T08:51:34.642" v="88592"/>
          <ac:spMkLst>
            <pc:docMk/>
            <pc:sldMk cId="3256052264" sldId="2147478569"/>
            <ac:spMk id="581" creationId="{C0AA3EC9-6216-7180-975E-2B414CB4E00E}"/>
          </ac:spMkLst>
        </pc:spChg>
        <pc:spChg chg="add del mod">
          <ac:chgData name="Steiner Andreas 6206 ED" userId="e6377c33-a923-4f14-8587-531c474c7b48" providerId="ADAL" clId="{6ECD27E6-B224-41CD-B4E0-E297462320DD}" dt="2023-11-24T08:51:36.514" v="88747"/>
          <ac:spMkLst>
            <pc:docMk/>
            <pc:sldMk cId="3256052264" sldId="2147478569"/>
            <ac:spMk id="582" creationId="{760F8EFF-9BE6-C21D-C878-E78AFA375F44}"/>
          </ac:spMkLst>
        </pc:spChg>
        <pc:spChg chg="add del mod">
          <ac:chgData name="Steiner Andreas 6206 ED" userId="e6377c33-a923-4f14-8587-531c474c7b48" providerId="ADAL" clId="{6ECD27E6-B224-41CD-B4E0-E297462320DD}" dt="2023-11-24T08:51:38.457" v="88902"/>
          <ac:spMkLst>
            <pc:docMk/>
            <pc:sldMk cId="3256052264" sldId="2147478569"/>
            <ac:spMk id="583" creationId="{EFFF23B8-ADED-5F53-C7FC-63C348F9494A}"/>
          </ac:spMkLst>
        </pc:spChg>
        <pc:spChg chg="add del mod">
          <ac:chgData name="Steiner Andreas 6206 ED" userId="e6377c33-a923-4f14-8587-531c474c7b48" providerId="ADAL" clId="{6ECD27E6-B224-41CD-B4E0-E297462320DD}" dt="2023-11-24T08:51:40.391" v="89057"/>
          <ac:spMkLst>
            <pc:docMk/>
            <pc:sldMk cId="3256052264" sldId="2147478569"/>
            <ac:spMk id="584" creationId="{21209BE8-137B-A891-467F-F663C26E64F6}"/>
          </ac:spMkLst>
        </pc:spChg>
        <pc:spChg chg="add del mod">
          <ac:chgData name="Steiner Andreas 6206 ED" userId="e6377c33-a923-4f14-8587-531c474c7b48" providerId="ADAL" clId="{6ECD27E6-B224-41CD-B4E0-E297462320DD}" dt="2023-11-24T08:51:42.398" v="89212"/>
          <ac:spMkLst>
            <pc:docMk/>
            <pc:sldMk cId="3256052264" sldId="2147478569"/>
            <ac:spMk id="585" creationId="{4EA8EAB1-5AF8-AAF1-B179-A78A8175EAAB}"/>
          </ac:spMkLst>
        </pc:spChg>
        <pc:spChg chg="add del mod">
          <ac:chgData name="Steiner Andreas 6206 ED" userId="e6377c33-a923-4f14-8587-531c474c7b48" providerId="ADAL" clId="{6ECD27E6-B224-41CD-B4E0-E297462320DD}" dt="2023-11-24T08:51:44.512" v="89367"/>
          <ac:spMkLst>
            <pc:docMk/>
            <pc:sldMk cId="3256052264" sldId="2147478569"/>
            <ac:spMk id="586" creationId="{69E37AB8-BC29-B03F-6045-3D4C5FEC467A}"/>
          </ac:spMkLst>
        </pc:spChg>
        <pc:spChg chg="add del mod">
          <ac:chgData name="Steiner Andreas 6206 ED" userId="e6377c33-a923-4f14-8587-531c474c7b48" providerId="ADAL" clId="{6ECD27E6-B224-41CD-B4E0-E297462320DD}" dt="2023-11-24T08:51:46.474" v="89522"/>
          <ac:spMkLst>
            <pc:docMk/>
            <pc:sldMk cId="3256052264" sldId="2147478569"/>
            <ac:spMk id="587" creationId="{D449D941-ED49-E4F6-5BB4-3B660F054B9D}"/>
          </ac:spMkLst>
        </pc:spChg>
        <pc:spChg chg="add del mod">
          <ac:chgData name="Steiner Andreas 6206 ED" userId="e6377c33-a923-4f14-8587-531c474c7b48" providerId="ADAL" clId="{6ECD27E6-B224-41CD-B4E0-E297462320DD}" dt="2023-11-24T08:51:48.369" v="89677"/>
          <ac:spMkLst>
            <pc:docMk/>
            <pc:sldMk cId="3256052264" sldId="2147478569"/>
            <ac:spMk id="588" creationId="{E7C0E06D-3D4B-0EFA-9C41-E70E710CF659}"/>
          </ac:spMkLst>
        </pc:spChg>
        <pc:spChg chg="add del mod">
          <ac:chgData name="Steiner Andreas 6206 ED" userId="e6377c33-a923-4f14-8587-531c474c7b48" providerId="ADAL" clId="{6ECD27E6-B224-41CD-B4E0-E297462320DD}" dt="2023-11-24T08:51:50.284" v="89832"/>
          <ac:spMkLst>
            <pc:docMk/>
            <pc:sldMk cId="3256052264" sldId="2147478569"/>
            <ac:spMk id="589" creationId="{F74272F9-C95C-186A-2C3A-F38B0403D0DC}"/>
          </ac:spMkLst>
        </pc:spChg>
        <pc:spChg chg="add del mod">
          <ac:chgData name="Steiner Andreas 6206 ED" userId="e6377c33-a923-4f14-8587-531c474c7b48" providerId="ADAL" clId="{6ECD27E6-B224-41CD-B4E0-E297462320DD}" dt="2023-11-24T08:51:52.195" v="89987"/>
          <ac:spMkLst>
            <pc:docMk/>
            <pc:sldMk cId="3256052264" sldId="2147478569"/>
            <ac:spMk id="590" creationId="{B52DF617-B911-9AFB-CEC4-2046180BC4DF}"/>
          </ac:spMkLst>
        </pc:spChg>
        <pc:spChg chg="add del mod">
          <ac:chgData name="Steiner Andreas 6206 ED" userId="e6377c33-a923-4f14-8587-531c474c7b48" providerId="ADAL" clId="{6ECD27E6-B224-41CD-B4E0-E297462320DD}" dt="2023-11-24T08:51:54.174" v="90142"/>
          <ac:spMkLst>
            <pc:docMk/>
            <pc:sldMk cId="3256052264" sldId="2147478569"/>
            <ac:spMk id="591" creationId="{06D0A02F-AC43-45F0-6F5B-0A252831F93F}"/>
          </ac:spMkLst>
        </pc:spChg>
        <pc:spChg chg="add del mod">
          <ac:chgData name="Steiner Andreas 6206 ED" userId="e6377c33-a923-4f14-8587-531c474c7b48" providerId="ADAL" clId="{6ECD27E6-B224-41CD-B4E0-E297462320DD}" dt="2023-11-24T08:51:56.166" v="90297"/>
          <ac:spMkLst>
            <pc:docMk/>
            <pc:sldMk cId="3256052264" sldId="2147478569"/>
            <ac:spMk id="592" creationId="{0DD8883C-A4AF-A828-B80E-1B1DC38551EC}"/>
          </ac:spMkLst>
        </pc:spChg>
        <pc:spChg chg="add del mod">
          <ac:chgData name="Steiner Andreas 6206 ED" userId="e6377c33-a923-4f14-8587-531c474c7b48" providerId="ADAL" clId="{6ECD27E6-B224-41CD-B4E0-E297462320DD}" dt="2023-11-24T08:51:58.092" v="90452"/>
          <ac:spMkLst>
            <pc:docMk/>
            <pc:sldMk cId="3256052264" sldId="2147478569"/>
            <ac:spMk id="593" creationId="{BDCA8E02-BB40-6568-D82F-925B080EF789}"/>
          </ac:spMkLst>
        </pc:spChg>
        <pc:spChg chg="add del mod">
          <ac:chgData name="Steiner Andreas 6206 ED" userId="e6377c33-a923-4f14-8587-531c474c7b48" providerId="ADAL" clId="{6ECD27E6-B224-41CD-B4E0-E297462320DD}" dt="2023-11-24T08:52:00.221" v="90607"/>
          <ac:spMkLst>
            <pc:docMk/>
            <pc:sldMk cId="3256052264" sldId="2147478569"/>
            <ac:spMk id="594" creationId="{DFE91C03-111B-59D9-3A11-AE35B93EECCA}"/>
          </ac:spMkLst>
        </pc:spChg>
        <pc:spChg chg="add del mod">
          <ac:chgData name="Steiner Andreas 6206 ED" userId="e6377c33-a923-4f14-8587-531c474c7b48" providerId="ADAL" clId="{6ECD27E6-B224-41CD-B4E0-E297462320DD}" dt="2023-11-24T08:52:02.177" v="90762"/>
          <ac:spMkLst>
            <pc:docMk/>
            <pc:sldMk cId="3256052264" sldId="2147478569"/>
            <ac:spMk id="595" creationId="{99BA85F1-0052-43DF-11E0-C725BA94DE31}"/>
          </ac:spMkLst>
        </pc:spChg>
        <pc:spChg chg="add del mod">
          <ac:chgData name="Steiner Andreas 6206 ED" userId="e6377c33-a923-4f14-8587-531c474c7b48" providerId="ADAL" clId="{6ECD27E6-B224-41CD-B4E0-E297462320DD}" dt="2023-11-24T08:52:04.100" v="90917"/>
          <ac:spMkLst>
            <pc:docMk/>
            <pc:sldMk cId="3256052264" sldId="2147478569"/>
            <ac:spMk id="596" creationId="{A7DC5C68-F062-40B0-707B-5E76B42E648B}"/>
          </ac:spMkLst>
        </pc:spChg>
        <pc:spChg chg="add del mod">
          <ac:chgData name="Steiner Andreas 6206 ED" userId="e6377c33-a923-4f14-8587-531c474c7b48" providerId="ADAL" clId="{6ECD27E6-B224-41CD-B4E0-E297462320DD}" dt="2023-11-24T08:52:06.288" v="91072"/>
          <ac:spMkLst>
            <pc:docMk/>
            <pc:sldMk cId="3256052264" sldId="2147478569"/>
            <ac:spMk id="597" creationId="{6FE78056-B4C3-6D62-7182-1EB2A85AFE24}"/>
          </ac:spMkLst>
        </pc:spChg>
        <pc:spChg chg="add del mod">
          <ac:chgData name="Steiner Andreas 6206 ED" userId="e6377c33-a923-4f14-8587-531c474c7b48" providerId="ADAL" clId="{6ECD27E6-B224-41CD-B4E0-E297462320DD}" dt="2023-11-24T08:52:08.265" v="91227"/>
          <ac:spMkLst>
            <pc:docMk/>
            <pc:sldMk cId="3256052264" sldId="2147478569"/>
            <ac:spMk id="598" creationId="{0BB0CCAC-B2C1-DC60-0D2C-D204B663A54C}"/>
          </ac:spMkLst>
        </pc:spChg>
        <pc:spChg chg="add del mod">
          <ac:chgData name="Steiner Andreas 6206 ED" userId="e6377c33-a923-4f14-8587-531c474c7b48" providerId="ADAL" clId="{6ECD27E6-B224-41CD-B4E0-E297462320DD}" dt="2023-11-24T08:52:10.149" v="91382"/>
          <ac:spMkLst>
            <pc:docMk/>
            <pc:sldMk cId="3256052264" sldId="2147478569"/>
            <ac:spMk id="599" creationId="{21A57BC4-16A2-1934-A55A-C955BF6D6344}"/>
          </ac:spMkLst>
        </pc:spChg>
        <pc:spChg chg="add del mod">
          <ac:chgData name="Steiner Andreas 6206 ED" userId="e6377c33-a923-4f14-8587-531c474c7b48" providerId="ADAL" clId="{6ECD27E6-B224-41CD-B4E0-E297462320DD}" dt="2023-11-24T08:52:12.006" v="91537"/>
          <ac:spMkLst>
            <pc:docMk/>
            <pc:sldMk cId="3256052264" sldId="2147478569"/>
            <ac:spMk id="600" creationId="{8AEEB948-8127-B815-76D8-6222D833C8A0}"/>
          </ac:spMkLst>
        </pc:spChg>
        <pc:spChg chg="add del mod">
          <ac:chgData name="Steiner Andreas 6206 ED" userId="e6377c33-a923-4f14-8587-531c474c7b48" providerId="ADAL" clId="{6ECD27E6-B224-41CD-B4E0-E297462320DD}" dt="2023-11-24T08:52:13.943" v="91692"/>
          <ac:spMkLst>
            <pc:docMk/>
            <pc:sldMk cId="3256052264" sldId="2147478569"/>
            <ac:spMk id="601" creationId="{5862E447-6088-3CEE-8883-113ADFE67FA8}"/>
          </ac:spMkLst>
        </pc:spChg>
        <pc:spChg chg="add del mod">
          <ac:chgData name="Steiner Andreas 6206 ED" userId="e6377c33-a923-4f14-8587-531c474c7b48" providerId="ADAL" clId="{6ECD27E6-B224-41CD-B4E0-E297462320DD}" dt="2023-11-24T08:52:15.853" v="91847"/>
          <ac:spMkLst>
            <pc:docMk/>
            <pc:sldMk cId="3256052264" sldId="2147478569"/>
            <ac:spMk id="602" creationId="{59C8BE87-A481-9CBF-7C2F-F59A506D13C5}"/>
          </ac:spMkLst>
        </pc:spChg>
        <pc:spChg chg="add del mod">
          <ac:chgData name="Steiner Andreas 6206 ED" userId="e6377c33-a923-4f14-8587-531c474c7b48" providerId="ADAL" clId="{6ECD27E6-B224-41CD-B4E0-E297462320DD}" dt="2023-11-24T08:52:18.011" v="92002"/>
          <ac:spMkLst>
            <pc:docMk/>
            <pc:sldMk cId="3256052264" sldId="2147478569"/>
            <ac:spMk id="603" creationId="{13FC6F07-DA5A-62C8-3EBA-8B5027BAC881}"/>
          </ac:spMkLst>
        </pc:spChg>
        <pc:spChg chg="add del mod">
          <ac:chgData name="Steiner Andreas 6206 ED" userId="e6377c33-a923-4f14-8587-531c474c7b48" providerId="ADAL" clId="{6ECD27E6-B224-41CD-B4E0-E297462320DD}" dt="2023-11-24T08:52:19.981" v="92157"/>
          <ac:spMkLst>
            <pc:docMk/>
            <pc:sldMk cId="3256052264" sldId="2147478569"/>
            <ac:spMk id="604" creationId="{30E0D74D-8401-B761-507F-BCAE8C0ED7C3}"/>
          </ac:spMkLst>
        </pc:spChg>
        <pc:spChg chg="add del mod">
          <ac:chgData name="Steiner Andreas 6206 ED" userId="e6377c33-a923-4f14-8587-531c474c7b48" providerId="ADAL" clId="{6ECD27E6-B224-41CD-B4E0-E297462320DD}" dt="2023-11-24T08:52:21.815" v="92312"/>
          <ac:spMkLst>
            <pc:docMk/>
            <pc:sldMk cId="3256052264" sldId="2147478569"/>
            <ac:spMk id="605" creationId="{5BF31B98-E427-E8FE-095D-FAC23407AF2E}"/>
          </ac:spMkLst>
        </pc:spChg>
        <pc:spChg chg="add del mod">
          <ac:chgData name="Steiner Andreas 6206 ED" userId="e6377c33-a923-4f14-8587-531c474c7b48" providerId="ADAL" clId="{6ECD27E6-B224-41CD-B4E0-E297462320DD}" dt="2023-11-24T08:52:23.878" v="92467"/>
          <ac:spMkLst>
            <pc:docMk/>
            <pc:sldMk cId="3256052264" sldId="2147478569"/>
            <ac:spMk id="606" creationId="{1495E6F4-4A0B-6370-162B-6DC46B7A15B7}"/>
          </ac:spMkLst>
        </pc:spChg>
        <pc:spChg chg="add del mod">
          <ac:chgData name="Steiner Andreas 6206 ED" userId="e6377c33-a923-4f14-8587-531c474c7b48" providerId="ADAL" clId="{6ECD27E6-B224-41CD-B4E0-E297462320DD}" dt="2023-11-24T08:52:25.756" v="92622"/>
          <ac:spMkLst>
            <pc:docMk/>
            <pc:sldMk cId="3256052264" sldId="2147478569"/>
            <ac:spMk id="607" creationId="{CF685DAF-3FF3-E113-7FEF-D37DAB388406}"/>
          </ac:spMkLst>
        </pc:spChg>
        <pc:spChg chg="add del mod">
          <ac:chgData name="Steiner Andreas 6206 ED" userId="e6377c33-a923-4f14-8587-531c474c7b48" providerId="ADAL" clId="{6ECD27E6-B224-41CD-B4E0-E297462320DD}" dt="2023-11-24T08:52:27.622" v="92777"/>
          <ac:spMkLst>
            <pc:docMk/>
            <pc:sldMk cId="3256052264" sldId="2147478569"/>
            <ac:spMk id="608" creationId="{7D972DBC-FA81-1D14-4DFA-CCE2CE3E74C3}"/>
          </ac:spMkLst>
        </pc:spChg>
        <pc:spChg chg="add del mod">
          <ac:chgData name="Steiner Andreas 6206 ED" userId="e6377c33-a923-4f14-8587-531c474c7b48" providerId="ADAL" clId="{6ECD27E6-B224-41CD-B4E0-E297462320DD}" dt="2023-11-24T08:52:29.711" v="92932"/>
          <ac:spMkLst>
            <pc:docMk/>
            <pc:sldMk cId="3256052264" sldId="2147478569"/>
            <ac:spMk id="609" creationId="{CCECD223-9857-5474-3E6E-C05E827A8174}"/>
          </ac:spMkLst>
        </pc:spChg>
        <pc:spChg chg="add del mod">
          <ac:chgData name="Steiner Andreas 6206 ED" userId="e6377c33-a923-4f14-8587-531c474c7b48" providerId="ADAL" clId="{6ECD27E6-B224-41CD-B4E0-E297462320DD}" dt="2023-11-24T08:52:31.640" v="93087"/>
          <ac:spMkLst>
            <pc:docMk/>
            <pc:sldMk cId="3256052264" sldId="2147478569"/>
            <ac:spMk id="610" creationId="{7B4ACB86-E826-339F-0362-3D492A2659BE}"/>
          </ac:spMkLst>
        </pc:spChg>
        <pc:spChg chg="add del mod">
          <ac:chgData name="Steiner Andreas 6206 ED" userId="e6377c33-a923-4f14-8587-531c474c7b48" providerId="ADAL" clId="{6ECD27E6-B224-41CD-B4E0-E297462320DD}" dt="2023-11-24T08:52:33.570" v="93242"/>
          <ac:spMkLst>
            <pc:docMk/>
            <pc:sldMk cId="3256052264" sldId="2147478569"/>
            <ac:spMk id="611" creationId="{D43E7715-FB51-A152-B1E9-A69DE4E59138}"/>
          </ac:spMkLst>
        </pc:spChg>
        <pc:spChg chg="add del mod">
          <ac:chgData name="Steiner Andreas 6206 ED" userId="e6377c33-a923-4f14-8587-531c474c7b48" providerId="ADAL" clId="{6ECD27E6-B224-41CD-B4E0-E297462320DD}" dt="2023-11-24T08:52:35.461" v="93397"/>
          <ac:spMkLst>
            <pc:docMk/>
            <pc:sldMk cId="3256052264" sldId="2147478569"/>
            <ac:spMk id="612" creationId="{17920381-B0B0-3074-9EE0-30716AB0C04A}"/>
          </ac:spMkLst>
        </pc:spChg>
        <pc:spChg chg="add del mod">
          <ac:chgData name="Steiner Andreas 6206 ED" userId="e6377c33-a923-4f14-8587-531c474c7b48" providerId="ADAL" clId="{6ECD27E6-B224-41CD-B4E0-E297462320DD}" dt="2023-11-24T08:52:37.385" v="93552"/>
          <ac:spMkLst>
            <pc:docMk/>
            <pc:sldMk cId="3256052264" sldId="2147478569"/>
            <ac:spMk id="613" creationId="{553EAC98-83C2-45C5-A6C4-5AA3DDC67F78}"/>
          </ac:spMkLst>
        </pc:spChg>
        <pc:spChg chg="add del mod">
          <ac:chgData name="Steiner Andreas 6206 ED" userId="e6377c33-a923-4f14-8587-531c474c7b48" providerId="ADAL" clId="{6ECD27E6-B224-41CD-B4E0-E297462320DD}" dt="2023-11-24T08:52:39.292" v="93707"/>
          <ac:spMkLst>
            <pc:docMk/>
            <pc:sldMk cId="3256052264" sldId="2147478569"/>
            <ac:spMk id="614" creationId="{536E852A-C18D-DDD8-D889-47B38645FBE0}"/>
          </ac:spMkLst>
        </pc:spChg>
        <pc:spChg chg="add del mod">
          <ac:chgData name="Steiner Andreas 6206 ED" userId="e6377c33-a923-4f14-8587-531c474c7b48" providerId="ADAL" clId="{6ECD27E6-B224-41CD-B4E0-E297462320DD}" dt="2023-11-24T08:52:41.342" v="93862"/>
          <ac:spMkLst>
            <pc:docMk/>
            <pc:sldMk cId="3256052264" sldId="2147478569"/>
            <ac:spMk id="615" creationId="{F8AAF356-3899-B42D-4E3E-7050BC1F2004}"/>
          </ac:spMkLst>
        </pc:spChg>
        <pc:spChg chg="add del mod">
          <ac:chgData name="Steiner Andreas 6206 ED" userId="e6377c33-a923-4f14-8587-531c474c7b48" providerId="ADAL" clId="{6ECD27E6-B224-41CD-B4E0-E297462320DD}" dt="2023-11-24T08:52:43.298" v="94017"/>
          <ac:spMkLst>
            <pc:docMk/>
            <pc:sldMk cId="3256052264" sldId="2147478569"/>
            <ac:spMk id="616" creationId="{CF21E19A-F64C-A01B-7532-3B7AD94F13DC}"/>
          </ac:spMkLst>
        </pc:spChg>
        <pc:spChg chg="add del mod">
          <ac:chgData name="Steiner Andreas 6206 ED" userId="e6377c33-a923-4f14-8587-531c474c7b48" providerId="ADAL" clId="{6ECD27E6-B224-41CD-B4E0-E297462320DD}" dt="2023-11-24T08:52:45.231" v="94172"/>
          <ac:spMkLst>
            <pc:docMk/>
            <pc:sldMk cId="3256052264" sldId="2147478569"/>
            <ac:spMk id="617" creationId="{A1AC69BF-1F0C-4237-7214-A8EC324540DA}"/>
          </ac:spMkLst>
        </pc:spChg>
        <pc:spChg chg="add del mod">
          <ac:chgData name="Steiner Andreas 6206 ED" userId="e6377c33-a923-4f14-8587-531c474c7b48" providerId="ADAL" clId="{6ECD27E6-B224-41CD-B4E0-E297462320DD}" dt="2023-11-24T08:52:47.192" v="94327"/>
          <ac:spMkLst>
            <pc:docMk/>
            <pc:sldMk cId="3256052264" sldId="2147478569"/>
            <ac:spMk id="618" creationId="{35635A73-0196-3FED-E5FC-66D5BB9AF01D}"/>
          </ac:spMkLst>
        </pc:spChg>
        <pc:spChg chg="add del mod">
          <ac:chgData name="Steiner Andreas 6206 ED" userId="e6377c33-a923-4f14-8587-531c474c7b48" providerId="ADAL" clId="{6ECD27E6-B224-41CD-B4E0-E297462320DD}" dt="2023-11-24T08:52:49.264" v="94482"/>
          <ac:spMkLst>
            <pc:docMk/>
            <pc:sldMk cId="3256052264" sldId="2147478569"/>
            <ac:spMk id="619" creationId="{73D058DB-E471-B5DD-8D55-B3610C68CD3A}"/>
          </ac:spMkLst>
        </pc:spChg>
        <pc:spChg chg="add del mod">
          <ac:chgData name="Steiner Andreas 6206 ED" userId="e6377c33-a923-4f14-8587-531c474c7b48" providerId="ADAL" clId="{6ECD27E6-B224-41CD-B4E0-E297462320DD}" dt="2023-11-24T08:52:51.472" v="94637"/>
          <ac:spMkLst>
            <pc:docMk/>
            <pc:sldMk cId="3256052264" sldId="2147478569"/>
            <ac:spMk id="620" creationId="{1C030FBA-0598-0381-CAEC-66D32EE79F49}"/>
          </ac:spMkLst>
        </pc:spChg>
        <pc:spChg chg="add del mod">
          <ac:chgData name="Steiner Andreas 6206 ED" userId="e6377c33-a923-4f14-8587-531c474c7b48" providerId="ADAL" clId="{6ECD27E6-B224-41CD-B4E0-E297462320DD}" dt="2023-11-24T08:52:53.416" v="94792"/>
          <ac:spMkLst>
            <pc:docMk/>
            <pc:sldMk cId="3256052264" sldId="2147478569"/>
            <ac:spMk id="621" creationId="{D610C543-CA68-DFC0-ED57-768A8B26A394}"/>
          </ac:spMkLst>
        </pc:spChg>
        <pc:spChg chg="add del mod">
          <ac:chgData name="Steiner Andreas 6206 ED" userId="e6377c33-a923-4f14-8587-531c474c7b48" providerId="ADAL" clId="{6ECD27E6-B224-41CD-B4E0-E297462320DD}" dt="2023-11-24T08:52:55.354" v="94947"/>
          <ac:spMkLst>
            <pc:docMk/>
            <pc:sldMk cId="3256052264" sldId="2147478569"/>
            <ac:spMk id="622" creationId="{2BCF259B-4768-296F-7E94-2C37A63C2505}"/>
          </ac:spMkLst>
        </pc:spChg>
        <pc:spChg chg="add del mod">
          <ac:chgData name="Steiner Andreas 6206 ED" userId="e6377c33-a923-4f14-8587-531c474c7b48" providerId="ADAL" clId="{6ECD27E6-B224-41CD-B4E0-E297462320DD}" dt="2023-11-24T08:52:57.386" v="95102"/>
          <ac:spMkLst>
            <pc:docMk/>
            <pc:sldMk cId="3256052264" sldId="2147478569"/>
            <ac:spMk id="623" creationId="{1C755854-3C97-9834-28D8-630D7816E864}"/>
          </ac:spMkLst>
        </pc:spChg>
        <pc:spChg chg="add del mod">
          <ac:chgData name="Steiner Andreas 6206 ED" userId="e6377c33-a923-4f14-8587-531c474c7b48" providerId="ADAL" clId="{6ECD27E6-B224-41CD-B4E0-E297462320DD}" dt="2023-11-24T08:52:59.336" v="95257"/>
          <ac:spMkLst>
            <pc:docMk/>
            <pc:sldMk cId="3256052264" sldId="2147478569"/>
            <ac:spMk id="624" creationId="{6F644685-0EE5-B8B3-B64C-455498B10511}"/>
          </ac:spMkLst>
        </pc:spChg>
        <pc:spChg chg="add del mod">
          <ac:chgData name="Steiner Andreas 6206 ED" userId="e6377c33-a923-4f14-8587-531c474c7b48" providerId="ADAL" clId="{6ECD27E6-B224-41CD-B4E0-E297462320DD}" dt="2023-11-24T08:53:01.341" v="95412"/>
          <ac:spMkLst>
            <pc:docMk/>
            <pc:sldMk cId="3256052264" sldId="2147478569"/>
            <ac:spMk id="625" creationId="{2F80F402-1F54-71DD-4D12-3F7664EF6859}"/>
          </ac:spMkLst>
        </pc:spChg>
        <pc:spChg chg="add del mod">
          <ac:chgData name="Steiner Andreas 6206 ED" userId="e6377c33-a923-4f14-8587-531c474c7b48" providerId="ADAL" clId="{6ECD27E6-B224-41CD-B4E0-E297462320DD}" dt="2023-11-24T08:53:03.465" v="95567"/>
          <ac:spMkLst>
            <pc:docMk/>
            <pc:sldMk cId="3256052264" sldId="2147478569"/>
            <ac:spMk id="626" creationId="{F232F9C1-8901-3CEC-9D8B-144D7E66229C}"/>
          </ac:spMkLst>
        </pc:spChg>
        <pc:spChg chg="add del mod">
          <ac:chgData name="Steiner Andreas 6206 ED" userId="e6377c33-a923-4f14-8587-531c474c7b48" providerId="ADAL" clId="{6ECD27E6-B224-41CD-B4E0-E297462320DD}" dt="2023-11-24T08:53:05.434" v="95722"/>
          <ac:spMkLst>
            <pc:docMk/>
            <pc:sldMk cId="3256052264" sldId="2147478569"/>
            <ac:spMk id="627" creationId="{EA8C49E4-EB8A-99F4-0B21-A939AE985465}"/>
          </ac:spMkLst>
        </pc:spChg>
        <pc:spChg chg="add del mod">
          <ac:chgData name="Steiner Andreas 6206 ED" userId="e6377c33-a923-4f14-8587-531c474c7b48" providerId="ADAL" clId="{6ECD27E6-B224-41CD-B4E0-E297462320DD}" dt="2023-11-24T08:53:07.308" v="95877"/>
          <ac:spMkLst>
            <pc:docMk/>
            <pc:sldMk cId="3256052264" sldId="2147478569"/>
            <ac:spMk id="628" creationId="{23A3E398-CFE6-DD29-B91B-1C9F3A78C9E3}"/>
          </ac:spMkLst>
        </pc:spChg>
        <pc:spChg chg="add del mod">
          <ac:chgData name="Steiner Andreas 6206 ED" userId="e6377c33-a923-4f14-8587-531c474c7b48" providerId="ADAL" clId="{6ECD27E6-B224-41CD-B4E0-E297462320DD}" dt="2023-11-24T08:53:09.249" v="96032"/>
          <ac:spMkLst>
            <pc:docMk/>
            <pc:sldMk cId="3256052264" sldId="2147478569"/>
            <ac:spMk id="629" creationId="{639F3626-3ACE-D330-2005-A88E5BD16043}"/>
          </ac:spMkLst>
        </pc:spChg>
        <pc:spChg chg="add del mod">
          <ac:chgData name="Steiner Andreas 6206 ED" userId="e6377c33-a923-4f14-8587-531c474c7b48" providerId="ADAL" clId="{6ECD27E6-B224-41CD-B4E0-E297462320DD}" dt="2023-11-24T08:53:11.192" v="96187"/>
          <ac:spMkLst>
            <pc:docMk/>
            <pc:sldMk cId="3256052264" sldId="2147478569"/>
            <ac:spMk id="630" creationId="{9D392ADD-C451-BC14-E128-016E6C02D778}"/>
          </ac:spMkLst>
        </pc:spChg>
        <pc:spChg chg="add del mod">
          <ac:chgData name="Steiner Andreas 6206 ED" userId="e6377c33-a923-4f14-8587-531c474c7b48" providerId="ADAL" clId="{6ECD27E6-B224-41CD-B4E0-E297462320DD}" dt="2023-11-24T08:53:13.175" v="96342"/>
          <ac:spMkLst>
            <pc:docMk/>
            <pc:sldMk cId="3256052264" sldId="2147478569"/>
            <ac:spMk id="631" creationId="{8E5420F6-4DB6-7CB4-B45E-A3F7B8501DA9}"/>
          </ac:spMkLst>
        </pc:spChg>
        <pc:spChg chg="add del mod">
          <ac:chgData name="Steiner Andreas 6206 ED" userId="e6377c33-a923-4f14-8587-531c474c7b48" providerId="ADAL" clId="{6ECD27E6-B224-41CD-B4E0-E297462320DD}" dt="2023-11-24T08:53:15.269" v="96497"/>
          <ac:spMkLst>
            <pc:docMk/>
            <pc:sldMk cId="3256052264" sldId="2147478569"/>
            <ac:spMk id="632" creationId="{F06A6609-E47C-03A6-DA62-E42909BAE68B}"/>
          </ac:spMkLst>
        </pc:spChg>
        <pc:spChg chg="add del mod">
          <ac:chgData name="Steiner Andreas 6206 ED" userId="e6377c33-a923-4f14-8587-531c474c7b48" providerId="ADAL" clId="{6ECD27E6-B224-41CD-B4E0-E297462320DD}" dt="2023-11-24T08:53:17.233" v="96652"/>
          <ac:spMkLst>
            <pc:docMk/>
            <pc:sldMk cId="3256052264" sldId="2147478569"/>
            <ac:spMk id="633" creationId="{9CAA75D8-75C0-2C2A-EC5B-15A151FE28B7}"/>
          </ac:spMkLst>
        </pc:spChg>
        <pc:spChg chg="add del mod">
          <ac:chgData name="Steiner Andreas 6206 ED" userId="e6377c33-a923-4f14-8587-531c474c7b48" providerId="ADAL" clId="{6ECD27E6-B224-41CD-B4E0-E297462320DD}" dt="2023-11-24T08:53:19.191" v="96807"/>
          <ac:spMkLst>
            <pc:docMk/>
            <pc:sldMk cId="3256052264" sldId="2147478569"/>
            <ac:spMk id="634" creationId="{464E0953-47AC-0E80-9D09-67141C67FE4A}"/>
          </ac:spMkLst>
        </pc:spChg>
        <pc:spChg chg="add del mod">
          <ac:chgData name="Steiner Andreas 6206 ED" userId="e6377c33-a923-4f14-8587-531c474c7b48" providerId="ADAL" clId="{6ECD27E6-B224-41CD-B4E0-E297462320DD}" dt="2023-11-24T08:53:21.159" v="96962"/>
          <ac:spMkLst>
            <pc:docMk/>
            <pc:sldMk cId="3256052264" sldId="2147478569"/>
            <ac:spMk id="635" creationId="{F1E8A7E7-B56F-955A-1821-23874DEF4A5E}"/>
          </ac:spMkLst>
        </pc:spChg>
        <pc:spChg chg="add del mod">
          <ac:chgData name="Steiner Andreas 6206 ED" userId="e6377c33-a923-4f14-8587-531c474c7b48" providerId="ADAL" clId="{6ECD27E6-B224-41CD-B4E0-E297462320DD}" dt="2023-11-24T08:53:23.121" v="97117"/>
          <ac:spMkLst>
            <pc:docMk/>
            <pc:sldMk cId="3256052264" sldId="2147478569"/>
            <ac:spMk id="636" creationId="{B8BCCC68-3B25-D80C-4CFC-8B1CF6C907ED}"/>
          </ac:spMkLst>
        </pc:spChg>
        <pc:spChg chg="add del mod">
          <ac:chgData name="Steiner Andreas 6206 ED" userId="e6377c33-a923-4f14-8587-531c474c7b48" providerId="ADAL" clId="{6ECD27E6-B224-41CD-B4E0-E297462320DD}" dt="2023-11-24T08:53:25.232" v="97272"/>
          <ac:spMkLst>
            <pc:docMk/>
            <pc:sldMk cId="3256052264" sldId="2147478569"/>
            <ac:spMk id="637" creationId="{DE41F315-9108-96B0-9612-3170671A9A73}"/>
          </ac:spMkLst>
        </pc:spChg>
        <pc:spChg chg="add del mod">
          <ac:chgData name="Steiner Andreas 6206 ED" userId="e6377c33-a923-4f14-8587-531c474c7b48" providerId="ADAL" clId="{6ECD27E6-B224-41CD-B4E0-E297462320DD}" dt="2023-11-24T08:53:27.225" v="97427"/>
          <ac:spMkLst>
            <pc:docMk/>
            <pc:sldMk cId="3256052264" sldId="2147478569"/>
            <ac:spMk id="638" creationId="{CD9B301E-AF0D-66D9-2E66-6C95B18B56F8}"/>
          </ac:spMkLst>
        </pc:spChg>
        <pc:spChg chg="add del mod">
          <ac:chgData name="Steiner Andreas 6206 ED" userId="e6377c33-a923-4f14-8587-531c474c7b48" providerId="ADAL" clId="{6ECD27E6-B224-41CD-B4E0-E297462320DD}" dt="2023-11-24T08:53:29.113" v="97582"/>
          <ac:spMkLst>
            <pc:docMk/>
            <pc:sldMk cId="3256052264" sldId="2147478569"/>
            <ac:spMk id="639" creationId="{D4351096-DB08-B649-3A2C-20DA3D23E510}"/>
          </ac:spMkLst>
        </pc:spChg>
        <pc:spChg chg="add del mod">
          <ac:chgData name="Steiner Andreas 6206 ED" userId="e6377c33-a923-4f14-8587-531c474c7b48" providerId="ADAL" clId="{6ECD27E6-B224-41CD-B4E0-E297462320DD}" dt="2023-11-24T08:53:31.012" v="97737"/>
          <ac:spMkLst>
            <pc:docMk/>
            <pc:sldMk cId="3256052264" sldId="2147478569"/>
            <ac:spMk id="640" creationId="{6820E025-8E45-7A1E-7007-AFDF7C05D4F7}"/>
          </ac:spMkLst>
        </pc:spChg>
        <pc:spChg chg="add del mod">
          <ac:chgData name="Steiner Andreas 6206 ED" userId="e6377c33-a923-4f14-8587-531c474c7b48" providerId="ADAL" clId="{6ECD27E6-B224-41CD-B4E0-E297462320DD}" dt="2023-11-24T08:53:32.949" v="97892"/>
          <ac:spMkLst>
            <pc:docMk/>
            <pc:sldMk cId="3256052264" sldId="2147478569"/>
            <ac:spMk id="641" creationId="{232F1B55-0026-F971-5D1B-B24DA1A21BAB}"/>
          </ac:spMkLst>
        </pc:spChg>
        <pc:spChg chg="add del mod">
          <ac:chgData name="Steiner Andreas 6206 ED" userId="e6377c33-a923-4f14-8587-531c474c7b48" providerId="ADAL" clId="{6ECD27E6-B224-41CD-B4E0-E297462320DD}" dt="2023-11-24T08:53:34.879" v="98047"/>
          <ac:spMkLst>
            <pc:docMk/>
            <pc:sldMk cId="3256052264" sldId="2147478569"/>
            <ac:spMk id="642" creationId="{7E3FCA0C-AAC2-050E-E3F0-828444FA8FCE}"/>
          </ac:spMkLst>
        </pc:spChg>
        <pc:spChg chg="add del mod">
          <ac:chgData name="Steiner Andreas 6206 ED" userId="e6377c33-a923-4f14-8587-531c474c7b48" providerId="ADAL" clId="{6ECD27E6-B224-41CD-B4E0-E297462320DD}" dt="2023-11-24T08:53:36.973" v="98202"/>
          <ac:spMkLst>
            <pc:docMk/>
            <pc:sldMk cId="3256052264" sldId="2147478569"/>
            <ac:spMk id="643" creationId="{14D9381E-BD6E-D22E-DF9A-25004554AF4F}"/>
          </ac:spMkLst>
        </pc:spChg>
        <pc:spChg chg="add del mod">
          <ac:chgData name="Steiner Andreas 6206 ED" userId="e6377c33-a923-4f14-8587-531c474c7b48" providerId="ADAL" clId="{6ECD27E6-B224-41CD-B4E0-E297462320DD}" dt="2023-11-24T08:53:38.888" v="98357"/>
          <ac:spMkLst>
            <pc:docMk/>
            <pc:sldMk cId="3256052264" sldId="2147478569"/>
            <ac:spMk id="644" creationId="{5459A7B4-E645-A5CD-D15A-D110394859C9}"/>
          </ac:spMkLst>
        </pc:spChg>
        <pc:spChg chg="add del mod">
          <ac:chgData name="Steiner Andreas 6206 ED" userId="e6377c33-a923-4f14-8587-531c474c7b48" providerId="ADAL" clId="{6ECD27E6-B224-41CD-B4E0-E297462320DD}" dt="2023-11-24T08:53:40.851" v="98512"/>
          <ac:spMkLst>
            <pc:docMk/>
            <pc:sldMk cId="3256052264" sldId="2147478569"/>
            <ac:spMk id="645" creationId="{86167AD0-566D-9538-489C-4F8894C1D14D}"/>
          </ac:spMkLst>
        </pc:spChg>
        <pc:spChg chg="add del mod">
          <ac:chgData name="Steiner Andreas 6206 ED" userId="e6377c33-a923-4f14-8587-531c474c7b48" providerId="ADAL" clId="{6ECD27E6-B224-41CD-B4E0-E297462320DD}" dt="2023-11-24T08:53:42.789" v="98667"/>
          <ac:spMkLst>
            <pc:docMk/>
            <pc:sldMk cId="3256052264" sldId="2147478569"/>
            <ac:spMk id="646" creationId="{1D46F255-6422-AD70-0821-F9C73E230206}"/>
          </ac:spMkLst>
        </pc:spChg>
        <pc:spChg chg="add del mod">
          <ac:chgData name="Steiner Andreas 6206 ED" userId="e6377c33-a923-4f14-8587-531c474c7b48" providerId="ADAL" clId="{6ECD27E6-B224-41CD-B4E0-E297462320DD}" dt="2023-11-24T08:53:44.743" v="98822"/>
          <ac:spMkLst>
            <pc:docMk/>
            <pc:sldMk cId="3256052264" sldId="2147478569"/>
            <ac:spMk id="647" creationId="{C31C8C3B-A670-BD4F-92D6-430113780D87}"/>
          </ac:spMkLst>
        </pc:spChg>
        <pc:spChg chg="add del mod">
          <ac:chgData name="Steiner Andreas 6206 ED" userId="e6377c33-a923-4f14-8587-531c474c7b48" providerId="ADAL" clId="{6ECD27E6-B224-41CD-B4E0-E297462320DD}" dt="2023-11-24T08:53:46.671" v="98977"/>
          <ac:spMkLst>
            <pc:docMk/>
            <pc:sldMk cId="3256052264" sldId="2147478569"/>
            <ac:spMk id="648" creationId="{FDE603E8-848F-4A7D-5F81-0EBA9197218E}"/>
          </ac:spMkLst>
        </pc:spChg>
        <pc:spChg chg="add del mod">
          <ac:chgData name="Steiner Andreas 6206 ED" userId="e6377c33-a923-4f14-8587-531c474c7b48" providerId="ADAL" clId="{6ECD27E6-B224-41CD-B4E0-E297462320DD}" dt="2023-11-24T08:53:48.737" v="99132"/>
          <ac:spMkLst>
            <pc:docMk/>
            <pc:sldMk cId="3256052264" sldId="2147478569"/>
            <ac:spMk id="649" creationId="{1B3B6466-85F1-2986-C157-7A96649FD65B}"/>
          </ac:spMkLst>
        </pc:spChg>
        <pc:spChg chg="add del mod">
          <ac:chgData name="Steiner Andreas 6206 ED" userId="e6377c33-a923-4f14-8587-531c474c7b48" providerId="ADAL" clId="{6ECD27E6-B224-41CD-B4E0-E297462320DD}" dt="2023-11-24T08:53:50.691" v="99287"/>
          <ac:spMkLst>
            <pc:docMk/>
            <pc:sldMk cId="3256052264" sldId="2147478569"/>
            <ac:spMk id="650" creationId="{6A2EC95D-27AB-37D5-5484-A43F8BD8A62F}"/>
          </ac:spMkLst>
        </pc:spChg>
        <pc:spChg chg="add del mod">
          <ac:chgData name="Steiner Andreas 6206 ED" userId="e6377c33-a923-4f14-8587-531c474c7b48" providerId="ADAL" clId="{6ECD27E6-B224-41CD-B4E0-E297462320DD}" dt="2023-11-24T08:53:52.671" v="99442"/>
          <ac:spMkLst>
            <pc:docMk/>
            <pc:sldMk cId="3256052264" sldId="2147478569"/>
            <ac:spMk id="651" creationId="{D2B1CAB4-1EB1-4228-21C2-E948E9D5EAA1}"/>
          </ac:spMkLst>
        </pc:spChg>
        <pc:spChg chg="add del mod">
          <ac:chgData name="Steiner Andreas 6206 ED" userId="e6377c33-a923-4f14-8587-531c474c7b48" providerId="ADAL" clId="{6ECD27E6-B224-41CD-B4E0-E297462320DD}" dt="2023-11-24T08:53:54.638" v="99597"/>
          <ac:spMkLst>
            <pc:docMk/>
            <pc:sldMk cId="3256052264" sldId="2147478569"/>
            <ac:spMk id="652" creationId="{D6EB271C-A9A9-C167-5615-7381F13300E7}"/>
          </ac:spMkLst>
        </pc:spChg>
        <pc:spChg chg="add del mod">
          <ac:chgData name="Steiner Andreas 6206 ED" userId="e6377c33-a923-4f14-8587-531c474c7b48" providerId="ADAL" clId="{6ECD27E6-B224-41CD-B4E0-E297462320DD}" dt="2023-11-24T08:53:56.565" v="99752"/>
          <ac:spMkLst>
            <pc:docMk/>
            <pc:sldMk cId="3256052264" sldId="2147478569"/>
            <ac:spMk id="653" creationId="{6C22ED53-4CC0-3C1D-AB25-2DAA84746321}"/>
          </ac:spMkLst>
        </pc:spChg>
        <pc:spChg chg="add del mod">
          <ac:chgData name="Steiner Andreas 6206 ED" userId="e6377c33-a923-4f14-8587-531c474c7b48" providerId="ADAL" clId="{6ECD27E6-B224-41CD-B4E0-E297462320DD}" dt="2023-11-24T08:53:58.634" v="99907"/>
          <ac:spMkLst>
            <pc:docMk/>
            <pc:sldMk cId="3256052264" sldId="2147478569"/>
            <ac:spMk id="654" creationId="{68C9C2DB-CED7-31AE-35E3-56435203091E}"/>
          </ac:spMkLst>
        </pc:spChg>
        <pc:spChg chg="add del mod">
          <ac:chgData name="Steiner Andreas 6206 ED" userId="e6377c33-a923-4f14-8587-531c474c7b48" providerId="ADAL" clId="{6ECD27E6-B224-41CD-B4E0-E297462320DD}" dt="2023-11-24T08:54:00.745" v="100062"/>
          <ac:spMkLst>
            <pc:docMk/>
            <pc:sldMk cId="3256052264" sldId="2147478569"/>
            <ac:spMk id="655" creationId="{7CEEFC38-703F-CC46-9147-542AB1E1A6B9}"/>
          </ac:spMkLst>
        </pc:spChg>
        <pc:spChg chg="add del mod">
          <ac:chgData name="Steiner Andreas 6206 ED" userId="e6377c33-a923-4f14-8587-531c474c7b48" providerId="ADAL" clId="{6ECD27E6-B224-41CD-B4E0-E297462320DD}" dt="2023-11-24T08:54:02.730" v="100217"/>
          <ac:spMkLst>
            <pc:docMk/>
            <pc:sldMk cId="3256052264" sldId="2147478569"/>
            <ac:spMk id="656" creationId="{393ACDDF-2EEB-3320-4D4F-EE156377ED60}"/>
          </ac:spMkLst>
        </pc:spChg>
        <pc:spChg chg="add del mod">
          <ac:chgData name="Steiner Andreas 6206 ED" userId="e6377c33-a923-4f14-8587-531c474c7b48" providerId="ADAL" clId="{6ECD27E6-B224-41CD-B4E0-E297462320DD}" dt="2023-11-24T08:54:04.684" v="100372"/>
          <ac:spMkLst>
            <pc:docMk/>
            <pc:sldMk cId="3256052264" sldId="2147478569"/>
            <ac:spMk id="657" creationId="{D9B42332-5B41-25DC-1139-D53BD9AFEE67}"/>
          </ac:spMkLst>
        </pc:spChg>
        <pc:spChg chg="add del mod">
          <ac:chgData name="Steiner Andreas 6206 ED" userId="e6377c33-a923-4f14-8587-531c474c7b48" providerId="ADAL" clId="{6ECD27E6-B224-41CD-B4E0-E297462320DD}" dt="2023-11-24T08:54:06.662" v="100527"/>
          <ac:spMkLst>
            <pc:docMk/>
            <pc:sldMk cId="3256052264" sldId="2147478569"/>
            <ac:spMk id="658" creationId="{26195B7C-FDF6-ACCF-6777-EAAEEAC85832}"/>
          </ac:spMkLst>
        </pc:spChg>
        <pc:spChg chg="add del mod">
          <ac:chgData name="Steiner Andreas 6206 ED" userId="e6377c33-a923-4f14-8587-531c474c7b48" providerId="ADAL" clId="{6ECD27E6-B224-41CD-B4E0-E297462320DD}" dt="2023-11-24T08:54:08.633" v="100682"/>
          <ac:spMkLst>
            <pc:docMk/>
            <pc:sldMk cId="3256052264" sldId="2147478569"/>
            <ac:spMk id="659" creationId="{59BE9D01-8836-3B8C-F7C0-3BE9CF98E38D}"/>
          </ac:spMkLst>
        </pc:spChg>
        <pc:spChg chg="add del mod">
          <ac:chgData name="Steiner Andreas 6206 ED" userId="e6377c33-a923-4f14-8587-531c474c7b48" providerId="ADAL" clId="{6ECD27E6-B224-41CD-B4E0-E297462320DD}" dt="2023-11-24T08:54:10.783" v="100837"/>
          <ac:spMkLst>
            <pc:docMk/>
            <pc:sldMk cId="3256052264" sldId="2147478569"/>
            <ac:spMk id="660" creationId="{3E484D72-0FD8-408A-A85C-3936F0E63BC7}"/>
          </ac:spMkLst>
        </pc:spChg>
        <pc:spChg chg="add del mod">
          <ac:chgData name="Steiner Andreas 6206 ED" userId="e6377c33-a923-4f14-8587-531c474c7b48" providerId="ADAL" clId="{6ECD27E6-B224-41CD-B4E0-E297462320DD}" dt="2023-11-24T08:54:12.706" v="100992"/>
          <ac:spMkLst>
            <pc:docMk/>
            <pc:sldMk cId="3256052264" sldId="2147478569"/>
            <ac:spMk id="661" creationId="{791B178C-B62C-A390-07B0-F6D89B9C53BB}"/>
          </ac:spMkLst>
        </pc:spChg>
        <pc:spChg chg="add del mod">
          <ac:chgData name="Steiner Andreas 6206 ED" userId="e6377c33-a923-4f14-8587-531c474c7b48" providerId="ADAL" clId="{6ECD27E6-B224-41CD-B4E0-E297462320DD}" dt="2023-11-24T08:54:14.678" v="101147"/>
          <ac:spMkLst>
            <pc:docMk/>
            <pc:sldMk cId="3256052264" sldId="2147478569"/>
            <ac:spMk id="662" creationId="{43573077-D3C2-A5C0-6EB0-C89A92347AE9}"/>
          </ac:spMkLst>
        </pc:spChg>
        <pc:spChg chg="add del mod">
          <ac:chgData name="Steiner Andreas 6206 ED" userId="e6377c33-a923-4f14-8587-531c474c7b48" providerId="ADAL" clId="{6ECD27E6-B224-41CD-B4E0-E297462320DD}" dt="2023-11-24T08:54:16.555" v="101302"/>
          <ac:spMkLst>
            <pc:docMk/>
            <pc:sldMk cId="3256052264" sldId="2147478569"/>
            <ac:spMk id="663" creationId="{A7C66951-E335-AC67-1487-6E9FB3C6F331}"/>
          </ac:spMkLst>
        </pc:spChg>
        <pc:spChg chg="add del mod">
          <ac:chgData name="Steiner Andreas 6206 ED" userId="e6377c33-a923-4f14-8587-531c474c7b48" providerId="ADAL" clId="{6ECD27E6-B224-41CD-B4E0-E297462320DD}" dt="2023-11-24T08:54:18.469" v="101457"/>
          <ac:spMkLst>
            <pc:docMk/>
            <pc:sldMk cId="3256052264" sldId="2147478569"/>
            <ac:spMk id="664" creationId="{9B89C1ED-0C4D-80C3-7780-1DA92EC5CE67}"/>
          </ac:spMkLst>
        </pc:spChg>
        <pc:spChg chg="add del mod">
          <ac:chgData name="Steiner Andreas 6206 ED" userId="e6377c33-a923-4f14-8587-531c474c7b48" providerId="ADAL" clId="{6ECD27E6-B224-41CD-B4E0-E297462320DD}" dt="2023-11-24T08:54:20.431" v="101612"/>
          <ac:spMkLst>
            <pc:docMk/>
            <pc:sldMk cId="3256052264" sldId="2147478569"/>
            <ac:spMk id="665" creationId="{A2C675A0-11D7-8969-9312-263A02ED7895}"/>
          </ac:spMkLst>
        </pc:spChg>
        <pc:spChg chg="add del mod">
          <ac:chgData name="Steiner Andreas 6206 ED" userId="e6377c33-a923-4f14-8587-531c474c7b48" providerId="ADAL" clId="{6ECD27E6-B224-41CD-B4E0-E297462320DD}" dt="2023-11-24T08:54:22.547" v="101767"/>
          <ac:spMkLst>
            <pc:docMk/>
            <pc:sldMk cId="3256052264" sldId="2147478569"/>
            <ac:spMk id="666" creationId="{AC845342-28E9-3432-4B1D-B99D33472EE9}"/>
          </ac:spMkLst>
        </pc:spChg>
        <pc:spChg chg="add del mod">
          <ac:chgData name="Steiner Andreas 6206 ED" userId="e6377c33-a923-4f14-8587-531c474c7b48" providerId="ADAL" clId="{6ECD27E6-B224-41CD-B4E0-E297462320DD}" dt="2023-11-24T08:54:24.503" v="101922"/>
          <ac:spMkLst>
            <pc:docMk/>
            <pc:sldMk cId="3256052264" sldId="2147478569"/>
            <ac:spMk id="667" creationId="{81080315-FB2B-9330-1533-4835F44D107E}"/>
          </ac:spMkLst>
        </pc:spChg>
        <pc:spChg chg="add del mod">
          <ac:chgData name="Steiner Andreas 6206 ED" userId="e6377c33-a923-4f14-8587-531c474c7b48" providerId="ADAL" clId="{6ECD27E6-B224-41CD-B4E0-E297462320DD}" dt="2023-11-24T08:54:26.456" v="102077"/>
          <ac:spMkLst>
            <pc:docMk/>
            <pc:sldMk cId="3256052264" sldId="2147478569"/>
            <ac:spMk id="668" creationId="{3F678BCA-8C07-5C07-5D0C-CA9E75C0A1C4}"/>
          </ac:spMkLst>
        </pc:spChg>
        <pc:spChg chg="add del mod">
          <ac:chgData name="Steiner Andreas 6206 ED" userId="e6377c33-a923-4f14-8587-531c474c7b48" providerId="ADAL" clId="{6ECD27E6-B224-41CD-B4E0-E297462320DD}" dt="2023-11-24T08:54:28.416" v="102232"/>
          <ac:spMkLst>
            <pc:docMk/>
            <pc:sldMk cId="3256052264" sldId="2147478569"/>
            <ac:spMk id="669" creationId="{7037E7FF-297A-B318-F2FB-25E22F16F787}"/>
          </ac:spMkLst>
        </pc:spChg>
        <pc:spChg chg="add del mod">
          <ac:chgData name="Steiner Andreas 6206 ED" userId="e6377c33-a923-4f14-8587-531c474c7b48" providerId="ADAL" clId="{6ECD27E6-B224-41CD-B4E0-E297462320DD}" dt="2023-11-24T08:54:30.344" v="102387"/>
          <ac:spMkLst>
            <pc:docMk/>
            <pc:sldMk cId="3256052264" sldId="2147478569"/>
            <ac:spMk id="670" creationId="{BE46AA35-4FE8-8517-756D-2F23C3439190}"/>
          </ac:spMkLst>
        </pc:spChg>
        <pc:spChg chg="add del mod">
          <ac:chgData name="Steiner Andreas 6206 ED" userId="e6377c33-a923-4f14-8587-531c474c7b48" providerId="ADAL" clId="{6ECD27E6-B224-41CD-B4E0-E297462320DD}" dt="2023-11-24T08:54:32.498" v="102542"/>
          <ac:spMkLst>
            <pc:docMk/>
            <pc:sldMk cId="3256052264" sldId="2147478569"/>
            <ac:spMk id="671" creationId="{8411CF16-21A7-788C-8A2E-88923C626224}"/>
          </ac:spMkLst>
        </pc:spChg>
        <pc:spChg chg="add del mod">
          <ac:chgData name="Steiner Andreas 6206 ED" userId="e6377c33-a923-4f14-8587-531c474c7b48" providerId="ADAL" clId="{6ECD27E6-B224-41CD-B4E0-E297462320DD}" dt="2023-11-24T08:54:34.475" v="102697"/>
          <ac:spMkLst>
            <pc:docMk/>
            <pc:sldMk cId="3256052264" sldId="2147478569"/>
            <ac:spMk id="672" creationId="{4B53D5E2-2DBC-7CD7-BFA4-3F2D655F53AC}"/>
          </ac:spMkLst>
        </pc:spChg>
        <pc:spChg chg="add del mod">
          <ac:chgData name="Steiner Andreas 6206 ED" userId="e6377c33-a923-4f14-8587-531c474c7b48" providerId="ADAL" clId="{6ECD27E6-B224-41CD-B4E0-E297462320DD}" dt="2023-11-24T08:54:36.412" v="102852"/>
          <ac:spMkLst>
            <pc:docMk/>
            <pc:sldMk cId="3256052264" sldId="2147478569"/>
            <ac:spMk id="673" creationId="{FBC45035-1904-A3C8-BC72-A819DE66CA3A}"/>
          </ac:spMkLst>
        </pc:spChg>
        <pc:spChg chg="add del mod">
          <ac:chgData name="Steiner Andreas 6206 ED" userId="e6377c33-a923-4f14-8587-531c474c7b48" providerId="ADAL" clId="{6ECD27E6-B224-41CD-B4E0-E297462320DD}" dt="2023-11-24T08:54:38.615" v="103007"/>
          <ac:spMkLst>
            <pc:docMk/>
            <pc:sldMk cId="3256052264" sldId="2147478569"/>
            <ac:spMk id="674" creationId="{8BA81DAD-842B-D7BB-1CF9-2EA47159C9BC}"/>
          </ac:spMkLst>
        </pc:spChg>
        <pc:spChg chg="add del mod">
          <ac:chgData name="Steiner Andreas 6206 ED" userId="e6377c33-a923-4f14-8587-531c474c7b48" providerId="ADAL" clId="{6ECD27E6-B224-41CD-B4E0-E297462320DD}" dt="2023-11-24T08:54:40.782" v="103162"/>
          <ac:spMkLst>
            <pc:docMk/>
            <pc:sldMk cId="3256052264" sldId="2147478569"/>
            <ac:spMk id="675" creationId="{222AB06E-1EA9-9B97-F08E-8348225AFD3F}"/>
          </ac:spMkLst>
        </pc:spChg>
        <pc:spChg chg="add del mod">
          <ac:chgData name="Steiner Andreas 6206 ED" userId="e6377c33-a923-4f14-8587-531c474c7b48" providerId="ADAL" clId="{6ECD27E6-B224-41CD-B4E0-E297462320DD}" dt="2023-11-24T08:54:42.692" v="103317"/>
          <ac:spMkLst>
            <pc:docMk/>
            <pc:sldMk cId="3256052264" sldId="2147478569"/>
            <ac:spMk id="676" creationId="{4B8DE324-C712-1407-1D71-C06421D20873}"/>
          </ac:spMkLst>
        </pc:spChg>
        <pc:spChg chg="add del mod">
          <ac:chgData name="Steiner Andreas 6206 ED" userId="e6377c33-a923-4f14-8587-531c474c7b48" providerId="ADAL" clId="{6ECD27E6-B224-41CD-B4E0-E297462320DD}" dt="2023-11-24T08:54:44.959" v="103472"/>
          <ac:spMkLst>
            <pc:docMk/>
            <pc:sldMk cId="3256052264" sldId="2147478569"/>
            <ac:spMk id="677" creationId="{A77FE469-7BD5-EF10-E78E-6651F64A5EB9}"/>
          </ac:spMkLst>
        </pc:spChg>
        <pc:spChg chg="add del mod">
          <ac:chgData name="Steiner Andreas 6206 ED" userId="e6377c33-a923-4f14-8587-531c474c7b48" providerId="ADAL" clId="{6ECD27E6-B224-41CD-B4E0-E297462320DD}" dt="2023-11-24T08:54:47.197" v="103627"/>
          <ac:spMkLst>
            <pc:docMk/>
            <pc:sldMk cId="3256052264" sldId="2147478569"/>
            <ac:spMk id="678" creationId="{A69CE1AD-78B5-542F-F489-8574EB44AE37}"/>
          </ac:spMkLst>
        </pc:spChg>
        <pc:spChg chg="add del mod">
          <ac:chgData name="Steiner Andreas 6206 ED" userId="e6377c33-a923-4f14-8587-531c474c7b48" providerId="ADAL" clId="{6ECD27E6-B224-41CD-B4E0-E297462320DD}" dt="2023-11-24T08:54:49.321" v="103782"/>
          <ac:spMkLst>
            <pc:docMk/>
            <pc:sldMk cId="3256052264" sldId="2147478569"/>
            <ac:spMk id="679" creationId="{6282DFB4-2780-B060-D4F9-8355DCE5DD3D}"/>
          </ac:spMkLst>
        </pc:spChg>
        <pc:spChg chg="add del mod">
          <ac:chgData name="Steiner Andreas 6206 ED" userId="e6377c33-a923-4f14-8587-531c474c7b48" providerId="ADAL" clId="{6ECD27E6-B224-41CD-B4E0-E297462320DD}" dt="2023-11-24T08:54:51.680" v="103937"/>
          <ac:spMkLst>
            <pc:docMk/>
            <pc:sldMk cId="3256052264" sldId="2147478569"/>
            <ac:spMk id="680" creationId="{E508568A-79F4-32E6-F243-7A0239773339}"/>
          </ac:spMkLst>
        </pc:spChg>
        <pc:spChg chg="add del mod">
          <ac:chgData name="Steiner Andreas 6206 ED" userId="e6377c33-a923-4f14-8587-531c474c7b48" providerId="ADAL" clId="{6ECD27E6-B224-41CD-B4E0-E297462320DD}" dt="2023-11-24T08:54:53.746" v="104092"/>
          <ac:spMkLst>
            <pc:docMk/>
            <pc:sldMk cId="3256052264" sldId="2147478569"/>
            <ac:spMk id="681" creationId="{B711883C-0715-3501-8028-A62F9E8BF528}"/>
          </ac:spMkLst>
        </pc:spChg>
        <pc:spChg chg="add del mod">
          <ac:chgData name="Steiner Andreas 6206 ED" userId="e6377c33-a923-4f14-8587-531c474c7b48" providerId="ADAL" clId="{6ECD27E6-B224-41CD-B4E0-E297462320DD}" dt="2023-11-24T08:54:55.870" v="104247"/>
          <ac:spMkLst>
            <pc:docMk/>
            <pc:sldMk cId="3256052264" sldId="2147478569"/>
            <ac:spMk id="682" creationId="{1C782076-94CD-8E93-CBD1-829B287034AB}"/>
          </ac:spMkLst>
        </pc:spChg>
        <pc:spChg chg="add del mod">
          <ac:chgData name="Steiner Andreas 6206 ED" userId="e6377c33-a923-4f14-8587-531c474c7b48" providerId="ADAL" clId="{6ECD27E6-B224-41CD-B4E0-E297462320DD}" dt="2023-11-24T08:54:57.940" v="104402"/>
          <ac:spMkLst>
            <pc:docMk/>
            <pc:sldMk cId="3256052264" sldId="2147478569"/>
            <ac:spMk id="683" creationId="{ED054D32-1A30-208C-65B4-7101A0D5A607}"/>
          </ac:spMkLst>
        </pc:spChg>
        <pc:spChg chg="add del mod">
          <ac:chgData name="Steiner Andreas 6206 ED" userId="e6377c33-a923-4f14-8587-531c474c7b48" providerId="ADAL" clId="{6ECD27E6-B224-41CD-B4E0-E297462320DD}" dt="2023-11-24T08:54:59.956" v="104557"/>
          <ac:spMkLst>
            <pc:docMk/>
            <pc:sldMk cId="3256052264" sldId="2147478569"/>
            <ac:spMk id="684" creationId="{63D577F1-C442-10EB-2886-1A9F8C1A6D9A}"/>
          </ac:spMkLst>
        </pc:spChg>
        <pc:spChg chg="add del mod">
          <ac:chgData name="Steiner Andreas 6206 ED" userId="e6377c33-a923-4f14-8587-531c474c7b48" providerId="ADAL" clId="{6ECD27E6-B224-41CD-B4E0-E297462320DD}" dt="2023-11-24T08:55:01.905" v="104712"/>
          <ac:spMkLst>
            <pc:docMk/>
            <pc:sldMk cId="3256052264" sldId="2147478569"/>
            <ac:spMk id="685" creationId="{38BD83A7-40F5-E1D6-F08D-E0D7F7776FDD}"/>
          </ac:spMkLst>
        </pc:spChg>
        <pc:spChg chg="add del mod">
          <ac:chgData name="Steiner Andreas 6206 ED" userId="e6377c33-a923-4f14-8587-531c474c7b48" providerId="ADAL" clId="{6ECD27E6-B224-41CD-B4E0-E297462320DD}" dt="2023-11-24T08:55:03.862" v="104867"/>
          <ac:spMkLst>
            <pc:docMk/>
            <pc:sldMk cId="3256052264" sldId="2147478569"/>
            <ac:spMk id="686" creationId="{5B67D1C4-49A4-8796-C72E-48970BA10B54}"/>
          </ac:spMkLst>
        </pc:spChg>
        <pc:spChg chg="add del mod">
          <ac:chgData name="Steiner Andreas 6206 ED" userId="e6377c33-a923-4f14-8587-531c474c7b48" providerId="ADAL" clId="{6ECD27E6-B224-41CD-B4E0-E297462320DD}" dt="2023-11-24T08:55:05.985" v="105022"/>
          <ac:spMkLst>
            <pc:docMk/>
            <pc:sldMk cId="3256052264" sldId="2147478569"/>
            <ac:spMk id="687" creationId="{63FAFBC4-FEA3-3C6C-8A9C-46833AFCF0FB}"/>
          </ac:spMkLst>
        </pc:spChg>
        <pc:spChg chg="add del mod">
          <ac:chgData name="Steiner Andreas 6206 ED" userId="e6377c33-a923-4f14-8587-531c474c7b48" providerId="ADAL" clId="{6ECD27E6-B224-41CD-B4E0-E297462320DD}" dt="2023-11-24T08:55:08.087" v="105177"/>
          <ac:spMkLst>
            <pc:docMk/>
            <pc:sldMk cId="3256052264" sldId="2147478569"/>
            <ac:spMk id="688" creationId="{3D0DD6D5-FD8A-C2EA-EEA4-D29C7C8D8CA6}"/>
          </ac:spMkLst>
        </pc:spChg>
        <pc:spChg chg="add del mod">
          <ac:chgData name="Steiner Andreas 6206 ED" userId="e6377c33-a923-4f14-8587-531c474c7b48" providerId="ADAL" clId="{6ECD27E6-B224-41CD-B4E0-E297462320DD}" dt="2023-11-24T08:55:10.068" v="105332"/>
          <ac:spMkLst>
            <pc:docMk/>
            <pc:sldMk cId="3256052264" sldId="2147478569"/>
            <ac:spMk id="689" creationId="{5BBF1496-55BF-A62A-CC64-E80E096DCB18}"/>
          </ac:spMkLst>
        </pc:spChg>
        <pc:spChg chg="add del mod">
          <ac:chgData name="Steiner Andreas 6206 ED" userId="e6377c33-a923-4f14-8587-531c474c7b48" providerId="ADAL" clId="{6ECD27E6-B224-41CD-B4E0-E297462320DD}" dt="2023-11-24T08:55:12.060" v="105487"/>
          <ac:spMkLst>
            <pc:docMk/>
            <pc:sldMk cId="3256052264" sldId="2147478569"/>
            <ac:spMk id="690" creationId="{A909AFC9-7616-44D4-B75E-F8712C964E81}"/>
          </ac:spMkLst>
        </pc:spChg>
        <pc:spChg chg="add del mod">
          <ac:chgData name="Steiner Andreas 6206 ED" userId="e6377c33-a923-4f14-8587-531c474c7b48" providerId="ADAL" clId="{6ECD27E6-B224-41CD-B4E0-E297462320DD}" dt="2023-11-24T08:55:14.091" v="105642"/>
          <ac:spMkLst>
            <pc:docMk/>
            <pc:sldMk cId="3256052264" sldId="2147478569"/>
            <ac:spMk id="691" creationId="{DCD6F82F-87A3-2F6B-4233-ECD2AE9DD3D8}"/>
          </ac:spMkLst>
        </pc:spChg>
        <pc:spChg chg="add del mod">
          <ac:chgData name="Steiner Andreas 6206 ED" userId="e6377c33-a923-4f14-8587-531c474c7b48" providerId="ADAL" clId="{6ECD27E6-B224-41CD-B4E0-E297462320DD}" dt="2023-11-24T08:55:16.182" v="105797"/>
          <ac:spMkLst>
            <pc:docMk/>
            <pc:sldMk cId="3256052264" sldId="2147478569"/>
            <ac:spMk id="692" creationId="{089F3504-6BE1-247A-0312-BA3FB577E02A}"/>
          </ac:spMkLst>
        </pc:spChg>
        <pc:spChg chg="add del mod">
          <ac:chgData name="Steiner Andreas 6206 ED" userId="e6377c33-a923-4f14-8587-531c474c7b48" providerId="ADAL" clId="{6ECD27E6-B224-41CD-B4E0-E297462320DD}" dt="2023-11-24T08:55:18.224" v="105952"/>
          <ac:spMkLst>
            <pc:docMk/>
            <pc:sldMk cId="3256052264" sldId="2147478569"/>
            <ac:spMk id="693" creationId="{C1EFD2EF-2989-7B0D-872B-43DD30C560FC}"/>
          </ac:spMkLst>
        </pc:spChg>
        <pc:spChg chg="add del mod">
          <ac:chgData name="Steiner Andreas 6206 ED" userId="e6377c33-a923-4f14-8587-531c474c7b48" providerId="ADAL" clId="{6ECD27E6-B224-41CD-B4E0-E297462320DD}" dt="2023-11-24T08:55:20.242" v="106107"/>
          <ac:spMkLst>
            <pc:docMk/>
            <pc:sldMk cId="3256052264" sldId="2147478569"/>
            <ac:spMk id="694" creationId="{7974CE47-3EBF-C1A3-5137-F71FE2A45D39}"/>
          </ac:spMkLst>
        </pc:spChg>
        <pc:spChg chg="add del mod">
          <ac:chgData name="Steiner Andreas 6206 ED" userId="e6377c33-a923-4f14-8587-531c474c7b48" providerId="ADAL" clId="{6ECD27E6-B224-41CD-B4E0-E297462320DD}" dt="2023-11-24T08:55:22.178" v="106262"/>
          <ac:spMkLst>
            <pc:docMk/>
            <pc:sldMk cId="3256052264" sldId="2147478569"/>
            <ac:spMk id="695" creationId="{AD5207C3-D5E5-E31B-BC74-679C2E692831}"/>
          </ac:spMkLst>
        </pc:spChg>
        <pc:spChg chg="add del mod">
          <ac:chgData name="Steiner Andreas 6206 ED" userId="e6377c33-a923-4f14-8587-531c474c7b48" providerId="ADAL" clId="{6ECD27E6-B224-41CD-B4E0-E297462320DD}" dt="2023-11-24T08:55:24.191" v="106417"/>
          <ac:spMkLst>
            <pc:docMk/>
            <pc:sldMk cId="3256052264" sldId="2147478569"/>
            <ac:spMk id="696" creationId="{9A12DDAF-E48C-3AEC-A6D8-8F3E2CECDCF6}"/>
          </ac:spMkLst>
        </pc:spChg>
        <pc:spChg chg="add del mod">
          <ac:chgData name="Steiner Andreas 6206 ED" userId="e6377c33-a923-4f14-8587-531c474c7b48" providerId="ADAL" clId="{6ECD27E6-B224-41CD-B4E0-E297462320DD}" dt="2023-11-24T08:55:26.157" v="106572"/>
          <ac:spMkLst>
            <pc:docMk/>
            <pc:sldMk cId="3256052264" sldId="2147478569"/>
            <ac:spMk id="697" creationId="{ED7F9EA7-CED5-7E06-2BE9-5B23E6D2D702}"/>
          </ac:spMkLst>
        </pc:spChg>
        <pc:spChg chg="add del mod">
          <ac:chgData name="Steiner Andreas 6206 ED" userId="e6377c33-a923-4f14-8587-531c474c7b48" providerId="ADAL" clId="{6ECD27E6-B224-41CD-B4E0-E297462320DD}" dt="2023-11-24T08:55:28.314" v="106727"/>
          <ac:spMkLst>
            <pc:docMk/>
            <pc:sldMk cId="3256052264" sldId="2147478569"/>
            <ac:spMk id="698" creationId="{B3C6F31F-D102-F987-987D-60CB9F75ED4B}"/>
          </ac:spMkLst>
        </pc:spChg>
        <pc:spChg chg="add del mod">
          <ac:chgData name="Steiner Andreas 6206 ED" userId="e6377c33-a923-4f14-8587-531c474c7b48" providerId="ADAL" clId="{6ECD27E6-B224-41CD-B4E0-E297462320DD}" dt="2023-11-24T08:55:30.282" v="106882"/>
          <ac:spMkLst>
            <pc:docMk/>
            <pc:sldMk cId="3256052264" sldId="2147478569"/>
            <ac:spMk id="699" creationId="{A551DC69-9F7D-D5CA-5CAD-B8E962FCB93B}"/>
          </ac:spMkLst>
        </pc:spChg>
        <pc:spChg chg="add del mod">
          <ac:chgData name="Steiner Andreas 6206 ED" userId="e6377c33-a923-4f14-8587-531c474c7b48" providerId="ADAL" clId="{6ECD27E6-B224-41CD-B4E0-E297462320DD}" dt="2023-11-24T08:55:32.484" v="107037"/>
          <ac:spMkLst>
            <pc:docMk/>
            <pc:sldMk cId="3256052264" sldId="2147478569"/>
            <ac:spMk id="700" creationId="{978B219C-83AC-40AA-3544-F156FE16A995}"/>
          </ac:spMkLst>
        </pc:spChg>
        <pc:spChg chg="add del mod">
          <ac:chgData name="Steiner Andreas 6206 ED" userId="e6377c33-a923-4f14-8587-531c474c7b48" providerId="ADAL" clId="{6ECD27E6-B224-41CD-B4E0-E297462320DD}" dt="2023-11-24T08:55:34.381" v="107192"/>
          <ac:spMkLst>
            <pc:docMk/>
            <pc:sldMk cId="3256052264" sldId="2147478569"/>
            <ac:spMk id="701" creationId="{407E7234-A49F-FFE8-D263-FFB45B05C012}"/>
          </ac:spMkLst>
        </pc:spChg>
        <pc:spChg chg="add del mod">
          <ac:chgData name="Steiner Andreas 6206 ED" userId="e6377c33-a923-4f14-8587-531c474c7b48" providerId="ADAL" clId="{6ECD27E6-B224-41CD-B4E0-E297462320DD}" dt="2023-11-24T08:55:36.312" v="107347"/>
          <ac:spMkLst>
            <pc:docMk/>
            <pc:sldMk cId="3256052264" sldId="2147478569"/>
            <ac:spMk id="702" creationId="{6C38AF87-E037-0F95-C252-E84A6A83B799}"/>
          </ac:spMkLst>
        </pc:spChg>
        <pc:spChg chg="add del mod">
          <ac:chgData name="Steiner Andreas 6206 ED" userId="e6377c33-a923-4f14-8587-531c474c7b48" providerId="ADAL" clId="{6ECD27E6-B224-41CD-B4E0-E297462320DD}" dt="2023-11-24T08:55:38.336" v="107502"/>
          <ac:spMkLst>
            <pc:docMk/>
            <pc:sldMk cId="3256052264" sldId="2147478569"/>
            <ac:spMk id="703" creationId="{1593E778-E389-7EE6-117F-4981027C8D2C}"/>
          </ac:spMkLst>
        </pc:spChg>
        <pc:spChg chg="add del mod">
          <ac:chgData name="Steiner Andreas 6206 ED" userId="e6377c33-a923-4f14-8587-531c474c7b48" providerId="ADAL" clId="{6ECD27E6-B224-41CD-B4E0-E297462320DD}" dt="2023-11-24T08:55:40.382" v="107657"/>
          <ac:spMkLst>
            <pc:docMk/>
            <pc:sldMk cId="3256052264" sldId="2147478569"/>
            <ac:spMk id="704" creationId="{2C3251C0-419C-F8B1-5B69-090CB0976E88}"/>
          </ac:spMkLst>
        </pc:spChg>
        <pc:spChg chg="add del mod">
          <ac:chgData name="Steiner Andreas 6206 ED" userId="e6377c33-a923-4f14-8587-531c474c7b48" providerId="ADAL" clId="{6ECD27E6-B224-41CD-B4E0-E297462320DD}" dt="2023-11-24T08:55:42.271" v="107812"/>
          <ac:spMkLst>
            <pc:docMk/>
            <pc:sldMk cId="3256052264" sldId="2147478569"/>
            <ac:spMk id="705" creationId="{3688CECD-2325-2EB4-C92E-284962344F82}"/>
          </ac:spMkLst>
        </pc:spChg>
        <pc:spChg chg="add del mod">
          <ac:chgData name="Steiner Andreas 6206 ED" userId="e6377c33-a923-4f14-8587-531c474c7b48" providerId="ADAL" clId="{6ECD27E6-B224-41CD-B4E0-E297462320DD}" dt="2023-11-24T08:55:44.245" v="107967"/>
          <ac:spMkLst>
            <pc:docMk/>
            <pc:sldMk cId="3256052264" sldId="2147478569"/>
            <ac:spMk id="706" creationId="{FC615C47-8EB4-8908-3406-473906F69EB5}"/>
          </ac:spMkLst>
        </pc:spChg>
        <pc:spChg chg="add del mod">
          <ac:chgData name="Steiner Andreas 6206 ED" userId="e6377c33-a923-4f14-8587-531c474c7b48" providerId="ADAL" clId="{6ECD27E6-B224-41CD-B4E0-E297462320DD}" dt="2023-11-24T08:55:46.530" v="108122"/>
          <ac:spMkLst>
            <pc:docMk/>
            <pc:sldMk cId="3256052264" sldId="2147478569"/>
            <ac:spMk id="707" creationId="{BFBB9792-0D8D-DB1F-BF2E-F92CD6E85A25}"/>
          </ac:spMkLst>
        </pc:spChg>
        <pc:spChg chg="add del mod">
          <ac:chgData name="Steiner Andreas 6206 ED" userId="e6377c33-a923-4f14-8587-531c474c7b48" providerId="ADAL" clId="{6ECD27E6-B224-41CD-B4E0-E297462320DD}" dt="2023-11-24T08:55:48.762" v="108277"/>
          <ac:spMkLst>
            <pc:docMk/>
            <pc:sldMk cId="3256052264" sldId="2147478569"/>
            <ac:spMk id="708" creationId="{F26E5263-4FC8-BF7B-0423-3F5ACDA8FDB9}"/>
          </ac:spMkLst>
        </pc:spChg>
        <pc:spChg chg="add del mod">
          <ac:chgData name="Steiner Andreas 6206 ED" userId="e6377c33-a923-4f14-8587-531c474c7b48" providerId="ADAL" clId="{6ECD27E6-B224-41CD-B4E0-E297462320DD}" dt="2023-11-24T08:55:51.196" v="108432"/>
          <ac:spMkLst>
            <pc:docMk/>
            <pc:sldMk cId="3256052264" sldId="2147478569"/>
            <ac:spMk id="709" creationId="{75EEB7DF-3C57-E991-D69A-6D868C374B3B}"/>
          </ac:spMkLst>
        </pc:spChg>
        <pc:spChg chg="add del mod">
          <ac:chgData name="Steiner Andreas 6206 ED" userId="e6377c33-a923-4f14-8587-531c474c7b48" providerId="ADAL" clId="{6ECD27E6-B224-41CD-B4E0-E297462320DD}" dt="2023-11-24T08:55:53.237" v="108587"/>
          <ac:spMkLst>
            <pc:docMk/>
            <pc:sldMk cId="3256052264" sldId="2147478569"/>
            <ac:spMk id="710" creationId="{EA250922-C9CF-6449-B5FD-6BB7257B2760}"/>
          </ac:spMkLst>
        </pc:spChg>
        <pc:spChg chg="add del mod">
          <ac:chgData name="Steiner Andreas 6206 ED" userId="e6377c33-a923-4f14-8587-531c474c7b48" providerId="ADAL" clId="{6ECD27E6-B224-41CD-B4E0-E297462320DD}" dt="2023-11-24T08:55:55.378" v="108742"/>
          <ac:spMkLst>
            <pc:docMk/>
            <pc:sldMk cId="3256052264" sldId="2147478569"/>
            <ac:spMk id="711" creationId="{5BC615F4-0243-0E33-0898-8D642F5E0EF7}"/>
          </ac:spMkLst>
        </pc:spChg>
        <pc:spChg chg="add del mod">
          <ac:chgData name="Steiner Andreas 6206 ED" userId="e6377c33-a923-4f14-8587-531c474c7b48" providerId="ADAL" clId="{6ECD27E6-B224-41CD-B4E0-E297462320DD}" dt="2023-11-24T08:55:57.385" v="108897"/>
          <ac:spMkLst>
            <pc:docMk/>
            <pc:sldMk cId="3256052264" sldId="2147478569"/>
            <ac:spMk id="712" creationId="{DA584A00-3B45-7C07-2978-EF1B6148C07F}"/>
          </ac:spMkLst>
        </pc:spChg>
        <pc:spChg chg="add del mod">
          <ac:chgData name="Steiner Andreas 6206 ED" userId="e6377c33-a923-4f14-8587-531c474c7b48" providerId="ADAL" clId="{6ECD27E6-B224-41CD-B4E0-E297462320DD}" dt="2023-11-24T08:55:59.482" v="109052"/>
          <ac:spMkLst>
            <pc:docMk/>
            <pc:sldMk cId="3256052264" sldId="2147478569"/>
            <ac:spMk id="713" creationId="{18637A05-28F6-192F-56E5-9CF5F1BBFDD4}"/>
          </ac:spMkLst>
        </pc:spChg>
        <pc:spChg chg="add del mod">
          <ac:chgData name="Steiner Andreas 6206 ED" userId="e6377c33-a923-4f14-8587-531c474c7b48" providerId="ADAL" clId="{6ECD27E6-B224-41CD-B4E0-E297462320DD}" dt="2023-11-24T08:56:01.830" v="109207"/>
          <ac:spMkLst>
            <pc:docMk/>
            <pc:sldMk cId="3256052264" sldId="2147478569"/>
            <ac:spMk id="714" creationId="{A839B597-FE4A-8691-2852-023C3CBC12F4}"/>
          </ac:spMkLst>
        </pc:spChg>
        <pc:spChg chg="add del mod">
          <ac:chgData name="Steiner Andreas 6206 ED" userId="e6377c33-a923-4f14-8587-531c474c7b48" providerId="ADAL" clId="{6ECD27E6-B224-41CD-B4E0-E297462320DD}" dt="2023-11-24T08:56:04.098" v="109362"/>
          <ac:spMkLst>
            <pc:docMk/>
            <pc:sldMk cId="3256052264" sldId="2147478569"/>
            <ac:spMk id="715" creationId="{CBAEDADC-D930-4238-9EA9-8F5E58C45C37}"/>
          </ac:spMkLst>
        </pc:spChg>
        <pc:spChg chg="add del mod">
          <ac:chgData name="Steiner Andreas 6206 ED" userId="e6377c33-a923-4f14-8587-531c474c7b48" providerId="ADAL" clId="{6ECD27E6-B224-41CD-B4E0-E297462320DD}" dt="2023-11-24T08:56:06.394" v="109517"/>
          <ac:spMkLst>
            <pc:docMk/>
            <pc:sldMk cId="3256052264" sldId="2147478569"/>
            <ac:spMk id="716" creationId="{BA2AD13F-6601-BDF5-E1E9-0E42E6CD3F37}"/>
          </ac:spMkLst>
        </pc:spChg>
        <pc:spChg chg="add del mod">
          <ac:chgData name="Steiner Andreas 6206 ED" userId="e6377c33-a923-4f14-8587-531c474c7b48" providerId="ADAL" clId="{6ECD27E6-B224-41CD-B4E0-E297462320DD}" dt="2023-11-24T08:56:08.689" v="109672"/>
          <ac:spMkLst>
            <pc:docMk/>
            <pc:sldMk cId="3256052264" sldId="2147478569"/>
            <ac:spMk id="717" creationId="{46E8ADFF-B5B9-F3AA-C657-733F55B5244A}"/>
          </ac:spMkLst>
        </pc:spChg>
        <pc:spChg chg="add del mod">
          <ac:chgData name="Steiner Andreas 6206 ED" userId="e6377c33-a923-4f14-8587-531c474c7b48" providerId="ADAL" clId="{6ECD27E6-B224-41CD-B4E0-E297462320DD}" dt="2023-11-24T08:56:10.733" v="109827"/>
          <ac:spMkLst>
            <pc:docMk/>
            <pc:sldMk cId="3256052264" sldId="2147478569"/>
            <ac:spMk id="718" creationId="{3D1A87BE-89E8-5E14-71E7-E8CEA454869C}"/>
          </ac:spMkLst>
        </pc:spChg>
        <pc:spChg chg="add del mod">
          <ac:chgData name="Steiner Andreas 6206 ED" userId="e6377c33-a923-4f14-8587-531c474c7b48" providerId="ADAL" clId="{6ECD27E6-B224-41CD-B4E0-E297462320DD}" dt="2023-11-24T08:56:12.843" v="109982"/>
          <ac:spMkLst>
            <pc:docMk/>
            <pc:sldMk cId="3256052264" sldId="2147478569"/>
            <ac:spMk id="719" creationId="{254D9CB6-8308-0CCC-86E8-5F87CB3E7DB2}"/>
          </ac:spMkLst>
        </pc:spChg>
        <pc:spChg chg="add del mod">
          <ac:chgData name="Steiner Andreas 6206 ED" userId="e6377c33-a923-4f14-8587-531c474c7b48" providerId="ADAL" clId="{6ECD27E6-B224-41CD-B4E0-E297462320DD}" dt="2023-11-24T08:56:14.973" v="110137"/>
          <ac:spMkLst>
            <pc:docMk/>
            <pc:sldMk cId="3256052264" sldId="2147478569"/>
            <ac:spMk id="720" creationId="{DDE66F74-6E4F-D4F5-B501-3E39158036E9}"/>
          </ac:spMkLst>
        </pc:spChg>
        <pc:spChg chg="add del mod">
          <ac:chgData name="Steiner Andreas 6206 ED" userId="e6377c33-a923-4f14-8587-531c474c7b48" providerId="ADAL" clId="{6ECD27E6-B224-41CD-B4E0-E297462320DD}" dt="2023-11-24T08:56:16.958" v="110292"/>
          <ac:spMkLst>
            <pc:docMk/>
            <pc:sldMk cId="3256052264" sldId="2147478569"/>
            <ac:spMk id="721" creationId="{542DFC5F-0B56-9434-E77C-635CFC90F7CD}"/>
          </ac:spMkLst>
        </pc:spChg>
        <pc:spChg chg="add del mod">
          <ac:chgData name="Steiner Andreas 6206 ED" userId="e6377c33-a923-4f14-8587-531c474c7b48" providerId="ADAL" clId="{6ECD27E6-B224-41CD-B4E0-E297462320DD}" dt="2023-11-24T08:56:18.935" v="110447"/>
          <ac:spMkLst>
            <pc:docMk/>
            <pc:sldMk cId="3256052264" sldId="2147478569"/>
            <ac:spMk id="722" creationId="{286CEA73-1849-DFAF-CA5E-DC989F51EBFA}"/>
          </ac:spMkLst>
        </pc:spChg>
        <pc:spChg chg="add del mod">
          <ac:chgData name="Steiner Andreas 6206 ED" userId="e6377c33-a923-4f14-8587-531c474c7b48" providerId="ADAL" clId="{6ECD27E6-B224-41CD-B4E0-E297462320DD}" dt="2023-11-24T08:56:20.881" v="110602"/>
          <ac:spMkLst>
            <pc:docMk/>
            <pc:sldMk cId="3256052264" sldId="2147478569"/>
            <ac:spMk id="723" creationId="{2A42266C-E7B6-CF76-5111-85091D84EDD8}"/>
          </ac:spMkLst>
        </pc:spChg>
        <pc:spChg chg="add del mod">
          <ac:chgData name="Steiner Andreas 6206 ED" userId="e6377c33-a923-4f14-8587-531c474c7b48" providerId="ADAL" clId="{6ECD27E6-B224-41CD-B4E0-E297462320DD}" dt="2023-11-24T08:56:23.005" v="110757"/>
          <ac:spMkLst>
            <pc:docMk/>
            <pc:sldMk cId="3256052264" sldId="2147478569"/>
            <ac:spMk id="724" creationId="{60BB6DD6-65D2-177E-E5FA-DD1834082AF5}"/>
          </ac:spMkLst>
        </pc:spChg>
        <pc:spChg chg="add del mod">
          <ac:chgData name="Steiner Andreas 6206 ED" userId="e6377c33-a923-4f14-8587-531c474c7b48" providerId="ADAL" clId="{6ECD27E6-B224-41CD-B4E0-E297462320DD}" dt="2023-11-24T08:56:25.219" v="110912"/>
          <ac:spMkLst>
            <pc:docMk/>
            <pc:sldMk cId="3256052264" sldId="2147478569"/>
            <ac:spMk id="725" creationId="{973625F1-DFA9-33E6-C4AC-00D95E71F797}"/>
          </ac:spMkLst>
        </pc:spChg>
        <pc:spChg chg="add del mod">
          <ac:chgData name="Steiner Andreas 6206 ED" userId="e6377c33-a923-4f14-8587-531c474c7b48" providerId="ADAL" clId="{6ECD27E6-B224-41CD-B4E0-E297462320DD}" dt="2023-11-24T08:56:27.241" v="111067"/>
          <ac:spMkLst>
            <pc:docMk/>
            <pc:sldMk cId="3256052264" sldId="2147478569"/>
            <ac:spMk id="726" creationId="{AF2784A3-4B89-0BC1-90CC-A316FD5A3E0E}"/>
          </ac:spMkLst>
        </pc:spChg>
        <pc:spChg chg="add del mod">
          <ac:chgData name="Steiner Andreas 6206 ED" userId="e6377c33-a923-4f14-8587-531c474c7b48" providerId="ADAL" clId="{6ECD27E6-B224-41CD-B4E0-E297462320DD}" dt="2023-11-24T08:56:29.268" v="111222"/>
          <ac:spMkLst>
            <pc:docMk/>
            <pc:sldMk cId="3256052264" sldId="2147478569"/>
            <ac:spMk id="727" creationId="{5F5C68A6-2CA7-35EC-8944-18EA5ACF506E}"/>
          </ac:spMkLst>
        </pc:spChg>
        <pc:spChg chg="add del mod">
          <ac:chgData name="Steiner Andreas 6206 ED" userId="e6377c33-a923-4f14-8587-531c474c7b48" providerId="ADAL" clId="{6ECD27E6-B224-41CD-B4E0-E297462320DD}" dt="2023-11-24T08:56:31.382" v="111377"/>
          <ac:spMkLst>
            <pc:docMk/>
            <pc:sldMk cId="3256052264" sldId="2147478569"/>
            <ac:spMk id="728" creationId="{0CB64EE5-3143-2508-8172-76A98A077A70}"/>
          </ac:spMkLst>
        </pc:spChg>
        <pc:spChg chg="add del mod">
          <ac:chgData name="Steiner Andreas 6206 ED" userId="e6377c33-a923-4f14-8587-531c474c7b48" providerId="ADAL" clId="{6ECD27E6-B224-41CD-B4E0-E297462320DD}" dt="2023-11-24T08:56:33.605" v="111532"/>
          <ac:spMkLst>
            <pc:docMk/>
            <pc:sldMk cId="3256052264" sldId="2147478569"/>
            <ac:spMk id="729" creationId="{9BDE10CE-18F3-2DAC-0441-0B0FB0121646}"/>
          </ac:spMkLst>
        </pc:spChg>
        <pc:spChg chg="add del mod">
          <ac:chgData name="Steiner Andreas 6206 ED" userId="e6377c33-a923-4f14-8587-531c474c7b48" providerId="ADAL" clId="{6ECD27E6-B224-41CD-B4E0-E297462320DD}" dt="2023-11-24T08:56:35.785" v="111687"/>
          <ac:spMkLst>
            <pc:docMk/>
            <pc:sldMk cId="3256052264" sldId="2147478569"/>
            <ac:spMk id="730" creationId="{DA41123C-6242-DBE5-F80D-C475F7062BAA}"/>
          </ac:spMkLst>
        </pc:spChg>
        <pc:spChg chg="add del mod">
          <ac:chgData name="Steiner Andreas 6206 ED" userId="e6377c33-a923-4f14-8587-531c474c7b48" providerId="ADAL" clId="{6ECD27E6-B224-41CD-B4E0-E297462320DD}" dt="2023-11-24T08:56:37.857" v="111842"/>
          <ac:spMkLst>
            <pc:docMk/>
            <pc:sldMk cId="3256052264" sldId="2147478569"/>
            <ac:spMk id="731" creationId="{3151C568-4D44-BD6F-6263-78932DD11250}"/>
          </ac:spMkLst>
        </pc:spChg>
        <pc:spChg chg="add del mod">
          <ac:chgData name="Steiner Andreas 6206 ED" userId="e6377c33-a923-4f14-8587-531c474c7b48" providerId="ADAL" clId="{6ECD27E6-B224-41CD-B4E0-E297462320DD}" dt="2023-11-24T08:56:40.015" v="111997"/>
          <ac:spMkLst>
            <pc:docMk/>
            <pc:sldMk cId="3256052264" sldId="2147478569"/>
            <ac:spMk id="732" creationId="{0CAF71DB-36B1-84FC-1808-A4868F6C02E4}"/>
          </ac:spMkLst>
        </pc:spChg>
        <pc:spChg chg="add del mod">
          <ac:chgData name="Steiner Andreas 6206 ED" userId="e6377c33-a923-4f14-8587-531c474c7b48" providerId="ADAL" clId="{6ECD27E6-B224-41CD-B4E0-E297462320DD}" dt="2023-11-24T08:56:41.966" v="112152"/>
          <ac:spMkLst>
            <pc:docMk/>
            <pc:sldMk cId="3256052264" sldId="2147478569"/>
            <ac:spMk id="733" creationId="{F913AD88-CB95-5BCC-5898-B264CDB90555}"/>
          </ac:spMkLst>
        </pc:spChg>
        <pc:spChg chg="add del mod">
          <ac:chgData name="Steiner Andreas 6206 ED" userId="e6377c33-a923-4f14-8587-531c474c7b48" providerId="ADAL" clId="{6ECD27E6-B224-41CD-B4E0-E297462320DD}" dt="2023-11-24T08:56:43.958" v="112307"/>
          <ac:spMkLst>
            <pc:docMk/>
            <pc:sldMk cId="3256052264" sldId="2147478569"/>
            <ac:spMk id="734" creationId="{3C290508-EE6A-31EB-E067-E540711E213B}"/>
          </ac:spMkLst>
        </pc:spChg>
        <pc:spChg chg="add del mod">
          <ac:chgData name="Steiner Andreas 6206 ED" userId="e6377c33-a923-4f14-8587-531c474c7b48" providerId="ADAL" clId="{6ECD27E6-B224-41CD-B4E0-E297462320DD}" dt="2023-11-24T08:56:45.992" v="112462"/>
          <ac:spMkLst>
            <pc:docMk/>
            <pc:sldMk cId="3256052264" sldId="2147478569"/>
            <ac:spMk id="735" creationId="{2A6DB5AE-3229-F97C-1AC6-238B51642395}"/>
          </ac:spMkLst>
        </pc:spChg>
        <pc:spChg chg="add del mod">
          <ac:chgData name="Steiner Andreas 6206 ED" userId="e6377c33-a923-4f14-8587-531c474c7b48" providerId="ADAL" clId="{6ECD27E6-B224-41CD-B4E0-E297462320DD}" dt="2023-11-24T08:56:48.204" v="112617"/>
          <ac:spMkLst>
            <pc:docMk/>
            <pc:sldMk cId="3256052264" sldId="2147478569"/>
            <ac:spMk id="736" creationId="{A5093242-A22B-8AE7-DE37-814CE9417B1D}"/>
          </ac:spMkLst>
        </pc:spChg>
        <pc:spChg chg="add del mod">
          <ac:chgData name="Steiner Andreas 6206 ED" userId="e6377c33-a923-4f14-8587-531c474c7b48" providerId="ADAL" clId="{6ECD27E6-B224-41CD-B4E0-E297462320DD}" dt="2023-11-24T08:56:50.258" v="112772"/>
          <ac:spMkLst>
            <pc:docMk/>
            <pc:sldMk cId="3256052264" sldId="2147478569"/>
            <ac:spMk id="737" creationId="{2182B107-9808-8198-6DE5-97825D3A2C33}"/>
          </ac:spMkLst>
        </pc:spChg>
        <pc:spChg chg="add del mod">
          <ac:chgData name="Steiner Andreas 6206 ED" userId="e6377c33-a923-4f14-8587-531c474c7b48" providerId="ADAL" clId="{6ECD27E6-B224-41CD-B4E0-E297462320DD}" dt="2023-11-24T08:56:52.190" v="112927"/>
          <ac:spMkLst>
            <pc:docMk/>
            <pc:sldMk cId="3256052264" sldId="2147478569"/>
            <ac:spMk id="738" creationId="{74C09ED7-AE02-E58B-114D-B05D1050C92A}"/>
          </ac:spMkLst>
        </pc:spChg>
        <pc:spChg chg="add del mod">
          <ac:chgData name="Steiner Andreas 6206 ED" userId="e6377c33-a923-4f14-8587-531c474c7b48" providerId="ADAL" clId="{6ECD27E6-B224-41CD-B4E0-E297462320DD}" dt="2023-11-24T08:56:54.314" v="113082"/>
          <ac:spMkLst>
            <pc:docMk/>
            <pc:sldMk cId="3256052264" sldId="2147478569"/>
            <ac:spMk id="739" creationId="{08A3E140-E685-470E-33DC-331F24C8185D}"/>
          </ac:spMkLst>
        </pc:spChg>
        <pc:spChg chg="add del mod">
          <ac:chgData name="Steiner Andreas 6206 ED" userId="e6377c33-a923-4f14-8587-531c474c7b48" providerId="ADAL" clId="{6ECD27E6-B224-41CD-B4E0-E297462320DD}" dt="2023-11-24T08:56:56.268" v="113237"/>
          <ac:spMkLst>
            <pc:docMk/>
            <pc:sldMk cId="3256052264" sldId="2147478569"/>
            <ac:spMk id="740" creationId="{2EB9FAE1-B1D8-AD5F-28E9-CB09F71E5B10}"/>
          </ac:spMkLst>
        </pc:spChg>
        <pc:spChg chg="add del mod">
          <ac:chgData name="Steiner Andreas 6206 ED" userId="e6377c33-a923-4f14-8587-531c474c7b48" providerId="ADAL" clId="{6ECD27E6-B224-41CD-B4E0-E297462320DD}" dt="2023-11-24T08:56:58.375" v="113392"/>
          <ac:spMkLst>
            <pc:docMk/>
            <pc:sldMk cId="3256052264" sldId="2147478569"/>
            <ac:spMk id="741" creationId="{4761D7C8-1BFF-7C6F-8C75-19D14196BCB4}"/>
          </ac:spMkLst>
        </pc:spChg>
        <pc:spChg chg="add del mod">
          <ac:chgData name="Steiner Andreas 6206 ED" userId="e6377c33-a923-4f14-8587-531c474c7b48" providerId="ADAL" clId="{6ECD27E6-B224-41CD-B4E0-E297462320DD}" dt="2023-11-24T08:57:00.689" v="113547"/>
          <ac:spMkLst>
            <pc:docMk/>
            <pc:sldMk cId="3256052264" sldId="2147478569"/>
            <ac:spMk id="742" creationId="{6CE88725-90B0-54FB-7B80-6E0260C1409C}"/>
          </ac:spMkLst>
        </pc:spChg>
        <pc:spChg chg="add del mod">
          <ac:chgData name="Steiner Andreas 6206 ED" userId="e6377c33-a923-4f14-8587-531c474c7b48" providerId="ADAL" clId="{6ECD27E6-B224-41CD-B4E0-E297462320DD}" dt="2023-11-24T08:57:03.047" v="113702"/>
          <ac:spMkLst>
            <pc:docMk/>
            <pc:sldMk cId="3256052264" sldId="2147478569"/>
            <ac:spMk id="743" creationId="{E872377D-2535-4AAA-8EE5-ABAB4A170FE8}"/>
          </ac:spMkLst>
        </pc:spChg>
        <pc:spChg chg="add del mod">
          <ac:chgData name="Steiner Andreas 6206 ED" userId="e6377c33-a923-4f14-8587-531c474c7b48" providerId="ADAL" clId="{6ECD27E6-B224-41CD-B4E0-E297462320DD}" dt="2023-11-24T09:02:21.517" v="113857"/>
          <ac:spMkLst>
            <pc:docMk/>
            <pc:sldMk cId="3256052264" sldId="2147478569"/>
            <ac:spMk id="744" creationId="{06735BFC-C724-743D-F7BB-AB25611AF733}"/>
          </ac:spMkLst>
        </pc:spChg>
        <pc:spChg chg="add del mod">
          <ac:chgData name="Steiner Andreas 6206 ED" userId="e6377c33-a923-4f14-8587-531c474c7b48" providerId="ADAL" clId="{6ECD27E6-B224-41CD-B4E0-E297462320DD}" dt="2023-11-24T09:02:27.453" v="114012"/>
          <ac:spMkLst>
            <pc:docMk/>
            <pc:sldMk cId="3256052264" sldId="2147478569"/>
            <ac:spMk id="745" creationId="{41D84C45-3C11-5A1C-044C-CEB2B6BB74F7}"/>
          </ac:spMkLst>
        </pc:spChg>
        <pc:spChg chg="add del mod">
          <ac:chgData name="Steiner Andreas 6206 ED" userId="e6377c33-a923-4f14-8587-531c474c7b48" providerId="ADAL" clId="{6ECD27E6-B224-41CD-B4E0-E297462320DD}" dt="2023-11-24T09:02:29.993" v="114167"/>
          <ac:spMkLst>
            <pc:docMk/>
            <pc:sldMk cId="3256052264" sldId="2147478569"/>
            <ac:spMk id="746" creationId="{453AD1CF-4711-9FF9-20AE-9856DE2B4F2B}"/>
          </ac:spMkLst>
        </pc:spChg>
        <pc:spChg chg="add del mod">
          <ac:chgData name="Steiner Andreas 6206 ED" userId="e6377c33-a923-4f14-8587-531c474c7b48" providerId="ADAL" clId="{6ECD27E6-B224-41CD-B4E0-E297462320DD}" dt="2023-11-24T09:02:33.163" v="114322"/>
          <ac:spMkLst>
            <pc:docMk/>
            <pc:sldMk cId="3256052264" sldId="2147478569"/>
            <ac:spMk id="747" creationId="{BAD382E5-68FD-7203-EE65-8D96D194052B}"/>
          </ac:spMkLst>
        </pc:spChg>
        <pc:spChg chg="add del mod">
          <ac:chgData name="Steiner Andreas 6206 ED" userId="e6377c33-a923-4f14-8587-531c474c7b48" providerId="ADAL" clId="{6ECD27E6-B224-41CD-B4E0-E297462320DD}" dt="2023-11-24T09:02:36.683" v="114477"/>
          <ac:spMkLst>
            <pc:docMk/>
            <pc:sldMk cId="3256052264" sldId="2147478569"/>
            <ac:spMk id="748" creationId="{94AAF77A-3D88-0E5F-2146-A6B6AB38CA5F}"/>
          </ac:spMkLst>
        </pc:spChg>
        <pc:spChg chg="add del mod">
          <ac:chgData name="Steiner Andreas 6206 ED" userId="e6377c33-a923-4f14-8587-531c474c7b48" providerId="ADAL" clId="{6ECD27E6-B224-41CD-B4E0-E297462320DD}" dt="2023-11-24T11:31:22.477" v="114632"/>
          <ac:spMkLst>
            <pc:docMk/>
            <pc:sldMk cId="3256052264" sldId="2147478569"/>
            <ac:spMk id="749" creationId="{CBED7434-9C19-B103-1F91-D595D7D01918}"/>
          </ac:spMkLst>
        </pc:spChg>
        <pc:spChg chg="add del mod">
          <ac:chgData name="Steiner Andreas 6206 ED" userId="e6377c33-a923-4f14-8587-531c474c7b48" providerId="ADAL" clId="{6ECD27E6-B224-41CD-B4E0-E297462320DD}" dt="2023-11-24T11:33:29.793" v="114787"/>
          <ac:spMkLst>
            <pc:docMk/>
            <pc:sldMk cId="3256052264" sldId="2147478569"/>
            <ac:spMk id="750" creationId="{32D3FEC8-E465-15D1-8B15-9FC9091D19C0}"/>
          </ac:spMkLst>
        </pc:spChg>
        <pc:spChg chg="add del mod">
          <ac:chgData name="Steiner Andreas 6206 ED" userId="e6377c33-a923-4f14-8587-531c474c7b48" providerId="ADAL" clId="{6ECD27E6-B224-41CD-B4E0-E297462320DD}" dt="2023-11-24T11:33:36.275" v="114942"/>
          <ac:spMkLst>
            <pc:docMk/>
            <pc:sldMk cId="3256052264" sldId="2147478569"/>
            <ac:spMk id="751" creationId="{B83B5376-F067-6403-7B2E-9D8AFAFF16E0}"/>
          </ac:spMkLst>
        </pc:spChg>
        <pc:spChg chg="add del mod">
          <ac:chgData name="Steiner Andreas 6206 ED" userId="e6377c33-a923-4f14-8587-531c474c7b48" providerId="ADAL" clId="{6ECD27E6-B224-41CD-B4E0-E297462320DD}" dt="2023-11-24T11:33:39.393" v="115097"/>
          <ac:spMkLst>
            <pc:docMk/>
            <pc:sldMk cId="3256052264" sldId="2147478569"/>
            <ac:spMk id="752" creationId="{7451679F-DF15-54DE-2706-A1DC8E8239E7}"/>
          </ac:spMkLst>
        </pc:spChg>
        <pc:spChg chg="add del mod">
          <ac:chgData name="Steiner Andreas 6206 ED" userId="e6377c33-a923-4f14-8587-531c474c7b48" providerId="ADAL" clId="{6ECD27E6-B224-41CD-B4E0-E297462320DD}" dt="2023-11-24T11:33:42.954" v="115252"/>
          <ac:spMkLst>
            <pc:docMk/>
            <pc:sldMk cId="3256052264" sldId="2147478569"/>
            <ac:spMk id="753" creationId="{C54676FB-0949-02B1-A482-6E052E0FA356}"/>
          </ac:spMkLst>
        </pc:spChg>
        <pc:spChg chg="add del mod">
          <ac:chgData name="Steiner Andreas 6206 ED" userId="e6377c33-a923-4f14-8587-531c474c7b48" providerId="ADAL" clId="{6ECD27E6-B224-41CD-B4E0-E297462320DD}" dt="2023-11-24T11:33:46.160" v="115407"/>
          <ac:spMkLst>
            <pc:docMk/>
            <pc:sldMk cId="3256052264" sldId="2147478569"/>
            <ac:spMk id="754" creationId="{131D1B88-0C41-021B-74DD-07B2D0285670}"/>
          </ac:spMkLst>
        </pc:spChg>
        <pc:spChg chg="add del mod">
          <ac:chgData name="Steiner Andreas 6206 ED" userId="e6377c33-a923-4f14-8587-531c474c7b48" providerId="ADAL" clId="{6ECD27E6-B224-41CD-B4E0-E297462320DD}" dt="2023-11-24T11:33:49.264" v="115562"/>
          <ac:spMkLst>
            <pc:docMk/>
            <pc:sldMk cId="3256052264" sldId="2147478569"/>
            <ac:spMk id="755" creationId="{74E29401-BD42-2C8F-2D40-B10219FDD131}"/>
          </ac:spMkLst>
        </pc:spChg>
        <pc:spChg chg="add del mod">
          <ac:chgData name="Steiner Andreas 6206 ED" userId="e6377c33-a923-4f14-8587-531c474c7b48" providerId="ADAL" clId="{6ECD27E6-B224-41CD-B4E0-E297462320DD}" dt="2023-11-24T11:33:51.950" v="115717"/>
          <ac:spMkLst>
            <pc:docMk/>
            <pc:sldMk cId="3256052264" sldId="2147478569"/>
            <ac:spMk id="756" creationId="{4CE5DBCF-C987-50B1-3568-63D57F8F368F}"/>
          </ac:spMkLst>
        </pc:spChg>
        <pc:spChg chg="add del mod">
          <ac:chgData name="Steiner Andreas 6206 ED" userId="e6377c33-a923-4f14-8587-531c474c7b48" providerId="ADAL" clId="{6ECD27E6-B224-41CD-B4E0-E297462320DD}" dt="2023-11-24T11:33:54.796" v="115872"/>
          <ac:spMkLst>
            <pc:docMk/>
            <pc:sldMk cId="3256052264" sldId="2147478569"/>
            <ac:spMk id="757" creationId="{1CB3C4E0-F38E-A3BA-3D08-629C06952877}"/>
          </ac:spMkLst>
        </pc:spChg>
        <pc:spChg chg="add del mod">
          <ac:chgData name="Steiner Andreas 6206 ED" userId="e6377c33-a923-4f14-8587-531c474c7b48" providerId="ADAL" clId="{6ECD27E6-B224-41CD-B4E0-E297462320DD}" dt="2023-11-24T11:33:57.302" v="116027"/>
          <ac:spMkLst>
            <pc:docMk/>
            <pc:sldMk cId="3256052264" sldId="2147478569"/>
            <ac:spMk id="758" creationId="{C4AF8C93-4BF9-F634-3E13-606D66C8ECB4}"/>
          </ac:spMkLst>
        </pc:spChg>
        <pc:spChg chg="add del mod">
          <ac:chgData name="Steiner Andreas 6206 ED" userId="e6377c33-a923-4f14-8587-531c474c7b48" providerId="ADAL" clId="{6ECD27E6-B224-41CD-B4E0-E297462320DD}" dt="2023-11-24T11:33:59.656" v="116182"/>
          <ac:spMkLst>
            <pc:docMk/>
            <pc:sldMk cId="3256052264" sldId="2147478569"/>
            <ac:spMk id="759" creationId="{FC136260-2B88-822C-00D0-50284297B80E}"/>
          </ac:spMkLst>
        </pc:spChg>
        <pc:spChg chg="add del mod">
          <ac:chgData name="Steiner Andreas 6206 ED" userId="e6377c33-a923-4f14-8587-531c474c7b48" providerId="ADAL" clId="{6ECD27E6-B224-41CD-B4E0-E297462320DD}" dt="2023-11-24T11:34:02.003" v="116337"/>
          <ac:spMkLst>
            <pc:docMk/>
            <pc:sldMk cId="3256052264" sldId="2147478569"/>
            <ac:spMk id="760" creationId="{FDA711A0-2E8F-9BAB-AE80-E9497B1D9655}"/>
          </ac:spMkLst>
        </pc:spChg>
        <pc:spChg chg="add del mod">
          <ac:chgData name="Steiner Andreas 6206 ED" userId="e6377c33-a923-4f14-8587-531c474c7b48" providerId="ADAL" clId="{6ECD27E6-B224-41CD-B4E0-E297462320DD}" dt="2023-11-24T11:34:04.322" v="116492"/>
          <ac:spMkLst>
            <pc:docMk/>
            <pc:sldMk cId="3256052264" sldId="2147478569"/>
            <ac:spMk id="761" creationId="{96DE5461-F987-B19B-0F35-4EA9E5B515B0}"/>
          </ac:spMkLst>
        </pc:spChg>
        <pc:spChg chg="add del mod">
          <ac:chgData name="Steiner Andreas 6206 ED" userId="e6377c33-a923-4f14-8587-531c474c7b48" providerId="ADAL" clId="{6ECD27E6-B224-41CD-B4E0-E297462320DD}" dt="2023-11-24T11:34:06.801" v="116647"/>
          <ac:spMkLst>
            <pc:docMk/>
            <pc:sldMk cId="3256052264" sldId="2147478569"/>
            <ac:spMk id="762" creationId="{FDA58F3B-4EE4-C977-A6FF-5DB1458566C0}"/>
          </ac:spMkLst>
        </pc:spChg>
        <pc:spChg chg="add del mod">
          <ac:chgData name="Steiner Andreas 6206 ED" userId="e6377c33-a923-4f14-8587-531c474c7b48" providerId="ADAL" clId="{6ECD27E6-B224-41CD-B4E0-E297462320DD}" dt="2023-11-24T11:34:09.413" v="116802"/>
          <ac:spMkLst>
            <pc:docMk/>
            <pc:sldMk cId="3256052264" sldId="2147478569"/>
            <ac:spMk id="763" creationId="{5F8E5303-778E-D386-A2F0-7D8BB48CF7CB}"/>
          </ac:spMkLst>
        </pc:spChg>
        <pc:spChg chg="add del mod">
          <ac:chgData name="Steiner Andreas 6206 ED" userId="e6377c33-a923-4f14-8587-531c474c7b48" providerId="ADAL" clId="{6ECD27E6-B224-41CD-B4E0-E297462320DD}" dt="2023-11-24T11:34:11.406" v="116957"/>
          <ac:spMkLst>
            <pc:docMk/>
            <pc:sldMk cId="3256052264" sldId="2147478569"/>
            <ac:spMk id="764" creationId="{AD2CE4C5-2B04-D50D-C2BC-1199D02EE556}"/>
          </ac:spMkLst>
        </pc:spChg>
        <pc:spChg chg="add del mod">
          <ac:chgData name="Steiner Andreas 6206 ED" userId="e6377c33-a923-4f14-8587-531c474c7b48" providerId="ADAL" clId="{6ECD27E6-B224-41CD-B4E0-E297462320DD}" dt="2023-11-24T11:34:13.149" v="117112"/>
          <ac:spMkLst>
            <pc:docMk/>
            <pc:sldMk cId="3256052264" sldId="2147478569"/>
            <ac:spMk id="765" creationId="{410E9FE8-8D57-6F2D-7955-7BB3AE596AA0}"/>
          </ac:spMkLst>
        </pc:spChg>
        <pc:spChg chg="add del mod">
          <ac:chgData name="Steiner Andreas 6206 ED" userId="e6377c33-a923-4f14-8587-531c474c7b48" providerId="ADAL" clId="{6ECD27E6-B224-41CD-B4E0-E297462320DD}" dt="2023-11-24T11:34:14.950" v="117267"/>
          <ac:spMkLst>
            <pc:docMk/>
            <pc:sldMk cId="3256052264" sldId="2147478569"/>
            <ac:spMk id="766" creationId="{E24856BE-84B2-559F-8307-BC06A8BA9A7F}"/>
          </ac:spMkLst>
        </pc:spChg>
        <pc:spChg chg="add del mod">
          <ac:chgData name="Steiner Andreas 6206 ED" userId="e6377c33-a923-4f14-8587-531c474c7b48" providerId="ADAL" clId="{6ECD27E6-B224-41CD-B4E0-E297462320DD}" dt="2023-11-24T11:34:16.738" v="117422"/>
          <ac:spMkLst>
            <pc:docMk/>
            <pc:sldMk cId="3256052264" sldId="2147478569"/>
            <ac:spMk id="767" creationId="{641AA723-5986-FE93-95A8-982AA99771DC}"/>
          </ac:spMkLst>
        </pc:spChg>
        <pc:spChg chg="add del mod">
          <ac:chgData name="Steiner Andreas 6206 ED" userId="e6377c33-a923-4f14-8587-531c474c7b48" providerId="ADAL" clId="{6ECD27E6-B224-41CD-B4E0-E297462320DD}" dt="2023-11-24T11:34:18.556" v="117577"/>
          <ac:spMkLst>
            <pc:docMk/>
            <pc:sldMk cId="3256052264" sldId="2147478569"/>
            <ac:spMk id="768" creationId="{DD29F1DF-C9A3-B868-6C23-9E28006470F5}"/>
          </ac:spMkLst>
        </pc:spChg>
        <pc:spChg chg="add del mod">
          <ac:chgData name="Steiner Andreas 6206 ED" userId="e6377c33-a923-4f14-8587-531c474c7b48" providerId="ADAL" clId="{6ECD27E6-B224-41CD-B4E0-E297462320DD}" dt="2023-11-24T11:34:20.654" v="117732"/>
          <ac:spMkLst>
            <pc:docMk/>
            <pc:sldMk cId="3256052264" sldId="2147478569"/>
            <ac:spMk id="769" creationId="{83A79A78-1474-80E6-D54B-6A301FCECC22}"/>
          </ac:spMkLst>
        </pc:spChg>
        <pc:spChg chg="add del mod">
          <ac:chgData name="Steiner Andreas 6206 ED" userId="e6377c33-a923-4f14-8587-531c474c7b48" providerId="ADAL" clId="{6ECD27E6-B224-41CD-B4E0-E297462320DD}" dt="2023-11-24T11:34:22.593" v="117887"/>
          <ac:spMkLst>
            <pc:docMk/>
            <pc:sldMk cId="3256052264" sldId="2147478569"/>
            <ac:spMk id="770" creationId="{FFB39C1D-9619-3966-2971-3A9B3E1AA82A}"/>
          </ac:spMkLst>
        </pc:spChg>
        <pc:spChg chg="add del mod">
          <ac:chgData name="Steiner Andreas 6206 ED" userId="e6377c33-a923-4f14-8587-531c474c7b48" providerId="ADAL" clId="{6ECD27E6-B224-41CD-B4E0-E297462320DD}" dt="2023-11-24T11:34:24.706" v="118042"/>
          <ac:spMkLst>
            <pc:docMk/>
            <pc:sldMk cId="3256052264" sldId="2147478569"/>
            <ac:spMk id="771" creationId="{8D881C1B-168F-7690-2A07-BBDB13846D18}"/>
          </ac:spMkLst>
        </pc:spChg>
        <pc:spChg chg="add del mod">
          <ac:chgData name="Steiner Andreas 6206 ED" userId="e6377c33-a923-4f14-8587-531c474c7b48" providerId="ADAL" clId="{6ECD27E6-B224-41CD-B4E0-E297462320DD}" dt="2023-11-24T11:34:27.212" v="118197"/>
          <ac:spMkLst>
            <pc:docMk/>
            <pc:sldMk cId="3256052264" sldId="2147478569"/>
            <ac:spMk id="772" creationId="{12F8A49E-157B-0256-ABF0-F24498A09782}"/>
          </ac:spMkLst>
        </pc:spChg>
        <pc:spChg chg="add del mod">
          <ac:chgData name="Steiner Andreas 6206 ED" userId="e6377c33-a923-4f14-8587-531c474c7b48" providerId="ADAL" clId="{6ECD27E6-B224-41CD-B4E0-E297462320DD}" dt="2023-11-24T11:34:29.307" v="118352"/>
          <ac:spMkLst>
            <pc:docMk/>
            <pc:sldMk cId="3256052264" sldId="2147478569"/>
            <ac:spMk id="773" creationId="{0EC08CA7-17A3-9851-A7F9-81C7C63AD4CC}"/>
          </ac:spMkLst>
        </pc:spChg>
        <pc:spChg chg="add del mod">
          <ac:chgData name="Steiner Andreas 6206 ED" userId="e6377c33-a923-4f14-8587-531c474c7b48" providerId="ADAL" clId="{6ECD27E6-B224-41CD-B4E0-E297462320DD}" dt="2023-11-24T11:34:31.566" v="118507"/>
          <ac:spMkLst>
            <pc:docMk/>
            <pc:sldMk cId="3256052264" sldId="2147478569"/>
            <ac:spMk id="774" creationId="{E34981AD-D06B-2BCA-09BA-997C82504A40}"/>
          </ac:spMkLst>
        </pc:spChg>
        <pc:spChg chg="add del mod">
          <ac:chgData name="Steiner Andreas 6206 ED" userId="e6377c33-a923-4f14-8587-531c474c7b48" providerId="ADAL" clId="{6ECD27E6-B224-41CD-B4E0-E297462320DD}" dt="2023-11-24T11:34:33.556" v="118662"/>
          <ac:spMkLst>
            <pc:docMk/>
            <pc:sldMk cId="3256052264" sldId="2147478569"/>
            <ac:spMk id="775" creationId="{00E7735F-6B98-0A2D-4162-74FAF9107B7D}"/>
          </ac:spMkLst>
        </pc:spChg>
        <pc:spChg chg="add del mod">
          <ac:chgData name="Steiner Andreas 6206 ED" userId="e6377c33-a923-4f14-8587-531c474c7b48" providerId="ADAL" clId="{6ECD27E6-B224-41CD-B4E0-E297462320DD}" dt="2023-11-24T11:34:35.520" v="118817"/>
          <ac:spMkLst>
            <pc:docMk/>
            <pc:sldMk cId="3256052264" sldId="2147478569"/>
            <ac:spMk id="776" creationId="{9FB2C3CA-D729-284D-4A21-AD51292F7C70}"/>
          </ac:spMkLst>
        </pc:spChg>
        <pc:spChg chg="add del mod">
          <ac:chgData name="Steiner Andreas 6206 ED" userId="e6377c33-a923-4f14-8587-531c474c7b48" providerId="ADAL" clId="{6ECD27E6-B224-41CD-B4E0-E297462320DD}" dt="2023-11-24T11:34:37.634" v="118972"/>
          <ac:spMkLst>
            <pc:docMk/>
            <pc:sldMk cId="3256052264" sldId="2147478569"/>
            <ac:spMk id="777" creationId="{321F04D7-DFF4-00BE-A34E-4C87F2FEA681}"/>
          </ac:spMkLst>
        </pc:spChg>
        <pc:spChg chg="add del mod">
          <ac:chgData name="Steiner Andreas 6206 ED" userId="e6377c33-a923-4f14-8587-531c474c7b48" providerId="ADAL" clId="{6ECD27E6-B224-41CD-B4E0-E297462320DD}" dt="2023-11-24T11:34:39.581" v="119127"/>
          <ac:spMkLst>
            <pc:docMk/>
            <pc:sldMk cId="3256052264" sldId="2147478569"/>
            <ac:spMk id="778" creationId="{BF235D19-E648-1B57-D127-91BDDFE767BD}"/>
          </ac:spMkLst>
        </pc:spChg>
        <pc:spChg chg="add del mod">
          <ac:chgData name="Steiner Andreas 6206 ED" userId="e6377c33-a923-4f14-8587-531c474c7b48" providerId="ADAL" clId="{6ECD27E6-B224-41CD-B4E0-E297462320DD}" dt="2023-11-24T11:34:41.699" v="119282"/>
          <ac:spMkLst>
            <pc:docMk/>
            <pc:sldMk cId="3256052264" sldId="2147478569"/>
            <ac:spMk id="779" creationId="{3DBBFDDF-A1B0-5D86-20C0-19692A78A79F}"/>
          </ac:spMkLst>
        </pc:spChg>
        <pc:spChg chg="add del mod">
          <ac:chgData name="Steiner Andreas 6206 ED" userId="e6377c33-a923-4f14-8587-531c474c7b48" providerId="ADAL" clId="{6ECD27E6-B224-41CD-B4E0-E297462320DD}" dt="2023-11-24T11:34:43.900" v="119437"/>
          <ac:spMkLst>
            <pc:docMk/>
            <pc:sldMk cId="3256052264" sldId="2147478569"/>
            <ac:spMk id="780" creationId="{35302B28-121A-6BC3-8CB8-BB5FF51098B4}"/>
          </ac:spMkLst>
        </pc:spChg>
        <pc:spChg chg="add del mod">
          <ac:chgData name="Steiner Andreas 6206 ED" userId="e6377c33-a923-4f14-8587-531c474c7b48" providerId="ADAL" clId="{6ECD27E6-B224-41CD-B4E0-E297462320DD}" dt="2023-11-24T11:34:45.904" v="119592"/>
          <ac:spMkLst>
            <pc:docMk/>
            <pc:sldMk cId="3256052264" sldId="2147478569"/>
            <ac:spMk id="781" creationId="{7528E694-9573-EB00-D475-1DB3ED85BCBE}"/>
          </ac:spMkLst>
        </pc:spChg>
        <pc:spChg chg="add del mod">
          <ac:chgData name="Steiner Andreas 6206 ED" userId="e6377c33-a923-4f14-8587-531c474c7b48" providerId="ADAL" clId="{6ECD27E6-B224-41CD-B4E0-E297462320DD}" dt="2023-11-24T11:34:47.838" v="119747"/>
          <ac:spMkLst>
            <pc:docMk/>
            <pc:sldMk cId="3256052264" sldId="2147478569"/>
            <ac:spMk id="782" creationId="{BDAF4FD7-2C2C-BC3A-DA32-EA9938433B15}"/>
          </ac:spMkLst>
        </pc:spChg>
        <pc:spChg chg="add del mod">
          <ac:chgData name="Steiner Andreas 6206 ED" userId="e6377c33-a923-4f14-8587-531c474c7b48" providerId="ADAL" clId="{6ECD27E6-B224-41CD-B4E0-E297462320DD}" dt="2023-11-24T11:34:50.021" v="119902"/>
          <ac:spMkLst>
            <pc:docMk/>
            <pc:sldMk cId="3256052264" sldId="2147478569"/>
            <ac:spMk id="783" creationId="{190201BB-91B5-CACB-1C04-C0F5F072EC89}"/>
          </ac:spMkLst>
        </pc:spChg>
        <pc:spChg chg="add del mod">
          <ac:chgData name="Steiner Andreas 6206 ED" userId="e6377c33-a923-4f14-8587-531c474c7b48" providerId="ADAL" clId="{6ECD27E6-B224-41CD-B4E0-E297462320DD}" dt="2023-11-24T11:34:52.100" v="120057"/>
          <ac:spMkLst>
            <pc:docMk/>
            <pc:sldMk cId="3256052264" sldId="2147478569"/>
            <ac:spMk id="784" creationId="{6C9BD66A-4485-0F9D-1265-7D1E81DD7AC6}"/>
          </ac:spMkLst>
        </pc:spChg>
        <pc:spChg chg="add del mod">
          <ac:chgData name="Steiner Andreas 6206 ED" userId="e6377c33-a923-4f14-8587-531c474c7b48" providerId="ADAL" clId="{6ECD27E6-B224-41CD-B4E0-E297462320DD}" dt="2023-11-24T11:34:54.081" v="120212"/>
          <ac:spMkLst>
            <pc:docMk/>
            <pc:sldMk cId="3256052264" sldId="2147478569"/>
            <ac:spMk id="785" creationId="{3A55C0F8-72C1-AD06-D77F-2BD572DB40CE}"/>
          </ac:spMkLst>
        </pc:spChg>
        <pc:spChg chg="add del mod">
          <ac:chgData name="Steiner Andreas 6206 ED" userId="e6377c33-a923-4f14-8587-531c474c7b48" providerId="ADAL" clId="{6ECD27E6-B224-41CD-B4E0-E297462320DD}" dt="2023-11-24T11:34:55.950" v="120367"/>
          <ac:spMkLst>
            <pc:docMk/>
            <pc:sldMk cId="3256052264" sldId="2147478569"/>
            <ac:spMk id="786" creationId="{9A0B7FFF-A430-DE0B-4D8A-DD0FEF3DACAD}"/>
          </ac:spMkLst>
        </pc:spChg>
        <pc:spChg chg="add del mod">
          <ac:chgData name="Steiner Andreas 6206 ED" userId="e6377c33-a923-4f14-8587-531c474c7b48" providerId="ADAL" clId="{6ECD27E6-B224-41CD-B4E0-E297462320DD}" dt="2023-11-24T11:34:57.756" v="120522"/>
          <ac:spMkLst>
            <pc:docMk/>
            <pc:sldMk cId="3256052264" sldId="2147478569"/>
            <ac:spMk id="787" creationId="{803BD9AA-B61F-4BD3-99C5-02B702526457}"/>
          </ac:spMkLst>
        </pc:spChg>
        <pc:spChg chg="add del mod">
          <ac:chgData name="Steiner Andreas 6206 ED" userId="e6377c33-a923-4f14-8587-531c474c7b48" providerId="ADAL" clId="{6ECD27E6-B224-41CD-B4E0-E297462320DD}" dt="2023-11-24T11:34:59.650" v="120677"/>
          <ac:spMkLst>
            <pc:docMk/>
            <pc:sldMk cId="3256052264" sldId="2147478569"/>
            <ac:spMk id="788" creationId="{09913F32-B8C3-17E5-5176-FFC71A720B2A}"/>
          </ac:spMkLst>
        </pc:spChg>
        <pc:spChg chg="add del mod">
          <ac:chgData name="Steiner Andreas 6206 ED" userId="e6377c33-a923-4f14-8587-531c474c7b48" providerId="ADAL" clId="{6ECD27E6-B224-41CD-B4E0-E297462320DD}" dt="2023-11-24T11:35:01.485" v="120832"/>
          <ac:spMkLst>
            <pc:docMk/>
            <pc:sldMk cId="3256052264" sldId="2147478569"/>
            <ac:spMk id="789" creationId="{D5347B03-F02B-75A1-6921-7F791C6456DE}"/>
          </ac:spMkLst>
        </pc:spChg>
        <pc:spChg chg="add del mod">
          <ac:chgData name="Steiner Andreas 6206 ED" userId="e6377c33-a923-4f14-8587-531c474c7b48" providerId="ADAL" clId="{6ECD27E6-B224-41CD-B4E0-E297462320DD}" dt="2023-11-24T11:35:03.359" v="120987"/>
          <ac:spMkLst>
            <pc:docMk/>
            <pc:sldMk cId="3256052264" sldId="2147478569"/>
            <ac:spMk id="790" creationId="{BFBB349D-D747-A550-900A-C3DAB08ED521}"/>
          </ac:spMkLst>
        </pc:spChg>
        <pc:spChg chg="add del mod">
          <ac:chgData name="Steiner Andreas 6206 ED" userId="e6377c33-a923-4f14-8587-531c474c7b48" providerId="ADAL" clId="{6ECD27E6-B224-41CD-B4E0-E297462320DD}" dt="2023-11-24T11:35:05.256" v="121142"/>
          <ac:spMkLst>
            <pc:docMk/>
            <pc:sldMk cId="3256052264" sldId="2147478569"/>
            <ac:spMk id="791" creationId="{9B51111C-FF5A-7A39-AE65-2E990E2BB3F5}"/>
          </ac:spMkLst>
        </pc:spChg>
        <pc:spChg chg="add del mod">
          <ac:chgData name="Steiner Andreas 6206 ED" userId="e6377c33-a923-4f14-8587-531c474c7b48" providerId="ADAL" clId="{6ECD27E6-B224-41CD-B4E0-E297462320DD}" dt="2023-11-24T11:35:07.371" v="121297"/>
          <ac:spMkLst>
            <pc:docMk/>
            <pc:sldMk cId="3256052264" sldId="2147478569"/>
            <ac:spMk id="792" creationId="{78A7DDEA-349B-8680-72C8-C3EFAD73E4C2}"/>
          </ac:spMkLst>
        </pc:spChg>
        <pc:spChg chg="add del mod">
          <ac:chgData name="Steiner Andreas 6206 ED" userId="e6377c33-a923-4f14-8587-531c474c7b48" providerId="ADAL" clId="{6ECD27E6-B224-41CD-B4E0-E297462320DD}" dt="2023-11-24T11:35:09.411" v="121452"/>
          <ac:spMkLst>
            <pc:docMk/>
            <pc:sldMk cId="3256052264" sldId="2147478569"/>
            <ac:spMk id="793" creationId="{4C6FE778-1ACD-D178-CBAA-C0CBE8FEB74E}"/>
          </ac:spMkLst>
        </pc:spChg>
        <pc:spChg chg="add del mod">
          <ac:chgData name="Steiner Andreas 6206 ED" userId="e6377c33-a923-4f14-8587-531c474c7b48" providerId="ADAL" clId="{6ECD27E6-B224-41CD-B4E0-E297462320DD}" dt="2023-11-24T11:35:11.351" v="121607"/>
          <ac:spMkLst>
            <pc:docMk/>
            <pc:sldMk cId="3256052264" sldId="2147478569"/>
            <ac:spMk id="794" creationId="{9109191B-AB7F-C538-3FFE-C19B756330D5}"/>
          </ac:spMkLst>
        </pc:spChg>
        <pc:spChg chg="add del mod">
          <ac:chgData name="Steiner Andreas 6206 ED" userId="e6377c33-a923-4f14-8587-531c474c7b48" providerId="ADAL" clId="{6ECD27E6-B224-41CD-B4E0-E297462320DD}" dt="2023-11-24T11:35:13.100" v="121762"/>
          <ac:spMkLst>
            <pc:docMk/>
            <pc:sldMk cId="3256052264" sldId="2147478569"/>
            <ac:spMk id="795" creationId="{5AAFB378-FD46-7E79-D4CD-616F8875970D}"/>
          </ac:spMkLst>
        </pc:spChg>
        <pc:spChg chg="add del mod">
          <ac:chgData name="Steiner Andreas 6206 ED" userId="e6377c33-a923-4f14-8587-531c474c7b48" providerId="ADAL" clId="{6ECD27E6-B224-41CD-B4E0-E297462320DD}" dt="2023-11-24T11:35:15.044" v="121917"/>
          <ac:spMkLst>
            <pc:docMk/>
            <pc:sldMk cId="3256052264" sldId="2147478569"/>
            <ac:spMk id="796" creationId="{4274D0F5-8E98-B320-D09A-D298D4B48D51}"/>
          </ac:spMkLst>
        </pc:spChg>
        <pc:spChg chg="add del mod">
          <ac:chgData name="Steiner Andreas 6206 ED" userId="e6377c33-a923-4f14-8587-531c474c7b48" providerId="ADAL" clId="{6ECD27E6-B224-41CD-B4E0-E297462320DD}" dt="2023-11-24T11:35:16.734" v="122072"/>
          <ac:spMkLst>
            <pc:docMk/>
            <pc:sldMk cId="3256052264" sldId="2147478569"/>
            <ac:spMk id="797" creationId="{0ED66BFC-93EE-092C-74E1-CAB6911F4783}"/>
          </ac:spMkLst>
        </pc:spChg>
        <pc:spChg chg="add del mod">
          <ac:chgData name="Steiner Andreas 6206 ED" userId="e6377c33-a923-4f14-8587-531c474c7b48" providerId="ADAL" clId="{6ECD27E6-B224-41CD-B4E0-E297462320DD}" dt="2023-11-24T11:35:18.447" v="122227"/>
          <ac:spMkLst>
            <pc:docMk/>
            <pc:sldMk cId="3256052264" sldId="2147478569"/>
            <ac:spMk id="798" creationId="{D269D1EE-0562-5603-0684-020D952D776B}"/>
          </ac:spMkLst>
        </pc:spChg>
        <pc:spChg chg="add del mod">
          <ac:chgData name="Steiner Andreas 6206 ED" userId="e6377c33-a923-4f14-8587-531c474c7b48" providerId="ADAL" clId="{6ECD27E6-B224-41CD-B4E0-E297462320DD}" dt="2023-11-24T11:35:20.064" v="122382"/>
          <ac:spMkLst>
            <pc:docMk/>
            <pc:sldMk cId="3256052264" sldId="2147478569"/>
            <ac:spMk id="799" creationId="{241AEED8-18C2-1FF9-0200-628F228D1009}"/>
          </ac:spMkLst>
        </pc:spChg>
        <pc:spChg chg="add del mod">
          <ac:chgData name="Steiner Andreas 6206 ED" userId="e6377c33-a923-4f14-8587-531c474c7b48" providerId="ADAL" clId="{6ECD27E6-B224-41CD-B4E0-E297462320DD}" dt="2023-11-24T11:35:21.704" v="122537"/>
          <ac:spMkLst>
            <pc:docMk/>
            <pc:sldMk cId="3256052264" sldId="2147478569"/>
            <ac:spMk id="800" creationId="{5341B64C-A59F-F78F-B6C3-A5DA8F98E2B5}"/>
          </ac:spMkLst>
        </pc:spChg>
        <pc:spChg chg="add del mod">
          <ac:chgData name="Steiner Andreas 6206 ED" userId="e6377c33-a923-4f14-8587-531c474c7b48" providerId="ADAL" clId="{6ECD27E6-B224-41CD-B4E0-E297462320DD}" dt="2023-11-24T11:35:23.411" v="122692"/>
          <ac:spMkLst>
            <pc:docMk/>
            <pc:sldMk cId="3256052264" sldId="2147478569"/>
            <ac:spMk id="801" creationId="{263F80EB-7734-B105-F3AF-9E3995062C54}"/>
          </ac:spMkLst>
        </pc:spChg>
        <pc:spChg chg="add del mod">
          <ac:chgData name="Steiner Andreas 6206 ED" userId="e6377c33-a923-4f14-8587-531c474c7b48" providerId="ADAL" clId="{6ECD27E6-B224-41CD-B4E0-E297462320DD}" dt="2023-11-24T11:35:25.431" v="122847"/>
          <ac:spMkLst>
            <pc:docMk/>
            <pc:sldMk cId="3256052264" sldId="2147478569"/>
            <ac:spMk id="802" creationId="{6CDE02E8-4527-4AE8-0B78-6095F701D847}"/>
          </ac:spMkLst>
        </pc:spChg>
        <pc:spChg chg="add del mod">
          <ac:chgData name="Steiner Andreas 6206 ED" userId="e6377c33-a923-4f14-8587-531c474c7b48" providerId="ADAL" clId="{6ECD27E6-B224-41CD-B4E0-E297462320DD}" dt="2023-11-24T11:35:27.459" v="123002"/>
          <ac:spMkLst>
            <pc:docMk/>
            <pc:sldMk cId="3256052264" sldId="2147478569"/>
            <ac:spMk id="803" creationId="{7F6FE16C-46E2-1E98-C089-4C86E5AC13EC}"/>
          </ac:spMkLst>
        </pc:spChg>
        <pc:spChg chg="add del mod">
          <ac:chgData name="Steiner Andreas 6206 ED" userId="e6377c33-a923-4f14-8587-531c474c7b48" providerId="ADAL" clId="{6ECD27E6-B224-41CD-B4E0-E297462320DD}" dt="2023-11-24T11:35:29.338" v="123157"/>
          <ac:spMkLst>
            <pc:docMk/>
            <pc:sldMk cId="3256052264" sldId="2147478569"/>
            <ac:spMk id="804" creationId="{6D9A7F76-64CD-2BFC-F0D8-BD9051B352F0}"/>
          </ac:spMkLst>
        </pc:spChg>
        <pc:spChg chg="add del mod">
          <ac:chgData name="Steiner Andreas 6206 ED" userId="e6377c33-a923-4f14-8587-531c474c7b48" providerId="ADAL" clId="{6ECD27E6-B224-41CD-B4E0-E297462320DD}" dt="2023-11-24T11:35:31.077" v="123312"/>
          <ac:spMkLst>
            <pc:docMk/>
            <pc:sldMk cId="3256052264" sldId="2147478569"/>
            <ac:spMk id="805" creationId="{2B4249D2-87BE-DE8F-1936-3BAD6D1A0E4A}"/>
          </ac:spMkLst>
        </pc:spChg>
        <pc:spChg chg="add del mod">
          <ac:chgData name="Steiner Andreas 6206 ED" userId="e6377c33-a923-4f14-8587-531c474c7b48" providerId="ADAL" clId="{6ECD27E6-B224-41CD-B4E0-E297462320DD}" dt="2023-11-24T11:35:33.961" v="123467"/>
          <ac:spMkLst>
            <pc:docMk/>
            <pc:sldMk cId="3256052264" sldId="2147478569"/>
            <ac:spMk id="806" creationId="{74DA3532-32EB-C71E-1BFF-D9DB9F08D150}"/>
          </ac:spMkLst>
        </pc:spChg>
        <pc:spChg chg="add del mod">
          <ac:chgData name="Steiner Andreas 6206 ED" userId="e6377c33-a923-4f14-8587-531c474c7b48" providerId="ADAL" clId="{6ECD27E6-B224-41CD-B4E0-E297462320DD}" dt="2023-11-24T11:35:35.826" v="123622"/>
          <ac:spMkLst>
            <pc:docMk/>
            <pc:sldMk cId="3256052264" sldId="2147478569"/>
            <ac:spMk id="807" creationId="{39F0160F-3320-AA32-D14E-5FDE1155DD61}"/>
          </ac:spMkLst>
        </pc:spChg>
        <pc:spChg chg="add del mod">
          <ac:chgData name="Steiner Andreas 6206 ED" userId="e6377c33-a923-4f14-8587-531c474c7b48" providerId="ADAL" clId="{6ECD27E6-B224-41CD-B4E0-E297462320DD}" dt="2023-11-24T11:35:37.505" v="123777"/>
          <ac:spMkLst>
            <pc:docMk/>
            <pc:sldMk cId="3256052264" sldId="2147478569"/>
            <ac:spMk id="808" creationId="{3C4A9DD3-2912-0A30-5537-6CBDF5261894}"/>
          </ac:spMkLst>
        </pc:spChg>
        <pc:spChg chg="add del mod">
          <ac:chgData name="Steiner Andreas 6206 ED" userId="e6377c33-a923-4f14-8587-531c474c7b48" providerId="ADAL" clId="{6ECD27E6-B224-41CD-B4E0-E297462320DD}" dt="2023-11-24T11:35:39.140" v="123932"/>
          <ac:spMkLst>
            <pc:docMk/>
            <pc:sldMk cId="3256052264" sldId="2147478569"/>
            <ac:spMk id="809" creationId="{36913EA5-3732-CD5C-C797-D6FF3AC3D445}"/>
          </ac:spMkLst>
        </pc:spChg>
        <pc:spChg chg="add del mod">
          <ac:chgData name="Steiner Andreas 6206 ED" userId="e6377c33-a923-4f14-8587-531c474c7b48" providerId="ADAL" clId="{6ECD27E6-B224-41CD-B4E0-E297462320DD}" dt="2023-11-24T11:35:40.845" v="124087"/>
          <ac:spMkLst>
            <pc:docMk/>
            <pc:sldMk cId="3256052264" sldId="2147478569"/>
            <ac:spMk id="810" creationId="{AEA0DCE3-4FE4-D63A-BCF0-EC3A4D9DA79F}"/>
          </ac:spMkLst>
        </pc:spChg>
        <pc:spChg chg="add del mod">
          <ac:chgData name="Steiner Andreas 6206 ED" userId="e6377c33-a923-4f14-8587-531c474c7b48" providerId="ADAL" clId="{6ECD27E6-B224-41CD-B4E0-E297462320DD}" dt="2023-11-24T11:35:42.440" v="124242"/>
          <ac:spMkLst>
            <pc:docMk/>
            <pc:sldMk cId="3256052264" sldId="2147478569"/>
            <ac:spMk id="811" creationId="{E7113334-233E-485F-B8FB-5B8725AF86AE}"/>
          </ac:spMkLst>
        </pc:spChg>
        <pc:spChg chg="add del mod">
          <ac:chgData name="Steiner Andreas 6206 ED" userId="e6377c33-a923-4f14-8587-531c474c7b48" providerId="ADAL" clId="{6ECD27E6-B224-41CD-B4E0-E297462320DD}" dt="2023-11-24T11:35:44.134" v="124397"/>
          <ac:spMkLst>
            <pc:docMk/>
            <pc:sldMk cId="3256052264" sldId="2147478569"/>
            <ac:spMk id="812" creationId="{D4A1AAC0-94C4-50AF-9978-8D166B6E7D9D}"/>
          </ac:spMkLst>
        </pc:spChg>
        <pc:spChg chg="add del mod">
          <ac:chgData name="Steiner Andreas 6206 ED" userId="e6377c33-a923-4f14-8587-531c474c7b48" providerId="ADAL" clId="{6ECD27E6-B224-41CD-B4E0-E297462320DD}" dt="2023-11-24T11:35:45.773" v="124552"/>
          <ac:spMkLst>
            <pc:docMk/>
            <pc:sldMk cId="3256052264" sldId="2147478569"/>
            <ac:spMk id="813" creationId="{A3EFC066-7A07-9720-918F-4D34032167FF}"/>
          </ac:spMkLst>
        </pc:spChg>
        <pc:spChg chg="add del mod">
          <ac:chgData name="Steiner Andreas 6206 ED" userId="e6377c33-a923-4f14-8587-531c474c7b48" providerId="ADAL" clId="{6ECD27E6-B224-41CD-B4E0-E297462320DD}" dt="2023-11-24T11:35:47.485" v="124707"/>
          <ac:spMkLst>
            <pc:docMk/>
            <pc:sldMk cId="3256052264" sldId="2147478569"/>
            <ac:spMk id="814" creationId="{47344609-E1FB-AED4-EAB4-B24FD87A7599}"/>
          </ac:spMkLst>
        </pc:spChg>
        <pc:spChg chg="add del mod">
          <ac:chgData name="Steiner Andreas 6206 ED" userId="e6377c33-a923-4f14-8587-531c474c7b48" providerId="ADAL" clId="{6ECD27E6-B224-41CD-B4E0-E297462320DD}" dt="2023-11-24T11:35:49.258" v="124862"/>
          <ac:spMkLst>
            <pc:docMk/>
            <pc:sldMk cId="3256052264" sldId="2147478569"/>
            <ac:spMk id="815" creationId="{1CCFEB06-3C37-4F87-B307-C21E63C6EA1C}"/>
          </ac:spMkLst>
        </pc:spChg>
        <pc:spChg chg="add del mod">
          <ac:chgData name="Steiner Andreas 6206 ED" userId="e6377c33-a923-4f14-8587-531c474c7b48" providerId="ADAL" clId="{6ECD27E6-B224-41CD-B4E0-E297462320DD}" dt="2023-11-24T11:35:51.170" v="125017"/>
          <ac:spMkLst>
            <pc:docMk/>
            <pc:sldMk cId="3256052264" sldId="2147478569"/>
            <ac:spMk id="816" creationId="{44AF2B42-3D6B-0DAE-A7F6-72BA2B63F710}"/>
          </ac:spMkLst>
        </pc:spChg>
        <pc:spChg chg="add del mod">
          <ac:chgData name="Steiner Andreas 6206 ED" userId="e6377c33-a923-4f14-8587-531c474c7b48" providerId="ADAL" clId="{6ECD27E6-B224-41CD-B4E0-E297462320DD}" dt="2023-11-24T11:35:52.898" v="125172"/>
          <ac:spMkLst>
            <pc:docMk/>
            <pc:sldMk cId="3256052264" sldId="2147478569"/>
            <ac:spMk id="817" creationId="{868BA853-098E-712E-3528-1C5F3F18B260}"/>
          </ac:spMkLst>
        </pc:spChg>
        <pc:spChg chg="add del mod">
          <ac:chgData name="Steiner Andreas 6206 ED" userId="e6377c33-a923-4f14-8587-531c474c7b48" providerId="ADAL" clId="{6ECD27E6-B224-41CD-B4E0-E297462320DD}" dt="2023-11-24T11:35:54.908" v="125327"/>
          <ac:spMkLst>
            <pc:docMk/>
            <pc:sldMk cId="3256052264" sldId="2147478569"/>
            <ac:spMk id="818" creationId="{439FA134-0F1A-05A5-6DBD-0E343163C4AD}"/>
          </ac:spMkLst>
        </pc:spChg>
        <pc:spChg chg="add del mod">
          <ac:chgData name="Steiner Andreas 6206 ED" userId="e6377c33-a923-4f14-8587-531c474c7b48" providerId="ADAL" clId="{6ECD27E6-B224-41CD-B4E0-E297462320DD}" dt="2023-11-24T11:35:57.088" v="125482"/>
          <ac:spMkLst>
            <pc:docMk/>
            <pc:sldMk cId="3256052264" sldId="2147478569"/>
            <ac:spMk id="819" creationId="{93023044-C64A-3910-D904-EAF10DA2D34C}"/>
          </ac:spMkLst>
        </pc:spChg>
        <pc:spChg chg="add del mod">
          <ac:chgData name="Steiner Andreas 6206 ED" userId="e6377c33-a923-4f14-8587-531c474c7b48" providerId="ADAL" clId="{6ECD27E6-B224-41CD-B4E0-E297462320DD}" dt="2023-11-24T11:35:58.872" v="125637"/>
          <ac:spMkLst>
            <pc:docMk/>
            <pc:sldMk cId="3256052264" sldId="2147478569"/>
            <ac:spMk id="820" creationId="{AC2D4FD5-987B-9B66-8937-0F24E7B83758}"/>
          </ac:spMkLst>
        </pc:spChg>
        <pc:spChg chg="add del mod">
          <ac:chgData name="Steiner Andreas 6206 ED" userId="e6377c33-a923-4f14-8587-531c474c7b48" providerId="ADAL" clId="{6ECD27E6-B224-41CD-B4E0-E297462320DD}" dt="2023-11-24T11:36:00.607" v="125792"/>
          <ac:spMkLst>
            <pc:docMk/>
            <pc:sldMk cId="3256052264" sldId="2147478569"/>
            <ac:spMk id="821" creationId="{A7766200-2469-7C2F-E785-760D6CBDB186}"/>
          </ac:spMkLst>
        </pc:spChg>
        <pc:spChg chg="add del mod">
          <ac:chgData name="Steiner Andreas 6206 ED" userId="e6377c33-a923-4f14-8587-531c474c7b48" providerId="ADAL" clId="{6ECD27E6-B224-41CD-B4E0-E297462320DD}" dt="2023-11-24T11:36:02.338" v="125947"/>
          <ac:spMkLst>
            <pc:docMk/>
            <pc:sldMk cId="3256052264" sldId="2147478569"/>
            <ac:spMk id="822" creationId="{8CFA26F5-CF87-C5E8-2ED9-84E5897CEF9D}"/>
          </ac:spMkLst>
        </pc:spChg>
        <pc:spChg chg="add del mod">
          <ac:chgData name="Steiner Andreas 6206 ED" userId="e6377c33-a923-4f14-8587-531c474c7b48" providerId="ADAL" clId="{6ECD27E6-B224-41CD-B4E0-E297462320DD}" dt="2023-11-24T11:36:04.089" v="126102"/>
          <ac:spMkLst>
            <pc:docMk/>
            <pc:sldMk cId="3256052264" sldId="2147478569"/>
            <ac:spMk id="823" creationId="{FB5EAEE4-EF36-A8D7-27F8-1383C9A6C4A8}"/>
          </ac:spMkLst>
        </pc:spChg>
        <pc:spChg chg="add del mod">
          <ac:chgData name="Steiner Andreas 6206 ED" userId="e6377c33-a923-4f14-8587-531c474c7b48" providerId="ADAL" clId="{6ECD27E6-B224-41CD-B4E0-E297462320DD}" dt="2023-11-24T11:36:05.864" v="126257"/>
          <ac:spMkLst>
            <pc:docMk/>
            <pc:sldMk cId="3256052264" sldId="2147478569"/>
            <ac:spMk id="824" creationId="{77C73793-FF8C-4F67-32C2-717316D54E6E}"/>
          </ac:spMkLst>
        </pc:spChg>
        <pc:spChg chg="add del mod">
          <ac:chgData name="Steiner Andreas 6206 ED" userId="e6377c33-a923-4f14-8587-531c474c7b48" providerId="ADAL" clId="{6ECD27E6-B224-41CD-B4E0-E297462320DD}" dt="2023-11-24T11:36:07.551" v="126412"/>
          <ac:spMkLst>
            <pc:docMk/>
            <pc:sldMk cId="3256052264" sldId="2147478569"/>
            <ac:spMk id="825" creationId="{E2E4EEF3-11DB-602B-B1FF-571E2D7E4D4C}"/>
          </ac:spMkLst>
        </pc:spChg>
        <pc:spChg chg="add del mod">
          <ac:chgData name="Steiner Andreas 6206 ED" userId="e6377c33-a923-4f14-8587-531c474c7b48" providerId="ADAL" clId="{6ECD27E6-B224-41CD-B4E0-E297462320DD}" dt="2023-11-24T11:36:09.396" v="126567"/>
          <ac:spMkLst>
            <pc:docMk/>
            <pc:sldMk cId="3256052264" sldId="2147478569"/>
            <ac:spMk id="826" creationId="{12B52608-4A18-81ED-FF18-2A93D3A0065B}"/>
          </ac:spMkLst>
        </pc:spChg>
        <pc:spChg chg="add del mod">
          <ac:chgData name="Steiner Andreas 6206 ED" userId="e6377c33-a923-4f14-8587-531c474c7b48" providerId="ADAL" clId="{6ECD27E6-B224-41CD-B4E0-E297462320DD}" dt="2023-11-24T11:36:11.201" v="126722"/>
          <ac:spMkLst>
            <pc:docMk/>
            <pc:sldMk cId="3256052264" sldId="2147478569"/>
            <ac:spMk id="827" creationId="{7AEB4C3F-A3AA-DB7D-31A5-7490A0F1AA02}"/>
          </ac:spMkLst>
        </pc:spChg>
        <pc:spChg chg="add del mod">
          <ac:chgData name="Steiner Andreas 6206 ED" userId="e6377c33-a923-4f14-8587-531c474c7b48" providerId="ADAL" clId="{6ECD27E6-B224-41CD-B4E0-E297462320DD}" dt="2023-11-24T11:36:13.105" v="126877"/>
          <ac:spMkLst>
            <pc:docMk/>
            <pc:sldMk cId="3256052264" sldId="2147478569"/>
            <ac:spMk id="828" creationId="{7F4939EC-0B6E-A792-0F1C-5136277A1353}"/>
          </ac:spMkLst>
        </pc:spChg>
        <pc:spChg chg="add del mod">
          <ac:chgData name="Steiner Andreas 6206 ED" userId="e6377c33-a923-4f14-8587-531c474c7b48" providerId="ADAL" clId="{6ECD27E6-B224-41CD-B4E0-E297462320DD}" dt="2023-11-24T11:36:15" v="127032"/>
          <ac:spMkLst>
            <pc:docMk/>
            <pc:sldMk cId="3256052264" sldId="2147478569"/>
            <ac:spMk id="829" creationId="{D0542669-6ED9-F1BA-BB22-A833A5624F1E}"/>
          </ac:spMkLst>
        </pc:spChg>
        <pc:spChg chg="add del mod">
          <ac:chgData name="Steiner Andreas 6206 ED" userId="e6377c33-a923-4f14-8587-531c474c7b48" providerId="ADAL" clId="{6ECD27E6-B224-41CD-B4E0-E297462320DD}" dt="2023-11-24T11:36:17.514" v="127187"/>
          <ac:spMkLst>
            <pc:docMk/>
            <pc:sldMk cId="3256052264" sldId="2147478569"/>
            <ac:spMk id="830" creationId="{7D3BBBF0-4234-C3FE-BC6A-D2D9C38F32C0}"/>
          </ac:spMkLst>
        </pc:spChg>
        <pc:spChg chg="add del mod">
          <ac:chgData name="Steiner Andreas 6206 ED" userId="e6377c33-a923-4f14-8587-531c474c7b48" providerId="ADAL" clId="{6ECD27E6-B224-41CD-B4E0-E297462320DD}" dt="2023-11-24T11:36:20.116" v="127342"/>
          <ac:spMkLst>
            <pc:docMk/>
            <pc:sldMk cId="3256052264" sldId="2147478569"/>
            <ac:spMk id="831" creationId="{BFBEADFD-A1FB-35CF-50E9-451C9A1FA35A}"/>
          </ac:spMkLst>
        </pc:spChg>
        <pc:spChg chg="add del mod">
          <ac:chgData name="Steiner Andreas 6206 ED" userId="e6377c33-a923-4f14-8587-531c474c7b48" providerId="ADAL" clId="{6ECD27E6-B224-41CD-B4E0-E297462320DD}" dt="2023-11-24T11:36:22.461" v="127497"/>
          <ac:spMkLst>
            <pc:docMk/>
            <pc:sldMk cId="3256052264" sldId="2147478569"/>
            <ac:spMk id="832" creationId="{C0895C07-3796-878B-454A-F6174E039713}"/>
          </ac:spMkLst>
        </pc:spChg>
        <pc:spChg chg="add del mod">
          <ac:chgData name="Steiner Andreas 6206 ED" userId="e6377c33-a923-4f14-8587-531c474c7b48" providerId="ADAL" clId="{6ECD27E6-B224-41CD-B4E0-E297462320DD}" dt="2023-11-24T11:36:25.583" v="127652"/>
          <ac:spMkLst>
            <pc:docMk/>
            <pc:sldMk cId="3256052264" sldId="2147478569"/>
            <ac:spMk id="833" creationId="{A3763BAB-B23F-40F7-3B3B-B199F9894A06}"/>
          </ac:spMkLst>
        </pc:spChg>
        <pc:spChg chg="add del mod">
          <ac:chgData name="Steiner Andreas 6206 ED" userId="e6377c33-a923-4f14-8587-531c474c7b48" providerId="ADAL" clId="{6ECD27E6-B224-41CD-B4E0-E297462320DD}" dt="2023-11-24T11:36:28.431" v="127807"/>
          <ac:spMkLst>
            <pc:docMk/>
            <pc:sldMk cId="3256052264" sldId="2147478569"/>
            <ac:spMk id="834" creationId="{242A70DE-0E7C-2975-7167-907B1A799CC2}"/>
          </ac:spMkLst>
        </pc:spChg>
        <pc:spChg chg="add del mod">
          <ac:chgData name="Steiner Andreas 6206 ED" userId="e6377c33-a923-4f14-8587-531c474c7b48" providerId="ADAL" clId="{6ECD27E6-B224-41CD-B4E0-E297462320DD}" dt="2023-11-24T11:36:31.092" v="127962"/>
          <ac:spMkLst>
            <pc:docMk/>
            <pc:sldMk cId="3256052264" sldId="2147478569"/>
            <ac:spMk id="835" creationId="{50DC6D49-11DD-44B5-52EE-B4A36988FC68}"/>
          </ac:spMkLst>
        </pc:spChg>
        <pc:spChg chg="add del mod">
          <ac:chgData name="Steiner Andreas 6206 ED" userId="e6377c33-a923-4f14-8587-531c474c7b48" providerId="ADAL" clId="{6ECD27E6-B224-41CD-B4E0-E297462320DD}" dt="2023-11-24T11:36:33.359" v="128117"/>
          <ac:spMkLst>
            <pc:docMk/>
            <pc:sldMk cId="3256052264" sldId="2147478569"/>
            <ac:spMk id="836" creationId="{C4B0FA3F-7C63-A72B-1D9A-CA474C6F0B9C}"/>
          </ac:spMkLst>
        </pc:spChg>
        <pc:spChg chg="add del mod">
          <ac:chgData name="Steiner Andreas 6206 ED" userId="e6377c33-a923-4f14-8587-531c474c7b48" providerId="ADAL" clId="{6ECD27E6-B224-41CD-B4E0-E297462320DD}" dt="2023-11-24T11:36:35.419" v="128272"/>
          <ac:spMkLst>
            <pc:docMk/>
            <pc:sldMk cId="3256052264" sldId="2147478569"/>
            <ac:spMk id="837" creationId="{FE2A79B9-A350-D26A-C22B-01CA27D2BC9D}"/>
          </ac:spMkLst>
        </pc:spChg>
        <pc:spChg chg="add del mod">
          <ac:chgData name="Steiner Andreas 6206 ED" userId="e6377c33-a923-4f14-8587-531c474c7b48" providerId="ADAL" clId="{6ECD27E6-B224-41CD-B4E0-E297462320DD}" dt="2023-11-24T11:36:37.515" v="128427"/>
          <ac:spMkLst>
            <pc:docMk/>
            <pc:sldMk cId="3256052264" sldId="2147478569"/>
            <ac:spMk id="838" creationId="{5807B85D-BE87-13A4-103B-5620321EDE92}"/>
          </ac:spMkLst>
        </pc:spChg>
        <pc:spChg chg="add del mod">
          <ac:chgData name="Steiner Andreas 6206 ED" userId="e6377c33-a923-4f14-8587-531c474c7b48" providerId="ADAL" clId="{6ECD27E6-B224-41CD-B4E0-E297462320DD}" dt="2023-11-24T11:36:39.733" v="128582"/>
          <ac:spMkLst>
            <pc:docMk/>
            <pc:sldMk cId="3256052264" sldId="2147478569"/>
            <ac:spMk id="839" creationId="{3D64B031-A812-0B94-CB6E-BA9CF1B31EAB}"/>
          </ac:spMkLst>
        </pc:spChg>
        <pc:spChg chg="add del mod">
          <ac:chgData name="Steiner Andreas 6206 ED" userId="e6377c33-a923-4f14-8587-531c474c7b48" providerId="ADAL" clId="{6ECD27E6-B224-41CD-B4E0-E297462320DD}" dt="2023-11-24T11:36:42.289" v="128737"/>
          <ac:spMkLst>
            <pc:docMk/>
            <pc:sldMk cId="3256052264" sldId="2147478569"/>
            <ac:spMk id="840" creationId="{17DB7923-E653-70EF-97B8-1A2C241F4CF0}"/>
          </ac:spMkLst>
        </pc:spChg>
        <pc:spChg chg="add del mod">
          <ac:chgData name="Steiner Andreas 6206 ED" userId="e6377c33-a923-4f14-8587-531c474c7b48" providerId="ADAL" clId="{6ECD27E6-B224-41CD-B4E0-E297462320DD}" dt="2023-11-24T11:36:44.596" v="128892"/>
          <ac:spMkLst>
            <pc:docMk/>
            <pc:sldMk cId="3256052264" sldId="2147478569"/>
            <ac:spMk id="841" creationId="{62FAADFE-D671-0493-5B76-FEF8798C4304}"/>
          </ac:spMkLst>
        </pc:spChg>
        <pc:spChg chg="add del mod">
          <ac:chgData name="Steiner Andreas 6206 ED" userId="e6377c33-a923-4f14-8587-531c474c7b48" providerId="ADAL" clId="{6ECD27E6-B224-41CD-B4E0-E297462320DD}" dt="2023-11-24T11:36:46.575" v="129047"/>
          <ac:spMkLst>
            <pc:docMk/>
            <pc:sldMk cId="3256052264" sldId="2147478569"/>
            <ac:spMk id="842" creationId="{F8D82C5E-8E65-A165-2A3A-94C0EEDC582F}"/>
          </ac:spMkLst>
        </pc:spChg>
        <pc:spChg chg="add del mod">
          <ac:chgData name="Steiner Andreas 6206 ED" userId="e6377c33-a923-4f14-8587-531c474c7b48" providerId="ADAL" clId="{6ECD27E6-B224-41CD-B4E0-E297462320DD}" dt="2023-11-24T11:36:48.537" v="129202"/>
          <ac:spMkLst>
            <pc:docMk/>
            <pc:sldMk cId="3256052264" sldId="2147478569"/>
            <ac:spMk id="843" creationId="{E789E71E-40CC-453F-F448-78F0E8E25414}"/>
          </ac:spMkLst>
        </pc:spChg>
        <pc:spChg chg="add del mod">
          <ac:chgData name="Steiner Andreas 6206 ED" userId="e6377c33-a923-4f14-8587-531c474c7b48" providerId="ADAL" clId="{6ECD27E6-B224-41CD-B4E0-E297462320DD}" dt="2023-11-24T11:36:50.510" v="129357"/>
          <ac:spMkLst>
            <pc:docMk/>
            <pc:sldMk cId="3256052264" sldId="2147478569"/>
            <ac:spMk id="844" creationId="{A80C1A56-971A-B69A-06B5-46B5A1DC515B}"/>
          </ac:spMkLst>
        </pc:spChg>
        <pc:spChg chg="add del mod">
          <ac:chgData name="Steiner Andreas 6206 ED" userId="e6377c33-a923-4f14-8587-531c474c7b48" providerId="ADAL" clId="{6ECD27E6-B224-41CD-B4E0-E297462320DD}" dt="2023-11-24T11:36:52.649" v="129512"/>
          <ac:spMkLst>
            <pc:docMk/>
            <pc:sldMk cId="3256052264" sldId="2147478569"/>
            <ac:spMk id="845" creationId="{E42EF30F-0C41-2557-3FF2-C565AB5AC4DE}"/>
          </ac:spMkLst>
        </pc:spChg>
        <pc:spChg chg="add del mod">
          <ac:chgData name="Steiner Andreas 6206 ED" userId="e6377c33-a923-4f14-8587-531c474c7b48" providerId="ADAL" clId="{6ECD27E6-B224-41CD-B4E0-E297462320DD}" dt="2023-11-24T11:36:55.521" v="129667"/>
          <ac:spMkLst>
            <pc:docMk/>
            <pc:sldMk cId="3256052264" sldId="2147478569"/>
            <ac:spMk id="846" creationId="{F7D4E4A2-D143-18B3-784B-9B9BA0B4D6B9}"/>
          </ac:spMkLst>
        </pc:spChg>
        <pc:spChg chg="add del mod">
          <ac:chgData name="Steiner Andreas 6206 ED" userId="e6377c33-a923-4f14-8587-531c474c7b48" providerId="ADAL" clId="{6ECD27E6-B224-41CD-B4E0-E297462320DD}" dt="2023-11-24T11:36:57.761" v="129822"/>
          <ac:spMkLst>
            <pc:docMk/>
            <pc:sldMk cId="3256052264" sldId="2147478569"/>
            <ac:spMk id="847" creationId="{4DF50154-67BE-B9DF-39B9-0EA22C0EED83}"/>
          </ac:spMkLst>
        </pc:spChg>
        <pc:spChg chg="add del mod">
          <ac:chgData name="Steiner Andreas 6206 ED" userId="e6377c33-a923-4f14-8587-531c474c7b48" providerId="ADAL" clId="{6ECD27E6-B224-41CD-B4E0-E297462320DD}" dt="2023-11-24T11:37:00.123" v="129977"/>
          <ac:spMkLst>
            <pc:docMk/>
            <pc:sldMk cId="3256052264" sldId="2147478569"/>
            <ac:spMk id="848" creationId="{482D0DBF-E8E0-E3B1-D38F-6BEF0E43B3E3}"/>
          </ac:spMkLst>
        </pc:spChg>
        <pc:spChg chg="add del mod">
          <ac:chgData name="Steiner Andreas 6206 ED" userId="e6377c33-a923-4f14-8587-531c474c7b48" providerId="ADAL" clId="{6ECD27E6-B224-41CD-B4E0-E297462320DD}" dt="2023-11-24T11:37:01.952" v="130132"/>
          <ac:spMkLst>
            <pc:docMk/>
            <pc:sldMk cId="3256052264" sldId="2147478569"/>
            <ac:spMk id="849" creationId="{703A3B43-85FC-881D-A840-9D23B812721C}"/>
          </ac:spMkLst>
        </pc:spChg>
        <pc:spChg chg="add del mod">
          <ac:chgData name="Steiner Andreas 6206 ED" userId="e6377c33-a923-4f14-8587-531c474c7b48" providerId="ADAL" clId="{6ECD27E6-B224-41CD-B4E0-E297462320DD}" dt="2023-11-24T11:37:03.689" v="130287"/>
          <ac:spMkLst>
            <pc:docMk/>
            <pc:sldMk cId="3256052264" sldId="2147478569"/>
            <ac:spMk id="850" creationId="{9B26D45C-8140-7E65-AD50-177F8B3FA3BA}"/>
          </ac:spMkLst>
        </pc:spChg>
        <pc:spChg chg="add del mod">
          <ac:chgData name="Steiner Andreas 6206 ED" userId="e6377c33-a923-4f14-8587-531c474c7b48" providerId="ADAL" clId="{6ECD27E6-B224-41CD-B4E0-E297462320DD}" dt="2023-11-24T11:37:05.578" v="130442"/>
          <ac:spMkLst>
            <pc:docMk/>
            <pc:sldMk cId="3256052264" sldId="2147478569"/>
            <ac:spMk id="851" creationId="{5DA253A8-8BD2-BEFE-74E3-293C53ED5F5F}"/>
          </ac:spMkLst>
        </pc:spChg>
        <pc:spChg chg="add del mod">
          <ac:chgData name="Steiner Andreas 6206 ED" userId="e6377c33-a923-4f14-8587-531c474c7b48" providerId="ADAL" clId="{6ECD27E6-B224-41CD-B4E0-E297462320DD}" dt="2023-11-24T11:37:07.331" v="130597"/>
          <ac:spMkLst>
            <pc:docMk/>
            <pc:sldMk cId="3256052264" sldId="2147478569"/>
            <ac:spMk id="852" creationId="{B0BFAF49-9FE0-6D17-79C8-35C62FBB43CF}"/>
          </ac:spMkLst>
        </pc:spChg>
        <pc:spChg chg="add del mod">
          <ac:chgData name="Steiner Andreas 6206 ED" userId="e6377c33-a923-4f14-8587-531c474c7b48" providerId="ADAL" clId="{6ECD27E6-B224-41CD-B4E0-E297462320DD}" dt="2023-11-24T11:37:09.061" v="130752"/>
          <ac:spMkLst>
            <pc:docMk/>
            <pc:sldMk cId="3256052264" sldId="2147478569"/>
            <ac:spMk id="853" creationId="{5E84A79B-4481-E2E0-6EAA-DFEA01C0BF21}"/>
          </ac:spMkLst>
        </pc:spChg>
        <pc:spChg chg="add del mod">
          <ac:chgData name="Steiner Andreas 6206 ED" userId="e6377c33-a923-4f14-8587-531c474c7b48" providerId="ADAL" clId="{6ECD27E6-B224-41CD-B4E0-E297462320DD}" dt="2023-11-24T11:37:10.720" v="130907"/>
          <ac:spMkLst>
            <pc:docMk/>
            <pc:sldMk cId="3256052264" sldId="2147478569"/>
            <ac:spMk id="854" creationId="{14D8B479-128D-34FD-360C-1081CB32D15A}"/>
          </ac:spMkLst>
        </pc:spChg>
        <pc:spChg chg="add del mod">
          <ac:chgData name="Steiner Andreas 6206 ED" userId="e6377c33-a923-4f14-8587-531c474c7b48" providerId="ADAL" clId="{6ECD27E6-B224-41CD-B4E0-E297462320DD}" dt="2023-11-24T11:37:12.422" v="131062"/>
          <ac:spMkLst>
            <pc:docMk/>
            <pc:sldMk cId="3256052264" sldId="2147478569"/>
            <ac:spMk id="855" creationId="{B52B8DAA-377D-6533-39D9-091698726D6B}"/>
          </ac:spMkLst>
        </pc:spChg>
        <pc:spChg chg="add del mod">
          <ac:chgData name="Steiner Andreas 6206 ED" userId="e6377c33-a923-4f14-8587-531c474c7b48" providerId="ADAL" clId="{6ECD27E6-B224-41CD-B4E0-E297462320DD}" dt="2023-11-24T11:37:14.086" v="131217"/>
          <ac:spMkLst>
            <pc:docMk/>
            <pc:sldMk cId="3256052264" sldId="2147478569"/>
            <ac:spMk id="856" creationId="{704E5E86-F9E1-D51F-34D6-FC4FB3797C7E}"/>
          </ac:spMkLst>
        </pc:spChg>
        <pc:spChg chg="add del mod">
          <ac:chgData name="Steiner Andreas 6206 ED" userId="e6377c33-a923-4f14-8587-531c474c7b48" providerId="ADAL" clId="{6ECD27E6-B224-41CD-B4E0-E297462320DD}" dt="2023-11-24T11:37:16.116" v="131372"/>
          <ac:spMkLst>
            <pc:docMk/>
            <pc:sldMk cId="3256052264" sldId="2147478569"/>
            <ac:spMk id="857" creationId="{47B933EC-D4FB-2253-65E0-8F56ED932043}"/>
          </ac:spMkLst>
        </pc:spChg>
        <pc:spChg chg="add del mod">
          <ac:chgData name="Steiner Andreas 6206 ED" userId="e6377c33-a923-4f14-8587-531c474c7b48" providerId="ADAL" clId="{6ECD27E6-B224-41CD-B4E0-E297462320DD}" dt="2023-11-24T11:37:18.114" v="131527"/>
          <ac:spMkLst>
            <pc:docMk/>
            <pc:sldMk cId="3256052264" sldId="2147478569"/>
            <ac:spMk id="858" creationId="{9348FB6A-60EE-5DB5-BDA1-5E7B6504F186}"/>
          </ac:spMkLst>
        </pc:spChg>
        <pc:spChg chg="add del mod">
          <ac:chgData name="Steiner Andreas 6206 ED" userId="e6377c33-a923-4f14-8587-531c474c7b48" providerId="ADAL" clId="{6ECD27E6-B224-41CD-B4E0-E297462320DD}" dt="2023-11-24T11:37:20.007" v="131682"/>
          <ac:spMkLst>
            <pc:docMk/>
            <pc:sldMk cId="3256052264" sldId="2147478569"/>
            <ac:spMk id="859" creationId="{CA275E5F-EC93-CAD7-DB52-7488CFB0A968}"/>
          </ac:spMkLst>
        </pc:spChg>
        <pc:spChg chg="add del mod">
          <ac:chgData name="Steiner Andreas 6206 ED" userId="e6377c33-a923-4f14-8587-531c474c7b48" providerId="ADAL" clId="{6ECD27E6-B224-41CD-B4E0-E297462320DD}" dt="2023-11-24T11:37:21.917" v="131837"/>
          <ac:spMkLst>
            <pc:docMk/>
            <pc:sldMk cId="3256052264" sldId="2147478569"/>
            <ac:spMk id="860" creationId="{BC67D94C-7389-A445-52C9-46D586E8C5DB}"/>
          </ac:spMkLst>
        </pc:spChg>
        <pc:spChg chg="add del mod">
          <ac:chgData name="Steiner Andreas 6206 ED" userId="e6377c33-a923-4f14-8587-531c474c7b48" providerId="ADAL" clId="{6ECD27E6-B224-41CD-B4E0-E297462320DD}" dt="2023-11-24T11:37:23.694" v="131992"/>
          <ac:spMkLst>
            <pc:docMk/>
            <pc:sldMk cId="3256052264" sldId="2147478569"/>
            <ac:spMk id="861" creationId="{8FC3FDFE-E54D-1EAC-7EB4-88438CEB52D8}"/>
          </ac:spMkLst>
        </pc:spChg>
        <pc:spChg chg="add del mod">
          <ac:chgData name="Steiner Andreas 6206 ED" userId="e6377c33-a923-4f14-8587-531c474c7b48" providerId="ADAL" clId="{6ECD27E6-B224-41CD-B4E0-E297462320DD}" dt="2023-11-24T11:37:25.402" v="132147"/>
          <ac:spMkLst>
            <pc:docMk/>
            <pc:sldMk cId="3256052264" sldId="2147478569"/>
            <ac:spMk id="862" creationId="{B289C2C8-F6CF-0079-AF7D-C60A0F0C6F85}"/>
          </ac:spMkLst>
        </pc:spChg>
        <pc:spChg chg="add del mod">
          <ac:chgData name="Steiner Andreas 6206 ED" userId="e6377c33-a923-4f14-8587-531c474c7b48" providerId="ADAL" clId="{6ECD27E6-B224-41CD-B4E0-E297462320DD}" dt="2023-11-24T11:37:27.368" v="132302"/>
          <ac:spMkLst>
            <pc:docMk/>
            <pc:sldMk cId="3256052264" sldId="2147478569"/>
            <ac:spMk id="863" creationId="{E275D696-F8C0-9B65-8B49-38FC8EBBE263}"/>
          </ac:spMkLst>
        </pc:spChg>
        <pc:spChg chg="add del mod">
          <ac:chgData name="Steiner Andreas 6206 ED" userId="e6377c33-a923-4f14-8587-531c474c7b48" providerId="ADAL" clId="{6ECD27E6-B224-41CD-B4E0-E297462320DD}" dt="2023-11-24T11:37:30.039" v="132457"/>
          <ac:spMkLst>
            <pc:docMk/>
            <pc:sldMk cId="3256052264" sldId="2147478569"/>
            <ac:spMk id="864" creationId="{6FD78527-123E-922F-560D-48A2511535DA}"/>
          </ac:spMkLst>
        </pc:spChg>
        <pc:spChg chg="add del mod">
          <ac:chgData name="Steiner Andreas 6206 ED" userId="e6377c33-a923-4f14-8587-531c474c7b48" providerId="ADAL" clId="{6ECD27E6-B224-41CD-B4E0-E297462320DD}" dt="2023-11-24T11:37:32.659" v="132612"/>
          <ac:spMkLst>
            <pc:docMk/>
            <pc:sldMk cId="3256052264" sldId="2147478569"/>
            <ac:spMk id="865" creationId="{826B5305-FDC2-255A-90E2-CEE6A89C5060}"/>
          </ac:spMkLst>
        </pc:spChg>
        <pc:spChg chg="add del mod">
          <ac:chgData name="Steiner Andreas 6206 ED" userId="e6377c33-a923-4f14-8587-531c474c7b48" providerId="ADAL" clId="{6ECD27E6-B224-41CD-B4E0-E297462320DD}" dt="2023-11-24T11:37:35.543" v="132767"/>
          <ac:spMkLst>
            <pc:docMk/>
            <pc:sldMk cId="3256052264" sldId="2147478569"/>
            <ac:spMk id="866" creationId="{4CB0485D-DB30-6A11-8284-135E5C6CE5D6}"/>
          </ac:spMkLst>
        </pc:spChg>
        <pc:spChg chg="add del mod">
          <ac:chgData name="Steiner Andreas 6206 ED" userId="e6377c33-a923-4f14-8587-531c474c7b48" providerId="ADAL" clId="{6ECD27E6-B224-41CD-B4E0-E297462320DD}" dt="2023-11-24T11:37:38.247" v="132922"/>
          <ac:spMkLst>
            <pc:docMk/>
            <pc:sldMk cId="3256052264" sldId="2147478569"/>
            <ac:spMk id="867" creationId="{7CF73FBB-24AA-81CD-30DD-675BEFE6A924}"/>
          </ac:spMkLst>
        </pc:spChg>
        <pc:spChg chg="add del mod">
          <ac:chgData name="Steiner Andreas 6206 ED" userId="e6377c33-a923-4f14-8587-531c474c7b48" providerId="ADAL" clId="{6ECD27E6-B224-41CD-B4E0-E297462320DD}" dt="2023-11-24T11:37:40.810" v="133077"/>
          <ac:spMkLst>
            <pc:docMk/>
            <pc:sldMk cId="3256052264" sldId="2147478569"/>
            <ac:spMk id="868" creationId="{D6E0643A-39D5-35F2-4A84-7AF4DDA7C7E4}"/>
          </ac:spMkLst>
        </pc:spChg>
        <pc:spChg chg="add del mod">
          <ac:chgData name="Steiner Andreas 6206 ED" userId="e6377c33-a923-4f14-8587-531c474c7b48" providerId="ADAL" clId="{6ECD27E6-B224-41CD-B4E0-E297462320DD}" dt="2023-11-24T11:37:43.772" v="133232"/>
          <ac:spMkLst>
            <pc:docMk/>
            <pc:sldMk cId="3256052264" sldId="2147478569"/>
            <ac:spMk id="869" creationId="{48AB53D8-B841-C359-AF24-5556EE960CE9}"/>
          </ac:spMkLst>
        </pc:spChg>
        <pc:spChg chg="add del mod">
          <ac:chgData name="Steiner Andreas 6206 ED" userId="e6377c33-a923-4f14-8587-531c474c7b48" providerId="ADAL" clId="{6ECD27E6-B224-41CD-B4E0-E297462320DD}" dt="2023-11-24T11:37:47.912" v="133387"/>
          <ac:spMkLst>
            <pc:docMk/>
            <pc:sldMk cId="3256052264" sldId="2147478569"/>
            <ac:spMk id="870" creationId="{55EA40A3-7536-F165-29E2-247CE63985ED}"/>
          </ac:spMkLst>
        </pc:spChg>
        <pc:spChg chg="add del mod">
          <ac:chgData name="Steiner Andreas 6206 ED" userId="e6377c33-a923-4f14-8587-531c474c7b48" providerId="ADAL" clId="{6ECD27E6-B224-41CD-B4E0-E297462320DD}" dt="2023-11-24T11:37:51.107" v="133542"/>
          <ac:spMkLst>
            <pc:docMk/>
            <pc:sldMk cId="3256052264" sldId="2147478569"/>
            <ac:spMk id="871" creationId="{C936A22D-8AD2-1498-31DE-ACBF8CFB58CB}"/>
          </ac:spMkLst>
        </pc:spChg>
        <pc:spChg chg="add del mod">
          <ac:chgData name="Steiner Andreas 6206 ED" userId="e6377c33-a923-4f14-8587-531c474c7b48" providerId="ADAL" clId="{6ECD27E6-B224-41CD-B4E0-E297462320DD}" dt="2023-11-24T11:37:54.037" v="133697"/>
          <ac:spMkLst>
            <pc:docMk/>
            <pc:sldMk cId="3256052264" sldId="2147478569"/>
            <ac:spMk id="872" creationId="{CE2FA9FA-4CD5-35B2-7286-40F81DB936C4}"/>
          </ac:spMkLst>
        </pc:spChg>
        <pc:spChg chg="add del mod">
          <ac:chgData name="Steiner Andreas 6206 ED" userId="e6377c33-a923-4f14-8587-531c474c7b48" providerId="ADAL" clId="{6ECD27E6-B224-41CD-B4E0-E297462320DD}" dt="2023-11-24T11:37:56.387" v="133852"/>
          <ac:spMkLst>
            <pc:docMk/>
            <pc:sldMk cId="3256052264" sldId="2147478569"/>
            <ac:spMk id="873" creationId="{AA36EBF1-5ECD-1298-813E-0360FB0A08D9}"/>
          </ac:spMkLst>
        </pc:spChg>
        <pc:spChg chg="add del mod">
          <ac:chgData name="Steiner Andreas 6206 ED" userId="e6377c33-a923-4f14-8587-531c474c7b48" providerId="ADAL" clId="{6ECD27E6-B224-41CD-B4E0-E297462320DD}" dt="2023-11-24T11:37:58.982" v="134007"/>
          <ac:spMkLst>
            <pc:docMk/>
            <pc:sldMk cId="3256052264" sldId="2147478569"/>
            <ac:spMk id="874" creationId="{2F1B12D8-0F9F-0E85-9200-6367FD2A9C33}"/>
          </ac:spMkLst>
        </pc:spChg>
        <pc:spChg chg="add del mod">
          <ac:chgData name="Steiner Andreas 6206 ED" userId="e6377c33-a923-4f14-8587-531c474c7b48" providerId="ADAL" clId="{6ECD27E6-B224-41CD-B4E0-E297462320DD}" dt="2023-11-24T11:38:01.258" v="134162"/>
          <ac:spMkLst>
            <pc:docMk/>
            <pc:sldMk cId="3256052264" sldId="2147478569"/>
            <ac:spMk id="875" creationId="{B79BFD9E-C3A4-60F3-993A-A699398FCA17}"/>
          </ac:spMkLst>
        </pc:spChg>
        <pc:spChg chg="add del mod">
          <ac:chgData name="Steiner Andreas 6206 ED" userId="e6377c33-a923-4f14-8587-531c474c7b48" providerId="ADAL" clId="{6ECD27E6-B224-41CD-B4E0-E297462320DD}" dt="2023-11-24T11:38:03.802" v="134317"/>
          <ac:spMkLst>
            <pc:docMk/>
            <pc:sldMk cId="3256052264" sldId="2147478569"/>
            <ac:spMk id="876" creationId="{98475668-98C3-5A34-5272-71061610C159}"/>
          </ac:spMkLst>
        </pc:spChg>
        <pc:spChg chg="add del mod">
          <ac:chgData name="Steiner Andreas 6206 ED" userId="e6377c33-a923-4f14-8587-531c474c7b48" providerId="ADAL" clId="{6ECD27E6-B224-41CD-B4E0-E297462320DD}" dt="2023-11-24T11:38:06.122" v="134472"/>
          <ac:spMkLst>
            <pc:docMk/>
            <pc:sldMk cId="3256052264" sldId="2147478569"/>
            <ac:spMk id="877" creationId="{98D3759B-ADFB-6EE9-8E20-3A5506DAA24D}"/>
          </ac:spMkLst>
        </pc:spChg>
        <pc:spChg chg="add del mod">
          <ac:chgData name="Steiner Andreas 6206 ED" userId="e6377c33-a923-4f14-8587-531c474c7b48" providerId="ADAL" clId="{6ECD27E6-B224-41CD-B4E0-E297462320DD}" dt="2023-11-24T11:38:08.906" v="134627"/>
          <ac:spMkLst>
            <pc:docMk/>
            <pc:sldMk cId="3256052264" sldId="2147478569"/>
            <ac:spMk id="878" creationId="{DAA9DF53-AC0D-C03D-275D-E11B4C553CB1}"/>
          </ac:spMkLst>
        </pc:spChg>
        <pc:spChg chg="add del mod">
          <ac:chgData name="Steiner Andreas 6206 ED" userId="e6377c33-a923-4f14-8587-531c474c7b48" providerId="ADAL" clId="{6ECD27E6-B224-41CD-B4E0-E297462320DD}" dt="2023-11-24T11:38:11.883" v="134782"/>
          <ac:spMkLst>
            <pc:docMk/>
            <pc:sldMk cId="3256052264" sldId="2147478569"/>
            <ac:spMk id="879" creationId="{9FFD1840-709D-F6F7-BC0A-9245C2CE78F5}"/>
          </ac:spMkLst>
        </pc:spChg>
        <pc:spChg chg="add del mod">
          <ac:chgData name="Steiner Andreas 6206 ED" userId="e6377c33-a923-4f14-8587-531c474c7b48" providerId="ADAL" clId="{6ECD27E6-B224-41CD-B4E0-E297462320DD}" dt="2023-11-24T11:38:14.106" v="134937"/>
          <ac:spMkLst>
            <pc:docMk/>
            <pc:sldMk cId="3256052264" sldId="2147478569"/>
            <ac:spMk id="880" creationId="{CF7A489E-1475-7174-5D4A-CCB78AD7881C}"/>
          </ac:spMkLst>
        </pc:spChg>
        <pc:spChg chg="add del mod">
          <ac:chgData name="Steiner Andreas 6206 ED" userId="e6377c33-a923-4f14-8587-531c474c7b48" providerId="ADAL" clId="{6ECD27E6-B224-41CD-B4E0-E297462320DD}" dt="2023-11-24T11:38:16.602" v="135092"/>
          <ac:spMkLst>
            <pc:docMk/>
            <pc:sldMk cId="3256052264" sldId="2147478569"/>
            <ac:spMk id="881" creationId="{85DBA443-530D-4B24-76B5-C180A3FB1C87}"/>
          </ac:spMkLst>
        </pc:spChg>
        <pc:spChg chg="add del mod">
          <ac:chgData name="Steiner Andreas 6206 ED" userId="e6377c33-a923-4f14-8587-531c474c7b48" providerId="ADAL" clId="{6ECD27E6-B224-41CD-B4E0-E297462320DD}" dt="2023-11-24T11:38:19.326" v="135247"/>
          <ac:spMkLst>
            <pc:docMk/>
            <pc:sldMk cId="3256052264" sldId="2147478569"/>
            <ac:spMk id="882" creationId="{38167F76-D280-37D7-0886-9642BDAB949B}"/>
          </ac:spMkLst>
        </pc:spChg>
        <pc:spChg chg="add del mod">
          <ac:chgData name="Steiner Andreas 6206 ED" userId="e6377c33-a923-4f14-8587-531c474c7b48" providerId="ADAL" clId="{6ECD27E6-B224-41CD-B4E0-E297462320DD}" dt="2023-11-24T11:38:21.966" v="135402"/>
          <ac:spMkLst>
            <pc:docMk/>
            <pc:sldMk cId="3256052264" sldId="2147478569"/>
            <ac:spMk id="883" creationId="{56406262-A733-848E-A6F0-77B6E0BEA79A}"/>
          </ac:spMkLst>
        </pc:spChg>
        <pc:spChg chg="add del mod">
          <ac:chgData name="Steiner Andreas 6206 ED" userId="e6377c33-a923-4f14-8587-531c474c7b48" providerId="ADAL" clId="{6ECD27E6-B224-41CD-B4E0-E297462320DD}" dt="2023-11-24T11:38:24.821" v="135557"/>
          <ac:spMkLst>
            <pc:docMk/>
            <pc:sldMk cId="3256052264" sldId="2147478569"/>
            <ac:spMk id="884" creationId="{94AB1C4C-B08C-4BE8-FE1C-E324061AE021}"/>
          </ac:spMkLst>
        </pc:spChg>
        <pc:spChg chg="add del mod">
          <ac:chgData name="Steiner Andreas 6206 ED" userId="e6377c33-a923-4f14-8587-531c474c7b48" providerId="ADAL" clId="{6ECD27E6-B224-41CD-B4E0-E297462320DD}" dt="2023-11-24T11:38:27.592" v="135712"/>
          <ac:spMkLst>
            <pc:docMk/>
            <pc:sldMk cId="3256052264" sldId="2147478569"/>
            <ac:spMk id="885" creationId="{DB295C33-B87B-8960-EA22-A0DA4381B7E8}"/>
          </ac:spMkLst>
        </pc:spChg>
        <pc:spChg chg="add del mod">
          <ac:chgData name="Steiner Andreas 6206 ED" userId="e6377c33-a923-4f14-8587-531c474c7b48" providerId="ADAL" clId="{6ECD27E6-B224-41CD-B4E0-E297462320DD}" dt="2023-11-24T11:38:30.258" v="135867"/>
          <ac:spMkLst>
            <pc:docMk/>
            <pc:sldMk cId="3256052264" sldId="2147478569"/>
            <ac:spMk id="886" creationId="{839649F4-4563-37E5-0326-5A322A623B09}"/>
          </ac:spMkLst>
        </pc:spChg>
        <pc:spChg chg="add del mod">
          <ac:chgData name="Steiner Andreas 6206 ED" userId="e6377c33-a923-4f14-8587-531c474c7b48" providerId="ADAL" clId="{6ECD27E6-B224-41CD-B4E0-E297462320DD}" dt="2023-11-24T11:38:32.591" v="136022"/>
          <ac:spMkLst>
            <pc:docMk/>
            <pc:sldMk cId="3256052264" sldId="2147478569"/>
            <ac:spMk id="887" creationId="{2ED69B8E-4BBA-72D5-0C3B-79C4AD37D11D}"/>
          </ac:spMkLst>
        </pc:spChg>
        <pc:spChg chg="add del mod">
          <ac:chgData name="Steiner Andreas 6206 ED" userId="e6377c33-a923-4f14-8587-531c474c7b48" providerId="ADAL" clId="{6ECD27E6-B224-41CD-B4E0-E297462320DD}" dt="2023-11-24T11:38:35.089" v="136177"/>
          <ac:spMkLst>
            <pc:docMk/>
            <pc:sldMk cId="3256052264" sldId="2147478569"/>
            <ac:spMk id="888" creationId="{F2EC36E3-7A3F-93E0-B69B-A60153A11F9F}"/>
          </ac:spMkLst>
        </pc:spChg>
        <pc:spChg chg="add del mod">
          <ac:chgData name="Steiner Andreas 6206 ED" userId="e6377c33-a923-4f14-8587-531c474c7b48" providerId="ADAL" clId="{6ECD27E6-B224-41CD-B4E0-E297462320DD}" dt="2023-11-24T11:38:37.791" v="136332"/>
          <ac:spMkLst>
            <pc:docMk/>
            <pc:sldMk cId="3256052264" sldId="2147478569"/>
            <ac:spMk id="889" creationId="{A9BC0751-C864-168A-D798-D13AADA8D4BF}"/>
          </ac:spMkLst>
        </pc:spChg>
        <pc:spChg chg="add del mod">
          <ac:chgData name="Steiner Andreas 6206 ED" userId="e6377c33-a923-4f14-8587-531c474c7b48" providerId="ADAL" clId="{6ECD27E6-B224-41CD-B4E0-E297462320DD}" dt="2023-11-24T11:38:40.495" v="136487"/>
          <ac:spMkLst>
            <pc:docMk/>
            <pc:sldMk cId="3256052264" sldId="2147478569"/>
            <ac:spMk id="890" creationId="{3DC39C38-CCBA-6EA2-26B5-9DAAF2A5D4E9}"/>
          </ac:spMkLst>
        </pc:spChg>
        <pc:spChg chg="add del mod">
          <ac:chgData name="Steiner Andreas 6206 ED" userId="e6377c33-a923-4f14-8587-531c474c7b48" providerId="ADAL" clId="{6ECD27E6-B224-41CD-B4E0-E297462320DD}" dt="2023-11-24T11:38:42.901" v="136642"/>
          <ac:spMkLst>
            <pc:docMk/>
            <pc:sldMk cId="3256052264" sldId="2147478569"/>
            <ac:spMk id="891" creationId="{9408B355-DFB5-669A-4CAA-EAF11372FB49}"/>
          </ac:spMkLst>
        </pc:spChg>
        <pc:spChg chg="add del mod">
          <ac:chgData name="Steiner Andreas 6206 ED" userId="e6377c33-a923-4f14-8587-531c474c7b48" providerId="ADAL" clId="{6ECD27E6-B224-41CD-B4E0-E297462320DD}" dt="2023-11-24T11:38:45.265" v="136797"/>
          <ac:spMkLst>
            <pc:docMk/>
            <pc:sldMk cId="3256052264" sldId="2147478569"/>
            <ac:spMk id="892" creationId="{A8A7E240-5E73-19BA-CAEA-C2ECC8CD3DCB}"/>
          </ac:spMkLst>
        </pc:spChg>
        <pc:spChg chg="add del mod">
          <ac:chgData name="Steiner Andreas 6206 ED" userId="e6377c33-a923-4f14-8587-531c474c7b48" providerId="ADAL" clId="{6ECD27E6-B224-41CD-B4E0-E297462320DD}" dt="2023-11-24T11:38:47.642" v="136952"/>
          <ac:spMkLst>
            <pc:docMk/>
            <pc:sldMk cId="3256052264" sldId="2147478569"/>
            <ac:spMk id="893" creationId="{BF605906-2E20-95A3-41AE-26DBC871FB2A}"/>
          </ac:spMkLst>
        </pc:spChg>
        <pc:spChg chg="add del mod">
          <ac:chgData name="Steiner Andreas 6206 ED" userId="e6377c33-a923-4f14-8587-531c474c7b48" providerId="ADAL" clId="{6ECD27E6-B224-41CD-B4E0-E297462320DD}" dt="2023-11-24T11:38:50.653" v="137107"/>
          <ac:spMkLst>
            <pc:docMk/>
            <pc:sldMk cId="3256052264" sldId="2147478569"/>
            <ac:spMk id="894" creationId="{3CA27B37-4069-97AF-3AA0-B6C5521C3A7B}"/>
          </ac:spMkLst>
        </pc:spChg>
        <pc:spChg chg="add del mod">
          <ac:chgData name="Steiner Andreas 6206 ED" userId="e6377c33-a923-4f14-8587-531c474c7b48" providerId="ADAL" clId="{6ECD27E6-B224-41CD-B4E0-E297462320DD}" dt="2023-11-24T11:38:53.074" v="137262"/>
          <ac:spMkLst>
            <pc:docMk/>
            <pc:sldMk cId="3256052264" sldId="2147478569"/>
            <ac:spMk id="895" creationId="{DF0E6F42-A0A2-EE99-853D-74C8326F703F}"/>
          </ac:spMkLst>
        </pc:spChg>
        <pc:spChg chg="add del mod">
          <ac:chgData name="Steiner Andreas 6206 ED" userId="e6377c33-a923-4f14-8587-531c474c7b48" providerId="ADAL" clId="{6ECD27E6-B224-41CD-B4E0-E297462320DD}" dt="2023-11-24T11:38:55.559" v="137417"/>
          <ac:spMkLst>
            <pc:docMk/>
            <pc:sldMk cId="3256052264" sldId="2147478569"/>
            <ac:spMk id="896" creationId="{68635A0C-D0F3-3D16-B5B1-5ED2F403962B}"/>
          </ac:spMkLst>
        </pc:spChg>
        <pc:spChg chg="add del mod">
          <ac:chgData name="Steiner Andreas 6206 ED" userId="e6377c33-a923-4f14-8587-531c474c7b48" providerId="ADAL" clId="{6ECD27E6-B224-41CD-B4E0-E297462320DD}" dt="2023-11-24T11:38:58.169" v="137572"/>
          <ac:spMkLst>
            <pc:docMk/>
            <pc:sldMk cId="3256052264" sldId="2147478569"/>
            <ac:spMk id="897" creationId="{ED2C77A6-82F4-6BF1-93FE-B2E3F1FF7122}"/>
          </ac:spMkLst>
        </pc:spChg>
        <pc:spChg chg="add del mod">
          <ac:chgData name="Steiner Andreas 6206 ED" userId="e6377c33-a923-4f14-8587-531c474c7b48" providerId="ADAL" clId="{6ECD27E6-B224-41CD-B4E0-E297462320DD}" dt="2023-11-24T11:39:00.398" v="137727"/>
          <ac:spMkLst>
            <pc:docMk/>
            <pc:sldMk cId="3256052264" sldId="2147478569"/>
            <ac:spMk id="898" creationId="{8BF38DEA-9689-7DAC-D6CB-F48C7E1CF137}"/>
          </ac:spMkLst>
        </pc:spChg>
        <pc:spChg chg="add del mod">
          <ac:chgData name="Steiner Andreas 6206 ED" userId="e6377c33-a923-4f14-8587-531c474c7b48" providerId="ADAL" clId="{6ECD27E6-B224-41CD-B4E0-E297462320DD}" dt="2023-11-24T11:39:03.397" v="137882"/>
          <ac:spMkLst>
            <pc:docMk/>
            <pc:sldMk cId="3256052264" sldId="2147478569"/>
            <ac:spMk id="899" creationId="{75F65534-5C81-7C5A-BC56-EED16532C63C}"/>
          </ac:spMkLst>
        </pc:spChg>
        <pc:spChg chg="add del mod">
          <ac:chgData name="Steiner Andreas 6206 ED" userId="e6377c33-a923-4f14-8587-531c474c7b48" providerId="ADAL" clId="{6ECD27E6-B224-41CD-B4E0-E297462320DD}" dt="2023-11-24T11:39:06.103" v="138037"/>
          <ac:spMkLst>
            <pc:docMk/>
            <pc:sldMk cId="3256052264" sldId="2147478569"/>
            <ac:spMk id="900" creationId="{F3D49BAE-2179-0F60-A52E-975DF166896A}"/>
          </ac:spMkLst>
        </pc:spChg>
        <pc:spChg chg="add del mod">
          <ac:chgData name="Steiner Andreas 6206 ED" userId="e6377c33-a923-4f14-8587-531c474c7b48" providerId="ADAL" clId="{6ECD27E6-B224-41CD-B4E0-E297462320DD}" dt="2023-11-24T11:39:08.606" v="138192"/>
          <ac:spMkLst>
            <pc:docMk/>
            <pc:sldMk cId="3256052264" sldId="2147478569"/>
            <ac:spMk id="901" creationId="{776FD8E6-A10B-2A13-B82D-FF2537238629}"/>
          </ac:spMkLst>
        </pc:spChg>
        <pc:spChg chg="add del mod">
          <ac:chgData name="Steiner Andreas 6206 ED" userId="e6377c33-a923-4f14-8587-531c474c7b48" providerId="ADAL" clId="{6ECD27E6-B224-41CD-B4E0-E297462320DD}" dt="2023-11-24T11:39:10.950" v="138347"/>
          <ac:spMkLst>
            <pc:docMk/>
            <pc:sldMk cId="3256052264" sldId="2147478569"/>
            <ac:spMk id="902" creationId="{8A61D17F-AA3F-2C95-AAEE-3D178AF11B99}"/>
          </ac:spMkLst>
        </pc:spChg>
        <pc:spChg chg="add del mod">
          <ac:chgData name="Steiner Andreas 6206 ED" userId="e6377c33-a923-4f14-8587-531c474c7b48" providerId="ADAL" clId="{6ECD27E6-B224-41CD-B4E0-E297462320DD}" dt="2023-11-24T11:39:13.412" v="138502"/>
          <ac:spMkLst>
            <pc:docMk/>
            <pc:sldMk cId="3256052264" sldId="2147478569"/>
            <ac:spMk id="903" creationId="{8526DA65-4BFE-E4B4-D382-54BDD5F92B06}"/>
          </ac:spMkLst>
        </pc:spChg>
        <pc:spChg chg="add del mod">
          <ac:chgData name="Steiner Andreas 6206 ED" userId="e6377c33-a923-4f14-8587-531c474c7b48" providerId="ADAL" clId="{6ECD27E6-B224-41CD-B4E0-E297462320DD}" dt="2023-11-24T11:39:16.110" v="138657"/>
          <ac:spMkLst>
            <pc:docMk/>
            <pc:sldMk cId="3256052264" sldId="2147478569"/>
            <ac:spMk id="904" creationId="{B01C6036-7D38-56D7-F217-942FF8CB7F01}"/>
          </ac:spMkLst>
        </pc:spChg>
        <pc:spChg chg="add del mod">
          <ac:chgData name="Steiner Andreas 6206 ED" userId="e6377c33-a923-4f14-8587-531c474c7b48" providerId="ADAL" clId="{6ECD27E6-B224-41CD-B4E0-E297462320DD}" dt="2023-11-24T11:39:18.964" v="138812"/>
          <ac:spMkLst>
            <pc:docMk/>
            <pc:sldMk cId="3256052264" sldId="2147478569"/>
            <ac:spMk id="905" creationId="{2B36A06C-3847-E302-378A-C219D10AF54C}"/>
          </ac:spMkLst>
        </pc:spChg>
        <pc:spChg chg="add del mod">
          <ac:chgData name="Steiner Andreas 6206 ED" userId="e6377c33-a923-4f14-8587-531c474c7b48" providerId="ADAL" clId="{6ECD27E6-B224-41CD-B4E0-E297462320DD}" dt="2023-11-24T11:39:21.612" v="138967"/>
          <ac:spMkLst>
            <pc:docMk/>
            <pc:sldMk cId="3256052264" sldId="2147478569"/>
            <ac:spMk id="906" creationId="{E6BF470E-5835-DAF5-4618-5BD13A67C7A6}"/>
          </ac:spMkLst>
        </pc:spChg>
        <pc:spChg chg="add del mod">
          <ac:chgData name="Steiner Andreas 6206 ED" userId="e6377c33-a923-4f14-8587-531c474c7b48" providerId="ADAL" clId="{6ECD27E6-B224-41CD-B4E0-E297462320DD}" dt="2023-11-24T11:39:24.180" v="139122"/>
          <ac:spMkLst>
            <pc:docMk/>
            <pc:sldMk cId="3256052264" sldId="2147478569"/>
            <ac:spMk id="907" creationId="{7040D84B-F154-B8CF-BEE1-E32036D5C507}"/>
          </ac:spMkLst>
        </pc:spChg>
        <pc:spChg chg="add del mod">
          <ac:chgData name="Steiner Andreas 6206 ED" userId="e6377c33-a923-4f14-8587-531c474c7b48" providerId="ADAL" clId="{6ECD27E6-B224-41CD-B4E0-E297462320DD}" dt="2023-11-24T11:39:26.944" v="139277"/>
          <ac:spMkLst>
            <pc:docMk/>
            <pc:sldMk cId="3256052264" sldId="2147478569"/>
            <ac:spMk id="908" creationId="{29662DC1-3647-8F1C-DAD1-911919D8AD4B}"/>
          </ac:spMkLst>
        </pc:spChg>
        <pc:spChg chg="add del mod">
          <ac:chgData name="Steiner Andreas 6206 ED" userId="e6377c33-a923-4f14-8587-531c474c7b48" providerId="ADAL" clId="{6ECD27E6-B224-41CD-B4E0-E297462320DD}" dt="2023-11-24T11:39:29.583" v="139432"/>
          <ac:spMkLst>
            <pc:docMk/>
            <pc:sldMk cId="3256052264" sldId="2147478569"/>
            <ac:spMk id="909" creationId="{83C73EC1-4950-595E-7304-490E7B1BADAA}"/>
          </ac:spMkLst>
        </pc:spChg>
        <pc:spChg chg="add del mod">
          <ac:chgData name="Steiner Andreas 6206 ED" userId="e6377c33-a923-4f14-8587-531c474c7b48" providerId="ADAL" clId="{6ECD27E6-B224-41CD-B4E0-E297462320DD}" dt="2023-11-24T11:39:32.589" v="139587"/>
          <ac:spMkLst>
            <pc:docMk/>
            <pc:sldMk cId="3256052264" sldId="2147478569"/>
            <ac:spMk id="910" creationId="{957BF404-6091-60C6-AC18-0CE7EEF0BAC3}"/>
          </ac:spMkLst>
        </pc:spChg>
        <pc:spChg chg="add del mod">
          <ac:chgData name="Steiner Andreas 6206 ED" userId="e6377c33-a923-4f14-8587-531c474c7b48" providerId="ADAL" clId="{6ECD27E6-B224-41CD-B4E0-E297462320DD}" dt="2023-11-24T11:39:35.301" v="139742"/>
          <ac:spMkLst>
            <pc:docMk/>
            <pc:sldMk cId="3256052264" sldId="2147478569"/>
            <ac:spMk id="911" creationId="{F96719B4-F55A-8593-372B-AA039938FED6}"/>
          </ac:spMkLst>
        </pc:spChg>
        <pc:spChg chg="add del mod">
          <ac:chgData name="Steiner Andreas 6206 ED" userId="e6377c33-a923-4f14-8587-531c474c7b48" providerId="ADAL" clId="{6ECD27E6-B224-41CD-B4E0-E297462320DD}" dt="2023-11-24T11:39:38.243" v="139897"/>
          <ac:spMkLst>
            <pc:docMk/>
            <pc:sldMk cId="3256052264" sldId="2147478569"/>
            <ac:spMk id="912" creationId="{90D9CE5E-E4CD-BD4D-3451-1B3AFB4F96ED}"/>
          </ac:spMkLst>
        </pc:spChg>
        <pc:spChg chg="add del mod">
          <ac:chgData name="Steiner Andreas 6206 ED" userId="e6377c33-a923-4f14-8587-531c474c7b48" providerId="ADAL" clId="{6ECD27E6-B224-41CD-B4E0-E297462320DD}" dt="2023-11-24T11:39:40.916" v="140052"/>
          <ac:spMkLst>
            <pc:docMk/>
            <pc:sldMk cId="3256052264" sldId="2147478569"/>
            <ac:spMk id="913" creationId="{8DB8E4A7-6A92-021A-7BEA-4FB23716125F}"/>
          </ac:spMkLst>
        </pc:spChg>
        <pc:spChg chg="add del mod">
          <ac:chgData name="Steiner Andreas 6206 ED" userId="e6377c33-a923-4f14-8587-531c474c7b48" providerId="ADAL" clId="{6ECD27E6-B224-41CD-B4E0-E297462320DD}" dt="2023-11-24T11:39:43.493" v="140207"/>
          <ac:spMkLst>
            <pc:docMk/>
            <pc:sldMk cId="3256052264" sldId="2147478569"/>
            <ac:spMk id="914" creationId="{1A4EC25D-6F60-F177-B4D7-6481FF650EDE}"/>
          </ac:spMkLst>
        </pc:spChg>
        <pc:spChg chg="add del mod">
          <ac:chgData name="Steiner Andreas 6206 ED" userId="e6377c33-a923-4f14-8587-531c474c7b48" providerId="ADAL" clId="{6ECD27E6-B224-41CD-B4E0-E297462320DD}" dt="2023-11-24T11:39:46.114" v="140362"/>
          <ac:spMkLst>
            <pc:docMk/>
            <pc:sldMk cId="3256052264" sldId="2147478569"/>
            <ac:spMk id="915" creationId="{1968DA6B-4A54-809D-4829-193B645E71AE}"/>
          </ac:spMkLst>
        </pc:spChg>
        <pc:spChg chg="add del mod">
          <ac:chgData name="Steiner Andreas 6206 ED" userId="e6377c33-a923-4f14-8587-531c474c7b48" providerId="ADAL" clId="{6ECD27E6-B224-41CD-B4E0-E297462320DD}" dt="2023-11-24T11:39:48.543" v="140517"/>
          <ac:spMkLst>
            <pc:docMk/>
            <pc:sldMk cId="3256052264" sldId="2147478569"/>
            <ac:spMk id="916" creationId="{8A504F03-0CB1-3684-D261-D33E65EBF930}"/>
          </ac:spMkLst>
        </pc:spChg>
        <pc:spChg chg="add del mod">
          <ac:chgData name="Steiner Andreas 6206 ED" userId="e6377c33-a923-4f14-8587-531c474c7b48" providerId="ADAL" clId="{6ECD27E6-B224-41CD-B4E0-E297462320DD}" dt="2023-11-24T11:39:51.546" v="140672"/>
          <ac:spMkLst>
            <pc:docMk/>
            <pc:sldMk cId="3256052264" sldId="2147478569"/>
            <ac:spMk id="917" creationId="{91CBB774-1D36-1D7C-95D8-3ED08069022B}"/>
          </ac:spMkLst>
        </pc:spChg>
        <pc:spChg chg="add del mod">
          <ac:chgData name="Steiner Andreas 6206 ED" userId="e6377c33-a923-4f14-8587-531c474c7b48" providerId="ADAL" clId="{6ECD27E6-B224-41CD-B4E0-E297462320DD}" dt="2023-11-24T11:39:54.431" v="140827"/>
          <ac:spMkLst>
            <pc:docMk/>
            <pc:sldMk cId="3256052264" sldId="2147478569"/>
            <ac:spMk id="918" creationId="{EF788CC9-F8E2-815B-6176-AC4894232E64}"/>
          </ac:spMkLst>
        </pc:spChg>
        <pc:spChg chg="add del mod">
          <ac:chgData name="Steiner Andreas 6206 ED" userId="e6377c33-a923-4f14-8587-531c474c7b48" providerId="ADAL" clId="{6ECD27E6-B224-41CD-B4E0-E297462320DD}" dt="2023-11-24T11:39:56.934" v="140982"/>
          <ac:spMkLst>
            <pc:docMk/>
            <pc:sldMk cId="3256052264" sldId="2147478569"/>
            <ac:spMk id="919" creationId="{DFE3782D-A709-37BB-4DC7-D38D27AA662F}"/>
          </ac:spMkLst>
        </pc:spChg>
        <pc:spChg chg="add del mod">
          <ac:chgData name="Steiner Andreas 6206 ED" userId="e6377c33-a923-4f14-8587-531c474c7b48" providerId="ADAL" clId="{6ECD27E6-B224-41CD-B4E0-E297462320DD}" dt="2023-11-24T11:39:59.308" v="141137"/>
          <ac:spMkLst>
            <pc:docMk/>
            <pc:sldMk cId="3256052264" sldId="2147478569"/>
            <ac:spMk id="920" creationId="{24CD430F-619C-D4C5-11B7-BD0E2CCB8F37}"/>
          </ac:spMkLst>
        </pc:spChg>
        <pc:spChg chg="add del mod">
          <ac:chgData name="Steiner Andreas 6206 ED" userId="e6377c33-a923-4f14-8587-531c474c7b48" providerId="ADAL" clId="{6ECD27E6-B224-41CD-B4E0-E297462320DD}" dt="2023-11-24T11:40:02.056" v="141292"/>
          <ac:spMkLst>
            <pc:docMk/>
            <pc:sldMk cId="3256052264" sldId="2147478569"/>
            <ac:spMk id="921" creationId="{3641C640-BC8C-7E8D-F182-A230409A69BB}"/>
          </ac:spMkLst>
        </pc:spChg>
        <pc:spChg chg="add del mod">
          <ac:chgData name="Steiner Andreas 6206 ED" userId="e6377c33-a923-4f14-8587-531c474c7b48" providerId="ADAL" clId="{6ECD27E6-B224-41CD-B4E0-E297462320DD}" dt="2023-11-24T11:40:04.903" v="141447"/>
          <ac:spMkLst>
            <pc:docMk/>
            <pc:sldMk cId="3256052264" sldId="2147478569"/>
            <ac:spMk id="922" creationId="{CF249E27-3D21-46BB-5FD5-6BD6F5ED274A}"/>
          </ac:spMkLst>
        </pc:spChg>
        <pc:spChg chg="add del mod">
          <ac:chgData name="Steiner Andreas 6206 ED" userId="e6377c33-a923-4f14-8587-531c474c7b48" providerId="ADAL" clId="{6ECD27E6-B224-41CD-B4E0-E297462320DD}" dt="2023-11-24T11:40:07.676" v="141602"/>
          <ac:spMkLst>
            <pc:docMk/>
            <pc:sldMk cId="3256052264" sldId="2147478569"/>
            <ac:spMk id="923" creationId="{16420322-3A27-7BFE-2287-90EB32D6090B}"/>
          </ac:spMkLst>
        </pc:spChg>
        <pc:spChg chg="add del mod">
          <ac:chgData name="Steiner Andreas 6206 ED" userId="e6377c33-a923-4f14-8587-531c474c7b48" providerId="ADAL" clId="{6ECD27E6-B224-41CD-B4E0-E297462320DD}" dt="2023-11-24T11:40:10.098" v="141757"/>
          <ac:spMkLst>
            <pc:docMk/>
            <pc:sldMk cId="3256052264" sldId="2147478569"/>
            <ac:spMk id="924" creationId="{1D37B399-BD4C-2965-F306-A32D3A911473}"/>
          </ac:spMkLst>
        </pc:spChg>
        <pc:spChg chg="add del mod">
          <ac:chgData name="Steiner Andreas 6206 ED" userId="e6377c33-a923-4f14-8587-531c474c7b48" providerId="ADAL" clId="{6ECD27E6-B224-41CD-B4E0-E297462320DD}" dt="2023-11-24T11:40:12.584" v="141912"/>
          <ac:spMkLst>
            <pc:docMk/>
            <pc:sldMk cId="3256052264" sldId="2147478569"/>
            <ac:spMk id="925" creationId="{C99FCF16-23CB-C90E-C63E-F9F78332B569}"/>
          </ac:spMkLst>
        </pc:spChg>
        <pc:spChg chg="add del mod">
          <ac:chgData name="Steiner Andreas 6206 ED" userId="e6377c33-a923-4f14-8587-531c474c7b48" providerId="ADAL" clId="{6ECD27E6-B224-41CD-B4E0-E297462320DD}" dt="2023-11-24T11:40:16.269" v="142067"/>
          <ac:spMkLst>
            <pc:docMk/>
            <pc:sldMk cId="3256052264" sldId="2147478569"/>
            <ac:spMk id="926" creationId="{88EEBFBE-96CB-11DB-5B99-500BEA4A784F}"/>
          </ac:spMkLst>
        </pc:spChg>
        <pc:spChg chg="add del mod">
          <ac:chgData name="Steiner Andreas 6206 ED" userId="e6377c33-a923-4f14-8587-531c474c7b48" providerId="ADAL" clId="{6ECD27E6-B224-41CD-B4E0-E297462320DD}" dt="2023-11-24T11:40:19.661" v="142222"/>
          <ac:spMkLst>
            <pc:docMk/>
            <pc:sldMk cId="3256052264" sldId="2147478569"/>
            <ac:spMk id="927" creationId="{F801FA56-638F-8B6D-6AEA-BB2C5D217D09}"/>
          </ac:spMkLst>
        </pc:spChg>
        <pc:spChg chg="add del mod">
          <ac:chgData name="Steiner Andreas 6206 ED" userId="e6377c33-a923-4f14-8587-531c474c7b48" providerId="ADAL" clId="{6ECD27E6-B224-41CD-B4E0-E297462320DD}" dt="2023-11-24T11:40:22.485" v="142377"/>
          <ac:spMkLst>
            <pc:docMk/>
            <pc:sldMk cId="3256052264" sldId="2147478569"/>
            <ac:spMk id="928" creationId="{F492E6EA-8698-9BD2-CC4A-AC2E9BD29022}"/>
          </ac:spMkLst>
        </pc:spChg>
        <pc:spChg chg="add del mod">
          <ac:chgData name="Steiner Andreas 6206 ED" userId="e6377c33-a923-4f14-8587-531c474c7b48" providerId="ADAL" clId="{6ECD27E6-B224-41CD-B4E0-E297462320DD}" dt="2023-11-24T11:40:25.161" v="142532"/>
          <ac:spMkLst>
            <pc:docMk/>
            <pc:sldMk cId="3256052264" sldId="2147478569"/>
            <ac:spMk id="929" creationId="{1AA4A963-8673-05BE-351C-4C6560707F81}"/>
          </ac:spMkLst>
        </pc:spChg>
        <pc:spChg chg="add del mod">
          <ac:chgData name="Steiner Andreas 6206 ED" userId="e6377c33-a923-4f14-8587-531c474c7b48" providerId="ADAL" clId="{6ECD27E6-B224-41CD-B4E0-E297462320DD}" dt="2023-11-24T11:40:28.265" v="142687"/>
          <ac:spMkLst>
            <pc:docMk/>
            <pc:sldMk cId="3256052264" sldId="2147478569"/>
            <ac:spMk id="930" creationId="{B96DEDB9-EF04-F20A-0C4A-7E75347CA87A}"/>
          </ac:spMkLst>
        </pc:spChg>
        <pc:spChg chg="add del mod">
          <ac:chgData name="Steiner Andreas 6206 ED" userId="e6377c33-a923-4f14-8587-531c474c7b48" providerId="ADAL" clId="{6ECD27E6-B224-41CD-B4E0-E297462320DD}" dt="2023-11-24T11:40:30.955" v="142842"/>
          <ac:spMkLst>
            <pc:docMk/>
            <pc:sldMk cId="3256052264" sldId="2147478569"/>
            <ac:spMk id="931" creationId="{71D17971-1A6C-6279-8077-9D2E7E4C5E1F}"/>
          </ac:spMkLst>
        </pc:spChg>
        <pc:spChg chg="add del mod">
          <ac:chgData name="Steiner Andreas 6206 ED" userId="e6377c33-a923-4f14-8587-531c474c7b48" providerId="ADAL" clId="{6ECD27E6-B224-41CD-B4E0-E297462320DD}" dt="2023-11-24T11:40:33.510" v="142997"/>
          <ac:spMkLst>
            <pc:docMk/>
            <pc:sldMk cId="3256052264" sldId="2147478569"/>
            <ac:spMk id="932" creationId="{6548E33E-7E05-94BD-E9D5-96C2E1366F36}"/>
          </ac:spMkLst>
        </pc:spChg>
        <pc:spChg chg="add del mod">
          <ac:chgData name="Steiner Andreas 6206 ED" userId="e6377c33-a923-4f14-8587-531c474c7b48" providerId="ADAL" clId="{6ECD27E6-B224-41CD-B4E0-E297462320DD}" dt="2023-11-24T11:40:36.200" v="143152"/>
          <ac:spMkLst>
            <pc:docMk/>
            <pc:sldMk cId="3256052264" sldId="2147478569"/>
            <ac:spMk id="933" creationId="{6C059CE5-0190-5938-C22A-7C3D5DA51824}"/>
          </ac:spMkLst>
        </pc:spChg>
        <pc:spChg chg="add del mod">
          <ac:chgData name="Steiner Andreas 6206 ED" userId="e6377c33-a923-4f14-8587-531c474c7b48" providerId="ADAL" clId="{6ECD27E6-B224-41CD-B4E0-E297462320DD}" dt="2023-11-24T11:40:39.251" v="143307"/>
          <ac:spMkLst>
            <pc:docMk/>
            <pc:sldMk cId="3256052264" sldId="2147478569"/>
            <ac:spMk id="934" creationId="{B67E7AEF-9044-B0E5-6149-33ED8EEF3D93}"/>
          </ac:spMkLst>
        </pc:spChg>
        <pc:spChg chg="add del mod">
          <ac:chgData name="Steiner Andreas 6206 ED" userId="e6377c33-a923-4f14-8587-531c474c7b48" providerId="ADAL" clId="{6ECD27E6-B224-41CD-B4E0-E297462320DD}" dt="2023-11-24T11:40:42.244" v="143462"/>
          <ac:spMkLst>
            <pc:docMk/>
            <pc:sldMk cId="3256052264" sldId="2147478569"/>
            <ac:spMk id="935" creationId="{C0F740D0-7A33-6F49-0224-7B4D49AC37B2}"/>
          </ac:spMkLst>
        </pc:spChg>
        <pc:spChg chg="add del mod">
          <ac:chgData name="Steiner Andreas 6206 ED" userId="e6377c33-a923-4f14-8587-531c474c7b48" providerId="ADAL" clId="{6ECD27E6-B224-41CD-B4E0-E297462320DD}" dt="2023-11-24T11:40:44.921" v="143617"/>
          <ac:spMkLst>
            <pc:docMk/>
            <pc:sldMk cId="3256052264" sldId="2147478569"/>
            <ac:spMk id="936" creationId="{71C44EC8-6899-7C1C-F629-C0C4C25F1570}"/>
          </ac:spMkLst>
        </pc:spChg>
        <pc:spChg chg="add del mod">
          <ac:chgData name="Steiner Andreas 6206 ED" userId="e6377c33-a923-4f14-8587-531c474c7b48" providerId="ADAL" clId="{6ECD27E6-B224-41CD-B4E0-E297462320DD}" dt="2023-11-24T11:40:47.677" v="143772"/>
          <ac:spMkLst>
            <pc:docMk/>
            <pc:sldMk cId="3256052264" sldId="2147478569"/>
            <ac:spMk id="937" creationId="{BF740CA3-6EF5-CD2F-E06B-D9B7A3A42A6E}"/>
          </ac:spMkLst>
        </pc:spChg>
        <pc:spChg chg="add del mod">
          <ac:chgData name="Steiner Andreas 6206 ED" userId="e6377c33-a923-4f14-8587-531c474c7b48" providerId="ADAL" clId="{6ECD27E6-B224-41CD-B4E0-E297462320DD}" dt="2023-11-24T11:40:50.429" v="143927"/>
          <ac:spMkLst>
            <pc:docMk/>
            <pc:sldMk cId="3256052264" sldId="2147478569"/>
            <ac:spMk id="938" creationId="{6AA8F636-3495-B9F5-2F83-5BF7FF8F467B}"/>
          </ac:spMkLst>
        </pc:spChg>
        <pc:spChg chg="add del mod">
          <ac:chgData name="Steiner Andreas 6206 ED" userId="e6377c33-a923-4f14-8587-531c474c7b48" providerId="ADAL" clId="{6ECD27E6-B224-41CD-B4E0-E297462320DD}" dt="2023-11-24T11:40:53.298" v="144082"/>
          <ac:spMkLst>
            <pc:docMk/>
            <pc:sldMk cId="3256052264" sldId="2147478569"/>
            <ac:spMk id="939" creationId="{BA4B1342-FA11-026A-9C17-88B470853C98}"/>
          </ac:spMkLst>
        </pc:spChg>
        <pc:spChg chg="add del mod">
          <ac:chgData name="Steiner Andreas 6206 ED" userId="e6377c33-a923-4f14-8587-531c474c7b48" providerId="ADAL" clId="{6ECD27E6-B224-41CD-B4E0-E297462320DD}" dt="2023-11-24T11:40:55.974" v="144237"/>
          <ac:spMkLst>
            <pc:docMk/>
            <pc:sldMk cId="3256052264" sldId="2147478569"/>
            <ac:spMk id="940" creationId="{9303922F-29FE-C327-8840-7C6DACA76E0A}"/>
          </ac:spMkLst>
        </pc:spChg>
        <pc:spChg chg="add del mod">
          <ac:chgData name="Steiner Andreas 6206 ED" userId="e6377c33-a923-4f14-8587-531c474c7b48" providerId="ADAL" clId="{6ECD27E6-B224-41CD-B4E0-E297462320DD}" dt="2023-11-24T11:40:58.550" v="144392"/>
          <ac:spMkLst>
            <pc:docMk/>
            <pc:sldMk cId="3256052264" sldId="2147478569"/>
            <ac:spMk id="941" creationId="{EE3A6337-97E6-A68A-BC7C-68C221FDF856}"/>
          </ac:spMkLst>
        </pc:spChg>
        <pc:spChg chg="add del mod">
          <ac:chgData name="Steiner Andreas 6206 ED" userId="e6377c33-a923-4f14-8587-531c474c7b48" providerId="ADAL" clId="{6ECD27E6-B224-41CD-B4E0-E297462320DD}" dt="2023-11-24T11:41:01.139" v="144547"/>
          <ac:spMkLst>
            <pc:docMk/>
            <pc:sldMk cId="3256052264" sldId="2147478569"/>
            <ac:spMk id="942" creationId="{B2649363-6FBD-CCC0-3DE6-9A25103B605C}"/>
          </ac:spMkLst>
        </pc:spChg>
        <pc:spChg chg="add del mod">
          <ac:chgData name="Steiner Andreas 6206 ED" userId="e6377c33-a923-4f14-8587-531c474c7b48" providerId="ADAL" clId="{6ECD27E6-B224-41CD-B4E0-E297462320DD}" dt="2023-11-24T11:41:03.770" v="144702"/>
          <ac:spMkLst>
            <pc:docMk/>
            <pc:sldMk cId="3256052264" sldId="2147478569"/>
            <ac:spMk id="943" creationId="{3FFA4B2F-30DC-DDB1-3EB9-72BC3582EAFA}"/>
          </ac:spMkLst>
        </pc:spChg>
        <pc:spChg chg="add del mod">
          <ac:chgData name="Steiner Andreas 6206 ED" userId="e6377c33-a923-4f14-8587-531c474c7b48" providerId="ADAL" clId="{6ECD27E6-B224-41CD-B4E0-E297462320DD}" dt="2023-11-24T11:41:06.925" v="144857"/>
          <ac:spMkLst>
            <pc:docMk/>
            <pc:sldMk cId="3256052264" sldId="2147478569"/>
            <ac:spMk id="944" creationId="{5FB9037C-98EC-0223-574C-0C0699BBB741}"/>
          </ac:spMkLst>
        </pc:spChg>
        <pc:spChg chg="add del mod">
          <ac:chgData name="Steiner Andreas 6206 ED" userId="e6377c33-a923-4f14-8587-531c474c7b48" providerId="ADAL" clId="{6ECD27E6-B224-41CD-B4E0-E297462320DD}" dt="2023-11-24T11:41:10.059" v="145012"/>
          <ac:spMkLst>
            <pc:docMk/>
            <pc:sldMk cId="3256052264" sldId="2147478569"/>
            <ac:spMk id="945" creationId="{66554772-9429-80D9-2AF6-EF847524A5E7}"/>
          </ac:spMkLst>
        </pc:spChg>
        <pc:spChg chg="add del mod">
          <ac:chgData name="Steiner Andreas 6206 ED" userId="e6377c33-a923-4f14-8587-531c474c7b48" providerId="ADAL" clId="{6ECD27E6-B224-41CD-B4E0-E297462320DD}" dt="2023-11-24T11:41:12.902" v="145167"/>
          <ac:spMkLst>
            <pc:docMk/>
            <pc:sldMk cId="3256052264" sldId="2147478569"/>
            <ac:spMk id="946" creationId="{3D52DD8E-125A-53A8-0008-28E47E939E9C}"/>
          </ac:spMkLst>
        </pc:spChg>
        <pc:spChg chg="add del mod">
          <ac:chgData name="Steiner Andreas 6206 ED" userId="e6377c33-a923-4f14-8587-531c474c7b48" providerId="ADAL" clId="{6ECD27E6-B224-41CD-B4E0-E297462320DD}" dt="2023-11-24T11:41:15.903" v="145322"/>
          <ac:spMkLst>
            <pc:docMk/>
            <pc:sldMk cId="3256052264" sldId="2147478569"/>
            <ac:spMk id="947" creationId="{AB3EF177-8327-CF26-B5ED-E932BADE6642}"/>
          </ac:spMkLst>
        </pc:spChg>
        <pc:spChg chg="add del mod">
          <ac:chgData name="Steiner Andreas 6206 ED" userId="e6377c33-a923-4f14-8587-531c474c7b48" providerId="ADAL" clId="{6ECD27E6-B224-41CD-B4E0-E297462320DD}" dt="2023-11-24T11:41:19.159" v="145477"/>
          <ac:spMkLst>
            <pc:docMk/>
            <pc:sldMk cId="3256052264" sldId="2147478569"/>
            <ac:spMk id="948" creationId="{138A71A0-A879-2A35-FD24-47B5A4094430}"/>
          </ac:spMkLst>
        </pc:spChg>
        <pc:spChg chg="add del mod">
          <ac:chgData name="Steiner Andreas 6206 ED" userId="e6377c33-a923-4f14-8587-531c474c7b48" providerId="ADAL" clId="{6ECD27E6-B224-41CD-B4E0-E297462320DD}" dt="2023-11-24T11:41:21.696" v="145632"/>
          <ac:spMkLst>
            <pc:docMk/>
            <pc:sldMk cId="3256052264" sldId="2147478569"/>
            <ac:spMk id="949" creationId="{B8EFB0C1-4E01-CFD1-B867-8B13B547BB69}"/>
          </ac:spMkLst>
        </pc:spChg>
        <pc:spChg chg="add del mod">
          <ac:chgData name="Steiner Andreas 6206 ED" userId="e6377c33-a923-4f14-8587-531c474c7b48" providerId="ADAL" clId="{6ECD27E6-B224-41CD-B4E0-E297462320DD}" dt="2023-11-24T11:41:25.577" v="145787"/>
          <ac:spMkLst>
            <pc:docMk/>
            <pc:sldMk cId="3256052264" sldId="2147478569"/>
            <ac:spMk id="950" creationId="{D4A9DD5F-3D50-6CBA-C27B-6BB6469B8C6E}"/>
          </ac:spMkLst>
        </pc:spChg>
        <pc:spChg chg="add del mod">
          <ac:chgData name="Steiner Andreas 6206 ED" userId="e6377c33-a923-4f14-8587-531c474c7b48" providerId="ADAL" clId="{6ECD27E6-B224-41CD-B4E0-E297462320DD}" dt="2023-11-24T11:41:28.563" v="145942"/>
          <ac:spMkLst>
            <pc:docMk/>
            <pc:sldMk cId="3256052264" sldId="2147478569"/>
            <ac:spMk id="951" creationId="{617EFEF4-13E7-E66C-54BA-D9FFF30FEE03}"/>
          </ac:spMkLst>
        </pc:spChg>
        <pc:spChg chg="add del mod">
          <ac:chgData name="Steiner Andreas 6206 ED" userId="e6377c33-a923-4f14-8587-531c474c7b48" providerId="ADAL" clId="{6ECD27E6-B224-41CD-B4E0-E297462320DD}" dt="2023-11-24T11:41:31.307" v="146097"/>
          <ac:spMkLst>
            <pc:docMk/>
            <pc:sldMk cId="3256052264" sldId="2147478569"/>
            <ac:spMk id="952" creationId="{1A80A384-C46E-8840-7C80-9B6D7530C9FC}"/>
          </ac:spMkLst>
        </pc:spChg>
        <pc:spChg chg="add del mod">
          <ac:chgData name="Steiner Andreas 6206 ED" userId="e6377c33-a923-4f14-8587-531c474c7b48" providerId="ADAL" clId="{6ECD27E6-B224-41CD-B4E0-E297462320DD}" dt="2023-11-24T11:41:33.493" v="146252"/>
          <ac:spMkLst>
            <pc:docMk/>
            <pc:sldMk cId="3256052264" sldId="2147478569"/>
            <ac:spMk id="953" creationId="{F5AC045F-6AFC-A4E2-3FD4-60343BF4CFF9}"/>
          </ac:spMkLst>
        </pc:spChg>
        <pc:spChg chg="add del mod">
          <ac:chgData name="Steiner Andreas 6206 ED" userId="e6377c33-a923-4f14-8587-531c474c7b48" providerId="ADAL" clId="{6ECD27E6-B224-41CD-B4E0-E297462320DD}" dt="2023-11-24T11:41:35.620" v="146407"/>
          <ac:spMkLst>
            <pc:docMk/>
            <pc:sldMk cId="3256052264" sldId="2147478569"/>
            <ac:spMk id="954" creationId="{CE686B1D-5546-5F29-1666-22073FE503C1}"/>
          </ac:spMkLst>
        </pc:spChg>
        <pc:spChg chg="add del mod">
          <ac:chgData name="Steiner Andreas 6206 ED" userId="e6377c33-a923-4f14-8587-531c474c7b48" providerId="ADAL" clId="{6ECD27E6-B224-41CD-B4E0-E297462320DD}" dt="2023-11-24T11:41:37.823" v="146562"/>
          <ac:spMkLst>
            <pc:docMk/>
            <pc:sldMk cId="3256052264" sldId="2147478569"/>
            <ac:spMk id="955" creationId="{EEA856DB-CDB3-C7AB-F2A8-6CBDDBF46079}"/>
          </ac:spMkLst>
        </pc:spChg>
        <pc:spChg chg="add del mod">
          <ac:chgData name="Steiner Andreas 6206 ED" userId="e6377c33-a923-4f14-8587-531c474c7b48" providerId="ADAL" clId="{6ECD27E6-B224-41CD-B4E0-E297462320DD}" dt="2023-11-24T11:41:40.563" v="146717"/>
          <ac:spMkLst>
            <pc:docMk/>
            <pc:sldMk cId="3256052264" sldId="2147478569"/>
            <ac:spMk id="956" creationId="{07C1C3C2-C5C6-26B4-09C6-3707EC40172A}"/>
          </ac:spMkLst>
        </pc:spChg>
        <pc:spChg chg="add del mod">
          <ac:chgData name="Steiner Andreas 6206 ED" userId="e6377c33-a923-4f14-8587-531c474c7b48" providerId="ADAL" clId="{6ECD27E6-B224-41CD-B4E0-E297462320DD}" dt="2023-11-24T11:41:42.758" v="146872"/>
          <ac:spMkLst>
            <pc:docMk/>
            <pc:sldMk cId="3256052264" sldId="2147478569"/>
            <ac:spMk id="957" creationId="{197842DB-8432-1B72-41A5-F78C0F558B40}"/>
          </ac:spMkLst>
        </pc:spChg>
        <pc:spChg chg="add del mod">
          <ac:chgData name="Steiner Andreas 6206 ED" userId="e6377c33-a923-4f14-8587-531c474c7b48" providerId="ADAL" clId="{6ECD27E6-B224-41CD-B4E0-E297462320DD}" dt="2023-11-24T11:41:44.830" v="147027"/>
          <ac:spMkLst>
            <pc:docMk/>
            <pc:sldMk cId="3256052264" sldId="2147478569"/>
            <ac:spMk id="958" creationId="{A5107F4C-CAC5-6179-E6B7-68CD1E6C1383}"/>
          </ac:spMkLst>
        </pc:spChg>
        <pc:spChg chg="add del mod">
          <ac:chgData name="Steiner Andreas 6206 ED" userId="e6377c33-a923-4f14-8587-531c474c7b48" providerId="ADAL" clId="{6ECD27E6-B224-41CD-B4E0-E297462320DD}" dt="2023-11-24T11:41:47.314" v="147182"/>
          <ac:spMkLst>
            <pc:docMk/>
            <pc:sldMk cId="3256052264" sldId="2147478569"/>
            <ac:spMk id="959" creationId="{3EBE281E-D40C-16CA-6A84-9C2B6FA4594E}"/>
          </ac:spMkLst>
        </pc:spChg>
        <pc:spChg chg="add del mod">
          <ac:chgData name="Steiner Andreas 6206 ED" userId="e6377c33-a923-4f14-8587-531c474c7b48" providerId="ADAL" clId="{6ECD27E6-B224-41CD-B4E0-E297462320DD}" dt="2023-11-24T11:41:49.437" v="147337"/>
          <ac:spMkLst>
            <pc:docMk/>
            <pc:sldMk cId="3256052264" sldId="2147478569"/>
            <ac:spMk id="960" creationId="{F240856E-5CBB-9D92-974A-DF32D2B53AB2}"/>
          </ac:spMkLst>
        </pc:spChg>
        <pc:spChg chg="add del mod">
          <ac:chgData name="Steiner Andreas 6206 ED" userId="e6377c33-a923-4f14-8587-531c474c7b48" providerId="ADAL" clId="{6ECD27E6-B224-41CD-B4E0-E297462320DD}" dt="2023-11-24T11:41:51.761" v="147492"/>
          <ac:spMkLst>
            <pc:docMk/>
            <pc:sldMk cId="3256052264" sldId="2147478569"/>
            <ac:spMk id="961" creationId="{FE9F80EB-DB09-53ED-93B6-C94360C7A83F}"/>
          </ac:spMkLst>
        </pc:spChg>
        <pc:spChg chg="add del mod">
          <ac:chgData name="Steiner Andreas 6206 ED" userId="e6377c33-a923-4f14-8587-531c474c7b48" providerId="ADAL" clId="{6ECD27E6-B224-41CD-B4E0-E297462320DD}" dt="2023-11-24T11:41:54.202" v="147647"/>
          <ac:spMkLst>
            <pc:docMk/>
            <pc:sldMk cId="3256052264" sldId="2147478569"/>
            <ac:spMk id="962" creationId="{CDEA9CB8-7A99-E26A-44FA-9D07D7F39756}"/>
          </ac:spMkLst>
        </pc:spChg>
        <pc:spChg chg="add del mod">
          <ac:chgData name="Steiner Andreas 6206 ED" userId="e6377c33-a923-4f14-8587-531c474c7b48" providerId="ADAL" clId="{6ECD27E6-B224-41CD-B4E0-E297462320DD}" dt="2023-11-24T11:41:57.263" v="147802"/>
          <ac:spMkLst>
            <pc:docMk/>
            <pc:sldMk cId="3256052264" sldId="2147478569"/>
            <ac:spMk id="963" creationId="{A9EF0CC8-87E9-663E-7292-861D6764A54A}"/>
          </ac:spMkLst>
        </pc:spChg>
        <pc:spChg chg="add del mod">
          <ac:chgData name="Steiner Andreas 6206 ED" userId="e6377c33-a923-4f14-8587-531c474c7b48" providerId="ADAL" clId="{6ECD27E6-B224-41CD-B4E0-E297462320DD}" dt="2023-11-24T11:42:00.624" v="147957"/>
          <ac:spMkLst>
            <pc:docMk/>
            <pc:sldMk cId="3256052264" sldId="2147478569"/>
            <ac:spMk id="964" creationId="{D3CC358B-D74A-7B24-FDC4-64CFC66AF548}"/>
          </ac:spMkLst>
        </pc:spChg>
        <pc:spChg chg="add del mod">
          <ac:chgData name="Steiner Andreas 6206 ED" userId="e6377c33-a923-4f14-8587-531c474c7b48" providerId="ADAL" clId="{6ECD27E6-B224-41CD-B4E0-E297462320DD}" dt="2023-11-24T11:42:03.971" v="148112"/>
          <ac:spMkLst>
            <pc:docMk/>
            <pc:sldMk cId="3256052264" sldId="2147478569"/>
            <ac:spMk id="965" creationId="{5BD880BB-C71D-F44F-EF73-0FCD5D5CA791}"/>
          </ac:spMkLst>
        </pc:spChg>
        <pc:spChg chg="add del mod">
          <ac:chgData name="Steiner Andreas 6206 ED" userId="e6377c33-a923-4f14-8587-531c474c7b48" providerId="ADAL" clId="{6ECD27E6-B224-41CD-B4E0-E297462320DD}" dt="2023-11-24T11:42:06.468" v="148267"/>
          <ac:spMkLst>
            <pc:docMk/>
            <pc:sldMk cId="3256052264" sldId="2147478569"/>
            <ac:spMk id="966" creationId="{EF775928-3F60-5241-9EEA-3466B132E141}"/>
          </ac:spMkLst>
        </pc:spChg>
        <pc:spChg chg="add del mod">
          <ac:chgData name="Steiner Andreas 6206 ED" userId="e6377c33-a923-4f14-8587-531c474c7b48" providerId="ADAL" clId="{6ECD27E6-B224-41CD-B4E0-E297462320DD}" dt="2023-11-24T11:42:08.738" v="148422"/>
          <ac:spMkLst>
            <pc:docMk/>
            <pc:sldMk cId="3256052264" sldId="2147478569"/>
            <ac:spMk id="967" creationId="{94450003-20A4-8798-F2BC-DA8AA30260DF}"/>
          </ac:spMkLst>
        </pc:spChg>
        <pc:spChg chg="add del mod">
          <ac:chgData name="Steiner Andreas 6206 ED" userId="e6377c33-a923-4f14-8587-531c474c7b48" providerId="ADAL" clId="{6ECD27E6-B224-41CD-B4E0-E297462320DD}" dt="2023-11-24T11:42:11.318" v="148577"/>
          <ac:spMkLst>
            <pc:docMk/>
            <pc:sldMk cId="3256052264" sldId="2147478569"/>
            <ac:spMk id="968" creationId="{F52D3046-8791-1C2F-E598-211A217EF858}"/>
          </ac:spMkLst>
        </pc:spChg>
        <pc:spChg chg="add del mod">
          <ac:chgData name="Steiner Andreas 6206 ED" userId="e6377c33-a923-4f14-8587-531c474c7b48" providerId="ADAL" clId="{6ECD27E6-B224-41CD-B4E0-E297462320DD}" dt="2023-11-24T11:42:13.915" v="148732"/>
          <ac:spMkLst>
            <pc:docMk/>
            <pc:sldMk cId="3256052264" sldId="2147478569"/>
            <ac:spMk id="969" creationId="{F7246D08-093D-1A69-B83D-6A00A6CA3B25}"/>
          </ac:spMkLst>
        </pc:spChg>
        <pc:spChg chg="add del mod">
          <ac:chgData name="Steiner Andreas 6206 ED" userId="e6377c33-a923-4f14-8587-531c474c7b48" providerId="ADAL" clId="{6ECD27E6-B224-41CD-B4E0-E297462320DD}" dt="2023-11-24T11:42:16.251" v="148887"/>
          <ac:spMkLst>
            <pc:docMk/>
            <pc:sldMk cId="3256052264" sldId="2147478569"/>
            <ac:spMk id="970" creationId="{09D6BBCB-1209-2783-6F17-E40549FA54DD}"/>
          </ac:spMkLst>
        </pc:spChg>
        <pc:spChg chg="add del mod">
          <ac:chgData name="Steiner Andreas 6206 ED" userId="e6377c33-a923-4f14-8587-531c474c7b48" providerId="ADAL" clId="{6ECD27E6-B224-41CD-B4E0-E297462320DD}" dt="2023-11-24T11:42:18.356" v="149042"/>
          <ac:spMkLst>
            <pc:docMk/>
            <pc:sldMk cId="3256052264" sldId="2147478569"/>
            <ac:spMk id="971" creationId="{BCEF86CD-876F-2F87-0F99-6DB3E573AC66}"/>
          </ac:spMkLst>
        </pc:spChg>
        <pc:spChg chg="add del mod">
          <ac:chgData name="Steiner Andreas 6206 ED" userId="e6377c33-a923-4f14-8587-531c474c7b48" providerId="ADAL" clId="{6ECD27E6-B224-41CD-B4E0-E297462320DD}" dt="2023-11-24T11:42:20.407" v="149197"/>
          <ac:spMkLst>
            <pc:docMk/>
            <pc:sldMk cId="3256052264" sldId="2147478569"/>
            <ac:spMk id="972" creationId="{004ED747-CAB2-9EC9-C3DF-1E8F63E7D144}"/>
          </ac:spMkLst>
        </pc:spChg>
        <pc:spChg chg="add del mod">
          <ac:chgData name="Steiner Andreas 6206 ED" userId="e6377c33-a923-4f14-8587-531c474c7b48" providerId="ADAL" clId="{6ECD27E6-B224-41CD-B4E0-E297462320DD}" dt="2023-11-24T11:42:22.482" v="149352"/>
          <ac:spMkLst>
            <pc:docMk/>
            <pc:sldMk cId="3256052264" sldId="2147478569"/>
            <ac:spMk id="973" creationId="{E5243E1C-A573-48FB-F04A-474232D4BD91}"/>
          </ac:spMkLst>
        </pc:spChg>
        <pc:spChg chg="add del mod">
          <ac:chgData name="Steiner Andreas 6206 ED" userId="e6377c33-a923-4f14-8587-531c474c7b48" providerId="ADAL" clId="{6ECD27E6-B224-41CD-B4E0-E297462320DD}" dt="2023-11-24T11:42:24.420" v="149507"/>
          <ac:spMkLst>
            <pc:docMk/>
            <pc:sldMk cId="3256052264" sldId="2147478569"/>
            <ac:spMk id="974" creationId="{75C3E7FB-FCF1-270E-D356-A8A909AD5070}"/>
          </ac:spMkLst>
        </pc:spChg>
        <pc:spChg chg="add del mod">
          <ac:chgData name="Steiner Andreas 6206 ED" userId="e6377c33-a923-4f14-8587-531c474c7b48" providerId="ADAL" clId="{6ECD27E6-B224-41CD-B4E0-E297462320DD}" dt="2023-11-24T11:42:26.360" v="149662"/>
          <ac:spMkLst>
            <pc:docMk/>
            <pc:sldMk cId="3256052264" sldId="2147478569"/>
            <ac:spMk id="975" creationId="{0CEB4889-F09E-CF4D-C6BA-000C664F6CEE}"/>
          </ac:spMkLst>
        </pc:spChg>
        <pc:spChg chg="add del mod">
          <ac:chgData name="Steiner Andreas 6206 ED" userId="e6377c33-a923-4f14-8587-531c474c7b48" providerId="ADAL" clId="{6ECD27E6-B224-41CD-B4E0-E297462320DD}" dt="2023-11-24T11:42:29.435" v="149817"/>
          <ac:spMkLst>
            <pc:docMk/>
            <pc:sldMk cId="3256052264" sldId="2147478569"/>
            <ac:spMk id="976" creationId="{9EFBB55D-7FB9-8099-6C02-902BCE37DE24}"/>
          </ac:spMkLst>
        </pc:spChg>
        <pc:spChg chg="add del mod">
          <ac:chgData name="Steiner Andreas 6206 ED" userId="e6377c33-a923-4f14-8587-531c474c7b48" providerId="ADAL" clId="{6ECD27E6-B224-41CD-B4E0-E297462320DD}" dt="2023-11-24T11:42:32.399" v="149972"/>
          <ac:spMkLst>
            <pc:docMk/>
            <pc:sldMk cId="3256052264" sldId="2147478569"/>
            <ac:spMk id="977" creationId="{DB6A346C-133E-D121-BA6D-F455A2F33AC2}"/>
          </ac:spMkLst>
        </pc:spChg>
        <pc:spChg chg="add del mod">
          <ac:chgData name="Steiner Andreas 6206 ED" userId="e6377c33-a923-4f14-8587-531c474c7b48" providerId="ADAL" clId="{6ECD27E6-B224-41CD-B4E0-E297462320DD}" dt="2023-11-24T11:42:35.696" v="150127"/>
          <ac:spMkLst>
            <pc:docMk/>
            <pc:sldMk cId="3256052264" sldId="2147478569"/>
            <ac:spMk id="978" creationId="{B55E8D42-E263-1C39-3DEC-21524D5FA834}"/>
          </ac:spMkLst>
        </pc:spChg>
        <pc:spChg chg="add del mod">
          <ac:chgData name="Steiner Andreas 6206 ED" userId="e6377c33-a923-4f14-8587-531c474c7b48" providerId="ADAL" clId="{6ECD27E6-B224-41CD-B4E0-E297462320DD}" dt="2023-11-24T11:42:38.010" v="150282"/>
          <ac:spMkLst>
            <pc:docMk/>
            <pc:sldMk cId="3256052264" sldId="2147478569"/>
            <ac:spMk id="979" creationId="{B37E1A3B-276C-3971-F967-A97F8CFBB181}"/>
          </ac:spMkLst>
        </pc:spChg>
        <pc:spChg chg="add del mod">
          <ac:chgData name="Steiner Andreas 6206 ED" userId="e6377c33-a923-4f14-8587-531c474c7b48" providerId="ADAL" clId="{6ECD27E6-B224-41CD-B4E0-E297462320DD}" dt="2023-11-24T11:42:40.104" v="150437"/>
          <ac:spMkLst>
            <pc:docMk/>
            <pc:sldMk cId="3256052264" sldId="2147478569"/>
            <ac:spMk id="980" creationId="{6D4B9A31-2FC1-F30F-AA1E-12A10319DE26}"/>
          </ac:spMkLst>
        </pc:spChg>
        <pc:spChg chg="add del mod">
          <ac:chgData name="Steiner Andreas 6206 ED" userId="e6377c33-a923-4f14-8587-531c474c7b48" providerId="ADAL" clId="{6ECD27E6-B224-41CD-B4E0-E297462320DD}" dt="2023-11-24T11:42:42.171" v="150592"/>
          <ac:spMkLst>
            <pc:docMk/>
            <pc:sldMk cId="3256052264" sldId="2147478569"/>
            <ac:spMk id="981" creationId="{F0B73189-48DD-7F16-2860-644DCEFE5FAB}"/>
          </ac:spMkLst>
        </pc:spChg>
        <pc:spChg chg="add del mod">
          <ac:chgData name="Steiner Andreas 6206 ED" userId="e6377c33-a923-4f14-8587-531c474c7b48" providerId="ADAL" clId="{6ECD27E6-B224-41CD-B4E0-E297462320DD}" dt="2023-11-24T11:42:44.267" v="150747"/>
          <ac:spMkLst>
            <pc:docMk/>
            <pc:sldMk cId="3256052264" sldId="2147478569"/>
            <ac:spMk id="982" creationId="{E30105EE-07EA-6CC9-9DDF-FA70AEC551AF}"/>
          </ac:spMkLst>
        </pc:spChg>
        <pc:spChg chg="add del mod">
          <ac:chgData name="Steiner Andreas 6206 ED" userId="e6377c33-a923-4f14-8587-531c474c7b48" providerId="ADAL" clId="{6ECD27E6-B224-41CD-B4E0-E297462320DD}" dt="2023-11-24T11:42:46.498" v="150902"/>
          <ac:spMkLst>
            <pc:docMk/>
            <pc:sldMk cId="3256052264" sldId="2147478569"/>
            <ac:spMk id="983" creationId="{759FD6FC-6778-F063-3FC0-DFDE6B98A53C}"/>
          </ac:spMkLst>
        </pc:spChg>
        <pc:spChg chg="add del mod">
          <ac:chgData name="Steiner Andreas 6206 ED" userId="e6377c33-a923-4f14-8587-531c474c7b48" providerId="ADAL" clId="{6ECD27E6-B224-41CD-B4E0-E297462320DD}" dt="2023-11-24T11:42:48.754" v="151057"/>
          <ac:spMkLst>
            <pc:docMk/>
            <pc:sldMk cId="3256052264" sldId="2147478569"/>
            <ac:spMk id="984" creationId="{A76D21DA-2994-C2BA-6E0F-88A1116FB693}"/>
          </ac:spMkLst>
        </pc:spChg>
        <pc:spChg chg="add del mod">
          <ac:chgData name="Steiner Andreas 6206 ED" userId="e6377c33-a923-4f14-8587-531c474c7b48" providerId="ADAL" clId="{6ECD27E6-B224-41CD-B4E0-E297462320DD}" dt="2023-11-24T11:42:50.979" v="151212"/>
          <ac:spMkLst>
            <pc:docMk/>
            <pc:sldMk cId="3256052264" sldId="2147478569"/>
            <ac:spMk id="985" creationId="{75F96AA4-C9EB-C116-3CEF-ECD41D4F87FD}"/>
          </ac:spMkLst>
        </pc:spChg>
        <pc:spChg chg="add del mod">
          <ac:chgData name="Steiner Andreas 6206 ED" userId="e6377c33-a923-4f14-8587-531c474c7b48" providerId="ADAL" clId="{6ECD27E6-B224-41CD-B4E0-E297462320DD}" dt="2023-11-24T11:42:53.332" v="151367"/>
          <ac:spMkLst>
            <pc:docMk/>
            <pc:sldMk cId="3256052264" sldId="2147478569"/>
            <ac:spMk id="986" creationId="{EADBC9DD-94B0-1A1D-337B-457E3D492675}"/>
          </ac:spMkLst>
        </pc:spChg>
        <pc:spChg chg="add del mod">
          <ac:chgData name="Steiner Andreas 6206 ED" userId="e6377c33-a923-4f14-8587-531c474c7b48" providerId="ADAL" clId="{6ECD27E6-B224-41CD-B4E0-E297462320DD}" dt="2023-11-24T11:42:55.575" v="151522"/>
          <ac:spMkLst>
            <pc:docMk/>
            <pc:sldMk cId="3256052264" sldId="2147478569"/>
            <ac:spMk id="987" creationId="{83E53429-8B78-ECC6-59F4-551B04A18E3F}"/>
          </ac:spMkLst>
        </pc:spChg>
        <pc:spChg chg="add del mod">
          <ac:chgData name="Steiner Andreas 6206 ED" userId="e6377c33-a923-4f14-8587-531c474c7b48" providerId="ADAL" clId="{6ECD27E6-B224-41CD-B4E0-E297462320DD}" dt="2023-11-24T11:42:58.022" v="151677"/>
          <ac:spMkLst>
            <pc:docMk/>
            <pc:sldMk cId="3256052264" sldId="2147478569"/>
            <ac:spMk id="988" creationId="{7544072C-75E9-5E24-9964-798F3B7DE2C1}"/>
          </ac:spMkLst>
        </pc:spChg>
        <pc:spChg chg="add del mod">
          <ac:chgData name="Steiner Andreas 6206 ED" userId="e6377c33-a923-4f14-8587-531c474c7b48" providerId="ADAL" clId="{6ECD27E6-B224-41CD-B4E0-E297462320DD}" dt="2023-11-24T11:43:01.752" v="151832"/>
          <ac:spMkLst>
            <pc:docMk/>
            <pc:sldMk cId="3256052264" sldId="2147478569"/>
            <ac:spMk id="989" creationId="{61DF8A1B-F264-E2A1-AA94-7390E7B2A2F0}"/>
          </ac:spMkLst>
        </pc:spChg>
        <pc:spChg chg="add del mod">
          <ac:chgData name="Steiner Andreas 6206 ED" userId="e6377c33-a923-4f14-8587-531c474c7b48" providerId="ADAL" clId="{6ECD27E6-B224-41CD-B4E0-E297462320DD}" dt="2023-11-24T11:43:04.050" v="151987"/>
          <ac:spMkLst>
            <pc:docMk/>
            <pc:sldMk cId="3256052264" sldId="2147478569"/>
            <ac:spMk id="990" creationId="{67CDD4A0-9C21-93F7-261B-7D9E58087DD6}"/>
          </ac:spMkLst>
        </pc:spChg>
        <pc:spChg chg="add del mod">
          <ac:chgData name="Steiner Andreas 6206 ED" userId="e6377c33-a923-4f14-8587-531c474c7b48" providerId="ADAL" clId="{6ECD27E6-B224-41CD-B4E0-E297462320DD}" dt="2023-11-24T11:43:06.268" v="152142"/>
          <ac:spMkLst>
            <pc:docMk/>
            <pc:sldMk cId="3256052264" sldId="2147478569"/>
            <ac:spMk id="991" creationId="{F1D82D16-91D9-66CE-B0AC-1E09CCB2E53E}"/>
          </ac:spMkLst>
        </pc:spChg>
        <pc:spChg chg="add del mod">
          <ac:chgData name="Steiner Andreas 6206 ED" userId="e6377c33-a923-4f14-8587-531c474c7b48" providerId="ADAL" clId="{6ECD27E6-B224-41CD-B4E0-E297462320DD}" dt="2023-11-24T11:43:08.384" v="152297"/>
          <ac:spMkLst>
            <pc:docMk/>
            <pc:sldMk cId="3256052264" sldId="2147478569"/>
            <ac:spMk id="992" creationId="{8DBFB480-D88C-A709-D057-3E09EE48C558}"/>
          </ac:spMkLst>
        </pc:spChg>
        <pc:spChg chg="add del mod">
          <ac:chgData name="Steiner Andreas 6206 ED" userId="e6377c33-a923-4f14-8587-531c474c7b48" providerId="ADAL" clId="{6ECD27E6-B224-41CD-B4E0-E297462320DD}" dt="2023-11-24T11:43:10.540" v="152452"/>
          <ac:spMkLst>
            <pc:docMk/>
            <pc:sldMk cId="3256052264" sldId="2147478569"/>
            <ac:spMk id="993" creationId="{EB9FE03E-758C-EE58-B117-7159BE78267A}"/>
          </ac:spMkLst>
        </pc:spChg>
        <pc:spChg chg="add del mod">
          <ac:chgData name="Steiner Andreas 6206 ED" userId="e6377c33-a923-4f14-8587-531c474c7b48" providerId="ADAL" clId="{6ECD27E6-B224-41CD-B4E0-E297462320DD}" dt="2023-11-24T11:43:12.755" v="152607"/>
          <ac:spMkLst>
            <pc:docMk/>
            <pc:sldMk cId="3256052264" sldId="2147478569"/>
            <ac:spMk id="994" creationId="{4814B006-E402-F908-D57B-C8EF1C0B8F52}"/>
          </ac:spMkLst>
        </pc:spChg>
        <pc:spChg chg="add del mod">
          <ac:chgData name="Steiner Andreas 6206 ED" userId="e6377c33-a923-4f14-8587-531c474c7b48" providerId="ADAL" clId="{6ECD27E6-B224-41CD-B4E0-E297462320DD}" dt="2023-11-24T11:43:15.072" v="152762"/>
          <ac:spMkLst>
            <pc:docMk/>
            <pc:sldMk cId="3256052264" sldId="2147478569"/>
            <ac:spMk id="995" creationId="{A2A46280-0E07-43DD-4618-CA974DE95AF6}"/>
          </ac:spMkLst>
        </pc:spChg>
        <pc:spChg chg="add del mod">
          <ac:chgData name="Steiner Andreas 6206 ED" userId="e6377c33-a923-4f14-8587-531c474c7b48" providerId="ADAL" clId="{6ECD27E6-B224-41CD-B4E0-E297462320DD}" dt="2023-11-24T11:43:18.108" v="152917"/>
          <ac:spMkLst>
            <pc:docMk/>
            <pc:sldMk cId="3256052264" sldId="2147478569"/>
            <ac:spMk id="996" creationId="{A0F7F33B-EE08-B3B9-3121-46ACA54CF717}"/>
          </ac:spMkLst>
        </pc:spChg>
        <pc:spChg chg="add del mod">
          <ac:chgData name="Steiner Andreas 6206 ED" userId="e6377c33-a923-4f14-8587-531c474c7b48" providerId="ADAL" clId="{6ECD27E6-B224-41CD-B4E0-E297462320DD}" dt="2023-11-24T11:43:22.283" v="153072"/>
          <ac:spMkLst>
            <pc:docMk/>
            <pc:sldMk cId="3256052264" sldId="2147478569"/>
            <ac:spMk id="997" creationId="{28ADB36C-C924-D8AF-DA44-F17798B461E0}"/>
          </ac:spMkLst>
        </pc:spChg>
        <pc:spChg chg="add del mod">
          <ac:chgData name="Steiner Andreas 6206 ED" userId="e6377c33-a923-4f14-8587-531c474c7b48" providerId="ADAL" clId="{6ECD27E6-B224-41CD-B4E0-E297462320DD}" dt="2023-11-24T11:43:24.775" v="153227"/>
          <ac:spMkLst>
            <pc:docMk/>
            <pc:sldMk cId="3256052264" sldId="2147478569"/>
            <ac:spMk id="998" creationId="{40B0CC11-5541-43A3-91FE-15B2AF5F6081}"/>
          </ac:spMkLst>
        </pc:spChg>
        <pc:spChg chg="add del mod">
          <ac:chgData name="Steiner Andreas 6206 ED" userId="e6377c33-a923-4f14-8587-531c474c7b48" providerId="ADAL" clId="{6ECD27E6-B224-41CD-B4E0-E297462320DD}" dt="2023-11-24T11:43:27.054" v="153382"/>
          <ac:spMkLst>
            <pc:docMk/>
            <pc:sldMk cId="3256052264" sldId="2147478569"/>
            <ac:spMk id="999" creationId="{E95A15A4-8AC3-2AEB-CBF2-064C6BD190F8}"/>
          </ac:spMkLst>
        </pc:spChg>
        <pc:spChg chg="add del mod">
          <ac:chgData name="Steiner Andreas 6206 ED" userId="e6377c33-a923-4f14-8587-531c474c7b48" providerId="ADAL" clId="{6ECD27E6-B224-41CD-B4E0-E297462320DD}" dt="2023-11-24T11:43:29.313" v="153537"/>
          <ac:spMkLst>
            <pc:docMk/>
            <pc:sldMk cId="3256052264" sldId="2147478569"/>
            <ac:spMk id="1000" creationId="{B89E03DC-6510-17F8-DC03-EE8090D43944}"/>
          </ac:spMkLst>
        </pc:spChg>
        <pc:spChg chg="add del mod">
          <ac:chgData name="Steiner Andreas 6206 ED" userId="e6377c33-a923-4f14-8587-531c474c7b48" providerId="ADAL" clId="{6ECD27E6-B224-41CD-B4E0-E297462320DD}" dt="2023-11-24T11:43:31.566" v="153692"/>
          <ac:spMkLst>
            <pc:docMk/>
            <pc:sldMk cId="3256052264" sldId="2147478569"/>
            <ac:spMk id="1001" creationId="{4A4F7B1C-48CE-1FA1-0C6A-A31F51782853}"/>
          </ac:spMkLst>
        </pc:spChg>
        <pc:spChg chg="add del mod">
          <ac:chgData name="Steiner Andreas 6206 ED" userId="e6377c33-a923-4f14-8587-531c474c7b48" providerId="ADAL" clId="{6ECD27E6-B224-41CD-B4E0-E297462320DD}" dt="2023-11-24T11:43:34.264" v="153847"/>
          <ac:spMkLst>
            <pc:docMk/>
            <pc:sldMk cId="3256052264" sldId="2147478569"/>
            <ac:spMk id="1002" creationId="{503FE1B5-69E8-21DE-88A0-A9C3970ABE5B}"/>
          </ac:spMkLst>
        </pc:spChg>
        <pc:spChg chg="add del mod">
          <ac:chgData name="Steiner Andreas 6206 ED" userId="e6377c33-a923-4f14-8587-531c474c7b48" providerId="ADAL" clId="{6ECD27E6-B224-41CD-B4E0-E297462320DD}" dt="2023-11-24T11:43:36.455" v="154002"/>
          <ac:spMkLst>
            <pc:docMk/>
            <pc:sldMk cId="3256052264" sldId="2147478569"/>
            <ac:spMk id="1003" creationId="{0FD42336-C40E-1CE6-7847-E84223860C7A}"/>
          </ac:spMkLst>
        </pc:spChg>
        <pc:spChg chg="add del mod">
          <ac:chgData name="Steiner Andreas 6206 ED" userId="e6377c33-a923-4f14-8587-531c474c7b48" providerId="ADAL" clId="{6ECD27E6-B224-41CD-B4E0-E297462320DD}" dt="2023-11-24T11:43:38.649" v="154157"/>
          <ac:spMkLst>
            <pc:docMk/>
            <pc:sldMk cId="3256052264" sldId="2147478569"/>
            <ac:spMk id="1004" creationId="{F5DA6ECB-8147-1385-B448-E04B4CBA5254}"/>
          </ac:spMkLst>
        </pc:spChg>
        <pc:spChg chg="add del mod">
          <ac:chgData name="Steiner Andreas 6206 ED" userId="e6377c33-a923-4f14-8587-531c474c7b48" providerId="ADAL" clId="{6ECD27E6-B224-41CD-B4E0-E297462320DD}" dt="2023-11-24T11:43:40.933" v="154312"/>
          <ac:spMkLst>
            <pc:docMk/>
            <pc:sldMk cId="3256052264" sldId="2147478569"/>
            <ac:spMk id="1005" creationId="{6E373F56-BAA1-9F40-F5CD-84BD50DF8B76}"/>
          </ac:spMkLst>
        </pc:spChg>
        <pc:spChg chg="add del mod">
          <ac:chgData name="Steiner Andreas 6206 ED" userId="e6377c33-a923-4f14-8587-531c474c7b48" providerId="ADAL" clId="{6ECD27E6-B224-41CD-B4E0-E297462320DD}" dt="2023-11-24T11:43:43.932" v="154467"/>
          <ac:spMkLst>
            <pc:docMk/>
            <pc:sldMk cId="3256052264" sldId="2147478569"/>
            <ac:spMk id="1006" creationId="{A966F33B-2170-FB84-7B4B-6CEAC2842577}"/>
          </ac:spMkLst>
        </pc:spChg>
        <pc:spChg chg="add del mod">
          <ac:chgData name="Steiner Andreas 6206 ED" userId="e6377c33-a923-4f14-8587-531c474c7b48" providerId="ADAL" clId="{6ECD27E6-B224-41CD-B4E0-E297462320DD}" dt="2023-11-24T11:43:46.276" v="154622"/>
          <ac:spMkLst>
            <pc:docMk/>
            <pc:sldMk cId="3256052264" sldId="2147478569"/>
            <ac:spMk id="1007" creationId="{B8D7D6F1-D49F-F372-8825-8D6DF073C11D}"/>
          </ac:spMkLst>
        </pc:spChg>
        <pc:spChg chg="add del mod">
          <ac:chgData name="Steiner Andreas 6206 ED" userId="e6377c33-a923-4f14-8587-531c474c7b48" providerId="ADAL" clId="{6ECD27E6-B224-41CD-B4E0-E297462320DD}" dt="2023-11-24T11:43:48.578" v="154777"/>
          <ac:spMkLst>
            <pc:docMk/>
            <pc:sldMk cId="3256052264" sldId="2147478569"/>
            <ac:spMk id="1008" creationId="{0FE4B666-A491-E241-F41E-888832AA859C}"/>
          </ac:spMkLst>
        </pc:spChg>
        <pc:spChg chg="add del mod">
          <ac:chgData name="Steiner Andreas 6206 ED" userId="e6377c33-a923-4f14-8587-531c474c7b48" providerId="ADAL" clId="{6ECD27E6-B224-41CD-B4E0-E297462320DD}" dt="2023-11-24T11:43:50.629" v="154932"/>
          <ac:spMkLst>
            <pc:docMk/>
            <pc:sldMk cId="3256052264" sldId="2147478569"/>
            <ac:spMk id="1009" creationId="{5C3ECF70-EE56-D4D0-DDD8-5256564D7AF0}"/>
          </ac:spMkLst>
        </pc:spChg>
        <pc:spChg chg="add del mod">
          <ac:chgData name="Steiner Andreas 6206 ED" userId="e6377c33-a923-4f14-8587-531c474c7b48" providerId="ADAL" clId="{6ECD27E6-B224-41CD-B4E0-E297462320DD}" dt="2023-11-24T11:43:52.823" v="155087"/>
          <ac:spMkLst>
            <pc:docMk/>
            <pc:sldMk cId="3256052264" sldId="2147478569"/>
            <ac:spMk id="1010" creationId="{84CEF9EF-CB14-A3B1-E17B-FABE2003F1AE}"/>
          </ac:spMkLst>
        </pc:spChg>
        <pc:spChg chg="add del mod">
          <ac:chgData name="Steiner Andreas 6206 ED" userId="e6377c33-a923-4f14-8587-531c474c7b48" providerId="ADAL" clId="{6ECD27E6-B224-41CD-B4E0-E297462320DD}" dt="2023-11-24T11:43:55.819" v="155242"/>
          <ac:spMkLst>
            <pc:docMk/>
            <pc:sldMk cId="3256052264" sldId="2147478569"/>
            <ac:spMk id="1011" creationId="{813793FF-F3EB-B892-CE99-BEC16C205C55}"/>
          </ac:spMkLst>
        </pc:spChg>
        <pc:spChg chg="add del mod">
          <ac:chgData name="Steiner Andreas 6206 ED" userId="e6377c33-a923-4f14-8587-531c474c7b48" providerId="ADAL" clId="{6ECD27E6-B224-41CD-B4E0-E297462320DD}" dt="2023-11-24T11:43:58.174" v="155397"/>
          <ac:spMkLst>
            <pc:docMk/>
            <pc:sldMk cId="3256052264" sldId="2147478569"/>
            <ac:spMk id="1012" creationId="{4B26F1F9-AAF0-2228-4731-BAFC2E04DCAD}"/>
          </ac:spMkLst>
        </pc:spChg>
        <pc:spChg chg="add del mod">
          <ac:chgData name="Steiner Andreas 6206 ED" userId="e6377c33-a923-4f14-8587-531c474c7b48" providerId="ADAL" clId="{6ECD27E6-B224-41CD-B4E0-E297462320DD}" dt="2023-11-24T11:44:00.276" v="155552"/>
          <ac:spMkLst>
            <pc:docMk/>
            <pc:sldMk cId="3256052264" sldId="2147478569"/>
            <ac:spMk id="1013" creationId="{211FCCBD-58B4-A070-3BF8-96493E187079}"/>
          </ac:spMkLst>
        </pc:spChg>
        <pc:spChg chg="add del mod">
          <ac:chgData name="Steiner Andreas 6206 ED" userId="e6377c33-a923-4f14-8587-531c474c7b48" providerId="ADAL" clId="{6ECD27E6-B224-41CD-B4E0-E297462320DD}" dt="2023-11-24T11:44:02.285" v="155707"/>
          <ac:spMkLst>
            <pc:docMk/>
            <pc:sldMk cId="3256052264" sldId="2147478569"/>
            <ac:spMk id="1014" creationId="{D8787733-FD05-9410-A1BF-0CECFEDEE89A}"/>
          </ac:spMkLst>
        </pc:spChg>
        <pc:spChg chg="add del mod">
          <ac:chgData name="Steiner Andreas 6206 ED" userId="e6377c33-a923-4f14-8587-531c474c7b48" providerId="ADAL" clId="{6ECD27E6-B224-41CD-B4E0-E297462320DD}" dt="2023-11-24T11:44:04.331" v="155862"/>
          <ac:spMkLst>
            <pc:docMk/>
            <pc:sldMk cId="3256052264" sldId="2147478569"/>
            <ac:spMk id="1015" creationId="{84D9BB0F-1E79-EE53-E7E5-780328A7C695}"/>
          </ac:spMkLst>
        </pc:spChg>
        <pc:spChg chg="add del mod">
          <ac:chgData name="Steiner Andreas 6206 ED" userId="e6377c33-a923-4f14-8587-531c474c7b48" providerId="ADAL" clId="{6ECD27E6-B224-41CD-B4E0-E297462320DD}" dt="2023-11-24T11:44:06.339" v="156017"/>
          <ac:spMkLst>
            <pc:docMk/>
            <pc:sldMk cId="3256052264" sldId="2147478569"/>
            <ac:spMk id="1016" creationId="{8FE24A56-0DEA-80B5-1673-E27631FE82FE}"/>
          </ac:spMkLst>
        </pc:spChg>
        <pc:spChg chg="add del mod">
          <ac:chgData name="Steiner Andreas 6206 ED" userId="e6377c33-a923-4f14-8587-531c474c7b48" providerId="ADAL" clId="{6ECD27E6-B224-41CD-B4E0-E297462320DD}" dt="2023-11-24T11:44:08.522" v="156172"/>
          <ac:spMkLst>
            <pc:docMk/>
            <pc:sldMk cId="3256052264" sldId="2147478569"/>
            <ac:spMk id="1017" creationId="{23AA5246-0FCE-1263-4073-9B2E56F63D75}"/>
          </ac:spMkLst>
        </pc:spChg>
        <pc:spChg chg="add del mod">
          <ac:chgData name="Steiner Andreas 6206 ED" userId="e6377c33-a923-4f14-8587-531c474c7b48" providerId="ADAL" clId="{6ECD27E6-B224-41CD-B4E0-E297462320DD}" dt="2023-11-24T11:44:10.576" v="156327"/>
          <ac:spMkLst>
            <pc:docMk/>
            <pc:sldMk cId="3256052264" sldId="2147478569"/>
            <ac:spMk id="1018" creationId="{4D0572D4-D524-C29C-89A4-B105267060F2}"/>
          </ac:spMkLst>
        </pc:spChg>
        <pc:spChg chg="add del mod">
          <ac:chgData name="Steiner Andreas 6206 ED" userId="e6377c33-a923-4f14-8587-531c474c7b48" providerId="ADAL" clId="{6ECD27E6-B224-41CD-B4E0-E297462320DD}" dt="2023-11-24T11:44:12.588" v="156482"/>
          <ac:spMkLst>
            <pc:docMk/>
            <pc:sldMk cId="3256052264" sldId="2147478569"/>
            <ac:spMk id="1019" creationId="{16FECFF1-F876-1939-C9AC-7B1ECD317FBB}"/>
          </ac:spMkLst>
        </pc:spChg>
        <pc:spChg chg="add del mod">
          <ac:chgData name="Steiner Andreas 6206 ED" userId="e6377c33-a923-4f14-8587-531c474c7b48" providerId="ADAL" clId="{6ECD27E6-B224-41CD-B4E0-E297462320DD}" dt="2023-11-24T11:44:14.577" v="156637"/>
          <ac:spMkLst>
            <pc:docMk/>
            <pc:sldMk cId="3256052264" sldId="2147478569"/>
            <ac:spMk id="1020" creationId="{CF118557-E423-5F3C-8C01-EF6036835230}"/>
          </ac:spMkLst>
        </pc:spChg>
        <pc:spChg chg="add del mod">
          <ac:chgData name="Steiner Andreas 6206 ED" userId="e6377c33-a923-4f14-8587-531c474c7b48" providerId="ADAL" clId="{6ECD27E6-B224-41CD-B4E0-E297462320DD}" dt="2023-11-24T11:44:16.574" v="156792"/>
          <ac:spMkLst>
            <pc:docMk/>
            <pc:sldMk cId="3256052264" sldId="2147478569"/>
            <ac:spMk id="1021" creationId="{CDCC1BFE-EA42-9C03-15CD-B00B35C1BBD9}"/>
          </ac:spMkLst>
        </pc:spChg>
        <pc:spChg chg="add del mod">
          <ac:chgData name="Steiner Andreas 6206 ED" userId="e6377c33-a923-4f14-8587-531c474c7b48" providerId="ADAL" clId="{6ECD27E6-B224-41CD-B4E0-E297462320DD}" dt="2023-11-24T11:44:18.660" v="156947"/>
          <ac:spMkLst>
            <pc:docMk/>
            <pc:sldMk cId="3256052264" sldId="2147478569"/>
            <ac:spMk id="1022" creationId="{3194C900-6156-2B98-37AB-19DA821D7759}"/>
          </ac:spMkLst>
        </pc:spChg>
        <pc:spChg chg="add del mod">
          <ac:chgData name="Steiner Andreas 6206 ED" userId="e6377c33-a923-4f14-8587-531c474c7b48" providerId="ADAL" clId="{6ECD27E6-B224-41CD-B4E0-E297462320DD}" dt="2023-11-24T11:44:20.781" v="157102"/>
          <ac:spMkLst>
            <pc:docMk/>
            <pc:sldMk cId="3256052264" sldId="2147478569"/>
            <ac:spMk id="1023" creationId="{34912BB3-6FD1-F681-1318-4F864AE223B4}"/>
          </ac:spMkLst>
        </pc:spChg>
        <pc:spChg chg="add del mod">
          <ac:chgData name="Steiner Andreas 6206 ED" userId="e6377c33-a923-4f14-8587-531c474c7b48" providerId="ADAL" clId="{6ECD27E6-B224-41CD-B4E0-E297462320DD}" dt="2023-11-24T11:44:23.103" v="157257"/>
          <ac:spMkLst>
            <pc:docMk/>
            <pc:sldMk cId="3256052264" sldId="2147478569"/>
            <ac:spMk id="1024" creationId="{4BC27C5B-119E-FB27-4A5E-12B3C287E9A3}"/>
          </ac:spMkLst>
        </pc:spChg>
        <pc:spChg chg="add del mod">
          <ac:chgData name="Steiner Andreas 6206 ED" userId="e6377c33-a923-4f14-8587-531c474c7b48" providerId="ADAL" clId="{6ECD27E6-B224-41CD-B4E0-E297462320DD}" dt="2023-11-24T11:44:25.267" v="157412"/>
          <ac:spMkLst>
            <pc:docMk/>
            <pc:sldMk cId="3256052264" sldId="2147478569"/>
            <ac:spMk id="1025" creationId="{55240BBD-8051-8FCC-6A61-D7D75E66E82C}"/>
          </ac:spMkLst>
        </pc:spChg>
        <pc:spChg chg="add del mod">
          <ac:chgData name="Steiner Andreas 6206 ED" userId="e6377c33-a923-4f14-8587-531c474c7b48" providerId="ADAL" clId="{6ECD27E6-B224-41CD-B4E0-E297462320DD}" dt="2023-11-24T11:44:30.668" v="157567"/>
          <ac:spMkLst>
            <pc:docMk/>
            <pc:sldMk cId="3256052264" sldId="2147478569"/>
            <ac:spMk id="1026" creationId="{3AFB09B0-F8C0-9E29-6EBD-4336CF5F9E5A}"/>
          </ac:spMkLst>
        </pc:spChg>
        <pc:spChg chg="add mod">
          <ac:chgData name="Steiner Andreas 6206 ED" userId="e6377c33-a923-4f14-8587-531c474c7b48" providerId="ADAL" clId="{6ECD27E6-B224-41CD-B4E0-E297462320DD}" dt="2023-11-24T11:44:30.668" v="157568"/>
          <ac:spMkLst>
            <pc:docMk/>
            <pc:sldMk cId="3256052264" sldId="2147478569"/>
            <ac:spMk id="1027" creationId="{32D0D115-5392-3A1D-3B5F-159AF381BCA9}"/>
          </ac:spMkLst>
        </pc:spChg>
      </pc:sldChg>
      <pc:sldChg chg="addSp delSp modSp mod">
        <pc:chgData name="Steiner Andreas 6206 ED" userId="e6377c33-a923-4f14-8587-531c474c7b48" providerId="ADAL" clId="{6ECD27E6-B224-41CD-B4E0-E297462320DD}" dt="2023-11-24T11:44:30.705" v="157585"/>
        <pc:sldMkLst>
          <pc:docMk/>
          <pc:sldMk cId="4099999037" sldId="2147478570"/>
        </pc:sldMkLst>
        <pc:spChg chg="mod">
          <ac:chgData name="Steiner Andreas 6206 ED" userId="e6377c33-a923-4f14-8587-531c474c7b48" providerId="ADAL" clId="{6ECD27E6-B224-41CD-B4E0-E297462320DD}" dt="2023-11-24T11:44:30.699" v="157581" actId="20577"/>
          <ac:spMkLst>
            <pc:docMk/>
            <pc:sldMk cId="4099999037" sldId="2147478570"/>
            <ac:spMk id="3" creationId="{395DC4DF-F772-E3DD-09E2-FAC2C1156DCB}"/>
          </ac:spMkLst>
        </pc:spChg>
        <pc:spChg chg="del">
          <ac:chgData name="Steiner Andreas 6206 ED" userId="e6377c33-a923-4f14-8587-531c474c7b48" providerId="ADAL" clId="{6ECD27E6-B224-41CD-B4E0-E297462320DD}" dt="2023-11-23T19:49:53.533" v="91"/>
          <ac:spMkLst>
            <pc:docMk/>
            <pc:sldMk cId="4099999037" sldId="2147478570"/>
            <ac:spMk id="5" creationId="{630B821C-A7EE-F3A1-7B2B-BA27900218ED}"/>
          </ac:spMkLst>
        </pc:spChg>
        <pc:spChg chg="add del mod">
          <ac:chgData name="Steiner Andreas 6206 ED" userId="e6377c33-a923-4f14-8587-531c474c7b48" providerId="ADAL" clId="{6ECD27E6-B224-41CD-B4E0-E297462320DD}" dt="2023-11-23T19:49:53.535" v="94"/>
          <ac:spMkLst>
            <pc:docMk/>
            <pc:sldMk cId="4099999037" sldId="2147478570"/>
            <ac:spMk id="7" creationId="{9E2ED03F-85D2-7C02-1990-575905F8CC60}"/>
          </ac:spMkLst>
        </pc:spChg>
        <pc:spChg chg="add del mod">
          <ac:chgData name="Steiner Andreas 6206 ED" userId="e6377c33-a923-4f14-8587-531c474c7b48" providerId="ADAL" clId="{6ECD27E6-B224-41CD-B4E0-E297462320DD}" dt="2023-11-23T19:49:54.457" v="259"/>
          <ac:spMkLst>
            <pc:docMk/>
            <pc:sldMk cId="4099999037" sldId="2147478570"/>
            <ac:spMk id="8" creationId="{1506D2BC-3EF7-5E21-B61D-A795B27ED98C}"/>
          </ac:spMkLst>
        </pc:spChg>
        <pc:spChg chg="add del mod">
          <ac:chgData name="Steiner Andreas 6206 ED" userId="e6377c33-a923-4f14-8587-531c474c7b48" providerId="ADAL" clId="{6ECD27E6-B224-41CD-B4E0-E297462320DD}" dt="2023-11-23T19:50:25.263" v="414"/>
          <ac:spMkLst>
            <pc:docMk/>
            <pc:sldMk cId="4099999037" sldId="2147478570"/>
            <ac:spMk id="10" creationId="{ADD746AE-EFC5-21DD-DC74-B7AB663E1CC8}"/>
          </ac:spMkLst>
        </pc:spChg>
        <pc:spChg chg="add del mod">
          <ac:chgData name="Steiner Andreas 6206 ED" userId="e6377c33-a923-4f14-8587-531c474c7b48" providerId="ADAL" clId="{6ECD27E6-B224-41CD-B4E0-E297462320DD}" dt="2023-11-23T19:50:35.064" v="569"/>
          <ac:spMkLst>
            <pc:docMk/>
            <pc:sldMk cId="4099999037" sldId="2147478570"/>
            <ac:spMk id="12" creationId="{487A186B-E807-6778-5B62-CC07FA3D2ADD}"/>
          </ac:spMkLst>
        </pc:spChg>
        <pc:spChg chg="add del mod">
          <ac:chgData name="Steiner Andreas 6206 ED" userId="e6377c33-a923-4f14-8587-531c474c7b48" providerId="ADAL" clId="{6ECD27E6-B224-41CD-B4E0-E297462320DD}" dt="2023-11-23T19:50:46.734" v="724"/>
          <ac:spMkLst>
            <pc:docMk/>
            <pc:sldMk cId="4099999037" sldId="2147478570"/>
            <ac:spMk id="13" creationId="{1CC5B410-EBDE-D25E-9EB5-901B91C2247D}"/>
          </ac:spMkLst>
        </pc:spChg>
        <pc:spChg chg="add del mod">
          <ac:chgData name="Steiner Andreas 6206 ED" userId="e6377c33-a923-4f14-8587-531c474c7b48" providerId="ADAL" clId="{6ECD27E6-B224-41CD-B4E0-E297462320DD}" dt="2023-11-23T19:50:58.442" v="879"/>
          <ac:spMkLst>
            <pc:docMk/>
            <pc:sldMk cId="4099999037" sldId="2147478570"/>
            <ac:spMk id="14" creationId="{13693F0C-0E16-A09F-893D-5A593831224B}"/>
          </ac:spMkLst>
        </pc:spChg>
        <pc:spChg chg="add del mod">
          <ac:chgData name="Steiner Andreas 6206 ED" userId="e6377c33-a923-4f14-8587-531c474c7b48" providerId="ADAL" clId="{6ECD27E6-B224-41CD-B4E0-E297462320DD}" dt="2023-11-23T19:51:09.120" v="1034"/>
          <ac:spMkLst>
            <pc:docMk/>
            <pc:sldMk cId="4099999037" sldId="2147478570"/>
            <ac:spMk id="15" creationId="{B6131675-86F5-C970-AB45-49D65930DA33}"/>
          </ac:spMkLst>
        </pc:spChg>
        <pc:spChg chg="add del mod">
          <ac:chgData name="Steiner Andreas 6206 ED" userId="e6377c33-a923-4f14-8587-531c474c7b48" providerId="ADAL" clId="{6ECD27E6-B224-41CD-B4E0-E297462320DD}" dt="2023-11-23T19:51:20.109" v="1189"/>
          <ac:spMkLst>
            <pc:docMk/>
            <pc:sldMk cId="4099999037" sldId="2147478570"/>
            <ac:spMk id="16" creationId="{8AFF037A-1CB7-9A41-3042-CAA69F86A619}"/>
          </ac:spMkLst>
        </pc:spChg>
        <pc:spChg chg="add del mod">
          <ac:chgData name="Steiner Andreas 6206 ED" userId="e6377c33-a923-4f14-8587-531c474c7b48" providerId="ADAL" clId="{6ECD27E6-B224-41CD-B4E0-E297462320DD}" dt="2023-11-23T19:51:31.586" v="1344"/>
          <ac:spMkLst>
            <pc:docMk/>
            <pc:sldMk cId="4099999037" sldId="2147478570"/>
            <ac:spMk id="17" creationId="{DABF6BA9-456D-F1B5-ADFE-FF3663C34BDE}"/>
          </ac:spMkLst>
        </pc:spChg>
        <pc:spChg chg="add del mod">
          <ac:chgData name="Steiner Andreas 6206 ED" userId="e6377c33-a923-4f14-8587-531c474c7b48" providerId="ADAL" clId="{6ECD27E6-B224-41CD-B4E0-E297462320DD}" dt="2023-11-23T19:51:42.249" v="1499"/>
          <ac:spMkLst>
            <pc:docMk/>
            <pc:sldMk cId="4099999037" sldId="2147478570"/>
            <ac:spMk id="18" creationId="{9EB13742-A263-3530-F392-760B52C583A9}"/>
          </ac:spMkLst>
        </pc:spChg>
        <pc:spChg chg="add del mod">
          <ac:chgData name="Steiner Andreas 6206 ED" userId="e6377c33-a923-4f14-8587-531c474c7b48" providerId="ADAL" clId="{6ECD27E6-B224-41CD-B4E0-E297462320DD}" dt="2023-11-23T19:51:53.585" v="1654"/>
          <ac:spMkLst>
            <pc:docMk/>
            <pc:sldMk cId="4099999037" sldId="2147478570"/>
            <ac:spMk id="19" creationId="{06E8DE99-8C63-B1EA-22D6-96C5BB9F36C7}"/>
          </ac:spMkLst>
        </pc:spChg>
        <pc:spChg chg="add del mod">
          <ac:chgData name="Steiner Andreas 6206 ED" userId="e6377c33-a923-4f14-8587-531c474c7b48" providerId="ADAL" clId="{6ECD27E6-B224-41CD-B4E0-E297462320DD}" dt="2023-11-23T19:52:05.234" v="1809"/>
          <ac:spMkLst>
            <pc:docMk/>
            <pc:sldMk cId="4099999037" sldId="2147478570"/>
            <ac:spMk id="20" creationId="{E75A2CC3-4909-D8BE-9AA0-D22F37371DC1}"/>
          </ac:spMkLst>
        </pc:spChg>
        <pc:spChg chg="add del mod">
          <ac:chgData name="Steiner Andreas 6206 ED" userId="e6377c33-a923-4f14-8587-531c474c7b48" providerId="ADAL" clId="{6ECD27E6-B224-41CD-B4E0-E297462320DD}" dt="2023-11-23T19:52:16.939" v="1964"/>
          <ac:spMkLst>
            <pc:docMk/>
            <pc:sldMk cId="4099999037" sldId="2147478570"/>
            <ac:spMk id="21" creationId="{F3171DF5-9533-85F6-12CE-36DBF57CC8A5}"/>
          </ac:spMkLst>
        </pc:spChg>
        <pc:spChg chg="add del mod">
          <ac:chgData name="Steiner Andreas 6206 ED" userId="e6377c33-a923-4f14-8587-531c474c7b48" providerId="ADAL" clId="{6ECD27E6-B224-41CD-B4E0-E297462320DD}" dt="2023-11-23T19:52:28.632" v="2119"/>
          <ac:spMkLst>
            <pc:docMk/>
            <pc:sldMk cId="4099999037" sldId="2147478570"/>
            <ac:spMk id="22" creationId="{98F4052B-6730-072F-166D-C39B69CD9294}"/>
          </ac:spMkLst>
        </pc:spChg>
        <pc:spChg chg="add del mod">
          <ac:chgData name="Steiner Andreas 6206 ED" userId="e6377c33-a923-4f14-8587-531c474c7b48" providerId="ADAL" clId="{6ECD27E6-B224-41CD-B4E0-E297462320DD}" dt="2023-11-23T19:52:40.317" v="2274"/>
          <ac:spMkLst>
            <pc:docMk/>
            <pc:sldMk cId="4099999037" sldId="2147478570"/>
            <ac:spMk id="23" creationId="{A7A71551-1C4E-293A-3B4B-A3FDA839D41C}"/>
          </ac:spMkLst>
        </pc:spChg>
        <pc:spChg chg="add del mod">
          <ac:chgData name="Steiner Andreas 6206 ED" userId="e6377c33-a923-4f14-8587-531c474c7b48" providerId="ADAL" clId="{6ECD27E6-B224-41CD-B4E0-E297462320DD}" dt="2023-11-23T19:52:51.706" v="2429"/>
          <ac:spMkLst>
            <pc:docMk/>
            <pc:sldMk cId="4099999037" sldId="2147478570"/>
            <ac:spMk id="24" creationId="{6F435987-BD86-1D01-B82C-5D5E0052873E}"/>
          </ac:spMkLst>
        </pc:spChg>
        <pc:spChg chg="add del mod">
          <ac:chgData name="Steiner Andreas 6206 ED" userId="e6377c33-a923-4f14-8587-531c474c7b48" providerId="ADAL" clId="{6ECD27E6-B224-41CD-B4E0-E297462320DD}" dt="2023-11-23T19:53:03.379" v="2584"/>
          <ac:spMkLst>
            <pc:docMk/>
            <pc:sldMk cId="4099999037" sldId="2147478570"/>
            <ac:spMk id="25" creationId="{CE7F1C73-AAA3-9B96-5AFD-6D9F2CFA6AB6}"/>
          </ac:spMkLst>
        </pc:spChg>
        <pc:spChg chg="add del mod">
          <ac:chgData name="Steiner Andreas 6206 ED" userId="e6377c33-a923-4f14-8587-531c474c7b48" providerId="ADAL" clId="{6ECD27E6-B224-41CD-B4E0-E297462320DD}" dt="2023-11-23T19:53:15.113" v="2739"/>
          <ac:spMkLst>
            <pc:docMk/>
            <pc:sldMk cId="4099999037" sldId="2147478570"/>
            <ac:spMk id="26" creationId="{C7EE6020-FC7E-BB1F-31AB-9C99AFE9927D}"/>
          </ac:spMkLst>
        </pc:spChg>
        <pc:spChg chg="add del mod">
          <ac:chgData name="Steiner Andreas 6206 ED" userId="e6377c33-a923-4f14-8587-531c474c7b48" providerId="ADAL" clId="{6ECD27E6-B224-41CD-B4E0-E297462320DD}" dt="2023-11-23T19:53:26.795" v="2894"/>
          <ac:spMkLst>
            <pc:docMk/>
            <pc:sldMk cId="4099999037" sldId="2147478570"/>
            <ac:spMk id="27" creationId="{44D5580E-DCF5-C8AD-4F8B-5D25242F4EF8}"/>
          </ac:spMkLst>
        </pc:spChg>
        <pc:spChg chg="add del mod">
          <ac:chgData name="Steiner Andreas 6206 ED" userId="e6377c33-a923-4f14-8587-531c474c7b48" providerId="ADAL" clId="{6ECD27E6-B224-41CD-B4E0-E297462320DD}" dt="2023-11-23T19:53:38.454" v="3049"/>
          <ac:spMkLst>
            <pc:docMk/>
            <pc:sldMk cId="4099999037" sldId="2147478570"/>
            <ac:spMk id="28" creationId="{02509E24-1498-A523-31B8-FC052BBC1D66}"/>
          </ac:spMkLst>
        </pc:spChg>
        <pc:spChg chg="add del mod">
          <ac:chgData name="Steiner Andreas 6206 ED" userId="e6377c33-a923-4f14-8587-531c474c7b48" providerId="ADAL" clId="{6ECD27E6-B224-41CD-B4E0-E297462320DD}" dt="2023-11-23T19:53:50.116" v="3204"/>
          <ac:spMkLst>
            <pc:docMk/>
            <pc:sldMk cId="4099999037" sldId="2147478570"/>
            <ac:spMk id="29" creationId="{11666018-1276-B91D-35F6-42297B70AB51}"/>
          </ac:spMkLst>
        </pc:spChg>
        <pc:spChg chg="add del mod">
          <ac:chgData name="Steiner Andreas 6206 ED" userId="e6377c33-a923-4f14-8587-531c474c7b48" providerId="ADAL" clId="{6ECD27E6-B224-41CD-B4E0-E297462320DD}" dt="2023-11-23T19:54:01.790" v="3359"/>
          <ac:spMkLst>
            <pc:docMk/>
            <pc:sldMk cId="4099999037" sldId="2147478570"/>
            <ac:spMk id="30" creationId="{280AF620-F995-02C5-C772-1F20C034B981}"/>
          </ac:spMkLst>
        </pc:spChg>
        <pc:spChg chg="add del mod">
          <ac:chgData name="Steiner Andreas 6206 ED" userId="e6377c33-a923-4f14-8587-531c474c7b48" providerId="ADAL" clId="{6ECD27E6-B224-41CD-B4E0-E297462320DD}" dt="2023-11-23T19:54:13.482" v="3514"/>
          <ac:spMkLst>
            <pc:docMk/>
            <pc:sldMk cId="4099999037" sldId="2147478570"/>
            <ac:spMk id="31" creationId="{EAFFF0BA-8CF0-E707-3F29-8525F555BCD8}"/>
          </ac:spMkLst>
        </pc:spChg>
        <pc:spChg chg="add del mod">
          <ac:chgData name="Steiner Andreas 6206 ED" userId="e6377c33-a923-4f14-8587-531c474c7b48" providerId="ADAL" clId="{6ECD27E6-B224-41CD-B4E0-E297462320DD}" dt="2023-11-23T19:54:25.144" v="3669"/>
          <ac:spMkLst>
            <pc:docMk/>
            <pc:sldMk cId="4099999037" sldId="2147478570"/>
            <ac:spMk id="32" creationId="{007A8E0E-0F3F-AFF1-AEAB-F67F9A5C5812}"/>
          </ac:spMkLst>
        </pc:spChg>
        <pc:spChg chg="add del mod">
          <ac:chgData name="Steiner Andreas 6206 ED" userId="e6377c33-a923-4f14-8587-531c474c7b48" providerId="ADAL" clId="{6ECD27E6-B224-41CD-B4E0-E297462320DD}" dt="2023-11-23T19:54:36.863" v="3824"/>
          <ac:spMkLst>
            <pc:docMk/>
            <pc:sldMk cId="4099999037" sldId="2147478570"/>
            <ac:spMk id="33" creationId="{6F33D0E4-27B3-D09B-4B47-922DE94169A0}"/>
          </ac:spMkLst>
        </pc:spChg>
        <pc:spChg chg="add del mod">
          <ac:chgData name="Steiner Andreas 6206 ED" userId="e6377c33-a923-4f14-8587-531c474c7b48" providerId="ADAL" clId="{6ECD27E6-B224-41CD-B4E0-E297462320DD}" dt="2023-11-23T19:54:48.192" v="3979"/>
          <ac:spMkLst>
            <pc:docMk/>
            <pc:sldMk cId="4099999037" sldId="2147478570"/>
            <ac:spMk id="34" creationId="{1B6F33ED-BCC5-5A05-DB5D-99CE548B552E}"/>
          </ac:spMkLst>
        </pc:spChg>
        <pc:spChg chg="add del mod">
          <ac:chgData name="Steiner Andreas 6206 ED" userId="e6377c33-a923-4f14-8587-531c474c7b48" providerId="ADAL" clId="{6ECD27E6-B224-41CD-B4E0-E297462320DD}" dt="2023-11-23T19:54:59.835" v="4134"/>
          <ac:spMkLst>
            <pc:docMk/>
            <pc:sldMk cId="4099999037" sldId="2147478570"/>
            <ac:spMk id="35" creationId="{EC34E1ED-CB7D-B0C6-9C85-6528C19AD1A7}"/>
          </ac:spMkLst>
        </pc:spChg>
        <pc:spChg chg="add del mod">
          <ac:chgData name="Steiner Andreas 6206 ED" userId="e6377c33-a923-4f14-8587-531c474c7b48" providerId="ADAL" clId="{6ECD27E6-B224-41CD-B4E0-E297462320DD}" dt="2023-11-23T19:55:11.571" v="4289"/>
          <ac:spMkLst>
            <pc:docMk/>
            <pc:sldMk cId="4099999037" sldId="2147478570"/>
            <ac:spMk id="36" creationId="{6EA91D7D-EAB7-DE1C-A2FB-0ECB3184C4C5}"/>
          </ac:spMkLst>
        </pc:spChg>
        <pc:spChg chg="add del mod">
          <ac:chgData name="Steiner Andreas 6206 ED" userId="e6377c33-a923-4f14-8587-531c474c7b48" providerId="ADAL" clId="{6ECD27E6-B224-41CD-B4E0-E297462320DD}" dt="2023-11-23T19:55:23.247" v="4444"/>
          <ac:spMkLst>
            <pc:docMk/>
            <pc:sldMk cId="4099999037" sldId="2147478570"/>
            <ac:spMk id="37" creationId="{00F2C7DF-63C1-C527-867A-76B61653F0D4}"/>
          </ac:spMkLst>
        </pc:spChg>
        <pc:spChg chg="add del mod">
          <ac:chgData name="Steiner Andreas 6206 ED" userId="e6377c33-a923-4f14-8587-531c474c7b48" providerId="ADAL" clId="{6ECD27E6-B224-41CD-B4E0-E297462320DD}" dt="2023-11-23T19:55:34.891" v="4599"/>
          <ac:spMkLst>
            <pc:docMk/>
            <pc:sldMk cId="4099999037" sldId="2147478570"/>
            <ac:spMk id="38" creationId="{04EDAACE-E306-896C-80B5-4AFD1D46B2AE}"/>
          </ac:spMkLst>
        </pc:spChg>
        <pc:spChg chg="add del mod">
          <ac:chgData name="Steiner Andreas 6206 ED" userId="e6377c33-a923-4f14-8587-531c474c7b48" providerId="ADAL" clId="{6ECD27E6-B224-41CD-B4E0-E297462320DD}" dt="2023-11-23T19:55:46.223" v="4754"/>
          <ac:spMkLst>
            <pc:docMk/>
            <pc:sldMk cId="4099999037" sldId="2147478570"/>
            <ac:spMk id="39" creationId="{975EC836-4293-9438-D3D2-032EE02E637F}"/>
          </ac:spMkLst>
        </pc:spChg>
        <pc:spChg chg="add del mod">
          <ac:chgData name="Steiner Andreas 6206 ED" userId="e6377c33-a923-4f14-8587-531c474c7b48" providerId="ADAL" clId="{6ECD27E6-B224-41CD-B4E0-E297462320DD}" dt="2023-11-23T19:55:57.891" v="4909"/>
          <ac:spMkLst>
            <pc:docMk/>
            <pc:sldMk cId="4099999037" sldId="2147478570"/>
            <ac:spMk id="40" creationId="{FC11ADA8-14E6-794A-0E58-280374A656AD}"/>
          </ac:spMkLst>
        </pc:spChg>
        <pc:spChg chg="add del mod">
          <ac:chgData name="Steiner Andreas 6206 ED" userId="e6377c33-a923-4f14-8587-531c474c7b48" providerId="ADAL" clId="{6ECD27E6-B224-41CD-B4E0-E297462320DD}" dt="2023-11-23T19:56:09.560" v="5064"/>
          <ac:spMkLst>
            <pc:docMk/>
            <pc:sldMk cId="4099999037" sldId="2147478570"/>
            <ac:spMk id="41" creationId="{C2A8C78B-2948-0B13-C136-271FC462984C}"/>
          </ac:spMkLst>
        </pc:spChg>
        <pc:spChg chg="add del mod">
          <ac:chgData name="Steiner Andreas 6206 ED" userId="e6377c33-a923-4f14-8587-531c474c7b48" providerId="ADAL" clId="{6ECD27E6-B224-41CD-B4E0-E297462320DD}" dt="2023-11-23T19:56:21.256" v="5219"/>
          <ac:spMkLst>
            <pc:docMk/>
            <pc:sldMk cId="4099999037" sldId="2147478570"/>
            <ac:spMk id="42" creationId="{04B03649-1201-60C7-039A-411A87A4E21B}"/>
          </ac:spMkLst>
        </pc:spChg>
        <pc:spChg chg="add del mod">
          <ac:chgData name="Steiner Andreas 6206 ED" userId="e6377c33-a923-4f14-8587-531c474c7b48" providerId="ADAL" clId="{6ECD27E6-B224-41CD-B4E0-E297462320DD}" dt="2023-11-23T19:56:32.942" v="5374"/>
          <ac:spMkLst>
            <pc:docMk/>
            <pc:sldMk cId="4099999037" sldId="2147478570"/>
            <ac:spMk id="43" creationId="{F1C870D3-7FB2-FDEF-5485-87CB90836FCF}"/>
          </ac:spMkLst>
        </pc:spChg>
        <pc:spChg chg="add del mod">
          <ac:chgData name="Steiner Andreas 6206 ED" userId="e6377c33-a923-4f14-8587-531c474c7b48" providerId="ADAL" clId="{6ECD27E6-B224-41CD-B4E0-E297462320DD}" dt="2023-11-23T19:56:44.300" v="5529"/>
          <ac:spMkLst>
            <pc:docMk/>
            <pc:sldMk cId="4099999037" sldId="2147478570"/>
            <ac:spMk id="44" creationId="{9B81FB94-ABC9-2895-925B-3E11A1CA0019}"/>
          </ac:spMkLst>
        </pc:spChg>
        <pc:spChg chg="add del mod">
          <ac:chgData name="Steiner Andreas 6206 ED" userId="e6377c33-a923-4f14-8587-531c474c7b48" providerId="ADAL" clId="{6ECD27E6-B224-41CD-B4E0-E297462320DD}" dt="2023-11-23T19:56:54.675" v="5684"/>
          <ac:spMkLst>
            <pc:docMk/>
            <pc:sldMk cId="4099999037" sldId="2147478570"/>
            <ac:spMk id="45" creationId="{5D9C1C9D-FEBC-F82D-ADE8-5CF68C83941F}"/>
          </ac:spMkLst>
        </pc:spChg>
        <pc:spChg chg="add del mod">
          <ac:chgData name="Steiner Andreas 6206 ED" userId="e6377c33-a923-4f14-8587-531c474c7b48" providerId="ADAL" clId="{6ECD27E6-B224-41CD-B4E0-E297462320DD}" dt="2023-11-23T19:57:06.140" v="5839"/>
          <ac:spMkLst>
            <pc:docMk/>
            <pc:sldMk cId="4099999037" sldId="2147478570"/>
            <ac:spMk id="46" creationId="{A16B2742-70CE-E2E0-92E4-C739EBB4EFC7}"/>
          </ac:spMkLst>
        </pc:spChg>
        <pc:spChg chg="add del mod">
          <ac:chgData name="Steiner Andreas 6206 ED" userId="e6377c33-a923-4f14-8587-531c474c7b48" providerId="ADAL" clId="{6ECD27E6-B224-41CD-B4E0-E297462320DD}" dt="2023-11-23T19:57:17.825" v="5994"/>
          <ac:spMkLst>
            <pc:docMk/>
            <pc:sldMk cId="4099999037" sldId="2147478570"/>
            <ac:spMk id="47" creationId="{D803020E-2B3C-7559-04DD-8C326F3DCF77}"/>
          </ac:spMkLst>
        </pc:spChg>
        <pc:spChg chg="add del mod">
          <ac:chgData name="Steiner Andreas 6206 ED" userId="e6377c33-a923-4f14-8587-531c474c7b48" providerId="ADAL" clId="{6ECD27E6-B224-41CD-B4E0-E297462320DD}" dt="2023-11-23T19:57:29.286" v="6149"/>
          <ac:spMkLst>
            <pc:docMk/>
            <pc:sldMk cId="4099999037" sldId="2147478570"/>
            <ac:spMk id="48" creationId="{3E559688-EC33-E6C9-7BEC-FBD4F28C2FB9}"/>
          </ac:spMkLst>
        </pc:spChg>
        <pc:spChg chg="add del mod">
          <ac:chgData name="Steiner Andreas 6206 ED" userId="e6377c33-a923-4f14-8587-531c474c7b48" providerId="ADAL" clId="{6ECD27E6-B224-41CD-B4E0-E297462320DD}" dt="2023-11-23T19:57:40.912" v="6304"/>
          <ac:spMkLst>
            <pc:docMk/>
            <pc:sldMk cId="4099999037" sldId="2147478570"/>
            <ac:spMk id="49" creationId="{0A1DC915-2CC2-7446-2903-90B916CC6672}"/>
          </ac:spMkLst>
        </pc:spChg>
        <pc:spChg chg="add del mod">
          <ac:chgData name="Steiner Andreas 6206 ED" userId="e6377c33-a923-4f14-8587-531c474c7b48" providerId="ADAL" clId="{6ECD27E6-B224-41CD-B4E0-E297462320DD}" dt="2023-11-23T19:57:52.582" v="6459"/>
          <ac:spMkLst>
            <pc:docMk/>
            <pc:sldMk cId="4099999037" sldId="2147478570"/>
            <ac:spMk id="50" creationId="{CF5D8628-5677-0248-BECE-CB20DB719F38}"/>
          </ac:spMkLst>
        </pc:spChg>
        <pc:spChg chg="add del mod">
          <ac:chgData name="Steiner Andreas 6206 ED" userId="e6377c33-a923-4f14-8587-531c474c7b48" providerId="ADAL" clId="{6ECD27E6-B224-41CD-B4E0-E297462320DD}" dt="2023-11-23T19:58:04.283" v="6614"/>
          <ac:spMkLst>
            <pc:docMk/>
            <pc:sldMk cId="4099999037" sldId="2147478570"/>
            <ac:spMk id="51" creationId="{CBF1A19A-C84D-1F95-8D93-A0223208C914}"/>
          </ac:spMkLst>
        </pc:spChg>
        <pc:spChg chg="add del mod">
          <ac:chgData name="Steiner Andreas 6206 ED" userId="e6377c33-a923-4f14-8587-531c474c7b48" providerId="ADAL" clId="{6ECD27E6-B224-41CD-B4E0-E297462320DD}" dt="2023-11-23T19:58:15.676" v="6769"/>
          <ac:spMkLst>
            <pc:docMk/>
            <pc:sldMk cId="4099999037" sldId="2147478570"/>
            <ac:spMk id="52" creationId="{2BB9E6D2-B0DD-18B4-7DCC-4D9266E488BD}"/>
          </ac:spMkLst>
        </pc:spChg>
        <pc:spChg chg="add del mod">
          <ac:chgData name="Steiner Andreas 6206 ED" userId="e6377c33-a923-4f14-8587-531c474c7b48" providerId="ADAL" clId="{6ECD27E6-B224-41CD-B4E0-E297462320DD}" dt="2023-11-23T19:58:27.799" v="6924"/>
          <ac:spMkLst>
            <pc:docMk/>
            <pc:sldMk cId="4099999037" sldId="2147478570"/>
            <ac:spMk id="53" creationId="{2946F07A-557A-9204-7A2B-EC3BA21E4DED}"/>
          </ac:spMkLst>
        </pc:spChg>
        <pc:spChg chg="add del mod">
          <ac:chgData name="Steiner Andreas 6206 ED" userId="e6377c33-a923-4f14-8587-531c474c7b48" providerId="ADAL" clId="{6ECD27E6-B224-41CD-B4E0-E297462320DD}" dt="2023-11-23T19:58:39.542" v="7079"/>
          <ac:spMkLst>
            <pc:docMk/>
            <pc:sldMk cId="4099999037" sldId="2147478570"/>
            <ac:spMk id="54" creationId="{D68A7E49-C934-6F31-BC66-88E885B095BB}"/>
          </ac:spMkLst>
        </pc:spChg>
        <pc:spChg chg="add del mod">
          <ac:chgData name="Steiner Andreas 6206 ED" userId="e6377c33-a923-4f14-8587-531c474c7b48" providerId="ADAL" clId="{6ECD27E6-B224-41CD-B4E0-E297462320DD}" dt="2023-11-23T19:58:51.230" v="7234"/>
          <ac:spMkLst>
            <pc:docMk/>
            <pc:sldMk cId="4099999037" sldId="2147478570"/>
            <ac:spMk id="55" creationId="{4F494E94-E1D8-01B4-CD8C-A7620EAA63D1}"/>
          </ac:spMkLst>
        </pc:spChg>
        <pc:spChg chg="add del mod">
          <ac:chgData name="Steiner Andreas 6206 ED" userId="e6377c33-a923-4f14-8587-531c474c7b48" providerId="ADAL" clId="{6ECD27E6-B224-41CD-B4E0-E297462320DD}" dt="2023-11-23T19:59:02.607" v="7389"/>
          <ac:spMkLst>
            <pc:docMk/>
            <pc:sldMk cId="4099999037" sldId="2147478570"/>
            <ac:spMk id="56" creationId="{D4BF9E32-2334-40B0-1955-2D9F31BD3153}"/>
          </ac:spMkLst>
        </pc:spChg>
        <pc:spChg chg="add del mod">
          <ac:chgData name="Steiner Andreas 6206 ED" userId="e6377c33-a923-4f14-8587-531c474c7b48" providerId="ADAL" clId="{6ECD27E6-B224-41CD-B4E0-E297462320DD}" dt="2023-11-24T08:31:41.490" v="7544"/>
          <ac:spMkLst>
            <pc:docMk/>
            <pc:sldMk cId="4099999037" sldId="2147478570"/>
            <ac:spMk id="57" creationId="{8C15ED5E-206F-1E5C-3976-617951D9D42A}"/>
          </ac:spMkLst>
        </pc:spChg>
        <pc:spChg chg="add del mod">
          <ac:chgData name="Steiner Andreas 6206 ED" userId="e6377c33-a923-4f14-8587-531c474c7b48" providerId="ADAL" clId="{6ECD27E6-B224-41CD-B4E0-E297462320DD}" dt="2023-11-24T08:31:45.170" v="7699"/>
          <ac:spMkLst>
            <pc:docMk/>
            <pc:sldMk cId="4099999037" sldId="2147478570"/>
            <ac:spMk id="58" creationId="{27007C65-239B-57A4-FF3B-A27EEACB08AB}"/>
          </ac:spMkLst>
        </pc:spChg>
        <pc:spChg chg="add del mod">
          <ac:chgData name="Steiner Andreas 6206 ED" userId="e6377c33-a923-4f14-8587-531c474c7b48" providerId="ADAL" clId="{6ECD27E6-B224-41CD-B4E0-E297462320DD}" dt="2023-11-24T08:31:47.021" v="7854"/>
          <ac:spMkLst>
            <pc:docMk/>
            <pc:sldMk cId="4099999037" sldId="2147478570"/>
            <ac:spMk id="59" creationId="{DC4AF107-520C-FAAB-DE8C-EA433E655551}"/>
          </ac:spMkLst>
        </pc:spChg>
        <pc:spChg chg="add del mod">
          <ac:chgData name="Steiner Andreas 6206 ED" userId="e6377c33-a923-4f14-8587-531c474c7b48" providerId="ADAL" clId="{6ECD27E6-B224-41CD-B4E0-E297462320DD}" dt="2023-11-24T08:31:48.887" v="8009"/>
          <ac:spMkLst>
            <pc:docMk/>
            <pc:sldMk cId="4099999037" sldId="2147478570"/>
            <ac:spMk id="60" creationId="{7A2F4D0E-394C-3269-4007-59AC56241C91}"/>
          </ac:spMkLst>
        </pc:spChg>
        <pc:spChg chg="add del mod">
          <ac:chgData name="Steiner Andreas 6206 ED" userId="e6377c33-a923-4f14-8587-531c474c7b48" providerId="ADAL" clId="{6ECD27E6-B224-41CD-B4E0-E297462320DD}" dt="2023-11-24T08:31:50.754" v="8164"/>
          <ac:spMkLst>
            <pc:docMk/>
            <pc:sldMk cId="4099999037" sldId="2147478570"/>
            <ac:spMk id="61" creationId="{0B77633F-4F0C-B01C-AC75-00C33B99BF0E}"/>
          </ac:spMkLst>
        </pc:spChg>
        <pc:spChg chg="add del mod">
          <ac:chgData name="Steiner Andreas 6206 ED" userId="e6377c33-a923-4f14-8587-531c474c7b48" providerId="ADAL" clId="{6ECD27E6-B224-41CD-B4E0-E297462320DD}" dt="2023-11-24T08:31:52.539" v="8319"/>
          <ac:spMkLst>
            <pc:docMk/>
            <pc:sldMk cId="4099999037" sldId="2147478570"/>
            <ac:spMk id="62" creationId="{7F93D9D8-E15C-8DFE-63E8-8BC91F221F6D}"/>
          </ac:spMkLst>
        </pc:spChg>
        <pc:spChg chg="add del mod">
          <ac:chgData name="Steiner Andreas 6206 ED" userId="e6377c33-a923-4f14-8587-531c474c7b48" providerId="ADAL" clId="{6ECD27E6-B224-41CD-B4E0-E297462320DD}" dt="2023-11-24T08:31:54.350" v="8474"/>
          <ac:spMkLst>
            <pc:docMk/>
            <pc:sldMk cId="4099999037" sldId="2147478570"/>
            <ac:spMk id="63" creationId="{E72A83DE-06F8-6254-171C-E401800296DA}"/>
          </ac:spMkLst>
        </pc:spChg>
        <pc:spChg chg="add del mod">
          <ac:chgData name="Steiner Andreas 6206 ED" userId="e6377c33-a923-4f14-8587-531c474c7b48" providerId="ADAL" clId="{6ECD27E6-B224-41CD-B4E0-E297462320DD}" dt="2023-11-24T08:31:56.194" v="8629"/>
          <ac:spMkLst>
            <pc:docMk/>
            <pc:sldMk cId="4099999037" sldId="2147478570"/>
            <ac:spMk id="64" creationId="{D1367C50-2E80-76DB-9B73-91F7E45DBAB6}"/>
          </ac:spMkLst>
        </pc:spChg>
        <pc:spChg chg="add del mod">
          <ac:chgData name="Steiner Andreas 6206 ED" userId="e6377c33-a923-4f14-8587-531c474c7b48" providerId="ADAL" clId="{6ECD27E6-B224-41CD-B4E0-E297462320DD}" dt="2023-11-24T08:31:58.077" v="8784"/>
          <ac:spMkLst>
            <pc:docMk/>
            <pc:sldMk cId="4099999037" sldId="2147478570"/>
            <ac:spMk id="65" creationId="{CE07965A-4ED6-8D2C-B6CD-EF95C4C9D952}"/>
          </ac:spMkLst>
        </pc:spChg>
        <pc:spChg chg="add del mod">
          <ac:chgData name="Steiner Andreas 6206 ED" userId="e6377c33-a923-4f14-8587-531c474c7b48" providerId="ADAL" clId="{6ECD27E6-B224-41CD-B4E0-E297462320DD}" dt="2023-11-24T08:32:00.798" v="8939"/>
          <ac:spMkLst>
            <pc:docMk/>
            <pc:sldMk cId="4099999037" sldId="2147478570"/>
            <ac:spMk id="66" creationId="{DAE86B62-36CD-CC5E-227C-2B1BF3E12211}"/>
          </ac:spMkLst>
        </pc:spChg>
        <pc:spChg chg="add del mod">
          <ac:chgData name="Steiner Andreas 6206 ED" userId="e6377c33-a923-4f14-8587-531c474c7b48" providerId="ADAL" clId="{6ECD27E6-B224-41CD-B4E0-E297462320DD}" dt="2023-11-24T08:32:03.119" v="9094"/>
          <ac:spMkLst>
            <pc:docMk/>
            <pc:sldMk cId="4099999037" sldId="2147478570"/>
            <ac:spMk id="67" creationId="{52C4D0E7-A7EB-D007-D05D-48DE6F4C114B}"/>
          </ac:spMkLst>
        </pc:spChg>
        <pc:spChg chg="add del mod">
          <ac:chgData name="Steiner Andreas 6206 ED" userId="e6377c33-a923-4f14-8587-531c474c7b48" providerId="ADAL" clId="{6ECD27E6-B224-41CD-B4E0-E297462320DD}" dt="2023-11-24T08:32:05.168" v="9249"/>
          <ac:spMkLst>
            <pc:docMk/>
            <pc:sldMk cId="4099999037" sldId="2147478570"/>
            <ac:spMk id="68" creationId="{83F248B7-FDF4-B737-11C7-045189478B77}"/>
          </ac:spMkLst>
        </pc:spChg>
        <pc:spChg chg="add del mod">
          <ac:chgData name="Steiner Andreas 6206 ED" userId="e6377c33-a923-4f14-8587-531c474c7b48" providerId="ADAL" clId="{6ECD27E6-B224-41CD-B4E0-E297462320DD}" dt="2023-11-24T08:32:07.110" v="9404"/>
          <ac:spMkLst>
            <pc:docMk/>
            <pc:sldMk cId="4099999037" sldId="2147478570"/>
            <ac:spMk id="69" creationId="{DB477C38-EEF0-3971-7ACE-0FA0F851AC95}"/>
          </ac:spMkLst>
        </pc:spChg>
        <pc:spChg chg="add del mod">
          <ac:chgData name="Steiner Andreas 6206 ED" userId="e6377c33-a923-4f14-8587-531c474c7b48" providerId="ADAL" clId="{6ECD27E6-B224-41CD-B4E0-E297462320DD}" dt="2023-11-24T08:32:09.442" v="9559"/>
          <ac:spMkLst>
            <pc:docMk/>
            <pc:sldMk cId="4099999037" sldId="2147478570"/>
            <ac:spMk id="70" creationId="{7F956133-42FB-2068-FE4B-FD35EDDEC75F}"/>
          </ac:spMkLst>
        </pc:spChg>
        <pc:spChg chg="add del mod">
          <ac:chgData name="Steiner Andreas 6206 ED" userId="e6377c33-a923-4f14-8587-531c474c7b48" providerId="ADAL" clId="{6ECD27E6-B224-41CD-B4E0-E297462320DD}" dt="2023-11-24T08:32:11.747" v="9714"/>
          <ac:spMkLst>
            <pc:docMk/>
            <pc:sldMk cId="4099999037" sldId="2147478570"/>
            <ac:spMk id="71" creationId="{82128CC0-02CC-9F84-0E27-464CB8341576}"/>
          </ac:spMkLst>
        </pc:spChg>
        <pc:spChg chg="add del mod">
          <ac:chgData name="Steiner Andreas 6206 ED" userId="e6377c33-a923-4f14-8587-531c474c7b48" providerId="ADAL" clId="{6ECD27E6-B224-41CD-B4E0-E297462320DD}" dt="2023-11-24T08:32:13.908" v="9869"/>
          <ac:spMkLst>
            <pc:docMk/>
            <pc:sldMk cId="4099999037" sldId="2147478570"/>
            <ac:spMk id="72" creationId="{F2947592-50B6-3967-C674-A8430CB83E7B}"/>
          </ac:spMkLst>
        </pc:spChg>
        <pc:spChg chg="add del mod">
          <ac:chgData name="Steiner Andreas 6206 ED" userId="e6377c33-a923-4f14-8587-531c474c7b48" providerId="ADAL" clId="{6ECD27E6-B224-41CD-B4E0-E297462320DD}" dt="2023-11-24T08:32:15.848" v="10024"/>
          <ac:spMkLst>
            <pc:docMk/>
            <pc:sldMk cId="4099999037" sldId="2147478570"/>
            <ac:spMk id="73" creationId="{D1EC4D0A-7950-6896-8764-6DFBD6410241}"/>
          </ac:spMkLst>
        </pc:spChg>
        <pc:spChg chg="add del mod">
          <ac:chgData name="Steiner Andreas 6206 ED" userId="e6377c33-a923-4f14-8587-531c474c7b48" providerId="ADAL" clId="{6ECD27E6-B224-41CD-B4E0-E297462320DD}" dt="2023-11-24T08:32:17.844" v="10179"/>
          <ac:spMkLst>
            <pc:docMk/>
            <pc:sldMk cId="4099999037" sldId="2147478570"/>
            <ac:spMk id="74" creationId="{229CBEAB-879B-96A5-3D73-032DFB8C6646}"/>
          </ac:spMkLst>
        </pc:spChg>
        <pc:spChg chg="add del mod">
          <ac:chgData name="Steiner Andreas 6206 ED" userId="e6377c33-a923-4f14-8587-531c474c7b48" providerId="ADAL" clId="{6ECD27E6-B224-41CD-B4E0-E297462320DD}" dt="2023-11-24T08:32:19.799" v="10334"/>
          <ac:spMkLst>
            <pc:docMk/>
            <pc:sldMk cId="4099999037" sldId="2147478570"/>
            <ac:spMk id="75" creationId="{8CAFD06C-6D97-463C-0BE1-181ED03EAFC4}"/>
          </ac:spMkLst>
        </pc:spChg>
        <pc:spChg chg="add del mod">
          <ac:chgData name="Steiner Andreas 6206 ED" userId="e6377c33-a923-4f14-8587-531c474c7b48" providerId="ADAL" clId="{6ECD27E6-B224-41CD-B4E0-E297462320DD}" dt="2023-11-24T08:32:21.761" v="10489"/>
          <ac:spMkLst>
            <pc:docMk/>
            <pc:sldMk cId="4099999037" sldId="2147478570"/>
            <ac:spMk id="76" creationId="{20B3CC6E-2E36-8C77-C71B-7FA868010ABD}"/>
          </ac:spMkLst>
        </pc:spChg>
        <pc:spChg chg="add del mod">
          <ac:chgData name="Steiner Andreas 6206 ED" userId="e6377c33-a923-4f14-8587-531c474c7b48" providerId="ADAL" clId="{6ECD27E6-B224-41CD-B4E0-E297462320DD}" dt="2023-11-24T08:32:23.921" v="10644"/>
          <ac:spMkLst>
            <pc:docMk/>
            <pc:sldMk cId="4099999037" sldId="2147478570"/>
            <ac:spMk id="77" creationId="{F566A719-1441-BE7D-1628-C7DC16E6826C}"/>
          </ac:spMkLst>
        </pc:spChg>
        <pc:spChg chg="add del mod">
          <ac:chgData name="Steiner Andreas 6206 ED" userId="e6377c33-a923-4f14-8587-531c474c7b48" providerId="ADAL" clId="{6ECD27E6-B224-41CD-B4E0-E297462320DD}" dt="2023-11-24T08:32:25.887" v="10799"/>
          <ac:spMkLst>
            <pc:docMk/>
            <pc:sldMk cId="4099999037" sldId="2147478570"/>
            <ac:spMk id="78" creationId="{14A9841B-2664-D72B-7992-709FF8818596}"/>
          </ac:spMkLst>
        </pc:spChg>
        <pc:spChg chg="add del mod">
          <ac:chgData name="Steiner Andreas 6206 ED" userId="e6377c33-a923-4f14-8587-531c474c7b48" providerId="ADAL" clId="{6ECD27E6-B224-41CD-B4E0-E297462320DD}" dt="2023-11-24T08:32:27.871" v="10954"/>
          <ac:spMkLst>
            <pc:docMk/>
            <pc:sldMk cId="4099999037" sldId="2147478570"/>
            <ac:spMk id="79" creationId="{CA69385C-DD35-0C1D-1D17-78733763D5AB}"/>
          </ac:spMkLst>
        </pc:spChg>
        <pc:spChg chg="add del mod">
          <ac:chgData name="Steiner Andreas 6206 ED" userId="e6377c33-a923-4f14-8587-531c474c7b48" providerId="ADAL" clId="{6ECD27E6-B224-41CD-B4E0-E297462320DD}" dt="2023-11-24T08:32:29.782" v="11109"/>
          <ac:spMkLst>
            <pc:docMk/>
            <pc:sldMk cId="4099999037" sldId="2147478570"/>
            <ac:spMk id="80" creationId="{52F4DA53-A634-BF28-1D17-117C5D42A511}"/>
          </ac:spMkLst>
        </pc:spChg>
        <pc:spChg chg="add del mod">
          <ac:chgData name="Steiner Andreas 6206 ED" userId="e6377c33-a923-4f14-8587-531c474c7b48" providerId="ADAL" clId="{6ECD27E6-B224-41CD-B4E0-E297462320DD}" dt="2023-11-24T08:32:31.902" v="11264"/>
          <ac:spMkLst>
            <pc:docMk/>
            <pc:sldMk cId="4099999037" sldId="2147478570"/>
            <ac:spMk id="81" creationId="{7BF1ABDD-D9B3-EF62-9957-AE1E3606F7A5}"/>
          </ac:spMkLst>
        </pc:spChg>
        <pc:spChg chg="add del mod">
          <ac:chgData name="Steiner Andreas 6206 ED" userId="e6377c33-a923-4f14-8587-531c474c7b48" providerId="ADAL" clId="{6ECD27E6-B224-41CD-B4E0-E297462320DD}" dt="2023-11-24T08:32:34.249" v="11419"/>
          <ac:spMkLst>
            <pc:docMk/>
            <pc:sldMk cId="4099999037" sldId="2147478570"/>
            <ac:spMk id="82" creationId="{DF1FD13B-D7ED-3C75-80F6-8100F0CE49F5}"/>
          </ac:spMkLst>
        </pc:spChg>
        <pc:spChg chg="add del mod">
          <ac:chgData name="Steiner Andreas 6206 ED" userId="e6377c33-a923-4f14-8587-531c474c7b48" providerId="ADAL" clId="{6ECD27E6-B224-41CD-B4E0-E297462320DD}" dt="2023-11-24T08:32:36.627" v="11574"/>
          <ac:spMkLst>
            <pc:docMk/>
            <pc:sldMk cId="4099999037" sldId="2147478570"/>
            <ac:spMk id="83" creationId="{99F15C9E-5916-A22A-E057-B257B16B0EB0}"/>
          </ac:spMkLst>
        </pc:spChg>
        <pc:spChg chg="add del mod">
          <ac:chgData name="Steiner Andreas 6206 ED" userId="e6377c33-a923-4f14-8587-531c474c7b48" providerId="ADAL" clId="{6ECD27E6-B224-41CD-B4E0-E297462320DD}" dt="2023-11-24T08:32:38.559" v="11729"/>
          <ac:spMkLst>
            <pc:docMk/>
            <pc:sldMk cId="4099999037" sldId="2147478570"/>
            <ac:spMk id="84" creationId="{DDD9FDE4-7F19-B5AB-1304-F3CB9162800D}"/>
          </ac:spMkLst>
        </pc:spChg>
        <pc:spChg chg="add del mod">
          <ac:chgData name="Steiner Andreas 6206 ED" userId="e6377c33-a923-4f14-8587-531c474c7b48" providerId="ADAL" clId="{6ECD27E6-B224-41CD-B4E0-E297462320DD}" dt="2023-11-24T08:32:40.660" v="11884"/>
          <ac:spMkLst>
            <pc:docMk/>
            <pc:sldMk cId="4099999037" sldId="2147478570"/>
            <ac:spMk id="85" creationId="{46780E6D-678E-E39F-40BC-BC0758C11824}"/>
          </ac:spMkLst>
        </pc:spChg>
        <pc:spChg chg="add del mod">
          <ac:chgData name="Steiner Andreas 6206 ED" userId="e6377c33-a923-4f14-8587-531c474c7b48" providerId="ADAL" clId="{6ECD27E6-B224-41CD-B4E0-E297462320DD}" dt="2023-11-24T08:32:42.807" v="12039"/>
          <ac:spMkLst>
            <pc:docMk/>
            <pc:sldMk cId="4099999037" sldId="2147478570"/>
            <ac:spMk id="86" creationId="{16376A1A-09E0-BC98-957F-385BF0A9283A}"/>
          </ac:spMkLst>
        </pc:spChg>
        <pc:spChg chg="add del mod">
          <ac:chgData name="Steiner Andreas 6206 ED" userId="e6377c33-a923-4f14-8587-531c474c7b48" providerId="ADAL" clId="{6ECD27E6-B224-41CD-B4E0-E297462320DD}" dt="2023-11-24T08:32:44.956" v="12194"/>
          <ac:spMkLst>
            <pc:docMk/>
            <pc:sldMk cId="4099999037" sldId="2147478570"/>
            <ac:spMk id="87" creationId="{ACEA5393-B24F-A7B0-6127-A1F12D429A9F}"/>
          </ac:spMkLst>
        </pc:spChg>
        <pc:spChg chg="add del mod">
          <ac:chgData name="Steiner Andreas 6206 ED" userId="e6377c33-a923-4f14-8587-531c474c7b48" providerId="ADAL" clId="{6ECD27E6-B224-41CD-B4E0-E297462320DD}" dt="2023-11-24T08:32:47.144" v="12349"/>
          <ac:spMkLst>
            <pc:docMk/>
            <pc:sldMk cId="4099999037" sldId="2147478570"/>
            <ac:spMk id="88" creationId="{0BD319D2-632C-D04A-69CC-1194F1AFFCB5}"/>
          </ac:spMkLst>
        </pc:spChg>
        <pc:spChg chg="add del mod">
          <ac:chgData name="Steiner Andreas 6206 ED" userId="e6377c33-a923-4f14-8587-531c474c7b48" providerId="ADAL" clId="{6ECD27E6-B224-41CD-B4E0-E297462320DD}" dt="2023-11-24T08:32:49.193" v="12504"/>
          <ac:spMkLst>
            <pc:docMk/>
            <pc:sldMk cId="4099999037" sldId="2147478570"/>
            <ac:spMk id="89" creationId="{4A8BAAC8-8F54-62E5-804D-A922BA6779ED}"/>
          </ac:spMkLst>
        </pc:spChg>
        <pc:spChg chg="add del mod">
          <ac:chgData name="Steiner Andreas 6206 ED" userId="e6377c33-a923-4f14-8587-531c474c7b48" providerId="ADAL" clId="{6ECD27E6-B224-41CD-B4E0-E297462320DD}" dt="2023-11-24T08:32:51.140" v="12659"/>
          <ac:spMkLst>
            <pc:docMk/>
            <pc:sldMk cId="4099999037" sldId="2147478570"/>
            <ac:spMk id="90" creationId="{AE019A49-C84B-B0B6-DED0-68C4DEF4160D}"/>
          </ac:spMkLst>
        </pc:spChg>
        <pc:spChg chg="add del mod">
          <ac:chgData name="Steiner Andreas 6206 ED" userId="e6377c33-a923-4f14-8587-531c474c7b48" providerId="ADAL" clId="{6ECD27E6-B224-41CD-B4E0-E297462320DD}" dt="2023-11-24T08:32:53.157" v="12814"/>
          <ac:spMkLst>
            <pc:docMk/>
            <pc:sldMk cId="4099999037" sldId="2147478570"/>
            <ac:spMk id="91" creationId="{F6FF9A7B-6CE8-2591-0DC2-BA4B9E35A6E2}"/>
          </ac:spMkLst>
        </pc:spChg>
        <pc:spChg chg="add del mod">
          <ac:chgData name="Steiner Andreas 6206 ED" userId="e6377c33-a923-4f14-8587-531c474c7b48" providerId="ADAL" clId="{6ECD27E6-B224-41CD-B4E0-E297462320DD}" dt="2023-11-24T08:32:55.147" v="12969"/>
          <ac:spMkLst>
            <pc:docMk/>
            <pc:sldMk cId="4099999037" sldId="2147478570"/>
            <ac:spMk id="92" creationId="{A7812F66-7186-3836-84A2-A79EE605B595}"/>
          </ac:spMkLst>
        </pc:spChg>
        <pc:spChg chg="add del mod">
          <ac:chgData name="Steiner Andreas 6206 ED" userId="e6377c33-a923-4f14-8587-531c474c7b48" providerId="ADAL" clId="{6ECD27E6-B224-41CD-B4E0-E297462320DD}" dt="2023-11-24T08:32:57.070" v="13124"/>
          <ac:spMkLst>
            <pc:docMk/>
            <pc:sldMk cId="4099999037" sldId="2147478570"/>
            <ac:spMk id="93" creationId="{2C037426-3485-6780-DE06-FE5F14C3B752}"/>
          </ac:spMkLst>
        </pc:spChg>
        <pc:spChg chg="add del mod">
          <ac:chgData name="Steiner Andreas 6206 ED" userId="e6377c33-a923-4f14-8587-531c474c7b48" providerId="ADAL" clId="{6ECD27E6-B224-41CD-B4E0-E297462320DD}" dt="2023-11-24T08:32:59.175" v="13279"/>
          <ac:spMkLst>
            <pc:docMk/>
            <pc:sldMk cId="4099999037" sldId="2147478570"/>
            <ac:spMk id="94" creationId="{F8DAE54D-6C0D-CD12-0E5D-E75F89505F21}"/>
          </ac:spMkLst>
        </pc:spChg>
        <pc:spChg chg="add del mod">
          <ac:chgData name="Steiner Andreas 6206 ED" userId="e6377c33-a923-4f14-8587-531c474c7b48" providerId="ADAL" clId="{6ECD27E6-B224-41CD-B4E0-E297462320DD}" dt="2023-11-24T08:33:01.316" v="13434"/>
          <ac:spMkLst>
            <pc:docMk/>
            <pc:sldMk cId="4099999037" sldId="2147478570"/>
            <ac:spMk id="95" creationId="{617A9054-A6BB-F3D7-49CC-9E587FDD140F}"/>
          </ac:spMkLst>
        </pc:spChg>
        <pc:spChg chg="add del mod">
          <ac:chgData name="Steiner Andreas 6206 ED" userId="e6377c33-a923-4f14-8587-531c474c7b48" providerId="ADAL" clId="{6ECD27E6-B224-41CD-B4E0-E297462320DD}" dt="2023-11-24T08:33:03.650" v="13589"/>
          <ac:spMkLst>
            <pc:docMk/>
            <pc:sldMk cId="4099999037" sldId="2147478570"/>
            <ac:spMk id="96" creationId="{B896C921-030D-900E-95E0-A8E9D991BAD1}"/>
          </ac:spMkLst>
        </pc:spChg>
        <pc:spChg chg="add del mod">
          <ac:chgData name="Steiner Andreas 6206 ED" userId="e6377c33-a923-4f14-8587-531c474c7b48" providerId="ADAL" clId="{6ECD27E6-B224-41CD-B4E0-E297462320DD}" dt="2023-11-24T08:33:05.985" v="13744"/>
          <ac:spMkLst>
            <pc:docMk/>
            <pc:sldMk cId="4099999037" sldId="2147478570"/>
            <ac:spMk id="97" creationId="{AB1A1B6C-AB63-8C00-6AE6-C8868246502D}"/>
          </ac:spMkLst>
        </pc:spChg>
        <pc:spChg chg="add del mod">
          <ac:chgData name="Steiner Andreas 6206 ED" userId="e6377c33-a923-4f14-8587-531c474c7b48" providerId="ADAL" clId="{6ECD27E6-B224-41CD-B4E0-E297462320DD}" dt="2023-11-24T08:33:08.213" v="13899"/>
          <ac:spMkLst>
            <pc:docMk/>
            <pc:sldMk cId="4099999037" sldId="2147478570"/>
            <ac:spMk id="98" creationId="{79D7CD62-EF60-D0A9-FB16-34E55EB052C1}"/>
          </ac:spMkLst>
        </pc:spChg>
        <pc:spChg chg="add del mod">
          <ac:chgData name="Steiner Andreas 6206 ED" userId="e6377c33-a923-4f14-8587-531c474c7b48" providerId="ADAL" clId="{6ECD27E6-B224-41CD-B4E0-E297462320DD}" dt="2023-11-24T08:33:10.642" v="14054"/>
          <ac:spMkLst>
            <pc:docMk/>
            <pc:sldMk cId="4099999037" sldId="2147478570"/>
            <ac:spMk id="99" creationId="{A80D4D7D-B872-0182-9069-9217E86F8BD0}"/>
          </ac:spMkLst>
        </pc:spChg>
        <pc:spChg chg="add del mod">
          <ac:chgData name="Steiner Andreas 6206 ED" userId="e6377c33-a923-4f14-8587-531c474c7b48" providerId="ADAL" clId="{6ECD27E6-B224-41CD-B4E0-E297462320DD}" dt="2023-11-24T08:33:12.630" v="14209"/>
          <ac:spMkLst>
            <pc:docMk/>
            <pc:sldMk cId="4099999037" sldId="2147478570"/>
            <ac:spMk id="100" creationId="{DDFE47CD-D2FB-E50D-2BFA-4BA12DA9271F}"/>
          </ac:spMkLst>
        </pc:spChg>
        <pc:spChg chg="add del mod">
          <ac:chgData name="Steiner Andreas 6206 ED" userId="e6377c33-a923-4f14-8587-531c474c7b48" providerId="ADAL" clId="{6ECD27E6-B224-41CD-B4E0-E297462320DD}" dt="2023-11-24T08:33:14.528" v="14364"/>
          <ac:spMkLst>
            <pc:docMk/>
            <pc:sldMk cId="4099999037" sldId="2147478570"/>
            <ac:spMk id="101" creationId="{3B7291B9-E649-EE8A-E719-2D48A2D2F647}"/>
          </ac:spMkLst>
        </pc:spChg>
        <pc:spChg chg="add del mod">
          <ac:chgData name="Steiner Andreas 6206 ED" userId="e6377c33-a923-4f14-8587-531c474c7b48" providerId="ADAL" clId="{6ECD27E6-B224-41CD-B4E0-E297462320DD}" dt="2023-11-24T08:33:16.548" v="14519"/>
          <ac:spMkLst>
            <pc:docMk/>
            <pc:sldMk cId="4099999037" sldId="2147478570"/>
            <ac:spMk id="102" creationId="{7639CD22-2C76-27F7-3327-8DF9D81F9943}"/>
          </ac:spMkLst>
        </pc:spChg>
        <pc:spChg chg="add del mod">
          <ac:chgData name="Steiner Andreas 6206 ED" userId="e6377c33-a923-4f14-8587-531c474c7b48" providerId="ADAL" clId="{6ECD27E6-B224-41CD-B4E0-E297462320DD}" dt="2023-11-24T08:33:18.850" v="14674"/>
          <ac:spMkLst>
            <pc:docMk/>
            <pc:sldMk cId="4099999037" sldId="2147478570"/>
            <ac:spMk id="103" creationId="{CA229E91-0C9C-F2AF-5B71-9BC131FDB9C9}"/>
          </ac:spMkLst>
        </pc:spChg>
        <pc:spChg chg="add del mod">
          <ac:chgData name="Steiner Andreas 6206 ED" userId="e6377c33-a923-4f14-8587-531c474c7b48" providerId="ADAL" clId="{6ECD27E6-B224-41CD-B4E0-E297462320DD}" dt="2023-11-24T08:33:21.214" v="14829"/>
          <ac:spMkLst>
            <pc:docMk/>
            <pc:sldMk cId="4099999037" sldId="2147478570"/>
            <ac:spMk id="104" creationId="{C50B9A1F-FF81-FC5E-FA33-1BC80CEA1E42}"/>
          </ac:spMkLst>
        </pc:spChg>
        <pc:spChg chg="add del mod">
          <ac:chgData name="Steiner Andreas 6206 ED" userId="e6377c33-a923-4f14-8587-531c474c7b48" providerId="ADAL" clId="{6ECD27E6-B224-41CD-B4E0-E297462320DD}" dt="2023-11-24T08:33:23.585" v="14984"/>
          <ac:spMkLst>
            <pc:docMk/>
            <pc:sldMk cId="4099999037" sldId="2147478570"/>
            <ac:spMk id="105" creationId="{D6752782-809B-2C46-4F22-31C1E45EEAD6}"/>
          </ac:spMkLst>
        </pc:spChg>
        <pc:spChg chg="add del mod">
          <ac:chgData name="Steiner Andreas 6206 ED" userId="e6377c33-a923-4f14-8587-531c474c7b48" providerId="ADAL" clId="{6ECD27E6-B224-41CD-B4E0-E297462320DD}" dt="2023-11-24T08:33:25.999" v="15139"/>
          <ac:spMkLst>
            <pc:docMk/>
            <pc:sldMk cId="4099999037" sldId="2147478570"/>
            <ac:spMk id="106" creationId="{93D26BDE-7D93-14F3-0D3D-37FAF6D92A6D}"/>
          </ac:spMkLst>
        </pc:spChg>
        <pc:spChg chg="add del mod">
          <ac:chgData name="Steiner Andreas 6206 ED" userId="e6377c33-a923-4f14-8587-531c474c7b48" providerId="ADAL" clId="{6ECD27E6-B224-41CD-B4E0-E297462320DD}" dt="2023-11-24T08:33:28.285" v="15294"/>
          <ac:spMkLst>
            <pc:docMk/>
            <pc:sldMk cId="4099999037" sldId="2147478570"/>
            <ac:spMk id="107" creationId="{D75E9ECB-C2CF-D616-575F-2E5F56266472}"/>
          </ac:spMkLst>
        </pc:spChg>
        <pc:spChg chg="add del mod">
          <ac:chgData name="Steiner Andreas 6206 ED" userId="e6377c33-a923-4f14-8587-531c474c7b48" providerId="ADAL" clId="{6ECD27E6-B224-41CD-B4E0-E297462320DD}" dt="2023-11-24T08:33:30.746" v="15449"/>
          <ac:spMkLst>
            <pc:docMk/>
            <pc:sldMk cId="4099999037" sldId="2147478570"/>
            <ac:spMk id="108" creationId="{69D99BFE-58B6-CC3C-0818-353BACD41971}"/>
          </ac:spMkLst>
        </pc:spChg>
        <pc:spChg chg="add del mod">
          <ac:chgData name="Steiner Andreas 6206 ED" userId="e6377c33-a923-4f14-8587-531c474c7b48" providerId="ADAL" clId="{6ECD27E6-B224-41CD-B4E0-E297462320DD}" dt="2023-11-24T08:33:33.538" v="15604"/>
          <ac:spMkLst>
            <pc:docMk/>
            <pc:sldMk cId="4099999037" sldId="2147478570"/>
            <ac:spMk id="109" creationId="{5F142A6D-E76F-75B2-D1DA-BB94A91437FE}"/>
          </ac:spMkLst>
        </pc:spChg>
        <pc:spChg chg="add del mod">
          <ac:chgData name="Steiner Andreas 6206 ED" userId="e6377c33-a923-4f14-8587-531c474c7b48" providerId="ADAL" clId="{6ECD27E6-B224-41CD-B4E0-E297462320DD}" dt="2023-11-24T08:33:35.822" v="15759"/>
          <ac:spMkLst>
            <pc:docMk/>
            <pc:sldMk cId="4099999037" sldId="2147478570"/>
            <ac:spMk id="110" creationId="{CA694F3D-FECC-5771-C87C-4D39028C8E1B}"/>
          </ac:spMkLst>
        </pc:spChg>
        <pc:spChg chg="add del mod">
          <ac:chgData name="Steiner Andreas 6206 ED" userId="e6377c33-a923-4f14-8587-531c474c7b48" providerId="ADAL" clId="{6ECD27E6-B224-41CD-B4E0-E297462320DD}" dt="2023-11-24T08:33:37.942" v="15914"/>
          <ac:spMkLst>
            <pc:docMk/>
            <pc:sldMk cId="4099999037" sldId="2147478570"/>
            <ac:spMk id="111" creationId="{C84DE1A6-FAFF-FD7C-2DD8-4D2382CA1120}"/>
          </ac:spMkLst>
        </pc:spChg>
        <pc:spChg chg="add del mod">
          <ac:chgData name="Steiner Andreas 6206 ED" userId="e6377c33-a923-4f14-8587-531c474c7b48" providerId="ADAL" clId="{6ECD27E6-B224-41CD-B4E0-E297462320DD}" dt="2023-11-24T08:33:40.266" v="16069"/>
          <ac:spMkLst>
            <pc:docMk/>
            <pc:sldMk cId="4099999037" sldId="2147478570"/>
            <ac:spMk id="112" creationId="{A289CC36-8262-3C97-0B5E-8A40A8C97A21}"/>
          </ac:spMkLst>
        </pc:spChg>
        <pc:spChg chg="add del mod">
          <ac:chgData name="Steiner Andreas 6206 ED" userId="e6377c33-a923-4f14-8587-531c474c7b48" providerId="ADAL" clId="{6ECD27E6-B224-41CD-B4E0-E297462320DD}" dt="2023-11-24T08:33:42.915" v="16224"/>
          <ac:spMkLst>
            <pc:docMk/>
            <pc:sldMk cId="4099999037" sldId="2147478570"/>
            <ac:spMk id="113" creationId="{BC24B9FD-12B6-A211-35EC-D599CC268ECE}"/>
          </ac:spMkLst>
        </pc:spChg>
        <pc:spChg chg="add del mod">
          <ac:chgData name="Steiner Andreas 6206 ED" userId="e6377c33-a923-4f14-8587-531c474c7b48" providerId="ADAL" clId="{6ECD27E6-B224-41CD-B4E0-E297462320DD}" dt="2023-11-24T08:33:45.454" v="16379"/>
          <ac:spMkLst>
            <pc:docMk/>
            <pc:sldMk cId="4099999037" sldId="2147478570"/>
            <ac:spMk id="114" creationId="{C31DF59C-AD84-D01E-DAF4-DAAAB076122F}"/>
          </ac:spMkLst>
        </pc:spChg>
        <pc:spChg chg="add del mod">
          <ac:chgData name="Steiner Andreas 6206 ED" userId="e6377c33-a923-4f14-8587-531c474c7b48" providerId="ADAL" clId="{6ECD27E6-B224-41CD-B4E0-E297462320DD}" dt="2023-11-24T08:33:47.658" v="16534"/>
          <ac:spMkLst>
            <pc:docMk/>
            <pc:sldMk cId="4099999037" sldId="2147478570"/>
            <ac:spMk id="115" creationId="{217FC543-3C4D-32AC-DF8F-047924A0D2C6}"/>
          </ac:spMkLst>
        </pc:spChg>
        <pc:spChg chg="add del mod">
          <ac:chgData name="Steiner Andreas 6206 ED" userId="e6377c33-a923-4f14-8587-531c474c7b48" providerId="ADAL" clId="{6ECD27E6-B224-41CD-B4E0-E297462320DD}" dt="2023-11-24T08:33:50.404" v="16689"/>
          <ac:spMkLst>
            <pc:docMk/>
            <pc:sldMk cId="4099999037" sldId="2147478570"/>
            <ac:spMk id="116" creationId="{1D8462F6-0108-07C0-A604-C13408801CD7}"/>
          </ac:spMkLst>
        </pc:spChg>
        <pc:spChg chg="add del mod">
          <ac:chgData name="Steiner Andreas 6206 ED" userId="e6377c33-a923-4f14-8587-531c474c7b48" providerId="ADAL" clId="{6ECD27E6-B224-41CD-B4E0-E297462320DD}" dt="2023-11-24T08:33:52.789" v="16844"/>
          <ac:spMkLst>
            <pc:docMk/>
            <pc:sldMk cId="4099999037" sldId="2147478570"/>
            <ac:spMk id="117" creationId="{EF5A695E-6C06-D5D9-7F3D-F64BE5756C92}"/>
          </ac:spMkLst>
        </pc:spChg>
        <pc:spChg chg="add del mod">
          <ac:chgData name="Steiner Andreas 6206 ED" userId="e6377c33-a923-4f14-8587-531c474c7b48" providerId="ADAL" clId="{6ECD27E6-B224-41CD-B4E0-E297462320DD}" dt="2023-11-24T08:33:54.958" v="16999"/>
          <ac:spMkLst>
            <pc:docMk/>
            <pc:sldMk cId="4099999037" sldId="2147478570"/>
            <ac:spMk id="118" creationId="{61B0A674-AF08-C2F9-555E-05C67D9BBFFA}"/>
          </ac:spMkLst>
        </pc:spChg>
        <pc:spChg chg="add del mod">
          <ac:chgData name="Steiner Andreas 6206 ED" userId="e6377c33-a923-4f14-8587-531c474c7b48" providerId="ADAL" clId="{6ECD27E6-B224-41CD-B4E0-E297462320DD}" dt="2023-11-24T08:33:57.339" v="17154"/>
          <ac:spMkLst>
            <pc:docMk/>
            <pc:sldMk cId="4099999037" sldId="2147478570"/>
            <ac:spMk id="119" creationId="{3E4B61D4-D544-ED2A-D00C-1E48543575AE}"/>
          </ac:spMkLst>
        </pc:spChg>
        <pc:spChg chg="add del mod">
          <ac:chgData name="Steiner Andreas 6206 ED" userId="e6377c33-a923-4f14-8587-531c474c7b48" providerId="ADAL" clId="{6ECD27E6-B224-41CD-B4E0-E297462320DD}" dt="2023-11-24T08:33:59.773" v="17309"/>
          <ac:spMkLst>
            <pc:docMk/>
            <pc:sldMk cId="4099999037" sldId="2147478570"/>
            <ac:spMk id="120" creationId="{87B932AC-5FBF-4CCF-A271-817AA440DB3C}"/>
          </ac:spMkLst>
        </pc:spChg>
        <pc:spChg chg="add del mod">
          <ac:chgData name="Steiner Andreas 6206 ED" userId="e6377c33-a923-4f14-8587-531c474c7b48" providerId="ADAL" clId="{6ECD27E6-B224-41CD-B4E0-E297462320DD}" dt="2023-11-24T08:34:01.714" v="17464"/>
          <ac:spMkLst>
            <pc:docMk/>
            <pc:sldMk cId="4099999037" sldId="2147478570"/>
            <ac:spMk id="121" creationId="{D16ECB3E-D583-90A9-2A84-0D3413791D4C}"/>
          </ac:spMkLst>
        </pc:spChg>
        <pc:spChg chg="add del mod">
          <ac:chgData name="Steiner Andreas 6206 ED" userId="e6377c33-a923-4f14-8587-531c474c7b48" providerId="ADAL" clId="{6ECD27E6-B224-41CD-B4E0-E297462320DD}" dt="2023-11-24T08:34:04.138" v="17619"/>
          <ac:spMkLst>
            <pc:docMk/>
            <pc:sldMk cId="4099999037" sldId="2147478570"/>
            <ac:spMk id="122" creationId="{D4312194-CC1D-798C-CA7E-42EE8076B373}"/>
          </ac:spMkLst>
        </pc:spChg>
        <pc:spChg chg="add del mod">
          <ac:chgData name="Steiner Andreas 6206 ED" userId="e6377c33-a923-4f14-8587-531c474c7b48" providerId="ADAL" clId="{6ECD27E6-B224-41CD-B4E0-E297462320DD}" dt="2023-11-24T08:34:05.993" v="17774"/>
          <ac:spMkLst>
            <pc:docMk/>
            <pc:sldMk cId="4099999037" sldId="2147478570"/>
            <ac:spMk id="123" creationId="{375C1E5A-DFBB-0AE0-5096-70F37505B0AF}"/>
          </ac:spMkLst>
        </pc:spChg>
        <pc:spChg chg="add del mod">
          <ac:chgData name="Steiner Andreas 6206 ED" userId="e6377c33-a923-4f14-8587-531c474c7b48" providerId="ADAL" clId="{6ECD27E6-B224-41CD-B4E0-E297462320DD}" dt="2023-11-24T08:34:08.107" v="17929"/>
          <ac:spMkLst>
            <pc:docMk/>
            <pc:sldMk cId="4099999037" sldId="2147478570"/>
            <ac:spMk id="124" creationId="{31201075-505E-8B09-A833-85A6E3BBEE8F}"/>
          </ac:spMkLst>
        </pc:spChg>
        <pc:spChg chg="add del mod">
          <ac:chgData name="Steiner Andreas 6206 ED" userId="e6377c33-a923-4f14-8587-531c474c7b48" providerId="ADAL" clId="{6ECD27E6-B224-41CD-B4E0-E297462320DD}" dt="2023-11-24T08:34:10.049" v="18084"/>
          <ac:spMkLst>
            <pc:docMk/>
            <pc:sldMk cId="4099999037" sldId="2147478570"/>
            <ac:spMk id="125" creationId="{8193FF3D-CEF5-B0A6-AD34-4D42AD3516C6}"/>
          </ac:spMkLst>
        </pc:spChg>
        <pc:spChg chg="add del mod">
          <ac:chgData name="Steiner Andreas 6206 ED" userId="e6377c33-a923-4f14-8587-531c474c7b48" providerId="ADAL" clId="{6ECD27E6-B224-41CD-B4E0-E297462320DD}" dt="2023-11-24T08:34:12.156" v="18239"/>
          <ac:spMkLst>
            <pc:docMk/>
            <pc:sldMk cId="4099999037" sldId="2147478570"/>
            <ac:spMk id="126" creationId="{96B27FE3-D99C-2A76-0279-39E613836757}"/>
          </ac:spMkLst>
        </pc:spChg>
        <pc:spChg chg="add del mod">
          <ac:chgData name="Steiner Andreas 6206 ED" userId="e6377c33-a923-4f14-8587-531c474c7b48" providerId="ADAL" clId="{6ECD27E6-B224-41CD-B4E0-E297462320DD}" dt="2023-11-24T08:34:14.464" v="18394"/>
          <ac:spMkLst>
            <pc:docMk/>
            <pc:sldMk cId="4099999037" sldId="2147478570"/>
            <ac:spMk id="127" creationId="{2CDFDC67-CA18-B0FC-4A59-29EDCF852B67}"/>
          </ac:spMkLst>
        </pc:spChg>
        <pc:spChg chg="add del mod">
          <ac:chgData name="Steiner Andreas 6206 ED" userId="e6377c33-a923-4f14-8587-531c474c7b48" providerId="ADAL" clId="{6ECD27E6-B224-41CD-B4E0-E297462320DD}" dt="2023-11-24T08:34:16.506" v="18549"/>
          <ac:spMkLst>
            <pc:docMk/>
            <pc:sldMk cId="4099999037" sldId="2147478570"/>
            <ac:spMk id="128" creationId="{9C14C70C-FBEA-3969-7877-F320296865CD}"/>
          </ac:spMkLst>
        </pc:spChg>
        <pc:spChg chg="add del mod">
          <ac:chgData name="Steiner Andreas 6206 ED" userId="e6377c33-a923-4f14-8587-531c474c7b48" providerId="ADAL" clId="{6ECD27E6-B224-41CD-B4E0-E297462320DD}" dt="2023-11-24T08:34:18.735" v="18704"/>
          <ac:spMkLst>
            <pc:docMk/>
            <pc:sldMk cId="4099999037" sldId="2147478570"/>
            <ac:spMk id="129" creationId="{010D5C61-2ED1-6108-9ED8-EFE943126F9E}"/>
          </ac:spMkLst>
        </pc:spChg>
        <pc:spChg chg="add del mod">
          <ac:chgData name="Steiner Andreas 6206 ED" userId="e6377c33-a923-4f14-8587-531c474c7b48" providerId="ADAL" clId="{6ECD27E6-B224-41CD-B4E0-E297462320DD}" dt="2023-11-24T08:34:20.812" v="18859"/>
          <ac:spMkLst>
            <pc:docMk/>
            <pc:sldMk cId="4099999037" sldId="2147478570"/>
            <ac:spMk id="130" creationId="{D072166F-BA9C-FDDE-E809-41BFA54FE912}"/>
          </ac:spMkLst>
        </pc:spChg>
        <pc:spChg chg="add del mod">
          <ac:chgData name="Steiner Andreas 6206 ED" userId="e6377c33-a923-4f14-8587-531c474c7b48" providerId="ADAL" clId="{6ECD27E6-B224-41CD-B4E0-E297462320DD}" dt="2023-11-24T08:34:22.923" v="19014"/>
          <ac:spMkLst>
            <pc:docMk/>
            <pc:sldMk cId="4099999037" sldId="2147478570"/>
            <ac:spMk id="131" creationId="{C5E520A0-E4DD-8A6B-6E1A-0956240530B8}"/>
          </ac:spMkLst>
        </pc:spChg>
        <pc:spChg chg="add del mod">
          <ac:chgData name="Steiner Andreas 6206 ED" userId="e6377c33-a923-4f14-8587-531c474c7b48" providerId="ADAL" clId="{6ECD27E6-B224-41CD-B4E0-E297462320DD}" dt="2023-11-24T08:34:26.199" v="19169"/>
          <ac:spMkLst>
            <pc:docMk/>
            <pc:sldMk cId="4099999037" sldId="2147478570"/>
            <ac:spMk id="132" creationId="{625BFC2D-0FD0-383E-CD24-FEAA48E3858F}"/>
          </ac:spMkLst>
        </pc:spChg>
        <pc:spChg chg="add del mod">
          <ac:chgData name="Steiner Andreas 6206 ED" userId="e6377c33-a923-4f14-8587-531c474c7b48" providerId="ADAL" clId="{6ECD27E6-B224-41CD-B4E0-E297462320DD}" dt="2023-11-24T08:34:28.855" v="19324"/>
          <ac:spMkLst>
            <pc:docMk/>
            <pc:sldMk cId="4099999037" sldId="2147478570"/>
            <ac:spMk id="133" creationId="{0BE298B3-75A3-DDA9-CCD0-84A4D9CD65C6}"/>
          </ac:spMkLst>
        </pc:spChg>
        <pc:spChg chg="add del mod">
          <ac:chgData name="Steiner Andreas 6206 ED" userId="e6377c33-a923-4f14-8587-531c474c7b48" providerId="ADAL" clId="{6ECD27E6-B224-41CD-B4E0-E297462320DD}" dt="2023-11-24T08:34:31.487" v="19479"/>
          <ac:spMkLst>
            <pc:docMk/>
            <pc:sldMk cId="4099999037" sldId="2147478570"/>
            <ac:spMk id="134" creationId="{9D60F781-EA0C-0E60-7262-376BDC10718A}"/>
          </ac:spMkLst>
        </pc:spChg>
        <pc:spChg chg="add del mod">
          <ac:chgData name="Steiner Andreas 6206 ED" userId="e6377c33-a923-4f14-8587-531c474c7b48" providerId="ADAL" clId="{6ECD27E6-B224-41CD-B4E0-E297462320DD}" dt="2023-11-24T08:34:33.670" v="19634"/>
          <ac:spMkLst>
            <pc:docMk/>
            <pc:sldMk cId="4099999037" sldId="2147478570"/>
            <ac:spMk id="135" creationId="{4660F15E-3EB3-31E6-B372-CB7E15B92374}"/>
          </ac:spMkLst>
        </pc:spChg>
        <pc:spChg chg="add del mod">
          <ac:chgData name="Steiner Andreas 6206 ED" userId="e6377c33-a923-4f14-8587-531c474c7b48" providerId="ADAL" clId="{6ECD27E6-B224-41CD-B4E0-E297462320DD}" dt="2023-11-24T08:34:35.939" v="19789"/>
          <ac:spMkLst>
            <pc:docMk/>
            <pc:sldMk cId="4099999037" sldId="2147478570"/>
            <ac:spMk id="136" creationId="{FE214F03-85C1-4EAE-E18B-0FEF084228AC}"/>
          </ac:spMkLst>
        </pc:spChg>
        <pc:spChg chg="add del mod">
          <ac:chgData name="Steiner Andreas 6206 ED" userId="e6377c33-a923-4f14-8587-531c474c7b48" providerId="ADAL" clId="{6ECD27E6-B224-41CD-B4E0-E297462320DD}" dt="2023-11-24T08:34:38.185" v="19944"/>
          <ac:spMkLst>
            <pc:docMk/>
            <pc:sldMk cId="4099999037" sldId="2147478570"/>
            <ac:spMk id="137" creationId="{4D0DB872-8E52-E3EC-C1D7-0A8BF32B5172}"/>
          </ac:spMkLst>
        </pc:spChg>
        <pc:spChg chg="add del mod">
          <ac:chgData name="Steiner Andreas 6206 ED" userId="e6377c33-a923-4f14-8587-531c474c7b48" providerId="ADAL" clId="{6ECD27E6-B224-41CD-B4E0-E297462320DD}" dt="2023-11-24T08:34:40.460" v="20099"/>
          <ac:spMkLst>
            <pc:docMk/>
            <pc:sldMk cId="4099999037" sldId="2147478570"/>
            <ac:spMk id="138" creationId="{1DC9E551-FF32-D3B8-4D84-FDD67CEFDFA9}"/>
          </ac:spMkLst>
        </pc:spChg>
        <pc:spChg chg="add del mod">
          <ac:chgData name="Steiner Andreas 6206 ED" userId="e6377c33-a923-4f14-8587-531c474c7b48" providerId="ADAL" clId="{6ECD27E6-B224-41CD-B4E0-E297462320DD}" dt="2023-11-24T08:34:43.228" v="20254"/>
          <ac:spMkLst>
            <pc:docMk/>
            <pc:sldMk cId="4099999037" sldId="2147478570"/>
            <ac:spMk id="139" creationId="{1132AA36-4788-2ADF-FF43-A3F7049D0EB8}"/>
          </ac:spMkLst>
        </pc:spChg>
        <pc:spChg chg="add del mod">
          <ac:chgData name="Steiner Andreas 6206 ED" userId="e6377c33-a923-4f14-8587-531c474c7b48" providerId="ADAL" clId="{6ECD27E6-B224-41CD-B4E0-E297462320DD}" dt="2023-11-24T08:34:45.556" v="20409"/>
          <ac:spMkLst>
            <pc:docMk/>
            <pc:sldMk cId="4099999037" sldId="2147478570"/>
            <ac:spMk id="140" creationId="{08F25D79-C2CD-6FAD-4732-1121C73CCC5E}"/>
          </ac:spMkLst>
        </pc:spChg>
        <pc:spChg chg="add del mod">
          <ac:chgData name="Steiner Andreas 6206 ED" userId="e6377c33-a923-4f14-8587-531c474c7b48" providerId="ADAL" clId="{6ECD27E6-B224-41CD-B4E0-E297462320DD}" dt="2023-11-24T08:34:47.806" v="20564"/>
          <ac:spMkLst>
            <pc:docMk/>
            <pc:sldMk cId="4099999037" sldId="2147478570"/>
            <ac:spMk id="141" creationId="{709146EF-5F7D-FEC8-A454-D03347085566}"/>
          </ac:spMkLst>
        </pc:spChg>
        <pc:spChg chg="add del mod">
          <ac:chgData name="Steiner Andreas 6206 ED" userId="e6377c33-a923-4f14-8587-531c474c7b48" providerId="ADAL" clId="{6ECD27E6-B224-41CD-B4E0-E297462320DD}" dt="2023-11-24T08:34:50.229" v="20719"/>
          <ac:spMkLst>
            <pc:docMk/>
            <pc:sldMk cId="4099999037" sldId="2147478570"/>
            <ac:spMk id="142" creationId="{F52A6341-0192-E538-F54F-697D2E74BDAD}"/>
          </ac:spMkLst>
        </pc:spChg>
        <pc:spChg chg="add del mod">
          <ac:chgData name="Steiner Andreas 6206 ED" userId="e6377c33-a923-4f14-8587-531c474c7b48" providerId="ADAL" clId="{6ECD27E6-B224-41CD-B4E0-E297462320DD}" dt="2023-11-24T08:34:52.802" v="20874"/>
          <ac:spMkLst>
            <pc:docMk/>
            <pc:sldMk cId="4099999037" sldId="2147478570"/>
            <ac:spMk id="143" creationId="{87EE2374-2A88-6D66-E7BA-DF2C4451DA9F}"/>
          </ac:spMkLst>
        </pc:spChg>
        <pc:spChg chg="add del mod">
          <ac:chgData name="Steiner Andreas 6206 ED" userId="e6377c33-a923-4f14-8587-531c474c7b48" providerId="ADAL" clId="{6ECD27E6-B224-41CD-B4E0-E297462320DD}" dt="2023-11-24T08:34:55.280" v="21029"/>
          <ac:spMkLst>
            <pc:docMk/>
            <pc:sldMk cId="4099999037" sldId="2147478570"/>
            <ac:spMk id="144" creationId="{6D8BF836-F83B-C92B-5DC1-F16A3DEFF084}"/>
          </ac:spMkLst>
        </pc:spChg>
        <pc:spChg chg="add del mod">
          <ac:chgData name="Steiner Andreas 6206 ED" userId="e6377c33-a923-4f14-8587-531c474c7b48" providerId="ADAL" clId="{6ECD27E6-B224-41CD-B4E0-E297462320DD}" dt="2023-11-24T08:34:57.576" v="21184"/>
          <ac:spMkLst>
            <pc:docMk/>
            <pc:sldMk cId="4099999037" sldId="2147478570"/>
            <ac:spMk id="145" creationId="{E786F034-8008-E72F-6FB1-635C4B6CDDF8}"/>
          </ac:spMkLst>
        </pc:spChg>
        <pc:spChg chg="add del mod">
          <ac:chgData name="Steiner Andreas 6206 ED" userId="e6377c33-a923-4f14-8587-531c474c7b48" providerId="ADAL" clId="{6ECD27E6-B224-41CD-B4E0-E297462320DD}" dt="2023-11-24T08:35:00.111" v="21339"/>
          <ac:spMkLst>
            <pc:docMk/>
            <pc:sldMk cId="4099999037" sldId="2147478570"/>
            <ac:spMk id="146" creationId="{E2D919D7-52A9-40B5-A1B4-158BFC3E6200}"/>
          </ac:spMkLst>
        </pc:spChg>
        <pc:spChg chg="add del mod">
          <ac:chgData name="Steiner Andreas 6206 ED" userId="e6377c33-a923-4f14-8587-531c474c7b48" providerId="ADAL" clId="{6ECD27E6-B224-41CD-B4E0-E297462320DD}" dt="2023-11-24T08:35:02.768" v="21494"/>
          <ac:spMkLst>
            <pc:docMk/>
            <pc:sldMk cId="4099999037" sldId="2147478570"/>
            <ac:spMk id="147" creationId="{EE836FAD-5E3B-6FA9-8BA6-8AFEDEA25352}"/>
          </ac:spMkLst>
        </pc:spChg>
        <pc:spChg chg="add del mod">
          <ac:chgData name="Steiner Andreas 6206 ED" userId="e6377c33-a923-4f14-8587-531c474c7b48" providerId="ADAL" clId="{6ECD27E6-B224-41CD-B4E0-E297462320DD}" dt="2023-11-24T08:35:05.242" v="21649"/>
          <ac:spMkLst>
            <pc:docMk/>
            <pc:sldMk cId="4099999037" sldId="2147478570"/>
            <ac:spMk id="148" creationId="{8F7914C7-3D7C-490A-2684-6C4D30E67D60}"/>
          </ac:spMkLst>
        </pc:spChg>
        <pc:spChg chg="add del mod">
          <ac:chgData name="Steiner Andreas 6206 ED" userId="e6377c33-a923-4f14-8587-531c474c7b48" providerId="ADAL" clId="{6ECD27E6-B224-41CD-B4E0-E297462320DD}" dt="2023-11-24T08:35:07.760" v="21804"/>
          <ac:spMkLst>
            <pc:docMk/>
            <pc:sldMk cId="4099999037" sldId="2147478570"/>
            <ac:spMk id="149" creationId="{2D8C678C-8033-2A28-C720-42C59EE53F13}"/>
          </ac:spMkLst>
        </pc:spChg>
        <pc:spChg chg="add del mod">
          <ac:chgData name="Steiner Andreas 6206 ED" userId="e6377c33-a923-4f14-8587-531c474c7b48" providerId="ADAL" clId="{6ECD27E6-B224-41CD-B4E0-E297462320DD}" dt="2023-11-24T08:35:10.275" v="21959"/>
          <ac:spMkLst>
            <pc:docMk/>
            <pc:sldMk cId="4099999037" sldId="2147478570"/>
            <ac:spMk id="150" creationId="{6AAB1A77-5C1B-A8F0-D128-ECA45237D2A4}"/>
          </ac:spMkLst>
        </pc:spChg>
        <pc:spChg chg="add del mod">
          <ac:chgData name="Steiner Andreas 6206 ED" userId="e6377c33-a923-4f14-8587-531c474c7b48" providerId="ADAL" clId="{6ECD27E6-B224-41CD-B4E0-E297462320DD}" dt="2023-11-24T08:35:12.699" v="22114"/>
          <ac:spMkLst>
            <pc:docMk/>
            <pc:sldMk cId="4099999037" sldId="2147478570"/>
            <ac:spMk id="151" creationId="{082923FF-B2C6-ED44-8D02-40F474D6A6E3}"/>
          </ac:spMkLst>
        </pc:spChg>
        <pc:spChg chg="add del mod">
          <ac:chgData name="Steiner Andreas 6206 ED" userId="e6377c33-a923-4f14-8587-531c474c7b48" providerId="ADAL" clId="{6ECD27E6-B224-41CD-B4E0-E297462320DD}" dt="2023-11-24T08:35:14.782" v="22269"/>
          <ac:spMkLst>
            <pc:docMk/>
            <pc:sldMk cId="4099999037" sldId="2147478570"/>
            <ac:spMk id="152" creationId="{AECBF99B-42B2-6BB9-9112-5D39BB9C1D28}"/>
          </ac:spMkLst>
        </pc:spChg>
        <pc:spChg chg="add del mod">
          <ac:chgData name="Steiner Andreas 6206 ED" userId="e6377c33-a923-4f14-8587-531c474c7b48" providerId="ADAL" clId="{6ECD27E6-B224-41CD-B4E0-E297462320DD}" dt="2023-11-24T08:35:17.175" v="22424"/>
          <ac:spMkLst>
            <pc:docMk/>
            <pc:sldMk cId="4099999037" sldId="2147478570"/>
            <ac:spMk id="153" creationId="{F1296F6F-AAB7-1673-32FD-898124757C3D}"/>
          </ac:spMkLst>
        </pc:spChg>
        <pc:spChg chg="add del mod">
          <ac:chgData name="Steiner Andreas 6206 ED" userId="e6377c33-a923-4f14-8587-531c474c7b48" providerId="ADAL" clId="{6ECD27E6-B224-41CD-B4E0-E297462320DD}" dt="2023-11-24T08:35:19.618" v="22579"/>
          <ac:spMkLst>
            <pc:docMk/>
            <pc:sldMk cId="4099999037" sldId="2147478570"/>
            <ac:spMk id="154" creationId="{5962E299-76B3-A2CE-0962-6F85A0580F94}"/>
          </ac:spMkLst>
        </pc:spChg>
        <pc:spChg chg="add del mod">
          <ac:chgData name="Steiner Andreas 6206 ED" userId="e6377c33-a923-4f14-8587-531c474c7b48" providerId="ADAL" clId="{6ECD27E6-B224-41CD-B4E0-E297462320DD}" dt="2023-11-24T08:35:22.054" v="22734"/>
          <ac:spMkLst>
            <pc:docMk/>
            <pc:sldMk cId="4099999037" sldId="2147478570"/>
            <ac:spMk id="155" creationId="{91B841DC-06CA-3465-49ED-AAE5583CF4D3}"/>
          </ac:spMkLst>
        </pc:spChg>
        <pc:spChg chg="add del mod">
          <ac:chgData name="Steiner Andreas 6206 ED" userId="e6377c33-a923-4f14-8587-531c474c7b48" providerId="ADAL" clId="{6ECD27E6-B224-41CD-B4E0-E297462320DD}" dt="2023-11-24T08:35:24.362" v="22889"/>
          <ac:spMkLst>
            <pc:docMk/>
            <pc:sldMk cId="4099999037" sldId="2147478570"/>
            <ac:spMk id="156" creationId="{BCAC4598-7E36-288A-9BF0-142528852B1E}"/>
          </ac:spMkLst>
        </pc:spChg>
        <pc:spChg chg="add del mod">
          <ac:chgData name="Steiner Andreas 6206 ED" userId="e6377c33-a923-4f14-8587-531c474c7b48" providerId="ADAL" clId="{6ECD27E6-B224-41CD-B4E0-E297462320DD}" dt="2023-11-24T08:35:27.023" v="23044"/>
          <ac:spMkLst>
            <pc:docMk/>
            <pc:sldMk cId="4099999037" sldId="2147478570"/>
            <ac:spMk id="157" creationId="{7D7EF434-AD11-1694-DCC1-B7B68C861AF5}"/>
          </ac:spMkLst>
        </pc:spChg>
        <pc:spChg chg="add del mod">
          <ac:chgData name="Steiner Andreas 6206 ED" userId="e6377c33-a923-4f14-8587-531c474c7b48" providerId="ADAL" clId="{6ECD27E6-B224-41CD-B4E0-E297462320DD}" dt="2023-11-24T08:35:29.744" v="23199"/>
          <ac:spMkLst>
            <pc:docMk/>
            <pc:sldMk cId="4099999037" sldId="2147478570"/>
            <ac:spMk id="158" creationId="{F7CA1DD8-6380-B11D-FECC-474970EC30A4}"/>
          </ac:spMkLst>
        </pc:spChg>
        <pc:spChg chg="add del mod">
          <ac:chgData name="Steiner Andreas 6206 ED" userId="e6377c33-a923-4f14-8587-531c474c7b48" providerId="ADAL" clId="{6ECD27E6-B224-41CD-B4E0-E297462320DD}" dt="2023-11-24T08:35:32.093" v="23354"/>
          <ac:spMkLst>
            <pc:docMk/>
            <pc:sldMk cId="4099999037" sldId="2147478570"/>
            <ac:spMk id="159" creationId="{AA89EFA1-77BF-7B4A-CA3C-332FF681368B}"/>
          </ac:spMkLst>
        </pc:spChg>
        <pc:spChg chg="add del mod">
          <ac:chgData name="Steiner Andreas 6206 ED" userId="e6377c33-a923-4f14-8587-531c474c7b48" providerId="ADAL" clId="{6ECD27E6-B224-41CD-B4E0-E297462320DD}" dt="2023-11-24T08:35:34.497" v="23509"/>
          <ac:spMkLst>
            <pc:docMk/>
            <pc:sldMk cId="4099999037" sldId="2147478570"/>
            <ac:spMk id="160" creationId="{B3D8FCAA-5A18-95D0-01D5-664B98EE796E}"/>
          </ac:spMkLst>
        </pc:spChg>
        <pc:spChg chg="add del mod">
          <ac:chgData name="Steiner Andreas 6206 ED" userId="e6377c33-a923-4f14-8587-531c474c7b48" providerId="ADAL" clId="{6ECD27E6-B224-41CD-B4E0-E297462320DD}" dt="2023-11-24T08:35:36.815" v="23664"/>
          <ac:spMkLst>
            <pc:docMk/>
            <pc:sldMk cId="4099999037" sldId="2147478570"/>
            <ac:spMk id="161" creationId="{EB2B2F00-643D-59A3-E1D1-55C96AA04684}"/>
          </ac:spMkLst>
        </pc:spChg>
        <pc:spChg chg="add del mod">
          <ac:chgData name="Steiner Andreas 6206 ED" userId="e6377c33-a923-4f14-8587-531c474c7b48" providerId="ADAL" clId="{6ECD27E6-B224-41CD-B4E0-E297462320DD}" dt="2023-11-24T08:35:39.222" v="23819"/>
          <ac:spMkLst>
            <pc:docMk/>
            <pc:sldMk cId="4099999037" sldId="2147478570"/>
            <ac:spMk id="162" creationId="{E56BC341-EB88-8ADC-9095-366974A9B50A}"/>
          </ac:spMkLst>
        </pc:spChg>
        <pc:spChg chg="add del mod">
          <ac:chgData name="Steiner Andreas 6206 ED" userId="e6377c33-a923-4f14-8587-531c474c7b48" providerId="ADAL" clId="{6ECD27E6-B224-41CD-B4E0-E297462320DD}" dt="2023-11-24T08:35:41.888" v="23974"/>
          <ac:spMkLst>
            <pc:docMk/>
            <pc:sldMk cId="4099999037" sldId="2147478570"/>
            <ac:spMk id="163" creationId="{38CE97B7-0C6E-6675-53F3-44BDEE109CD6}"/>
          </ac:spMkLst>
        </pc:spChg>
        <pc:spChg chg="add del mod">
          <ac:chgData name="Steiner Andreas 6206 ED" userId="e6377c33-a923-4f14-8587-531c474c7b48" providerId="ADAL" clId="{6ECD27E6-B224-41CD-B4E0-E297462320DD}" dt="2023-11-24T08:35:44.357" v="24129"/>
          <ac:spMkLst>
            <pc:docMk/>
            <pc:sldMk cId="4099999037" sldId="2147478570"/>
            <ac:spMk id="164" creationId="{8BA58B8F-5CD6-D487-87A6-119766192A2A}"/>
          </ac:spMkLst>
        </pc:spChg>
        <pc:spChg chg="add del mod">
          <ac:chgData name="Steiner Andreas 6206 ED" userId="e6377c33-a923-4f14-8587-531c474c7b48" providerId="ADAL" clId="{6ECD27E6-B224-41CD-B4E0-E297462320DD}" dt="2023-11-24T08:35:46.630" v="24284"/>
          <ac:spMkLst>
            <pc:docMk/>
            <pc:sldMk cId="4099999037" sldId="2147478570"/>
            <ac:spMk id="165" creationId="{EE88B0BE-E7F5-D2BD-2784-2F965E35C4E6}"/>
          </ac:spMkLst>
        </pc:spChg>
        <pc:spChg chg="add del mod">
          <ac:chgData name="Steiner Andreas 6206 ED" userId="e6377c33-a923-4f14-8587-531c474c7b48" providerId="ADAL" clId="{6ECD27E6-B224-41CD-B4E0-E297462320DD}" dt="2023-11-24T08:35:48.858" v="24439"/>
          <ac:spMkLst>
            <pc:docMk/>
            <pc:sldMk cId="4099999037" sldId="2147478570"/>
            <ac:spMk id="166" creationId="{211D2CFD-9913-2531-6CD1-53AE45855A58}"/>
          </ac:spMkLst>
        </pc:spChg>
        <pc:spChg chg="add del mod">
          <ac:chgData name="Steiner Andreas 6206 ED" userId="e6377c33-a923-4f14-8587-531c474c7b48" providerId="ADAL" clId="{6ECD27E6-B224-41CD-B4E0-E297462320DD}" dt="2023-11-24T08:35:51.157" v="24594"/>
          <ac:spMkLst>
            <pc:docMk/>
            <pc:sldMk cId="4099999037" sldId="2147478570"/>
            <ac:spMk id="167" creationId="{944D6F03-CF3F-364A-3F85-3D4087B584C0}"/>
          </ac:spMkLst>
        </pc:spChg>
        <pc:spChg chg="add del mod">
          <ac:chgData name="Steiner Andreas 6206 ED" userId="e6377c33-a923-4f14-8587-531c474c7b48" providerId="ADAL" clId="{6ECD27E6-B224-41CD-B4E0-E297462320DD}" dt="2023-11-24T08:35:54.050" v="24749"/>
          <ac:spMkLst>
            <pc:docMk/>
            <pc:sldMk cId="4099999037" sldId="2147478570"/>
            <ac:spMk id="168" creationId="{F30F63E1-B836-6343-3451-CAA3AF5DB080}"/>
          </ac:spMkLst>
        </pc:spChg>
        <pc:spChg chg="add del mod">
          <ac:chgData name="Steiner Andreas 6206 ED" userId="e6377c33-a923-4f14-8587-531c474c7b48" providerId="ADAL" clId="{6ECD27E6-B224-41CD-B4E0-E297462320DD}" dt="2023-11-24T08:35:56.553" v="24904"/>
          <ac:spMkLst>
            <pc:docMk/>
            <pc:sldMk cId="4099999037" sldId="2147478570"/>
            <ac:spMk id="169" creationId="{40759BD7-C511-B800-7AA8-A1F6B6E43D1D}"/>
          </ac:spMkLst>
        </pc:spChg>
        <pc:spChg chg="add del mod">
          <ac:chgData name="Steiner Andreas 6206 ED" userId="e6377c33-a923-4f14-8587-531c474c7b48" providerId="ADAL" clId="{6ECD27E6-B224-41CD-B4E0-E297462320DD}" dt="2023-11-24T08:35:59.098" v="25059"/>
          <ac:spMkLst>
            <pc:docMk/>
            <pc:sldMk cId="4099999037" sldId="2147478570"/>
            <ac:spMk id="170" creationId="{0D785316-2C58-8DD8-34DB-4C8960CA6A6A}"/>
          </ac:spMkLst>
        </pc:spChg>
        <pc:spChg chg="add del mod">
          <ac:chgData name="Steiner Andreas 6206 ED" userId="e6377c33-a923-4f14-8587-531c474c7b48" providerId="ADAL" clId="{6ECD27E6-B224-41CD-B4E0-E297462320DD}" dt="2023-11-24T08:36:01.580" v="25214"/>
          <ac:spMkLst>
            <pc:docMk/>
            <pc:sldMk cId="4099999037" sldId="2147478570"/>
            <ac:spMk id="171" creationId="{7B9AF382-1F48-8AB7-ABE3-F183D4612F00}"/>
          </ac:spMkLst>
        </pc:spChg>
        <pc:spChg chg="add del mod">
          <ac:chgData name="Steiner Andreas 6206 ED" userId="e6377c33-a923-4f14-8587-531c474c7b48" providerId="ADAL" clId="{6ECD27E6-B224-41CD-B4E0-E297462320DD}" dt="2023-11-24T08:36:04.164" v="25369"/>
          <ac:spMkLst>
            <pc:docMk/>
            <pc:sldMk cId="4099999037" sldId="2147478570"/>
            <ac:spMk id="172" creationId="{5704E7CA-B1E5-41F8-2C93-88F8EF3F7283}"/>
          </ac:spMkLst>
        </pc:spChg>
        <pc:spChg chg="add del mod">
          <ac:chgData name="Steiner Andreas 6206 ED" userId="e6377c33-a923-4f14-8587-531c474c7b48" providerId="ADAL" clId="{6ECD27E6-B224-41CD-B4E0-E297462320DD}" dt="2023-11-24T08:36:06.686" v="25524"/>
          <ac:spMkLst>
            <pc:docMk/>
            <pc:sldMk cId="4099999037" sldId="2147478570"/>
            <ac:spMk id="173" creationId="{BC5B601C-292A-0F0E-80FE-71672789AE2B}"/>
          </ac:spMkLst>
        </pc:spChg>
        <pc:spChg chg="add del mod">
          <ac:chgData name="Steiner Andreas 6206 ED" userId="e6377c33-a923-4f14-8587-531c474c7b48" providerId="ADAL" clId="{6ECD27E6-B224-41CD-B4E0-E297462320DD}" dt="2023-11-24T08:36:09.208" v="25679"/>
          <ac:spMkLst>
            <pc:docMk/>
            <pc:sldMk cId="4099999037" sldId="2147478570"/>
            <ac:spMk id="174" creationId="{61B80C09-B1AA-F343-86B8-8D99CDD1099E}"/>
          </ac:spMkLst>
        </pc:spChg>
        <pc:spChg chg="add del mod">
          <ac:chgData name="Steiner Andreas 6206 ED" userId="e6377c33-a923-4f14-8587-531c474c7b48" providerId="ADAL" clId="{6ECD27E6-B224-41CD-B4E0-E297462320DD}" dt="2023-11-24T08:36:11.742" v="25834"/>
          <ac:spMkLst>
            <pc:docMk/>
            <pc:sldMk cId="4099999037" sldId="2147478570"/>
            <ac:spMk id="175" creationId="{4B307E13-87F8-94CB-447F-DCFBF7A02817}"/>
          </ac:spMkLst>
        </pc:spChg>
        <pc:spChg chg="add del mod">
          <ac:chgData name="Steiner Andreas 6206 ED" userId="e6377c33-a923-4f14-8587-531c474c7b48" providerId="ADAL" clId="{6ECD27E6-B224-41CD-B4E0-E297462320DD}" dt="2023-11-24T08:36:14.133" v="25989"/>
          <ac:spMkLst>
            <pc:docMk/>
            <pc:sldMk cId="4099999037" sldId="2147478570"/>
            <ac:spMk id="176" creationId="{290EA922-B495-4C4D-424C-E28B608C7FA3}"/>
          </ac:spMkLst>
        </pc:spChg>
        <pc:spChg chg="add del mod">
          <ac:chgData name="Steiner Andreas 6206 ED" userId="e6377c33-a923-4f14-8587-531c474c7b48" providerId="ADAL" clId="{6ECD27E6-B224-41CD-B4E0-E297462320DD}" dt="2023-11-24T08:36:16.936" v="26144"/>
          <ac:spMkLst>
            <pc:docMk/>
            <pc:sldMk cId="4099999037" sldId="2147478570"/>
            <ac:spMk id="177" creationId="{EE71FBB5-2B1D-5362-644C-C0D37F885384}"/>
          </ac:spMkLst>
        </pc:spChg>
        <pc:spChg chg="add del mod">
          <ac:chgData name="Steiner Andreas 6206 ED" userId="e6377c33-a923-4f14-8587-531c474c7b48" providerId="ADAL" clId="{6ECD27E6-B224-41CD-B4E0-E297462320DD}" dt="2023-11-24T08:36:19.366" v="26299"/>
          <ac:spMkLst>
            <pc:docMk/>
            <pc:sldMk cId="4099999037" sldId="2147478570"/>
            <ac:spMk id="178" creationId="{E3EF3C1F-2E07-CA41-2FF1-FC075FEC8738}"/>
          </ac:spMkLst>
        </pc:spChg>
        <pc:spChg chg="add del mod">
          <ac:chgData name="Steiner Andreas 6206 ED" userId="e6377c33-a923-4f14-8587-531c474c7b48" providerId="ADAL" clId="{6ECD27E6-B224-41CD-B4E0-E297462320DD}" dt="2023-11-24T08:36:21.610" v="26454"/>
          <ac:spMkLst>
            <pc:docMk/>
            <pc:sldMk cId="4099999037" sldId="2147478570"/>
            <ac:spMk id="179" creationId="{FC13FF98-1969-E623-E49B-219DD211ED1A}"/>
          </ac:spMkLst>
        </pc:spChg>
        <pc:spChg chg="add del mod">
          <ac:chgData name="Steiner Andreas 6206 ED" userId="e6377c33-a923-4f14-8587-531c474c7b48" providerId="ADAL" clId="{6ECD27E6-B224-41CD-B4E0-E297462320DD}" dt="2023-11-24T08:36:24.121" v="26609"/>
          <ac:spMkLst>
            <pc:docMk/>
            <pc:sldMk cId="4099999037" sldId="2147478570"/>
            <ac:spMk id="180" creationId="{85C58F52-E8BE-844B-0285-408A249BABFF}"/>
          </ac:spMkLst>
        </pc:spChg>
        <pc:spChg chg="add del mod">
          <ac:chgData name="Steiner Andreas 6206 ED" userId="e6377c33-a923-4f14-8587-531c474c7b48" providerId="ADAL" clId="{6ECD27E6-B224-41CD-B4E0-E297462320DD}" dt="2023-11-24T08:36:26.638" v="26764"/>
          <ac:spMkLst>
            <pc:docMk/>
            <pc:sldMk cId="4099999037" sldId="2147478570"/>
            <ac:spMk id="181" creationId="{508D2B76-0EDD-EB62-BE66-AE8151909425}"/>
          </ac:spMkLst>
        </pc:spChg>
        <pc:spChg chg="add del mod">
          <ac:chgData name="Steiner Andreas 6206 ED" userId="e6377c33-a923-4f14-8587-531c474c7b48" providerId="ADAL" clId="{6ECD27E6-B224-41CD-B4E0-E297462320DD}" dt="2023-11-24T08:36:29.557" v="26919"/>
          <ac:spMkLst>
            <pc:docMk/>
            <pc:sldMk cId="4099999037" sldId="2147478570"/>
            <ac:spMk id="182" creationId="{0BEBE088-7C1D-7639-0256-C6D80662D814}"/>
          </ac:spMkLst>
        </pc:spChg>
        <pc:spChg chg="add del mod">
          <ac:chgData name="Steiner Andreas 6206 ED" userId="e6377c33-a923-4f14-8587-531c474c7b48" providerId="ADAL" clId="{6ECD27E6-B224-41CD-B4E0-E297462320DD}" dt="2023-11-24T08:36:32.253" v="27074"/>
          <ac:spMkLst>
            <pc:docMk/>
            <pc:sldMk cId="4099999037" sldId="2147478570"/>
            <ac:spMk id="183" creationId="{3A20DE4C-BDED-CA1D-24EB-AA0FA8FF6A5D}"/>
          </ac:spMkLst>
        </pc:spChg>
        <pc:spChg chg="add del mod">
          <ac:chgData name="Steiner Andreas 6206 ED" userId="e6377c33-a923-4f14-8587-531c474c7b48" providerId="ADAL" clId="{6ECD27E6-B224-41CD-B4E0-E297462320DD}" dt="2023-11-24T08:36:34.790" v="27229"/>
          <ac:spMkLst>
            <pc:docMk/>
            <pc:sldMk cId="4099999037" sldId="2147478570"/>
            <ac:spMk id="184" creationId="{C356F2C3-A1A2-0095-47C2-AA9D8F0D5A76}"/>
          </ac:spMkLst>
        </pc:spChg>
        <pc:spChg chg="add del mod">
          <ac:chgData name="Steiner Andreas 6206 ED" userId="e6377c33-a923-4f14-8587-531c474c7b48" providerId="ADAL" clId="{6ECD27E6-B224-41CD-B4E0-E297462320DD}" dt="2023-11-24T08:36:37.318" v="27384"/>
          <ac:spMkLst>
            <pc:docMk/>
            <pc:sldMk cId="4099999037" sldId="2147478570"/>
            <ac:spMk id="185" creationId="{0C27F0C1-1813-5ADF-CDA2-297D031EC68E}"/>
          </ac:spMkLst>
        </pc:spChg>
        <pc:spChg chg="add del mod">
          <ac:chgData name="Steiner Andreas 6206 ED" userId="e6377c33-a923-4f14-8587-531c474c7b48" providerId="ADAL" clId="{6ECD27E6-B224-41CD-B4E0-E297462320DD}" dt="2023-11-24T08:36:39.895" v="27539"/>
          <ac:spMkLst>
            <pc:docMk/>
            <pc:sldMk cId="4099999037" sldId="2147478570"/>
            <ac:spMk id="186" creationId="{135B735A-3C85-CBF1-BC7D-5DB5D2C67482}"/>
          </ac:spMkLst>
        </pc:spChg>
        <pc:spChg chg="add del mod">
          <ac:chgData name="Steiner Andreas 6206 ED" userId="e6377c33-a923-4f14-8587-531c474c7b48" providerId="ADAL" clId="{6ECD27E6-B224-41CD-B4E0-E297462320DD}" dt="2023-11-24T08:36:42.681" v="27694"/>
          <ac:spMkLst>
            <pc:docMk/>
            <pc:sldMk cId="4099999037" sldId="2147478570"/>
            <ac:spMk id="187" creationId="{4A9C0E1C-DF80-59C9-4872-83CA92440CF2}"/>
          </ac:spMkLst>
        </pc:spChg>
        <pc:spChg chg="add del mod">
          <ac:chgData name="Steiner Andreas 6206 ED" userId="e6377c33-a923-4f14-8587-531c474c7b48" providerId="ADAL" clId="{6ECD27E6-B224-41CD-B4E0-E297462320DD}" dt="2023-11-24T08:36:45.194" v="27849"/>
          <ac:spMkLst>
            <pc:docMk/>
            <pc:sldMk cId="4099999037" sldId="2147478570"/>
            <ac:spMk id="188" creationId="{0BC90A26-9302-2302-3D76-B0305ABD684E}"/>
          </ac:spMkLst>
        </pc:spChg>
        <pc:spChg chg="add del mod">
          <ac:chgData name="Steiner Andreas 6206 ED" userId="e6377c33-a923-4f14-8587-531c474c7b48" providerId="ADAL" clId="{6ECD27E6-B224-41CD-B4E0-E297462320DD}" dt="2023-11-24T08:36:47.603" v="28004"/>
          <ac:spMkLst>
            <pc:docMk/>
            <pc:sldMk cId="4099999037" sldId="2147478570"/>
            <ac:spMk id="189" creationId="{3556698A-4C58-E9C3-3DA6-349516B3DAF9}"/>
          </ac:spMkLst>
        </pc:spChg>
        <pc:spChg chg="add del mod">
          <ac:chgData name="Steiner Andreas 6206 ED" userId="e6377c33-a923-4f14-8587-531c474c7b48" providerId="ADAL" clId="{6ECD27E6-B224-41CD-B4E0-E297462320DD}" dt="2023-11-24T08:36:50.060" v="28159"/>
          <ac:spMkLst>
            <pc:docMk/>
            <pc:sldMk cId="4099999037" sldId="2147478570"/>
            <ac:spMk id="190" creationId="{D40C50E8-DFFA-913C-D5C5-22A1DB6C6282}"/>
          </ac:spMkLst>
        </pc:spChg>
        <pc:spChg chg="add del mod">
          <ac:chgData name="Steiner Andreas 6206 ED" userId="e6377c33-a923-4f14-8587-531c474c7b48" providerId="ADAL" clId="{6ECD27E6-B224-41CD-B4E0-E297462320DD}" dt="2023-11-24T08:36:53.102" v="28314"/>
          <ac:spMkLst>
            <pc:docMk/>
            <pc:sldMk cId="4099999037" sldId="2147478570"/>
            <ac:spMk id="191" creationId="{4D6A0B39-0852-0B56-6B92-56A918FE40C5}"/>
          </ac:spMkLst>
        </pc:spChg>
        <pc:spChg chg="add del mod">
          <ac:chgData name="Steiner Andreas 6206 ED" userId="e6377c33-a923-4f14-8587-531c474c7b48" providerId="ADAL" clId="{6ECD27E6-B224-41CD-B4E0-E297462320DD}" dt="2023-11-24T08:36:56.177" v="28469"/>
          <ac:spMkLst>
            <pc:docMk/>
            <pc:sldMk cId="4099999037" sldId="2147478570"/>
            <ac:spMk id="192" creationId="{9837BC27-2EC0-7ED3-97B2-6E770C693C8F}"/>
          </ac:spMkLst>
        </pc:spChg>
        <pc:spChg chg="add del mod">
          <ac:chgData name="Steiner Andreas 6206 ED" userId="e6377c33-a923-4f14-8587-531c474c7b48" providerId="ADAL" clId="{6ECD27E6-B224-41CD-B4E0-E297462320DD}" dt="2023-11-24T08:36:58.995" v="28624"/>
          <ac:spMkLst>
            <pc:docMk/>
            <pc:sldMk cId="4099999037" sldId="2147478570"/>
            <ac:spMk id="193" creationId="{A32D3A63-2C58-B812-1768-060EB57C1230}"/>
          </ac:spMkLst>
        </pc:spChg>
        <pc:spChg chg="add del mod">
          <ac:chgData name="Steiner Andreas 6206 ED" userId="e6377c33-a923-4f14-8587-531c474c7b48" providerId="ADAL" clId="{6ECD27E6-B224-41CD-B4E0-E297462320DD}" dt="2023-11-24T08:37:01.703" v="28779"/>
          <ac:spMkLst>
            <pc:docMk/>
            <pc:sldMk cId="4099999037" sldId="2147478570"/>
            <ac:spMk id="194" creationId="{430BB41D-9496-C41E-F6EA-0DCCBC25C696}"/>
          </ac:spMkLst>
        </pc:spChg>
        <pc:spChg chg="add del mod">
          <ac:chgData name="Steiner Andreas 6206 ED" userId="e6377c33-a923-4f14-8587-531c474c7b48" providerId="ADAL" clId="{6ECD27E6-B224-41CD-B4E0-E297462320DD}" dt="2023-11-24T08:37:04.475" v="28934"/>
          <ac:spMkLst>
            <pc:docMk/>
            <pc:sldMk cId="4099999037" sldId="2147478570"/>
            <ac:spMk id="195" creationId="{7832F121-1FCF-392B-D374-3CB18A190EC2}"/>
          </ac:spMkLst>
        </pc:spChg>
        <pc:spChg chg="add del mod">
          <ac:chgData name="Steiner Andreas 6206 ED" userId="e6377c33-a923-4f14-8587-531c474c7b48" providerId="ADAL" clId="{6ECD27E6-B224-41CD-B4E0-E297462320DD}" dt="2023-11-24T08:37:07.318" v="29089"/>
          <ac:spMkLst>
            <pc:docMk/>
            <pc:sldMk cId="4099999037" sldId="2147478570"/>
            <ac:spMk id="196" creationId="{23F3C147-21E6-287C-0FFF-DDA5F18C3907}"/>
          </ac:spMkLst>
        </pc:spChg>
        <pc:spChg chg="add del mod">
          <ac:chgData name="Steiner Andreas 6206 ED" userId="e6377c33-a923-4f14-8587-531c474c7b48" providerId="ADAL" clId="{6ECD27E6-B224-41CD-B4E0-E297462320DD}" dt="2023-11-24T08:37:09.867" v="29244"/>
          <ac:spMkLst>
            <pc:docMk/>
            <pc:sldMk cId="4099999037" sldId="2147478570"/>
            <ac:spMk id="197" creationId="{ACBD4EA1-C572-EAFF-8D97-0B83C881198C}"/>
          </ac:spMkLst>
        </pc:spChg>
        <pc:spChg chg="add del mod">
          <ac:chgData name="Steiner Andreas 6206 ED" userId="e6377c33-a923-4f14-8587-531c474c7b48" providerId="ADAL" clId="{6ECD27E6-B224-41CD-B4E0-E297462320DD}" dt="2023-11-24T08:37:12.620" v="29399"/>
          <ac:spMkLst>
            <pc:docMk/>
            <pc:sldMk cId="4099999037" sldId="2147478570"/>
            <ac:spMk id="198" creationId="{E577EE2A-DA67-851F-EAF0-1F1ABE302065}"/>
          </ac:spMkLst>
        </pc:spChg>
        <pc:spChg chg="add del mod">
          <ac:chgData name="Steiner Andreas 6206 ED" userId="e6377c33-a923-4f14-8587-531c474c7b48" providerId="ADAL" clId="{6ECD27E6-B224-41CD-B4E0-E297462320DD}" dt="2023-11-24T08:37:15.944" v="29554"/>
          <ac:spMkLst>
            <pc:docMk/>
            <pc:sldMk cId="4099999037" sldId="2147478570"/>
            <ac:spMk id="199" creationId="{EFA9D9B2-3D9E-129C-3175-AF2AE1E10192}"/>
          </ac:spMkLst>
        </pc:spChg>
        <pc:spChg chg="add del mod">
          <ac:chgData name="Steiner Andreas 6206 ED" userId="e6377c33-a923-4f14-8587-531c474c7b48" providerId="ADAL" clId="{6ECD27E6-B224-41CD-B4E0-E297462320DD}" dt="2023-11-24T08:37:18.689" v="29709"/>
          <ac:spMkLst>
            <pc:docMk/>
            <pc:sldMk cId="4099999037" sldId="2147478570"/>
            <ac:spMk id="200" creationId="{78C29014-1B4D-143E-391B-76B115701975}"/>
          </ac:spMkLst>
        </pc:spChg>
        <pc:spChg chg="add del mod">
          <ac:chgData name="Steiner Andreas 6206 ED" userId="e6377c33-a923-4f14-8587-531c474c7b48" providerId="ADAL" clId="{6ECD27E6-B224-41CD-B4E0-E297462320DD}" dt="2023-11-24T08:37:21.189" v="29864"/>
          <ac:spMkLst>
            <pc:docMk/>
            <pc:sldMk cId="4099999037" sldId="2147478570"/>
            <ac:spMk id="201" creationId="{B90B40D5-AFF7-45FF-6630-3856AA6CEF18}"/>
          </ac:spMkLst>
        </pc:spChg>
        <pc:spChg chg="add del mod">
          <ac:chgData name="Steiner Andreas 6206 ED" userId="e6377c33-a923-4f14-8587-531c474c7b48" providerId="ADAL" clId="{6ECD27E6-B224-41CD-B4E0-E297462320DD}" dt="2023-11-24T08:37:24.041" v="30019"/>
          <ac:spMkLst>
            <pc:docMk/>
            <pc:sldMk cId="4099999037" sldId="2147478570"/>
            <ac:spMk id="202" creationId="{10AFC69D-7ED1-ABC1-D5A1-717046528B96}"/>
          </ac:spMkLst>
        </pc:spChg>
        <pc:spChg chg="add del mod">
          <ac:chgData name="Steiner Andreas 6206 ED" userId="e6377c33-a923-4f14-8587-531c474c7b48" providerId="ADAL" clId="{6ECD27E6-B224-41CD-B4E0-E297462320DD}" dt="2023-11-24T08:37:26.553" v="30174"/>
          <ac:spMkLst>
            <pc:docMk/>
            <pc:sldMk cId="4099999037" sldId="2147478570"/>
            <ac:spMk id="203" creationId="{3E2005E3-4A75-BF3A-21B0-6BDD3D37BA0D}"/>
          </ac:spMkLst>
        </pc:spChg>
        <pc:spChg chg="add del mod">
          <ac:chgData name="Steiner Andreas 6206 ED" userId="e6377c33-a923-4f14-8587-531c474c7b48" providerId="ADAL" clId="{6ECD27E6-B224-41CD-B4E0-E297462320DD}" dt="2023-11-24T08:37:29.769" v="30329"/>
          <ac:spMkLst>
            <pc:docMk/>
            <pc:sldMk cId="4099999037" sldId="2147478570"/>
            <ac:spMk id="204" creationId="{43115744-71F8-6793-CDDF-13762F4BA5DD}"/>
          </ac:spMkLst>
        </pc:spChg>
        <pc:spChg chg="add del mod">
          <ac:chgData name="Steiner Andreas 6206 ED" userId="e6377c33-a923-4f14-8587-531c474c7b48" providerId="ADAL" clId="{6ECD27E6-B224-41CD-B4E0-E297462320DD}" dt="2023-11-24T08:37:32.735" v="30484"/>
          <ac:spMkLst>
            <pc:docMk/>
            <pc:sldMk cId="4099999037" sldId="2147478570"/>
            <ac:spMk id="205" creationId="{957D91D2-D7FB-C61E-AA6F-7D72F439B93D}"/>
          </ac:spMkLst>
        </pc:spChg>
        <pc:spChg chg="add del mod">
          <ac:chgData name="Steiner Andreas 6206 ED" userId="e6377c33-a923-4f14-8587-531c474c7b48" providerId="ADAL" clId="{6ECD27E6-B224-41CD-B4E0-E297462320DD}" dt="2023-11-24T08:37:35.321" v="30639"/>
          <ac:spMkLst>
            <pc:docMk/>
            <pc:sldMk cId="4099999037" sldId="2147478570"/>
            <ac:spMk id="206" creationId="{C24E70C4-F441-0BD6-FA53-6BB4B49F90D9}"/>
          </ac:spMkLst>
        </pc:spChg>
        <pc:spChg chg="add del mod">
          <ac:chgData name="Steiner Andreas 6206 ED" userId="e6377c33-a923-4f14-8587-531c474c7b48" providerId="ADAL" clId="{6ECD27E6-B224-41CD-B4E0-E297462320DD}" dt="2023-11-24T08:37:37.988" v="30794"/>
          <ac:spMkLst>
            <pc:docMk/>
            <pc:sldMk cId="4099999037" sldId="2147478570"/>
            <ac:spMk id="207" creationId="{972526DB-E734-84B6-3CFA-E69DCC44D18B}"/>
          </ac:spMkLst>
        </pc:spChg>
        <pc:spChg chg="add del mod">
          <ac:chgData name="Steiner Andreas 6206 ED" userId="e6377c33-a923-4f14-8587-531c474c7b48" providerId="ADAL" clId="{6ECD27E6-B224-41CD-B4E0-E297462320DD}" dt="2023-11-24T08:37:41.775" v="30949"/>
          <ac:spMkLst>
            <pc:docMk/>
            <pc:sldMk cId="4099999037" sldId="2147478570"/>
            <ac:spMk id="208" creationId="{ACBFF43B-36D8-DE45-4E04-2F8D24CBE498}"/>
          </ac:spMkLst>
        </pc:spChg>
        <pc:spChg chg="add del mod">
          <ac:chgData name="Steiner Andreas 6206 ED" userId="e6377c33-a923-4f14-8587-531c474c7b48" providerId="ADAL" clId="{6ECD27E6-B224-41CD-B4E0-E297462320DD}" dt="2023-11-24T08:37:44.933" v="31104"/>
          <ac:spMkLst>
            <pc:docMk/>
            <pc:sldMk cId="4099999037" sldId="2147478570"/>
            <ac:spMk id="209" creationId="{03EF9182-235A-D2A2-2126-1047A6F4621C}"/>
          </ac:spMkLst>
        </pc:spChg>
        <pc:spChg chg="add del mod">
          <ac:chgData name="Steiner Andreas 6206 ED" userId="e6377c33-a923-4f14-8587-531c474c7b48" providerId="ADAL" clId="{6ECD27E6-B224-41CD-B4E0-E297462320DD}" dt="2023-11-24T08:37:47.717" v="31259"/>
          <ac:spMkLst>
            <pc:docMk/>
            <pc:sldMk cId="4099999037" sldId="2147478570"/>
            <ac:spMk id="210" creationId="{F1AA2C38-AB18-091E-A62E-37D31778992F}"/>
          </ac:spMkLst>
        </pc:spChg>
        <pc:spChg chg="add del mod">
          <ac:chgData name="Steiner Andreas 6206 ED" userId="e6377c33-a923-4f14-8587-531c474c7b48" providerId="ADAL" clId="{6ECD27E6-B224-41CD-B4E0-E297462320DD}" dt="2023-11-24T08:37:50.486" v="31414"/>
          <ac:spMkLst>
            <pc:docMk/>
            <pc:sldMk cId="4099999037" sldId="2147478570"/>
            <ac:spMk id="211" creationId="{243C759D-5EA5-772B-D57A-858C2813A85B}"/>
          </ac:spMkLst>
        </pc:spChg>
        <pc:spChg chg="add del mod">
          <ac:chgData name="Steiner Andreas 6206 ED" userId="e6377c33-a923-4f14-8587-531c474c7b48" providerId="ADAL" clId="{6ECD27E6-B224-41CD-B4E0-E297462320DD}" dt="2023-11-24T08:37:53.079" v="31569"/>
          <ac:spMkLst>
            <pc:docMk/>
            <pc:sldMk cId="4099999037" sldId="2147478570"/>
            <ac:spMk id="212" creationId="{E96F2630-2E27-0563-5950-07288802B904}"/>
          </ac:spMkLst>
        </pc:spChg>
        <pc:spChg chg="add del mod">
          <ac:chgData name="Steiner Andreas 6206 ED" userId="e6377c33-a923-4f14-8587-531c474c7b48" providerId="ADAL" clId="{6ECD27E6-B224-41CD-B4E0-E297462320DD}" dt="2023-11-24T08:37:57.169" v="31724"/>
          <ac:spMkLst>
            <pc:docMk/>
            <pc:sldMk cId="4099999037" sldId="2147478570"/>
            <ac:spMk id="213" creationId="{FBAD1D1A-1C88-E245-D35E-AE332FB39C9C}"/>
          </ac:spMkLst>
        </pc:spChg>
        <pc:spChg chg="add del mod">
          <ac:chgData name="Steiner Andreas 6206 ED" userId="e6377c33-a923-4f14-8587-531c474c7b48" providerId="ADAL" clId="{6ECD27E6-B224-41CD-B4E0-E297462320DD}" dt="2023-11-24T08:37:59.954" v="31879"/>
          <ac:spMkLst>
            <pc:docMk/>
            <pc:sldMk cId="4099999037" sldId="2147478570"/>
            <ac:spMk id="214" creationId="{8D3DA699-EE86-F7BB-DDD0-3A345A01F14F}"/>
          </ac:spMkLst>
        </pc:spChg>
        <pc:spChg chg="add del mod">
          <ac:chgData name="Steiner Andreas 6206 ED" userId="e6377c33-a923-4f14-8587-531c474c7b48" providerId="ADAL" clId="{6ECD27E6-B224-41CD-B4E0-E297462320DD}" dt="2023-11-24T08:38:02.936" v="32034"/>
          <ac:spMkLst>
            <pc:docMk/>
            <pc:sldMk cId="4099999037" sldId="2147478570"/>
            <ac:spMk id="215" creationId="{4F0B2711-5950-884A-3802-A92CE4D7E227}"/>
          </ac:spMkLst>
        </pc:spChg>
        <pc:spChg chg="add del mod">
          <ac:chgData name="Steiner Andreas 6206 ED" userId="e6377c33-a923-4f14-8587-531c474c7b48" providerId="ADAL" clId="{6ECD27E6-B224-41CD-B4E0-E297462320DD}" dt="2023-11-24T08:38:05.810" v="32189"/>
          <ac:spMkLst>
            <pc:docMk/>
            <pc:sldMk cId="4099999037" sldId="2147478570"/>
            <ac:spMk id="216" creationId="{8D10874B-6D4C-EE00-E256-88D3A57D4996}"/>
          </ac:spMkLst>
        </pc:spChg>
        <pc:spChg chg="add del mod">
          <ac:chgData name="Steiner Andreas 6206 ED" userId="e6377c33-a923-4f14-8587-531c474c7b48" providerId="ADAL" clId="{6ECD27E6-B224-41CD-B4E0-E297462320DD}" dt="2023-11-24T08:38:08.960" v="32344"/>
          <ac:spMkLst>
            <pc:docMk/>
            <pc:sldMk cId="4099999037" sldId="2147478570"/>
            <ac:spMk id="217" creationId="{88F783EB-D2BC-2B39-D220-2E1ECEA21E60}"/>
          </ac:spMkLst>
        </pc:spChg>
        <pc:spChg chg="add del mod">
          <ac:chgData name="Steiner Andreas 6206 ED" userId="e6377c33-a923-4f14-8587-531c474c7b48" providerId="ADAL" clId="{6ECD27E6-B224-41CD-B4E0-E297462320DD}" dt="2023-11-24T08:38:11.706" v="32499"/>
          <ac:spMkLst>
            <pc:docMk/>
            <pc:sldMk cId="4099999037" sldId="2147478570"/>
            <ac:spMk id="218" creationId="{21C39F34-B640-BC59-9350-FD4472695864}"/>
          </ac:spMkLst>
        </pc:spChg>
        <pc:spChg chg="add del mod">
          <ac:chgData name="Steiner Andreas 6206 ED" userId="e6377c33-a923-4f14-8587-531c474c7b48" providerId="ADAL" clId="{6ECD27E6-B224-41CD-B4E0-E297462320DD}" dt="2023-11-24T08:38:14.355" v="32654"/>
          <ac:spMkLst>
            <pc:docMk/>
            <pc:sldMk cId="4099999037" sldId="2147478570"/>
            <ac:spMk id="219" creationId="{0CE1ACDB-04EA-89B3-828C-8C04E7D765E3}"/>
          </ac:spMkLst>
        </pc:spChg>
        <pc:spChg chg="add del mod">
          <ac:chgData name="Steiner Andreas 6206 ED" userId="e6377c33-a923-4f14-8587-531c474c7b48" providerId="ADAL" clId="{6ECD27E6-B224-41CD-B4E0-E297462320DD}" dt="2023-11-24T08:38:17.020" v="32809"/>
          <ac:spMkLst>
            <pc:docMk/>
            <pc:sldMk cId="4099999037" sldId="2147478570"/>
            <ac:spMk id="220" creationId="{8ED07FAB-70A0-184E-C825-D3810CE4F30F}"/>
          </ac:spMkLst>
        </pc:spChg>
        <pc:spChg chg="add del mod">
          <ac:chgData name="Steiner Andreas 6206 ED" userId="e6377c33-a923-4f14-8587-531c474c7b48" providerId="ADAL" clId="{6ECD27E6-B224-41CD-B4E0-E297462320DD}" dt="2023-11-24T08:38:20.070" v="32964"/>
          <ac:spMkLst>
            <pc:docMk/>
            <pc:sldMk cId="4099999037" sldId="2147478570"/>
            <ac:spMk id="221" creationId="{321C3EE3-50E3-E274-C20A-03173115C5C1}"/>
          </ac:spMkLst>
        </pc:spChg>
        <pc:spChg chg="add del mod">
          <ac:chgData name="Steiner Andreas 6206 ED" userId="e6377c33-a923-4f14-8587-531c474c7b48" providerId="ADAL" clId="{6ECD27E6-B224-41CD-B4E0-E297462320DD}" dt="2023-11-24T08:38:22.888" v="33119"/>
          <ac:spMkLst>
            <pc:docMk/>
            <pc:sldMk cId="4099999037" sldId="2147478570"/>
            <ac:spMk id="222" creationId="{C0C9777F-855B-8644-9B2E-FBF3F9686405}"/>
          </ac:spMkLst>
        </pc:spChg>
        <pc:spChg chg="add del mod">
          <ac:chgData name="Steiner Andreas 6206 ED" userId="e6377c33-a923-4f14-8587-531c474c7b48" providerId="ADAL" clId="{6ECD27E6-B224-41CD-B4E0-E297462320DD}" dt="2023-11-24T08:38:25.660" v="33274"/>
          <ac:spMkLst>
            <pc:docMk/>
            <pc:sldMk cId="4099999037" sldId="2147478570"/>
            <ac:spMk id="223" creationId="{51B8063E-E9BE-CC50-75FA-E4A173535704}"/>
          </ac:spMkLst>
        </pc:spChg>
        <pc:spChg chg="add del mod">
          <ac:chgData name="Steiner Andreas 6206 ED" userId="e6377c33-a923-4f14-8587-531c474c7b48" providerId="ADAL" clId="{6ECD27E6-B224-41CD-B4E0-E297462320DD}" dt="2023-11-24T08:38:29.247" v="33429"/>
          <ac:spMkLst>
            <pc:docMk/>
            <pc:sldMk cId="4099999037" sldId="2147478570"/>
            <ac:spMk id="224" creationId="{1A1432B6-16E3-C234-165A-63DEE292F1DA}"/>
          </ac:spMkLst>
        </pc:spChg>
        <pc:spChg chg="add del mod">
          <ac:chgData name="Steiner Andreas 6206 ED" userId="e6377c33-a923-4f14-8587-531c474c7b48" providerId="ADAL" clId="{6ECD27E6-B224-41CD-B4E0-E297462320DD}" dt="2023-11-24T08:38:32.412" v="33584"/>
          <ac:spMkLst>
            <pc:docMk/>
            <pc:sldMk cId="4099999037" sldId="2147478570"/>
            <ac:spMk id="225" creationId="{D220F729-BD49-5074-9399-BE689F57AF51}"/>
          </ac:spMkLst>
        </pc:spChg>
        <pc:spChg chg="add del mod">
          <ac:chgData name="Steiner Andreas 6206 ED" userId="e6377c33-a923-4f14-8587-531c474c7b48" providerId="ADAL" clId="{6ECD27E6-B224-41CD-B4E0-E297462320DD}" dt="2023-11-24T08:38:35.106" v="33739"/>
          <ac:spMkLst>
            <pc:docMk/>
            <pc:sldMk cId="4099999037" sldId="2147478570"/>
            <ac:spMk id="226" creationId="{8C57E50F-21F2-42A2-BA7C-13C98B60FB3A}"/>
          </ac:spMkLst>
        </pc:spChg>
        <pc:spChg chg="add del mod">
          <ac:chgData name="Steiner Andreas 6206 ED" userId="e6377c33-a923-4f14-8587-531c474c7b48" providerId="ADAL" clId="{6ECD27E6-B224-41CD-B4E0-E297462320DD}" dt="2023-11-24T08:38:37.770" v="33894"/>
          <ac:spMkLst>
            <pc:docMk/>
            <pc:sldMk cId="4099999037" sldId="2147478570"/>
            <ac:spMk id="227" creationId="{E18AAA47-F201-4ECA-854B-FF8F86A77CB5}"/>
          </ac:spMkLst>
        </pc:spChg>
        <pc:spChg chg="add del mod">
          <ac:chgData name="Steiner Andreas 6206 ED" userId="e6377c33-a923-4f14-8587-531c474c7b48" providerId="ADAL" clId="{6ECD27E6-B224-41CD-B4E0-E297462320DD}" dt="2023-11-24T08:38:40.308" v="34049"/>
          <ac:spMkLst>
            <pc:docMk/>
            <pc:sldMk cId="4099999037" sldId="2147478570"/>
            <ac:spMk id="228" creationId="{46810F97-E9D2-0FA4-B8FE-2FB832753E7E}"/>
          </ac:spMkLst>
        </pc:spChg>
        <pc:spChg chg="add del mod">
          <ac:chgData name="Steiner Andreas 6206 ED" userId="e6377c33-a923-4f14-8587-531c474c7b48" providerId="ADAL" clId="{6ECD27E6-B224-41CD-B4E0-E297462320DD}" dt="2023-11-24T08:38:42.773" v="34204"/>
          <ac:spMkLst>
            <pc:docMk/>
            <pc:sldMk cId="4099999037" sldId="2147478570"/>
            <ac:spMk id="229" creationId="{77B4E468-85FC-4A8E-FC74-A743877F8BAF}"/>
          </ac:spMkLst>
        </pc:spChg>
        <pc:spChg chg="add del mod">
          <ac:chgData name="Steiner Andreas 6206 ED" userId="e6377c33-a923-4f14-8587-531c474c7b48" providerId="ADAL" clId="{6ECD27E6-B224-41CD-B4E0-E297462320DD}" dt="2023-11-24T08:38:46.824" v="34359"/>
          <ac:spMkLst>
            <pc:docMk/>
            <pc:sldMk cId="4099999037" sldId="2147478570"/>
            <ac:spMk id="230" creationId="{1C3E1274-0EA0-F5F0-945A-4A57F3BF1023}"/>
          </ac:spMkLst>
        </pc:spChg>
        <pc:spChg chg="add del mod">
          <ac:chgData name="Steiner Andreas 6206 ED" userId="e6377c33-a923-4f14-8587-531c474c7b48" providerId="ADAL" clId="{6ECD27E6-B224-41CD-B4E0-E297462320DD}" dt="2023-11-24T08:38:49.538" v="34514"/>
          <ac:spMkLst>
            <pc:docMk/>
            <pc:sldMk cId="4099999037" sldId="2147478570"/>
            <ac:spMk id="231" creationId="{D5711618-A5F7-FD3D-D63F-A3375BFCEEA1}"/>
          </ac:spMkLst>
        </pc:spChg>
        <pc:spChg chg="add del mod">
          <ac:chgData name="Steiner Andreas 6206 ED" userId="e6377c33-a923-4f14-8587-531c474c7b48" providerId="ADAL" clId="{6ECD27E6-B224-41CD-B4E0-E297462320DD}" dt="2023-11-24T08:38:52.340" v="34669"/>
          <ac:spMkLst>
            <pc:docMk/>
            <pc:sldMk cId="4099999037" sldId="2147478570"/>
            <ac:spMk id="232" creationId="{963B64A0-CB07-EBB3-5775-9ADBFAC45D06}"/>
          </ac:spMkLst>
        </pc:spChg>
        <pc:spChg chg="add del mod">
          <ac:chgData name="Steiner Andreas 6206 ED" userId="e6377c33-a923-4f14-8587-531c474c7b48" providerId="ADAL" clId="{6ECD27E6-B224-41CD-B4E0-E297462320DD}" dt="2023-11-24T08:38:55.351" v="34824"/>
          <ac:spMkLst>
            <pc:docMk/>
            <pc:sldMk cId="4099999037" sldId="2147478570"/>
            <ac:spMk id="233" creationId="{20B13B79-A876-2CB0-689D-E243FD99EA33}"/>
          </ac:spMkLst>
        </pc:spChg>
        <pc:spChg chg="add del mod">
          <ac:chgData name="Steiner Andreas 6206 ED" userId="e6377c33-a923-4f14-8587-531c474c7b48" providerId="ADAL" clId="{6ECD27E6-B224-41CD-B4E0-E297462320DD}" dt="2023-11-24T08:38:58.525" v="34979"/>
          <ac:spMkLst>
            <pc:docMk/>
            <pc:sldMk cId="4099999037" sldId="2147478570"/>
            <ac:spMk id="234" creationId="{ED731289-4814-AA5F-2BE2-30B7BB6B7241}"/>
          </ac:spMkLst>
        </pc:spChg>
        <pc:spChg chg="add del mod">
          <ac:chgData name="Steiner Andreas 6206 ED" userId="e6377c33-a923-4f14-8587-531c474c7b48" providerId="ADAL" clId="{6ECD27E6-B224-41CD-B4E0-E297462320DD}" dt="2023-11-24T08:39:01.953" v="35134"/>
          <ac:spMkLst>
            <pc:docMk/>
            <pc:sldMk cId="4099999037" sldId="2147478570"/>
            <ac:spMk id="235" creationId="{595B05E5-0AA9-9C74-358D-1D9DD8ED5F2E}"/>
          </ac:spMkLst>
        </pc:spChg>
        <pc:spChg chg="add del mod">
          <ac:chgData name="Steiner Andreas 6206 ED" userId="e6377c33-a923-4f14-8587-531c474c7b48" providerId="ADAL" clId="{6ECD27E6-B224-41CD-B4E0-E297462320DD}" dt="2023-11-24T08:39:05.168" v="35289"/>
          <ac:spMkLst>
            <pc:docMk/>
            <pc:sldMk cId="4099999037" sldId="2147478570"/>
            <ac:spMk id="236" creationId="{88201DF4-8873-C584-B9EF-66970D5CB32E}"/>
          </ac:spMkLst>
        </pc:spChg>
        <pc:spChg chg="add del mod">
          <ac:chgData name="Steiner Andreas 6206 ED" userId="e6377c33-a923-4f14-8587-531c474c7b48" providerId="ADAL" clId="{6ECD27E6-B224-41CD-B4E0-E297462320DD}" dt="2023-11-24T08:39:08.009" v="35444"/>
          <ac:spMkLst>
            <pc:docMk/>
            <pc:sldMk cId="4099999037" sldId="2147478570"/>
            <ac:spMk id="237" creationId="{5F4E3981-F863-F2A2-11EB-907965DC2DF7}"/>
          </ac:spMkLst>
        </pc:spChg>
        <pc:spChg chg="add del mod">
          <ac:chgData name="Steiner Andreas 6206 ED" userId="e6377c33-a923-4f14-8587-531c474c7b48" providerId="ADAL" clId="{6ECD27E6-B224-41CD-B4E0-E297462320DD}" dt="2023-11-24T08:39:12.700" v="35599"/>
          <ac:spMkLst>
            <pc:docMk/>
            <pc:sldMk cId="4099999037" sldId="2147478570"/>
            <ac:spMk id="238" creationId="{E85A222D-7E6A-D6DF-3CE9-96FAF269BC57}"/>
          </ac:spMkLst>
        </pc:spChg>
        <pc:spChg chg="add del mod">
          <ac:chgData name="Steiner Andreas 6206 ED" userId="e6377c33-a923-4f14-8587-531c474c7b48" providerId="ADAL" clId="{6ECD27E6-B224-41CD-B4E0-E297462320DD}" dt="2023-11-24T08:39:15.368" v="35754"/>
          <ac:spMkLst>
            <pc:docMk/>
            <pc:sldMk cId="4099999037" sldId="2147478570"/>
            <ac:spMk id="239" creationId="{95331C23-1B96-928B-2C5C-D8CE8757DB0E}"/>
          </ac:spMkLst>
        </pc:spChg>
        <pc:spChg chg="add del mod">
          <ac:chgData name="Steiner Andreas 6206 ED" userId="e6377c33-a923-4f14-8587-531c474c7b48" providerId="ADAL" clId="{6ECD27E6-B224-41CD-B4E0-E297462320DD}" dt="2023-11-24T08:39:17.973" v="35909"/>
          <ac:spMkLst>
            <pc:docMk/>
            <pc:sldMk cId="4099999037" sldId="2147478570"/>
            <ac:spMk id="240" creationId="{E5F2CF9E-DA0A-E762-943D-2FE91718EF4A}"/>
          </ac:spMkLst>
        </pc:spChg>
        <pc:spChg chg="add del mod">
          <ac:chgData name="Steiner Andreas 6206 ED" userId="e6377c33-a923-4f14-8587-531c474c7b48" providerId="ADAL" clId="{6ECD27E6-B224-41CD-B4E0-E297462320DD}" dt="2023-11-24T08:39:20.632" v="36064"/>
          <ac:spMkLst>
            <pc:docMk/>
            <pc:sldMk cId="4099999037" sldId="2147478570"/>
            <ac:spMk id="241" creationId="{5A96CF3A-E1A6-6EBB-BB32-E08B03DA79C8}"/>
          </ac:spMkLst>
        </pc:spChg>
        <pc:spChg chg="add del mod">
          <ac:chgData name="Steiner Andreas 6206 ED" userId="e6377c33-a923-4f14-8587-531c474c7b48" providerId="ADAL" clId="{6ECD27E6-B224-41CD-B4E0-E297462320DD}" dt="2023-11-24T08:39:23.812" v="36219"/>
          <ac:spMkLst>
            <pc:docMk/>
            <pc:sldMk cId="4099999037" sldId="2147478570"/>
            <ac:spMk id="242" creationId="{240493EF-370B-1B51-BB36-586E8529D2A7}"/>
          </ac:spMkLst>
        </pc:spChg>
        <pc:spChg chg="add del mod">
          <ac:chgData name="Steiner Andreas 6206 ED" userId="e6377c33-a923-4f14-8587-531c474c7b48" providerId="ADAL" clId="{6ECD27E6-B224-41CD-B4E0-E297462320DD}" dt="2023-11-24T08:39:26.534" v="36374"/>
          <ac:spMkLst>
            <pc:docMk/>
            <pc:sldMk cId="4099999037" sldId="2147478570"/>
            <ac:spMk id="243" creationId="{BA29E242-D668-1108-8657-299DF925FA56}"/>
          </ac:spMkLst>
        </pc:spChg>
        <pc:spChg chg="add del mod">
          <ac:chgData name="Steiner Andreas 6206 ED" userId="e6377c33-a923-4f14-8587-531c474c7b48" providerId="ADAL" clId="{6ECD27E6-B224-41CD-B4E0-E297462320DD}" dt="2023-11-24T08:39:29.291" v="36529"/>
          <ac:spMkLst>
            <pc:docMk/>
            <pc:sldMk cId="4099999037" sldId="2147478570"/>
            <ac:spMk id="244" creationId="{3CAE0731-C9E3-D9EC-D26A-9A982AFF2429}"/>
          </ac:spMkLst>
        </pc:spChg>
        <pc:spChg chg="add del mod">
          <ac:chgData name="Steiner Andreas 6206 ED" userId="e6377c33-a923-4f14-8587-531c474c7b48" providerId="ADAL" clId="{6ECD27E6-B224-41CD-B4E0-E297462320DD}" dt="2023-11-24T08:39:31.876" v="36684"/>
          <ac:spMkLst>
            <pc:docMk/>
            <pc:sldMk cId="4099999037" sldId="2147478570"/>
            <ac:spMk id="245" creationId="{F652F559-B03B-3012-DE52-49013EC4A715}"/>
          </ac:spMkLst>
        </pc:spChg>
        <pc:spChg chg="add del mod">
          <ac:chgData name="Steiner Andreas 6206 ED" userId="e6377c33-a923-4f14-8587-531c474c7b48" providerId="ADAL" clId="{6ECD27E6-B224-41CD-B4E0-E297462320DD}" dt="2023-11-24T08:39:34.374" v="36839"/>
          <ac:spMkLst>
            <pc:docMk/>
            <pc:sldMk cId="4099999037" sldId="2147478570"/>
            <ac:spMk id="246" creationId="{A13A19D5-3C99-A694-11F7-E282633E5A48}"/>
          </ac:spMkLst>
        </pc:spChg>
        <pc:spChg chg="add del mod">
          <ac:chgData name="Steiner Andreas 6206 ED" userId="e6377c33-a923-4f14-8587-531c474c7b48" providerId="ADAL" clId="{6ECD27E6-B224-41CD-B4E0-E297462320DD}" dt="2023-11-24T08:39:37.282" v="36994"/>
          <ac:spMkLst>
            <pc:docMk/>
            <pc:sldMk cId="4099999037" sldId="2147478570"/>
            <ac:spMk id="247" creationId="{A0D067C6-0532-1C9E-F3D6-58013325363B}"/>
          </ac:spMkLst>
        </pc:spChg>
        <pc:spChg chg="add del mod">
          <ac:chgData name="Steiner Andreas 6206 ED" userId="e6377c33-a923-4f14-8587-531c474c7b48" providerId="ADAL" clId="{6ECD27E6-B224-41CD-B4E0-E297462320DD}" dt="2023-11-24T08:39:39.895" v="37149"/>
          <ac:spMkLst>
            <pc:docMk/>
            <pc:sldMk cId="4099999037" sldId="2147478570"/>
            <ac:spMk id="248" creationId="{64D4CB7A-34F0-0DA4-C7AA-88FF6E834DB2}"/>
          </ac:spMkLst>
        </pc:spChg>
        <pc:spChg chg="add del mod">
          <ac:chgData name="Steiner Andreas 6206 ED" userId="e6377c33-a923-4f14-8587-531c474c7b48" providerId="ADAL" clId="{6ECD27E6-B224-41CD-B4E0-E297462320DD}" dt="2023-11-24T08:39:42.396" v="37304"/>
          <ac:spMkLst>
            <pc:docMk/>
            <pc:sldMk cId="4099999037" sldId="2147478570"/>
            <ac:spMk id="249" creationId="{068AC3E2-C5AE-DFA7-8A9A-D5479F2B878B}"/>
          </ac:spMkLst>
        </pc:spChg>
        <pc:spChg chg="add del mod">
          <ac:chgData name="Steiner Andreas 6206 ED" userId="e6377c33-a923-4f14-8587-531c474c7b48" providerId="ADAL" clId="{6ECD27E6-B224-41CD-B4E0-E297462320DD}" dt="2023-11-24T08:39:44.927" v="37459"/>
          <ac:spMkLst>
            <pc:docMk/>
            <pc:sldMk cId="4099999037" sldId="2147478570"/>
            <ac:spMk id="250" creationId="{1F1914C4-705D-1B7D-4DFE-A2E5EC0BC04F}"/>
          </ac:spMkLst>
        </pc:spChg>
        <pc:spChg chg="add del mod">
          <ac:chgData name="Steiner Andreas 6206 ED" userId="e6377c33-a923-4f14-8587-531c474c7b48" providerId="ADAL" clId="{6ECD27E6-B224-41CD-B4E0-E297462320DD}" dt="2023-11-24T08:39:47.884" v="37614"/>
          <ac:spMkLst>
            <pc:docMk/>
            <pc:sldMk cId="4099999037" sldId="2147478570"/>
            <ac:spMk id="251" creationId="{F144152A-0D05-07AC-BC4A-F5D37F49532B}"/>
          </ac:spMkLst>
        </pc:spChg>
        <pc:spChg chg="add del mod">
          <ac:chgData name="Steiner Andreas 6206 ED" userId="e6377c33-a923-4f14-8587-531c474c7b48" providerId="ADAL" clId="{6ECD27E6-B224-41CD-B4E0-E297462320DD}" dt="2023-11-24T08:39:50.653" v="37769"/>
          <ac:spMkLst>
            <pc:docMk/>
            <pc:sldMk cId="4099999037" sldId="2147478570"/>
            <ac:spMk id="252" creationId="{6EB8E296-8D3B-F8BD-954B-E077023EB2BD}"/>
          </ac:spMkLst>
        </pc:spChg>
        <pc:spChg chg="add del mod">
          <ac:chgData name="Steiner Andreas 6206 ED" userId="e6377c33-a923-4f14-8587-531c474c7b48" providerId="ADAL" clId="{6ECD27E6-B224-41CD-B4E0-E297462320DD}" dt="2023-11-24T08:39:53.279" v="37924"/>
          <ac:spMkLst>
            <pc:docMk/>
            <pc:sldMk cId="4099999037" sldId="2147478570"/>
            <ac:spMk id="253" creationId="{25AAD5A9-CA9E-2641-C75A-10D30FDA4171}"/>
          </ac:spMkLst>
        </pc:spChg>
        <pc:spChg chg="add del mod">
          <ac:chgData name="Steiner Andreas 6206 ED" userId="e6377c33-a923-4f14-8587-531c474c7b48" providerId="ADAL" clId="{6ECD27E6-B224-41CD-B4E0-E297462320DD}" dt="2023-11-24T08:39:56.236" v="38079"/>
          <ac:spMkLst>
            <pc:docMk/>
            <pc:sldMk cId="4099999037" sldId="2147478570"/>
            <ac:spMk id="254" creationId="{D85CDA9C-08FE-8BC0-B41F-935A8781D7B1}"/>
          </ac:spMkLst>
        </pc:spChg>
        <pc:spChg chg="add del mod">
          <ac:chgData name="Steiner Andreas 6206 ED" userId="e6377c33-a923-4f14-8587-531c474c7b48" providerId="ADAL" clId="{6ECD27E6-B224-41CD-B4E0-E297462320DD}" dt="2023-11-24T08:39:59.366" v="38234"/>
          <ac:spMkLst>
            <pc:docMk/>
            <pc:sldMk cId="4099999037" sldId="2147478570"/>
            <ac:spMk id="255" creationId="{19A1B864-C91F-9539-C963-11B2374EB351}"/>
          </ac:spMkLst>
        </pc:spChg>
        <pc:spChg chg="add del mod">
          <ac:chgData name="Steiner Andreas 6206 ED" userId="e6377c33-a923-4f14-8587-531c474c7b48" providerId="ADAL" clId="{6ECD27E6-B224-41CD-B4E0-E297462320DD}" dt="2023-11-24T08:40:02.716" v="38389"/>
          <ac:spMkLst>
            <pc:docMk/>
            <pc:sldMk cId="4099999037" sldId="2147478570"/>
            <ac:spMk id="256" creationId="{D59C32ED-694E-5760-C5CF-1641B6318BA1}"/>
          </ac:spMkLst>
        </pc:spChg>
        <pc:spChg chg="add del mod">
          <ac:chgData name="Steiner Andreas 6206 ED" userId="e6377c33-a923-4f14-8587-531c474c7b48" providerId="ADAL" clId="{6ECD27E6-B224-41CD-B4E0-E297462320DD}" dt="2023-11-24T08:40:05.474" v="38544"/>
          <ac:spMkLst>
            <pc:docMk/>
            <pc:sldMk cId="4099999037" sldId="2147478570"/>
            <ac:spMk id="257" creationId="{9A4CCDE8-5F39-D2E4-1BB9-93432C512793}"/>
          </ac:spMkLst>
        </pc:spChg>
        <pc:spChg chg="add del mod">
          <ac:chgData name="Steiner Andreas 6206 ED" userId="e6377c33-a923-4f14-8587-531c474c7b48" providerId="ADAL" clId="{6ECD27E6-B224-41CD-B4E0-E297462320DD}" dt="2023-11-24T08:40:08.023" v="38699"/>
          <ac:spMkLst>
            <pc:docMk/>
            <pc:sldMk cId="4099999037" sldId="2147478570"/>
            <ac:spMk id="258" creationId="{338DE7B1-6E48-8D96-2920-2CB8D481DE90}"/>
          </ac:spMkLst>
        </pc:spChg>
        <pc:spChg chg="add del mod">
          <ac:chgData name="Steiner Andreas 6206 ED" userId="e6377c33-a923-4f14-8587-531c474c7b48" providerId="ADAL" clId="{6ECD27E6-B224-41CD-B4E0-E297462320DD}" dt="2023-11-24T08:40:10.722" v="38854"/>
          <ac:spMkLst>
            <pc:docMk/>
            <pc:sldMk cId="4099999037" sldId="2147478570"/>
            <ac:spMk id="259" creationId="{254FEE34-A112-CE5E-A4C9-827DFA61A2DE}"/>
          </ac:spMkLst>
        </pc:spChg>
        <pc:spChg chg="add del mod">
          <ac:chgData name="Steiner Andreas 6206 ED" userId="e6377c33-a923-4f14-8587-531c474c7b48" providerId="ADAL" clId="{6ECD27E6-B224-41CD-B4E0-E297462320DD}" dt="2023-11-24T08:40:13.888" v="39009"/>
          <ac:spMkLst>
            <pc:docMk/>
            <pc:sldMk cId="4099999037" sldId="2147478570"/>
            <ac:spMk id="260" creationId="{A75A5A3C-0C76-1960-9F02-5C96D65CDEAA}"/>
          </ac:spMkLst>
        </pc:spChg>
        <pc:spChg chg="add del mod">
          <ac:chgData name="Steiner Andreas 6206 ED" userId="e6377c33-a923-4f14-8587-531c474c7b48" providerId="ADAL" clId="{6ECD27E6-B224-41CD-B4E0-E297462320DD}" dt="2023-11-24T08:40:16.594" v="39164"/>
          <ac:spMkLst>
            <pc:docMk/>
            <pc:sldMk cId="4099999037" sldId="2147478570"/>
            <ac:spMk id="261" creationId="{9F667343-6B2C-B69F-F9BB-E5B763E1DA1D}"/>
          </ac:spMkLst>
        </pc:spChg>
        <pc:spChg chg="add del mod">
          <ac:chgData name="Steiner Andreas 6206 ED" userId="e6377c33-a923-4f14-8587-531c474c7b48" providerId="ADAL" clId="{6ECD27E6-B224-41CD-B4E0-E297462320DD}" dt="2023-11-24T08:40:19.100" v="39319"/>
          <ac:spMkLst>
            <pc:docMk/>
            <pc:sldMk cId="4099999037" sldId="2147478570"/>
            <ac:spMk id="262" creationId="{6BCBB627-679A-6461-5208-20F9935294E2}"/>
          </ac:spMkLst>
        </pc:spChg>
        <pc:spChg chg="add del mod">
          <ac:chgData name="Steiner Andreas 6206 ED" userId="e6377c33-a923-4f14-8587-531c474c7b48" providerId="ADAL" clId="{6ECD27E6-B224-41CD-B4E0-E297462320DD}" dt="2023-11-24T08:40:21.523" v="39474"/>
          <ac:spMkLst>
            <pc:docMk/>
            <pc:sldMk cId="4099999037" sldId="2147478570"/>
            <ac:spMk id="263" creationId="{57F6D2CC-49F0-8C4C-C0FA-B8150CFECBE7}"/>
          </ac:spMkLst>
        </pc:spChg>
        <pc:spChg chg="add del mod">
          <ac:chgData name="Steiner Andreas 6206 ED" userId="e6377c33-a923-4f14-8587-531c474c7b48" providerId="ADAL" clId="{6ECD27E6-B224-41CD-B4E0-E297462320DD}" dt="2023-11-24T08:40:24.213" v="39629"/>
          <ac:spMkLst>
            <pc:docMk/>
            <pc:sldMk cId="4099999037" sldId="2147478570"/>
            <ac:spMk id="264" creationId="{2C2C0FBC-DFD4-A1FC-F5B1-079C71476A38}"/>
          </ac:spMkLst>
        </pc:spChg>
        <pc:spChg chg="add del mod">
          <ac:chgData name="Steiner Andreas 6206 ED" userId="e6377c33-a923-4f14-8587-531c474c7b48" providerId="ADAL" clId="{6ECD27E6-B224-41CD-B4E0-E297462320DD}" dt="2023-11-24T08:40:27.129" v="39784"/>
          <ac:spMkLst>
            <pc:docMk/>
            <pc:sldMk cId="4099999037" sldId="2147478570"/>
            <ac:spMk id="265" creationId="{E562A9A6-96D1-B00A-3716-6A93D22C547C}"/>
          </ac:spMkLst>
        </pc:spChg>
        <pc:spChg chg="add del mod">
          <ac:chgData name="Steiner Andreas 6206 ED" userId="e6377c33-a923-4f14-8587-531c474c7b48" providerId="ADAL" clId="{6ECD27E6-B224-41CD-B4E0-E297462320DD}" dt="2023-11-24T08:40:29.759" v="39939"/>
          <ac:spMkLst>
            <pc:docMk/>
            <pc:sldMk cId="4099999037" sldId="2147478570"/>
            <ac:spMk id="266" creationId="{8240E3BA-E18A-D392-9089-ED28ED6EC50A}"/>
          </ac:spMkLst>
        </pc:spChg>
        <pc:spChg chg="add del mod">
          <ac:chgData name="Steiner Andreas 6206 ED" userId="e6377c33-a923-4f14-8587-531c474c7b48" providerId="ADAL" clId="{6ECD27E6-B224-41CD-B4E0-E297462320DD}" dt="2023-11-24T08:40:32.345" v="40094"/>
          <ac:spMkLst>
            <pc:docMk/>
            <pc:sldMk cId="4099999037" sldId="2147478570"/>
            <ac:spMk id="267" creationId="{ADB51F51-8700-C5FA-0570-EC9825B55F39}"/>
          </ac:spMkLst>
        </pc:spChg>
        <pc:spChg chg="add del mod">
          <ac:chgData name="Steiner Andreas 6206 ED" userId="e6377c33-a923-4f14-8587-531c474c7b48" providerId="ADAL" clId="{6ECD27E6-B224-41CD-B4E0-E297462320DD}" dt="2023-11-24T08:40:34.912" v="40249"/>
          <ac:spMkLst>
            <pc:docMk/>
            <pc:sldMk cId="4099999037" sldId="2147478570"/>
            <ac:spMk id="268" creationId="{3888D6AB-0974-5D59-C965-408F85413934}"/>
          </ac:spMkLst>
        </pc:spChg>
        <pc:spChg chg="add del mod">
          <ac:chgData name="Steiner Andreas 6206 ED" userId="e6377c33-a923-4f14-8587-531c474c7b48" providerId="ADAL" clId="{6ECD27E6-B224-41CD-B4E0-E297462320DD}" dt="2023-11-24T08:40:38.326" v="40404"/>
          <ac:spMkLst>
            <pc:docMk/>
            <pc:sldMk cId="4099999037" sldId="2147478570"/>
            <ac:spMk id="269" creationId="{FE4CE9A1-AC1E-946A-AE8E-EA09DC40994F}"/>
          </ac:spMkLst>
        </pc:spChg>
        <pc:spChg chg="add del mod">
          <ac:chgData name="Steiner Andreas 6206 ED" userId="e6377c33-a923-4f14-8587-531c474c7b48" providerId="ADAL" clId="{6ECD27E6-B224-41CD-B4E0-E297462320DD}" dt="2023-11-24T08:40:41.041" v="40559"/>
          <ac:spMkLst>
            <pc:docMk/>
            <pc:sldMk cId="4099999037" sldId="2147478570"/>
            <ac:spMk id="270" creationId="{9F7185EE-0730-DD93-B943-7A229C853B5F}"/>
          </ac:spMkLst>
        </pc:spChg>
        <pc:spChg chg="add del mod">
          <ac:chgData name="Steiner Andreas 6206 ED" userId="e6377c33-a923-4f14-8587-531c474c7b48" providerId="ADAL" clId="{6ECD27E6-B224-41CD-B4E0-E297462320DD}" dt="2023-11-24T08:40:43.808" v="40714"/>
          <ac:spMkLst>
            <pc:docMk/>
            <pc:sldMk cId="4099999037" sldId="2147478570"/>
            <ac:spMk id="271" creationId="{727B180E-5C2A-FDB3-60E4-8A1BB818BA88}"/>
          </ac:spMkLst>
        </pc:spChg>
        <pc:spChg chg="add del mod">
          <ac:chgData name="Steiner Andreas 6206 ED" userId="e6377c33-a923-4f14-8587-531c474c7b48" providerId="ADAL" clId="{6ECD27E6-B224-41CD-B4E0-E297462320DD}" dt="2023-11-24T08:40:46.255" v="40869"/>
          <ac:spMkLst>
            <pc:docMk/>
            <pc:sldMk cId="4099999037" sldId="2147478570"/>
            <ac:spMk id="272" creationId="{2D37F083-B33B-6D6D-78AB-F23FD7F4A6F2}"/>
          </ac:spMkLst>
        </pc:spChg>
        <pc:spChg chg="add del mod">
          <ac:chgData name="Steiner Andreas 6206 ED" userId="e6377c33-a923-4f14-8587-531c474c7b48" providerId="ADAL" clId="{6ECD27E6-B224-41CD-B4E0-E297462320DD}" dt="2023-11-24T08:40:49.071" v="41024"/>
          <ac:spMkLst>
            <pc:docMk/>
            <pc:sldMk cId="4099999037" sldId="2147478570"/>
            <ac:spMk id="273" creationId="{0A297DEE-4E97-3A92-9FB2-22559A05DA0C}"/>
          </ac:spMkLst>
        </pc:spChg>
        <pc:spChg chg="add del mod">
          <ac:chgData name="Steiner Andreas 6206 ED" userId="e6377c33-a923-4f14-8587-531c474c7b48" providerId="ADAL" clId="{6ECD27E6-B224-41CD-B4E0-E297462320DD}" dt="2023-11-24T08:40:51.913" v="41179"/>
          <ac:spMkLst>
            <pc:docMk/>
            <pc:sldMk cId="4099999037" sldId="2147478570"/>
            <ac:spMk id="274" creationId="{23A31887-2534-F5B3-C1D5-303F2947DEF8}"/>
          </ac:spMkLst>
        </pc:spChg>
        <pc:spChg chg="add del mod">
          <ac:chgData name="Steiner Andreas 6206 ED" userId="e6377c33-a923-4f14-8587-531c474c7b48" providerId="ADAL" clId="{6ECD27E6-B224-41CD-B4E0-E297462320DD}" dt="2023-11-24T08:40:54.438" v="41334"/>
          <ac:spMkLst>
            <pc:docMk/>
            <pc:sldMk cId="4099999037" sldId="2147478570"/>
            <ac:spMk id="275" creationId="{39125BED-E917-8C44-D0AB-9FB550D9CAE2}"/>
          </ac:spMkLst>
        </pc:spChg>
        <pc:spChg chg="add del mod">
          <ac:chgData name="Steiner Andreas 6206 ED" userId="e6377c33-a923-4f14-8587-531c474c7b48" providerId="ADAL" clId="{6ECD27E6-B224-41CD-B4E0-E297462320DD}" dt="2023-11-24T08:40:56.897" v="41489"/>
          <ac:spMkLst>
            <pc:docMk/>
            <pc:sldMk cId="4099999037" sldId="2147478570"/>
            <ac:spMk id="276" creationId="{9949AF0A-C62E-39B3-8B66-CACA3B5E3CC3}"/>
          </ac:spMkLst>
        </pc:spChg>
        <pc:spChg chg="add del mod">
          <ac:chgData name="Steiner Andreas 6206 ED" userId="e6377c33-a923-4f14-8587-531c474c7b48" providerId="ADAL" clId="{6ECD27E6-B224-41CD-B4E0-E297462320DD}" dt="2023-11-24T08:40:59.605" v="41644"/>
          <ac:spMkLst>
            <pc:docMk/>
            <pc:sldMk cId="4099999037" sldId="2147478570"/>
            <ac:spMk id="277" creationId="{CB91EA23-F08D-27F9-6BEB-C44BA46E3819}"/>
          </ac:spMkLst>
        </pc:spChg>
        <pc:spChg chg="add del mod">
          <ac:chgData name="Steiner Andreas 6206 ED" userId="e6377c33-a923-4f14-8587-531c474c7b48" providerId="ADAL" clId="{6ECD27E6-B224-41CD-B4E0-E297462320DD}" dt="2023-11-24T08:41:02.597" v="41799"/>
          <ac:spMkLst>
            <pc:docMk/>
            <pc:sldMk cId="4099999037" sldId="2147478570"/>
            <ac:spMk id="278" creationId="{1731B364-D2A0-B4FD-7C80-CAC3B93CCC1C}"/>
          </ac:spMkLst>
        </pc:spChg>
        <pc:spChg chg="add del mod">
          <ac:chgData name="Steiner Andreas 6206 ED" userId="e6377c33-a923-4f14-8587-531c474c7b48" providerId="ADAL" clId="{6ECD27E6-B224-41CD-B4E0-E297462320DD}" dt="2023-11-24T08:41:05.315" v="41954"/>
          <ac:spMkLst>
            <pc:docMk/>
            <pc:sldMk cId="4099999037" sldId="2147478570"/>
            <ac:spMk id="279" creationId="{1605B920-AC95-39AD-0A15-EF0C5E0F6312}"/>
          </ac:spMkLst>
        </pc:spChg>
        <pc:spChg chg="add del mod">
          <ac:chgData name="Steiner Andreas 6206 ED" userId="e6377c33-a923-4f14-8587-531c474c7b48" providerId="ADAL" clId="{6ECD27E6-B224-41CD-B4E0-E297462320DD}" dt="2023-11-24T08:41:08.706" v="42109"/>
          <ac:spMkLst>
            <pc:docMk/>
            <pc:sldMk cId="4099999037" sldId="2147478570"/>
            <ac:spMk id="280" creationId="{6DF90A8D-B208-667F-C1F8-E0DB96750F06}"/>
          </ac:spMkLst>
        </pc:spChg>
        <pc:spChg chg="add del mod">
          <ac:chgData name="Steiner Andreas 6206 ED" userId="e6377c33-a923-4f14-8587-531c474c7b48" providerId="ADAL" clId="{6ECD27E6-B224-41CD-B4E0-E297462320DD}" dt="2023-11-24T08:41:12.531" v="42264"/>
          <ac:spMkLst>
            <pc:docMk/>
            <pc:sldMk cId="4099999037" sldId="2147478570"/>
            <ac:spMk id="281" creationId="{1AA4C137-A2F7-EEB3-9ADE-962F17FA5A6E}"/>
          </ac:spMkLst>
        </pc:spChg>
        <pc:spChg chg="add del mod">
          <ac:chgData name="Steiner Andreas 6206 ED" userId="e6377c33-a923-4f14-8587-531c474c7b48" providerId="ADAL" clId="{6ECD27E6-B224-41CD-B4E0-E297462320DD}" dt="2023-11-24T08:41:15.288" v="42419"/>
          <ac:spMkLst>
            <pc:docMk/>
            <pc:sldMk cId="4099999037" sldId="2147478570"/>
            <ac:spMk id="282" creationId="{EC1F2EE7-3329-87D5-08B7-E52F04D48754}"/>
          </ac:spMkLst>
        </pc:spChg>
        <pc:spChg chg="add del mod">
          <ac:chgData name="Steiner Andreas 6206 ED" userId="e6377c33-a923-4f14-8587-531c474c7b48" providerId="ADAL" clId="{6ECD27E6-B224-41CD-B4E0-E297462320DD}" dt="2023-11-24T08:41:17.432" v="42574"/>
          <ac:spMkLst>
            <pc:docMk/>
            <pc:sldMk cId="4099999037" sldId="2147478570"/>
            <ac:spMk id="283" creationId="{6A579538-1828-2A12-8A08-94BAE7DE4970}"/>
          </ac:spMkLst>
        </pc:spChg>
        <pc:spChg chg="add del mod">
          <ac:chgData name="Steiner Andreas 6206 ED" userId="e6377c33-a923-4f14-8587-531c474c7b48" providerId="ADAL" clId="{6ECD27E6-B224-41CD-B4E0-E297462320DD}" dt="2023-11-24T08:41:19.856" v="42729"/>
          <ac:spMkLst>
            <pc:docMk/>
            <pc:sldMk cId="4099999037" sldId="2147478570"/>
            <ac:spMk id="284" creationId="{D9F0F1EF-CCA9-D66C-7489-782C28F99AE0}"/>
          </ac:spMkLst>
        </pc:spChg>
        <pc:spChg chg="add del mod">
          <ac:chgData name="Steiner Andreas 6206 ED" userId="e6377c33-a923-4f14-8587-531c474c7b48" providerId="ADAL" clId="{6ECD27E6-B224-41CD-B4E0-E297462320DD}" dt="2023-11-24T08:41:22.183" v="42884"/>
          <ac:spMkLst>
            <pc:docMk/>
            <pc:sldMk cId="4099999037" sldId="2147478570"/>
            <ac:spMk id="285" creationId="{18EF1012-D59A-6F9C-0D65-06BDF1D6F549}"/>
          </ac:spMkLst>
        </pc:spChg>
        <pc:spChg chg="add del mod">
          <ac:chgData name="Steiner Andreas 6206 ED" userId="e6377c33-a923-4f14-8587-531c474c7b48" providerId="ADAL" clId="{6ECD27E6-B224-41CD-B4E0-E297462320DD}" dt="2023-11-24T08:41:24.325" v="43039"/>
          <ac:spMkLst>
            <pc:docMk/>
            <pc:sldMk cId="4099999037" sldId="2147478570"/>
            <ac:spMk id="286" creationId="{62F8631C-4C93-FAD3-85FE-0DC0CB678C5A}"/>
          </ac:spMkLst>
        </pc:spChg>
        <pc:spChg chg="add del mod">
          <ac:chgData name="Steiner Andreas 6206 ED" userId="e6377c33-a923-4f14-8587-531c474c7b48" providerId="ADAL" clId="{6ECD27E6-B224-41CD-B4E0-E297462320DD}" dt="2023-11-24T08:41:26.850" v="43194"/>
          <ac:spMkLst>
            <pc:docMk/>
            <pc:sldMk cId="4099999037" sldId="2147478570"/>
            <ac:spMk id="287" creationId="{85E03BC5-C3AB-66D7-E509-CFD915A2BF02}"/>
          </ac:spMkLst>
        </pc:spChg>
        <pc:spChg chg="add del mod">
          <ac:chgData name="Steiner Andreas 6206 ED" userId="e6377c33-a923-4f14-8587-531c474c7b48" providerId="ADAL" clId="{6ECD27E6-B224-41CD-B4E0-E297462320DD}" dt="2023-11-24T08:41:28.973" v="43349"/>
          <ac:spMkLst>
            <pc:docMk/>
            <pc:sldMk cId="4099999037" sldId="2147478570"/>
            <ac:spMk id="288" creationId="{45E16947-B0A0-B602-4CF8-08BE414FE82D}"/>
          </ac:spMkLst>
        </pc:spChg>
        <pc:spChg chg="add del mod">
          <ac:chgData name="Steiner Andreas 6206 ED" userId="e6377c33-a923-4f14-8587-531c474c7b48" providerId="ADAL" clId="{6ECD27E6-B224-41CD-B4E0-E297462320DD}" dt="2023-11-24T08:41:31.211" v="43504"/>
          <ac:spMkLst>
            <pc:docMk/>
            <pc:sldMk cId="4099999037" sldId="2147478570"/>
            <ac:spMk id="289" creationId="{2FF14CE1-63B4-DF8C-D3ED-F8EE1EA62B75}"/>
          </ac:spMkLst>
        </pc:spChg>
        <pc:spChg chg="add del mod">
          <ac:chgData name="Steiner Andreas 6206 ED" userId="e6377c33-a923-4f14-8587-531c474c7b48" providerId="ADAL" clId="{6ECD27E6-B224-41CD-B4E0-E297462320DD}" dt="2023-11-24T08:41:35.624" v="43659"/>
          <ac:spMkLst>
            <pc:docMk/>
            <pc:sldMk cId="4099999037" sldId="2147478570"/>
            <ac:spMk id="290" creationId="{8F03DEC1-FBAC-4B8A-7C09-1C59753B1F28}"/>
          </ac:spMkLst>
        </pc:spChg>
        <pc:spChg chg="add del mod">
          <ac:chgData name="Steiner Andreas 6206 ED" userId="e6377c33-a923-4f14-8587-531c474c7b48" providerId="ADAL" clId="{6ECD27E6-B224-41CD-B4E0-E297462320DD}" dt="2023-11-24T08:41:38.593" v="43814"/>
          <ac:spMkLst>
            <pc:docMk/>
            <pc:sldMk cId="4099999037" sldId="2147478570"/>
            <ac:spMk id="291" creationId="{B63B7EA1-27C9-F69C-060D-52E54ACC2499}"/>
          </ac:spMkLst>
        </pc:spChg>
        <pc:spChg chg="add del mod">
          <ac:chgData name="Steiner Andreas 6206 ED" userId="e6377c33-a923-4f14-8587-531c474c7b48" providerId="ADAL" clId="{6ECD27E6-B224-41CD-B4E0-E297462320DD}" dt="2023-11-24T08:41:40.831" v="43969"/>
          <ac:spMkLst>
            <pc:docMk/>
            <pc:sldMk cId="4099999037" sldId="2147478570"/>
            <ac:spMk id="292" creationId="{4F6F9EE4-773F-DC4E-7127-70A9731C4A5F}"/>
          </ac:spMkLst>
        </pc:spChg>
        <pc:spChg chg="add del mod">
          <ac:chgData name="Steiner Andreas 6206 ED" userId="e6377c33-a923-4f14-8587-531c474c7b48" providerId="ADAL" clId="{6ECD27E6-B224-41CD-B4E0-E297462320DD}" dt="2023-11-24T08:41:43.227" v="44124"/>
          <ac:spMkLst>
            <pc:docMk/>
            <pc:sldMk cId="4099999037" sldId="2147478570"/>
            <ac:spMk id="293" creationId="{0F85276A-6D08-D0E9-7A72-F592C9B8D5B7}"/>
          </ac:spMkLst>
        </pc:spChg>
        <pc:spChg chg="add del mod">
          <ac:chgData name="Steiner Andreas 6206 ED" userId="e6377c33-a923-4f14-8587-531c474c7b48" providerId="ADAL" clId="{6ECD27E6-B224-41CD-B4E0-E297462320DD}" dt="2023-11-24T08:41:45.138" v="44279"/>
          <ac:spMkLst>
            <pc:docMk/>
            <pc:sldMk cId="4099999037" sldId="2147478570"/>
            <ac:spMk id="294" creationId="{7F747FAB-8F7C-F44E-2B25-2B0888F64852}"/>
          </ac:spMkLst>
        </pc:spChg>
        <pc:spChg chg="add del mod">
          <ac:chgData name="Steiner Andreas 6206 ED" userId="e6377c33-a923-4f14-8587-531c474c7b48" providerId="ADAL" clId="{6ECD27E6-B224-41CD-B4E0-E297462320DD}" dt="2023-11-24T08:41:47.053" v="44434"/>
          <ac:spMkLst>
            <pc:docMk/>
            <pc:sldMk cId="4099999037" sldId="2147478570"/>
            <ac:spMk id="295" creationId="{F933CFBC-BEAE-CED5-7E3D-D62EAC6F8340}"/>
          </ac:spMkLst>
        </pc:spChg>
        <pc:spChg chg="add del mod">
          <ac:chgData name="Steiner Andreas 6206 ED" userId="e6377c33-a923-4f14-8587-531c474c7b48" providerId="ADAL" clId="{6ECD27E6-B224-41CD-B4E0-E297462320DD}" dt="2023-11-24T08:41:49.088" v="44589"/>
          <ac:spMkLst>
            <pc:docMk/>
            <pc:sldMk cId="4099999037" sldId="2147478570"/>
            <ac:spMk id="296" creationId="{38A58ED5-EF10-7956-05AA-54267AD72453}"/>
          </ac:spMkLst>
        </pc:spChg>
        <pc:spChg chg="add del mod">
          <ac:chgData name="Steiner Andreas 6206 ED" userId="e6377c33-a923-4f14-8587-531c474c7b48" providerId="ADAL" clId="{6ECD27E6-B224-41CD-B4E0-E297462320DD}" dt="2023-11-24T08:41:50.947" v="44744"/>
          <ac:spMkLst>
            <pc:docMk/>
            <pc:sldMk cId="4099999037" sldId="2147478570"/>
            <ac:spMk id="297" creationId="{C86D4AE3-7665-02C6-F678-004026EAB6CF}"/>
          </ac:spMkLst>
        </pc:spChg>
        <pc:spChg chg="add del mod">
          <ac:chgData name="Steiner Andreas 6206 ED" userId="e6377c33-a923-4f14-8587-531c474c7b48" providerId="ADAL" clId="{6ECD27E6-B224-41CD-B4E0-E297462320DD}" dt="2023-11-24T08:41:53.287" v="44899"/>
          <ac:spMkLst>
            <pc:docMk/>
            <pc:sldMk cId="4099999037" sldId="2147478570"/>
            <ac:spMk id="298" creationId="{0E90EA7B-4288-79D7-ED18-2610070038E8}"/>
          </ac:spMkLst>
        </pc:spChg>
        <pc:spChg chg="add del mod">
          <ac:chgData name="Steiner Andreas 6206 ED" userId="e6377c33-a923-4f14-8587-531c474c7b48" providerId="ADAL" clId="{6ECD27E6-B224-41CD-B4E0-E297462320DD}" dt="2023-11-24T08:41:55.214" v="45054"/>
          <ac:spMkLst>
            <pc:docMk/>
            <pc:sldMk cId="4099999037" sldId="2147478570"/>
            <ac:spMk id="299" creationId="{F8A79D91-A629-58A6-B6CB-77BD4965EC0C}"/>
          </ac:spMkLst>
        </pc:spChg>
        <pc:spChg chg="add del mod">
          <ac:chgData name="Steiner Andreas 6206 ED" userId="e6377c33-a923-4f14-8587-531c474c7b48" providerId="ADAL" clId="{6ECD27E6-B224-41CD-B4E0-E297462320DD}" dt="2023-11-24T08:41:57.485" v="45209"/>
          <ac:spMkLst>
            <pc:docMk/>
            <pc:sldMk cId="4099999037" sldId="2147478570"/>
            <ac:spMk id="300" creationId="{9F58EDAA-4000-FD27-69C2-7872F42077A9}"/>
          </ac:spMkLst>
        </pc:spChg>
        <pc:spChg chg="add del mod">
          <ac:chgData name="Steiner Andreas 6206 ED" userId="e6377c33-a923-4f14-8587-531c474c7b48" providerId="ADAL" clId="{6ECD27E6-B224-41CD-B4E0-E297462320DD}" dt="2023-11-24T08:41:59.657" v="45364"/>
          <ac:spMkLst>
            <pc:docMk/>
            <pc:sldMk cId="4099999037" sldId="2147478570"/>
            <ac:spMk id="301" creationId="{54B1C008-6E94-437C-571A-50C066A03A60}"/>
          </ac:spMkLst>
        </pc:spChg>
        <pc:spChg chg="add del mod">
          <ac:chgData name="Steiner Andreas 6206 ED" userId="e6377c33-a923-4f14-8587-531c474c7b48" providerId="ADAL" clId="{6ECD27E6-B224-41CD-B4E0-E297462320DD}" dt="2023-11-24T08:42:01.868" v="45519"/>
          <ac:spMkLst>
            <pc:docMk/>
            <pc:sldMk cId="4099999037" sldId="2147478570"/>
            <ac:spMk id="302" creationId="{7603E2A7-B1E8-82FA-C016-DE88C939C905}"/>
          </ac:spMkLst>
        </pc:spChg>
        <pc:spChg chg="add del mod">
          <ac:chgData name="Steiner Andreas 6206 ED" userId="e6377c33-a923-4f14-8587-531c474c7b48" providerId="ADAL" clId="{6ECD27E6-B224-41CD-B4E0-E297462320DD}" dt="2023-11-24T08:42:03.881" v="45674"/>
          <ac:spMkLst>
            <pc:docMk/>
            <pc:sldMk cId="4099999037" sldId="2147478570"/>
            <ac:spMk id="303" creationId="{BBBFFA7C-1335-4423-76F5-FB84F481B08D}"/>
          </ac:spMkLst>
        </pc:spChg>
        <pc:spChg chg="add del mod">
          <ac:chgData name="Steiner Andreas 6206 ED" userId="e6377c33-a923-4f14-8587-531c474c7b48" providerId="ADAL" clId="{6ECD27E6-B224-41CD-B4E0-E297462320DD}" dt="2023-11-24T08:42:05.837" v="45829"/>
          <ac:spMkLst>
            <pc:docMk/>
            <pc:sldMk cId="4099999037" sldId="2147478570"/>
            <ac:spMk id="304" creationId="{E520C9CF-2B53-BE75-170E-893A002B61FC}"/>
          </ac:spMkLst>
        </pc:spChg>
        <pc:spChg chg="add del mod">
          <ac:chgData name="Steiner Andreas 6206 ED" userId="e6377c33-a923-4f14-8587-531c474c7b48" providerId="ADAL" clId="{6ECD27E6-B224-41CD-B4E0-E297462320DD}" dt="2023-11-24T08:42:07.731" v="45984"/>
          <ac:spMkLst>
            <pc:docMk/>
            <pc:sldMk cId="4099999037" sldId="2147478570"/>
            <ac:spMk id="305" creationId="{22DEB7B5-DB07-0AB3-5475-ABBA90F30971}"/>
          </ac:spMkLst>
        </pc:spChg>
        <pc:spChg chg="add del mod">
          <ac:chgData name="Steiner Andreas 6206 ED" userId="e6377c33-a923-4f14-8587-531c474c7b48" providerId="ADAL" clId="{6ECD27E6-B224-41CD-B4E0-E297462320DD}" dt="2023-11-24T08:42:09.628" v="46139"/>
          <ac:spMkLst>
            <pc:docMk/>
            <pc:sldMk cId="4099999037" sldId="2147478570"/>
            <ac:spMk id="306" creationId="{578AD8F8-0DFE-3D46-F5BC-F4C35FCF52D4}"/>
          </ac:spMkLst>
        </pc:spChg>
        <pc:spChg chg="add del mod">
          <ac:chgData name="Steiner Andreas 6206 ED" userId="e6377c33-a923-4f14-8587-531c474c7b48" providerId="ADAL" clId="{6ECD27E6-B224-41CD-B4E0-E297462320DD}" dt="2023-11-24T08:42:11.991" v="46294"/>
          <ac:spMkLst>
            <pc:docMk/>
            <pc:sldMk cId="4099999037" sldId="2147478570"/>
            <ac:spMk id="307" creationId="{2A4EC446-C416-7AA5-5492-945EE4150ADE}"/>
          </ac:spMkLst>
        </pc:spChg>
        <pc:spChg chg="add del mod">
          <ac:chgData name="Steiner Andreas 6206 ED" userId="e6377c33-a923-4f14-8587-531c474c7b48" providerId="ADAL" clId="{6ECD27E6-B224-41CD-B4E0-E297462320DD}" dt="2023-11-24T08:42:14.486" v="46449"/>
          <ac:spMkLst>
            <pc:docMk/>
            <pc:sldMk cId="4099999037" sldId="2147478570"/>
            <ac:spMk id="308" creationId="{5C385854-3F87-38FC-48B1-64E375B04CE2}"/>
          </ac:spMkLst>
        </pc:spChg>
        <pc:spChg chg="add del mod">
          <ac:chgData name="Steiner Andreas 6206 ED" userId="e6377c33-a923-4f14-8587-531c474c7b48" providerId="ADAL" clId="{6ECD27E6-B224-41CD-B4E0-E297462320DD}" dt="2023-11-24T08:42:16.905" v="46604"/>
          <ac:spMkLst>
            <pc:docMk/>
            <pc:sldMk cId="4099999037" sldId="2147478570"/>
            <ac:spMk id="309" creationId="{BCEE81A3-A059-8530-7A05-084245FE32BD}"/>
          </ac:spMkLst>
        </pc:spChg>
        <pc:spChg chg="add del mod">
          <ac:chgData name="Steiner Andreas 6206 ED" userId="e6377c33-a923-4f14-8587-531c474c7b48" providerId="ADAL" clId="{6ECD27E6-B224-41CD-B4E0-E297462320DD}" dt="2023-11-24T08:42:19.031" v="46759"/>
          <ac:spMkLst>
            <pc:docMk/>
            <pc:sldMk cId="4099999037" sldId="2147478570"/>
            <ac:spMk id="310" creationId="{C756FB48-E78B-E399-AFBC-D39C41BB09BC}"/>
          </ac:spMkLst>
        </pc:spChg>
        <pc:spChg chg="add del mod">
          <ac:chgData name="Steiner Andreas 6206 ED" userId="e6377c33-a923-4f14-8587-531c474c7b48" providerId="ADAL" clId="{6ECD27E6-B224-41CD-B4E0-E297462320DD}" dt="2023-11-24T08:42:21.358" v="46914"/>
          <ac:spMkLst>
            <pc:docMk/>
            <pc:sldMk cId="4099999037" sldId="2147478570"/>
            <ac:spMk id="311" creationId="{104A6DA7-1D2B-CEA9-B9F4-0B66B7BD4039}"/>
          </ac:spMkLst>
        </pc:spChg>
        <pc:spChg chg="add del mod">
          <ac:chgData name="Steiner Andreas 6206 ED" userId="e6377c33-a923-4f14-8587-531c474c7b48" providerId="ADAL" clId="{6ECD27E6-B224-41CD-B4E0-E297462320DD}" dt="2023-11-24T08:42:23.988" v="47069"/>
          <ac:spMkLst>
            <pc:docMk/>
            <pc:sldMk cId="4099999037" sldId="2147478570"/>
            <ac:spMk id="312" creationId="{916C62E8-5304-0FF0-6E57-5705E9DE966F}"/>
          </ac:spMkLst>
        </pc:spChg>
        <pc:spChg chg="add del mod">
          <ac:chgData name="Steiner Andreas 6206 ED" userId="e6377c33-a923-4f14-8587-531c474c7b48" providerId="ADAL" clId="{6ECD27E6-B224-41CD-B4E0-E297462320DD}" dt="2023-11-24T08:42:25.969" v="47224"/>
          <ac:spMkLst>
            <pc:docMk/>
            <pc:sldMk cId="4099999037" sldId="2147478570"/>
            <ac:spMk id="313" creationId="{5CD3E083-B427-96B4-A844-096D16DF63B7}"/>
          </ac:spMkLst>
        </pc:spChg>
        <pc:spChg chg="add del mod">
          <ac:chgData name="Steiner Andreas 6206 ED" userId="e6377c33-a923-4f14-8587-531c474c7b48" providerId="ADAL" clId="{6ECD27E6-B224-41CD-B4E0-E297462320DD}" dt="2023-11-24T08:42:27.870" v="47379"/>
          <ac:spMkLst>
            <pc:docMk/>
            <pc:sldMk cId="4099999037" sldId="2147478570"/>
            <ac:spMk id="314" creationId="{EDB1F5ED-AD22-2C13-742F-A114CAC37DE3}"/>
          </ac:spMkLst>
        </pc:spChg>
        <pc:spChg chg="add del mod">
          <ac:chgData name="Steiner Andreas 6206 ED" userId="e6377c33-a923-4f14-8587-531c474c7b48" providerId="ADAL" clId="{6ECD27E6-B224-41CD-B4E0-E297462320DD}" dt="2023-11-24T08:42:29.636" v="47534"/>
          <ac:spMkLst>
            <pc:docMk/>
            <pc:sldMk cId="4099999037" sldId="2147478570"/>
            <ac:spMk id="315" creationId="{C788D13A-8699-6DA3-2F7C-49033ABB0EA8}"/>
          </ac:spMkLst>
        </pc:spChg>
        <pc:spChg chg="add del mod">
          <ac:chgData name="Steiner Andreas 6206 ED" userId="e6377c33-a923-4f14-8587-531c474c7b48" providerId="ADAL" clId="{6ECD27E6-B224-41CD-B4E0-E297462320DD}" dt="2023-11-24T08:42:31.528" v="47689"/>
          <ac:spMkLst>
            <pc:docMk/>
            <pc:sldMk cId="4099999037" sldId="2147478570"/>
            <ac:spMk id="316" creationId="{29ACBA12-660A-D28B-5ADA-F42330679230}"/>
          </ac:spMkLst>
        </pc:spChg>
        <pc:spChg chg="add del mod">
          <ac:chgData name="Steiner Andreas 6206 ED" userId="e6377c33-a923-4f14-8587-531c474c7b48" providerId="ADAL" clId="{6ECD27E6-B224-41CD-B4E0-E297462320DD}" dt="2023-11-24T08:42:33.512" v="47844"/>
          <ac:spMkLst>
            <pc:docMk/>
            <pc:sldMk cId="4099999037" sldId="2147478570"/>
            <ac:spMk id="317" creationId="{2B39EADE-9DCE-980E-F0FA-5A094C2EC9C5}"/>
          </ac:spMkLst>
        </pc:spChg>
        <pc:spChg chg="add del mod">
          <ac:chgData name="Steiner Andreas 6206 ED" userId="e6377c33-a923-4f14-8587-531c474c7b48" providerId="ADAL" clId="{6ECD27E6-B224-41CD-B4E0-E297462320DD}" dt="2023-11-24T08:42:35.576" v="47999"/>
          <ac:spMkLst>
            <pc:docMk/>
            <pc:sldMk cId="4099999037" sldId="2147478570"/>
            <ac:spMk id="318" creationId="{2970E341-83D4-6129-D19A-684AF924B31C}"/>
          </ac:spMkLst>
        </pc:spChg>
        <pc:spChg chg="add del mod">
          <ac:chgData name="Steiner Andreas 6206 ED" userId="e6377c33-a923-4f14-8587-531c474c7b48" providerId="ADAL" clId="{6ECD27E6-B224-41CD-B4E0-E297462320DD}" dt="2023-11-24T08:42:37.459" v="48154"/>
          <ac:spMkLst>
            <pc:docMk/>
            <pc:sldMk cId="4099999037" sldId="2147478570"/>
            <ac:spMk id="319" creationId="{2BE9AA17-61BD-839D-0AE8-EDC24698276C}"/>
          </ac:spMkLst>
        </pc:spChg>
        <pc:spChg chg="add del mod">
          <ac:chgData name="Steiner Andreas 6206 ED" userId="e6377c33-a923-4f14-8587-531c474c7b48" providerId="ADAL" clId="{6ECD27E6-B224-41CD-B4E0-E297462320DD}" dt="2023-11-24T08:42:39.325" v="48309"/>
          <ac:spMkLst>
            <pc:docMk/>
            <pc:sldMk cId="4099999037" sldId="2147478570"/>
            <ac:spMk id="320" creationId="{B663C4D6-CD0F-F11C-95CD-D974BC3C04A4}"/>
          </ac:spMkLst>
        </pc:spChg>
        <pc:spChg chg="add del mod">
          <ac:chgData name="Steiner Andreas 6206 ED" userId="e6377c33-a923-4f14-8587-531c474c7b48" providerId="ADAL" clId="{6ECD27E6-B224-41CD-B4E0-E297462320DD}" dt="2023-11-24T08:42:41.444" v="48464"/>
          <ac:spMkLst>
            <pc:docMk/>
            <pc:sldMk cId="4099999037" sldId="2147478570"/>
            <ac:spMk id="321" creationId="{69A98210-1092-FC63-12F2-D9535A687583}"/>
          </ac:spMkLst>
        </pc:spChg>
        <pc:spChg chg="add del mod">
          <ac:chgData name="Steiner Andreas 6206 ED" userId="e6377c33-a923-4f14-8587-531c474c7b48" providerId="ADAL" clId="{6ECD27E6-B224-41CD-B4E0-E297462320DD}" dt="2023-11-24T08:42:43.554" v="48619"/>
          <ac:spMkLst>
            <pc:docMk/>
            <pc:sldMk cId="4099999037" sldId="2147478570"/>
            <ac:spMk id="322" creationId="{E2E5F859-A3E3-9488-5DB6-130EABF1F454}"/>
          </ac:spMkLst>
        </pc:spChg>
        <pc:spChg chg="add del mod">
          <ac:chgData name="Steiner Andreas 6206 ED" userId="e6377c33-a923-4f14-8587-531c474c7b48" providerId="ADAL" clId="{6ECD27E6-B224-41CD-B4E0-E297462320DD}" dt="2023-11-24T08:42:45.589" v="48774"/>
          <ac:spMkLst>
            <pc:docMk/>
            <pc:sldMk cId="4099999037" sldId="2147478570"/>
            <ac:spMk id="323" creationId="{B8CFF6A2-8636-09DE-721E-2961DA6B0036}"/>
          </ac:spMkLst>
        </pc:spChg>
        <pc:spChg chg="add del mod">
          <ac:chgData name="Steiner Andreas 6206 ED" userId="e6377c33-a923-4f14-8587-531c474c7b48" providerId="ADAL" clId="{6ECD27E6-B224-41CD-B4E0-E297462320DD}" dt="2023-11-24T08:42:47.474" v="48929"/>
          <ac:spMkLst>
            <pc:docMk/>
            <pc:sldMk cId="4099999037" sldId="2147478570"/>
            <ac:spMk id="324" creationId="{83BD19C0-2BB2-EFCE-DF74-6634E8445825}"/>
          </ac:spMkLst>
        </pc:spChg>
        <pc:spChg chg="add del mod">
          <ac:chgData name="Steiner Andreas 6206 ED" userId="e6377c33-a923-4f14-8587-531c474c7b48" providerId="ADAL" clId="{6ECD27E6-B224-41CD-B4E0-E297462320DD}" dt="2023-11-24T08:42:49.273" v="49084"/>
          <ac:spMkLst>
            <pc:docMk/>
            <pc:sldMk cId="4099999037" sldId="2147478570"/>
            <ac:spMk id="325" creationId="{C6441478-00D7-2888-6859-1668464284F9}"/>
          </ac:spMkLst>
        </pc:spChg>
        <pc:spChg chg="add del mod">
          <ac:chgData name="Steiner Andreas 6206 ED" userId="e6377c33-a923-4f14-8587-531c474c7b48" providerId="ADAL" clId="{6ECD27E6-B224-41CD-B4E0-E297462320DD}" dt="2023-11-24T08:42:51.149" v="49239"/>
          <ac:spMkLst>
            <pc:docMk/>
            <pc:sldMk cId="4099999037" sldId="2147478570"/>
            <ac:spMk id="326" creationId="{DFA7EA58-612C-F7CC-74B0-3D3AA065C5AB}"/>
          </ac:spMkLst>
        </pc:spChg>
        <pc:spChg chg="add del mod">
          <ac:chgData name="Steiner Andreas 6206 ED" userId="e6377c33-a923-4f14-8587-531c474c7b48" providerId="ADAL" clId="{6ECD27E6-B224-41CD-B4E0-E297462320DD}" dt="2023-11-24T08:42:53.249" v="49394"/>
          <ac:spMkLst>
            <pc:docMk/>
            <pc:sldMk cId="4099999037" sldId="2147478570"/>
            <ac:spMk id="327" creationId="{9B2A1AF3-3270-A5BC-57C8-5E0F445677F0}"/>
          </ac:spMkLst>
        </pc:spChg>
        <pc:spChg chg="add del mod">
          <ac:chgData name="Steiner Andreas 6206 ED" userId="e6377c33-a923-4f14-8587-531c474c7b48" providerId="ADAL" clId="{6ECD27E6-B224-41CD-B4E0-E297462320DD}" dt="2023-11-24T08:42:55.847" v="49549"/>
          <ac:spMkLst>
            <pc:docMk/>
            <pc:sldMk cId="4099999037" sldId="2147478570"/>
            <ac:spMk id="328" creationId="{ACA1334A-5906-2F84-E8C5-442EA09587E4}"/>
          </ac:spMkLst>
        </pc:spChg>
        <pc:spChg chg="add del mod">
          <ac:chgData name="Steiner Andreas 6206 ED" userId="e6377c33-a923-4f14-8587-531c474c7b48" providerId="ADAL" clId="{6ECD27E6-B224-41CD-B4E0-E297462320DD}" dt="2023-11-24T08:42:57.948" v="49704"/>
          <ac:spMkLst>
            <pc:docMk/>
            <pc:sldMk cId="4099999037" sldId="2147478570"/>
            <ac:spMk id="329" creationId="{40248AE9-8A26-EBD6-58BF-150F0C60B370}"/>
          </ac:spMkLst>
        </pc:spChg>
        <pc:spChg chg="add del mod">
          <ac:chgData name="Steiner Andreas 6206 ED" userId="e6377c33-a923-4f14-8587-531c474c7b48" providerId="ADAL" clId="{6ECD27E6-B224-41CD-B4E0-E297462320DD}" dt="2023-11-24T08:42:59.872" v="49859"/>
          <ac:spMkLst>
            <pc:docMk/>
            <pc:sldMk cId="4099999037" sldId="2147478570"/>
            <ac:spMk id="330" creationId="{49614557-9220-98FF-0F89-84652CD245FE}"/>
          </ac:spMkLst>
        </pc:spChg>
        <pc:spChg chg="add del mod">
          <ac:chgData name="Steiner Andreas 6206 ED" userId="e6377c33-a923-4f14-8587-531c474c7b48" providerId="ADAL" clId="{6ECD27E6-B224-41CD-B4E0-E297462320DD}" dt="2023-11-24T08:43:01.868" v="50014"/>
          <ac:spMkLst>
            <pc:docMk/>
            <pc:sldMk cId="4099999037" sldId="2147478570"/>
            <ac:spMk id="331" creationId="{B4C9C3C6-BB39-B6D8-4229-4728E2A31120}"/>
          </ac:spMkLst>
        </pc:spChg>
        <pc:spChg chg="add del mod">
          <ac:chgData name="Steiner Andreas 6206 ED" userId="e6377c33-a923-4f14-8587-531c474c7b48" providerId="ADAL" clId="{6ECD27E6-B224-41CD-B4E0-E297462320DD}" dt="2023-11-24T08:43:03.856" v="50169"/>
          <ac:spMkLst>
            <pc:docMk/>
            <pc:sldMk cId="4099999037" sldId="2147478570"/>
            <ac:spMk id="332" creationId="{2F67B4B4-1D1E-49F0-97A7-7702AAC1E31D}"/>
          </ac:spMkLst>
        </pc:spChg>
        <pc:spChg chg="add del mod">
          <ac:chgData name="Steiner Andreas 6206 ED" userId="e6377c33-a923-4f14-8587-531c474c7b48" providerId="ADAL" clId="{6ECD27E6-B224-41CD-B4E0-E297462320DD}" dt="2023-11-24T08:43:05.738" v="50324"/>
          <ac:spMkLst>
            <pc:docMk/>
            <pc:sldMk cId="4099999037" sldId="2147478570"/>
            <ac:spMk id="333" creationId="{103146F7-86EA-3AF7-1785-40ADA0ADB7BD}"/>
          </ac:spMkLst>
        </pc:spChg>
        <pc:spChg chg="add del mod">
          <ac:chgData name="Steiner Andreas 6206 ED" userId="e6377c33-a923-4f14-8587-531c474c7b48" providerId="ADAL" clId="{6ECD27E6-B224-41CD-B4E0-E297462320DD}" dt="2023-11-24T08:43:07.939" v="50479"/>
          <ac:spMkLst>
            <pc:docMk/>
            <pc:sldMk cId="4099999037" sldId="2147478570"/>
            <ac:spMk id="334" creationId="{1A46780C-3362-EB98-D4D0-CA140CC19CFE}"/>
          </ac:spMkLst>
        </pc:spChg>
        <pc:spChg chg="add del mod">
          <ac:chgData name="Steiner Andreas 6206 ED" userId="e6377c33-a923-4f14-8587-531c474c7b48" providerId="ADAL" clId="{6ECD27E6-B224-41CD-B4E0-E297462320DD}" dt="2023-11-24T08:43:10.006" v="50634"/>
          <ac:spMkLst>
            <pc:docMk/>
            <pc:sldMk cId="4099999037" sldId="2147478570"/>
            <ac:spMk id="335" creationId="{C26DC5F3-6498-7107-E531-CD58FD253409}"/>
          </ac:spMkLst>
        </pc:spChg>
        <pc:spChg chg="add del mod">
          <ac:chgData name="Steiner Andreas 6206 ED" userId="e6377c33-a923-4f14-8587-531c474c7b48" providerId="ADAL" clId="{6ECD27E6-B224-41CD-B4E0-E297462320DD}" dt="2023-11-24T08:43:11.843" v="50789"/>
          <ac:spMkLst>
            <pc:docMk/>
            <pc:sldMk cId="4099999037" sldId="2147478570"/>
            <ac:spMk id="336" creationId="{5383887B-21EB-335B-6320-F26420C3F69E}"/>
          </ac:spMkLst>
        </pc:spChg>
        <pc:spChg chg="add del mod">
          <ac:chgData name="Steiner Andreas 6206 ED" userId="e6377c33-a923-4f14-8587-531c474c7b48" providerId="ADAL" clId="{6ECD27E6-B224-41CD-B4E0-E297462320DD}" dt="2023-11-24T08:43:13.900" v="50944"/>
          <ac:spMkLst>
            <pc:docMk/>
            <pc:sldMk cId="4099999037" sldId="2147478570"/>
            <ac:spMk id="337" creationId="{D49844AE-61F3-D1EE-2E92-208FBCEC9781}"/>
          </ac:spMkLst>
        </pc:spChg>
        <pc:spChg chg="add del mod">
          <ac:chgData name="Steiner Andreas 6206 ED" userId="e6377c33-a923-4f14-8587-531c474c7b48" providerId="ADAL" clId="{6ECD27E6-B224-41CD-B4E0-E297462320DD}" dt="2023-11-24T08:43:15.877" v="51099"/>
          <ac:spMkLst>
            <pc:docMk/>
            <pc:sldMk cId="4099999037" sldId="2147478570"/>
            <ac:spMk id="338" creationId="{FAE337B0-F6B3-AD2F-12C4-DD39E47A71EA}"/>
          </ac:spMkLst>
        </pc:spChg>
        <pc:spChg chg="add del mod">
          <ac:chgData name="Steiner Andreas 6206 ED" userId="e6377c33-a923-4f14-8587-531c474c7b48" providerId="ADAL" clId="{6ECD27E6-B224-41CD-B4E0-E297462320DD}" dt="2023-11-24T08:43:17.955" v="51254"/>
          <ac:spMkLst>
            <pc:docMk/>
            <pc:sldMk cId="4099999037" sldId="2147478570"/>
            <ac:spMk id="339" creationId="{938830BD-4095-1D9D-20F0-23A9174DDF6F}"/>
          </ac:spMkLst>
        </pc:spChg>
        <pc:spChg chg="add del mod">
          <ac:chgData name="Steiner Andreas 6206 ED" userId="e6377c33-a923-4f14-8587-531c474c7b48" providerId="ADAL" clId="{6ECD27E6-B224-41CD-B4E0-E297462320DD}" dt="2023-11-24T08:43:19.943" v="51409"/>
          <ac:spMkLst>
            <pc:docMk/>
            <pc:sldMk cId="4099999037" sldId="2147478570"/>
            <ac:spMk id="340" creationId="{4B042A91-9B23-DDF1-900C-55A5EBEC9141}"/>
          </ac:spMkLst>
        </pc:spChg>
        <pc:spChg chg="add del mod">
          <ac:chgData name="Steiner Andreas 6206 ED" userId="e6377c33-a923-4f14-8587-531c474c7b48" providerId="ADAL" clId="{6ECD27E6-B224-41CD-B4E0-E297462320DD}" dt="2023-11-24T08:43:21.847" v="51564"/>
          <ac:spMkLst>
            <pc:docMk/>
            <pc:sldMk cId="4099999037" sldId="2147478570"/>
            <ac:spMk id="341" creationId="{A089AD05-151F-15F7-74A4-A952A262E66B}"/>
          </ac:spMkLst>
        </pc:spChg>
        <pc:spChg chg="add del mod">
          <ac:chgData name="Steiner Andreas 6206 ED" userId="e6377c33-a923-4f14-8587-531c474c7b48" providerId="ADAL" clId="{6ECD27E6-B224-41CD-B4E0-E297462320DD}" dt="2023-11-24T08:43:23.783" v="51719"/>
          <ac:spMkLst>
            <pc:docMk/>
            <pc:sldMk cId="4099999037" sldId="2147478570"/>
            <ac:spMk id="342" creationId="{47169B32-BB32-7BE3-9BB2-CB61C7D6270E}"/>
          </ac:spMkLst>
        </pc:spChg>
        <pc:spChg chg="add del mod">
          <ac:chgData name="Steiner Andreas 6206 ED" userId="e6377c33-a923-4f14-8587-531c474c7b48" providerId="ADAL" clId="{6ECD27E6-B224-41CD-B4E0-E297462320DD}" dt="2023-11-24T08:43:25.674" v="51874"/>
          <ac:spMkLst>
            <pc:docMk/>
            <pc:sldMk cId="4099999037" sldId="2147478570"/>
            <ac:spMk id="343" creationId="{A85E64C8-8FB8-1AE3-473B-D3BCFF34DBC0}"/>
          </ac:spMkLst>
        </pc:spChg>
        <pc:spChg chg="add del mod">
          <ac:chgData name="Steiner Andreas 6206 ED" userId="e6377c33-a923-4f14-8587-531c474c7b48" providerId="ADAL" clId="{6ECD27E6-B224-41CD-B4E0-E297462320DD}" dt="2023-11-24T08:43:27.511" v="52029"/>
          <ac:spMkLst>
            <pc:docMk/>
            <pc:sldMk cId="4099999037" sldId="2147478570"/>
            <ac:spMk id="344" creationId="{7BDD858A-3219-4117-C548-E1FF9784CD66}"/>
          </ac:spMkLst>
        </pc:spChg>
        <pc:spChg chg="add del mod">
          <ac:chgData name="Steiner Andreas 6206 ED" userId="e6377c33-a923-4f14-8587-531c474c7b48" providerId="ADAL" clId="{6ECD27E6-B224-41CD-B4E0-E297462320DD}" dt="2023-11-24T08:43:29.306" v="52184"/>
          <ac:spMkLst>
            <pc:docMk/>
            <pc:sldMk cId="4099999037" sldId="2147478570"/>
            <ac:spMk id="345" creationId="{306C2A67-A34C-886F-6B49-54411AC4FB06}"/>
          </ac:spMkLst>
        </pc:spChg>
        <pc:spChg chg="add del mod">
          <ac:chgData name="Steiner Andreas 6206 ED" userId="e6377c33-a923-4f14-8587-531c474c7b48" providerId="ADAL" clId="{6ECD27E6-B224-41CD-B4E0-E297462320DD}" dt="2023-11-24T08:43:31.993" v="52339"/>
          <ac:spMkLst>
            <pc:docMk/>
            <pc:sldMk cId="4099999037" sldId="2147478570"/>
            <ac:spMk id="346" creationId="{4C91E387-1EE3-AE56-539C-9E924509C200}"/>
          </ac:spMkLst>
        </pc:spChg>
        <pc:spChg chg="add del mod">
          <ac:chgData name="Steiner Andreas 6206 ED" userId="e6377c33-a923-4f14-8587-531c474c7b48" providerId="ADAL" clId="{6ECD27E6-B224-41CD-B4E0-E297462320DD}" dt="2023-11-24T08:43:34.515" v="52494"/>
          <ac:spMkLst>
            <pc:docMk/>
            <pc:sldMk cId="4099999037" sldId="2147478570"/>
            <ac:spMk id="347" creationId="{2071AF64-3E82-CC16-F049-F605B73A268C}"/>
          </ac:spMkLst>
        </pc:spChg>
        <pc:spChg chg="add del mod">
          <ac:chgData name="Steiner Andreas 6206 ED" userId="e6377c33-a923-4f14-8587-531c474c7b48" providerId="ADAL" clId="{6ECD27E6-B224-41CD-B4E0-E297462320DD}" dt="2023-11-24T08:43:36.603" v="52649"/>
          <ac:spMkLst>
            <pc:docMk/>
            <pc:sldMk cId="4099999037" sldId="2147478570"/>
            <ac:spMk id="348" creationId="{1451C003-86EA-BF21-CF27-DF2FE9E82EFA}"/>
          </ac:spMkLst>
        </pc:spChg>
        <pc:spChg chg="add del mod">
          <ac:chgData name="Steiner Andreas 6206 ED" userId="e6377c33-a923-4f14-8587-531c474c7b48" providerId="ADAL" clId="{6ECD27E6-B224-41CD-B4E0-E297462320DD}" dt="2023-11-24T08:43:38.706" v="52804"/>
          <ac:spMkLst>
            <pc:docMk/>
            <pc:sldMk cId="4099999037" sldId="2147478570"/>
            <ac:spMk id="349" creationId="{6C4D3F3D-3A13-314B-A2A5-09785854B289}"/>
          </ac:spMkLst>
        </pc:spChg>
        <pc:spChg chg="add del mod">
          <ac:chgData name="Steiner Andreas 6206 ED" userId="e6377c33-a923-4f14-8587-531c474c7b48" providerId="ADAL" clId="{6ECD27E6-B224-41CD-B4E0-E297462320DD}" dt="2023-11-24T08:43:40.818" v="52959"/>
          <ac:spMkLst>
            <pc:docMk/>
            <pc:sldMk cId="4099999037" sldId="2147478570"/>
            <ac:spMk id="350" creationId="{EEED2FD9-3B90-25D1-EC3F-ECEAC0373DF2}"/>
          </ac:spMkLst>
        </pc:spChg>
        <pc:spChg chg="add del mod">
          <ac:chgData name="Steiner Andreas 6206 ED" userId="e6377c33-a923-4f14-8587-531c474c7b48" providerId="ADAL" clId="{6ECD27E6-B224-41CD-B4E0-E297462320DD}" dt="2023-11-24T08:43:42.794" v="53114"/>
          <ac:spMkLst>
            <pc:docMk/>
            <pc:sldMk cId="4099999037" sldId="2147478570"/>
            <ac:spMk id="351" creationId="{DC034F67-6A5D-9DDA-0877-DB5F38487FC2}"/>
          </ac:spMkLst>
        </pc:spChg>
        <pc:spChg chg="add del mod">
          <ac:chgData name="Steiner Andreas 6206 ED" userId="e6377c33-a923-4f14-8587-531c474c7b48" providerId="ADAL" clId="{6ECD27E6-B224-41CD-B4E0-E297462320DD}" dt="2023-11-24T08:43:44.614" v="53269"/>
          <ac:spMkLst>
            <pc:docMk/>
            <pc:sldMk cId="4099999037" sldId="2147478570"/>
            <ac:spMk id="352" creationId="{8D15BE9E-EE44-50CA-D5F9-5774EDA3EE67}"/>
          </ac:spMkLst>
        </pc:spChg>
        <pc:spChg chg="add del mod">
          <ac:chgData name="Steiner Andreas 6206 ED" userId="e6377c33-a923-4f14-8587-531c474c7b48" providerId="ADAL" clId="{6ECD27E6-B224-41CD-B4E0-E297462320DD}" dt="2023-11-24T08:43:46.399" v="53424"/>
          <ac:spMkLst>
            <pc:docMk/>
            <pc:sldMk cId="4099999037" sldId="2147478570"/>
            <ac:spMk id="353" creationId="{3BB9F852-95A3-896C-997C-08230437C126}"/>
          </ac:spMkLst>
        </pc:spChg>
        <pc:spChg chg="add del mod">
          <ac:chgData name="Steiner Andreas 6206 ED" userId="e6377c33-a923-4f14-8587-531c474c7b48" providerId="ADAL" clId="{6ECD27E6-B224-41CD-B4E0-E297462320DD}" dt="2023-11-24T08:43:48.348" v="53579"/>
          <ac:spMkLst>
            <pc:docMk/>
            <pc:sldMk cId="4099999037" sldId="2147478570"/>
            <ac:spMk id="354" creationId="{D3905205-66A7-8431-8F51-D32486D16644}"/>
          </ac:spMkLst>
        </pc:spChg>
        <pc:spChg chg="add del mod">
          <ac:chgData name="Steiner Andreas 6206 ED" userId="e6377c33-a923-4f14-8587-531c474c7b48" providerId="ADAL" clId="{6ECD27E6-B224-41CD-B4E0-E297462320DD}" dt="2023-11-24T08:43:50.312" v="53734"/>
          <ac:spMkLst>
            <pc:docMk/>
            <pc:sldMk cId="4099999037" sldId="2147478570"/>
            <ac:spMk id="355" creationId="{220E6EAA-5E59-F93E-C3E7-AC8A53580A4A}"/>
          </ac:spMkLst>
        </pc:spChg>
        <pc:spChg chg="add del mod">
          <ac:chgData name="Steiner Andreas 6206 ED" userId="e6377c33-a923-4f14-8587-531c474c7b48" providerId="ADAL" clId="{6ECD27E6-B224-41CD-B4E0-E297462320DD}" dt="2023-11-24T08:43:52.474" v="53889"/>
          <ac:spMkLst>
            <pc:docMk/>
            <pc:sldMk cId="4099999037" sldId="2147478570"/>
            <ac:spMk id="356" creationId="{9F9A78AA-E136-50D7-7962-1011E097BD16}"/>
          </ac:spMkLst>
        </pc:spChg>
        <pc:spChg chg="add del mod">
          <ac:chgData name="Steiner Andreas 6206 ED" userId="e6377c33-a923-4f14-8587-531c474c7b48" providerId="ADAL" clId="{6ECD27E6-B224-41CD-B4E0-E297462320DD}" dt="2023-11-24T08:43:55.125" v="54044"/>
          <ac:spMkLst>
            <pc:docMk/>
            <pc:sldMk cId="4099999037" sldId="2147478570"/>
            <ac:spMk id="357" creationId="{1D66412D-24A5-5E30-1BBF-FD1A53E78AE8}"/>
          </ac:spMkLst>
        </pc:spChg>
        <pc:spChg chg="add del mod">
          <ac:chgData name="Steiner Andreas 6206 ED" userId="e6377c33-a923-4f14-8587-531c474c7b48" providerId="ADAL" clId="{6ECD27E6-B224-41CD-B4E0-E297462320DD}" dt="2023-11-24T08:43:57.175" v="54199"/>
          <ac:spMkLst>
            <pc:docMk/>
            <pc:sldMk cId="4099999037" sldId="2147478570"/>
            <ac:spMk id="358" creationId="{9FFF92D4-0E73-7FD4-0974-F3C66503AE90}"/>
          </ac:spMkLst>
        </pc:spChg>
        <pc:spChg chg="add del mod">
          <ac:chgData name="Steiner Andreas 6206 ED" userId="e6377c33-a923-4f14-8587-531c474c7b48" providerId="ADAL" clId="{6ECD27E6-B224-41CD-B4E0-E297462320DD}" dt="2023-11-24T08:43:59.347" v="54354"/>
          <ac:spMkLst>
            <pc:docMk/>
            <pc:sldMk cId="4099999037" sldId="2147478570"/>
            <ac:spMk id="359" creationId="{1D36C5FD-9FDF-3F1F-D749-1831445F5760}"/>
          </ac:spMkLst>
        </pc:spChg>
        <pc:spChg chg="add del mod">
          <ac:chgData name="Steiner Andreas 6206 ED" userId="e6377c33-a923-4f14-8587-531c474c7b48" providerId="ADAL" clId="{6ECD27E6-B224-41CD-B4E0-E297462320DD}" dt="2023-11-24T08:44:01.616" v="54509"/>
          <ac:spMkLst>
            <pc:docMk/>
            <pc:sldMk cId="4099999037" sldId="2147478570"/>
            <ac:spMk id="360" creationId="{33029B5B-75A1-8C7D-0159-818E59CB676B}"/>
          </ac:spMkLst>
        </pc:spChg>
        <pc:spChg chg="add del mod">
          <ac:chgData name="Steiner Andreas 6206 ED" userId="e6377c33-a923-4f14-8587-531c474c7b48" providerId="ADAL" clId="{6ECD27E6-B224-41CD-B4E0-E297462320DD}" dt="2023-11-24T08:44:03.760" v="54664"/>
          <ac:spMkLst>
            <pc:docMk/>
            <pc:sldMk cId="4099999037" sldId="2147478570"/>
            <ac:spMk id="361" creationId="{4470BE38-5E35-5228-CF49-9A7829E7D6BB}"/>
          </ac:spMkLst>
        </pc:spChg>
        <pc:spChg chg="add del mod">
          <ac:chgData name="Steiner Andreas 6206 ED" userId="e6377c33-a923-4f14-8587-531c474c7b48" providerId="ADAL" clId="{6ECD27E6-B224-41CD-B4E0-E297462320DD}" dt="2023-11-24T08:44:05.853" v="54819"/>
          <ac:spMkLst>
            <pc:docMk/>
            <pc:sldMk cId="4099999037" sldId="2147478570"/>
            <ac:spMk id="362" creationId="{9D7BAB43-AA3C-0923-1457-4C066199800E}"/>
          </ac:spMkLst>
        </pc:spChg>
        <pc:spChg chg="add del mod">
          <ac:chgData name="Steiner Andreas 6206 ED" userId="e6377c33-a923-4f14-8587-531c474c7b48" providerId="ADAL" clId="{6ECD27E6-B224-41CD-B4E0-E297462320DD}" dt="2023-11-24T08:44:07.831" v="54974"/>
          <ac:spMkLst>
            <pc:docMk/>
            <pc:sldMk cId="4099999037" sldId="2147478570"/>
            <ac:spMk id="363" creationId="{D796D899-0D43-748A-621E-368D984F9B2F}"/>
          </ac:spMkLst>
        </pc:spChg>
        <pc:spChg chg="add del mod">
          <ac:chgData name="Steiner Andreas 6206 ED" userId="e6377c33-a923-4f14-8587-531c474c7b48" providerId="ADAL" clId="{6ECD27E6-B224-41CD-B4E0-E297462320DD}" dt="2023-11-24T08:44:09.816" v="55129"/>
          <ac:spMkLst>
            <pc:docMk/>
            <pc:sldMk cId="4099999037" sldId="2147478570"/>
            <ac:spMk id="364" creationId="{87D6A69B-55E1-10C5-AB55-98F02330108A}"/>
          </ac:spMkLst>
        </pc:spChg>
        <pc:spChg chg="add del mod">
          <ac:chgData name="Steiner Andreas 6206 ED" userId="e6377c33-a923-4f14-8587-531c474c7b48" providerId="ADAL" clId="{6ECD27E6-B224-41CD-B4E0-E297462320DD}" dt="2023-11-24T08:44:11.810" v="55284"/>
          <ac:spMkLst>
            <pc:docMk/>
            <pc:sldMk cId="4099999037" sldId="2147478570"/>
            <ac:spMk id="365" creationId="{8CFC0A82-C527-4193-4137-15FC0CF7D2A6}"/>
          </ac:spMkLst>
        </pc:spChg>
        <pc:spChg chg="add del mod">
          <ac:chgData name="Steiner Andreas 6206 ED" userId="e6377c33-a923-4f14-8587-531c474c7b48" providerId="ADAL" clId="{6ECD27E6-B224-41CD-B4E0-E297462320DD}" dt="2023-11-24T08:44:13.967" v="55439"/>
          <ac:spMkLst>
            <pc:docMk/>
            <pc:sldMk cId="4099999037" sldId="2147478570"/>
            <ac:spMk id="366" creationId="{B2FD088D-0DCA-EF48-42C7-1DD06B937822}"/>
          </ac:spMkLst>
        </pc:spChg>
        <pc:spChg chg="add del mod">
          <ac:chgData name="Steiner Andreas 6206 ED" userId="e6377c33-a923-4f14-8587-531c474c7b48" providerId="ADAL" clId="{6ECD27E6-B224-41CD-B4E0-E297462320DD}" dt="2023-11-24T08:44:16.054" v="55594"/>
          <ac:spMkLst>
            <pc:docMk/>
            <pc:sldMk cId="4099999037" sldId="2147478570"/>
            <ac:spMk id="367" creationId="{B1FD6B1B-F391-A2ED-D891-0E1C7FEC28FA}"/>
          </ac:spMkLst>
        </pc:spChg>
        <pc:spChg chg="add del mod">
          <ac:chgData name="Steiner Andreas 6206 ED" userId="e6377c33-a923-4f14-8587-531c474c7b48" providerId="ADAL" clId="{6ECD27E6-B224-41CD-B4E0-E297462320DD}" dt="2023-11-24T08:44:18.506" v="55749"/>
          <ac:spMkLst>
            <pc:docMk/>
            <pc:sldMk cId="4099999037" sldId="2147478570"/>
            <ac:spMk id="368" creationId="{3C901A59-E618-6F99-06D7-2BD08FE6A45A}"/>
          </ac:spMkLst>
        </pc:spChg>
        <pc:spChg chg="add del mod">
          <ac:chgData name="Steiner Andreas 6206 ED" userId="e6377c33-a923-4f14-8587-531c474c7b48" providerId="ADAL" clId="{6ECD27E6-B224-41CD-B4E0-E297462320DD}" dt="2023-11-24T08:44:21.352" v="55904"/>
          <ac:spMkLst>
            <pc:docMk/>
            <pc:sldMk cId="4099999037" sldId="2147478570"/>
            <ac:spMk id="369" creationId="{EC4A622C-3D1C-3E46-BEB1-B683C2850DA9}"/>
          </ac:spMkLst>
        </pc:spChg>
        <pc:spChg chg="add del mod">
          <ac:chgData name="Steiner Andreas 6206 ED" userId="e6377c33-a923-4f14-8587-531c474c7b48" providerId="ADAL" clId="{6ECD27E6-B224-41CD-B4E0-E297462320DD}" dt="2023-11-24T08:44:23.764" v="56059"/>
          <ac:spMkLst>
            <pc:docMk/>
            <pc:sldMk cId="4099999037" sldId="2147478570"/>
            <ac:spMk id="370" creationId="{45CBE318-9ED6-D6C2-EA3C-318E7A09DC9E}"/>
          </ac:spMkLst>
        </pc:spChg>
        <pc:spChg chg="add del mod">
          <ac:chgData name="Steiner Andreas 6206 ED" userId="e6377c33-a923-4f14-8587-531c474c7b48" providerId="ADAL" clId="{6ECD27E6-B224-41CD-B4E0-E297462320DD}" dt="2023-11-24T08:44:25.697" v="56214"/>
          <ac:spMkLst>
            <pc:docMk/>
            <pc:sldMk cId="4099999037" sldId="2147478570"/>
            <ac:spMk id="371" creationId="{B0F57C5E-064A-5DC8-8019-D1AC91C46C29}"/>
          </ac:spMkLst>
        </pc:spChg>
        <pc:spChg chg="add del mod">
          <ac:chgData name="Steiner Andreas 6206 ED" userId="e6377c33-a923-4f14-8587-531c474c7b48" providerId="ADAL" clId="{6ECD27E6-B224-41CD-B4E0-E297462320DD}" dt="2023-11-24T08:44:27.877" v="56369"/>
          <ac:spMkLst>
            <pc:docMk/>
            <pc:sldMk cId="4099999037" sldId="2147478570"/>
            <ac:spMk id="372" creationId="{8C2599E1-AC7E-2384-5FBC-C1868E65F7C7}"/>
          </ac:spMkLst>
        </pc:spChg>
        <pc:spChg chg="add del mod">
          <ac:chgData name="Steiner Andreas 6206 ED" userId="e6377c33-a923-4f14-8587-531c474c7b48" providerId="ADAL" clId="{6ECD27E6-B224-41CD-B4E0-E297462320DD}" dt="2023-11-24T08:44:29.888" v="56524"/>
          <ac:spMkLst>
            <pc:docMk/>
            <pc:sldMk cId="4099999037" sldId="2147478570"/>
            <ac:spMk id="373" creationId="{6D29961C-0FA2-3449-3A95-72216C993504}"/>
          </ac:spMkLst>
        </pc:spChg>
        <pc:spChg chg="add del mod">
          <ac:chgData name="Steiner Andreas 6206 ED" userId="e6377c33-a923-4f14-8587-531c474c7b48" providerId="ADAL" clId="{6ECD27E6-B224-41CD-B4E0-E297462320DD}" dt="2023-11-24T08:44:31.867" v="56679"/>
          <ac:spMkLst>
            <pc:docMk/>
            <pc:sldMk cId="4099999037" sldId="2147478570"/>
            <ac:spMk id="374" creationId="{552C67B2-A186-4904-5834-C2C36901D086}"/>
          </ac:spMkLst>
        </pc:spChg>
        <pc:spChg chg="add del mod">
          <ac:chgData name="Steiner Andreas 6206 ED" userId="e6377c33-a923-4f14-8587-531c474c7b48" providerId="ADAL" clId="{6ECD27E6-B224-41CD-B4E0-E297462320DD}" dt="2023-11-24T08:44:33.825" v="56834"/>
          <ac:spMkLst>
            <pc:docMk/>
            <pc:sldMk cId="4099999037" sldId="2147478570"/>
            <ac:spMk id="375" creationId="{BC6C0E31-B897-8751-C072-1BC7F19C3E5E}"/>
          </ac:spMkLst>
        </pc:spChg>
        <pc:spChg chg="add del mod">
          <ac:chgData name="Steiner Andreas 6206 ED" userId="e6377c33-a923-4f14-8587-531c474c7b48" providerId="ADAL" clId="{6ECD27E6-B224-41CD-B4E0-E297462320DD}" dt="2023-11-24T08:44:36.231" v="56989"/>
          <ac:spMkLst>
            <pc:docMk/>
            <pc:sldMk cId="4099999037" sldId="2147478570"/>
            <ac:spMk id="376" creationId="{951FE627-31ED-7487-559C-A0D17FC38739}"/>
          </ac:spMkLst>
        </pc:spChg>
        <pc:spChg chg="add del mod">
          <ac:chgData name="Steiner Andreas 6206 ED" userId="e6377c33-a923-4f14-8587-531c474c7b48" providerId="ADAL" clId="{6ECD27E6-B224-41CD-B4E0-E297462320DD}" dt="2023-11-24T08:44:38.840" v="57144"/>
          <ac:spMkLst>
            <pc:docMk/>
            <pc:sldMk cId="4099999037" sldId="2147478570"/>
            <ac:spMk id="377" creationId="{E2033CD6-D0DF-C876-555B-7F674B8C51D6}"/>
          </ac:spMkLst>
        </pc:spChg>
        <pc:spChg chg="add del mod">
          <ac:chgData name="Steiner Andreas 6206 ED" userId="e6377c33-a923-4f14-8587-531c474c7b48" providerId="ADAL" clId="{6ECD27E6-B224-41CD-B4E0-E297462320DD}" dt="2023-11-24T08:44:41.141" v="57299"/>
          <ac:spMkLst>
            <pc:docMk/>
            <pc:sldMk cId="4099999037" sldId="2147478570"/>
            <ac:spMk id="378" creationId="{31913479-4550-3E5B-60B1-1F207BF18A2B}"/>
          </ac:spMkLst>
        </pc:spChg>
        <pc:spChg chg="add del mod">
          <ac:chgData name="Steiner Andreas 6206 ED" userId="e6377c33-a923-4f14-8587-531c474c7b48" providerId="ADAL" clId="{6ECD27E6-B224-41CD-B4E0-E297462320DD}" dt="2023-11-24T08:44:43.357" v="57454"/>
          <ac:spMkLst>
            <pc:docMk/>
            <pc:sldMk cId="4099999037" sldId="2147478570"/>
            <ac:spMk id="379" creationId="{E1CFB3D0-0732-2665-94A7-1A3C4D9CA340}"/>
          </ac:spMkLst>
        </pc:spChg>
        <pc:spChg chg="add del mod">
          <ac:chgData name="Steiner Andreas 6206 ED" userId="e6377c33-a923-4f14-8587-531c474c7b48" providerId="ADAL" clId="{6ECD27E6-B224-41CD-B4E0-E297462320DD}" dt="2023-11-24T08:44:45.512" v="57609"/>
          <ac:spMkLst>
            <pc:docMk/>
            <pc:sldMk cId="4099999037" sldId="2147478570"/>
            <ac:spMk id="380" creationId="{9576E479-E615-2150-51B3-0E0FABA04666}"/>
          </ac:spMkLst>
        </pc:spChg>
        <pc:spChg chg="add del mod">
          <ac:chgData name="Steiner Andreas 6206 ED" userId="e6377c33-a923-4f14-8587-531c474c7b48" providerId="ADAL" clId="{6ECD27E6-B224-41CD-B4E0-E297462320DD}" dt="2023-11-24T08:44:48.259" v="57764"/>
          <ac:spMkLst>
            <pc:docMk/>
            <pc:sldMk cId="4099999037" sldId="2147478570"/>
            <ac:spMk id="381" creationId="{860409BF-9306-7045-7ED0-D8B7B0DC022D}"/>
          </ac:spMkLst>
        </pc:spChg>
        <pc:spChg chg="add del mod">
          <ac:chgData name="Steiner Andreas 6206 ED" userId="e6377c33-a923-4f14-8587-531c474c7b48" providerId="ADAL" clId="{6ECD27E6-B224-41CD-B4E0-E297462320DD}" dt="2023-11-24T08:44:50.516" v="57919"/>
          <ac:spMkLst>
            <pc:docMk/>
            <pc:sldMk cId="4099999037" sldId="2147478570"/>
            <ac:spMk id="382" creationId="{5373AA76-8D72-8FD0-D081-2436B3274C18}"/>
          </ac:spMkLst>
        </pc:spChg>
        <pc:spChg chg="add del mod">
          <ac:chgData name="Steiner Andreas 6206 ED" userId="e6377c33-a923-4f14-8587-531c474c7b48" providerId="ADAL" clId="{6ECD27E6-B224-41CD-B4E0-E297462320DD}" dt="2023-11-24T08:44:52.663" v="58074"/>
          <ac:spMkLst>
            <pc:docMk/>
            <pc:sldMk cId="4099999037" sldId="2147478570"/>
            <ac:spMk id="383" creationId="{CCCF3300-8E80-AF8B-E24A-B97BC5B4E2E3}"/>
          </ac:spMkLst>
        </pc:spChg>
        <pc:spChg chg="add del mod">
          <ac:chgData name="Steiner Andreas 6206 ED" userId="e6377c33-a923-4f14-8587-531c474c7b48" providerId="ADAL" clId="{6ECD27E6-B224-41CD-B4E0-E297462320DD}" dt="2023-11-24T08:44:54.856" v="58229"/>
          <ac:spMkLst>
            <pc:docMk/>
            <pc:sldMk cId="4099999037" sldId="2147478570"/>
            <ac:spMk id="384" creationId="{B67A62CC-9BC2-CC94-6DCE-5AD059E8B3BE}"/>
          </ac:spMkLst>
        </pc:spChg>
        <pc:spChg chg="add del mod">
          <ac:chgData name="Steiner Andreas 6206 ED" userId="e6377c33-a923-4f14-8587-531c474c7b48" providerId="ADAL" clId="{6ECD27E6-B224-41CD-B4E0-E297462320DD}" dt="2023-11-24T08:44:56.874" v="58384"/>
          <ac:spMkLst>
            <pc:docMk/>
            <pc:sldMk cId="4099999037" sldId="2147478570"/>
            <ac:spMk id="385" creationId="{11024AB0-CFD5-0D1A-5311-88F9305BCB74}"/>
          </ac:spMkLst>
        </pc:spChg>
        <pc:spChg chg="add del mod">
          <ac:chgData name="Steiner Andreas 6206 ED" userId="e6377c33-a923-4f14-8587-531c474c7b48" providerId="ADAL" clId="{6ECD27E6-B224-41CD-B4E0-E297462320DD}" dt="2023-11-24T08:44:58.809" v="58539"/>
          <ac:spMkLst>
            <pc:docMk/>
            <pc:sldMk cId="4099999037" sldId="2147478570"/>
            <ac:spMk id="386" creationId="{FC58BA3F-643B-DA33-E354-D8DD20A1C61F}"/>
          </ac:spMkLst>
        </pc:spChg>
        <pc:spChg chg="add del mod">
          <ac:chgData name="Steiner Andreas 6206 ED" userId="e6377c33-a923-4f14-8587-531c474c7b48" providerId="ADAL" clId="{6ECD27E6-B224-41CD-B4E0-E297462320DD}" dt="2023-11-24T08:45:00.974" v="58694"/>
          <ac:spMkLst>
            <pc:docMk/>
            <pc:sldMk cId="4099999037" sldId="2147478570"/>
            <ac:spMk id="387" creationId="{ED4E6535-1CF0-FC52-5CB2-1D1B16EB8548}"/>
          </ac:spMkLst>
        </pc:spChg>
        <pc:spChg chg="add del mod">
          <ac:chgData name="Steiner Andreas 6206 ED" userId="e6377c33-a923-4f14-8587-531c474c7b48" providerId="ADAL" clId="{6ECD27E6-B224-41CD-B4E0-E297462320DD}" dt="2023-11-24T08:45:02.891" v="58849"/>
          <ac:spMkLst>
            <pc:docMk/>
            <pc:sldMk cId="4099999037" sldId="2147478570"/>
            <ac:spMk id="388" creationId="{AF9294F1-D98B-DAE0-D638-D4DC3448F67C}"/>
          </ac:spMkLst>
        </pc:spChg>
        <pc:spChg chg="add del mod">
          <ac:chgData name="Steiner Andreas 6206 ED" userId="e6377c33-a923-4f14-8587-531c474c7b48" providerId="ADAL" clId="{6ECD27E6-B224-41CD-B4E0-E297462320DD}" dt="2023-11-24T08:45:04.740" v="59004"/>
          <ac:spMkLst>
            <pc:docMk/>
            <pc:sldMk cId="4099999037" sldId="2147478570"/>
            <ac:spMk id="389" creationId="{5EEA49EB-A47B-5D81-5515-D89DDE013696}"/>
          </ac:spMkLst>
        </pc:spChg>
        <pc:spChg chg="add del mod">
          <ac:chgData name="Steiner Andreas 6206 ED" userId="e6377c33-a923-4f14-8587-531c474c7b48" providerId="ADAL" clId="{6ECD27E6-B224-41CD-B4E0-E297462320DD}" dt="2023-11-24T08:45:06.598" v="59159"/>
          <ac:spMkLst>
            <pc:docMk/>
            <pc:sldMk cId="4099999037" sldId="2147478570"/>
            <ac:spMk id="390" creationId="{B970CE40-57B3-6EFC-2F19-D9E28B75B66C}"/>
          </ac:spMkLst>
        </pc:spChg>
        <pc:spChg chg="add del mod">
          <ac:chgData name="Steiner Andreas 6206 ED" userId="e6377c33-a923-4f14-8587-531c474c7b48" providerId="ADAL" clId="{6ECD27E6-B224-41CD-B4E0-E297462320DD}" dt="2023-11-24T08:45:08.432" v="59314"/>
          <ac:spMkLst>
            <pc:docMk/>
            <pc:sldMk cId="4099999037" sldId="2147478570"/>
            <ac:spMk id="391" creationId="{DE2E77C1-DB93-D520-14DC-628EA66A53B2}"/>
          </ac:spMkLst>
        </pc:spChg>
        <pc:spChg chg="add del mod">
          <ac:chgData name="Steiner Andreas 6206 ED" userId="e6377c33-a923-4f14-8587-531c474c7b48" providerId="ADAL" clId="{6ECD27E6-B224-41CD-B4E0-E297462320DD}" dt="2023-11-24T08:45:10.241" v="59469"/>
          <ac:spMkLst>
            <pc:docMk/>
            <pc:sldMk cId="4099999037" sldId="2147478570"/>
            <ac:spMk id="392" creationId="{AB309F4A-C27F-3228-3137-C50C25E4FD0F}"/>
          </ac:spMkLst>
        </pc:spChg>
        <pc:spChg chg="add del mod">
          <ac:chgData name="Steiner Andreas 6206 ED" userId="e6377c33-a923-4f14-8587-531c474c7b48" providerId="ADAL" clId="{6ECD27E6-B224-41CD-B4E0-E297462320DD}" dt="2023-11-24T08:45:12.324" v="59624"/>
          <ac:spMkLst>
            <pc:docMk/>
            <pc:sldMk cId="4099999037" sldId="2147478570"/>
            <ac:spMk id="393" creationId="{F8D776C3-0D44-D0F5-DAAE-70F8793450A1}"/>
          </ac:spMkLst>
        </pc:spChg>
        <pc:spChg chg="add del mod">
          <ac:chgData name="Steiner Andreas 6206 ED" userId="e6377c33-a923-4f14-8587-531c474c7b48" providerId="ADAL" clId="{6ECD27E6-B224-41CD-B4E0-E297462320DD}" dt="2023-11-24T08:45:14.258" v="59779"/>
          <ac:spMkLst>
            <pc:docMk/>
            <pc:sldMk cId="4099999037" sldId="2147478570"/>
            <ac:spMk id="394" creationId="{4F2ED470-25A2-DD8A-1C06-FA09B7E3A994}"/>
          </ac:spMkLst>
        </pc:spChg>
        <pc:spChg chg="add del mod">
          <ac:chgData name="Steiner Andreas 6206 ED" userId="e6377c33-a923-4f14-8587-531c474c7b48" providerId="ADAL" clId="{6ECD27E6-B224-41CD-B4E0-E297462320DD}" dt="2023-11-24T08:45:16.332" v="59934"/>
          <ac:spMkLst>
            <pc:docMk/>
            <pc:sldMk cId="4099999037" sldId="2147478570"/>
            <ac:spMk id="395" creationId="{AAAD9BC1-78ED-94C8-E663-FC53C090A30E}"/>
          </ac:spMkLst>
        </pc:spChg>
        <pc:spChg chg="add del mod">
          <ac:chgData name="Steiner Andreas 6206 ED" userId="e6377c33-a923-4f14-8587-531c474c7b48" providerId="ADAL" clId="{6ECD27E6-B224-41CD-B4E0-E297462320DD}" dt="2023-11-24T08:45:18.270" v="60089"/>
          <ac:spMkLst>
            <pc:docMk/>
            <pc:sldMk cId="4099999037" sldId="2147478570"/>
            <ac:spMk id="396" creationId="{DC45FE9E-EE7D-C8F2-1296-E17415C8DEFE}"/>
          </ac:spMkLst>
        </pc:spChg>
        <pc:spChg chg="add del mod">
          <ac:chgData name="Steiner Andreas 6206 ED" userId="e6377c33-a923-4f14-8587-531c474c7b48" providerId="ADAL" clId="{6ECD27E6-B224-41CD-B4E0-E297462320DD}" dt="2023-11-24T08:45:20.166" v="60244"/>
          <ac:spMkLst>
            <pc:docMk/>
            <pc:sldMk cId="4099999037" sldId="2147478570"/>
            <ac:spMk id="397" creationId="{65551175-7EA8-FDDE-41BD-823D9EEE20AB}"/>
          </ac:spMkLst>
        </pc:spChg>
        <pc:spChg chg="add del mod">
          <ac:chgData name="Steiner Andreas 6206 ED" userId="e6377c33-a923-4f14-8587-531c474c7b48" providerId="ADAL" clId="{6ECD27E6-B224-41CD-B4E0-E297462320DD}" dt="2023-11-24T08:45:22.316" v="60399"/>
          <ac:spMkLst>
            <pc:docMk/>
            <pc:sldMk cId="4099999037" sldId="2147478570"/>
            <ac:spMk id="398" creationId="{A66E788A-B264-400B-849C-D4E8F80805A8}"/>
          </ac:spMkLst>
        </pc:spChg>
        <pc:spChg chg="add del mod">
          <ac:chgData name="Steiner Andreas 6206 ED" userId="e6377c33-a923-4f14-8587-531c474c7b48" providerId="ADAL" clId="{6ECD27E6-B224-41CD-B4E0-E297462320DD}" dt="2023-11-24T08:45:24.517" v="60554"/>
          <ac:spMkLst>
            <pc:docMk/>
            <pc:sldMk cId="4099999037" sldId="2147478570"/>
            <ac:spMk id="399" creationId="{53A5540F-BDD1-31D4-E2A3-E1E857949D0C}"/>
          </ac:spMkLst>
        </pc:spChg>
        <pc:spChg chg="add del mod">
          <ac:chgData name="Steiner Andreas 6206 ED" userId="e6377c33-a923-4f14-8587-531c474c7b48" providerId="ADAL" clId="{6ECD27E6-B224-41CD-B4E0-E297462320DD}" dt="2023-11-24T08:45:26.476" v="60709"/>
          <ac:spMkLst>
            <pc:docMk/>
            <pc:sldMk cId="4099999037" sldId="2147478570"/>
            <ac:spMk id="400" creationId="{E9457D69-3114-7FC9-52F2-231CD8ABCA1F}"/>
          </ac:spMkLst>
        </pc:spChg>
        <pc:spChg chg="add del mod">
          <ac:chgData name="Steiner Andreas 6206 ED" userId="e6377c33-a923-4f14-8587-531c474c7b48" providerId="ADAL" clId="{6ECD27E6-B224-41CD-B4E0-E297462320DD}" dt="2023-11-24T08:45:28.368" v="60864"/>
          <ac:spMkLst>
            <pc:docMk/>
            <pc:sldMk cId="4099999037" sldId="2147478570"/>
            <ac:spMk id="401" creationId="{4B704665-39EA-9860-4D5C-FD08BAD8E663}"/>
          </ac:spMkLst>
        </pc:spChg>
        <pc:spChg chg="add del mod">
          <ac:chgData name="Steiner Andreas 6206 ED" userId="e6377c33-a923-4f14-8587-531c474c7b48" providerId="ADAL" clId="{6ECD27E6-B224-41CD-B4E0-E297462320DD}" dt="2023-11-24T08:45:30.191" v="61019"/>
          <ac:spMkLst>
            <pc:docMk/>
            <pc:sldMk cId="4099999037" sldId="2147478570"/>
            <ac:spMk id="402" creationId="{70355D3E-2BA6-014F-7BC0-AA752F9C8F81}"/>
          </ac:spMkLst>
        </pc:spChg>
        <pc:spChg chg="add del mod">
          <ac:chgData name="Steiner Andreas 6206 ED" userId="e6377c33-a923-4f14-8587-531c474c7b48" providerId="ADAL" clId="{6ECD27E6-B224-41CD-B4E0-E297462320DD}" dt="2023-11-24T08:45:32.064" v="61174"/>
          <ac:spMkLst>
            <pc:docMk/>
            <pc:sldMk cId="4099999037" sldId="2147478570"/>
            <ac:spMk id="403" creationId="{FC4D4830-2915-BAAC-126A-AB5EE18D3BF2}"/>
          </ac:spMkLst>
        </pc:spChg>
        <pc:spChg chg="add del mod">
          <ac:chgData name="Steiner Andreas 6206 ED" userId="e6377c33-a923-4f14-8587-531c474c7b48" providerId="ADAL" clId="{6ECD27E6-B224-41CD-B4E0-E297462320DD}" dt="2023-11-24T08:45:34.191" v="61329"/>
          <ac:spMkLst>
            <pc:docMk/>
            <pc:sldMk cId="4099999037" sldId="2147478570"/>
            <ac:spMk id="404" creationId="{17DD8035-EE3A-1345-0276-BEFF2E59FB65}"/>
          </ac:spMkLst>
        </pc:spChg>
        <pc:spChg chg="add del mod">
          <ac:chgData name="Steiner Andreas 6206 ED" userId="e6377c33-a923-4f14-8587-531c474c7b48" providerId="ADAL" clId="{6ECD27E6-B224-41CD-B4E0-E297462320DD}" dt="2023-11-24T08:45:36.246" v="61484"/>
          <ac:spMkLst>
            <pc:docMk/>
            <pc:sldMk cId="4099999037" sldId="2147478570"/>
            <ac:spMk id="405" creationId="{84D07991-A18E-FD7C-4BF0-D62F0F05FE00}"/>
          </ac:spMkLst>
        </pc:spChg>
        <pc:spChg chg="add del mod">
          <ac:chgData name="Steiner Andreas 6206 ED" userId="e6377c33-a923-4f14-8587-531c474c7b48" providerId="ADAL" clId="{6ECD27E6-B224-41CD-B4E0-E297462320DD}" dt="2023-11-24T08:45:38.133" v="61639"/>
          <ac:spMkLst>
            <pc:docMk/>
            <pc:sldMk cId="4099999037" sldId="2147478570"/>
            <ac:spMk id="406" creationId="{328B5617-7E16-BBD3-DBC1-E41855B04D82}"/>
          </ac:spMkLst>
        </pc:spChg>
        <pc:spChg chg="add del mod">
          <ac:chgData name="Steiner Andreas 6206 ED" userId="e6377c33-a923-4f14-8587-531c474c7b48" providerId="ADAL" clId="{6ECD27E6-B224-41CD-B4E0-E297462320DD}" dt="2023-11-24T08:45:40.012" v="61794"/>
          <ac:spMkLst>
            <pc:docMk/>
            <pc:sldMk cId="4099999037" sldId="2147478570"/>
            <ac:spMk id="407" creationId="{81D4D968-F9EF-15A7-B11B-74E4188E8252}"/>
          </ac:spMkLst>
        </pc:spChg>
        <pc:spChg chg="add del mod">
          <ac:chgData name="Steiner Andreas 6206 ED" userId="e6377c33-a923-4f14-8587-531c474c7b48" providerId="ADAL" clId="{6ECD27E6-B224-41CD-B4E0-E297462320DD}" dt="2023-11-24T08:45:42.021" v="61949"/>
          <ac:spMkLst>
            <pc:docMk/>
            <pc:sldMk cId="4099999037" sldId="2147478570"/>
            <ac:spMk id="408" creationId="{61038FFE-2C92-1F1A-0394-26DC16D512DD}"/>
          </ac:spMkLst>
        </pc:spChg>
        <pc:spChg chg="add del mod">
          <ac:chgData name="Steiner Andreas 6206 ED" userId="e6377c33-a923-4f14-8587-531c474c7b48" providerId="ADAL" clId="{6ECD27E6-B224-41CD-B4E0-E297462320DD}" dt="2023-11-24T08:45:44.007" v="62104"/>
          <ac:spMkLst>
            <pc:docMk/>
            <pc:sldMk cId="4099999037" sldId="2147478570"/>
            <ac:spMk id="409" creationId="{EF9089FE-278A-E8CC-40CD-8B27EB2B8A6E}"/>
          </ac:spMkLst>
        </pc:spChg>
        <pc:spChg chg="add del mod">
          <ac:chgData name="Steiner Andreas 6206 ED" userId="e6377c33-a923-4f14-8587-531c474c7b48" providerId="ADAL" clId="{6ECD27E6-B224-41CD-B4E0-E297462320DD}" dt="2023-11-24T08:45:46.116" v="62259"/>
          <ac:spMkLst>
            <pc:docMk/>
            <pc:sldMk cId="4099999037" sldId="2147478570"/>
            <ac:spMk id="410" creationId="{B5069B04-609F-0038-4FED-FA83ABEC194A}"/>
          </ac:spMkLst>
        </pc:spChg>
        <pc:spChg chg="add del mod">
          <ac:chgData name="Steiner Andreas 6206 ED" userId="e6377c33-a923-4f14-8587-531c474c7b48" providerId="ADAL" clId="{6ECD27E6-B224-41CD-B4E0-E297462320DD}" dt="2023-11-24T08:45:48.015" v="62414"/>
          <ac:spMkLst>
            <pc:docMk/>
            <pc:sldMk cId="4099999037" sldId="2147478570"/>
            <ac:spMk id="411" creationId="{6B9D0E10-ADAC-AA94-03FC-1CCE7B4D0D24}"/>
          </ac:spMkLst>
        </pc:spChg>
        <pc:spChg chg="add del mod">
          <ac:chgData name="Steiner Andreas 6206 ED" userId="e6377c33-a923-4f14-8587-531c474c7b48" providerId="ADAL" clId="{6ECD27E6-B224-41CD-B4E0-E297462320DD}" dt="2023-11-24T08:45:50.335" v="62569"/>
          <ac:spMkLst>
            <pc:docMk/>
            <pc:sldMk cId="4099999037" sldId="2147478570"/>
            <ac:spMk id="412" creationId="{0635787F-C702-F00D-B840-D6A890B0CDE2}"/>
          </ac:spMkLst>
        </pc:spChg>
        <pc:spChg chg="add del mod">
          <ac:chgData name="Steiner Andreas 6206 ED" userId="e6377c33-a923-4f14-8587-531c474c7b48" providerId="ADAL" clId="{6ECD27E6-B224-41CD-B4E0-E297462320DD}" dt="2023-11-24T08:45:52.366" v="62724"/>
          <ac:spMkLst>
            <pc:docMk/>
            <pc:sldMk cId="4099999037" sldId="2147478570"/>
            <ac:spMk id="413" creationId="{A5311A1E-FF09-532A-AD19-5EA76F96FC08}"/>
          </ac:spMkLst>
        </pc:spChg>
        <pc:spChg chg="add del mod">
          <ac:chgData name="Steiner Andreas 6206 ED" userId="e6377c33-a923-4f14-8587-531c474c7b48" providerId="ADAL" clId="{6ECD27E6-B224-41CD-B4E0-E297462320DD}" dt="2023-11-24T08:45:54.386" v="62879"/>
          <ac:spMkLst>
            <pc:docMk/>
            <pc:sldMk cId="4099999037" sldId="2147478570"/>
            <ac:spMk id="414" creationId="{A6BDCAD3-7F60-17F6-AEB3-3BB3C707E172}"/>
          </ac:spMkLst>
        </pc:spChg>
        <pc:spChg chg="add del mod">
          <ac:chgData name="Steiner Andreas 6206 ED" userId="e6377c33-a923-4f14-8587-531c474c7b48" providerId="ADAL" clId="{6ECD27E6-B224-41CD-B4E0-E297462320DD}" dt="2023-11-24T08:45:56.566" v="63034"/>
          <ac:spMkLst>
            <pc:docMk/>
            <pc:sldMk cId="4099999037" sldId="2147478570"/>
            <ac:spMk id="415" creationId="{0947BB85-8760-54C9-CA84-B4D7403C130E}"/>
          </ac:spMkLst>
        </pc:spChg>
        <pc:spChg chg="add del mod">
          <ac:chgData name="Steiner Andreas 6206 ED" userId="e6377c33-a923-4f14-8587-531c474c7b48" providerId="ADAL" clId="{6ECD27E6-B224-41CD-B4E0-E297462320DD}" dt="2023-11-24T08:45:58.600" v="63189"/>
          <ac:spMkLst>
            <pc:docMk/>
            <pc:sldMk cId="4099999037" sldId="2147478570"/>
            <ac:spMk id="416" creationId="{8D66C55E-6108-5637-9B1E-D0DD3694AFB2}"/>
          </ac:spMkLst>
        </pc:spChg>
        <pc:spChg chg="add del mod">
          <ac:chgData name="Steiner Andreas 6206 ED" userId="e6377c33-a923-4f14-8587-531c474c7b48" providerId="ADAL" clId="{6ECD27E6-B224-41CD-B4E0-E297462320DD}" dt="2023-11-24T08:46:00.683" v="63344"/>
          <ac:spMkLst>
            <pc:docMk/>
            <pc:sldMk cId="4099999037" sldId="2147478570"/>
            <ac:spMk id="417" creationId="{1CEE6899-718B-F917-504B-B1838EE91D61}"/>
          </ac:spMkLst>
        </pc:spChg>
        <pc:spChg chg="add del mod">
          <ac:chgData name="Steiner Andreas 6206 ED" userId="e6377c33-a923-4f14-8587-531c474c7b48" providerId="ADAL" clId="{6ECD27E6-B224-41CD-B4E0-E297462320DD}" dt="2023-11-24T08:46:02.758" v="63499"/>
          <ac:spMkLst>
            <pc:docMk/>
            <pc:sldMk cId="4099999037" sldId="2147478570"/>
            <ac:spMk id="418" creationId="{6A73B575-1FC1-32ED-7583-FDED59E068BD}"/>
          </ac:spMkLst>
        </pc:spChg>
        <pc:spChg chg="add del mod">
          <ac:chgData name="Steiner Andreas 6206 ED" userId="e6377c33-a923-4f14-8587-531c474c7b48" providerId="ADAL" clId="{6ECD27E6-B224-41CD-B4E0-E297462320DD}" dt="2023-11-24T08:46:05.143" v="63654"/>
          <ac:spMkLst>
            <pc:docMk/>
            <pc:sldMk cId="4099999037" sldId="2147478570"/>
            <ac:spMk id="419" creationId="{4C2DE3C6-54AF-3621-BF55-11564D89A2E9}"/>
          </ac:spMkLst>
        </pc:spChg>
        <pc:spChg chg="add del mod">
          <ac:chgData name="Steiner Andreas 6206 ED" userId="e6377c33-a923-4f14-8587-531c474c7b48" providerId="ADAL" clId="{6ECD27E6-B224-41CD-B4E0-E297462320DD}" dt="2023-11-24T08:46:07.679" v="63809"/>
          <ac:spMkLst>
            <pc:docMk/>
            <pc:sldMk cId="4099999037" sldId="2147478570"/>
            <ac:spMk id="420" creationId="{62A0A13C-9C7E-C363-0D8C-5123C65C04E0}"/>
          </ac:spMkLst>
        </pc:spChg>
        <pc:spChg chg="add del mod">
          <ac:chgData name="Steiner Andreas 6206 ED" userId="e6377c33-a923-4f14-8587-531c474c7b48" providerId="ADAL" clId="{6ECD27E6-B224-41CD-B4E0-E297462320DD}" dt="2023-11-24T08:46:09.875" v="63964"/>
          <ac:spMkLst>
            <pc:docMk/>
            <pc:sldMk cId="4099999037" sldId="2147478570"/>
            <ac:spMk id="421" creationId="{FDB24750-4254-D142-C47F-0F2B7E50FE67}"/>
          </ac:spMkLst>
        </pc:spChg>
        <pc:spChg chg="add del mod">
          <ac:chgData name="Steiner Andreas 6206 ED" userId="e6377c33-a923-4f14-8587-531c474c7b48" providerId="ADAL" clId="{6ECD27E6-B224-41CD-B4E0-E297462320DD}" dt="2023-11-24T08:46:12.060" v="64119"/>
          <ac:spMkLst>
            <pc:docMk/>
            <pc:sldMk cId="4099999037" sldId="2147478570"/>
            <ac:spMk id="422" creationId="{5EB29365-28B2-15FD-D14A-24C4F0BC567B}"/>
          </ac:spMkLst>
        </pc:spChg>
        <pc:spChg chg="add del mod">
          <ac:chgData name="Steiner Andreas 6206 ED" userId="e6377c33-a923-4f14-8587-531c474c7b48" providerId="ADAL" clId="{6ECD27E6-B224-41CD-B4E0-E297462320DD}" dt="2023-11-24T08:46:14.225" v="64274"/>
          <ac:spMkLst>
            <pc:docMk/>
            <pc:sldMk cId="4099999037" sldId="2147478570"/>
            <ac:spMk id="423" creationId="{C5ECA547-7B67-2AAF-6931-487105975AFA}"/>
          </ac:spMkLst>
        </pc:spChg>
        <pc:spChg chg="add del mod">
          <ac:chgData name="Steiner Andreas 6206 ED" userId="e6377c33-a923-4f14-8587-531c474c7b48" providerId="ADAL" clId="{6ECD27E6-B224-41CD-B4E0-E297462320DD}" dt="2023-11-24T08:46:16.445" v="64429"/>
          <ac:spMkLst>
            <pc:docMk/>
            <pc:sldMk cId="4099999037" sldId="2147478570"/>
            <ac:spMk id="424" creationId="{77832C6B-8C2C-FCB2-C373-3E9ED254FA14}"/>
          </ac:spMkLst>
        </pc:spChg>
        <pc:spChg chg="add del mod">
          <ac:chgData name="Steiner Andreas 6206 ED" userId="e6377c33-a923-4f14-8587-531c474c7b48" providerId="ADAL" clId="{6ECD27E6-B224-41CD-B4E0-E297462320DD}" dt="2023-11-24T08:46:18.313" v="64584"/>
          <ac:spMkLst>
            <pc:docMk/>
            <pc:sldMk cId="4099999037" sldId="2147478570"/>
            <ac:spMk id="425" creationId="{11BE4306-7260-81D0-A885-7B11872FEB77}"/>
          </ac:spMkLst>
        </pc:spChg>
        <pc:spChg chg="add del mod">
          <ac:chgData name="Steiner Andreas 6206 ED" userId="e6377c33-a923-4f14-8587-531c474c7b48" providerId="ADAL" clId="{6ECD27E6-B224-41CD-B4E0-E297462320DD}" dt="2023-11-24T08:46:20.837" v="64739"/>
          <ac:spMkLst>
            <pc:docMk/>
            <pc:sldMk cId="4099999037" sldId="2147478570"/>
            <ac:spMk id="426" creationId="{802CBE9D-BA3F-D021-4459-C53A2063B207}"/>
          </ac:spMkLst>
        </pc:spChg>
        <pc:spChg chg="add del mod">
          <ac:chgData name="Steiner Andreas 6206 ED" userId="e6377c33-a923-4f14-8587-531c474c7b48" providerId="ADAL" clId="{6ECD27E6-B224-41CD-B4E0-E297462320DD}" dt="2023-11-24T08:46:23.083" v="64894"/>
          <ac:spMkLst>
            <pc:docMk/>
            <pc:sldMk cId="4099999037" sldId="2147478570"/>
            <ac:spMk id="427" creationId="{B3999108-56C4-4DCE-3FA0-EA5CF1F56561}"/>
          </ac:spMkLst>
        </pc:spChg>
        <pc:spChg chg="add del mod">
          <ac:chgData name="Steiner Andreas 6206 ED" userId="e6377c33-a923-4f14-8587-531c474c7b48" providerId="ADAL" clId="{6ECD27E6-B224-41CD-B4E0-E297462320DD}" dt="2023-11-24T08:46:25.351" v="65049"/>
          <ac:spMkLst>
            <pc:docMk/>
            <pc:sldMk cId="4099999037" sldId="2147478570"/>
            <ac:spMk id="428" creationId="{F991858A-12A7-4E3E-6D05-E21ACE32B2DF}"/>
          </ac:spMkLst>
        </pc:spChg>
        <pc:spChg chg="add del mod">
          <ac:chgData name="Steiner Andreas 6206 ED" userId="e6377c33-a923-4f14-8587-531c474c7b48" providerId="ADAL" clId="{6ECD27E6-B224-41CD-B4E0-E297462320DD}" dt="2023-11-24T08:46:27.676" v="65204"/>
          <ac:spMkLst>
            <pc:docMk/>
            <pc:sldMk cId="4099999037" sldId="2147478570"/>
            <ac:spMk id="429" creationId="{5A19A5A4-9307-A592-5FF2-5973C74EB1CF}"/>
          </ac:spMkLst>
        </pc:spChg>
        <pc:spChg chg="add del mod">
          <ac:chgData name="Steiner Andreas 6206 ED" userId="e6377c33-a923-4f14-8587-531c474c7b48" providerId="ADAL" clId="{6ECD27E6-B224-41CD-B4E0-E297462320DD}" dt="2023-11-24T08:46:29.694" v="65359"/>
          <ac:spMkLst>
            <pc:docMk/>
            <pc:sldMk cId="4099999037" sldId="2147478570"/>
            <ac:spMk id="430" creationId="{CBBB920B-9F25-95CF-507C-9B9EFC67C2B5}"/>
          </ac:spMkLst>
        </pc:spChg>
        <pc:spChg chg="add del mod">
          <ac:chgData name="Steiner Andreas 6206 ED" userId="e6377c33-a923-4f14-8587-531c474c7b48" providerId="ADAL" clId="{6ECD27E6-B224-41CD-B4E0-E297462320DD}" dt="2023-11-24T08:46:32.175" v="65514"/>
          <ac:spMkLst>
            <pc:docMk/>
            <pc:sldMk cId="4099999037" sldId="2147478570"/>
            <ac:spMk id="431" creationId="{59F80B28-D923-0CEA-6E5F-FFEEC7F673FE}"/>
          </ac:spMkLst>
        </pc:spChg>
        <pc:spChg chg="add del mod">
          <ac:chgData name="Steiner Andreas 6206 ED" userId="e6377c33-a923-4f14-8587-531c474c7b48" providerId="ADAL" clId="{6ECD27E6-B224-41CD-B4E0-E297462320DD}" dt="2023-11-24T08:46:34.244" v="65669"/>
          <ac:spMkLst>
            <pc:docMk/>
            <pc:sldMk cId="4099999037" sldId="2147478570"/>
            <ac:spMk id="432" creationId="{9147CB92-BBDD-31EC-165C-5C0BA47C200E}"/>
          </ac:spMkLst>
        </pc:spChg>
        <pc:spChg chg="add del mod">
          <ac:chgData name="Steiner Andreas 6206 ED" userId="e6377c33-a923-4f14-8587-531c474c7b48" providerId="ADAL" clId="{6ECD27E6-B224-41CD-B4E0-E297462320DD}" dt="2023-11-24T08:46:36.177" v="65824"/>
          <ac:spMkLst>
            <pc:docMk/>
            <pc:sldMk cId="4099999037" sldId="2147478570"/>
            <ac:spMk id="433" creationId="{35B67468-EDDA-B380-ACF1-D9057FB7781C}"/>
          </ac:spMkLst>
        </pc:spChg>
        <pc:spChg chg="add del mod">
          <ac:chgData name="Steiner Andreas 6206 ED" userId="e6377c33-a923-4f14-8587-531c474c7b48" providerId="ADAL" clId="{6ECD27E6-B224-41CD-B4E0-E297462320DD}" dt="2023-11-24T08:46:38.257" v="65979"/>
          <ac:spMkLst>
            <pc:docMk/>
            <pc:sldMk cId="4099999037" sldId="2147478570"/>
            <ac:spMk id="434" creationId="{BE830057-6483-2202-987A-14CDD5BDB53A}"/>
          </ac:spMkLst>
        </pc:spChg>
        <pc:spChg chg="add del mod">
          <ac:chgData name="Steiner Andreas 6206 ED" userId="e6377c33-a923-4f14-8587-531c474c7b48" providerId="ADAL" clId="{6ECD27E6-B224-41CD-B4E0-E297462320DD}" dt="2023-11-24T08:46:40.332" v="66134"/>
          <ac:spMkLst>
            <pc:docMk/>
            <pc:sldMk cId="4099999037" sldId="2147478570"/>
            <ac:spMk id="435" creationId="{73C6BD66-4EBB-07D5-2959-25FF42ECB6E2}"/>
          </ac:spMkLst>
        </pc:spChg>
        <pc:spChg chg="add del mod">
          <ac:chgData name="Steiner Andreas 6206 ED" userId="e6377c33-a923-4f14-8587-531c474c7b48" providerId="ADAL" clId="{6ECD27E6-B224-41CD-B4E0-E297462320DD}" dt="2023-11-24T08:46:42.608" v="66289"/>
          <ac:spMkLst>
            <pc:docMk/>
            <pc:sldMk cId="4099999037" sldId="2147478570"/>
            <ac:spMk id="436" creationId="{F4B8A344-DDE8-0A4D-6F0D-AB8C1566C639}"/>
          </ac:spMkLst>
        </pc:spChg>
        <pc:spChg chg="add del mod">
          <ac:chgData name="Steiner Andreas 6206 ED" userId="e6377c33-a923-4f14-8587-531c474c7b48" providerId="ADAL" clId="{6ECD27E6-B224-41CD-B4E0-E297462320DD}" dt="2023-11-24T08:46:44.719" v="66444"/>
          <ac:spMkLst>
            <pc:docMk/>
            <pc:sldMk cId="4099999037" sldId="2147478570"/>
            <ac:spMk id="437" creationId="{FC5B844D-A531-4809-080F-F178050F69B9}"/>
          </ac:spMkLst>
        </pc:spChg>
        <pc:spChg chg="add del mod">
          <ac:chgData name="Steiner Andreas 6206 ED" userId="e6377c33-a923-4f14-8587-531c474c7b48" providerId="ADAL" clId="{6ECD27E6-B224-41CD-B4E0-E297462320DD}" dt="2023-11-24T08:46:46.792" v="66599"/>
          <ac:spMkLst>
            <pc:docMk/>
            <pc:sldMk cId="4099999037" sldId="2147478570"/>
            <ac:spMk id="438" creationId="{DFBE305B-2248-FE60-5928-5CB68ECDF414}"/>
          </ac:spMkLst>
        </pc:spChg>
        <pc:spChg chg="add del mod">
          <ac:chgData name="Steiner Andreas 6206 ED" userId="e6377c33-a923-4f14-8587-531c474c7b48" providerId="ADAL" clId="{6ECD27E6-B224-41CD-B4E0-E297462320DD}" dt="2023-11-24T08:46:48.930" v="66754"/>
          <ac:spMkLst>
            <pc:docMk/>
            <pc:sldMk cId="4099999037" sldId="2147478570"/>
            <ac:spMk id="439" creationId="{C4DD33AD-B5FA-41A2-DA61-3DF5086AED4D}"/>
          </ac:spMkLst>
        </pc:spChg>
        <pc:spChg chg="add del mod">
          <ac:chgData name="Steiner Andreas 6206 ED" userId="e6377c33-a923-4f14-8587-531c474c7b48" providerId="ADAL" clId="{6ECD27E6-B224-41CD-B4E0-E297462320DD}" dt="2023-11-24T08:46:50.983" v="66909"/>
          <ac:spMkLst>
            <pc:docMk/>
            <pc:sldMk cId="4099999037" sldId="2147478570"/>
            <ac:spMk id="440" creationId="{F886AD1F-7A75-4CE3-A15D-CD9A17CD089C}"/>
          </ac:spMkLst>
        </pc:spChg>
        <pc:spChg chg="add del mod">
          <ac:chgData name="Steiner Andreas 6206 ED" userId="e6377c33-a923-4f14-8587-531c474c7b48" providerId="ADAL" clId="{6ECD27E6-B224-41CD-B4E0-E297462320DD}" dt="2023-11-24T08:46:53.036" v="67064"/>
          <ac:spMkLst>
            <pc:docMk/>
            <pc:sldMk cId="4099999037" sldId="2147478570"/>
            <ac:spMk id="441" creationId="{06012CBC-619C-E061-DDB4-DB720ABCD800}"/>
          </ac:spMkLst>
        </pc:spChg>
        <pc:spChg chg="add del mod">
          <ac:chgData name="Steiner Andreas 6206 ED" userId="e6377c33-a923-4f14-8587-531c474c7b48" providerId="ADAL" clId="{6ECD27E6-B224-41CD-B4E0-E297462320DD}" dt="2023-11-24T08:46:55.005" v="67219"/>
          <ac:spMkLst>
            <pc:docMk/>
            <pc:sldMk cId="4099999037" sldId="2147478570"/>
            <ac:spMk id="442" creationId="{10F8DD97-D49E-9891-5F03-B1C76FF34D1F}"/>
          </ac:spMkLst>
        </pc:spChg>
        <pc:spChg chg="add del mod">
          <ac:chgData name="Steiner Andreas 6206 ED" userId="e6377c33-a923-4f14-8587-531c474c7b48" providerId="ADAL" clId="{6ECD27E6-B224-41CD-B4E0-E297462320DD}" dt="2023-11-24T08:46:56.977" v="67374"/>
          <ac:spMkLst>
            <pc:docMk/>
            <pc:sldMk cId="4099999037" sldId="2147478570"/>
            <ac:spMk id="443" creationId="{75F49030-8534-0439-BDDB-94DDC9A045E3}"/>
          </ac:spMkLst>
        </pc:spChg>
        <pc:spChg chg="add del mod">
          <ac:chgData name="Steiner Andreas 6206 ED" userId="e6377c33-a923-4f14-8587-531c474c7b48" providerId="ADAL" clId="{6ECD27E6-B224-41CD-B4E0-E297462320DD}" dt="2023-11-24T08:46:58.843" v="67529"/>
          <ac:spMkLst>
            <pc:docMk/>
            <pc:sldMk cId="4099999037" sldId="2147478570"/>
            <ac:spMk id="444" creationId="{46C3D1BE-9F73-50E7-5469-76234A0FB510}"/>
          </ac:spMkLst>
        </pc:spChg>
        <pc:spChg chg="add del mod">
          <ac:chgData name="Steiner Andreas 6206 ED" userId="e6377c33-a923-4f14-8587-531c474c7b48" providerId="ADAL" clId="{6ECD27E6-B224-41CD-B4E0-E297462320DD}" dt="2023-11-24T08:47:00.951" v="67684"/>
          <ac:spMkLst>
            <pc:docMk/>
            <pc:sldMk cId="4099999037" sldId="2147478570"/>
            <ac:spMk id="445" creationId="{C4455380-FB59-FC14-1A07-2C3EA81197FF}"/>
          </ac:spMkLst>
        </pc:spChg>
        <pc:spChg chg="add del mod">
          <ac:chgData name="Steiner Andreas 6206 ED" userId="e6377c33-a923-4f14-8587-531c474c7b48" providerId="ADAL" clId="{6ECD27E6-B224-41CD-B4E0-E297462320DD}" dt="2023-11-24T08:47:03.104" v="67839"/>
          <ac:spMkLst>
            <pc:docMk/>
            <pc:sldMk cId="4099999037" sldId="2147478570"/>
            <ac:spMk id="446" creationId="{C3650723-990F-2072-A505-C3125452AB67}"/>
          </ac:spMkLst>
        </pc:spChg>
        <pc:spChg chg="add del mod">
          <ac:chgData name="Steiner Andreas 6206 ED" userId="e6377c33-a923-4f14-8587-531c474c7b48" providerId="ADAL" clId="{6ECD27E6-B224-41CD-B4E0-E297462320DD}" dt="2023-11-24T08:47:05.106" v="67994"/>
          <ac:spMkLst>
            <pc:docMk/>
            <pc:sldMk cId="4099999037" sldId="2147478570"/>
            <ac:spMk id="447" creationId="{4A77CAE0-101C-25C2-0884-C85869996112}"/>
          </ac:spMkLst>
        </pc:spChg>
        <pc:spChg chg="add del mod">
          <ac:chgData name="Steiner Andreas 6206 ED" userId="e6377c33-a923-4f14-8587-531c474c7b48" providerId="ADAL" clId="{6ECD27E6-B224-41CD-B4E0-E297462320DD}" dt="2023-11-24T08:47:06.879" v="68149"/>
          <ac:spMkLst>
            <pc:docMk/>
            <pc:sldMk cId="4099999037" sldId="2147478570"/>
            <ac:spMk id="448" creationId="{5A84FADE-34C7-8293-783B-0AA7632B90D2}"/>
          </ac:spMkLst>
        </pc:spChg>
        <pc:spChg chg="add del mod">
          <ac:chgData name="Steiner Andreas 6206 ED" userId="e6377c33-a923-4f14-8587-531c474c7b48" providerId="ADAL" clId="{6ECD27E6-B224-41CD-B4E0-E297462320DD}" dt="2023-11-24T08:47:08.773" v="68304"/>
          <ac:spMkLst>
            <pc:docMk/>
            <pc:sldMk cId="4099999037" sldId="2147478570"/>
            <ac:spMk id="449" creationId="{915CF7E6-78CB-3FCD-EEE3-E4BAF036B601}"/>
          </ac:spMkLst>
        </pc:spChg>
        <pc:spChg chg="add del mod">
          <ac:chgData name="Steiner Andreas 6206 ED" userId="e6377c33-a923-4f14-8587-531c474c7b48" providerId="ADAL" clId="{6ECD27E6-B224-41CD-B4E0-E297462320DD}" dt="2023-11-24T08:47:10.651" v="68459"/>
          <ac:spMkLst>
            <pc:docMk/>
            <pc:sldMk cId="4099999037" sldId="2147478570"/>
            <ac:spMk id="450" creationId="{7226E60C-6059-FE36-A049-4D30EC8B934B}"/>
          </ac:spMkLst>
        </pc:spChg>
        <pc:spChg chg="add del mod">
          <ac:chgData name="Steiner Andreas 6206 ED" userId="e6377c33-a923-4f14-8587-531c474c7b48" providerId="ADAL" clId="{6ECD27E6-B224-41CD-B4E0-E297462320DD}" dt="2023-11-24T08:47:12.528" v="68614"/>
          <ac:spMkLst>
            <pc:docMk/>
            <pc:sldMk cId="4099999037" sldId="2147478570"/>
            <ac:spMk id="451" creationId="{67421C76-7867-CCD7-BDDB-646810C2910E}"/>
          </ac:spMkLst>
        </pc:spChg>
        <pc:spChg chg="add del mod">
          <ac:chgData name="Steiner Andreas 6206 ED" userId="e6377c33-a923-4f14-8587-531c474c7b48" providerId="ADAL" clId="{6ECD27E6-B224-41CD-B4E0-E297462320DD}" dt="2023-11-24T08:47:14.686" v="68769"/>
          <ac:spMkLst>
            <pc:docMk/>
            <pc:sldMk cId="4099999037" sldId="2147478570"/>
            <ac:spMk id="452" creationId="{89E89868-004B-C977-459F-CEC432BFA92C}"/>
          </ac:spMkLst>
        </pc:spChg>
        <pc:spChg chg="add del mod">
          <ac:chgData name="Steiner Andreas 6206 ED" userId="e6377c33-a923-4f14-8587-531c474c7b48" providerId="ADAL" clId="{6ECD27E6-B224-41CD-B4E0-E297462320DD}" dt="2023-11-24T08:47:16.651" v="68924"/>
          <ac:spMkLst>
            <pc:docMk/>
            <pc:sldMk cId="4099999037" sldId="2147478570"/>
            <ac:spMk id="453" creationId="{3552A01A-3052-7741-888E-647A1282A5A4}"/>
          </ac:spMkLst>
        </pc:spChg>
        <pc:spChg chg="add del mod">
          <ac:chgData name="Steiner Andreas 6206 ED" userId="e6377c33-a923-4f14-8587-531c474c7b48" providerId="ADAL" clId="{6ECD27E6-B224-41CD-B4E0-E297462320DD}" dt="2023-11-24T08:47:18.567" v="69079"/>
          <ac:spMkLst>
            <pc:docMk/>
            <pc:sldMk cId="4099999037" sldId="2147478570"/>
            <ac:spMk id="454" creationId="{8884D3B4-3993-5807-64CF-1D02C87E5E96}"/>
          </ac:spMkLst>
        </pc:spChg>
        <pc:spChg chg="add del mod">
          <ac:chgData name="Steiner Andreas 6206 ED" userId="e6377c33-a923-4f14-8587-531c474c7b48" providerId="ADAL" clId="{6ECD27E6-B224-41CD-B4E0-E297462320DD}" dt="2023-11-24T08:47:20.557" v="69234"/>
          <ac:spMkLst>
            <pc:docMk/>
            <pc:sldMk cId="4099999037" sldId="2147478570"/>
            <ac:spMk id="455" creationId="{9F1DFB4E-6369-A457-1A66-B2BF3EC685D3}"/>
          </ac:spMkLst>
        </pc:spChg>
        <pc:spChg chg="add del mod">
          <ac:chgData name="Steiner Andreas 6206 ED" userId="e6377c33-a923-4f14-8587-531c474c7b48" providerId="ADAL" clId="{6ECD27E6-B224-41CD-B4E0-E297462320DD}" dt="2023-11-24T08:47:22.931" v="69389"/>
          <ac:spMkLst>
            <pc:docMk/>
            <pc:sldMk cId="4099999037" sldId="2147478570"/>
            <ac:spMk id="456" creationId="{BC832E9E-E715-DDF1-4EDD-8F21FEBF5D06}"/>
          </ac:spMkLst>
        </pc:spChg>
        <pc:spChg chg="add del mod">
          <ac:chgData name="Steiner Andreas 6206 ED" userId="e6377c33-a923-4f14-8587-531c474c7b48" providerId="ADAL" clId="{6ECD27E6-B224-41CD-B4E0-E297462320DD}" dt="2023-11-24T08:47:25.608" v="69544"/>
          <ac:spMkLst>
            <pc:docMk/>
            <pc:sldMk cId="4099999037" sldId="2147478570"/>
            <ac:spMk id="457" creationId="{3BF05859-E8BB-547A-79B9-72753B1ACDC1}"/>
          </ac:spMkLst>
        </pc:spChg>
        <pc:spChg chg="add del mod">
          <ac:chgData name="Steiner Andreas 6206 ED" userId="e6377c33-a923-4f14-8587-531c474c7b48" providerId="ADAL" clId="{6ECD27E6-B224-41CD-B4E0-E297462320DD}" dt="2023-11-24T08:47:27.808" v="69699"/>
          <ac:spMkLst>
            <pc:docMk/>
            <pc:sldMk cId="4099999037" sldId="2147478570"/>
            <ac:spMk id="458" creationId="{630F0426-5DA5-F6FF-16EF-FEB5308E129B}"/>
          </ac:spMkLst>
        </pc:spChg>
        <pc:spChg chg="add del mod">
          <ac:chgData name="Steiner Andreas 6206 ED" userId="e6377c33-a923-4f14-8587-531c474c7b48" providerId="ADAL" clId="{6ECD27E6-B224-41CD-B4E0-E297462320DD}" dt="2023-11-24T08:47:29.879" v="69854"/>
          <ac:spMkLst>
            <pc:docMk/>
            <pc:sldMk cId="4099999037" sldId="2147478570"/>
            <ac:spMk id="459" creationId="{A4F66655-E4EA-4C2F-F525-F3C38B109700}"/>
          </ac:spMkLst>
        </pc:spChg>
        <pc:spChg chg="add del mod">
          <ac:chgData name="Steiner Andreas 6206 ED" userId="e6377c33-a923-4f14-8587-531c474c7b48" providerId="ADAL" clId="{6ECD27E6-B224-41CD-B4E0-E297462320DD}" dt="2023-11-24T08:47:31.846" v="70009"/>
          <ac:spMkLst>
            <pc:docMk/>
            <pc:sldMk cId="4099999037" sldId="2147478570"/>
            <ac:spMk id="460" creationId="{0AFF9DF0-B1D1-5A67-FC90-1D626BEB9ACC}"/>
          </ac:spMkLst>
        </pc:spChg>
        <pc:spChg chg="add del mod">
          <ac:chgData name="Steiner Andreas 6206 ED" userId="e6377c33-a923-4f14-8587-531c474c7b48" providerId="ADAL" clId="{6ECD27E6-B224-41CD-B4E0-E297462320DD}" dt="2023-11-24T08:47:33.835" v="70164"/>
          <ac:spMkLst>
            <pc:docMk/>
            <pc:sldMk cId="4099999037" sldId="2147478570"/>
            <ac:spMk id="461" creationId="{311DBAB4-1264-67E3-67D0-53EB7EB39DA9}"/>
          </ac:spMkLst>
        </pc:spChg>
        <pc:spChg chg="add del mod">
          <ac:chgData name="Steiner Andreas 6206 ED" userId="e6377c33-a923-4f14-8587-531c474c7b48" providerId="ADAL" clId="{6ECD27E6-B224-41CD-B4E0-E297462320DD}" dt="2023-11-24T08:47:35.996" v="70319"/>
          <ac:spMkLst>
            <pc:docMk/>
            <pc:sldMk cId="4099999037" sldId="2147478570"/>
            <ac:spMk id="462" creationId="{2BD4C7C8-98C1-2516-6E30-BE2B560F68C4}"/>
          </ac:spMkLst>
        </pc:spChg>
        <pc:spChg chg="add del mod">
          <ac:chgData name="Steiner Andreas 6206 ED" userId="e6377c33-a923-4f14-8587-531c474c7b48" providerId="ADAL" clId="{6ECD27E6-B224-41CD-B4E0-E297462320DD}" dt="2023-11-24T08:47:38.095" v="70474"/>
          <ac:spMkLst>
            <pc:docMk/>
            <pc:sldMk cId="4099999037" sldId="2147478570"/>
            <ac:spMk id="463" creationId="{79A8563F-E83D-CBE2-815C-946EB3D76C16}"/>
          </ac:spMkLst>
        </pc:spChg>
        <pc:spChg chg="add del mod">
          <ac:chgData name="Steiner Andreas 6206 ED" userId="e6377c33-a923-4f14-8587-531c474c7b48" providerId="ADAL" clId="{6ECD27E6-B224-41CD-B4E0-E297462320DD}" dt="2023-11-24T08:47:40.176" v="70629"/>
          <ac:spMkLst>
            <pc:docMk/>
            <pc:sldMk cId="4099999037" sldId="2147478570"/>
            <ac:spMk id="464" creationId="{8E4BEDEF-5E9E-E1D7-2632-6AC42DFFA85E}"/>
          </ac:spMkLst>
        </pc:spChg>
        <pc:spChg chg="add del mod">
          <ac:chgData name="Steiner Andreas 6206 ED" userId="e6377c33-a923-4f14-8587-531c474c7b48" providerId="ADAL" clId="{6ECD27E6-B224-41CD-B4E0-E297462320DD}" dt="2023-11-24T08:47:42.099" v="70784"/>
          <ac:spMkLst>
            <pc:docMk/>
            <pc:sldMk cId="4099999037" sldId="2147478570"/>
            <ac:spMk id="465" creationId="{2533E735-69BD-410C-0967-5BD21450531C}"/>
          </ac:spMkLst>
        </pc:spChg>
        <pc:spChg chg="add del mod">
          <ac:chgData name="Steiner Andreas 6206 ED" userId="e6377c33-a923-4f14-8587-531c474c7b48" providerId="ADAL" clId="{6ECD27E6-B224-41CD-B4E0-E297462320DD}" dt="2023-11-24T08:47:44.019" v="70939"/>
          <ac:spMkLst>
            <pc:docMk/>
            <pc:sldMk cId="4099999037" sldId="2147478570"/>
            <ac:spMk id="466" creationId="{C26275F7-509E-2EF7-9B86-1B2B527F8EBC}"/>
          </ac:spMkLst>
        </pc:spChg>
        <pc:spChg chg="add del mod">
          <ac:chgData name="Steiner Andreas 6206 ED" userId="e6377c33-a923-4f14-8587-531c474c7b48" providerId="ADAL" clId="{6ECD27E6-B224-41CD-B4E0-E297462320DD}" dt="2023-11-24T08:47:45.949" v="71094"/>
          <ac:spMkLst>
            <pc:docMk/>
            <pc:sldMk cId="4099999037" sldId="2147478570"/>
            <ac:spMk id="467" creationId="{AA8BDBE7-82FA-7596-721B-D327AC23C87B}"/>
          </ac:spMkLst>
        </pc:spChg>
        <pc:spChg chg="add del mod">
          <ac:chgData name="Steiner Andreas 6206 ED" userId="e6377c33-a923-4f14-8587-531c474c7b48" providerId="ADAL" clId="{6ECD27E6-B224-41CD-B4E0-E297462320DD}" dt="2023-11-24T08:47:48.034" v="71249"/>
          <ac:spMkLst>
            <pc:docMk/>
            <pc:sldMk cId="4099999037" sldId="2147478570"/>
            <ac:spMk id="468" creationId="{7091CCF2-E20F-03E6-DB00-5564CB8FA7D0}"/>
          </ac:spMkLst>
        </pc:spChg>
        <pc:spChg chg="add del mod">
          <ac:chgData name="Steiner Andreas 6206 ED" userId="e6377c33-a923-4f14-8587-531c474c7b48" providerId="ADAL" clId="{6ECD27E6-B224-41CD-B4E0-E297462320DD}" dt="2023-11-24T08:47:50.141" v="71404"/>
          <ac:spMkLst>
            <pc:docMk/>
            <pc:sldMk cId="4099999037" sldId="2147478570"/>
            <ac:spMk id="469" creationId="{7E3D2785-5465-A88C-BB3B-8BDFC9227C6F}"/>
          </ac:spMkLst>
        </pc:spChg>
        <pc:spChg chg="add del mod">
          <ac:chgData name="Steiner Andreas 6206 ED" userId="e6377c33-a923-4f14-8587-531c474c7b48" providerId="ADAL" clId="{6ECD27E6-B224-41CD-B4E0-E297462320DD}" dt="2023-11-24T08:47:52.053" v="71559"/>
          <ac:spMkLst>
            <pc:docMk/>
            <pc:sldMk cId="4099999037" sldId="2147478570"/>
            <ac:spMk id="470" creationId="{8C277891-562F-ED88-FBB0-4CD7A1367BBB}"/>
          </ac:spMkLst>
        </pc:spChg>
        <pc:spChg chg="add del mod">
          <ac:chgData name="Steiner Andreas 6206 ED" userId="e6377c33-a923-4f14-8587-531c474c7b48" providerId="ADAL" clId="{6ECD27E6-B224-41CD-B4E0-E297462320DD}" dt="2023-11-24T08:47:54.002" v="71714"/>
          <ac:spMkLst>
            <pc:docMk/>
            <pc:sldMk cId="4099999037" sldId="2147478570"/>
            <ac:spMk id="471" creationId="{77C59402-35B7-FEC2-0173-E6A79CE07F44}"/>
          </ac:spMkLst>
        </pc:spChg>
        <pc:spChg chg="add del mod">
          <ac:chgData name="Steiner Andreas 6206 ED" userId="e6377c33-a923-4f14-8587-531c474c7b48" providerId="ADAL" clId="{6ECD27E6-B224-41CD-B4E0-E297462320DD}" dt="2023-11-24T08:47:55.837" v="71869"/>
          <ac:spMkLst>
            <pc:docMk/>
            <pc:sldMk cId="4099999037" sldId="2147478570"/>
            <ac:spMk id="472" creationId="{E56303B7-ACFB-5986-797C-62D8439F0CB3}"/>
          </ac:spMkLst>
        </pc:spChg>
        <pc:spChg chg="add del mod">
          <ac:chgData name="Steiner Andreas 6206 ED" userId="e6377c33-a923-4f14-8587-531c474c7b48" providerId="ADAL" clId="{6ECD27E6-B224-41CD-B4E0-E297462320DD}" dt="2023-11-24T08:47:57.830" v="72024"/>
          <ac:spMkLst>
            <pc:docMk/>
            <pc:sldMk cId="4099999037" sldId="2147478570"/>
            <ac:spMk id="473" creationId="{C24FAB6D-33A3-6A71-81F4-0335B8EC4A61}"/>
          </ac:spMkLst>
        </pc:spChg>
        <pc:spChg chg="add del mod">
          <ac:chgData name="Steiner Andreas 6206 ED" userId="e6377c33-a923-4f14-8587-531c474c7b48" providerId="ADAL" clId="{6ECD27E6-B224-41CD-B4E0-E297462320DD}" dt="2023-11-24T08:47:59.958" v="72179"/>
          <ac:spMkLst>
            <pc:docMk/>
            <pc:sldMk cId="4099999037" sldId="2147478570"/>
            <ac:spMk id="474" creationId="{A8FCF84F-EDC2-611E-8AE1-CADEE416A373}"/>
          </ac:spMkLst>
        </pc:spChg>
        <pc:spChg chg="add del mod">
          <ac:chgData name="Steiner Andreas 6206 ED" userId="e6377c33-a923-4f14-8587-531c474c7b48" providerId="ADAL" clId="{6ECD27E6-B224-41CD-B4E0-E297462320DD}" dt="2023-11-24T08:48:02.089" v="72334"/>
          <ac:spMkLst>
            <pc:docMk/>
            <pc:sldMk cId="4099999037" sldId="2147478570"/>
            <ac:spMk id="475" creationId="{A26D88EC-3A9E-8FDD-1E9D-EB1BF3561B98}"/>
          </ac:spMkLst>
        </pc:spChg>
        <pc:spChg chg="add del mod">
          <ac:chgData name="Steiner Andreas 6206 ED" userId="e6377c33-a923-4f14-8587-531c474c7b48" providerId="ADAL" clId="{6ECD27E6-B224-41CD-B4E0-E297462320DD}" dt="2023-11-24T08:48:04.114" v="72489"/>
          <ac:spMkLst>
            <pc:docMk/>
            <pc:sldMk cId="4099999037" sldId="2147478570"/>
            <ac:spMk id="476" creationId="{28FCE434-263E-16C3-147B-5BFDCB7C46F1}"/>
          </ac:spMkLst>
        </pc:spChg>
        <pc:spChg chg="add del mod">
          <ac:chgData name="Steiner Andreas 6206 ED" userId="e6377c33-a923-4f14-8587-531c474c7b48" providerId="ADAL" clId="{6ECD27E6-B224-41CD-B4E0-E297462320DD}" dt="2023-11-24T08:48:06.314" v="72644"/>
          <ac:spMkLst>
            <pc:docMk/>
            <pc:sldMk cId="4099999037" sldId="2147478570"/>
            <ac:spMk id="477" creationId="{9F7FD3E1-475F-6D61-173A-961DF21B6698}"/>
          </ac:spMkLst>
        </pc:spChg>
        <pc:spChg chg="add del mod">
          <ac:chgData name="Steiner Andreas 6206 ED" userId="e6377c33-a923-4f14-8587-531c474c7b48" providerId="ADAL" clId="{6ECD27E6-B224-41CD-B4E0-E297462320DD}" dt="2023-11-24T08:48:08.485" v="72799"/>
          <ac:spMkLst>
            <pc:docMk/>
            <pc:sldMk cId="4099999037" sldId="2147478570"/>
            <ac:spMk id="478" creationId="{2221914D-B7EC-E4BE-798A-3BE53E4D5793}"/>
          </ac:spMkLst>
        </pc:spChg>
        <pc:spChg chg="add del mod">
          <ac:chgData name="Steiner Andreas 6206 ED" userId="e6377c33-a923-4f14-8587-531c474c7b48" providerId="ADAL" clId="{6ECD27E6-B224-41CD-B4E0-E297462320DD}" dt="2023-11-24T08:48:10.536" v="72954"/>
          <ac:spMkLst>
            <pc:docMk/>
            <pc:sldMk cId="4099999037" sldId="2147478570"/>
            <ac:spMk id="479" creationId="{1A94C505-D796-5599-C1A8-89581953F6FD}"/>
          </ac:spMkLst>
        </pc:spChg>
        <pc:spChg chg="add del mod">
          <ac:chgData name="Steiner Andreas 6206 ED" userId="e6377c33-a923-4f14-8587-531c474c7b48" providerId="ADAL" clId="{6ECD27E6-B224-41CD-B4E0-E297462320DD}" dt="2023-11-24T08:48:12.503" v="73109"/>
          <ac:spMkLst>
            <pc:docMk/>
            <pc:sldMk cId="4099999037" sldId="2147478570"/>
            <ac:spMk id="480" creationId="{50599563-3CAF-595D-20B7-40EB89D06FFD}"/>
          </ac:spMkLst>
        </pc:spChg>
        <pc:spChg chg="add del mod">
          <ac:chgData name="Steiner Andreas 6206 ED" userId="e6377c33-a923-4f14-8587-531c474c7b48" providerId="ADAL" clId="{6ECD27E6-B224-41CD-B4E0-E297462320DD}" dt="2023-11-24T08:48:15.020" v="73264"/>
          <ac:spMkLst>
            <pc:docMk/>
            <pc:sldMk cId="4099999037" sldId="2147478570"/>
            <ac:spMk id="481" creationId="{A2B43E08-307E-D63E-1966-BEDDFDBE18A8}"/>
          </ac:spMkLst>
        </pc:spChg>
        <pc:spChg chg="add del mod">
          <ac:chgData name="Steiner Andreas 6206 ED" userId="e6377c33-a923-4f14-8587-531c474c7b48" providerId="ADAL" clId="{6ECD27E6-B224-41CD-B4E0-E297462320DD}" dt="2023-11-24T08:48:17.809" v="73419"/>
          <ac:spMkLst>
            <pc:docMk/>
            <pc:sldMk cId="4099999037" sldId="2147478570"/>
            <ac:spMk id="482" creationId="{C9D3D835-0718-C446-CCC3-DC475DD38B26}"/>
          </ac:spMkLst>
        </pc:spChg>
        <pc:spChg chg="add del mod">
          <ac:chgData name="Steiner Andreas 6206 ED" userId="e6377c33-a923-4f14-8587-531c474c7b48" providerId="ADAL" clId="{6ECD27E6-B224-41CD-B4E0-E297462320DD}" dt="2023-11-24T08:48:20.342" v="73574"/>
          <ac:spMkLst>
            <pc:docMk/>
            <pc:sldMk cId="4099999037" sldId="2147478570"/>
            <ac:spMk id="483" creationId="{4FA9AC13-83CB-E03B-5660-E69F3A7D01B4}"/>
          </ac:spMkLst>
        </pc:spChg>
        <pc:spChg chg="add del mod">
          <ac:chgData name="Steiner Andreas 6206 ED" userId="e6377c33-a923-4f14-8587-531c474c7b48" providerId="ADAL" clId="{6ECD27E6-B224-41CD-B4E0-E297462320DD}" dt="2023-11-24T08:48:22.480" v="73729"/>
          <ac:spMkLst>
            <pc:docMk/>
            <pc:sldMk cId="4099999037" sldId="2147478570"/>
            <ac:spMk id="484" creationId="{F48D924D-3345-0B8D-FF29-39078E8DC828}"/>
          </ac:spMkLst>
        </pc:spChg>
        <pc:spChg chg="add del mod">
          <ac:chgData name="Steiner Andreas 6206 ED" userId="e6377c33-a923-4f14-8587-531c474c7b48" providerId="ADAL" clId="{6ECD27E6-B224-41CD-B4E0-E297462320DD}" dt="2023-11-24T08:48:24.555" v="73884"/>
          <ac:spMkLst>
            <pc:docMk/>
            <pc:sldMk cId="4099999037" sldId="2147478570"/>
            <ac:spMk id="485" creationId="{10273EE5-BD66-9F4A-D73A-3D1A86F44A1E}"/>
          </ac:spMkLst>
        </pc:spChg>
        <pc:spChg chg="add del mod">
          <ac:chgData name="Steiner Andreas 6206 ED" userId="e6377c33-a923-4f14-8587-531c474c7b48" providerId="ADAL" clId="{6ECD27E6-B224-41CD-B4E0-E297462320DD}" dt="2023-11-24T08:48:26.662" v="74039"/>
          <ac:spMkLst>
            <pc:docMk/>
            <pc:sldMk cId="4099999037" sldId="2147478570"/>
            <ac:spMk id="486" creationId="{724D16BA-0966-F77C-96F4-BD189528D1B6}"/>
          </ac:spMkLst>
        </pc:spChg>
        <pc:spChg chg="add del mod">
          <ac:chgData name="Steiner Andreas 6206 ED" userId="e6377c33-a923-4f14-8587-531c474c7b48" providerId="ADAL" clId="{6ECD27E6-B224-41CD-B4E0-E297462320DD}" dt="2023-11-24T08:48:28.669" v="74194"/>
          <ac:spMkLst>
            <pc:docMk/>
            <pc:sldMk cId="4099999037" sldId="2147478570"/>
            <ac:spMk id="487" creationId="{93901A05-CC38-78C5-071A-0860BD00ADE6}"/>
          </ac:spMkLst>
        </pc:spChg>
        <pc:spChg chg="add del mod">
          <ac:chgData name="Steiner Andreas 6206 ED" userId="e6377c33-a923-4f14-8587-531c474c7b48" providerId="ADAL" clId="{6ECD27E6-B224-41CD-B4E0-E297462320DD}" dt="2023-11-24T08:48:30.545" v="74349"/>
          <ac:spMkLst>
            <pc:docMk/>
            <pc:sldMk cId="4099999037" sldId="2147478570"/>
            <ac:spMk id="488" creationId="{D3A42B9F-8D29-6F08-399E-29F8B4CB226C}"/>
          </ac:spMkLst>
        </pc:spChg>
        <pc:spChg chg="add del mod">
          <ac:chgData name="Steiner Andreas 6206 ED" userId="e6377c33-a923-4f14-8587-531c474c7b48" providerId="ADAL" clId="{6ECD27E6-B224-41CD-B4E0-E297462320DD}" dt="2023-11-24T08:48:32.519" v="74504"/>
          <ac:spMkLst>
            <pc:docMk/>
            <pc:sldMk cId="4099999037" sldId="2147478570"/>
            <ac:spMk id="489" creationId="{C04828E4-39E5-850A-9FA6-358ABE1A6F7D}"/>
          </ac:spMkLst>
        </pc:spChg>
        <pc:spChg chg="add del mod">
          <ac:chgData name="Steiner Andreas 6206 ED" userId="e6377c33-a923-4f14-8587-531c474c7b48" providerId="ADAL" clId="{6ECD27E6-B224-41CD-B4E0-E297462320DD}" dt="2023-11-24T08:48:34.799" v="74659"/>
          <ac:spMkLst>
            <pc:docMk/>
            <pc:sldMk cId="4099999037" sldId="2147478570"/>
            <ac:spMk id="490" creationId="{471C26A1-357C-CD91-BF22-205ADE0EDED5}"/>
          </ac:spMkLst>
        </pc:spChg>
        <pc:spChg chg="add del mod">
          <ac:chgData name="Steiner Andreas 6206 ED" userId="e6377c33-a923-4f14-8587-531c474c7b48" providerId="ADAL" clId="{6ECD27E6-B224-41CD-B4E0-E297462320DD}" dt="2023-11-24T08:48:36.927" v="74814"/>
          <ac:spMkLst>
            <pc:docMk/>
            <pc:sldMk cId="4099999037" sldId="2147478570"/>
            <ac:spMk id="491" creationId="{43C50D85-C57E-0A3D-BAB2-6E430C731AD2}"/>
          </ac:spMkLst>
        </pc:spChg>
        <pc:spChg chg="add del mod">
          <ac:chgData name="Steiner Andreas 6206 ED" userId="e6377c33-a923-4f14-8587-531c474c7b48" providerId="ADAL" clId="{6ECD27E6-B224-41CD-B4E0-E297462320DD}" dt="2023-11-24T08:48:38.995" v="74969"/>
          <ac:spMkLst>
            <pc:docMk/>
            <pc:sldMk cId="4099999037" sldId="2147478570"/>
            <ac:spMk id="492" creationId="{88003ECD-2155-6AB6-2CDB-FA2D0F0D767E}"/>
          </ac:spMkLst>
        </pc:spChg>
        <pc:spChg chg="add del mod">
          <ac:chgData name="Steiner Andreas 6206 ED" userId="e6377c33-a923-4f14-8587-531c474c7b48" providerId="ADAL" clId="{6ECD27E6-B224-41CD-B4E0-E297462320DD}" dt="2023-11-24T08:48:41.123" v="75124"/>
          <ac:spMkLst>
            <pc:docMk/>
            <pc:sldMk cId="4099999037" sldId="2147478570"/>
            <ac:spMk id="493" creationId="{A9EA3E37-1E2A-9C5C-4818-57BCA10C4FD1}"/>
          </ac:spMkLst>
        </pc:spChg>
        <pc:spChg chg="add del mod">
          <ac:chgData name="Steiner Andreas 6206 ED" userId="e6377c33-a923-4f14-8587-531c474c7b48" providerId="ADAL" clId="{6ECD27E6-B224-41CD-B4E0-E297462320DD}" dt="2023-11-24T08:48:43.559" v="75279"/>
          <ac:spMkLst>
            <pc:docMk/>
            <pc:sldMk cId="4099999037" sldId="2147478570"/>
            <ac:spMk id="494" creationId="{9BC198D7-E7C7-A3BB-3B95-AA02A3B6AB95}"/>
          </ac:spMkLst>
        </pc:spChg>
        <pc:spChg chg="add del mod">
          <ac:chgData name="Steiner Andreas 6206 ED" userId="e6377c33-a923-4f14-8587-531c474c7b48" providerId="ADAL" clId="{6ECD27E6-B224-41CD-B4E0-E297462320DD}" dt="2023-11-24T08:48:45.873" v="75434"/>
          <ac:spMkLst>
            <pc:docMk/>
            <pc:sldMk cId="4099999037" sldId="2147478570"/>
            <ac:spMk id="495" creationId="{57EA7DB9-75A4-9332-303D-DBD4624DCB1D}"/>
          </ac:spMkLst>
        </pc:spChg>
        <pc:spChg chg="add del mod">
          <ac:chgData name="Steiner Andreas 6206 ED" userId="e6377c33-a923-4f14-8587-531c474c7b48" providerId="ADAL" clId="{6ECD27E6-B224-41CD-B4E0-E297462320DD}" dt="2023-11-24T08:48:47.911" v="75589"/>
          <ac:spMkLst>
            <pc:docMk/>
            <pc:sldMk cId="4099999037" sldId="2147478570"/>
            <ac:spMk id="496" creationId="{FF9406D8-84F4-9F65-6440-F6BBB7C583D3}"/>
          </ac:spMkLst>
        </pc:spChg>
        <pc:spChg chg="add del mod">
          <ac:chgData name="Steiner Andreas 6206 ED" userId="e6377c33-a923-4f14-8587-531c474c7b48" providerId="ADAL" clId="{6ECD27E6-B224-41CD-B4E0-E297462320DD}" dt="2023-11-24T08:48:49.864" v="75744"/>
          <ac:spMkLst>
            <pc:docMk/>
            <pc:sldMk cId="4099999037" sldId="2147478570"/>
            <ac:spMk id="497" creationId="{6E68FD4C-E1D6-8901-0D55-B8F10CC5BC92}"/>
          </ac:spMkLst>
        </pc:spChg>
        <pc:spChg chg="add del mod">
          <ac:chgData name="Steiner Andreas 6206 ED" userId="e6377c33-a923-4f14-8587-531c474c7b48" providerId="ADAL" clId="{6ECD27E6-B224-41CD-B4E0-E297462320DD}" dt="2023-11-24T08:48:52.104" v="75899"/>
          <ac:spMkLst>
            <pc:docMk/>
            <pc:sldMk cId="4099999037" sldId="2147478570"/>
            <ac:spMk id="498" creationId="{D15A9D35-F878-FB71-981C-EDE33A230D03}"/>
          </ac:spMkLst>
        </pc:spChg>
        <pc:spChg chg="add del mod">
          <ac:chgData name="Steiner Andreas 6206 ED" userId="e6377c33-a923-4f14-8587-531c474c7b48" providerId="ADAL" clId="{6ECD27E6-B224-41CD-B4E0-E297462320DD}" dt="2023-11-24T08:48:54.007" v="76054"/>
          <ac:spMkLst>
            <pc:docMk/>
            <pc:sldMk cId="4099999037" sldId="2147478570"/>
            <ac:spMk id="499" creationId="{C198FDB0-29AD-E203-8C17-2BF98F15B809}"/>
          </ac:spMkLst>
        </pc:spChg>
        <pc:spChg chg="add del mod">
          <ac:chgData name="Steiner Andreas 6206 ED" userId="e6377c33-a923-4f14-8587-531c474c7b48" providerId="ADAL" clId="{6ECD27E6-B224-41CD-B4E0-E297462320DD}" dt="2023-11-24T08:48:56.007" v="76209"/>
          <ac:spMkLst>
            <pc:docMk/>
            <pc:sldMk cId="4099999037" sldId="2147478570"/>
            <ac:spMk id="500" creationId="{5350A030-3CF0-FFD6-E73A-1326EC2B1E24}"/>
          </ac:spMkLst>
        </pc:spChg>
        <pc:spChg chg="add del mod">
          <ac:chgData name="Steiner Andreas 6206 ED" userId="e6377c33-a923-4f14-8587-531c474c7b48" providerId="ADAL" clId="{6ECD27E6-B224-41CD-B4E0-E297462320DD}" dt="2023-11-24T08:48:57.948" v="76364"/>
          <ac:spMkLst>
            <pc:docMk/>
            <pc:sldMk cId="4099999037" sldId="2147478570"/>
            <ac:spMk id="501" creationId="{5ABC67FB-0E88-C208-237F-ADCB2D4ABCE3}"/>
          </ac:spMkLst>
        </pc:spChg>
        <pc:spChg chg="add del mod">
          <ac:chgData name="Steiner Andreas 6206 ED" userId="e6377c33-a923-4f14-8587-531c474c7b48" providerId="ADAL" clId="{6ECD27E6-B224-41CD-B4E0-E297462320DD}" dt="2023-11-24T08:49:00.001" v="76519"/>
          <ac:spMkLst>
            <pc:docMk/>
            <pc:sldMk cId="4099999037" sldId="2147478570"/>
            <ac:spMk id="502" creationId="{5341B2FE-7ADB-6008-CE03-9B3C05C827F0}"/>
          </ac:spMkLst>
        </pc:spChg>
        <pc:spChg chg="add del mod">
          <ac:chgData name="Steiner Andreas 6206 ED" userId="e6377c33-a923-4f14-8587-531c474c7b48" providerId="ADAL" clId="{6ECD27E6-B224-41CD-B4E0-E297462320DD}" dt="2023-11-24T08:49:01.980" v="76674"/>
          <ac:spMkLst>
            <pc:docMk/>
            <pc:sldMk cId="4099999037" sldId="2147478570"/>
            <ac:spMk id="503" creationId="{3A042C5F-194F-7A5C-B64D-F467B6EC4E84}"/>
          </ac:spMkLst>
        </pc:spChg>
        <pc:spChg chg="add del mod">
          <ac:chgData name="Steiner Andreas 6206 ED" userId="e6377c33-a923-4f14-8587-531c474c7b48" providerId="ADAL" clId="{6ECD27E6-B224-41CD-B4E0-E297462320DD}" dt="2023-11-24T08:49:03.943" v="76829"/>
          <ac:spMkLst>
            <pc:docMk/>
            <pc:sldMk cId="4099999037" sldId="2147478570"/>
            <ac:spMk id="504" creationId="{2E9992BD-213A-4476-839E-262ED6EE6EE9}"/>
          </ac:spMkLst>
        </pc:spChg>
        <pc:spChg chg="add del mod">
          <ac:chgData name="Steiner Andreas 6206 ED" userId="e6377c33-a923-4f14-8587-531c474c7b48" providerId="ADAL" clId="{6ECD27E6-B224-41CD-B4E0-E297462320DD}" dt="2023-11-24T08:49:05.839" v="76984"/>
          <ac:spMkLst>
            <pc:docMk/>
            <pc:sldMk cId="4099999037" sldId="2147478570"/>
            <ac:spMk id="505" creationId="{D81E5749-88FF-2F9F-CFEC-2922944A15E6}"/>
          </ac:spMkLst>
        </pc:spChg>
        <pc:spChg chg="add del mod">
          <ac:chgData name="Steiner Andreas 6206 ED" userId="e6377c33-a923-4f14-8587-531c474c7b48" providerId="ADAL" clId="{6ECD27E6-B224-41CD-B4E0-E297462320DD}" dt="2023-11-24T08:49:07.949" v="77139"/>
          <ac:spMkLst>
            <pc:docMk/>
            <pc:sldMk cId="4099999037" sldId="2147478570"/>
            <ac:spMk id="506" creationId="{912EAFD2-57DF-9F2C-178F-F7EF0533C4B5}"/>
          </ac:spMkLst>
        </pc:spChg>
        <pc:spChg chg="add del mod">
          <ac:chgData name="Steiner Andreas 6206 ED" userId="e6377c33-a923-4f14-8587-531c474c7b48" providerId="ADAL" clId="{6ECD27E6-B224-41CD-B4E0-E297462320DD}" dt="2023-11-24T08:49:09.832" v="77294"/>
          <ac:spMkLst>
            <pc:docMk/>
            <pc:sldMk cId="4099999037" sldId="2147478570"/>
            <ac:spMk id="507" creationId="{E531BEAC-3EE2-62A7-06B3-A1142A62F343}"/>
          </ac:spMkLst>
        </pc:spChg>
        <pc:spChg chg="add del mod">
          <ac:chgData name="Steiner Andreas 6206 ED" userId="e6377c33-a923-4f14-8587-531c474c7b48" providerId="ADAL" clId="{6ECD27E6-B224-41CD-B4E0-E297462320DD}" dt="2023-11-24T08:49:11.608" v="77449"/>
          <ac:spMkLst>
            <pc:docMk/>
            <pc:sldMk cId="4099999037" sldId="2147478570"/>
            <ac:spMk id="508" creationId="{793E9347-EC0D-A01D-3396-095C064D1496}"/>
          </ac:spMkLst>
        </pc:spChg>
        <pc:spChg chg="add del mod">
          <ac:chgData name="Steiner Andreas 6206 ED" userId="e6377c33-a923-4f14-8587-531c474c7b48" providerId="ADAL" clId="{6ECD27E6-B224-41CD-B4E0-E297462320DD}" dt="2023-11-24T08:49:13.715" v="77604"/>
          <ac:spMkLst>
            <pc:docMk/>
            <pc:sldMk cId="4099999037" sldId="2147478570"/>
            <ac:spMk id="509" creationId="{718C7DD7-2EC8-0A8C-E119-15B3EECFA891}"/>
          </ac:spMkLst>
        </pc:spChg>
        <pc:spChg chg="add del mod">
          <ac:chgData name="Steiner Andreas 6206 ED" userId="e6377c33-a923-4f14-8587-531c474c7b48" providerId="ADAL" clId="{6ECD27E6-B224-41CD-B4E0-E297462320DD}" dt="2023-11-24T08:49:15.709" v="77759"/>
          <ac:spMkLst>
            <pc:docMk/>
            <pc:sldMk cId="4099999037" sldId="2147478570"/>
            <ac:spMk id="510" creationId="{057FEDE9-A1FF-F574-CD6D-35CE875B3CF8}"/>
          </ac:spMkLst>
        </pc:spChg>
        <pc:spChg chg="add del mod">
          <ac:chgData name="Steiner Andreas 6206 ED" userId="e6377c33-a923-4f14-8587-531c474c7b48" providerId="ADAL" clId="{6ECD27E6-B224-41CD-B4E0-E297462320DD}" dt="2023-11-24T08:49:17.735" v="77914"/>
          <ac:spMkLst>
            <pc:docMk/>
            <pc:sldMk cId="4099999037" sldId="2147478570"/>
            <ac:spMk id="511" creationId="{2621EDBF-D72F-009E-D064-010C2576AB99}"/>
          </ac:spMkLst>
        </pc:spChg>
        <pc:spChg chg="add del mod">
          <ac:chgData name="Steiner Andreas 6206 ED" userId="e6377c33-a923-4f14-8587-531c474c7b48" providerId="ADAL" clId="{6ECD27E6-B224-41CD-B4E0-E297462320DD}" dt="2023-11-24T08:49:19.789" v="78069"/>
          <ac:spMkLst>
            <pc:docMk/>
            <pc:sldMk cId="4099999037" sldId="2147478570"/>
            <ac:spMk id="512" creationId="{CC5DCD2F-D563-081E-71DA-1E270AADF96D}"/>
          </ac:spMkLst>
        </pc:spChg>
        <pc:spChg chg="add del mod">
          <ac:chgData name="Steiner Andreas 6206 ED" userId="e6377c33-a923-4f14-8587-531c474c7b48" providerId="ADAL" clId="{6ECD27E6-B224-41CD-B4E0-E297462320DD}" dt="2023-11-24T08:49:21.684" v="78224"/>
          <ac:spMkLst>
            <pc:docMk/>
            <pc:sldMk cId="4099999037" sldId="2147478570"/>
            <ac:spMk id="513" creationId="{F97824FB-4C6C-44EC-710E-D2435B586A49}"/>
          </ac:spMkLst>
        </pc:spChg>
        <pc:spChg chg="add del mod">
          <ac:chgData name="Steiner Andreas 6206 ED" userId="e6377c33-a923-4f14-8587-531c474c7b48" providerId="ADAL" clId="{6ECD27E6-B224-41CD-B4E0-E297462320DD}" dt="2023-11-24T08:49:23.590" v="78379"/>
          <ac:spMkLst>
            <pc:docMk/>
            <pc:sldMk cId="4099999037" sldId="2147478570"/>
            <ac:spMk id="514" creationId="{F862443F-3E09-AB07-C26D-B31C2AEDEAA0}"/>
          </ac:spMkLst>
        </pc:spChg>
        <pc:spChg chg="add del mod">
          <ac:chgData name="Steiner Andreas 6206 ED" userId="e6377c33-a923-4f14-8587-531c474c7b48" providerId="ADAL" clId="{6ECD27E6-B224-41CD-B4E0-E297462320DD}" dt="2023-11-24T08:49:25.463" v="78534"/>
          <ac:spMkLst>
            <pc:docMk/>
            <pc:sldMk cId="4099999037" sldId="2147478570"/>
            <ac:spMk id="515" creationId="{DE4CEE7F-49BF-1D60-DCAA-51A3A6F7845D}"/>
          </ac:spMkLst>
        </pc:spChg>
        <pc:spChg chg="add del mod">
          <ac:chgData name="Steiner Andreas 6206 ED" userId="e6377c33-a923-4f14-8587-531c474c7b48" providerId="ADAL" clId="{6ECD27E6-B224-41CD-B4E0-E297462320DD}" dt="2023-11-24T08:49:27.531" v="78689"/>
          <ac:spMkLst>
            <pc:docMk/>
            <pc:sldMk cId="4099999037" sldId="2147478570"/>
            <ac:spMk id="516" creationId="{45F20DF6-C819-0296-A2BE-D728521FEB39}"/>
          </ac:spMkLst>
        </pc:spChg>
        <pc:spChg chg="add del mod">
          <ac:chgData name="Steiner Andreas 6206 ED" userId="e6377c33-a923-4f14-8587-531c474c7b48" providerId="ADAL" clId="{6ECD27E6-B224-41CD-B4E0-E297462320DD}" dt="2023-11-24T08:49:29.560" v="78844"/>
          <ac:spMkLst>
            <pc:docMk/>
            <pc:sldMk cId="4099999037" sldId="2147478570"/>
            <ac:spMk id="517" creationId="{3FEF8240-A878-AA77-1342-FBF2A060CC51}"/>
          </ac:spMkLst>
        </pc:spChg>
        <pc:spChg chg="add del mod">
          <ac:chgData name="Steiner Andreas 6206 ED" userId="e6377c33-a923-4f14-8587-531c474c7b48" providerId="ADAL" clId="{6ECD27E6-B224-41CD-B4E0-E297462320DD}" dt="2023-11-24T08:49:31.492" v="78999"/>
          <ac:spMkLst>
            <pc:docMk/>
            <pc:sldMk cId="4099999037" sldId="2147478570"/>
            <ac:spMk id="518" creationId="{C6FDF3C2-BB1E-369E-A18D-7B3463832E99}"/>
          </ac:spMkLst>
        </pc:spChg>
        <pc:spChg chg="add del mod">
          <ac:chgData name="Steiner Andreas 6206 ED" userId="e6377c33-a923-4f14-8587-531c474c7b48" providerId="ADAL" clId="{6ECD27E6-B224-41CD-B4E0-E297462320DD}" dt="2023-11-24T08:49:33.395" v="79154"/>
          <ac:spMkLst>
            <pc:docMk/>
            <pc:sldMk cId="4099999037" sldId="2147478570"/>
            <ac:spMk id="519" creationId="{0206D87C-82E9-C1AE-89DF-8510E499364F}"/>
          </ac:spMkLst>
        </pc:spChg>
        <pc:spChg chg="add del mod">
          <ac:chgData name="Steiner Andreas 6206 ED" userId="e6377c33-a923-4f14-8587-531c474c7b48" providerId="ADAL" clId="{6ECD27E6-B224-41CD-B4E0-E297462320DD}" dt="2023-11-24T08:49:35.299" v="79309"/>
          <ac:spMkLst>
            <pc:docMk/>
            <pc:sldMk cId="4099999037" sldId="2147478570"/>
            <ac:spMk id="520" creationId="{7E1024A7-7E92-1B01-2CA9-3E25019629EA}"/>
          </ac:spMkLst>
        </pc:spChg>
        <pc:spChg chg="add del mod">
          <ac:chgData name="Steiner Andreas 6206 ED" userId="e6377c33-a923-4f14-8587-531c474c7b48" providerId="ADAL" clId="{6ECD27E6-B224-41CD-B4E0-E297462320DD}" dt="2023-11-24T08:49:37.130" v="79464"/>
          <ac:spMkLst>
            <pc:docMk/>
            <pc:sldMk cId="4099999037" sldId="2147478570"/>
            <ac:spMk id="521" creationId="{8919F0AA-B086-11C2-2B83-F300E2842836}"/>
          </ac:spMkLst>
        </pc:spChg>
        <pc:spChg chg="add del mod">
          <ac:chgData name="Steiner Andreas 6206 ED" userId="e6377c33-a923-4f14-8587-531c474c7b48" providerId="ADAL" clId="{6ECD27E6-B224-41CD-B4E0-E297462320DD}" dt="2023-11-24T08:49:39.086" v="79619"/>
          <ac:spMkLst>
            <pc:docMk/>
            <pc:sldMk cId="4099999037" sldId="2147478570"/>
            <ac:spMk id="522" creationId="{971C077F-447F-B2C2-1DFB-D52FE41E2028}"/>
          </ac:spMkLst>
        </pc:spChg>
        <pc:spChg chg="add del mod">
          <ac:chgData name="Steiner Andreas 6206 ED" userId="e6377c33-a923-4f14-8587-531c474c7b48" providerId="ADAL" clId="{6ECD27E6-B224-41CD-B4E0-E297462320DD}" dt="2023-11-24T08:49:41.187" v="79774"/>
          <ac:spMkLst>
            <pc:docMk/>
            <pc:sldMk cId="4099999037" sldId="2147478570"/>
            <ac:spMk id="523" creationId="{16689991-5020-A5A3-088C-BF6C66F82DD9}"/>
          </ac:spMkLst>
        </pc:spChg>
        <pc:spChg chg="add del mod">
          <ac:chgData name="Steiner Andreas 6206 ED" userId="e6377c33-a923-4f14-8587-531c474c7b48" providerId="ADAL" clId="{6ECD27E6-B224-41CD-B4E0-E297462320DD}" dt="2023-11-24T08:49:43.095" v="79929"/>
          <ac:spMkLst>
            <pc:docMk/>
            <pc:sldMk cId="4099999037" sldId="2147478570"/>
            <ac:spMk id="524" creationId="{BA1BDCD0-46CF-E13D-EE17-28C39787BEFE}"/>
          </ac:spMkLst>
        </pc:spChg>
        <pc:spChg chg="add del mod">
          <ac:chgData name="Steiner Andreas 6206 ED" userId="e6377c33-a923-4f14-8587-531c474c7b48" providerId="ADAL" clId="{6ECD27E6-B224-41CD-B4E0-E297462320DD}" dt="2023-11-24T08:49:45.041" v="80084"/>
          <ac:spMkLst>
            <pc:docMk/>
            <pc:sldMk cId="4099999037" sldId="2147478570"/>
            <ac:spMk id="525" creationId="{090C379D-D9D4-2EB7-6754-4F93A648DD6A}"/>
          </ac:spMkLst>
        </pc:spChg>
        <pc:spChg chg="add del mod">
          <ac:chgData name="Steiner Andreas 6206 ED" userId="e6377c33-a923-4f14-8587-531c474c7b48" providerId="ADAL" clId="{6ECD27E6-B224-41CD-B4E0-E297462320DD}" dt="2023-11-24T08:49:47" v="80239"/>
          <ac:spMkLst>
            <pc:docMk/>
            <pc:sldMk cId="4099999037" sldId="2147478570"/>
            <ac:spMk id="526" creationId="{75C49A8E-2A4B-45A0-AF35-1561C0F116F9}"/>
          </ac:spMkLst>
        </pc:spChg>
        <pc:spChg chg="add del mod">
          <ac:chgData name="Steiner Andreas 6206 ED" userId="e6377c33-a923-4f14-8587-531c474c7b48" providerId="ADAL" clId="{6ECD27E6-B224-41CD-B4E0-E297462320DD}" dt="2023-11-24T08:49:48.875" v="80394"/>
          <ac:spMkLst>
            <pc:docMk/>
            <pc:sldMk cId="4099999037" sldId="2147478570"/>
            <ac:spMk id="527" creationId="{60A843F9-B584-CE40-8B41-75601F6031D1}"/>
          </ac:spMkLst>
        </pc:spChg>
        <pc:spChg chg="add del mod">
          <ac:chgData name="Steiner Andreas 6206 ED" userId="e6377c33-a923-4f14-8587-531c474c7b48" providerId="ADAL" clId="{6ECD27E6-B224-41CD-B4E0-E297462320DD}" dt="2023-11-24T08:49:50.775" v="80549"/>
          <ac:spMkLst>
            <pc:docMk/>
            <pc:sldMk cId="4099999037" sldId="2147478570"/>
            <ac:spMk id="528" creationId="{23AFD81A-618C-7048-CB60-683A74972FB8}"/>
          </ac:spMkLst>
        </pc:spChg>
        <pc:spChg chg="add del mod">
          <ac:chgData name="Steiner Andreas 6206 ED" userId="e6377c33-a923-4f14-8587-531c474c7b48" providerId="ADAL" clId="{6ECD27E6-B224-41CD-B4E0-E297462320DD}" dt="2023-11-24T08:49:52.704" v="80704"/>
          <ac:spMkLst>
            <pc:docMk/>
            <pc:sldMk cId="4099999037" sldId="2147478570"/>
            <ac:spMk id="529" creationId="{0699388C-7615-7B20-599C-B7669E8DD375}"/>
          </ac:spMkLst>
        </pc:spChg>
        <pc:spChg chg="add del mod">
          <ac:chgData name="Steiner Andreas 6206 ED" userId="e6377c33-a923-4f14-8587-531c474c7b48" providerId="ADAL" clId="{6ECD27E6-B224-41CD-B4E0-E297462320DD}" dt="2023-11-24T08:49:54.634" v="80859"/>
          <ac:spMkLst>
            <pc:docMk/>
            <pc:sldMk cId="4099999037" sldId="2147478570"/>
            <ac:spMk id="530" creationId="{3BDA4E69-B99A-3C81-BAE0-2BA85AF07F17}"/>
          </ac:spMkLst>
        </pc:spChg>
        <pc:spChg chg="add del mod">
          <ac:chgData name="Steiner Andreas 6206 ED" userId="e6377c33-a923-4f14-8587-531c474c7b48" providerId="ADAL" clId="{6ECD27E6-B224-41CD-B4E0-E297462320DD}" dt="2023-11-24T08:49:56.509" v="81014"/>
          <ac:spMkLst>
            <pc:docMk/>
            <pc:sldMk cId="4099999037" sldId="2147478570"/>
            <ac:spMk id="531" creationId="{31893FF9-3970-7539-580E-03D7ED009505}"/>
          </ac:spMkLst>
        </pc:spChg>
        <pc:spChg chg="add del mod">
          <ac:chgData name="Steiner Andreas 6206 ED" userId="e6377c33-a923-4f14-8587-531c474c7b48" providerId="ADAL" clId="{6ECD27E6-B224-41CD-B4E0-E297462320DD}" dt="2023-11-24T08:49:58.400" v="81169"/>
          <ac:spMkLst>
            <pc:docMk/>
            <pc:sldMk cId="4099999037" sldId="2147478570"/>
            <ac:spMk id="532" creationId="{9B03B112-09F6-F91C-8210-D124C4E52765}"/>
          </ac:spMkLst>
        </pc:spChg>
        <pc:spChg chg="add del mod">
          <ac:chgData name="Steiner Andreas 6206 ED" userId="e6377c33-a923-4f14-8587-531c474c7b48" providerId="ADAL" clId="{6ECD27E6-B224-41CD-B4E0-E297462320DD}" dt="2023-11-24T08:50:00.327" v="81324"/>
          <ac:spMkLst>
            <pc:docMk/>
            <pc:sldMk cId="4099999037" sldId="2147478570"/>
            <ac:spMk id="533" creationId="{41A3CDB4-9DAC-25AD-F792-EA1727E7BE62}"/>
          </ac:spMkLst>
        </pc:spChg>
        <pc:spChg chg="add del mod">
          <ac:chgData name="Steiner Andreas 6206 ED" userId="e6377c33-a923-4f14-8587-531c474c7b48" providerId="ADAL" clId="{6ECD27E6-B224-41CD-B4E0-E297462320DD}" dt="2023-11-24T08:50:02.401" v="81479"/>
          <ac:spMkLst>
            <pc:docMk/>
            <pc:sldMk cId="4099999037" sldId="2147478570"/>
            <ac:spMk id="534" creationId="{252E0BD0-8AE6-AF29-D1DB-15BB0BA98755}"/>
          </ac:spMkLst>
        </pc:spChg>
        <pc:spChg chg="add del mod">
          <ac:chgData name="Steiner Andreas 6206 ED" userId="e6377c33-a923-4f14-8587-531c474c7b48" providerId="ADAL" clId="{6ECD27E6-B224-41CD-B4E0-E297462320DD}" dt="2023-11-24T08:50:04.468" v="81634"/>
          <ac:spMkLst>
            <pc:docMk/>
            <pc:sldMk cId="4099999037" sldId="2147478570"/>
            <ac:spMk id="535" creationId="{1E831099-757E-38E6-F925-8686C32E8160}"/>
          </ac:spMkLst>
        </pc:spChg>
        <pc:spChg chg="add del mod">
          <ac:chgData name="Steiner Andreas 6206 ED" userId="e6377c33-a923-4f14-8587-531c474c7b48" providerId="ADAL" clId="{6ECD27E6-B224-41CD-B4E0-E297462320DD}" dt="2023-11-24T08:50:06.407" v="81789"/>
          <ac:spMkLst>
            <pc:docMk/>
            <pc:sldMk cId="4099999037" sldId="2147478570"/>
            <ac:spMk id="536" creationId="{3DB29D17-6E5F-BA19-4FF3-445A049C2827}"/>
          </ac:spMkLst>
        </pc:spChg>
        <pc:spChg chg="add del mod">
          <ac:chgData name="Steiner Andreas 6206 ED" userId="e6377c33-a923-4f14-8587-531c474c7b48" providerId="ADAL" clId="{6ECD27E6-B224-41CD-B4E0-E297462320DD}" dt="2023-11-24T08:50:08.291" v="81944"/>
          <ac:spMkLst>
            <pc:docMk/>
            <pc:sldMk cId="4099999037" sldId="2147478570"/>
            <ac:spMk id="537" creationId="{A6972582-7C38-DB0C-E3ED-535B25436BC9}"/>
          </ac:spMkLst>
        </pc:spChg>
        <pc:spChg chg="add del mod">
          <ac:chgData name="Steiner Andreas 6206 ED" userId="e6377c33-a923-4f14-8587-531c474c7b48" providerId="ADAL" clId="{6ECD27E6-B224-41CD-B4E0-E297462320DD}" dt="2023-11-24T08:50:10.187" v="82099"/>
          <ac:spMkLst>
            <pc:docMk/>
            <pc:sldMk cId="4099999037" sldId="2147478570"/>
            <ac:spMk id="538" creationId="{F7170602-1DC8-ACFB-3EF9-03B475B184A7}"/>
          </ac:spMkLst>
        </pc:spChg>
        <pc:spChg chg="add del mod">
          <ac:chgData name="Steiner Andreas 6206 ED" userId="e6377c33-a923-4f14-8587-531c474c7b48" providerId="ADAL" clId="{6ECD27E6-B224-41CD-B4E0-E297462320DD}" dt="2023-11-24T08:50:12.103" v="82254"/>
          <ac:spMkLst>
            <pc:docMk/>
            <pc:sldMk cId="4099999037" sldId="2147478570"/>
            <ac:spMk id="539" creationId="{8C0B85B8-C794-F9D7-225F-F615D34314E4}"/>
          </ac:spMkLst>
        </pc:spChg>
        <pc:spChg chg="add del mod">
          <ac:chgData name="Steiner Andreas 6206 ED" userId="e6377c33-a923-4f14-8587-531c474c7b48" providerId="ADAL" clId="{6ECD27E6-B224-41CD-B4E0-E297462320DD}" dt="2023-11-24T08:50:14.168" v="82409"/>
          <ac:spMkLst>
            <pc:docMk/>
            <pc:sldMk cId="4099999037" sldId="2147478570"/>
            <ac:spMk id="540" creationId="{FB0818B0-7BC6-881F-36E4-A99C82AF23BA}"/>
          </ac:spMkLst>
        </pc:spChg>
        <pc:spChg chg="add del mod">
          <ac:chgData name="Steiner Andreas 6206 ED" userId="e6377c33-a923-4f14-8587-531c474c7b48" providerId="ADAL" clId="{6ECD27E6-B224-41CD-B4E0-E297462320DD}" dt="2023-11-24T08:50:16.118" v="82564"/>
          <ac:spMkLst>
            <pc:docMk/>
            <pc:sldMk cId="4099999037" sldId="2147478570"/>
            <ac:spMk id="541" creationId="{994414CD-C41F-8794-5400-8C4944156D6F}"/>
          </ac:spMkLst>
        </pc:spChg>
        <pc:spChg chg="add del mod">
          <ac:chgData name="Steiner Andreas 6206 ED" userId="e6377c33-a923-4f14-8587-531c474c7b48" providerId="ADAL" clId="{6ECD27E6-B224-41CD-B4E0-E297462320DD}" dt="2023-11-24T08:50:18.104" v="82719"/>
          <ac:spMkLst>
            <pc:docMk/>
            <pc:sldMk cId="4099999037" sldId="2147478570"/>
            <ac:spMk id="542" creationId="{67F48B90-103F-5339-585E-28E2422231B1}"/>
          </ac:spMkLst>
        </pc:spChg>
        <pc:spChg chg="add del mod">
          <ac:chgData name="Steiner Andreas 6206 ED" userId="e6377c33-a923-4f14-8587-531c474c7b48" providerId="ADAL" clId="{6ECD27E6-B224-41CD-B4E0-E297462320DD}" dt="2023-11-24T08:50:20.306" v="82874"/>
          <ac:spMkLst>
            <pc:docMk/>
            <pc:sldMk cId="4099999037" sldId="2147478570"/>
            <ac:spMk id="543" creationId="{D9264654-CF6D-D00B-CB9E-A446A9F093D5}"/>
          </ac:spMkLst>
        </pc:spChg>
        <pc:spChg chg="add del mod">
          <ac:chgData name="Steiner Andreas 6206 ED" userId="e6377c33-a923-4f14-8587-531c474c7b48" providerId="ADAL" clId="{6ECD27E6-B224-41CD-B4E0-E297462320DD}" dt="2023-11-24T08:50:22.240" v="83029"/>
          <ac:spMkLst>
            <pc:docMk/>
            <pc:sldMk cId="4099999037" sldId="2147478570"/>
            <ac:spMk id="544" creationId="{D867380C-B057-20C2-7702-3982B881B6DF}"/>
          </ac:spMkLst>
        </pc:spChg>
        <pc:spChg chg="add del mod">
          <ac:chgData name="Steiner Andreas 6206 ED" userId="e6377c33-a923-4f14-8587-531c474c7b48" providerId="ADAL" clId="{6ECD27E6-B224-41CD-B4E0-E297462320DD}" dt="2023-11-24T08:50:24.328" v="83184"/>
          <ac:spMkLst>
            <pc:docMk/>
            <pc:sldMk cId="4099999037" sldId="2147478570"/>
            <ac:spMk id="545" creationId="{EF8D2DDD-675C-595D-EF58-9DB5A45CD99E}"/>
          </ac:spMkLst>
        </pc:spChg>
        <pc:spChg chg="add del mod">
          <ac:chgData name="Steiner Andreas 6206 ED" userId="e6377c33-a923-4f14-8587-531c474c7b48" providerId="ADAL" clId="{6ECD27E6-B224-41CD-B4E0-E297462320DD}" dt="2023-11-24T08:50:26.336" v="83339"/>
          <ac:spMkLst>
            <pc:docMk/>
            <pc:sldMk cId="4099999037" sldId="2147478570"/>
            <ac:spMk id="546" creationId="{5BF65E3B-4725-4B8E-6BDA-DF63EB87AFE6}"/>
          </ac:spMkLst>
        </pc:spChg>
        <pc:spChg chg="add del mod">
          <ac:chgData name="Steiner Andreas 6206 ED" userId="e6377c33-a923-4f14-8587-531c474c7b48" providerId="ADAL" clId="{6ECD27E6-B224-41CD-B4E0-E297462320DD}" dt="2023-11-24T08:50:28.268" v="83494"/>
          <ac:spMkLst>
            <pc:docMk/>
            <pc:sldMk cId="4099999037" sldId="2147478570"/>
            <ac:spMk id="547" creationId="{2CA94EAA-D943-737C-187C-16B9A7F55FB4}"/>
          </ac:spMkLst>
        </pc:spChg>
        <pc:spChg chg="add del mod">
          <ac:chgData name="Steiner Andreas 6206 ED" userId="e6377c33-a923-4f14-8587-531c474c7b48" providerId="ADAL" clId="{6ECD27E6-B224-41CD-B4E0-E297462320DD}" dt="2023-11-24T08:50:30.181" v="83649"/>
          <ac:spMkLst>
            <pc:docMk/>
            <pc:sldMk cId="4099999037" sldId="2147478570"/>
            <ac:spMk id="548" creationId="{AC57078C-80B5-A94A-4BA3-282E6674A93F}"/>
          </ac:spMkLst>
        </pc:spChg>
        <pc:spChg chg="add del mod">
          <ac:chgData name="Steiner Andreas 6206 ED" userId="e6377c33-a923-4f14-8587-531c474c7b48" providerId="ADAL" clId="{6ECD27E6-B224-41CD-B4E0-E297462320DD}" dt="2023-11-24T08:50:32.224" v="83804"/>
          <ac:spMkLst>
            <pc:docMk/>
            <pc:sldMk cId="4099999037" sldId="2147478570"/>
            <ac:spMk id="549" creationId="{53563D37-87D1-6192-4F1A-0D8DF9F21098}"/>
          </ac:spMkLst>
        </pc:spChg>
        <pc:spChg chg="add del mod">
          <ac:chgData name="Steiner Andreas 6206 ED" userId="e6377c33-a923-4f14-8587-531c474c7b48" providerId="ADAL" clId="{6ECD27E6-B224-41CD-B4E0-E297462320DD}" dt="2023-11-24T08:50:34.256" v="83959"/>
          <ac:spMkLst>
            <pc:docMk/>
            <pc:sldMk cId="4099999037" sldId="2147478570"/>
            <ac:spMk id="550" creationId="{F361ED8F-0489-22E7-5E47-B873E30F55D5}"/>
          </ac:spMkLst>
        </pc:spChg>
        <pc:spChg chg="add del mod">
          <ac:chgData name="Steiner Andreas 6206 ED" userId="e6377c33-a923-4f14-8587-531c474c7b48" providerId="ADAL" clId="{6ECD27E6-B224-41CD-B4E0-E297462320DD}" dt="2023-11-24T08:50:36.499" v="84114"/>
          <ac:spMkLst>
            <pc:docMk/>
            <pc:sldMk cId="4099999037" sldId="2147478570"/>
            <ac:spMk id="551" creationId="{FC259E3E-0D3E-3D28-1C48-D3AF6DA0C643}"/>
          </ac:spMkLst>
        </pc:spChg>
        <pc:spChg chg="add del mod">
          <ac:chgData name="Steiner Andreas 6206 ED" userId="e6377c33-a923-4f14-8587-531c474c7b48" providerId="ADAL" clId="{6ECD27E6-B224-41CD-B4E0-E297462320DD}" dt="2023-11-24T08:50:38.458" v="84269"/>
          <ac:spMkLst>
            <pc:docMk/>
            <pc:sldMk cId="4099999037" sldId="2147478570"/>
            <ac:spMk id="552" creationId="{F75526AE-C86E-653F-1B19-E18150A117E5}"/>
          </ac:spMkLst>
        </pc:spChg>
        <pc:spChg chg="add del mod">
          <ac:chgData name="Steiner Andreas 6206 ED" userId="e6377c33-a923-4f14-8587-531c474c7b48" providerId="ADAL" clId="{6ECD27E6-B224-41CD-B4E0-E297462320DD}" dt="2023-11-24T08:50:40.442" v="84424"/>
          <ac:spMkLst>
            <pc:docMk/>
            <pc:sldMk cId="4099999037" sldId="2147478570"/>
            <ac:spMk id="553" creationId="{4BF41A71-BDBA-DBE4-BCC7-2AA3B5EB346C}"/>
          </ac:spMkLst>
        </pc:spChg>
        <pc:spChg chg="add del mod">
          <ac:chgData name="Steiner Andreas 6206 ED" userId="e6377c33-a923-4f14-8587-531c474c7b48" providerId="ADAL" clId="{6ECD27E6-B224-41CD-B4E0-E297462320DD}" dt="2023-11-24T08:50:42.440" v="84579"/>
          <ac:spMkLst>
            <pc:docMk/>
            <pc:sldMk cId="4099999037" sldId="2147478570"/>
            <ac:spMk id="554" creationId="{7076AC51-BA83-9682-99BA-29B0C74284E2}"/>
          </ac:spMkLst>
        </pc:spChg>
        <pc:spChg chg="add del mod">
          <ac:chgData name="Steiner Andreas 6206 ED" userId="e6377c33-a923-4f14-8587-531c474c7b48" providerId="ADAL" clId="{6ECD27E6-B224-41CD-B4E0-E297462320DD}" dt="2023-11-24T08:50:44.606" v="84734"/>
          <ac:spMkLst>
            <pc:docMk/>
            <pc:sldMk cId="4099999037" sldId="2147478570"/>
            <ac:spMk id="555" creationId="{3BB507AD-EA75-2E95-A4E5-C4BFD16C28BC}"/>
          </ac:spMkLst>
        </pc:spChg>
        <pc:spChg chg="add del mod">
          <ac:chgData name="Steiner Andreas 6206 ED" userId="e6377c33-a923-4f14-8587-531c474c7b48" providerId="ADAL" clId="{6ECD27E6-B224-41CD-B4E0-E297462320DD}" dt="2023-11-24T08:50:46.706" v="84889"/>
          <ac:spMkLst>
            <pc:docMk/>
            <pc:sldMk cId="4099999037" sldId="2147478570"/>
            <ac:spMk id="556" creationId="{2F37E4E4-D921-335A-1E6A-70D3C7E5DA7E}"/>
          </ac:spMkLst>
        </pc:spChg>
        <pc:spChg chg="add del mod">
          <ac:chgData name="Steiner Andreas 6206 ED" userId="e6377c33-a923-4f14-8587-531c474c7b48" providerId="ADAL" clId="{6ECD27E6-B224-41CD-B4E0-E297462320DD}" dt="2023-11-24T08:50:48.838" v="85044"/>
          <ac:spMkLst>
            <pc:docMk/>
            <pc:sldMk cId="4099999037" sldId="2147478570"/>
            <ac:spMk id="557" creationId="{F5A4212F-1CB8-4376-C1C2-EA059111E370}"/>
          </ac:spMkLst>
        </pc:spChg>
        <pc:spChg chg="add del mod">
          <ac:chgData name="Steiner Andreas 6206 ED" userId="e6377c33-a923-4f14-8587-531c474c7b48" providerId="ADAL" clId="{6ECD27E6-B224-41CD-B4E0-E297462320DD}" dt="2023-11-24T08:50:50.936" v="85199"/>
          <ac:spMkLst>
            <pc:docMk/>
            <pc:sldMk cId="4099999037" sldId="2147478570"/>
            <ac:spMk id="558" creationId="{8F668258-711A-06AF-EA77-25E8C6FA2803}"/>
          </ac:spMkLst>
        </pc:spChg>
        <pc:spChg chg="add del mod">
          <ac:chgData name="Steiner Andreas 6206 ED" userId="e6377c33-a923-4f14-8587-531c474c7b48" providerId="ADAL" clId="{6ECD27E6-B224-41CD-B4E0-E297462320DD}" dt="2023-11-24T08:50:53.057" v="85354"/>
          <ac:spMkLst>
            <pc:docMk/>
            <pc:sldMk cId="4099999037" sldId="2147478570"/>
            <ac:spMk id="559" creationId="{5AB271B7-84E3-7578-8FB2-9809143E5AF5}"/>
          </ac:spMkLst>
        </pc:spChg>
        <pc:spChg chg="add del mod">
          <ac:chgData name="Steiner Andreas 6206 ED" userId="e6377c33-a923-4f14-8587-531c474c7b48" providerId="ADAL" clId="{6ECD27E6-B224-41CD-B4E0-E297462320DD}" dt="2023-11-24T08:50:54.970" v="85509"/>
          <ac:spMkLst>
            <pc:docMk/>
            <pc:sldMk cId="4099999037" sldId="2147478570"/>
            <ac:spMk id="560" creationId="{F7F4B0FB-33C8-9670-6F2E-1E571858AE80}"/>
          </ac:spMkLst>
        </pc:spChg>
        <pc:spChg chg="add del mod">
          <ac:chgData name="Steiner Andreas 6206 ED" userId="e6377c33-a923-4f14-8587-531c474c7b48" providerId="ADAL" clId="{6ECD27E6-B224-41CD-B4E0-E297462320DD}" dt="2023-11-24T08:50:56.873" v="85664"/>
          <ac:spMkLst>
            <pc:docMk/>
            <pc:sldMk cId="4099999037" sldId="2147478570"/>
            <ac:spMk id="561" creationId="{ABE3AACD-A04C-24EF-1A22-1596EE7B2F5B}"/>
          </ac:spMkLst>
        </pc:spChg>
        <pc:spChg chg="add del mod">
          <ac:chgData name="Steiner Andreas 6206 ED" userId="e6377c33-a923-4f14-8587-531c474c7b48" providerId="ADAL" clId="{6ECD27E6-B224-41CD-B4E0-E297462320DD}" dt="2023-11-24T08:50:59.065" v="85819"/>
          <ac:spMkLst>
            <pc:docMk/>
            <pc:sldMk cId="4099999037" sldId="2147478570"/>
            <ac:spMk id="562" creationId="{41E7617D-D661-C9D9-89BB-482592BB647C}"/>
          </ac:spMkLst>
        </pc:spChg>
        <pc:spChg chg="add del mod">
          <ac:chgData name="Steiner Andreas 6206 ED" userId="e6377c33-a923-4f14-8587-531c474c7b48" providerId="ADAL" clId="{6ECD27E6-B224-41CD-B4E0-E297462320DD}" dt="2023-11-24T08:51:01.014" v="85974"/>
          <ac:spMkLst>
            <pc:docMk/>
            <pc:sldMk cId="4099999037" sldId="2147478570"/>
            <ac:spMk id="563" creationId="{E422DE05-74C9-45D7-E7B2-F803DE0C3013}"/>
          </ac:spMkLst>
        </pc:spChg>
        <pc:spChg chg="add del mod">
          <ac:chgData name="Steiner Andreas 6206 ED" userId="e6377c33-a923-4f14-8587-531c474c7b48" providerId="ADAL" clId="{6ECD27E6-B224-41CD-B4E0-E297462320DD}" dt="2023-11-24T08:51:02.998" v="86129"/>
          <ac:spMkLst>
            <pc:docMk/>
            <pc:sldMk cId="4099999037" sldId="2147478570"/>
            <ac:spMk id="564" creationId="{BBAEBDBD-2036-03E8-0671-638D78AF9D49}"/>
          </ac:spMkLst>
        </pc:spChg>
        <pc:spChg chg="add del mod">
          <ac:chgData name="Steiner Andreas 6206 ED" userId="e6377c33-a923-4f14-8587-531c474c7b48" providerId="ADAL" clId="{6ECD27E6-B224-41CD-B4E0-E297462320DD}" dt="2023-11-24T08:51:04.869" v="86284"/>
          <ac:spMkLst>
            <pc:docMk/>
            <pc:sldMk cId="4099999037" sldId="2147478570"/>
            <ac:spMk id="565" creationId="{099DC765-7F6B-FE55-1220-056F08840E84}"/>
          </ac:spMkLst>
        </pc:spChg>
        <pc:spChg chg="add del mod">
          <ac:chgData name="Steiner Andreas 6206 ED" userId="e6377c33-a923-4f14-8587-531c474c7b48" providerId="ADAL" clId="{6ECD27E6-B224-41CD-B4E0-E297462320DD}" dt="2023-11-24T08:51:06.764" v="86439"/>
          <ac:spMkLst>
            <pc:docMk/>
            <pc:sldMk cId="4099999037" sldId="2147478570"/>
            <ac:spMk id="566" creationId="{3D6FDC40-E5E3-36BE-7110-79DE2EE9BF0F}"/>
          </ac:spMkLst>
        </pc:spChg>
        <pc:spChg chg="add del mod">
          <ac:chgData name="Steiner Andreas 6206 ED" userId="e6377c33-a923-4f14-8587-531c474c7b48" providerId="ADAL" clId="{6ECD27E6-B224-41CD-B4E0-E297462320DD}" dt="2023-11-24T08:51:08.750" v="86594"/>
          <ac:spMkLst>
            <pc:docMk/>
            <pc:sldMk cId="4099999037" sldId="2147478570"/>
            <ac:spMk id="567" creationId="{60D59F72-62EA-0E41-83B6-D1985BB605CB}"/>
          </ac:spMkLst>
        </pc:spChg>
        <pc:spChg chg="add del mod">
          <ac:chgData name="Steiner Andreas 6206 ED" userId="e6377c33-a923-4f14-8587-531c474c7b48" providerId="ADAL" clId="{6ECD27E6-B224-41CD-B4E0-E297462320DD}" dt="2023-11-24T08:51:10.780" v="86749"/>
          <ac:spMkLst>
            <pc:docMk/>
            <pc:sldMk cId="4099999037" sldId="2147478570"/>
            <ac:spMk id="568" creationId="{21D34232-7DC3-F4C7-B324-218702ACB9A6}"/>
          </ac:spMkLst>
        </pc:spChg>
        <pc:spChg chg="add del mod">
          <ac:chgData name="Steiner Andreas 6206 ED" userId="e6377c33-a923-4f14-8587-531c474c7b48" providerId="ADAL" clId="{6ECD27E6-B224-41CD-B4E0-E297462320DD}" dt="2023-11-24T08:51:12.677" v="86904"/>
          <ac:spMkLst>
            <pc:docMk/>
            <pc:sldMk cId="4099999037" sldId="2147478570"/>
            <ac:spMk id="569" creationId="{FC88B8AE-35E8-D542-677B-89F6071EA2F4}"/>
          </ac:spMkLst>
        </pc:spChg>
        <pc:spChg chg="add del mod">
          <ac:chgData name="Steiner Andreas 6206 ED" userId="e6377c33-a923-4f14-8587-531c474c7b48" providerId="ADAL" clId="{6ECD27E6-B224-41CD-B4E0-E297462320DD}" dt="2023-11-24T08:51:14.864" v="87059"/>
          <ac:spMkLst>
            <pc:docMk/>
            <pc:sldMk cId="4099999037" sldId="2147478570"/>
            <ac:spMk id="570" creationId="{56745D25-5F1E-BEDC-1416-B8735FA2AB76}"/>
          </ac:spMkLst>
        </pc:spChg>
        <pc:spChg chg="add del mod">
          <ac:chgData name="Steiner Andreas 6206 ED" userId="e6377c33-a923-4f14-8587-531c474c7b48" providerId="ADAL" clId="{6ECD27E6-B224-41CD-B4E0-E297462320DD}" dt="2023-11-24T08:51:16.954" v="87214"/>
          <ac:spMkLst>
            <pc:docMk/>
            <pc:sldMk cId="4099999037" sldId="2147478570"/>
            <ac:spMk id="571" creationId="{60B2F137-50F7-9547-7D28-70DDA13E0D73}"/>
          </ac:spMkLst>
        </pc:spChg>
        <pc:spChg chg="add del mod">
          <ac:chgData name="Steiner Andreas 6206 ED" userId="e6377c33-a923-4f14-8587-531c474c7b48" providerId="ADAL" clId="{6ECD27E6-B224-41CD-B4E0-E297462320DD}" dt="2023-11-24T08:51:18.870" v="87369"/>
          <ac:spMkLst>
            <pc:docMk/>
            <pc:sldMk cId="4099999037" sldId="2147478570"/>
            <ac:spMk id="572" creationId="{5BA176C3-9C9A-DB07-C5BF-41AF7CA62773}"/>
          </ac:spMkLst>
        </pc:spChg>
        <pc:spChg chg="add del mod">
          <ac:chgData name="Steiner Andreas 6206 ED" userId="e6377c33-a923-4f14-8587-531c474c7b48" providerId="ADAL" clId="{6ECD27E6-B224-41CD-B4E0-E297462320DD}" dt="2023-11-24T08:51:20.928" v="87524"/>
          <ac:spMkLst>
            <pc:docMk/>
            <pc:sldMk cId="4099999037" sldId="2147478570"/>
            <ac:spMk id="573" creationId="{31E8730A-9510-A942-90D2-000E7EF472F9}"/>
          </ac:spMkLst>
        </pc:spChg>
        <pc:spChg chg="add del mod">
          <ac:chgData name="Steiner Andreas 6206 ED" userId="e6377c33-a923-4f14-8587-531c474c7b48" providerId="ADAL" clId="{6ECD27E6-B224-41CD-B4E0-E297462320DD}" dt="2023-11-24T08:51:22.878" v="87679"/>
          <ac:spMkLst>
            <pc:docMk/>
            <pc:sldMk cId="4099999037" sldId="2147478570"/>
            <ac:spMk id="574" creationId="{CBE7713A-4EF9-2E95-D3BE-F65F1753659B}"/>
          </ac:spMkLst>
        </pc:spChg>
        <pc:spChg chg="add del mod">
          <ac:chgData name="Steiner Andreas 6206 ED" userId="e6377c33-a923-4f14-8587-531c474c7b48" providerId="ADAL" clId="{6ECD27E6-B224-41CD-B4E0-E297462320DD}" dt="2023-11-24T08:51:24.792" v="87834"/>
          <ac:spMkLst>
            <pc:docMk/>
            <pc:sldMk cId="4099999037" sldId="2147478570"/>
            <ac:spMk id="575" creationId="{6C4E162C-4E51-F9BD-32F1-8261CF51F95D}"/>
          </ac:spMkLst>
        </pc:spChg>
        <pc:spChg chg="add del mod">
          <ac:chgData name="Steiner Andreas 6206 ED" userId="e6377c33-a923-4f14-8587-531c474c7b48" providerId="ADAL" clId="{6ECD27E6-B224-41CD-B4E0-E297462320DD}" dt="2023-11-24T08:51:26.663" v="87989"/>
          <ac:spMkLst>
            <pc:docMk/>
            <pc:sldMk cId="4099999037" sldId="2147478570"/>
            <ac:spMk id="576" creationId="{F476A14B-B99E-68AB-999D-00286F9F0FB2}"/>
          </ac:spMkLst>
        </pc:spChg>
        <pc:spChg chg="add del mod">
          <ac:chgData name="Steiner Andreas 6206 ED" userId="e6377c33-a923-4f14-8587-531c474c7b48" providerId="ADAL" clId="{6ECD27E6-B224-41CD-B4E0-E297462320DD}" dt="2023-11-24T08:51:28.574" v="88144"/>
          <ac:spMkLst>
            <pc:docMk/>
            <pc:sldMk cId="4099999037" sldId="2147478570"/>
            <ac:spMk id="577" creationId="{D768D893-F3FA-87DF-0FAB-B8B2D8B337EC}"/>
          </ac:spMkLst>
        </pc:spChg>
        <pc:spChg chg="add del mod">
          <ac:chgData name="Steiner Andreas 6206 ED" userId="e6377c33-a923-4f14-8587-531c474c7b48" providerId="ADAL" clId="{6ECD27E6-B224-41CD-B4E0-E297462320DD}" dt="2023-11-24T08:51:30.546" v="88299"/>
          <ac:spMkLst>
            <pc:docMk/>
            <pc:sldMk cId="4099999037" sldId="2147478570"/>
            <ac:spMk id="578" creationId="{276DF8EA-024B-EA73-8F61-39BE07667D47}"/>
          </ac:spMkLst>
        </pc:spChg>
        <pc:spChg chg="add del mod">
          <ac:chgData name="Steiner Andreas 6206 ED" userId="e6377c33-a923-4f14-8587-531c474c7b48" providerId="ADAL" clId="{6ECD27E6-B224-41CD-B4E0-E297462320DD}" dt="2023-11-24T08:51:32.702" v="88454"/>
          <ac:spMkLst>
            <pc:docMk/>
            <pc:sldMk cId="4099999037" sldId="2147478570"/>
            <ac:spMk id="579" creationId="{AC21476A-91B3-3582-1B3C-DAA9001F4A11}"/>
          </ac:spMkLst>
        </pc:spChg>
        <pc:spChg chg="add del mod">
          <ac:chgData name="Steiner Andreas 6206 ED" userId="e6377c33-a923-4f14-8587-531c474c7b48" providerId="ADAL" clId="{6ECD27E6-B224-41CD-B4E0-E297462320DD}" dt="2023-11-24T08:51:34.669" v="88609"/>
          <ac:spMkLst>
            <pc:docMk/>
            <pc:sldMk cId="4099999037" sldId="2147478570"/>
            <ac:spMk id="580" creationId="{E5A337C7-58EE-59B7-C0B1-560E79C3769C}"/>
          </ac:spMkLst>
        </pc:spChg>
        <pc:spChg chg="add del mod">
          <ac:chgData name="Steiner Andreas 6206 ED" userId="e6377c33-a923-4f14-8587-531c474c7b48" providerId="ADAL" clId="{6ECD27E6-B224-41CD-B4E0-E297462320DD}" dt="2023-11-24T08:51:36.541" v="88764"/>
          <ac:spMkLst>
            <pc:docMk/>
            <pc:sldMk cId="4099999037" sldId="2147478570"/>
            <ac:spMk id="581" creationId="{0F92222D-4D2F-3ED4-FBE4-D5F9BDC903E3}"/>
          </ac:spMkLst>
        </pc:spChg>
        <pc:spChg chg="add del mod">
          <ac:chgData name="Steiner Andreas 6206 ED" userId="e6377c33-a923-4f14-8587-531c474c7b48" providerId="ADAL" clId="{6ECD27E6-B224-41CD-B4E0-E297462320DD}" dt="2023-11-24T08:51:38.485" v="88919"/>
          <ac:spMkLst>
            <pc:docMk/>
            <pc:sldMk cId="4099999037" sldId="2147478570"/>
            <ac:spMk id="582" creationId="{FB5A82F5-E486-F180-8D67-9FC2AD7C348E}"/>
          </ac:spMkLst>
        </pc:spChg>
        <pc:spChg chg="add del mod">
          <ac:chgData name="Steiner Andreas 6206 ED" userId="e6377c33-a923-4f14-8587-531c474c7b48" providerId="ADAL" clId="{6ECD27E6-B224-41CD-B4E0-E297462320DD}" dt="2023-11-24T08:51:40.421" v="89074"/>
          <ac:spMkLst>
            <pc:docMk/>
            <pc:sldMk cId="4099999037" sldId="2147478570"/>
            <ac:spMk id="583" creationId="{9D43F043-0187-5402-1020-D7CDADDB5866}"/>
          </ac:spMkLst>
        </pc:spChg>
        <pc:spChg chg="add del mod">
          <ac:chgData name="Steiner Andreas 6206 ED" userId="e6377c33-a923-4f14-8587-531c474c7b48" providerId="ADAL" clId="{6ECD27E6-B224-41CD-B4E0-E297462320DD}" dt="2023-11-24T08:51:42.425" v="89229"/>
          <ac:spMkLst>
            <pc:docMk/>
            <pc:sldMk cId="4099999037" sldId="2147478570"/>
            <ac:spMk id="584" creationId="{96DA9658-F7FB-51DF-1B53-589FC09B6D25}"/>
          </ac:spMkLst>
        </pc:spChg>
        <pc:spChg chg="add del mod">
          <ac:chgData name="Steiner Andreas 6206 ED" userId="e6377c33-a923-4f14-8587-531c474c7b48" providerId="ADAL" clId="{6ECD27E6-B224-41CD-B4E0-E297462320DD}" dt="2023-11-24T08:51:44.537" v="89384"/>
          <ac:spMkLst>
            <pc:docMk/>
            <pc:sldMk cId="4099999037" sldId="2147478570"/>
            <ac:spMk id="585" creationId="{81C92F0F-4179-DFA9-C7DC-F919CBA282E7}"/>
          </ac:spMkLst>
        </pc:spChg>
        <pc:spChg chg="add del mod">
          <ac:chgData name="Steiner Andreas 6206 ED" userId="e6377c33-a923-4f14-8587-531c474c7b48" providerId="ADAL" clId="{6ECD27E6-B224-41CD-B4E0-E297462320DD}" dt="2023-11-24T08:51:46.498" v="89539"/>
          <ac:spMkLst>
            <pc:docMk/>
            <pc:sldMk cId="4099999037" sldId="2147478570"/>
            <ac:spMk id="586" creationId="{0CD0E115-C8C7-0AEA-7348-48EFB0145842}"/>
          </ac:spMkLst>
        </pc:spChg>
        <pc:spChg chg="add del mod">
          <ac:chgData name="Steiner Andreas 6206 ED" userId="e6377c33-a923-4f14-8587-531c474c7b48" providerId="ADAL" clId="{6ECD27E6-B224-41CD-B4E0-E297462320DD}" dt="2023-11-24T08:51:48.391" v="89694"/>
          <ac:spMkLst>
            <pc:docMk/>
            <pc:sldMk cId="4099999037" sldId="2147478570"/>
            <ac:spMk id="587" creationId="{D4128B57-595E-CB35-F01E-BD7863CFA626}"/>
          </ac:spMkLst>
        </pc:spChg>
        <pc:spChg chg="add del mod">
          <ac:chgData name="Steiner Andreas 6206 ED" userId="e6377c33-a923-4f14-8587-531c474c7b48" providerId="ADAL" clId="{6ECD27E6-B224-41CD-B4E0-E297462320DD}" dt="2023-11-24T08:51:50.311" v="89849"/>
          <ac:spMkLst>
            <pc:docMk/>
            <pc:sldMk cId="4099999037" sldId="2147478570"/>
            <ac:spMk id="588" creationId="{C28A9F70-8353-CD4D-71D6-F15790AF1CCD}"/>
          </ac:spMkLst>
        </pc:spChg>
        <pc:spChg chg="add del mod">
          <ac:chgData name="Steiner Andreas 6206 ED" userId="e6377c33-a923-4f14-8587-531c474c7b48" providerId="ADAL" clId="{6ECD27E6-B224-41CD-B4E0-E297462320DD}" dt="2023-11-24T08:51:52.218" v="90004"/>
          <ac:spMkLst>
            <pc:docMk/>
            <pc:sldMk cId="4099999037" sldId="2147478570"/>
            <ac:spMk id="589" creationId="{EB1F33A7-B20A-7C70-848F-B935D055D298}"/>
          </ac:spMkLst>
        </pc:spChg>
        <pc:spChg chg="add del mod">
          <ac:chgData name="Steiner Andreas 6206 ED" userId="e6377c33-a923-4f14-8587-531c474c7b48" providerId="ADAL" clId="{6ECD27E6-B224-41CD-B4E0-E297462320DD}" dt="2023-11-24T08:51:54.203" v="90159"/>
          <ac:spMkLst>
            <pc:docMk/>
            <pc:sldMk cId="4099999037" sldId="2147478570"/>
            <ac:spMk id="590" creationId="{6FFE89B5-D9FF-3F76-5D06-1297683C21F9}"/>
          </ac:spMkLst>
        </pc:spChg>
        <pc:spChg chg="add del mod">
          <ac:chgData name="Steiner Andreas 6206 ED" userId="e6377c33-a923-4f14-8587-531c474c7b48" providerId="ADAL" clId="{6ECD27E6-B224-41CD-B4E0-E297462320DD}" dt="2023-11-24T08:51:56.190" v="90314"/>
          <ac:spMkLst>
            <pc:docMk/>
            <pc:sldMk cId="4099999037" sldId="2147478570"/>
            <ac:spMk id="591" creationId="{C552231E-1832-06CC-4072-1FCC4BECD308}"/>
          </ac:spMkLst>
        </pc:spChg>
        <pc:spChg chg="add del mod">
          <ac:chgData name="Steiner Andreas 6206 ED" userId="e6377c33-a923-4f14-8587-531c474c7b48" providerId="ADAL" clId="{6ECD27E6-B224-41CD-B4E0-E297462320DD}" dt="2023-11-24T08:51:58.119" v="90469"/>
          <ac:spMkLst>
            <pc:docMk/>
            <pc:sldMk cId="4099999037" sldId="2147478570"/>
            <ac:spMk id="592" creationId="{01780768-1FA2-765F-D020-4363379DB16D}"/>
          </ac:spMkLst>
        </pc:spChg>
        <pc:spChg chg="add del mod">
          <ac:chgData name="Steiner Andreas 6206 ED" userId="e6377c33-a923-4f14-8587-531c474c7b48" providerId="ADAL" clId="{6ECD27E6-B224-41CD-B4E0-E297462320DD}" dt="2023-11-24T08:52:00.245" v="90624"/>
          <ac:spMkLst>
            <pc:docMk/>
            <pc:sldMk cId="4099999037" sldId="2147478570"/>
            <ac:spMk id="593" creationId="{79AAF403-FDDC-A54C-0445-ECB84878FF3A}"/>
          </ac:spMkLst>
        </pc:spChg>
        <pc:spChg chg="add del mod">
          <ac:chgData name="Steiner Andreas 6206 ED" userId="e6377c33-a923-4f14-8587-531c474c7b48" providerId="ADAL" clId="{6ECD27E6-B224-41CD-B4E0-E297462320DD}" dt="2023-11-24T08:52:02.201" v="90779"/>
          <ac:spMkLst>
            <pc:docMk/>
            <pc:sldMk cId="4099999037" sldId="2147478570"/>
            <ac:spMk id="594" creationId="{F389CAB7-0AE4-967D-9BE7-8AA0466A1D97}"/>
          </ac:spMkLst>
        </pc:spChg>
        <pc:spChg chg="add del mod">
          <ac:chgData name="Steiner Andreas 6206 ED" userId="e6377c33-a923-4f14-8587-531c474c7b48" providerId="ADAL" clId="{6ECD27E6-B224-41CD-B4E0-E297462320DD}" dt="2023-11-24T08:52:04.126" v="90934"/>
          <ac:spMkLst>
            <pc:docMk/>
            <pc:sldMk cId="4099999037" sldId="2147478570"/>
            <ac:spMk id="595" creationId="{DABA3D7E-45D0-96D5-54A9-363813E0B987}"/>
          </ac:spMkLst>
        </pc:spChg>
        <pc:spChg chg="add del mod">
          <ac:chgData name="Steiner Andreas 6206 ED" userId="e6377c33-a923-4f14-8587-531c474c7b48" providerId="ADAL" clId="{6ECD27E6-B224-41CD-B4E0-E297462320DD}" dt="2023-11-24T08:52:06.321" v="91089"/>
          <ac:spMkLst>
            <pc:docMk/>
            <pc:sldMk cId="4099999037" sldId="2147478570"/>
            <ac:spMk id="596" creationId="{825C1442-0056-ACE6-A1E0-00B74E903F46}"/>
          </ac:spMkLst>
        </pc:spChg>
        <pc:spChg chg="add del mod">
          <ac:chgData name="Steiner Andreas 6206 ED" userId="e6377c33-a923-4f14-8587-531c474c7b48" providerId="ADAL" clId="{6ECD27E6-B224-41CD-B4E0-E297462320DD}" dt="2023-11-24T08:52:08.290" v="91244"/>
          <ac:spMkLst>
            <pc:docMk/>
            <pc:sldMk cId="4099999037" sldId="2147478570"/>
            <ac:spMk id="597" creationId="{C3EB0B50-033A-D2A7-A700-E5468E8DDAA2}"/>
          </ac:spMkLst>
        </pc:spChg>
        <pc:spChg chg="add del mod">
          <ac:chgData name="Steiner Andreas 6206 ED" userId="e6377c33-a923-4f14-8587-531c474c7b48" providerId="ADAL" clId="{6ECD27E6-B224-41CD-B4E0-E297462320DD}" dt="2023-11-24T08:52:10.174" v="91399"/>
          <ac:spMkLst>
            <pc:docMk/>
            <pc:sldMk cId="4099999037" sldId="2147478570"/>
            <ac:spMk id="598" creationId="{E50AA17C-1BF2-6440-5A9B-2710DC8F6BE9}"/>
          </ac:spMkLst>
        </pc:spChg>
        <pc:spChg chg="add del mod">
          <ac:chgData name="Steiner Andreas 6206 ED" userId="e6377c33-a923-4f14-8587-531c474c7b48" providerId="ADAL" clId="{6ECD27E6-B224-41CD-B4E0-E297462320DD}" dt="2023-11-24T08:52:12.028" v="91554"/>
          <ac:spMkLst>
            <pc:docMk/>
            <pc:sldMk cId="4099999037" sldId="2147478570"/>
            <ac:spMk id="599" creationId="{5B20E8C1-8801-0D9E-6D84-9F98B9E21A3C}"/>
          </ac:spMkLst>
        </pc:spChg>
        <pc:spChg chg="add del mod">
          <ac:chgData name="Steiner Andreas 6206 ED" userId="e6377c33-a923-4f14-8587-531c474c7b48" providerId="ADAL" clId="{6ECD27E6-B224-41CD-B4E0-E297462320DD}" dt="2023-11-24T08:52:13.968" v="91709"/>
          <ac:spMkLst>
            <pc:docMk/>
            <pc:sldMk cId="4099999037" sldId="2147478570"/>
            <ac:spMk id="600" creationId="{4045FB8C-972B-51B2-C33D-D1F95F8988CD}"/>
          </ac:spMkLst>
        </pc:spChg>
        <pc:spChg chg="add del mod">
          <ac:chgData name="Steiner Andreas 6206 ED" userId="e6377c33-a923-4f14-8587-531c474c7b48" providerId="ADAL" clId="{6ECD27E6-B224-41CD-B4E0-E297462320DD}" dt="2023-11-24T08:52:15.878" v="91864"/>
          <ac:spMkLst>
            <pc:docMk/>
            <pc:sldMk cId="4099999037" sldId="2147478570"/>
            <ac:spMk id="601" creationId="{C27562D0-A173-AC69-56C3-120DB600AAA0}"/>
          </ac:spMkLst>
        </pc:spChg>
        <pc:spChg chg="add del mod">
          <ac:chgData name="Steiner Andreas 6206 ED" userId="e6377c33-a923-4f14-8587-531c474c7b48" providerId="ADAL" clId="{6ECD27E6-B224-41CD-B4E0-E297462320DD}" dt="2023-11-24T08:52:18.036" v="92019"/>
          <ac:spMkLst>
            <pc:docMk/>
            <pc:sldMk cId="4099999037" sldId="2147478570"/>
            <ac:spMk id="602" creationId="{07F5DACE-BB6B-0FDE-7501-1F18A42F3F0B}"/>
          </ac:spMkLst>
        </pc:spChg>
        <pc:spChg chg="add del mod">
          <ac:chgData name="Steiner Andreas 6206 ED" userId="e6377c33-a923-4f14-8587-531c474c7b48" providerId="ADAL" clId="{6ECD27E6-B224-41CD-B4E0-E297462320DD}" dt="2023-11-24T08:52:20.003" v="92174"/>
          <ac:spMkLst>
            <pc:docMk/>
            <pc:sldMk cId="4099999037" sldId="2147478570"/>
            <ac:spMk id="603" creationId="{4370B024-98AB-C47A-79B1-D6EA8AC239D5}"/>
          </ac:spMkLst>
        </pc:spChg>
        <pc:spChg chg="add del mod">
          <ac:chgData name="Steiner Andreas 6206 ED" userId="e6377c33-a923-4f14-8587-531c474c7b48" providerId="ADAL" clId="{6ECD27E6-B224-41CD-B4E0-E297462320DD}" dt="2023-11-24T08:52:21.839" v="92329"/>
          <ac:spMkLst>
            <pc:docMk/>
            <pc:sldMk cId="4099999037" sldId="2147478570"/>
            <ac:spMk id="604" creationId="{75A8F8CA-10B5-9158-E98C-F6D545624F85}"/>
          </ac:spMkLst>
        </pc:spChg>
        <pc:spChg chg="add del mod">
          <ac:chgData name="Steiner Andreas 6206 ED" userId="e6377c33-a923-4f14-8587-531c474c7b48" providerId="ADAL" clId="{6ECD27E6-B224-41CD-B4E0-E297462320DD}" dt="2023-11-24T08:52:23.901" v="92484"/>
          <ac:spMkLst>
            <pc:docMk/>
            <pc:sldMk cId="4099999037" sldId="2147478570"/>
            <ac:spMk id="605" creationId="{0F9A84B9-47A6-3009-2241-7389E010D7A3}"/>
          </ac:spMkLst>
        </pc:spChg>
        <pc:spChg chg="add del mod">
          <ac:chgData name="Steiner Andreas 6206 ED" userId="e6377c33-a923-4f14-8587-531c474c7b48" providerId="ADAL" clId="{6ECD27E6-B224-41CD-B4E0-E297462320DD}" dt="2023-11-24T08:52:25.776" v="92639"/>
          <ac:spMkLst>
            <pc:docMk/>
            <pc:sldMk cId="4099999037" sldId="2147478570"/>
            <ac:spMk id="606" creationId="{DE319D30-394D-7EFE-966B-C57751AE8703}"/>
          </ac:spMkLst>
        </pc:spChg>
        <pc:spChg chg="add del mod">
          <ac:chgData name="Steiner Andreas 6206 ED" userId="e6377c33-a923-4f14-8587-531c474c7b48" providerId="ADAL" clId="{6ECD27E6-B224-41CD-B4E0-E297462320DD}" dt="2023-11-24T08:52:27.645" v="92794"/>
          <ac:spMkLst>
            <pc:docMk/>
            <pc:sldMk cId="4099999037" sldId="2147478570"/>
            <ac:spMk id="607" creationId="{95756B8F-0CF3-7251-5BB0-712021D6C034}"/>
          </ac:spMkLst>
        </pc:spChg>
        <pc:spChg chg="add del mod">
          <ac:chgData name="Steiner Andreas 6206 ED" userId="e6377c33-a923-4f14-8587-531c474c7b48" providerId="ADAL" clId="{6ECD27E6-B224-41CD-B4E0-E297462320DD}" dt="2023-11-24T08:52:29.740" v="92949"/>
          <ac:spMkLst>
            <pc:docMk/>
            <pc:sldMk cId="4099999037" sldId="2147478570"/>
            <ac:spMk id="608" creationId="{998295EC-5C57-11E4-80AD-390E65691E9F}"/>
          </ac:spMkLst>
        </pc:spChg>
        <pc:spChg chg="add del mod">
          <ac:chgData name="Steiner Andreas 6206 ED" userId="e6377c33-a923-4f14-8587-531c474c7b48" providerId="ADAL" clId="{6ECD27E6-B224-41CD-B4E0-E297462320DD}" dt="2023-11-24T08:52:31.665" v="93104"/>
          <ac:spMkLst>
            <pc:docMk/>
            <pc:sldMk cId="4099999037" sldId="2147478570"/>
            <ac:spMk id="609" creationId="{2B193944-4715-C6F7-356B-F53571106D54}"/>
          </ac:spMkLst>
        </pc:spChg>
        <pc:spChg chg="add del mod">
          <ac:chgData name="Steiner Andreas 6206 ED" userId="e6377c33-a923-4f14-8587-531c474c7b48" providerId="ADAL" clId="{6ECD27E6-B224-41CD-B4E0-E297462320DD}" dt="2023-11-24T08:52:33.590" v="93259"/>
          <ac:spMkLst>
            <pc:docMk/>
            <pc:sldMk cId="4099999037" sldId="2147478570"/>
            <ac:spMk id="610" creationId="{D380B1E1-0A6C-EAD7-4BCA-57F9BD4E7EA9}"/>
          </ac:spMkLst>
        </pc:spChg>
        <pc:spChg chg="add del mod">
          <ac:chgData name="Steiner Andreas 6206 ED" userId="e6377c33-a923-4f14-8587-531c474c7b48" providerId="ADAL" clId="{6ECD27E6-B224-41CD-B4E0-E297462320DD}" dt="2023-11-24T08:52:35.486" v="93414"/>
          <ac:spMkLst>
            <pc:docMk/>
            <pc:sldMk cId="4099999037" sldId="2147478570"/>
            <ac:spMk id="611" creationId="{C56EF678-6F76-C685-C2B2-40C886134AE9}"/>
          </ac:spMkLst>
        </pc:spChg>
        <pc:spChg chg="add del mod">
          <ac:chgData name="Steiner Andreas 6206 ED" userId="e6377c33-a923-4f14-8587-531c474c7b48" providerId="ADAL" clId="{6ECD27E6-B224-41CD-B4E0-E297462320DD}" dt="2023-11-24T08:52:37.409" v="93569"/>
          <ac:spMkLst>
            <pc:docMk/>
            <pc:sldMk cId="4099999037" sldId="2147478570"/>
            <ac:spMk id="612" creationId="{DE5A51CB-FC7C-BAFC-8CC9-CB733DE18BFB}"/>
          </ac:spMkLst>
        </pc:spChg>
        <pc:spChg chg="add del mod">
          <ac:chgData name="Steiner Andreas 6206 ED" userId="e6377c33-a923-4f14-8587-531c474c7b48" providerId="ADAL" clId="{6ECD27E6-B224-41CD-B4E0-E297462320DD}" dt="2023-11-24T08:52:39.322" v="93724"/>
          <ac:spMkLst>
            <pc:docMk/>
            <pc:sldMk cId="4099999037" sldId="2147478570"/>
            <ac:spMk id="613" creationId="{8A122E2A-0DF7-8934-1D41-00B2F9418417}"/>
          </ac:spMkLst>
        </pc:spChg>
        <pc:spChg chg="add del mod">
          <ac:chgData name="Steiner Andreas 6206 ED" userId="e6377c33-a923-4f14-8587-531c474c7b48" providerId="ADAL" clId="{6ECD27E6-B224-41CD-B4E0-E297462320DD}" dt="2023-11-24T08:52:41.372" v="93879"/>
          <ac:spMkLst>
            <pc:docMk/>
            <pc:sldMk cId="4099999037" sldId="2147478570"/>
            <ac:spMk id="614" creationId="{364946C4-51B6-D882-8706-3786869654A4}"/>
          </ac:spMkLst>
        </pc:spChg>
        <pc:spChg chg="add del mod">
          <ac:chgData name="Steiner Andreas 6206 ED" userId="e6377c33-a923-4f14-8587-531c474c7b48" providerId="ADAL" clId="{6ECD27E6-B224-41CD-B4E0-E297462320DD}" dt="2023-11-24T08:52:43.322" v="94034"/>
          <ac:spMkLst>
            <pc:docMk/>
            <pc:sldMk cId="4099999037" sldId="2147478570"/>
            <ac:spMk id="615" creationId="{29B120AB-74E1-CFD5-4630-FD4007FF9E6E}"/>
          </ac:spMkLst>
        </pc:spChg>
        <pc:spChg chg="add del mod">
          <ac:chgData name="Steiner Andreas 6206 ED" userId="e6377c33-a923-4f14-8587-531c474c7b48" providerId="ADAL" clId="{6ECD27E6-B224-41CD-B4E0-E297462320DD}" dt="2023-11-24T08:52:45.258" v="94189"/>
          <ac:spMkLst>
            <pc:docMk/>
            <pc:sldMk cId="4099999037" sldId="2147478570"/>
            <ac:spMk id="616" creationId="{D440C4FC-711F-F286-162B-8E7E3B9B6F44}"/>
          </ac:spMkLst>
        </pc:spChg>
        <pc:spChg chg="add del mod">
          <ac:chgData name="Steiner Andreas 6206 ED" userId="e6377c33-a923-4f14-8587-531c474c7b48" providerId="ADAL" clId="{6ECD27E6-B224-41CD-B4E0-E297462320DD}" dt="2023-11-24T08:52:47.221" v="94344"/>
          <ac:spMkLst>
            <pc:docMk/>
            <pc:sldMk cId="4099999037" sldId="2147478570"/>
            <ac:spMk id="617" creationId="{25351F08-A532-E8D7-E521-54FA1F820E95}"/>
          </ac:spMkLst>
        </pc:spChg>
        <pc:spChg chg="add del mod">
          <ac:chgData name="Steiner Andreas 6206 ED" userId="e6377c33-a923-4f14-8587-531c474c7b48" providerId="ADAL" clId="{6ECD27E6-B224-41CD-B4E0-E297462320DD}" dt="2023-11-24T08:52:49.298" v="94499"/>
          <ac:spMkLst>
            <pc:docMk/>
            <pc:sldMk cId="4099999037" sldId="2147478570"/>
            <ac:spMk id="618" creationId="{46899768-6C2F-A709-A053-4DBFA84D55F3}"/>
          </ac:spMkLst>
        </pc:spChg>
        <pc:spChg chg="add del mod">
          <ac:chgData name="Steiner Andreas 6206 ED" userId="e6377c33-a923-4f14-8587-531c474c7b48" providerId="ADAL" clId="{6ECD27E6-B224-41CD-B4E0-E297462320DD}" dt="2023-11-24T08:52:51.498" v="94654"/>
          <ac:spMkLst>
            <pc:docMk/>
            <pc:sldMk cId="4099999037" sldId="2147478570"/>
            <ac:spMk id="619" creationId="{6640E86B-1F0E-AF57-5C61-7543DD65AAD0}"/>
          </ac:spMkLst>
        </pc:spChg>
        <pc:spChg chg="add del mod">
          <ac:chgData name="Steiner Andreas 6206 ED" userId="e6377c33-a923-4f14-8587-531c474c7b48" providerId="ADAL" clId="{6ECD27E6-B224-41CD-B4E0-E297462320DD}" dt="2023-11-24T08:52:53.442" v="94809"/>
          <ac:spMkLst>
            <pc:docMk/>
            <pc:sldMk cId="4099999037" sldId="2147478570"/>
            <ac:spMk id="620" creationId="{64845678-2756-B70A-0466-2BBE4285F7FE}"/>
          </ac:spMkLst>
        </pc:spChg>
        <pc:spChg chg="add del mod">
          <ac:chgData name="Steiner Andreas 6206 ED" userId="e6377c33-a923-4f14-8587-531c474c7b48" providerId="ADAL" clId="{6ECD27E6-B224-41CD-B4E0-E297462320DD}" dt="2023-11-24T08:52:55.380" v="94964"/>
          <ac:spMkLst>
            <pc:docMk/>
            <pc:sldMk cId="4099999037" sldId="2147478570"/>
            <ac:spMk id="621" creationId="{7F99AECD-829E-EE08-E08E-6A1A55565B3B}"/>
          </ac:spMkLst>
        </pc:spChg>
        <pc:spChg chg="add del mod">
          <ac:chgData name="Steiner Andreas 6206 ED" userId="e6377c33-a923-4f14-8587-531c474c7b48" providerId="ADAL" clId="{6ECD27E6-B224-41CD-B4E0-E297462320DD}" dt="2023-11-24T08:52:57.410" v="95119"/>
          <ac:spMkLst>
            <pc:docMk/>
            <pc:sldMk cId="4099999037" sldId="2147478570"/>
            <ac:spMk id="622" creationId="{BE04216A-6371-F57C-0E64-8EC7E9DBCC50}"/>
          </ac:spMkLst>
        </pc:spChg>
        <pc:spChg chg="add del mod">
          <ac:chgData name="Steiner Andreas 6206 ED" userId="e6377c33-a923-4f14-8587-531c474c7b48" providerId="ADAL" clId="{6ECD27E6-B224-41CD-B4E0-E297462320DD}" dt="2023-11-24T08:52:59.363" v="95274"/>
          <ac:spMkLst>
            <pc:docMk/>
            <pc:sldMk cId="4099999037" sldId="2147478570"/>
            <ac:spMk id="623" creationId="{78552D43-573F-D606-5FAA-85450CD15657}"/>
          </ac:spMkLst>
        </pc:spChg>
        <pc:spChg chg="add del mod">
          <ac:chgData name="Steiner Andreas 6206 ED" userId="e6377c33-a923-4f14-8587-531c474c7b48" providerId="ADAL" clId="{6ECD27E6-B224-41CD-B4E0-E297462320DD}" dt="2023-11-24T08:53:01.368" v="95429"/>
          <ac:spMkLst>
            <pc:docMk/>
            <pc:sldMk cId="4099999037" sldId="2147478570"/>
            <ac:spMk id="624" creationId="{5DC41F57-3151-EF09-7FAB-27817E33B193}"/>
          </ac:spMkLst>
        </pc:spChg>
        <pc:spChg chg="add del mod">
          <ac:chgData name="Steiner Andreas 6206 ED" userId="e6377c33-a923-4f14-8587-531c474c7b48" providerId="ADAL" clId="{6ECD27E6-B224-41CD-B4E0-E297462320DD}" dt="2023-11-24T08:53:03.492" v="95584"/>
          <ac:spMkLst>
            <pc:docMk/>
            <pc:sldMk cId="4099999037" sldId="2147478570"/>
            <ac:spMk id="625" creationId="{AB52005B-E000-3D40-8D48-9D984F595923}"/>
          </ac:spMkLst>
        </pc:spChg>
        <pc:spChg chg="add del mod">
          <ac:chgData name="Steiner Andreas 6206 ED" userId="e6377c33-a923-4f14-8587-531c474c7b48" providerId="ADAL" clId="{6ECD27E6-B224-41CD-B4E0-E297462320DD}" dt="2023-11-24T08:53:05.455" v="95739"/>
          <ac:spMkLst>
            <pc:docMk/>
            <pc:sldMk cId="4099999037" sldId="2147478570"/>
            <ac:spMk id="626" creationId="{F6202323-4A15-1D67-27D5-9F92D616E7DE}"/>
          </ac:spMkLst>
        </pc:spChg>
        <pc:spChg chg="add del mod">
          <ac:chgData name="Steiner Andreas 6206 ED" userId="e6377c33-a923-4f14-8587-531c474c7b48" providerId="ADAL" clId="{6ECD27E6-B224-41CD-B4E0-E297462320DD}" dt="2023-11-24T08:53:07.332" v="95894"/>
          <ac:spMkLst>
            <pc:docMk/>
            <pc:sldMk cId="4099999037" sldId="2147478570"/>
            <ac:spMk id="627" creationId="{6633F8C9-7BEF-3387-D106-44970CA7BF59}"/>
          </ac:spMkLst>
        </pc:spChg>
        <pc:spChg chg="add del mod">
          <ac:chgData name="Steiner Andreas 6206 ED" userId="e6377c33-a923-4f14-8587-531c474c7b48" providerId="ADAL" clId="{6ECD27E6-B224-41CD-B4E0-E297462320DD}" dt="2023-11-24T08:53:09.271" v="96049"/>
          <ac:spMkLst>
            <pc:docMk/>
            <pc:sldMk cId="4099999037" sldId="2147478570"/>
            <ac:spMk id="628" creationId="{56701E87-EF45-60E8-2A55-23E639300BAD}"/>
          </ac:spMkLst>
        </pc:spChg>
        <pc:spChg chg="add del mod">
          <ac:chgData name="Steiner Andreas 6206 ED" userId="e6377c33-a923-4f14-8587-531c474c7b48" providerId="ADAL" clId="{6ECD27E6-B224-41CD-B4E0-E297462320DD}" dt="2023-11-24T08:53:11.218" v="96204"/>
          <ac:spMkLst>
            <pc:docMk/>
            <pc:sldMk cId="4099999037" sldId="2147478570"/>
            <ac:spMk id="629" creationId="{E3139940-03F3-5F5C-446C-3092DBB5D245}"/>
          </ac:spMkLst>
        </pc:spChg>
        <pc:spChg chg="add del mod">
          <ac:chgData name="Steiner Andreas 6206 ED" userId="e6377c33-a923-4f14-8587-531c474c7b48" providerId="ADAL" clId="{6ECD27E6-B224-41CD-B4E0-E297462320DD}" dt="2023-11-24T08:53:13.208" v="96359"/>
          <ac:spMkLst>
            <pc:docMk/>
            <pc:sldMk cId="4099999037" sldId="2147478570"/>
            <ac:spMk id="630" creationId="{D05E1705-3D52-51D0-EF18-601D1548ED0E}"/>
          </ac:spMkLst>
        </pc:spChg>
        <pc:spChg chg="add del mod">
          <ac:chgData name="Steiner Andreas 6206 ED" userId="e6377c33-a923-4f14-8587-531c474c7b48" providerId="ADAL" clId="{6ECD27E6-B224-41CD-B4E0-E297462320DD}" dt="2023-11-24T08:53:15.295" v="96514"/>
          <ac:spMkLst>
            <pc:docMk/>
            <pc:sldMk cId="4099999037" sldId="2147478570"/>
            <ac:spMk id="631" creationId="{25D3A0F4-64CE-DF3E-27C9-55234FBDD65A}"/>
          </ac:spMkLst>
        </pc:spChg>
        <pc:spChg chg="add del mod">
          <ac:chgData name="Steiner Andreas 6206 ED" userId="e6377c33-a923-4f14-8587-531c474c7b48" providerId="ADAL" clId="{6ECD27E6-B224-41CD-B4E0-E297462320DD}" dt="2023-11-24T08:53:17.259" v="96669"/>
          <ac:spMkLst>
            <pc:docMk/>
            <pc:sldMk cId="4099999037" sldId="2147478570"/>
            <ac:spMk id="632" creationId="{B5E7EB77-10D3-33AA-51AB-001484796AA2}"/>
          </ac:spMkLst>
        </pc:spChg>
        <pc:spChg chg="add del mod">
          <ac:chgData name="Steiner Andreas 6206 ED" userId="e6377c33-a923-4f14-8587-531c474c7b48" providerId="ADAL" clId="{6ECD27E6-B224-41CD-B4E0-E297462320DD}" dt="2023-11-24T08:53:19.226" v="96824"/>
          <ac:spMkLst>
            <pc:docMk/>
            <pc:sldMk cId="4099999037" sldId="2147478570"/>
            <ac:spMk id="633" creationId="{27BEDB9A-1794-9920-0E4E-AC68736C070C}"/>
          </ac:spMkLst>
        </pc:spChg>
        <pc:spChg chg="add del mod">
          <ac:chgData name="Steiner Andreas 6206 ED" userId="e6377c33-a923-4f14-8587-531c474c7b48" providerId="ADAL" clId="{6ECD27E6-B224-41CD-B4E0-E297462320DD}" dt="2023-11-24T08:53:21.183" v="96979"/>
          <ac:spMkLst>
            <pc:docMk/>
            <pc:sldMk cId="4099999037" sldId="2147478570"/>
            <ac:spMk id="634" creationId="{6B7DDA60-F772-5DDC-0EE7-59FE5489C92A}"/>
          </ac:spMkLst>
        </pc:spChg>
        <pc:spChg chg="add del mod">
          <ac:chgData name="Steiner Andreas 6206 ED" userId="e6377c33-a923-4f14-8587-531c474c7b48" providerId="ADAL" clId="{6ECD27E6-B224-41CD-B4E0-E297462320DD}" dt="2023-11-24T08:53:23.145" v="97134"/>
          <ac:spMkLst>
            <pc:docMk/>
            <pc:sldMk cId="4099999037" sldId="2147478570"/>
            <ac:spMk id="635" creationId="{C65658AB-243F-C535-E4CB-0DC427829734}"/>
          </ac:spMkLst>
        </pc:spChg>
        <pc:spChg chg="add del mod">
          <ac:chgData name="Steiner Andreas 6206 ED" userId="e6377c33-a923-4f14-8587-531c474c7b48" providerId="ADAL" clId="{6ECD27E6-B224-41CD-B4E0-E297462320DD}" dt="2023-11-24T08:53:25.260" v="97289"/>
          <ac:spMkLst>
            <pc:docMk/>
            <pc:sldMk cId="4099999037" sldId="2147478570"/>
            <ac:spMk id="636" creationId="{18CD68B2-2DC5-8716-28BB-A559C184954F}"/>
          </ac:spMkLst>
        </pc:spChg>
        <pc:spChg chg="add del mod">
          <ac:chgData name="Steiner Andreas 6206 ED" userId="e6377c33-a923-4f14-8587-531c474c7b48" providerId="ADAL" clId="{6ECD27E6-B224-41CD-B4E0-E297462320DD}" dt="2023-11-24T08:53:27.249" v="97444"/>
          <ac:spMkLst>
            <pc:docMk/>
            <pc:sldMk cId="4099999037" sldId="2147478570"/>
            <ac:spMk id="637" creationId="{CA33296C-2A44-2D92-892E-38E77E3644FC}"/>
          </ac:spMkLst>
        </pc:spChg>
        <pc:spChg chg="add del mod">
          <ac:chgData name="Steiner Andreas 6206 ED" userId="e6377c33-a923-4f14-8587-531c474c7b48" providerId="ADAL" clId="{6ECD27E6-B224-41CD-B4E0-E297462320DD}" dt="2023-11-24T08:53:29.140" v="97599"/>
          <ac:spMkLst>
            <pc:docMk/>
            <pc:sldMk cId="4099999037" sldId="2147478570"/>
            <ac:spMk id="638" creationId="{7429B59C-CBE9-BBF7-EA50-F9ABFF794840}"/>
          </ac:spMkLst>
        </pc:spChg>
        <pc:spChg chg="add del mod">
          <ac:chgData name="Steiner Andreas 6206 ED" userId="e6377c33-a923-4f14-8587-531c474c7b48" providerId="ADAL" clId="{6ECD27E6-B224-41CD-B4E0-E297462320DD}" dt="2023-11-24T08:53:31.038" v="97754"/>
          <ac:spMkLst>
            <pc:docMk/>
            <pc:sldMk cId="4099999037" sldId="2147478570"/>
            <ac:spMk id="639" creationId="{96224D7B-06F6-7B3C-A31A-920242ACB7A1}"/>
          </ac:spMkLst>
        </pc:spChg>
        <pc:spChg chg="add del mod">
          <ac:chgData name="Steiner Andreas 6206 ED" userId="e6377c33-a923-4f14-8587-531c474c7b48" providerId="ADAL" clId="{6ECD27E6-B224-41CD-B4E0-E297462320DD}" dt="2023-11-24T08:53:32.971" v="97909"/>
          <ac:spMkLst>
            <pc:docMk/>
            <pc:sldMk cId="4099999037" sldId="2147478570"/>
            <ac:spMk id="640" creationId="{3EF899CD-BBF0-5F92-3400-D1C0BABD286B}"/>
          </ac:spMkLst>
        </pc:spChg>
        <pc:spChg chg="add del mod">
          <ac:chgData name="Steiner Andreas 6206 ED" userId="e6377c33-a923-4f14-8587-531c474c7b48" providerId="ADAL" clId="{6ECD27E6-B224-41CD-B4E0-E297462320DD}" dt="2023-11-24T08:53:34.902" v="98064"/>
          <ac:spMkLst>
            <pc:docMk/>
            <pc:sldMk cId="4099999037" sldId="2147478570"/>
            <ac:spMk id="641" creationId="{0EC2AB85-5671-3537-6622-31327A285F41}"/>
          </ac:spMkLst>
        </pc:spChg>
        <pc:spChg chg="add del mod">
          <ac:chgData name="Steiner Andreas 6206 ED" userId="e6377c33-a923-4f14-8587-531c474c7b48" providerId="ADAL" clId="{6ECD27E6-B224-41CD-B4E0-E297462320DD}" dt="2023-11-24T08:53:36.999" v="98219"/>
          <ac:spMkLst>
            <pc:docMk/>
            <pc:sldMk cId="4099999037" sldId="2147478570"/>
            <ac:spMk id="642" creationId="{F5F9456B-E886-080A-4A4A-2386040D443E}"/>
          </ac:spMkLst>
        </pc:spChg>
        <pc:spChg chg="add del mod">
          <ac:chgData name="Steiner Andreas 6206 ED" userId="e6377c33-a923-4f14-8587-531c474c7b48" providerId="ADAL" clId="{6ECD27E6-B224-41CD-B4E0-E297462320DD}" dt="2023-11-24T08:53:38.913" v="98374"/>
          <ac:spMkLst>
            <pc:docMk/>
            <pc:sldMk cId="4099999037" sldId="2147478570"/>
            <ac:spMk id="643" creationId="{3B7AD085-C9F7-0913-1FFF-98CFB66C7A5D}"/>
          </ac:spMkLst>
        </pc:spChg>
        <pc:spChg chg="add del mod">
          <ac:chgData name="Steiner Andreas 6206 ED" userId="e6377c33-a923-4f14-8587-531c474c7b48" providerId="ADAL" clId="{6ECD27E6-B224-41CD-B4E0-E297462320DD}" dt="2023-11-24T08:53:40.873" v="98529"/>
          <ac:spMkLst>
            <pc:docMk/>
            <pc:sldMk cId="4099999037" sldId="2147478570"/>
            <ac:spMk id="644" creationId="{E85C4D91-D067-9C4B-B0EA-9DBFCE39A694}"/>
          </ac:spMkLst>
        </pc:spChg>
        <pc:spChg chg="add del mod">
          <ac:chgData name="Steiner Andreas 6206 ED" userId="e6377c33-a923-4f14-8587-531c474c7b48" providerId="ADAL" clId="{6ECD27E6-B224-41CD-B4E0-E297462320DD}" dt="2023-11-24T08:53:42.817" v="98684"/>
          <ac:spMkLst>
            <pc:docMk/>
            <pc:sldMk cId="4099999037" sldId="2147478570"/>
            <ac:spMk id="645" creationId="{46790104-07AB-46BA-7174-4C6435679396}"/>
          </ac:spMkLst>
        </pc:spChg>
        <pc:spChg chg="add del mod">
          <ac:chgData name="Steiner Andreas 6206 ED" userId="e6377c33-a923-4f14-8587-531c474c7b48" providerId="ADAL" clId="{6ECD27E6-B224-41CD-B4E0-E297462320DD}" dt="2023-11-24T08:53:44.765" v="98839"/>
          <ac:spMkLst>
            <pc:docMk/>
            <pc:sldMk cId="4099999037" sldId="2147478570"/>
            <ac:spMk id="646" creationId="{8F27F64B-8D2E-3ACF-40B5-7D1BE02A27F3}"/>
          </ac:spMkLst>
        </pc:spChg>
        <pc:spChg chg="add del mod">
          <ac:chgData name="Steiner Andreas 6206 ED" userId="e6377c33-a923-4f14-8587-531c474c7b48" providerId="ADAL" clId="{6ECD27E6-B224-41CD-B4E0-E297462320DD}" dt="2023-11-24T08:53:46.702" v="98994"/>
          <ac:spMkLst>
            <pc:docMk/>
            <pc:sldMk cId="4099999037" sldId="2147478570"/>
            <ac:spMk id="647" creationId="{346B7393-9F83-639B-068A-0CEE0D908FE4}"/>
          </ac:spMkLst>
        </pc:spChg>
        <pc:spChg chg="add del mod">
          <ac:chgData name="Steiner Andreas 6206 ED" userId="e6377c33-a923-4f14-8587-531c474c7b48" providerId="ADAL" clId="{6ECD27E6-B224-41CD-B4E0-E297462320DD}" dt="2023-11-24T08:53:48.764" v="99149"/>
          <ac:spMkLst>
            <pc:docMk/>
            <pc:sldMk cId="4099999037" sldId="2147478570"/>
            <ac:spMk id="648" creationId="{AD020855-6F45-AD43-D96D-99B135B46004}"/>
          </ac:spMkLst>
        </pc:spChg>
        <pc:spChg chg="add del mod">
          <ac:chgData name="Steiner Andreas 6206 ED" userId="e6377c33-a923-4f14-8587-531c474c7b48" providerId="ADAL" clId="{6ECD27E6-B224-41CD-B4E0-E297462320DD}" dt="2023-11-24T08:53:50.714" v="99304"/>
          <ac:spMkLst>
            <pc:docMk/>
            <pc:sldMk cId="4099999037" sldId="2147478570"/>
            <ac:spMk id="649" creationId="{2C1E2917-2BED-66E8-0BF5-4F5EF6E803AC}"/>
          </ac:spMkLst>
        </pc:spChg>
        <pc:spChg chg="add del mod">
          <ac:chgData name="Steiner Andreas 6206 ED" userId="e6377c33-a923-4f14-8587-531c474c7b48" providerId="ADAL" clId="{6ECD27E6-B224-41CD-B4E0-E297462320DD}" dt="2023-11-24T08:53:52.701" v="99459"/>
          <ac:spMkLst>
            <pc:docMk/>
            <pc:sldMk cId="4099999037" sldId="2147478570"/>
            <ac:spMk id="650" creationId="{66ACD3E4-27F8-2EE1-9464-3CF56582C0EF}"/>
          </ac:spMkLst>
        </pc:spChg>
        <pc:spChg chg="add del mod">
          <ac:chgData name="Steiner Andreas 6206 ED" userId="e6377c33-a923-4f14-8587-531c474c7b48" providerId="ADAL" clId="{6ECD27E6-B224-41CD-B4E0-E297462320DD}" dt="2023-11-24T08:53:54.662" v="99614"/>
          <ac:spMkLst>
            <pc:docMk/>
            <pc:sldMk cId="4099999037" sldId="2147478570"/>
            <ac:spMk id="651" creationId="{768E37AA-0455-5350-CE8E-3E8A108CC771}"/>
          </ac:spMkLst>
        </pc:spChg>
        <pc:spChg chg="add del mod">
          <ac:chgData name="Steiner Andreas 6206 ED" userId="e6377c33-a923-4f14-8587-531c474c7b48" providerId="ADAL" clId="{6ECD27E6-B224-41CD-B4E0-E297462320DD}" dt="2023-11-24T08:53:56.593" v="99769"/>
          <ac:spMkLst>
            <pc:docMk/>
            <pc:sldMk cId="4099999037" sldId="2147478570"/>
            <ac:spMk id="652" creationId="{4F0C4041-01E0-4666-450B-595499C560C6}"/>
          </ac:spMkLst>
        </pc:spChg>
        <pc:spChg chg="add del mod">
          <ac:chgData name="Steiner Andreas 6206 ED" userId="e6377c33-a923-4f14-8587-531c474c7b48" providerId="ADAL" clId="{6ECD27E6-B224-41CD-B4E0-E297462320DD}" dt="2023-11-24T08:53:58.667" v="99924"/>
          <ac:spMkLst>
            <pc:docMk/>
            <pc:sldMk cId="4099999037" sldId="2147478570"/>
            <ac:spMk id="653" creationId="{D7271CB4-9F8E-CDF7-B634-9132AA128406}"/>
          </ac:spMkLst>
        </pc:spChg>
        <pc:spChg chg="add del mod">
          <ac:chgData name="Steiner Andreas 6206 ED" userId="e6377c33-a923-4f14-8587-531c474c7b48" providerId="ADAL" clId="{6ECD27E6-B224-41CD-B4E0-E297462320DD}" dt="2023-11-24T08:54:00.769" v="100079"/>
          <ac:spMkLst>
            <pc:docMk/>
            <pc:sldMk cId="4099999037" sldId="2147478570"/>
            <ac:spMk id="654" creationId="{A4093B6C-536E-7DA5-EFE3-525D20A25D0A}"/>
          </ac:spMkLst>
        </pc:spChg>
        <pc:spChg chg="add del mod">
          <ac:chgData name="Steiner Andreas 6206 ED" userId="e6377c33-a923-4f14-8587-531c474c7b48" providerId="ADAL" clId="{6ECD27E6-B224-41CD-B4E0-E297462320DD}" dt="2023-11-24T08:54:02.760" v="100234"/>
          <ac:spMkLst>
            <pc:docMk/>
            <pc:sldMk cId="4099999037" sldId="2147478570"/>
            <ac:spMk id="655" creationId="{8D61A666-FC68-47D2-5447-03A3A25746EF}"/>
          </ac:spMkLst>
        </pc:spChg>
        <pc:spChg chg="add del mod">
          <ac:chgData name="Steiner Andreas 6206 ED" userId="e6377c33-a923-4f14-8587-531c474c7b48" providerId="ADAL" clId="{6ECD27E6-B224-41CD-B4E0-E297462320DD}" dt="2023-11-24T08:54:04.711" v="100389"/>
          <ac:spMkLst>
            <pc:docMk/>
            <pc:sldMk cId="4099999037" sldId="2147478570"/>
            <ac:spMk id="656" creationId="{57EC95AA-5482-96A3-A9C0-9125CD9626EB}"/>
          </ac:spMkLst>
        </pc:spChg>
        <pc:spChg chg="add del mod">
          <ac:chgData name="Steiner Andreas 6206 ED" userId="e6377c33-a923-4f14-8587-531c474c7b48" providerId="ADAL" clId="{6ECD27E6-B224-41CD-B4E0-E297462320DD}" dt="2023-11-24T08:54:06.685" v="100544"/>
          <ac:spMkLst>
            <pc:docMk/>
            <pc:sldMk cId="4099999037" sldId="2147478570"/>
            <ac:spMk id="657" creationId="{9DB080BE-9BF6-9C76-86E3-05B3269E11B8}"/>
          </ac:spMkLst>
        </pc:spChg>
        <pc:spChg chg="add del mod">
          <ac:chgData name="Steiner Andreas 6206 ED" userId="e6377c33-a923-4f14-8587-531c474c7b48" providerId="ADAL" clId="{6ECD27E6-B224-41CD-B4E0-E297462320DD}" dt="2023-11-24T08:54:08.667" v="100699"/>
          <ac:spMkLst>
            <pc:docMk/>
            <pc:sldMk cId="4099999037" sldId="2147478570"/>
            <ac:spMk id="658" creationId="{47AD53BE-9194-DA8A-CF82-6E432EBA3983}"/>
          </ac:spMkLst>
        </pc:spChg>
        <pc:spChg chg="add del mod">
          <ac:chgData name="Steiner Andreas 6206 ED" userId="e6377c33-a923-4f14-8587-531c474c7b48" providerId="ADAL" clId="{6ECD27E6-B224-41CD-B4E0-E297462320DD}" dt="2023-11-24T08:54:10.807" v="100854"/>
          <ac:spMkLst>
            <pc:docMk/>
            <pc:sldMk cId="4099999037" sldId="2147478570"/>
            <ac:spMk id="659" creationId="{3706A86B-659B-3D81-20CB-F2CABE04D58E}"/>
          </ac:spMkLst>
        </pc:spChg>
        <pc:spChg chg="add del mod">
          <ac:chgData name="Steiner Andreas 6206 ED" userId="e6377c33-a923-4f14-8587-531c474c7b48" providerId="ADAL" clId="{6ECD27E6-B224-41CD-B4E0-E297462320DD}" dt="2023-11-24T08:54:12.730" v="101009"/>
          <ac:spMkLst>
            <pc:docMk/>
            <pc:sldMk cId="4099999037" sldId="2147478570"/>
            <ac:spMk id="660" creationId="{13278DE7-38F3-5285-3D14-967559A9D3DF}"/>
          </ac:spMkLst>
        </pc:spChg>
        <pc:spChg chg="add del mod">
          <ac:chgData name="Steiner Andreas 6206 ED" userId="e6377c33-a923-4f14-8587-531c474c7b48" providerId="ADAL" clId="{6ECD27E6-B224-41CD-B4E0-E297462320DD}" dt="2023-11-24T08:54:14.700" v="101164"/>
          <ac:spMkLst>
            <pc:docMk/>
            <pc:sldMk cId="4099999037" sldId="2147478570"/>
            <ac:spMk id="661" creationId="{79DD58DF-EFE6-B590-CE43-02581A7E37E7}"/>
          </ac:spMkLst>
        </pc:spChg>
        <pc:spChg chg="add del mod">
          <ac:chgData name="Steiner Andreas 6206 ED" userId="e6377c33-a923-4f14-8587-531c474c7b48" providerId="ADAL" clId="{6ECD27E6-B224-41CD-B4E0-E297462320DD}" dt="2023-11-24T08:54:16.582" v="101319"/>
          <ac:spMkLst>
            <pc:docMk/>
            <pc:sldMk cId="4099999037" sldId="2147478570"/>
            <ac:spMk id="662" creationId="{EBEE8390-B710-3D43-5FAF-777AD0EC066F}"/>
          </ac:spMkLst>
        </pc:spChg>
        <pc:spChg chg="add del mod">
          <ac:chgData name="Steiner Andreas 6206 ED" userId="e6377c33-a923-4f14-8587-531c474c7b48" providerId="ADAL" clId="{6ECD27E6-B224-41CD-B4E0-E297462320DD}" dt="2023-11-24T08:54:18.500" v="101474"/>
          <ac:spMkLst>
            <pc:docMk/>
            <pc:sldMk cId="4099999037" sldId="2147478570"/>
            <ac:spMk id="663" creationId="{240B7A51-4E1B-B2D5-38DF-FE4B6EF39C19}"/>
          </ac:spMkLst>
        </pc:spChg>
        <pc:spChg chg="add del mod">
          <ac:chgData name="Steiner Andreas 6206 ED" userId="e6377c33-a923-4f14-8587-531c474c7b48" providerId="ADAL" clId="{6ECD27E6-B224-41CD-B4E0-E297462320DD}" dt="2023-11-24T08:54:20.464" v="101629"/>
          <ac:spMkLst>
            <pc:docMk/>
            <pc:sldMk cId="4099999037" sldId="2147478570"/>
            <ac:spMk id="664" creationId="{96C9325D-8858-C275-2D6D-424D1D42FC9F}"/>
          </ac:spMkLst>
        </pc:spChg>
        <pc:spChg chg="add del mod">
          <ac:chgData name="Steiner Andreas 6206 ED" userId="e6377c33-a923-4f14-8587-531c474c7b48" providerId="ADAL" clId="{6ECD27E6-B224-41CD-B4E0-E297462320DD}" dt="2023-11-24T08:54:22.571" v="101784"/>
          <ac:spMkLst>
            <pc:docMk/>
            <pc:sldMk cId="4099999037" sldId="2147478570"/>
            <ac:spMk id="665" creationId="{5B160FF0-2D45-CE20-3AC3-D8C06892A9D6}"/>
          </ac:spMkLst>
        </pc:spChg>
        <pc:spChg chg="add del mod">
          <ac:chgData name="Steiner Andreas 6206 ED" userId="e6377c33-a923-4f14-8587-531c474c7b48" providerId="ADAL" clId="{6ECD27E6-B224-41CD-B4E0-E297462320DD}" dt="2023-11-24T08:54:24.534" v="101939"/>
          <ac:spMkLst>
            <pc:docMk/>
            <pc:sldMk cId="4099999037" sldId="2147478570"/>
            <ac:spMk id="666" creationId="{C2B7FD23-1BA6-233E-B9B7-10357C108CCA}"/>
          </ac:spMkLst>
        </pc:spChg>
        <pc:spChg chg="add del mod">
          <ac:chgData name="Steiner Andreas 6206 ED" userId="e6377c33-a923-4f14-8587-531c474c7b48" providerId="ADAL" clId="{6ECD27E6-B224-41CD-B4E0-E297462320DD}" dt="2023-11-24T08:54:26.486" v="102094"/>
          <ac:spMkLst>
            <pc:docMk/>
            <pc:sldMk cId="4099999037" sldId="2147478570"/>
            <ac:spMk id="667" creationId="{6CEA0BE5-C088-5DD9-B5F4-95F7C2A6972D}"/>
          </ac:spMkLst>
        </pc:spChg>
        <pc:spChg chg="add del mod">
          <ac:chgData name="Steiner Andreas 6206 ED" userId="e6377c33-a923-4f14-8587-531c474c7b48" providerId="ADAL" clId="{6ECD27E6-B224-41CD-B4E0-E297462320DD}" dt="2023-11-24T08:54:28.442" v="102249"/>
          <ac:spMkLst>
            <pc:docMk/>
            <pc:sldMk cId="4099999037" sldId="2147478570"/>
            <ac:spMk id="668" creationId="{F5C7C4E4-E1A0-7B8F-E8C5-95CA6561413C}"/>
          </ac:spMkLst>
        </pc:spChg>
        <pc:spChg chg="add del mod">
          <ac:chgData name="Steiner Andreas 6206 ED" userId="e6377c33-a923-4f14-8587-531c474c7b48" providerId="ADAL" clId="{6ECD27E6-B224-41CD-B4E0-E297462320DD}" dt="2023-11-24T08:54:30.369" v="102404"/>
          <ac:spMkLst>
            <pc:docMk/>
            <pc:sldMk cId="4099999037" sldId="2147478570"/>
            <ac:spMk id="669" creationId="{0B99097F-F467-37C4-CE90-EBCA638FA988}"/>
          </ac:spMkLst>
        </pc:spChg>
        <pc:spChg chg="add del mod">
          <ac:chgData name="Steiner Andreas 6206 ED" userId="e6377c33-a923-4f14-8587-531c474c7b48" providerId="ADAL" clId="{6ECD27E6-B224-41CD-B4E0-E297462320DD}" dt="2023-11-24T08:54:32.529" v="102559"/>
          <ac:spMkLst>
            <pc:docMk/>
            <pc:sldMk cId="4099999037" sldId="2147478570"/>
            <ac:spMk id="670" creationId="{9F4F3F11-4337-B04D-3206-A1CE9C2A5581}"/>
          </ac:spMkLst>
        </pc:spChg>
        <pc:spChg chg="add del mod">
          <ac:chgData name="Steiner Andreas 6206 ED" userId="e6377c33-a923-4f14-8587-531c474c7b48" providerId="ADAL" clId="{6ECD27E6-B224-41CD-B4E0-E297462320DD}" dt="2023-11-24T08:54:34.503" v="102714"/>
          <ac:spMkLst>
            <pc:docMk/>
            <pc:sldMk cId="4099999037" sldId="2147478570"/>
            <ac:spMk id="671" creationId="{AF0B3CCA-6DF1-5E72-3659-93624F90B88A}"/>
          </ac:spMkLst>
        </pc:spChg>
        <pc:spChg chg="add del mod">
          <ac:chgData name="Steiner Andreas 6206 ED" userId="e6377c33-a923-4f14-8587-531c474c7b48" providerId="ADAL" clId="{6ECD27E6-B224-41CD-B4E0-E297462320DD}" dt="2023-11-24T08:54:36.436" v="102869"/>
          <ac:spMkLst>
            <pc:docMk/>
            <pc:sldMk cId="4099999037" sldId="2147478570"/>
            <ac:spMk id="672" creationId="{81F62B78-F823-98F8-ACBE-A36903319BD0}"/>
          </ac:spMkLst>
        </pc:spChg>
        <pc:spChg chg="add del mod">
          <ac:chgData name="Steiner Andreas 6206 ED" userId="e6377c33-a923-4f14-8587-531c474c7b48" providerId="ADAL" clId="{6ECD27E6-B224-41CD-B4E0-E297462320DD}" dt="2023-11-24T08:54:38.653" v="103024"/>
          <ac:spMkLst>
            <pc:docMk/>
            <pc:sldMk cId="4099999037" sldId="2147478570"/>
            <ac:spMk id="673" creationId="{B1B9AE74-F457-4112-DF15-402E085F38CF}"/>
          </ac:spMkLst>
        </pc:spChg>
        <pc:spChg chg="add del mod">
          <ac:chgData name="Steiner Andreas 6206 ED" userId="e6377c33-a923-4f14-8587-531c474c7b48" providerId="ADAL" clId="{6ECD27E6-B224-41CD-B4E0-E297462320DD}" dt="2023-11-24T08:54:40.809" v="103179"/>
          <ac:spMkLst>
            <pc:docMk/>
            <pc:sldMk cId="4099999037" sldId="2147478570"/>
            <ac:spMk id="674" creationId="{8ADB0027-5598-8A5F-4181-D88C3EC12670}"/>
          </ac:spMkLst>
        </pc:spChg>
        <pc:spChg chg="add del mod">
          <ac:chgData name="Steiner Andreas 6206 ED" userId="e6377c33-a923-4f14-8587-531c474c7b48" providerId="ADAL" clId="{6ECD27E6-B224-41CD-B4E0-E297462320DD}" dt="2023-11-24T08:54:42.719" v="103334"/>
          <ac:spMkLst>
            <pc:docMk/>
            <pc:sldMk cId="4099999037" sldId="2147478570"/>
            <ac:spMk id="675" creationId="{8A14FFBF-1A7B-15BD-3076-20FBAB8E8570}"/>
          </ac:spMkLst>
        </pc:spChg>
        <pc:spChg chg="add del mod">
          <ac:chgData name="Steiner Andreas 6206 ED" userId="e6377c33-a923-4f14-8587-531c474c7b48" providerId="ADAL" clId="{6ECD27E6-B224-41CD-B4E0-E297462320DD}" dt="2023-11-24T08:54:44.988" v="103489"/>
          <ac:spMkLst>
            <pc:docMk/>
            <pc:sldMk cId="4099999037" sldId="2147478570"/>
            <ac:spMk id="676" creationId="{DF205BFE-1435-C2E7-2B71-CBF1EFA2F301}"/>
          </ac:spMkLst>
        </pc:spChg>
        <pc:spChg chg="add del mod">
          <ac:chgData name="Steiner Andreas 6206 ED" userId="e6377c33-a923-4f14-8587-531c474c7b48" providerId="ADAL" clId="{6ECD27E6-B224-41CD-B4E0-E297462320DD}" dt="2023-11-24T08:54:47.226" v="103644"/>
          <ac:spMkLst>
            <pc:docMk/>
            <pc:sldMk cId="4099999037" sldId="2147478570"/>
            <ac:spMk id="677" creationId="{1C6138C3-A1C0-DAA0-31EB-0DADB94A7FC4}"/>
          </ac:spMkLst>
        </pc:spChg>
        <pc:spChg chg="add del mod">
          <ac:chgData name="Steiner Andreas 6206 ED" userId="e6377c33-a923-4f14-8587-531c474c7b48" providerId="ADAL" clId="{6ECD27E6-B224-41CD-B4E0-E297462320DD}" dt="2023-11-24T08:54:49.350" v="103799"/>
          <ac:spMkLst>
            <pc:docMk/>
            <pc:sldMk cId="4099999037" sldId="2147478570"/>
            <ac:spMk id="678" creationId="{DD584277-6DBD-B1DF-ADC7-D2F3A300C932}"/>
          </ac:spMkLst>
        </pc:spChg>
        <pc:spChg chg="add del mod">
          <ac:chgData name="Steiner Andreas 6206 ED" userId="e6377c33-a923-4f14-8587-531c474c7b48" providerId="ADAL" clId="{6ECD27E6-B224-41CD-B4E0-E297462320DD}" dt="2023-11-24T08:54:51.710" v="103954"/>
          <ac:spMkLst>
            <pc:docMk/>
            <pc:sldMk cId="4099999037" sldId="2147478570"/>
            <ac:spMk id="679" creationId="{676A13C1-129D-4EB8-847E-FAB0FDD98A24}"/>
          </ac:spMkLst>
        </pc:spChg>
        <pc:spChg chg="add del mod">
          <ac:chgData name="Steiner Andreas 6206 ED" userId="e6377c33-a923-4f14-8587-531c474c7b48" providerId="ADAL" clId="{6ECD27E6-B224-41CD-B4E0-E297462320DD}" dt="2023-11-24T08:54:53.771" v="104109"/>
          <ac:spMkLst>
            <pc:docMk/>
            <pc:sldMk cId="4099999037" sldId="2147478570"/>
            <ac:spMk id="680" creationId="{A2063844-588F-0E13-601F-F2B4D322D6CE}"/>
          </ac:spMkLst>
        </pc:spChg>
        <pc:spChg chg="add del mod">
          <ac:chgData name="Steiner Andreas 6206 ED" userId="e6377c33-a923-4f14-8587-531c474c7b48" providerId="ADAL" clId="{6ECD27E6-B224-41CD-B4E0-E297462320DD}" dt="2023-11-24T08:54:55.896" v="104264"/>
          <ac:spMkLst>
            <pc:docMk/>
            <pc:sldMk cId="4099999037" sldId="2147478570"/>
            <ac:spMk id="681" creationId="{96AFE831-E4FA-66FA-2EE5-DD63ED3B6ADD}"/>
          </ac:spMkLst>
        </pc:spChg>
        <pc:spChg chg="add del mod">
          <ac:chgData name="Steiner Andreas 6206 ED" userId="e6377c33-a923-4f14-8587-531c474c7b48" providerId="ADAL" clId="{6ECD27E6-B224-41CD-B4E0-E297462320DD}" dt="2023-11-24T08:54:57.969" v="104419"/>
          <ac:spMkLst>
            <pc:docMk/>
            <pc:sldMk cId="4099999037" sldId="2147478570"/>
            <ac:spMk id="682" creationId="{9EB088EB-8465-E0DF-2721-AC31D6C77C90}"/>
          </ac:spMkLst>
        </pc:spChg>
        <pc:spChg chg="add del mod">
          <ac:chgData name="Steiner Andreas 6206 ED" userId="e6377c33-a923-4f14-8587-531c474c7b48" providerId="ADAL" clId="{6ECD27E6-B224-41CD-B4E0-E297462320DD}" dt="2023-11-24T08:54:59.979" v="104574"/>
          <ac:spMkLst>
            <pc:docMk/>
            <pc:sldMk cId="4099999037" sldId="2147478570"/>
            <ac:spMk id="683" creationId="{D3AEB442-6FDC-83E2-55E0-2416998DF4F7}"/>
          </ac:spMkLst>
        </pc:spChg>
        <pc:spChg chg="add del mod">
          <ac:chgData name="Steiner Andreas 6206 ED" userId="e6377c33-a923-4f14-8587-531c474c7b48" providerId="ADAL" clId="{6ECD27E6-B224-41CD-B4E0-E297462320DD}" dt="2023-11-24T08:55:01.929" v="104729"/>
          <ac:spMkLst>
            <pc:docMk/>
            <pc:sldMk cId="4099999037" sldId="2147478570"/>
            <ac:spMk id="684" creationId="{544AEF50-F3FE-796E-79A8-3C3D32CA2523}"/>
          </ac:spMkLst>
        </pc:spChg>
        <pc:spChg chg="add del mod">
          <ac:chgData name="Steiner Andreas 6206 ED" userId="e6377c33-a923-4f14-8587-531c474c7b48" providerId="ADAL" clId="{6ECD27E6-B224-41CD-B4E0-E297462320DD}" dt="2023-11-24T08:55:03.894" v="104884"/>
          <ac:spMkLst>
            <pc:docMk/>
            <pc:sldMk cId="4099999037" sldId="2147478570"/>
            <ac:spMk id="685" creationId="{AEFB330A-F4F1-8E4A-471C-8A356A20C901}"/>
          </ac:spMkLst>
        </pc:spChg>
        <pc:spChg chg="add del mod">
          <ac:chgData name="Steiner Andreas 6206 ED" userId="e6377c33-a923-4f14-8587-531c474c7b48" providerId="ADAL" clId="{6ECD27E6-B224-41CD-B4E0-E297462320DD}" dt="2023-11-24T08:55:06.015" v="105039"/>
          <ac:spMkLst>
            <pc:docMk/>
            <pc:sldMk cId="4099999037" sldId="2147478570"/>
            <ac:spMk id="686" creationId="{88C6A4E8-D92F-126D-B36E-9CC435E8CE22}"/>
          </ac:spMkLst>
        </pc:spChg>
        <pc:spChg chg="add del mod">
          <ac:chgData name="Steiner Andreas 6206 ED" userId="e6377c33-a923-4f14-8587-531c474c7b48" providerId="ADAL" clId="{6ECD27E6-B224-41CD-B4E0-E297462320DD}" dt="2023-11-24T08:55:08.110" v="105194"/>
          <ac:spMkLst>
            <pc:docMk/>
            <pc:sldMk cId="4099999037" sldId="2147478570"/>
            <ac:spMk id="687" creationId="{D54F63E8-3397-3590-174E-65025C944870}"/>
          </ac:spMkLst>
        </pc:spChg>
        <pc:spChg chg="add del mod">
          <ac:chgData name="Steiner Andreas 6206 ED" userId="e6377c33-a923-4f14-8587-531c474c7b48" providerId="ADAL" clId="{6ECD27E6-B224-41CD-B4E0-E297462320DD}" dt="2023-11-24T08:55:10.098" v="105349"/>
          <ac:spMkLst>
            <pc:docMk/>
            <pc:sldMk cId="4099999037" sldId="2147478570"/>
            <ac:spMk id="688" creationId="{4C90ED56-35E0-4F50-3026-2B9F46A730C3}"/>
          </ac:spMkLst>
        </pc:spChg>
        <pc:spChg chg="add del mod">
          <ac:chgData name="Steiner Andreas 6206 ED" userId="e6377c33-a923-4f14-8587-531c474c7b48" providerId="ADAL" clId="{6ECD27E6-B224-41CD-B4E0-E297462320DD}" dt="2023-11-24T08:55:12.085" v="105504"/>
          <ac:spMkLst>
            <pc:docMk/>
            <pc:sldMk cId="4099999037" sldId="2147478570"/>
            <ac:spMk id="689" creationId="{8BD07DC0-6A25-76CD-9B73-D5732D88B9BD}"/>
          </ac:spMkLst>
        </pc:spChg>
        <pc:spChg chg="add del mod">
          <ac:chgData name="Steiner Andreas 6206 ED" userId="e6377c33-a923-4f14-8587-531c474c7b48" providerId="ADAL" clId="{6ECD27E6-B224-41CD-B4E0-E297462320DD}" dt="2023-11-24T08:55:14.115" v="105659"/>
          <ac:spMkLst>
            <pc:docMk/>
            <pc:sldMk cId="4099999037" sldId="2147478570"/>
            <ac:spMk id="690" creationId="{4C5541BF-9D53-F7CA-07EF-B1BCD76BBED5}"/>
          </ac:spMkLst>
        </pc:spChg>
        <pc:spChg chg="add del mod">
          <ac:chgData name="Steiner Andreas 6206 ED" userId="e6377c33-a923-4f14-8587-531c474c7b48" providerId="ADAL" clId="{6ECD27E6-B224-41CD-B4E0-E297462320DD}" dt="2023-11-24T08:55:16.208" v="105814"/>
          <ac:spMkLst>
            <pc:docMk/>
            <pc:sldMk cId="4099999037" sldId="2147478570"/>
            <ac:spMk id="691" creationId="{432DAD78-6F13-997A-1295-C7A49EC6A817}"/>
          </ac:spMkLst>
        </pc:spChg>
        <pc:spChg chg="add del mod">
          <ac:chgData name="Steiner Andreas 6206 ED" userId="e6377c33-a923-4f14-8587-531c474c7b48" providerId="ADAL" clId="{6ECD27E6-B224-41CD-B4E0-E297462320DD}" dt="2023-11-24T08:55:18.247" v="105969"/>
          <ac:spMkLst>
            <pc:docMk/>
            <pc:sldMk cId="4099999037" sldId="2147478570"/>
            <ac:spMk id="692" creationId="{C8076165-4C7D-7281-62EF-FCD1B42C009F}"/>
          </ac:spMkLst>
        </pc:spChg>
        <pc:spChg chg="add del mod">
          <ac:chgData name="Steiner Andreas 6206 ED" userId="e6377c33-a923-4f14-8587-531c474c7b48" providerId="ADAL" clId="{6ECD27E6-B224-41CD-B4E0-E297462320DD}" dt="2023-11-24T08:55:20.265" v="106124"/>
          <ac:spMkLst>
            <pc:docMk/>
            <pc:sldMk cId="4099999037" sldId="2147478570"/>
            <ac:spMk id="693" creationId="{931A2FE7-A01C-C273-CDE9-18A34637EA6E}"/>
          </ac:spMkLst>
        </pc:spChg>
        <pc:spChg chg="add del mod">
          <ac:chgData name="Steiner Andreas 6206 ED" userId="e6377c33-a923-4f14-8587-531c474c7b48" providerId="ADAL" clId="{6ECD27E6-B224-41CD-B4E0-E297462320DD}" dt="2023-11-24T08:55:22.206" v="106279"/>
          <ac:spMkLst>
            <pc:docMk/>
            <pc:sldMk cId="4099999037" sldId="2147478570"/>
            <ac:spMk id="694" creationId="{6483C857-0DD0-2EE1-9433-AB4C19494878}"/>
          </ac:spMkLst>
        </pc:spChg>
        <pc:spChg chg="add del mod">
          <ac:chgData name="Steiner Andreas 6206 ED" userId="e6377c33-a923-4f14-8587-531c474c7b48" providerId="ADAL" clId="{6ECD27E6-B224-41CD-B4E0-E297462320DD}" dt="2023-11-24T08:55:24.216" v="106434"/>
          <ac:spMkLst>
            <pc:docMk/>
            <pc:sldMk cId="4099999037" sldId="2147478570"/>
            <ac:spMk id="695" creationId="{A04CB357-A7BE-8653-E9C3-B9A88214F4BD}"/>
          </ac:spMkLst>
        </pc:spChg>
        <pc:spChg chg="add del mod">
          <ac:chgData name="Steiner Andreas 6206 ED" userId="e6377c33-a923-4f14-8587-531c474c7b48" providerId="ADAL" clId="{6ECD27E6-B224-41CD-B4E0-E297462320DD}" dt="2023-11-24T08:55:26.186" v="106589"/>
          <ac:spMkLst>
            <pc:docMk/>
            <pc:sldMk cId="4099999037" sldId="2147478570"/>
            <ac:spMk id="696" creationId="{FF278C56-3327-FB4E-1BA2-AA87298BD3F4}"/>
          </ac:spMkLst>
        </pc:spChg>
        <pc:spChg chg="add del mod">
          <ac:chgData name="Steiner Andreas 6206 ED" userId="e6377c33-a923-4f14-8587-531c474c7b48" providerId="ADAL" clId="{6ECD27E6-B224-41CD-B4E0-E297462320DD}" dt="2023-11-24T08:55:28.338" v="106744"/>
          <ac:spMkLst>
            <pc:docMk/>
            <pc:sldMk cId="4099999037" sldId="2147478570"/>
            <ac:spMk id="697" creationId="{1AFCF648-51C5-674E-4462-35F93A1261C4}"/>
          </ac:spMkLst>
        </pc:spChg>
        <pc:spChg chg="add del mod">
          <ac:chgData name="Steiner Andreas 6206 ED" userId="e6377c33-a923-4f14-8587-531c474c7b48" providerId="ADAL" clId="{6ECD27E6-B224-41CD-B4E0-E297462320DD}" dt="2023-11-24T08:55:30.312" v="106899"/>
          <ac:spMkLst>
            <pc:docMk/>
            <pc:sldMk cId="4099999037" sldId="2147478570"/>
            <ac:spMk id="698" creationId="{8C9F15EA-1909-E72A-7B5E-129538D6B5AF}"/>
          </ac:spMkLst>
        </pc:spChg>
        <pc:spChg chg="add del mod">
          <ac:chgData name="Steiner Andreas 6206 ED" userId="e6377c33-a923-4f14-8587-531c474c7b48" providerId="ADAL" clId="{6ECD27E6-B224-41CD-B4E0-E297462320DD}" dt="2023-11-24T08:55:32.508" v="107054"/>
          <ac:spMkLst>
            <pc:docMk/>
            <pc:sldMk cId="4099999037" sldId="2147478570"/>
            <ac:spMk id="699" creationId="{56DAB5C3-66BF-0194-CCAA-184F50459837}"/>
          </ac:spMkLst>
        </pc:spChg>
        <pc:spChg chg="add del mod">
          <ac:chgData name="Steiner Andreas 6206 ED" userId="e6377c33-a923-4f14-8587-531c474c7b48" providerId="ADAL" clId="{6ECD27E6-B224-41CD-B4E0-E297462320DD}" dt="2023-11-24T08:55:34.406" v="107209"/>
          <ac:spMkLst>
            <pc:docMk/>
            <pc:sldMk cId="4099999037" sldId="2147478570"/>
            <ac:spMk id="700" creationId="{997DADF6-D06B-7D8A-82E4-915396ED9661}"/>
          </ac:spMkLst>
        </pc:spChg>
        <pc:spChg chg="add del mod">
          <ac:chgData name="Steiner Andreas 6206 ED" userId="e6377c33-a923-4f14-8587-531c474c7b48" providerId="ADAL" clId="{6ECD27E6-B224-41CD-B4E0-E297462320DD}" dt="2023-11-24T08:55:36.339" v="107364"/>
          <ac:spMkLst>
            <pc:docMk/>
            <pc:sldMk cId="4099999037" sldId="2147478570"/>
            <ac:spMk id="701" creationId="{44FE8E5E-68B3-400C-592A-EB50BE1A99BD}"/>
          </ac:spMkLst>
        </pc:spChg>
        <pc:spChg chg="add del mod">
          <ac:chgData name="Steiner Andreas 6206 ED" userId="e6377c33-a923-4f14-8587-531c474c7b48" providerId="ADAL" clId="{6ECD27E6-B224-41CD-B4E0-E297462320DD}" dt="2023-11-24T08:55:38.365" v="107519"/>
          <ac:spMkLst>
            <pc:docMk/>
            <pc:sldMk cId="4099999037" sldId="2147478570"/>
            <ac:spMk id="702" creationId="{385738B1-5211-D19E-4697-7E0F822B919C}"/>
          </ac:spMkLst>
        </pc:spChg>
        <pc:spChg chg="add del mod">
          <ac:chgData name="Steiner Andreas 6206 ED" userId="e6377c33-a923-4f14-8587-531c474c7b48" providerId="ADAL" clId="{6ECD27E6-B224-41CD-B4E0-E297462320DD}" dt="2023-11-24T08:55:40.410" v="107674"/>
          <ac:spMkLst>
            <pc:docMk/>
            <pc:sldMk cId="4099999037" sldId="2147478570"/>
            <ac:spMk id="703" creationId="{14DAFAB2-9B23-77C3-A910-D3B3B7975C17}"/>
          </ac:spMkLst>
        </pc:spChg>
        <pc:spChg chg="add del mod">
          <ac:chgData name="Steiner Andreas 6206 ED" userId="e6377c33-a923-4f14-8587-531c474c7b48" providerId="ADAL" clId="{6ECD27E6-B224-41CD-B4E0-E297462320DD}" dt="2023-11-24T08:55:42.293" v="107829"/>
          <ac:spMkLst>
            <pc:docMk/>
            <pc:sldMk cId="4099999037" sldId="2147478570"/>
            <ac:spMk id="704" creationId="{29E1CC3E-A77B-DCB6-BEE6-0BDCA7FE7E9A}"/>
          </ac:spMkLst>
        </pc:spChg>
        <pc:spChg chg="add del mod">
          <ac:chgData name="Steiner Andreas 6206 ED" userId="e6377c33-a923-4f14-8587-531c474c7b48" providerId="ADAL" clId="{6ECD27E6-B224-41CD-B4E0-E297462320DD}" dt="2023-11-24T08:55:44.266" v="107984"/>
          <ac:spMkLst>
            <pc:docMk/>
            <pc:sldMk cId="4099999037" sldId="2147478570"/>
            <ac:spMk id="705" creationId="{906D1470-9062-A839-0360-8C1EA7F2C209}"/>
          </ac:spMkLst>
        </pc:spChg>
        <pc:spChg chg="add del mod">
          <ac:chgData name="Steiner Andreas 6206 ED" userId="e6377c33-a923-4f14-8587-531c474c7b48" providerId="ADAL" clId="{6ECD27E6-B224-41CD-B4E0-E297462320DD}" dt="2023-11-24T08:55:46.569" v="108139"/>
          <ac:spMkLst>
            <pc:docMk/>
            <pc:sldMk cId="4099999037" sldId="2147478570"/>
            <ac:spMk id="706" creationId="{15FEB6DB-0F0E-EF39-12ED-8B742B82437C}"/>
          </ac:spMkLst>
        </pc:spChg>
        <pc:spChg chg="add del mod">
          <ac:chgData name="Steiner Andreas 6206 ED" userId="e6377c33-a923-4f14-8587-531c474c7b48" providerId="ADAL" clId="{6ECD27E6-B224-41CD-B4E0-E297462320DD}" dt="2023-11-24T08:55:48.793" v="108294"/>
          <ac:spMkLst>
            <pc:docMk/>
            <pc:sldMk cId="4099999037" sldId="2147478570"/>
            <ac:spMk id="707" creationId="{B5263F0D-94DB-8201-A41A-41DA66579667}"/>
          </ac:spMkLst>
        </pc:spChg>
        <pc:spChg chg="add del mod">
          <ac:chgData name="Steiner Andreas 6206 ED" userId="e6377c33-a923-4f14-8587-531c474c7b48" providerId="ADAL" clId="{6ECD27E6-B224-41CD-B4E0-E297462320DD}" dt="2023-11-24T08:55:51.228" v="108449"/>
          <ac:spMkLst>
            <pc:docMk/>
            <pc:sldMk cId="4099999037" sldId="2147478570"/>
            <ac:spMk id="708" creationId="{1CDE143E-AEA6-131C-B2AC-C2169CEFA446}"/>
          </ac:spMkLst>
        </pc:spChg>
        <pc:spChg chg="add del mod">
          <ac:chgData name="Steiner Andreas 6206 ED" userId="e6377c33-a923-4f14-8587-531c474c7b48" providerId="ADAL" clId="{6ECD27E6-B224-41CD-B4E0-E297462320DD}" dt="2023-11-24T08:55:53.268" v="108604"/>
          <ac:spMkLst>
            <pc:docMk/>
            <pc:sldMk cId="4099999037" sldId="2147478570"/>
            <ac:spMk id="709" creationId="{F95B7076-08C5-F644-E9E6-00BCF3AF2146}"/>
          </ac:spMkLst>
        </pc:spChg>
        <pc:spChg chg="add del mod">
          <ac:chgData name="Steiner Andreas 6206 ED" userId="e6377c33-a923-4f14-8587-531c474c7b48" providerId="ADAL" clId="{6ECD27E6-B224-41CD-B4E0-E297462320DD}" dt="2023-11-24T08:55:55.402" v="108759"/>
          <ac:spMkLst>
            <pc:docMk/>
            <pc:sldMk cId="4099999037" sldId="2147478570"/>
            <ac:spMk id="710" creationId="{B5173AF6-59B3-336F-0194-B4F7D8910B6F}"/>
          </ac:spMkLst>
        </pc:spChg>
        <pc:spChg chg="add del mod">
          <ac:chgData name="Steiner Andreas 6206 ED" userId="e6377c33-a923-4f14-8587-531c474c7b48" providerId="ADAL" clId="{6ECD27E6-B224-41CD-B4E0-E297462320DD}" dt="2023-11-24T08:55:57.415" v="108914"/>
          <ac:spMkLst>
            <pc:docMk/>
            <pc:sldMk cId="4099999037" sldId="2147478570"/>
            <ac:spMk id="711" creationId="{C1F8CF48-94AC-2811-3DF2-D83A13EB13FD}"/>
          </ac:spMkLst>
        </pc:spChg>
        <pc:spChg chg="add del mod">
          <ac:chgData name="Steiner Andreas 6206 ED" userId="e6377c33-a923-4f14-8587-531c474c7b48" providerId="ADAL" clId="{6ECD27E6-B224-41CD-B4E0-E297462320DD}" dt="2023-11-24T08:55:59.505" v="109069"/>
          <ac:spMkLst>
            <pc:docMk/>
            <pc:sldMk cId="4099999037" sldId="2147478570"/>
            <ac:spMk id="712" creationId="{5F50AED7-707C-1010-274B-DB449AE4DB5F}"/>
          </ac:spMkLst>
        </pc:spChg>
        <pc:spChg chg="add del mod">
          <ac:chgData name="Steiner Andreas 6206 ED" userId="e6377c33-a923-4f14-8587-531c474c7b48" providerId="ADAL" clId="{6ECD27E6-B224-41CD-B4E0-E297462320DD}" dt="2023-11-24T08:56:01.870" v="109224"/>
          <ac:spMkLst>
            <pc:docMk/>
            <pc:sldMk cId="4099999037" sldId="2147478570"/>
            <ac:spMk id="713" creationId="{D487074F-5D7C-768A-ACF3-A64DC8507486}"/>
          </ac:spMkLst>
        </pc:spChg>
        <pc:spChg chg="add del mod">
          <ac:chgData name="Steiner Andreas 6206 ED" userId="e6377c33-a923-4f14-8587-531c474c7b48" providerId="ADAL" clId="{6ECD27E6-B224-41CD-B4E0-E297462320DD}" dt="2023-11-24T08:56:04.126" v="109379"/>
          <ac:spMkLst>
            <pc:docMk/>
            <pc:sldMk cId="4099999037" sldId="2147478570"/>
            <ac:spMk id="714" creationId="{6CF789B4-1C95-1111-47B3-2F17E60EAFFB}"/>
          </ac:spMkLst>
        </pc:spChg>
        <pc:spChg chg="add del mod">
          <ac:chgData name="Steiner Andreas 6206 ED" userId="e6377c33-a923-4f14-8587-531c474c7b48" providerId="ADAL" clId="{6ECD27E6-B224-41CD-B4E0-E297462320DD}" dt="2023-11-24T08:56:06.426" v="109534"/>
          <ac:spMkLst>
            <pc:docMk/>
            <pc:sldMk cId="4099999037" sldId="2147478570"/>
            <ac:spMk id="715" creationId="{484D4B7D-9260-5A05-7C47-D1E6D030A037}"/>
          </ac:spMkLst>
        </pc:spChg>
        <pc:spChg chg="add del mod">
          <ac:chgData name="Steiner Andreas 6206 ED" userId="e6377c33-a923-4f14-8587-531c474c7b48" providerId="ADAL" clId="{6ECD27E6-B224-41CD-B4E0-E297462320DD}" dt="2023-11-24T08:56:08.714" v="109689"/>
          <ac:spMkLst>
            <pc:docMk/>
            <pc:sldMk cId="4099999037" sldId="2147478570"/>
            <ac:spMk id="716" creationId="{0621C462-98E9-F2E0-87DE-420A10E3C931}"/>
          </ac:spMkLst>
        </pc:spChg>
        <pc:spChg chg="add del mod">
          <ac:chgData name="Steiner Andreas 6206 ED" userId="e6377c33-a923-4f14-8587-531c474c7b48" providerId="ADAL" clId="{6ECD27E6-B224-41CD-B4E0-E297462320DD}" dt="2023-11-24T08:56:10.759" v="109844"/>
          <ac:spMkLst>
            <pc:docMk/>
            <pc:sldMk cId="4099999037" sldId="2147478570"/>
            <ac:spMk id="717" creationId="{CFF1CFEB-2FF8-5BF3-DA88-049976C7C698}"/>
          </ac:spMkLst>
        </pc:spChg>
        <pc:spChg chg="add del mod">
          <ac:chgData name="Steiner Andreas 6206 ED" userId="e6377c33-a923-4f14-8587-531c474c7b48" providerId="ADAL" clId="{6ECD27E6-B224-41CD-B4E0-E297462320DD}" dt="2023-11-24T08:56:12.873" v="109999"/>
          <ac:spMkLst>
            <pc:docMk/>
            <pc:sldMk cId="4099999037" sldId="2147478570"/>
            <ac:spMk id="718" creationId="{7353CA43-E88A-5EF4-9F0B-0F949FDF859C}"/>
          </ac:spMkLst>
        </pc:spChg>
        <pc:spChg chg="add del mod">
          <ac:chgData name="Steiner Andreas 6206 ED" userId="e6377c33-a923-4f14-8587-531c474c7b48" providerId="ADAL" clId="{6ECD27E6-B224-41CD-B4E0-E297462320DD}" dt="2023-11-24T08:56:14.999" v="110154"/>
          <ac:spMkLst>
            <pc:docMk/>
            <pc:sldMk cId="4099999037" sldId="2147478570"/>
            <ac:spMk id="719" creationId="{4A4626E5-D9AF-3335-B39F-6B07455419D3}"/>
          </ac:spMkLst>
        </pc:spChg>
        <pc:spChg chg="add del mod">
          <ac:chgData name="Steiner Andreas 6206 ED" userId="e6377c33-a923-4f14-8587-531c474c7b48" providerId="ADAL" clId="{6ECD27E6-B224-41CD-B4E0-E297462320DD}" dt="2023-11-24T08:56:16.981" v="110309"/>
          <ac:spMkLst>
            <pc:docMk/>
            <pc:sldMk cId="4099999037" sldId="2147478570"/>
            <ac:spMk id="720" creationId="{E2CF9263-BDAE-B4CE-021E-DD1CB66F9496}"/>
          </ac:spMkLst>
        </pc:spChg>
        <pc:spChg chg="add del mod">
          <ac:chgData name="Steiner Andreas 6206 ED" userId="e6377c33-a923-4f14-8587-531c474c7b48" providerId="ADAL" clId="{6ECD27E6-B224-41CD-B4E0-E297462320DD}" dt="2023-11-24T08:56:18.960" v="110464"/>
          <ac:spMkLst>
            <pc:docMk/>
            <pc:sldMk cId="4099999037" sldId="2147478570"/>
            <ac:spMk id="721" creationId="{A39C5BD1-49F8-9587-21C1-CE8EDCE6D13F}"/>
          </ac:spMkLst>
        </pc:spChg>
        <pc:spChg chg="add del mod">
          <ac:chgData name="Steiner Andreas 6206 ED" userId="e6377c33-a923-4f14-8587-531c474c7b48" providerId="ADAL" clId="{6ECD27E6-B224-41CD-B4E0-E297462320DD}" dt="2023-11-24T08:56:20.904" v="110619"/>
          <ac:spMkLst>
            <pc:docMk/>
            <pc:sldMk cId="4099999037" sldId="2147478570"/>
            <ac:spMk id="722" creationId="{095F8251-F8BD-94D8-3C11-F1D4AC43530B}"/>
          </ac:spMkLst>
        </pc:spChg>
        <pc:spChg chg="add del mod">
          <ac:chgData name="Steiner Andreas 6206 ED" userId="e6377c33-a923-4f14-8587-531c474c7b48" providerId="ADAL" clId="{6ECD27E6-B224-41CD-B4E0-E297462320DD}" dt="2023-11-24T08:56:23.037" v="110774"/>
          <ac:spMkLst>
            <pc:docMk/>
            <pc:sldMk cId="4099999037" sldId="2147478570"/>
            <ac:spMk id="723" creationId="{4922A8E5-F967-D410-C1BA-B2E1E03D3306}"/>
          </ac:spMkLst>
        </pc:spChg>
        <pc:spChg chg="add del mod">
          <ac:chgData name="Steiner Andreas 6206 ED" userId="e6377c33-a923-4f14-8587-531c474c7b48" providerId="ADAL" clId="{6ECD27E6-B224-41CD-B4E0-E297462320DD}" dt="2023-11-24T08:56:25.245" v="110929"/>
          <ac:spMkLst>
            <pc:docMk/>
            <pc:sldMk cId="4099999037" sldId="2147478570"/>
            <ac:spMk id="724" creationId="{03107E2D-2D12-D735-A893-F6DF2C7C0FCE}"/>
          </ac:spMkLst>
        </pc:spChg>
        <pc:spChg chg="add del mod">
          <ac:chgData name="Steiner Andreas 6206 ED" userId="e6377c33-a923-4f14-8587-531c474c7b48" providerId="ADAL" clId="{6ECD27E6-B224-41CD-B4E0-E297462320DD}" dt="2023-11-24T08:56:27.266" v="111084"/>
          <ac:spMkLst>
            <pc:docMk/>
            <pc:sldMk cId="4099999037" sldId="2147478570"/>
            <ac:spMk id="725" creationId="{E6AD8949-16B9-A7AD-9DB8-8EC28D56AA91}"/>
          </ac:spMkLst>
        </pc:spChg>
        <pc:spChg chg="add del mod">
          <ac:chgData name="Steiner Andreas 6206 ED" userId="e6377c33-a923-4f14-8587-531c474c7b48" providerId="ADAL" clId="{6ECD27E6-B224-41CD-B4E0-E297462320DD}" dt="2023-11-24T08:56:29.298" v="111239"/>
          <ac:spMkLst>
            <pc:docMk/>
            <pc:sldMk cId="4099999037" sldId="2147478570"/>
            <ac:spMk id="726" creationId="{826061B2-D7F9-D282-2C28-CF1C9C18FAD0}"/>
          </ac:spMkLst>
        </pc:spChg>
        <pc:spChg chg="add del mod">
          <ac:chgData name="Steiner Andreas 6206 ED" userId="e6377c33-a923-4f14-8587-531c474c7b48" providerId="ADAL" clId="{6ECD27E6-B224-41CD-B4E0-E297462320DD}" dt="2023-11-24T08:56:31.410" v="111394"/>
          <ac:spMkLst>
            <pc:docMk/>
            <pc:sldMk cId="4099999037" sldId="2147478570"/>
            <ac:spMk id="727" creationId="{D0BD1423-BA43-C90D-FD14-51FB40901F1A}"/>
          </ac:spMkLst>
        </pc:spChg>
        <pc:spChg chg="add del mod">
          <ac:chgData name="Steiner Andreas 6206 ED" userId="e6377c33-a923-4f14-8587-531c474c7b48" providerId="ADAL" clId="{6ECD27E6-B224-41CD-B4E0-E297462320DD}" dt="2023-11-24T08:56:33.636" v="111549"/>
          <ac:spMkLst>
            <pc:docMk/>
            <pc:sldMk cId="4099999037" sldId="2147478570"/>
            <ac:spMk id="728" creationId="{26A860E0-4F9F-C2A9-2AF0-50351A31F5A6}"/>
          </ac:spMkLst>
        </pc:spChg>
        <pc:spChg chg="add del mod">
          <ac:chgData name="Steiner Andreas 6206 ED" userId="e6377c33-a923-4f14-8587-531c474c7b48" providerId="ADAL" clId="{6ECD27E6-B224-41CD-B4E0-E297462320DD}" dt="2023-11-24T08:56:35.816" v="111704"/>
          <ac:spMkLst>
            <pc:docMk/>
            <pc:sldMk cId="4099999037" sldId="2147478570"/>
            <ac:spMk id="729" creationId="{8D033138-5E9A-FA6B-0C25-12513C42DF31}"/>
          </ac:spMkLst>
        </pc:spChg>
        <pc:spChg chg="add del mod">
          <ac:chgData name="Steiner Andreas 6206 ED" userId="e6377c33-a923-4f14-8587-531c474c7b48" providerId="ADAL" clId="{6ECD27E6-B224-41CD-B4E0-E297462320DD}" dt="2023-11-24T08:56:37.883" v="111859"/>
          <ac:spMkLst>
            <pc:docMk/>
            <pc:sldMk cId="4099999037" sldId="2147478570"/>
            <ac:spMk id="730" creationId="{6A86A45C-CCCF-214F-1AF4-ECF9BEC3EE2D}"/>
          </ac:spMkLst>
        </pc:spChg>
        <pc:spChg chg="add del mod">
          <ac:chgData name="Steiner Andreas 6206 ED" userId="e6377c33-a923-4f14-8587-531c474c7b48" providerId="ADAL" clId="{6ECD27E6-B224-41CD-B4E0-E297462320DD}" dt="2023-11-24T08:56:40.038" v="112014"/>
          <ac:spMkLst>
            <pc:docMk/>
            <pc:sldMk cId="4099999037" sldId="2147478570"/>
            <ac:spMk id="731" creationId="{2D3105E9-F013-617E-6873-392BC2591696}"/>
          </ac:spMkLst>
        </pc:spChg>
        <pc:spChg chg="add del mod">
          <ac:chgData name="Steiner Andreas 6206 ED" userId="e6377c33-a923-4f14-8587-531c474c7b48" providerId="ADAL" clId="{6ECD27E6-B224-41CD-B4E0-E297462320DD}" dt="2023-11-24T08:56:41.988" v="112169"/>
          <ac:spMkLst>
            <pc:docMk/>
            <pc:sldMk cId="4099999037" sldId="2147478570"/>
            <ac:spMk id="732" creationId="{AC4F39B0-7316-B2D2-630D-B91A8083D8B3}"/>
          </ac:spMkLst>
        </pc:spChg>
        <pc:spChg chg="add del mod">
          <ac:chgData name="Steiner Andreas 6206 ED" userId="e6377c33-a923-4f14-8587-531c474c7b48" providerId="ADAL" clId="{6ECD27E6-B224-41CD-B4E0-E297462320DD}" dt="2023-11-24T08:56:43.986" v="112324"/>
          <ac:spMkLst>
            <pc:docMk/>
            <pc:sldMk cId="4099999037" sldId="2147478570"/>
            <ac:spMk id="733" creationId="{EB2E0A95-CBDE-2C1E-9223-61E322735AE9}"/>
          </ac:spMkLst>
        </pc:spChg>
        <pc:spChg chg="add del mod">
          <ac:chgData name="Steiner Andreas 6206 ED" userId="e6377c33-a923-4f14-8587-531c474c7b48" providerId="ADAL" clId="{6ECD27E6-B224-41CD-B4E0-E297462320DD}" dt="2023-11-24T08:56:46.020" v="112479"/>
          <ac:spMkLst>
            <pc:docMk/>
            <pc:sldMk cId="4099999037" sldId="2147478570"/>
            <ac:spMk id="734" creationId="{B6808B73-19D8-D176-8C32-B1226FB6928B}"/>
          </ac:spMkLst>
        </pc:spChg>
        <pc:spChg chg="add del mod">
          <ac:chgData name="Steiner Andreas 6206 ED" userId="e6377c33-a923-4f14-8587-531c474c7b48" providerId="ADAL" clId="{6ECD27E6-B224-41CD-B4E0-E297462320DD}" dt="2023-11-24T08:56:48.230" v="112634"/>
          <ac:spMkLst>
            <pc:docMk/>
            <pc:sldMk cId="4099999037" sldId="2147478570"/>
            <ac:spMk id="735" creationId="{F70E084F-7DEC-DB00-692B-3F3F930C774D}"/>
          </ac:spMkLst>
        </pc:spChg>
        <pc:spChg chg="add del mod">
          <ac:chgData name="Steiner Andreas 6206 ED" userId="e6377c33-a923-4f14-8587-531c474c7b48" providerId="ADAL" clId="{6ECD27E6-B224-41CD-B4E0-E297462320DD}" dt="2023-11-24T08:56:50.286" v="112789"/>
          <ac:spMkLst>
            <pc:docMk/>
            <pc:sldMk cId="4099999037" sldId="2147478570"/>
            <ac:spMk id="736" creationId="{01BE2F67-8F29-CC83-AB6A-FD7E5A37A60D}"/>
          </ac:spMkLst>
        </pc:spChg>
        <pc:spChg chg="add del mod">
          <ac:chgData name="Steiner Andreas 6206 ED" userId="e6377c33-a923-4f14-8587-531c474c7b48" providerId="ADAL" clId="{6ECD27E6-B224-41CD-B4E0-E297462320DD}" dt="2023-11-24T08:56:52.215" v="112944"/>
          <ac:spMkLst>
            <pc:docMk/>
            <pc:sldMk cId="4099999037" sldId="2147478570"/>
            <ac:spMk id="737" creationId="{82E797C7-73FA-568E-219E-8860DB049510}"/>
          </ac:spMkLst>
        </pc:spChg>
        <pc:spChg chg="add del mod">
          <ac:chgData name="Steiner Andreas 6206 ED" userId="e6377c33-a923-4f14-8587-531c474c7b48" providerId="ADAL" clId="{6ECD27E6-B224-41CD-B4E0-E297462320DD}" dt="2023-11-24T08:56:54.336" v="113099"/>
          <ac:spMkLst>
            <pc:docMk/>
            <pc:sldMk cId="4099999037" sldId="2147478570"/>
            <ac:spMk id="738" creationId="{76C727F4-EBAA-F413-6369-6919373F7A3C}"/>
          </ac:spMkLst>
        </pc:spChg>
        <pc:spChg chg="add del mod">
          <ac:chgData name="Steiner Andreas 6206 ED" userId="e6377c33-a923-4f14-8587-531c474c7b48" providerId="ADAL" clId="{6ECD27E6-B224-41CD-B4E0-E297462320DD}" dt="2023-11-24T08:56:56.296" v="113254"/>
          <ac:spMkLst>
            <pc:docMk/>
            <pc:sldMk cId="4099999037" sldId="2147478570"/>
            <ac:spMk id="739" creationId="{A251FF37-3BE2-07C5-43E8-6BC8FE839ABB}"/>
          </ac:spMkLst>
        </pc:spChg>
        <pc:spChg chg="add del mod">
          <ac:chgData name="Steiner Andreas 6206 ED" userId="e6377c33-a923-4f14-8587-531c474c7b48" providerId="ADAL" clId="{6ECD27E6-B224-41CD-B4E0-E297462320DD}" dt="2023-11-24T08:56:58.408" v="113409"/>
          <ac:spMkLst>
            <pc:docMk/>
            <pc:sldMk cId="4099999037" sldId="2147478570"/>
            <ac:spMk id="740" creationId="{552E138D-5171-0C62-578D-B47A3000BA87}"/>
          </ac:spMkLst>
        </pc:spChg>
        <pc:spChg chg="add del mod">
          <ac:chgData name="Steiner Andreas 6206 ED" userId="e6377c33-a923-4f14-8587-531c474c7b48" providerId="ADAL" clId="{6ECD27E6-B224-41CD-B4E0-E297462320DD}" dt="2023-11-24T08:57:00.717" v="113564"/>
          <ac:spMkLst>
            <pc:docMk/>
            <pc:sldMk cId="4099999037" sldId="2147478570"/>
            <ac:spMk id="741" creationId="{6E33EDC5-B72C-DA93-3C92-D16C7B192085}"/>
          </ac:spMkLst>
        </pc:spChg>
        <pc:spChg chg="add del mod">
          <ac:chgData name="Steiner Andreas 6206 ED" userId="e6377c33-a923-4f14-8587-531c474c7b48" providerId="ADAL" clId="{6ECD27E6-B224-41CD-B4E0-E297462320DD}" dt="2023-11-24T08:57:03.092" v="113719"/>
          <ac:spMkLst>
            <pc:docMk/>
            <pc:sldMk cId="4099999037" sldId="2147478570"/>
            <ac:spMk id="742" creationId="{61FDFCF6-409A-6559-8F77-A482E540F6FB}"/>
          </ac:spMkLst>
        </pc:spChg>
        <pc:spChg chg="add del mod">
          <ac:chgData name="Steiner Andreas 6206 ED" userId="e6377c33-a923-4f14-8587-531c474c7b48" providerId="ADAL" clId="{6ECD27E6-B224-41CD-B4E0-E297462320DD}" dt="2023-11-24T09:02:21.565" v="113874"/>
          <ac:spMkLst>
            <pc:docMk/>
            <pc:sldMk cId="4099999037" sldId="2147478570"/>
            <ac:spMk id="743" creationId="{A1C0FD99-EF43-DAD0-225B-2AE6BB21DC88}"/>
          </ac:spMkLst>
        </pc:spChg>
        <pc:spChg chg="add del mod">
          <ac:chgData name="Steiner Andreas 6206 ED" userId="e6377c33-a923-4f14-8587-531c474c7b48" providerId="ADAL" clId="{6ECD27E6-B224-41CD-B4E0-E297462320DD}" dt="2023-11-24T09:02:27.488" v="114029"/>
          <ac:spMkLst>
            <pc:docMk/>
            <pc:sldMk cId="4099999037" sldId="2147478570"/>
            <ac:spMk id="744" creationId="{C2CA62D6-84C2-51B9-D2BC-2EA58AC4F626}"/>
          </ac:spMkLst>
        </pc:spChg>
        <pc:spChg chg="add del mod">
          <ac:chgData name="Steiner Andreas 6206 ED" userId="e6377c33-a923-4f14-8587-531c474c7b48" providerId="ADAL" clId="{6ECD27E6-B224-41CD-B4E0-E297462320DD}" dt="2023-11-24T09:02:30.044" v="114184"/>
          <ac:spMkLst>
            <pc:docMk/>
            <pc:sldMk cId="4099999037" sldId="2147478570"/>
            <ac:spMk id="745" creationId="{E4ECA9FF-18CF-EBE1-8B4F-F7F68084714F}"/>
          </ac:spMkLst>
        </pc:spChg>
        <pc:spChg chg="add del mod">
          <ac:chgData name="Steiner Andreas 6206 ED" userId="e6377c33-a923-4f14-8587-531c474c7b48" providerId="ADAL" clId="{6ECD27E6-B224-41CD-B4E0-E297462320DD}" dt="2023-11-24T09:02:33.290" v="114339"/>
          <ac:spMkLst>
            <pc:docMk/>
            <pc:sldMk cId="4099999037" sldId="2147478570"/>
            <ac:spMk id="746" creationId="{E812C58D-B264-848E-27E4-5E5A7C26E316}"/>
          </ac:spMkLst>
        </pc:spChg>
        <pc:spChg chg="add del mod">
          <ac:chgData name="Steiner Andreas 6206 ED" userId="e6377c33-a923-4f14-8587-531c474c7b48" providerId="ADAL" clId="{6ECD27E6-B224-41CD-B4E0-E297462320DD}" dt="2023-11-24T09:02:36.743" v="114494"/>
          <ac:spMkLst>
            <pc:docMk/>
            <pc:sldMk cId="4099999037" sldId="2147478570"/>
            <ac:spMk id="747" creationId="{BF49179A-8204-C7CD-33AE-834821E5D319}"/>
          </ac:spMkLst>
        </pc:spChg>
        <pc:spChg chg="add del mod">
          <ac:chgData name="Steiner Andreas 6206 ED" userId="e6377c33-a923-4f14-8587-531c474c7b48" providerId="ADAL" clId="{6ECD27E6-B224-41CD-B4E0-E297462320DD}" dt="2023-11-24T11:31:22.528" v="114649"/>
          <ac:spMkLst>
            <pc:docMk/>
            <pc:sldMk cId="4099999037" sldId="2147478570"/>
            <ac:spMk id="748" creationId="{B4D5FE6C-907A-CA33-1601-E92295F4B9FD}"/>
          </ac:spMkLst>
        </pc:spChg>
        <pc:spChg chg="add del mod">
          <ac:chgData name="Steiner Andreas 6206 ED" userId="e6377c33-a923-4f14-8587-531c474c7b48" providerId="ADAL" clId="{6ECD27E6-B224-41CD-B4E0-E297462320DD}" dt="2023-11-24T11:33:29.847" v="114804"/>
          <ac:spMkLst>
            <pc:docMk/>
            <pc:sldMk cId="4099999037" sldId="2147478570"/>
            <ac:spMk id="749" creationId="{7FEC6C36-FE9E-B80E-499A-6974E5152F0D}"/>
          </ac:spMkLst>
        </pc:spChg>
        <pc:spChg chg="add del mod">
          <ac:chgData name="Steiner Andreas 6206 ED" userId="e6377c33-a923-4f14-8587-531c474c7b48" providerId="ADAL" clId="{6ECD27E6-B224-41CD-B4E0-E297462320DD}" dt="2023-11-24T11:33:36.340" v="114959"/>
          <ac:spMkLst>
            <pc:docMk/>
            <pc:sldMk cId="4099999037" sldId="2147478570"/>
            <ac:spMk id="750" creationId="{1CAF7D04-C7D7-1E46-D1DA-6CB16D8F2036}"/>
          </ac:spMkLst>
        </pc:spChg>
        <pc:spChg chg="add del mod">
          <ac:chgData name="Steiner Andreas 6206 ED" userId="e6377c33-a923-4f14-8587-531c474c7b48" providerId="ADAL" clId="{6ECD27E6-B224-41CD-B4E0-E297462320DD}" dt="2023-11-24T11:33:39.449" v="115114"/>
          <ac:spMkLst>
            <pc:docMk/>
            <pc:sldMk cId="4099999037" sldId="2147478570"/>
            <ac:spMk id="751" creationId="{18077D0C-4E09-B5CA-0283-A0861B0AEF2F}"/>
          </ac:spMkLst>
        </pc:spChg>
        <pc:spChg chg="add del mod">
          <ac:chgData name="Steiner Andreas 6206 ED" userId="e6377c33-a923-4f14-8587-531c474c7b48" providerId="ADAL" clId="{6ECD27E6-B224-41CD-B4E0-E297462320DD}" dt="2023-11-24T11:33:43.015" v="115269"/>
          <ac:spMkLst>
            <pc:docMk/>
            <pc:sldMk cId="4099999037" sldId="2147478570"/>
            <ac:spMk id="752" creationId="{6AB3E863-6C49-2E57-242A-24DA0D895E0F}"/>
          </ac:spMkLst>
        </pc:spChg>
        <pc:spChg chg="add del mod">
          <ac:chgData name="Steiner Andreas 6206 ED" userId="e6377c33-a923-4f14-8587-531c474c7b48" providerId="ADAL" clId="{6ECD27E6-B224-41CD-B4E0-E297462320DD}" dt="2023-11-24T11:33:46.224" v="115424"/>
          <ac:spMkLst>
            <pc:docMk/>
            <pc:sldMk cId="4099999037" sldId="2147478570"/>
            <ac:spMk id="753" creationId="{46E62B13-1467-B947-1C91-C329B9ECD746}"/>
          </ac:spMkLst>
        </pc:spChg>
        <pc:spChg chg="add del mod">
          <ac:chgData name="Steiner Andreas 6206 ED" userId="e6377c33-a923-4f14-8587-531c474c7b48" providerId="ADAL" clId="{6ECD27E6-B224-41CD-B4E0-E297462320DD}" dt="2023-11-24T11:33:49.301" v="115579"/>
          <ac:spMkLst>
            <pc:docMk/>
            <pc:sldMk cId="4099999037" sldId="2147478570"/>
            <ac:spMk id="754" creationId="{5CEFDC54-1E60-32E5-4273-E35D7CD89E57}"/>
          </ac:spMkLst>
        </pc:spChg>
        <pc:spChg chg="add del mod">
          <ac:chgData name="Steiner Andreas 6206 ED" userId="e6377c33-a923-4f14-8587-531c474c7b48" providerId="ADAL" clId="{6ECD27E6-B224-41CD-B4E0-E297462320DD}" dt="2023-11-24T11:33:51.993" v="115734"/>
          <ac:spMkLst>
            <pc:docMk/>
            <pc:sldMk cId="4099999037" sldId="2147478570"/>
            <ac:spMk id="755" creationId="{4EE43357-6D91-5D48-A378-3F5FCD5490AC}"/>
          </ac:spMkLst>
        </pc:spChg>
        <pc:spChg chg="add del mod">
          <ac:chgData name="Steiner Andreas 6206 ED" userId="e6377c33-a923-4f14-8587-531c474c7b48" providerId="ADAL" clId="{6ECD27E6-B224-41CD-B4E0-E297462320DD}" dt="2023-11-24T11:33:54.834" v="115889"/>
          <ac:spMkLst>
            <pc:docMk/>
            <pc:sldMk cId="4099999037" sldId="2147478570"/>
            <ac:spMk id="756" creationId="{B6F7650E-04F6-0B9B-51B1-6BDB8064FDA6}"/>
          </ac:spMkLst>
        </pc:spChg>
        <pc:spChg chg="add del mod">
          <ac:chgData name="Steiner Andreas 6206 ED" userId="e6377c33-a923-4f14-8587-531c474c7b48" providerId="ADAL" clId="{6ECD27E6-B224-41CD-B4E0-E297462320DD}" dt="2023-11-24T11:33:57.333" v="116044"/>
          <ac:spMkLst>
            <pc:docMk/>
            <pc:sldMk cId="4099999037" sldId="2147478570"/>
            <ac:spMk id="757" creationId="{89187229-1490-A1BC-9FFC-228EE61C8B47}"/>
          </ac:spMkLst>
        </pc:spChg>
        <pc:spChg chg="add del mod">
          <ac:chgData name="Steiner Andreas 6206 ED" userId="e6377c33-a923-4f14-8587-531c474c7b48" providerId="ADAL" clId="{6ECD27E6-B224-41CD-B4E0-E297462320DD}" dt="2023-11-24T11:33:59.688" v="116199"/>
          <ac:spMkLst>
            <pc:docMk/>
            <pc:sldMk cId="4099999037" sldId="2147478570"/>
            <ac:spMk id="758" creationId="{D9105DFD-DE56-FFB3-D6EE-603B1C5E1923}"/>
          </ac:spMkLst>
        </pc:spChg>
        <pc:spChg chg="add del mod">
          <ac:chgData name="Steiner Andreas 6206 ED" userId="e6377c33-a923-4f14-8587-531c474c7b48" providerId="ADAL" clId="{6ECD27E6-B224-41CD-B4E0-E297462320DD}" dt="2023-11-24T11:34:02.036" v="116354"/>
          <ac:spMkLst>
            <pc:docMk/>
            <pc:sldMk cId="4099999037" sldId="2147478570"/>
            <ac:spMk id="759" creationId="{0F1559A7-B47C-71CC-16AF-767F8AAA7509}"/>
          </ac:spMkLst>
        </pc:spChg>
        <pc:spChg chg="add del mod">
          <ac:chgData name="Steiner Andreas 6206 ED" userId="e6377c33-a923-4f14-8587-531c474c7b48" providerId="ADAL" clId="{6ECD27E6-B224-41CD-B4E0-E297462320DD}" dt="2023-11-24T11:34:04.362" v="116509"/>
          <ac:spMkLst>
            <pc:docMk/>
            <pc:sldMk cId="4099999037" sldId="2147478570"/>
            <ac:spMk id="760" creationId="{FEE5D0CC-A88D-9CCA-B432-4DDF2CA6516A}"/>
          </ac:spMkLst>
        </pc:spChg>
        <pc:spChg chg="add del mod">
          <ac:chgData name="Steiner Andreas 6206 ED" userId="e6377c33-a923-4f14-8587-531c474c7b48" providerId="ADAL" clId="{6ECD27E6-B224-41CD-B4E0-E297462320DD}" dt="2023-11-24T11:34:06.835" v="116664"/>
          <ac:spMkLst>
            <pc:docMk/>
            <pc:sldMk cId="4099999037" sldId="2147478570"/>
            <ac:spMk id="761" creationId="{702529A4-6109-B0DE-2DF1-F297BAA3D1B2}"/>
          </ac:spMkLst>
        </pc:spChg>
        <pc:spChg chg="add del mod">
          <ac:chgData name="Steiner Andreas 6206 ED" userId="e6377c33-a923-4f14-8587-531c474c7b48" providerId="ADAL" clId="{6ECD27E6-B224-41CD-B4E0-E297462320DD}" dt="2023-11-24T11:34:09.444" v="116819"/>
          <ac:spMkLst>
            <pc:docMk/>
            <pc:sldMk cId="4099999037" sldId="2147478570"/>
            <ac:spMk id="762" creationId="{913DD6F5-7FC2-FDA7-39D1-ADC3CCE4BFBF}"/>
          </ac:spMkLst>
        </pc:spChg>
        <pc:spChg chg="add del mod">
          <ac:chgData name="Steiner Andreas 6206 ED" userId="e6377c33-a923-4f14-8587-531c474c7b48" providerId="ADAL" clId="{6ECD27E6-B224-41CD-B4E0-E297462320DD}" dt="2023-11-24T11:34:11.415" v="116974"/>
          <ac:spMkLst>
            <pc:docMk/>
            <pc:sldMk cId="4099999037" sldId="2147478570"/>
            <ac:spMk id="763" creationId="{D97D875E-98D4-5A0B-9B0E-62B28BE72BAE}"/>
          </ac:spMkLst>
        </pc:spChg>
        <pc:spChg chg="add del mod">
          <ac:chgData name="Steiner Andreas 6206 ED" userId="e6377c33-a923-4f14-8587-531c474c7b48" providerId="ADAL" clId="{6ECD27E6-B224-41CD-B4E0-E297462320DD}" dt="2023-11-24T11:34:13.181" v="117129"/>
          <ac:spMkLst>
            <pc:docMk/>
            <pc:sldMk cId="4099999037" sldId="2147478570"/>
            <ac:spMk id="764" creationId="{E3AB929C-3556-A49E-061C-BADB2C155634}"/>
          </ac:spMkLst>
        </pc:spChg>
        <pc:spChg chg="add del mod">
          <ac:chgData name="Steiner Andreas 6206 ED" userId="e6377c33-a923-4f14-8587-531c474c7b48" providerId="ADAL" clId="{6ECD27E6-B224-41CD-B4E0-E297462320DD}" dt="2023-11-24T11:34:14.976" v="117284"/>
          <ac:spMkLst>
            <pc:docMk/>
            <pc:sldMk cId="4099999037" sldId="2147478570"/>
            <ac:spMk id="765" creationId="{7E57CA66-C488-3FD0-F461-1E9BCED1E363}"/>
          </ac:spMkLst>
        </pc:spChg>
        <pc:spChg chg="add del mod">
          <ac:chgData name="Steiner Andreas 6206 ED" userId="e6377c33-a923-4f14-8587-531c474c7b48" providerId="ADAL" clId="{6ECD27E6-B224-41CD-B4E0-E297462320DD}" dt="2023-11-24T11:34:16.753" v="117439"/>
          <ac:spMkLst>
            <pc:docMk/>
            <pc:sldMk cId="4099999037" sldId="2147478570"/>
            <ac:spMk id="766" creationId="{E016ADC6-3DA2-CBD3-C08B-3030609B71F1}"/>
          </ac:spMkLst>
        </pc:spChg>
        <pc:spChg chg="add del mod">
          <ac:chgData name="Steiner Andreas 6206 ED" userId="e6377c33-a923-4f14-8587-531c474c7b48" providerId="ADAL" clId="{6ECD27E6-B224-41CD-B4E0-E297462320DD}" dt="2023-11-24T11:34:18.586" v="117594"/>
          <ac:spMkLst>
            <pc:docMk/>
            <pc:sldMk cId="4099999037" sldId="2147478570"/>
            <ac:spMk id="767" creationId="{18CF6344-60E2-5BE7-33DC-303BFF00D429}"/>
          </ac:spMkLst>
        </pc:spChg>
        <pc:spChg chg="add del mod">
          <ac:chgData name="Steiner Andreas 6206 ED" userId="e6377c33-a923-4f14-8587-531c474c7b48" providerId="ADAL" clId="{6ECD27E6-B224-41CD-B4E0-E297462320DD}" dt="2023-11-24T11:34:20.687" v="117749"/>
          <ac:spMkLst>
            <pc:docMk/>
            <pc:sldMk cId="4099999037" sldId="2147478570"/>
            <ac:spMk id="768" creationId="{0A71EE9F-887E-F059-7E71-74210B47CF79}"/>
          </ac:spMkLst>
        </pc:spChg>
        <pc:spChg chg="add del mod">
          <ac:chgData name="Steiner Andreas 6206 ED" userId="e6377c33-a923-4f14-8587-531c474c7b48" providerId="ADAL" clId="{6ECD27E6-B224-41CD-B4E0-E297462320DD}" dt="2023-11-24T11:34:22.614" v="117904"/>
          <ac:spMkLst>
            <pc:docMk/>
            <pc:sldMk cId="4099999037" sldId="2147478570"/>
            <ac:spMk id="769" creationId="{530F3E17-8CBE-970B-D198-0724E7B93D9A}"/>
          </ac:spMkLst>
        </pc:spChg>
        <pc:spChg chg="add del mod">
          <ac:chgData name="Steiner Andreas 6206 ED" userId="e6377c33-a923-4f14-8587-531c474c7b48" providerId="ADAL" clId="{6ECD27E6-B224-41CD-B4E0-E297462320DD}" dt="2023-11-24T11:34:24.728" v="118059"/>
          <ac:spMkLst>
            <pc:docMk/>
            <pc:sldMk cId="4099999037" sldId="2147478570"/>
            <ac:spMk id="770" creationId="{912D27BC-B5C1-6117-440B-223BB02B0DF4}"/>
          </ac:spMkLst>
        </pc:spChg>
        <pc:spChg chg="add del mod">
          <ac:chgData name="Steiner Andreas 6206 ED" userId="e6377c33-a923-4f14-8587-531c474c7b48" providerId="ADAL" clId="{6ECD27E6-B224-41CD-B4E0-E297462320DD}" dt="2023-11-24T11:34:27.261" v="118214"/>
          <ac:spMkLst>
            <pc:docMk/>
            <pc:sldMk cId="4099999037" sldId="2147478570"/>
            <ac:spMk id="771" creationId="{FBD1E532-A420-8783-AA6F-1174E830B832}"/>
          </ac:spMkLst>
        </pc:spChg>
        <pc:spChg chg="add del mod">
          <ac:chgData name="Steiner Andreas 6206 ED" userId="e6377c33-a923-4f14-8587-531c474c7b48" providerId="ADAL" clId="{6ECD27E6-B224-41CD-B4E0-E297462320DD}" dt="2023-11-24T11:34:29.334" v="118369"/>
          <ac:spMkLst>
            <pc:docMk/>
            <pc:sldMk cId="4099999037" sldId="2147478570"/>
            <ac:spMk id="772" creationId="{D5D87B0F-0D56-F1B6-B06C-FBE64E77BE46}"/>
          </ac:spMkLst>
        </pc:spChg>
        <pc:spChg chg="add del mod">
          <ac:chgData name="Steiner Andreas 6206 ED" userId="e6377c33-a923-4f14-8587-531c474c7b48" providerId="ADAL" clId="{6ECD27E6-B224-41CD-B4E0-E297462320DD}" dt="2023-11-24T11:34:31.603" v="118524"/>
          <ac:spMkLst>
            <pc:docMk/>
            <pc:sldMk cId="4099999037" sldId="2147478570"/>
            <ac:spMk id="773" creationId="{1F816EC7-1B65-7647-1D65-BE9FB6E3E872}"/>
          </ac:spMkLst>
        </pc:spChg>
        <pc:spChg chg="add del mod">
          <ac:chgData name="Steiner Andreas 6206 ED" userId="e6377c33-a923-4f14-8587-531c474c7b48" providerId="ADAL" clId="{6ECD27E6-B224-41CD-B4E0-E297462320DD}" dt="2023-11-24T11:34:33.581" v="118679"/>
          <ac:spMkLst>
            <pc:docMk/>
            <pc:sldMk cId="4099999037" sldId="2147478570"/>
            <ac:spMk id="774" creationId="{A2DCAB56-FDC4-BF2C-AF68-3E8BF4DB741A}"/>
          </ac:spMkLst>
        </pc:spChg>
        <pc:spChg chg="add del mod">
          <ac:chgData name="Steiner Andreas 6206 ED" userId="e6377c33-a923-4f14-8587-531c474c7b48" providerId="ADAL" clId="{6ECD27E6-B224-41CD-B4E0-E297462320DD}" dt="2023-11-24T11:34:35.559" v="118834"/>
          <ac:spMkLst>
            <pc:docMk/>
            <pc:sldMk cId="4099999037" sldId="2147478570"/>
            <ac:spMk id="775" creationId="{8FD2A62C-EAAE-169C-D575-68B2B54293A1}"/>
          </ac:spMkLst>
        </pc:spChg>
        <pc:spChg chg="add del mod">
          <ac:chgData name="Steiner Andreas 6206 ED" userId="e6377c33-a923-4f14-8587-531c474c7b48" providerId="ADAL" clId="{6ECD27E6-B224-41CD-B4E0-E297462320DD}" dt="2023-11-24T11:34:37.663" v="118989"/>
          <ac:spMkLst>
            <pc:docMk/>
            <pc:sldMk cId="4099999037" sldId="2147478570"/>
            <ac:spMk id="776" creationId="{0CC99575-A263-6D86-1560-9883B5946DAF}"/>
          </ac:spMkLst>
        </pc:spChg>
        <pc:spChg chg="add del mod">
          <ac:chgData name="Steiner Andreas 6206 ED" userId="e6377c33-a923-4f14-8587-531c474c7b48" providerId="ADAL" clId="{6ECD27E6-B224-41CD-B4E0-E297462320DD}" dt="2023-11-24T11:34:39.611" v="119144"/>
          <ac:spMkLst>
            <pc:docMk/>
            <pc:sldMk cId="4099999037" sldId="2147478570"/>
            <ac:spMk id="777" creationId="{DFC1CB29-3F0C-C40C-B0C6-3F379D2E47D8}"/>
          </ac:spMkLst>
        </pc:spChg>
        <pc:spChg chg="add del mod">
          <ac:chgData name="Steiner Andreas 6206 ED" userId="e6377c33-a923-4f14-8587-531c474c7b48" providerId="ADAL" clId="{6ECD27E6-B224-41CD-B4E0-E297462320DD}" dt="2023-11-24T11:34:41.751" v="119299"/>
          <ac:spMkLst>
            <pc:docMk/>
            <pc:sldMk cId="4099999037" sldId="2147478570"/>
            <ac:spMk id="778" creationId="{31F49566-5EF2-DE25-4B3A-E30796D661E0}"/>
          </ac:spMkLst>
        </pc:spChg>
        <pc:spChg chg="add del mod">
          <ac:chgData name="Steiner Andreas 6206 ED" userId="e6377c33-a923-4f14-8587-531c474c7b48" providerId="ADAL" clId="{6ECD27E6-B224-41CD-B4E0-E297462320DD}" dt="2023-11-24T11:34:43.929" v="119454"/>
          <ac:spMkLst>
            <pc:docMk/>
            <pc:sldMk cId="4099999037" sldId="2147478570"/>
            <ac:spMk id="779" creationId="{0081B4A6-C70E-E012-122A-DD20C7E719B0}"/>
          </ac:spMkLst>
        </pc:spChg>
        <pc:spChg chg="add del mod">
          <ac:chgData name="Steiner Andreas 6206 ED" userId="e6377c33-a923-4f14-8587-531c474c7b48" providerId="ADAL" clId="{6ECD27E6-B224-41CD-B4E0-E297462320DD}" dt="2023-11-24T11:34:45.934" v="119609"/>
          <ac:spMkLst>
            <pc:docMk/>
            <pc:sldMk cId="4099999037" sldId="2147478570"/>
            <ac:spMk id="780" creationId="{B2D9A705-05DC-4E53-DEDC-A5B7DE3AECEF}"/>
          </ac:spMkLst>
        </pc:spChg>
        <pc:spChg chg="add del mod">
          <ac:chgData name="Steiner Andreas 6206 ED" userId="e6377c33-a923-4f14-8587-531c474c7b48" providerId="ADAL" clId="{6ECD27E6-B224-41CD-B4E0-E297462320DD}" dt="2023-11-24T11:34:47.860" v="119764"/>
          <ac:spMkLst>
            <pc:docMk/>
            <pc:sldMk cId="4099999037" sldId="2147478570"/>
            <ac:spMk id="781" creationId="{8E4FAA1F-F18B-A1EA-CEE7-B405CA9AAD90}"/>
          </ac:spMkLst>
        </pc:spChg>
        <pc:spChg chg="add del mod">
          <ac:chgData name="Steiner Andreas 6206 ED" userId="e6377c33-a923-4f14-8587-531c474c7b48" providerId="ADAL" clId="{6ECD27E6-B224-41CD-B4E0-E297462320DD}" dt="2023-11-24T11:34:50.049" v="119919"/>
          <ac:spMkLst>
            <pc:docMk/>
            <pc:sldMk cId="4099999037" sldId="2147478570"/>
            <ac:spMk id="782" creationId="{51CBD3E7-4E39-7625-29E5-3E3ECB20EA2D}"/>
          </ac:spMkLst>
        </pc:spChg>
        <pc:spChg chg="add del mod">
          <ac:chgData name="Steiner Andreas 6206 ED" userId="e6377c33-a923-4f14-8587-531c474c7b48" providerId="ADAL" clId="{6ECD27E6-B224-41CD-B4E0-E297462320DD}" dt="2023-11-24T11:34:52.115" v="120074"/>
          <ac:spMkLst>
            <pc:docMk/>
            <pc:sldMk cId="4099999037" sldId="2147478570"/>
            <ac:spMk id="783" creationId="{ABBCE0F1-834A-9550-1AD0-DD2EFF4E4A70}"/>
          </ac:spMkLst>
        </pc:spChg>
        <pc:spChg chg="add del mod">
          <ac:chgData name="Steiner Andreas 6206 ED" userId="e6377c33-a923-4f14-8587-531c474c7b48" providerId="ADAL" clId="{6ECD27E6-B224-41CD-B4E0-E297462320DD}" dt="2023-11-24T11:34:54.105" v="120229"/>
          <ac:spMkLst>
            <pc:docMk/>
            <pc:sldMk cId="4099999037" sldId="2147478570"/>
            <ac:spMk id="784" creationId="{7E3CEA88-8B28-C021-1202-DD819D1DF9AF}"/>
          </ac:spMkLst>
        </pc:spChg>
        <pc:spChg chg="add del mod">
          <ac:chgData name="Steiner Andreas 6206 ED" userId="e6377c33-a923-4f14-8587-531c474c7b48" providerId="ADAL" clId="{6ECD27E6-B224-41CD-B4E0-E297462320DD}" dt="2023-11-24T11:34:55.972" v="120384"/>
          <ac:spMkLst>
            <pc:docMk/>
            <pc:sldMk cId="4099999037" sldId="2147478570"/>
            <ac:spMk id="785" creationId="{EBFC4E29-677B-0DAC-9A0F-B637E9B5E873}"/>
          </ac:spMkLst>
        </pc:spChg>
        <pc:spChg chg="add del mod">
          <ac:chgData name="Steiner Andreas 6206 ED" userId="e6377c33-a923-4f14-8587-531c474c7b48" providerId="ADAL" clId="{6ECD27E6-B224-41CD-B4E0-E297462320DD}" dt="2023-11-24T11:34:57.787" v="120539"/>
          <ac:spMkLst>
            <pc:docMk/>
            <pc:sldMk cId="4099999037" sldId="2147478570"/>
            <ac:spMk id="786" creationId="{72F71E8A-7055-9D45-AF92-C27BC8400CC4}"/>
          </ac:spMkLst>
        </pc:spChg>
        <pc:spChg chg="add del mod">
          <ac:chgData name="Steiner Andreas 6206 ED" userId="e6377c33-a923-4f14-8587-531c474c7b48" providerId="ADAL" clId="{6ECD27E6-B224-41CD-B4E0-E297462320DD}" dt="2023-11-24T11:34:59.659" v="120694"/>
          <ac:spMkLst>
            <pc:docMk/>
            <pc:sldMk cId="4099999037" sldId="2147478570"/>
            <ac:spMk id="787" creationId="{DFF2A3FD-2C8E-2DCE-EF70-60895728AB86}"/>
          </ac:spMkLst>
        </pc:spChg>
        <pc:spChg chg="add del mod">
          <ac:chgData name="Steiner Andreas 6206 ED" userId="e6377c33-a923-4f14-8587-531c474c7b48" providerId="ADAL" clId="{6ECD27E6-B224-41CD-B4E0-E297462320DD}" dt="2023-11-24T11:35:01.499" v="120849"/>
          <ac:spMkLst>
            <pc:docMk/>
            <pc:sldMk cId="4099999037" sldId="2147478570"/>
            <ac:spMk id="788" creationId="{4EFF5C60-D4D8-2655-404F-6396A6243DD8}"/>
          </ac:spMkLst>
        </pc:spChg>
        <pc:spChg chg="add del mod">
          <ac:chgData name="Steiner Andreas 6206 ED" userId="e6377c33-a923-4f14-8587-531c474c7b48" providerId="ADAL" clId="{6ECD27E6-B224-41CD-B4E0-E297462320DD}" dt="2023-11-24T11:35:03.365" v="121004"/>
          <ac:spMkLst>
            <pc:docMk/>
            <pc:sldMk cId="4099999037" sldId="2147478570"/>
            <ac:spMk id="789" creationId="{28892EED-F38A-00AE-16CD-486EA451A8F3}"/>
          </ac:spMkLst>
        </pc:spChg>
        <pc:spChg chg="add del mod">
          <ac:chgData name="Steiner Andreas 6206 ED" userId="e6377c33-a923-4f14-8587-531c474c7b48" providerId="ADAL" clId="{6ECD27E6-B224-41CD-B4E0-E297462320DD}" dt="2023-11-24T11:35:05.267" v="121159"/>
          <ac:spMkLst>
            <pc:docMk/>
            <pc:sldMk cId="4099999037" sldId="2147478570"/>
            <ac:spMk id="790" creationId="{EF1EBAB8-B6EA-79DB-A2FA-1B6919F63757}"/>
          </ac:spMkLst>
        </pc:spChg>
        <pc:spChg chg="add del mod">
          <ac:chgData name="Steiner Andreas 6206 ED" userId="e6377c33-a923-4f14-8587-531c474c7b48" providerId="ADAL" clId="{6ECD27E6-B224-41CD-B4E0-E297462320DD}" dt="2023-11-24T11:35:07.395" v="121314"/>
          <ac:spMkLst>
            <pc:docMk/>
            <pc:sldMk cId="4099999037" sldId="2147478570"/>
            <ac:spMk id="791" creationId="{6F105F08-5E4C-9755-283E-329873A46100}"/>
          </ac:spMkLst>
        </pc:spChg>
        <pc:spChg chg="add del mod">
          <ac:chgData name="Steiner Andreas 6206 ED" userId="e6377c33-a923-4f14-8587-531c474c7b48" providerId="ADAL" clId="{6ECD27E6-B224-41CD-B4E0-E297462320DD}" dt="2023-11-24T11:35:09.433" v="121469"/>
          <ac:spMkLst>
            <pc:docMk/>
            <pc:sldMk cId="4099999037" sldId="2147478570"/>
            <ac:spMk id="792" creationId="{F0D44EC0-0E4B-6380-9580-37682370B7BD}"/>
          </ac:spMkLst>
        </pc:spChg>
        <pc:spChg chg="add del mod">
          <ac:chgData name="Steiner Andreas 6206 ED" userId="e6377c33-a923-4f14-8587-531c474c7b48" providerId="ADAL" clId="{6ECD27E6-B224-41CD-B4E0-E297462320DD}" dt="2023-11-24T11:35:11.384" v="121624"/>
          <ac:spMkLst>
            <pc:docMk/>
            <pc:sldMk cId="4099999037" sldId="2147478570"/>
            <ac:spMk id="793" creationId="{9B00EEA6-56C8-98A5-EDA8-607BB7C23FDD}"/>
          </ac:spMkLst>
        </pc:spChg>
        <pc:spChg chg="add del mod">
          <ac:chgData name="Steiner Andreas 6206 ED" userId="e6377c33-a923-4f14-8587-531c474c7b48" providerId="ADAL" clId="{6ECD27E6-B224-41CD-B4E0-E297462320DD}" dt="2023-11-24T11:35:13.129" v="121779"/>
          <ac:spMkLst>
            <pc:docMk/>
            <pc:sldMk cId="4099999037" sldId="2147478570"/>
            <ac:spMk id="794" creationId="{2393EA3E-CB28-5C45-2353-FB230BB67BE2}"/>
          </ac:spMkLst>
        </pc:spChg>
        <pc:spChg chg="add del mod">
          <ac:chgData name="Steiner Andreas 6206 ED" userId="e6377c33-a923-4f14-8587-531c474c7b48" providerId="ADAL" clId="{6ECD27E6-B224-41CD-B4E0-E297462320DD}" dt="2023-11-24T11:35:15.073" v="121934"/>
          <ac:spMkLst>
            <pc:docMk/>
            <pc:sldMk cId="4099999037" sldId="2147478570"/>
            <ac:spMk id="795" creationId="{647A815C-1A91-5058-CBC2-D0D5A07A5DF3}"/>
          </ac:spMkLst>
        </pc:spChg>
        <pc:spChg chg="add del mod">
          <ac:chgData name="Steiner Andreas 6206 ED" userId="e6377c33-a923-4f14-8587-531c474c7b48" providerId="ADAL" clId="{6ECD27E6-B224-41CD-B4E0-E297462320DD}" dt="2023-11-24T11:35:16.753" v="122089"/>
          <ac:spMkLst>
            <pc:docMk/>
            <pc:sldMk cId="4099999037" sldId="2147478570"/>
            <ac:spMk id="796" creationId="{6CC41A1E-BD76-8F98-9E41-26DF0265DC3C}"/>
          </ac:spMkLst>
        </pc:spChg>
        <pc:spChg chg="add del mod">
          <ac:chgData name="Steiner Andreas 6206 ED" userId="e6377c33-a923-4f14-8587-531c474c7b48" providerId="ADAL" clId="{6ECD27E6-B224-41CD-B4E0-E297462320DD}" dt="2023-11-24T11:35:18.460" v="122244"/>
          <ac:spMkLst>
            <pc:docMk/>
            <pc:sldMk cId="4099999037" sldId="2147478570"/>
            <ac:spMk id="797" creationId="{1380C709-7E94-E87F-A1F3-86EF895A762B}"/>
          </ac:spMkLst>
        </pc:spChg>
        <pc:spChg chg="add del mod">
          <ac:chgData name="Steiner Andreas 6206 ED" userId="e6377c33-a923-4f14-8587-531c474c7b48" providerId="ADAL" clId="{6ECD27E6-B224-41CD-B4E0-E297462320DD}" dt="2023-11-24T11:35:20.086" v="122399"/>
          <ac:spMkLst>
            <pc:docMk/>
            <pc:sldMk cId="4099999037" sldId="2147478570"/>
            <ac:spMk id="798" creationId="{940B3BA3-9C44-73CA-CDF6-CF8467E014D4}"/>
          </ac:spMkLst>
        </pc:spChg>
        <pc:spChg chg="add del mod">
          <ac:chgData name="Steiner Andreas 6206 ED" userId="e6377c33-a923-4f14-8587-531c474c7b48" providerId="ADAL" clId="{6ECD27E6-B224-41CD-B4E0-E297462320DD}" dt="2023-11-24T11:35:21.711" v="122554"/>
          <ac:spMkLst>
            <pc:docMk/>
            <pc:sldMk cId="4099999037" sldId="2147478570"/>
            <ac:spMk id="799" creationId="{A13DB81F-21D3-805C-F623-AA858006C174}"/>
          </ac:spMkLst>
        </pc:spChg>
        <pc:spChg chg="add del mod">
          <ac:chgData name="Steiner Andreas 6206 ED" userId="e6377c33-a923-4f14-8587-531c474c7b48" providerId="ADAL" clId="{6ECD27E6-B224-41CD-B4E0-E297462320DD}" dt="2023-11-24T11:35:23.417" v="122709"/>
          <ac:spMkLst>
            <pc:docMk/>
            <pc:sldMk cId="4099999037" sldId="2147478570"/>
            <ac:spMk id="800" creationId="{FFB5B15A-37F8-F349-9261-A3539F4F106D}"/>
          </ac:spMkLst>
        </pc:spChg>
        <pc:spChg chg="add del mod">
          <ac:chgData name="Steiner Andreas 6206 ED" userId="e6377c33-a923-4f14-8587-531c474c7b48" providerId="ADAL" clId="{6ECD27E6-B224-41CD-B4E0-E297462320DD}" dt="2023-11-24T11:35:25.462" v="122864"/>
          <ac:spMkLst>
            <pc:docMk/>
            <pc:sldMk cId="4099999037" sldId="2147478570"/>
            <ac:spMk id="801" creationId="{A1CDEF19-6235-0594-9161-A453906ECC91}"/>
          </ac:spMkLst>
        </pc:spChg>
        <pc:spChg chg="add del mod">
          <ac:chgData name="Steiner Andreas 6206 ED" userId="e6377c33-a923-4f14-8587-531c474c7b48" providerId="ADAL" clId="{6ECD27E6-B224-41CD-B4E0-E297462320DD}" dt="2023-11-24T11:35:27.479" v="123019"/>
          <ac:spMkLst>
            <pc:docMk/>
            <pc:sldMk cId="4099999037" sldId="2147478570"/>
            <ac:spMk id="802" creationId="{E3284E1C-A770-65BB-1D57-15F55BB4BA81}"/>
          </ac:spMkLst>
        </pc:spChg>
        <pc:spChg chg="add del mod">
          <ac:chgData name="Steiner Andreas 6206 ED" userId="e6377c33-a923-4f14-8587-531c474c7b48" providerId="ADAL" clId="{6ECD27E6-B224-41CD-B4E0-E297462320DD}" dt="2023-11-24T11:35:29.363" v="123174"/>
          <ac:spMkLst>
            <pc:docMk/>
            <pc:sldMk cId="4099999037" sldId="2147478570"/>
            <ac:spMk id="803" creationId="{F4E94B9C-962B-544E-FB71-F66BFE751916}"/>
          </ac:spMkLst>
        </pc:spChg>
        <pc:spChg chg="add del mod">
          <ac:chgData name="Steiner Andreas 6206 ED" userId="e6377c33-a923-4f14-8587-531c474c7b48" providerId="ADAL" clId="{6ECD27E6-B224-41CD-B4E0-E297462320DD}" dt="2023-11-24T11:35:31.099" v="123329"/>
          <ac:spMkLst>
            <pc:docMk/>
            <pc:sldMk cId="4099999037" sldId="2147478570"/>
            <ac:spMk id="804" creationId="{FB570D71-AE7A-0B6C-C022-FCA70CE4CE13}"/>
          </ac:spMkLst>
        </pc:spChg>
        <pc:spChg chg="add del mod">
          <ac:chgData name="Steiner Andreas 6206 ED" userId="e6377c33-a923-4f14-8587-531c474c7b48" providerId="ADAL" clId="{6ECD27E6-B224-41CD-B4E0-E297462320DD}" dt="2023-11-24T11:35:34.024" v="123484"/>
          <ac:spMkLst>
            <pc:docMk/>
            <pc:sldMk cId="4099999037" sldId="2147478570"/>
            <ac:spMk id="805" creationId="{BD1372A3-085A-B198-0D9A-9E82761E8454}"/>
          </ac:spMkLst>
        </pc:spChg>
        <pc:spChg chg="add del mod">
          <ac:chgData name="Steiner Andreas 6206 ED" userId="e6377c33-a923-4f14-8587-531c474c7b48" providerId="ADAL" clId="{6ECD27E6-B224-41CD-B4E0-E297462320DD}" dt="2023-11-24T11:35:35.831" v="123639"/>
          <ac:spMkLst>
            <pc:docMk/>
            <pc:sldMk cId="4099999037" sldId="2147478570"/>
            <ac:spMk id="806" creationId="{3171E276-3F06-9890-49FC-71871CDBFF46}"/>
          </ac:spMkLst>
        </pc:spChg>
        <pc:spChg chg="add del mod">
          <ac:chgData name="Steiner Andreas 6206 ED" userId="e6377c33-a923-4f14-8587-531c474c7b48" providerId="ADAL" clId="{6ECD27E6-B224-41CD-B4E0-E297462320DD}" dt="2023-11-24T11:35:37.509" v="123794"/>
          <ac:spMkLst>
            <pc:docMk/>
            <pc:sldMk cId="4099999037" sldId="2147478570"/>
            <ac:spMk id="807" creationId="{C1AC1736-01CB-8289-49FD-510A991ABF9C}"/>
          </ac:spMkLst>
        </pc:spChg>
        <pc:spChg chg="add del mod">
          <ac:chgData name="Steiner Andreas 6206 ED" userId="e6377c33-a923-4f14-8587-531c474c7b48" providerId="ADAL" clId="{6ECD27E6-B224-41CD-B4E0-E297462320DD}" dt="2023-11-24T11:35:39.156" v="123949"/>
          <ac:spMkLst>
            <pc:docMk/>
            <pc:sldMk cId="4099999037" sldId="2147478570"/>
            <ac:spMk id="808" creationId="{C58E2070-A749-1D73-CBE4-7A6CCD8ABAEE}"/>
          </ac:spMkLst>
        </pc:spChg>
        <pc:spChg chg="add del mod">
          <ac:chgData name="Steiner Andreas 6206 ED" userId="e6377c33-a923-4f14-8587-531c474c7b48" providerId="ADAL" clId="{6ECD27E6-B224-41CD-B4E0-E297462320DD}" dt="2023-11-24T11:35:40.868" v="124104"/>
          <ac:spMkLst>
            <pc:docMk/>
            <pc:sldMk cId="4099999037" sldId="2147478570"/>
            <ac:spMk id="809" creationId="{C0E04435-979B-9C95-849B-F10F56F24C61}"/>
          </ac:spMkLst>
        </pc:spChg>
        <pc:spChg chg="add del mod">
          <ac:chgData name="Steiner Andreas 6206 ED" userId="e6377c33-a923-4f14-8587-531c474c7b48" providerId="ADAL" clId="{6ECD27E6-B224-41CD-B4E0-E297462320DD}" dt="2023-11-24T11:35:42.459" v="124259"/>
          <ac:spMkLst>
            <pc:docMk/>
            <pc:sldMk cId="4099999037" sldId="2147478570"/>
            <ac:spMk id="810" creationId="{DB1B4AE3-76BC-BA2F-4240-9F1C7E4C6297}"/>
          </ac:spMkLst>
        </pc:spChg>
        <pc:spChg chg="add del mod">
          <ac:chgData name="Steiner Andreas 6206 ED" userId="e6377c33-a923-4f14-8587-531c474c7b48" providerId="ADAL" clId="{6ECD27E6-B224-41CD-B4E0-E297462320DD}" dt="2023-11-24T11:35:44.148" v="124414"/>
          <ac:spMkLst>
            <pc:docMk/>
            <pc:sldMk cId="4099999037" sldId="2147478570"/>
            <ac:spMk id="811" creationId="{A6733DD7-A85D-13DA-4932-F3BB3FA67185}"/>
          </ac:spMkLst>
        </pc:spChg>
        <pc:spChg chg="add del mod">
          <ac:chgData name="Steiner Andreas 6206 ED" userId="e6377c33-a923-4f14-8587-531c474c7b48" providerId="ADAL" clId="{6ECD27E6-B224-41CD-B4E0-E297462320DD}" dt="2023-11-24T11:35:45.790" v="124569"/>
          <ac:spMkLst>
            <pc:docMk/>
            <pc:sldMk cId="4099999037" sldId="2147478570"/>
            <ac:spMk id="812" creationId="{DE351EDC-A7A4-8C92-160C-001FD06972CD}"/>
          </ac:spMkLst>
        </pc:spChg>
        <pc:spChg chg="add del mod">
          <ac:chgData name="Steiner Andreas 6206 ED" userId="e6377c33-a923-4f14-8587-531c474c7b48" providerId="ADAL" clId="{6ECD27E6-B224-41CD-B4E0-E297462320DD}" dt="2023-11-24T11:35:47.500" v="124724"/>
          <ac:spMkLst>
            <pc:docMk/>
            <pc:sldMk cId="4099999037" sldId="2147478570"/>
            <ac:spMk id="813" creationId="{7F0A7D50-B617-FBE3-C9FD-9111F61696B6}"/>
          </ac:spMkLst>
        </pc:spChg>
        <pc:spChg chg="add del mod">
          <ac:chgData name="Steiner Andreas 6206 ED" userId="e6377c33-a923-4f14-8587-531c474c7b48" providerId="ADAL" clId="{6ECD27E6-B224-41CD-B4E0-E297462320DD}" dt="2023-11-24T11:35:49.281" v="124879"/>
          <ac:spMkLst>
            <pc:docMk/>
            <pc:sldMk cId="4099999037" sldId="2147478570"/>
            <ac:spMk id="814" creationId="{72B76C05-C9FC-2F47-25EE-8997AE58BAE8}"/>
          </ac:spMkLst>
        </pc:spChg>
        <pc:spChg chg="add del mod">
          <ac:chgData name="Steiner Andreas 6206 ED" userId="e6377c33-a923-4f14-8587-531c474c7b48" providerId="ADAL" clId="{6ECD27E6-B224-41CD-B4E0-E297462320DD}" dt="2023-11-24T11:35:51.195" v="125034"/>
          <ac:spMkLst>
            <pc:docMk/>
            <pc:sldMk cId="4099999037" sldId="2147478570"/>
            <ac:spMk id="815" creationId="{72F68343-D4E1-D2CD-53AA-D1F0074DE393}"/>
          </ac:spMkLst>
        </pc:spChg>
        <pc:spChg chg="add del mod">
          <ac:chgData name="Steiner Andreas 6206 ED" userId="e6377c33-a923-4f14-8587-531c474c7b48" providerId="ADAL" clId="{6ECD27E6-B224-41CD-B4E0-E297462320DD}" dt="2023-11-24T11:35:52.917" v="125189"/>
          <ac:spMkLst>
            <pc:docMk/>
            <pc:sldMk cId="4099999037" sldId="2147478570"/>
            <ac:spMk id="816" creationId="{B38ABA94-39FA-CC72-040B-06ACBBB0889F}"/>
          </ac:spMkLst>
        </pc:spChg>
        <pc:spChg chg="add del mod">
          <ac:chgData name="Steiner Andreas 6206 ED" userId="e6377c33-a923-4f14-8587-531c474c7b48" providerId="ADAL" clId="{6ECD27E6-B224-41CD-B4E0-E297462320DD}" dt="2023-11-24T11:35:54.929" v="125344"/>
          <ac:spMkLst>
            <pc:docMk/>
            <pc:sldMk cId="4099999037" sldId="2147478570"/>
            <ac:spMk id="817" creationId="{3AAB47C3-CC47-DFCF-6BBD-8D9438B7CBEE}"/>
          </ac:spMkLst>
        </pc:spChg>
        <pc:spChg chg="add del mod">
          <ac:chgData name="Steiner Andreas 6206 ED" userId="e6377c33-a923-4f14-8587-531c474c7b48" providerId="ADAL" clId="{6ECD27E6-B224-41CD-B4E0-E297462320DD}" dt="2023-11-24T11:35:57.115" v="125499"/>
          <ac:spMkLst>
            <pc:docMk/>
            <pc:sldMk cId="4099999037" sldId="2147478570"/>
            <ac:spMk id="818" creationId="{2EA3C216-230F-A516-4B8F-95E2A09DCFBE}"/>
          </ac:spMkLst>
        </pc:spChg>
        <pc:spChg chg="add del mod">
          <ac:chgData name="Steiner Andreas 6206 ED" userId="e6377c33-a923-4f14-8587-531c474c7b48" providerId="ADAL" clId="{6ECD27E6-B224-41CD-B4E0-E297462320DD}" dt="2023-11-24T11:35:58.890" v="125654"/>
          <ac:spMkLst>
            <pc:docMk/>
            <pc:sldMk cId="4099999037" sldId="2147478570"/>
            <ac:spMk id="819" creationId="{9B093136-1B55-C275-CF8E-3F1C68E08194}"/>
          </ac:spMkLst>
        </pc:spChg>
        <pc:spChg chg="add del mod">
          <ac:chgData name="Steiner Andreas 6206 ED" userId="e6377c33-a923-4f14-8587-531c474c7b48" providerId="ADAL" clId="{6ECD27E6-B224-41CD-B4E0-E297462320DD}" dt="2023-11-24T11:36:00.626" v="125809"/>
          <ac:spMkLst>
            <pc:docMk/>
            <pc:sldMk cId="4099999037" sldId="2147478570"/>
            <ac:spMk id="820" creationId="{EE11EC66-26E6-3779-01AA-B8C98838B441}"/>
          </ac:spMkLst>
        </pc:spChg>
        <pc:spChg chg="add del mod">
          <ac:chgData name="Steiner Andreas 6206 ED" userId="e6377c33-a923-4f14-8587-531c474c7b48" providerId="ADAL" clId="{6ECD27E6-B224-41CD-B4E0-E297462320DD}" dt="2023-11-24T11:36:02.358" v="125964"/>
          <ac:spMkLst>
            <pc:docMk/>
            <pc:sldMk cId="4099999037" sldId="2147478570"/>
            <ac:spMk id="821" creationId="{FAB0E584-9C03-9912-42E8-B3C237C9E48A}"/>
          </ac:spMkLst>
        </pc:spChg>
        <pc:spChg chg="add del mod">
          <ac:chgData name="Steiner Andreas 6206 ED" userId="e6377c33-a923-4f14-8587-531c474c7b48" providerId="ADAL" clId="{6ECD27E6-B224-41CD-B4E0-E297462320DD}" dt="2023-11-24T11:36:04.108" v="126119"/>
          <ac:spMkLst>
            <pc:docMk/>
            <pc:sldMk cId="4099999037" sldId="2147478570"/>
            <ac:spMk id="822" creationId="{EAECE2E8-07E0-AAAB-19C1-759032CD1F25}"/>
          </ac:spMkLst>
        </pc:spChg>
        <pc:spChg chg="add del mod">
          <ac:chgData name="Steiner Andreas 6206 ED" userId="e6377c33-a923-4f14-8587-531c474c7b48" providerId="ADAL" clId="{6ECD27E6-B224-41CD-B4E0-E297462320DD}" dt="2023-11-24T11:36:05.884" v="126274"/>
          <ac:spMkLst>
            <pc:docMk/>
            <pc:sldMk cId="4099999037" sldId="2147478570"/>
            <ac:spMk id="823" creationId="{7CECFAD5-5DA2-BCA6-62C1-3DE7DF0E8081}"/>
          </ac:spMkLst>
        </pc:spChg>
        <pc:spChg chg="add del mod">
          <ac:chgData name="Steiner Andreas 6206 ED" userId="e6377c33-a923-4f14-8587-531c474c7b48" providerId="ADAL" clId="{6ECD27E6-B224-41CD-B4E0-E297462320DD}" dt="2023-11-24T11:36:07.573" v="126429"/>
          <ac:spMkLst>
            <pc:docMk/>
            <pc:sldMk cId="4099999037" sldId="2147478570"/>
            <ac:spMk id="824" creationId="{AC5C3C8B-A2BE-E509-9C0E-CAA9B250E6E9}"/>
          </ac:spMkLst>
        </pc:spChg>
        <pc:spChg chg="add del mod">
          <ac:chgData name="Steiner Andreas 6206 ED" userId="e6377c33-a923-4f14-8587-531c474c7b48" providerId="ADAL" clId="{6ECD27E6-B224-41CD-B4E0-E297462320DD}" dt="2023-11-24T11:36:09.415" v="126584"/>
          <ac:spMkLst>
            <pc:docMk/>
            <pc:sldMk cId="4099999037" sldId="2147478570"/>
            <ac:spMk id="825" creationId="{63C1D186-04E7-7B07-22D1-9D4B09B1E0BD}"/>
          </ac:spMkLst>
        </pc:spChg>
        <pc:spChg chg="add del mod">
          <ac:chgData name="Steiner Andreas 6206 ED" userId="e6377c33-a923-4f14-8587-531c474c7b48" providerId="ADAL" clId="{6ECD27E6-B224-41CD-B4E0-E297462320DD}" dt="2023-11-24T11:36:11.225" v="126739"/>
          <ac:spMkLst>
            <pc:docMk/>
            <pc:sldMk cId="4099999037" sldId="2147478570"/>
            <ac:spMk id="826" creationId="{5BA283A5-524E-99D2-00AC-496A9EBB0FEF}"/>
          </ac:spMkLst>
        </pc:spChg>
        <pc:spChg chg="add del mod">
          <ac:chgData name="Steiner Andreas 6206 ED" userId="e6377c33-a923-4f14-8587-531c474c7b48" providerId="ADAL" clId="{6ECD27E6-B224-41CD-B4E0-E297462320DD}" dt="2023-11-24T11:36:13.131" v="126894"/>
          <ac:spMkLst>
            <pc:docMk/>
            <pc:sldMk cId="4099999037" sldId="2147478570"/>
            <ac:spMk id="827" creationId="{940FED82-81C3-4988-8B3B-996CADF88FD5}"/>
          </ac:spMkLst>
        </pc:spChg>
        <pc:spChg chg="add del mod">
          <ac:chgData name="Steiner Andreas 6206 ED" userId="e6377c33-a923-4f14-8587-531c474c7b48" providerId="ADAL" clId="{6ECD27E6-B224-41CD-B4E0-E297462320DD}" dt="2023-11-24T11:36:15.016" v="127049"/>
          <ac:spMkLst>
            <pc:docMk/>
            <pc:sldMk cId="4099999037" sldId="2147478570"/>
            <ac:spMk id="828" creationId="{44D8EF91-5E41-1F2E-A583-A5CF37238627}"/>
          </ac:spMkLst>
        </pc:spChg>
        <pc:spChg chg="add del mod">
          <ac:chgData name="Steiner Andreas 6206 ED" userId="e6377c33-a923-4f14-8587-531c474c7b48" providerId="ADAL" clId="{6ECD27E6-B224-41CD-B4E0-E297462320DD}" dt="2023-11-24T11:36:17.561" v="127204"/>
          <ac:spMkLst>
            <pc:docMk/>
            <pc:sldMk cId="4099999037" sldId="2147478570"/>
            <ac:spMk id="829" creationId="{222642C7-6B73-D4AD-1B05-9A45572A753B}"/>
          </ac:spMkLst>
        </pc:spChg>
        <pc:spChg chg="add del mod">
          <ac:chgData name="Steiner Andreas 6206 ED" userId="e6377c33-a923-4f14-8587-531c474c7b48" providerId="ADAL" clId="{6ECD27E6-B224-41CD-B4E0-E297462320DD}" dt="2023-11-24T11:36:20.156" v="127359"/>
          <ac:spMkLst>
            <pc:docMk/>
            <pc:sldMk cId="4099999037" sldId="2147478570"/>
            <ac:spMk id="830" creationId="{CEB5532F-C3AD-84B5-15CD-3B05AD6B1495}"/>
          </ac:spMkLst>
        </pc:spChg>
        <pc:spChg chg="add del mod">
          <ac:chgData name="Steiner Andreas 6206 ED" userId="e6377c33-a923-4f14-8587-531c474c7b48" providerId="ADAL" clId="{6ECD27E6-B224-41CD-B4E0-E297462320DD}" dt="2023-11-24T11:36:22.499" v="127514"/>
          <ac:spMkLst>
            <pc:docMk/>
            <pc:sldMk cId="4099999037" sldId="2147478570"/>
            <ac:spMk id="831" creationId="{0A9BC5D0-D9FD-3706-25CD-DB39DC3633A0}"/>
          </ac:spMkLst>
        </pc:spChg>
        <pc:spChg chg="add del mod">
          <ac:chgData name="Steiner Andreas 6206 ED" userId="e6377c33-a923-4f14-8587-531c474c7b48" providerId="ADAL" clId="{6ECD27E6-B224-41CD-B4E0-E297462320DD}" dt="2023-11-24T11:36:25.637" v="127669"/>
          <ac:spMkLst>
            <pc:docMk/>
            <pc:sldMk cId="4099999037" sldId="2147478570"/>
            <ac:spMk id="832" creationId="{A65399E2-2D68-455A-EADA-5624F7DBEEC3}"/>
          </ac:spMkLst>
        </pc:spChg>
        <pc:spChg chg="add del mod">
          <ac:chgData name="Steiner Andreas 6206 ED" userId="e6377c33-a923-4f14-8587-531c474c7b48" providerId="ADAL" clId="{6ECD27E6-B224-41CD-B4E0-E297462320DD}" dt="2023-11-24T11:36:28.454" v="127824"/>
          <ac:spMkLst>
            <pc:docMk/>
            <pc:sldMk cId="4099999037" sldId="2147478570"/>
            <ac:spMk id="833" creationId="{C6BF49C0-4E1F-A7BF-80A9-F26916BF8F1A}"/>
          </ac:spMkLst>
        </pc:spChg>
        <pc:spChg chg="add del mod">
          <ac:chgData name="Steiner Andreas 6206 ED" userId="e6377c33-a923-4f14-8587-531c474c7b48" providerId="ADAL" clId="{6ECD27E6-B224-41CD-B4E0-E297462320DD}" dt="2023-11-24T11:36:31.123" v="127979"/>
          <ac:spMkLst>
            <pc:docMk/>
            <pc:sldMk cId="4099999037" sldId="2147478570"/>
            <ac:spMk id="834" creationId="{05A261DE-4D65-051E-3D7D-DB7A68AC7775}"/>
          </ac:spMkLst>
        </pc:spChg>
        <pc:spChg chg="add del mod">
          <ac:chgData name="Steiner Andreas 6206 ED" userId="e6377c33-a923-4f14-8587-531c474c7b48" providerId="ADAL" clId="{6ECD27E6-B224-41CD-B4E0-E297462320DD}" dt="2023-11-24T11:36:33.391" v="128134"/>
          <ac:spMkLst>
            <pc:docMk/>
            <pc:sldMk cId="4099999037" sldId="2147478570"/>
            <ac:spMk id="835" creationId="{88D92FDE-A518-57C4-BEC0-17EB1001F2DB}"/>
          </ac:spMkLst>
        </pc:spChg>
        <pc:spChg chg="add del mod">
          <ac:chgData name="Steiner Andreas 6206 ED" userId="e6377c33-a923-4f14-8587-531c474c7b48" providerId="ADAL" clId="{6ECD27E6-B224-41CD-B4E0-E297462320DD}" dt="2023-11-24T11:36:35.447" v="128289"/>
          <ac:spMkLst>
            <pc:docMk/>
            <pc:sldMk cId="4099999037" sldId="2147478570"/>
            <ac:spMk id="836" creationId="{45D9B8FD-7230-A49A-F0F9-6D8FC1BDF079}"/>
          </ac:spMkLst>
        </pc:spChg>
        <pc:spChg chg="add del mod">
          <ac:chgData name="Steiner Andreas 6206 ED" userId="e6377c33-a923-4f14-8587-531c474c7b48" providerId="ADAL" clId="{6ECD27E6-B224-41CD-B4E0-E297462320DD}" dt="2023-11-24T11:36:37.554" v="128444"/>
          <ac:spMkLst>
            <pc:docMk/>
            <pc:sldMk cId="4099999037" sldId="2147478570"/>
            <ac:spMk id="837" creationId="{47184E6A-1422-95C6-204D-D4A1B17A7856}"/>
          </ac:spMkLst>
        </pc:spChg>
        <pc:spChg chg="add del mod">
          <ac:chgData name="Steiner Andreas 6206 ED" userId="e6377c33-a923-4f14-8587-531c474c7b48" providerId="ADAL" clId="{6ECD27E6-B224-41CD-B4E0-E297462320DD}" dt="2023-11-24T11:36:39.770" v="128599"/>
          <ac:spMkLst>
            <pc:docMk/>
            <pc:sldMk cId="4099999037" sldId="2147478570"/>
            <ac:spMk id="838" creationId="{B529E1BA-BEC4-517A-AEC1-058325090AA5}"/>
          </ac:spMkLst>
        </pc:spChg>
        <pc:spChg chg="add del mod">
          <ac:chgData name="Steiner Andreas 6206 ED" userId="e6377c33-a923-4f14-8587-531c474c7b48" providerId="ADAL" clId="{6ECD27E6-B224-41CD-B4E0-E297462320DD}" dt="2023-11-24T11:36:42.322" v="128754"/>
          <ac:spMkLst>
            <pc:docMk/>
            <pc:sldMk cId="4099999037" sldId="2147478570"/>
            <ac:spMk id="839" creationId="{82B65892-A61A-6C4D-99EE-6617CD279820}"/>
          </ac:spMkLst>
        </pc:spChg>
        <pc:spChg chg="add del mod">
          <ac:chgData name="Steiner Andreas 6206 ED" userId="e6377c33-a923-4f14-8587-531c474c7b48" providerId="ADAL" clId="{6ECD27E6-B224-41CD-B4E0-E297462320DD}" dt="2023-11-24T11:36:44.627" v="128909"/>
          <ac:spMkLst>
            <pc:docMk/>
            <pc:sldMk cId="4099999037" sldId="2147478570"/>
            <ac:spMk id="840" creationId="{5DF4D173-3D62-F56D-AD66-7468649351A5}"/>
          </ac:spMkLst>
        </pc:spChg>
        <pc:spChg chg="add del mod">
          <ac:chgData name="Steiner Andreas 6206 ED" userId="e6377c33-a923-4f14-8587-531c474c7b48" providerId="ADAL" clId="{6ECD27E6-B224-41CD-B4E0-E297462320DD}" dt="2023-11-24T11:36:46.598" v="129064"/>
          <ac:spMkLst>
            <pc:docMk/>
            <pc:sldMk cId="4099999037" sldId="2147478570"/>
            <ac:spMk id="841" creationId="{63A563AF-A953-F721-BBF0-D32FE15CB750}"/>
          </ac:spMkLst>
        </pc:spChg>
        <pc:spChg chg="add del mod">
          <ac:chgData name="Steiner Andreas 6206 ED" userId="e6377c33-a923-4f14-8587-531c474c7b48" providerId="ADAL" clId="{6ECD27E6-B224-41CD-B4E0-E297462320DD}" dt="2023-11-24T11:36:48.560" v="129219"/>
          <ac:spMkLst>
            <pc:docMk/>
            <pc:sldMk cId="4099999037" sldId="2147478570"/>
            <ac:spMk id="842" creationId="{9B2AD2C5-9E13-9C92-0814-5BEFEDF7F91E}"/>
          </ac:spMkLst>
        </pc:spChg>
        <pc:spChg chg="add del mod">
          <ac:chgData name="Steiner Andreas 6206 ED" userId="e6377c33-a923-4f14-8587-531c474c7b48" providerId="ADAL" clId="{6ECD27E6-B224-41CD-B4E0-E297462320DD}" dt="2023-11-24T11:36:50.538" v="129374"/>
          <ac:spMkLst>
            <pc:docMk/>
            <pc:sldMk cId="4099999037" sldId="2147478570"/>
            <ac:spMk id="843" creationId="{86B9AB98-56BE-6FFD-0F57-B1179EB243FA}"/>
          </ac:spMkLst>
        </pc:spChg>
        <pc:spChg chg="add del mod">
          <ac:chgData name="Steiner Andreas 6206 ED" userId="e6377c33-a923-4f14-8587-531c474c7b48" providerId="ADAL" clId="{6ECD27E6-B224-41CD-B4E0-E297462320DD}" dt="2023-11-24T11:36:52.674" v="129529"/>
          <ac:spMkLst>
            <pc:docMk/>
            <pc:sldMk cId="4099999037" sldId="2147478570"/>
            <ac:spMk id="844" creationId="{455690CF-934E-50E6-7CE7-1D26EE7697EC}"/>
          </ac:spMkLst>
        </pc:spChg>
        <pc:spChg chg="add del mod">
          <ac:chgData name="Steiner Andreas 6206 ED" userId="e6377c33-a923-4f14-8587-531c474c7b48" providerId="ADAL" clId="{6ECD27E6-B224-41CD-B4E0-E297462320DD}" dt="2023-11-24T11:36:55.557" v="129684"/>
          <ac:spMkLst>
            <pc:docMk/>
            <pc:sldMk cId="4099999037" sldId="2147478570"/>
            <ac:spMk id="845" creationId="{9C979632-4A1C-F584-0C10-4613AB58A8EF}"/>
          </ac:spMkLst>
        </pc:spChg>
        <pc:spChg chg="add del mod">
          <ac:chgData name="Steiner Andreas 6206 ED" userId="e6377c33-a923-4f14-8587-531c474c7b48" providerId="ADAL" clId="{6ECD27E6-B224-41CD-B4E0-E297462320DD}" dt="2023-11-24T11:36:57.806" v="129839"/>
          <ac:spMkLst>
            <pc:docMk/>
            <pc:sldMk cId="4099999037" sldId="2147478570"/>
            <ac:spMk id="846" creationId="{BA163D96-FB58-3CA5-57E7-0C29088545EB}"/>
          </ac:spMkLst>
        </pc:spChg>
        <pc:spChg chg="add del mod">
          <ac:chgData name="Steiner Andreas 6206 ED" userId="e6377c33-a923-4f14-8587-531c474c7b48" providerId="ADAL" clId="{6ECD27E6-B224-41CD-B4E0-E297462320DD}" dt="2023-11-24T11:37:00.152" v="129994"/>
          <ac:spMkLst>
            <pc:docMk/>
            <pc:sldMk cId="4099999037" sldId="2147478570"/>
            <ac:spMk id="847" creationId="{1C9C89A4-CA7F-56BD-4A94-9DA3F2555D27}"/>
          </ac:spMkLst>
        </pc:spChg>
        <pc:spChg chg="add del mod">
          <ac:chgData name="Steiner Andreas 6206 ED" userId="e6377c33-a923-4f14-8587-531c474c7b48" providerId="ADAL" clId="{6ECD27E6-B224-41CD-B4E0-E297462320DD}" dt="2023-11-24T11:37:01.973" v="130149"/>
          <ac:spMkLst>
            <pc:docMk/>
            <pc:sldMk cId="4099999037" sldId="2147478570"/>
            <ac:spMk id="848" creationId="{85F4442F-40CB-3C8C-6892-DCBB82C6D41A}"/>
          </ac:spMkLst>
        </pc:spChg>
        <pc:spChg chg="add del mod">
          <ac:chgData name="Steiner Andreas 6206 ED" userId="e6377c33-a923-4f14-8587-531c474c7b48" providerId="ADAL" clId="{6ECD27E6-B224-41CD-B4E0-E297462320DD}" dt="2023-11-24T11:37:03.713" v="130304"/>
          <ac:spMkLst>
            <pc:docMk/>
            <pc:sldMk cId="4099999037" sldId="2147478570"/>
            <ac:spMk id="849" creationId="{300A3FF7-436F-5F0F-A2EF-DB63F627FB10}"/>
          </ac:spMkLst>
        </pc:spChg>
        <pc:spChg chg="add del mod">
          <ac:chgData name="Steiner Andreas 6206 ED" userId="e6377c33-a923-4f14-8587-531c474c7b48" providerId="ADAL" clId="{6ECD27E6-B224-41CD-B4E0-E297462320DD}" dt="2023-11-24T11:37:05.596" v="130459"/>
          <ac:spMkLst>
            <pc:docMk/>
            <pc:sldMk cId="4099999037" sldId="2147478570"/>
            <ac:spMk id="850" creationId="{560CA4AB-D752-DA77-4BF0-E907183C162C}"/>
          </ac:spMkLst>
        </pc:spChg>
        <pc:spChg chg="add del mod">
          <ac:chgData name="Steiner Andreas 6206 ED" userId="e6377c33-a923-4f14-8587-531c474c7b48" providerId="ADAL" clId="{6ECD27E6-B224-41CD-B4E0-E297462320DD}" dt="2023-11-24T11:37:07.356" v="130614"/>
          <ac:spMkLst>
            <pc:docMk/>
            <pc:sldMk cId="4099999037" sldId="2147478570"/>
            <ac:spMk id="851" creationId="{B540B358-F07A-E10E-3809-0E006ACA1DA4}"/>
          </ac:spMkLst>
        </pc:spChg>
        <pc:spChg chg="add del mod">
          <ac:chgData name="Steiner Andreas 6206 ED" userId="e6377c33-a923-4f14-8587-531c474c7b48" providerId="ADAL" clId="{6ECD27E6-B224-41CD-B4E0-E297462320DD}" dt="2023-11-24T11:37:09.078" v="130769"/>
          <ac:spMkLst>
            <pc:docMk/>
            <pc:sldMk cId="4099999037" sldId="2147478570"/>
            <ac:spMk id="852" creationId="{D06A29C1-B726-1F0A-18A9-A621FDA86912}"/>
          </ac:spMkLst>
        </pc:spChg>
        <pc:spChg chg="add del mod">
          <ac:chgData name="Steiner Andreas 6206 ED" userId="e6377c33-a923-4f14-8587-531c474c7b48" providerId="ADAL" clId="{6ECD27E6-B224-41CD-B4E0-E297462320DD}" dt="2023-11-24T11:37:10.743" v="130924"/>
          <ac:spMkLst>
            <pc:docMk/>
            <pc:sldMk cId="4099999037" sldId="2147478570"/>
            <ac:spMk id="853" creationId="{012A7C2A-054E-F6A2-F506-B33EC4278A37}"/>
          </ac:spMkLst>
        </pc:spChg>
        <pc:spChg chg="add del mod">
          <ac:chgData name="Steiner Andreas 6206 ED" userId="e6377c33-a923-4f14-8587-531c474c7b48" providerId="ADAL" clId="{6ECD27E6-B224-41CD-B4E0-E297462320DD}" dt="2023-11-24T11:37:12.438" v="131079"/>
          <ac:spMkLst>
            <pc:docMk/>
            <pc:sldMk cId="4099999037" sldId="2147478570"/>
            <ac:spMk id="854" creationId="{5C731BD6-958A-F2D0-9DFB-183F70EE5FFF}"/>
          </ac:spMkLst>
        </pc:spChg>
        <pc:spChg chg="add del mod">
          <ac:chgData name="Steiner Andreas 6206 ED" userId="e6377c33-a923-4f14-8587-531c474c7b48" providerId="ADAL" clId="{6ECD27E6-B224-41CD-B4E0-E297462320DD}" dt="2023-11-24T11:37:14.118" v="131234"/>
          <ac:spMkLst>
            <pc:docMk/>
            <pc:sldMk cId="4099999037" sldId="2147478570"/>
            <ac:spMk id="855" creationId="{4A7F232C-C67B-D8C1-68E5-4E53FA731EA1}"/>
          </ac:spMkLst>
        </pc:spChg>
        <pc:spChg chg="add del mod">
          <ac:chgData name="Steiner Andreas 6206 ED" userId="e6377c33-a923-4f14-8587-531c474c7b48" providerId="ADAL" clId="{6ECD27E6-B224-41CD-B4E0-E297462320DD}" dt="2023-11-24T11:37:16.149" v="131389"/>
          <ac:spMkLst>
            <pc:docMk/>
            <pc:sldMk cId="4099999037" sldId="2147478570"/>
            <ac:spMk id="856" creationId="{88E1D771-D973-8BAF-8A4A-B96FAB353CA6}"/>
          </ac:spMkLst>
        </pc:spChg>
        <pc:spChg chg="add del mod">
          <ac:chgData name="Steiner Andreas 6206 ED" userId="e6377c33-a923-4f14-8587-531c474c7b48" providerId="ADAL" clId="{6ECD27E6-B224-41CD-B4E0-E297462320DD}" dt="2023-11-24T11:37:18.142" v="131544"/>
          <ac:spMkLst>
            <pc:docMk/>
            <pc:sldMk cId="4099999037" sldId="2147478570"/>
            <ac:spMk id="857" creationId="{532CD95C-84B0-2BAC-8F6F-8D72AC9E724E}"/>
          </ac:spMkLst>
        </pc:spChg>
        <pc:spChg chg="add del mod">
          <ac:chgData name="Steiner Andreas 6206 ED" userId="e6377c33-a923-4f14-8587-531c474c7b48" providerId="ADAL" clId="{6ECD27E6-B224-41CD-B4E0-E297462320DD}" dt="2023-11-24T11:37:20.027" v="131699"/>
          <ac:spMkLst>
            <pc:docMk/>
            <pc:sldMk cId="4099999037" sldId="2147478570"/>
            <ac:spMk id="858" creationId="{8BC4E815-46DB-2A06-EC65-35E96648CF8F}"/>
          </ac:spMkLst>
        </pc:spChg>
        <pc:spChg chg="add del mod">
          <ac:chgData name="Steiner Andreas 6206 ED" userId="e6377c33-a923-4f14-8587-531c474c7b48" providerId="ADAL" clId="{6ECD27E6-B224-41CD-B4E0-E297462320DD}" dt="2023-11-24T11:37:21.939" v="131854"/>
          <ac:spMkLst>
            <pc:docMk/>
            <pc:sldMk cId="4099999037" sldId="2147478570"/>
            <ac:spMk id="859" creationId="{D5F2E1C9-D3B8-1CE3-CCA8-C33E7A0BF232}"/>
          </ac:spMkLst>
        </pc:spChg>
        <pc:spChg chg="add del mod">
          <ac:chgData name="Steiner Andreas 6206 ED" userId="e6377c33-a923-4f14-8587-531c474c7b48" providerId="ADAL" clId="{6ECD27E6-B224-41CD-B4E0-E297462320DD}" dt="2023-11-24T11:37:23.709" v="132009"/>
          <ac:spMkLst>
            <pc:docMk/>
            <pc:sldMk cId="4099999037" sldId="2147478570"/>
            <ac:spMk id="860" creationId="{D8A9848A-2B92-731D-F389-94E9E60C9263}"/>
          </ac:spMkLst>
        </pc:spChg>
        <pc:spChg chg="add del mod">
          <ac:chgData name="Steiner Andreas 6206 ED" userId="e6377c33-a923-4f14-8587-531c474c7b48" providerId="ADAL" clId="{6ECD27E6-B224-41CD-B4E0-E297462320DD}" dt="2023-11-24T11:37:25.427" v="132164"/>
          <ac:spMkLst>
            <pc:docMk/>
            <pc:sldMk cId="4099999037" sldId="2147478570"/>
            <ac:spMk id="861" creationId="{3BE65634-D975-74FD-5BEC-067B542FD4DA}"/>
          </ac:spMkLst>
        </pc:spChg>
        <pc:spChg chg="add del mod">
          <ac:chgData name="Steiner Andreas 6206 ED" userId="e6377c33-a923-4f14-8587-531c474c7b48" providerId="ADAL" clId="{6ECD27E6-B224-41CD-B4E0-E297462320DD}" dt="2023-11-24T11:37:27.378" v="132319"/>
          <ac:spMkLst>
            <pc:docMk/>
            <pc:sldMk cId="4099999037" sldId="2147478570"/>
            <ac:spMk id="862" creationId="{668A5AB0-0661-7E56-ED00-36D3BEAFE4B8}"/>
          </ac:spMkLst>
        </pc:spChg>
        <pc:spChg chg="add del mod">
          <ac:chgData name="Steiner Andreas 6206 ED" userId="e6377c33-a923-4f14-8587-531c474c7b48" providerId="ADAL" clId="{6ECD27E6-B224-41CD-B4E0-E297462320DD}" dt="2023-11-24T11:37:30.078" v="132474"/>
          <ac:spMkLst>
            <pc:docMk/>
            <pc:sldMk cId="4099999037" sldId="2147478570"/>
            <ac:spMk id="863" creationId="{0DDEA9FF-7B7E-A64E-B4D3-D11A43F95E21}"/>
          </ac:spMkLst>
        </pc:spChg>
        <pc:spChg chg="add del mod">
          <ac:chgData name="Steiner Andreas 6206 ED" userId="e6377c33-a923-4f14-8587-531c474c7b48" providerId="ADAL" clId="{6ECD27E6-B224-41CD-B4E0-E297462320DD}" dt="2023-11-24T11:37:32.699" v="132629"/>
          <ac:spMkLst>
            <pc:docMk/>
            <pc:sldMk cId="4099999037" sldId="2147478570"/>
            <ac:spMk id="864" creationId="{BB3B771B-6FCD-112E-5983-984874264B68}"/>
          </ac:spMkLst>
        </pc:spChg>
        <pc:spChg chg="add del mod">
          <ac:chgData name="Steiner Andreas 6206 ED" userId="e6377c33-a923-4f14-8587-531c474c7b48" providerId="ADAL" clId="{6ECD27E6-B224-41CD-B4E0-E297462320DD}" dt="2023-11-24T11:37:35.574" v="132784"/>
          <ac:spMkLst>
            <pc:docMk/>
            <pc:sldMk cId="4099999037" sldId="2147478570"/>
            <ac:spMk id="865" creationId="{6A566178-DFF7-F226-CF38-AE9377FCB851}"/>
          </ac:spMkLst>
        </pc:spChg>
        <pc:spChg chg="add del mod">
          <ac:chgData name="Steiner Andreas 6206 ED" userId="e6377c33-a923-4f14-8587-531c474c7b48" providerId="ADAL" clId="{6ECD27E6-B224-41CD-B4E0-E297462320DD}" dt="2023-11-24T11:37:38.288" v="132939"/>
          <ac:spMkLst>
            <pc:docMk/>
            <pc:sldMk cId="4099999037" sldId="2147478570"/>
            <ac:spMk id="866" creationId="{CF8051F6-B0C4-5FB8-EBFB-90E2CA23DA75}"/>
          </ac:spMkLst>
        </pc:spChg>
        <pc:spChg chg="add del mod">
          <ac:chgData name="Steiner Andreas 6206 ED" userId="e6377c33-a923-4f14-8587-531c474c7b48" providerId="ADAL" clId="{6ECD27E6-B224-41CD-B4E0-E297462320DD}" dt="2023-11-24T11:37:40.845" v="133094"/>
          <ac:spMkLst>
            <pc:docMk/>
            <pc:sldMk cId="4099999037" sldId="2147478570"/>
            <ac:spMk id="867" creationId="{59429287-3F44-38A6-3DB6-06A0381BEEF2}"/>
          </ac:spMkLst>
        </pc:spChg>
        <pc:spChg chg="add del mod">
          <ac:chgData name="Steiner Andreas 6206 ED" userId="e6377c33-a923-4f14-8587-531c474c7b48" providerId="ADAL" clId="{6ECD27E6-B224-41CD-B4E0-E297462320DD}" dt="2023-11-24T11:37:43.836" v="133249"/>
          <ac:spMkLst>
            <pc:docMk/>
            <pc:sldMk cId="4099999037" sldId="2147478570"/>
            <ac:spMk id="868" creationId="{459C5836-BFD1-7694-527F-AF6F061963D6}"/>
          </ac:spMkLst>
        </pc:spChg>
        <pc:spChg chg="add del mod">
          <ac:chgData name="Steiner Andreas 6206 ED" userId="e6377c33-a923-4f14-8587-531c474c7b48" providerId="ADAL" clId="{6ECD27E6-B224-41CD-B4E0-E297462320DD}" dt="2023-11-24T11:37:48.010" v="133404"/>
          <ac:spMkLst>
            <pc:docMk/>
            <pc:sldMk cId="4099999037" sldId="2147478570"/>
            <ac:spMk id="869" creationId="{D189E17D-0334-C9D7-A82E-BD341569294F}"/>
          </ac:spMkLst>
        </pc:spChg>
        <pc:spChg chg="add del mod">
          <ac:chgData name="Steiner Andreas 6206 ED" userId="e6377c33-a923-4f14-8587-531c474c7b48" providerId="ADAL" clId="{6ECD27E6-B224-41CD-B4E0-E297462320DD}" dt="2023-11-24T11:37:51.156" v="133559"/>
          <ac:spMkLst>
            <pc:docMk/>
            <pc:sldMk cId="4099999037" sldId="2147478570"/>
            <ac:spMk id="870" creationId="{2B28E0D1-503E-3244-345E-05A08BBD170F}"/>
          </ac:spMkLst>
        </pc:spChg>
        <pc:spChg chg="add del mod">
          <ac:chgData name="Steiner Andreas 6206 ED" userId="e6377c33-a923-4f14-8587-531c474c7b48" providerId="ADAL" clId="{6ECD27E6-B224-41CD-B4E0-E297462320DD}" dt="2023-11-24T11:37:54.071" v="133714"/>
          <ac:spMkLst>
            <pc:docMk/>
            <pc:sldMk cId="4099999037" sldId="2147478570"/>
            <ac:spMk id="871" creationId="{FC6A3941-C90F-8A67-EF2F-979A07ABC2A0}"/>
          </ac:spMkLst>
        </pc:spChg>
        <pc:spChg chg="add del mod">
          <ac:chgData name="Steiner Andreas 6206 ED" userId="e6377c33-a923-4f14-8587-531c474c7b48" providerId="ADAL" clId="{6ECD27E6-B224-41CD-B4E0-E297462320DD}" dt="2023-11-24T11:37:56.414" v="133869"/>
          <ac:spMkLst>
            <pc:docMk/>
            <pc:sldMk cId="4099999037" sldId="2147478570"/>
            <ac:spMk id="872" creationId="{C8DE54BC-E4C4-E057-6782-EBF4CA98AEFF}"/>
          </ac:spMkLst>
        </pc:spChg>
        <pc:spChg chg="add del mod">
          <ac:chgData name="Steiner Andreas 6206 ED" userId="e6377c33-a923-4f14-8587-531c474c7b48" providerId="ADAL" clId="{6ECD27E6-B224-41CD-B4E0-E297462320DD}" dt="2023-11-24T11:37:59.016" v="134024"/>
          <ac:spMkLst>
            <pc:docMk/>
            <pc:sldMk cId="4099999037" sldId="2147478570"/>
            <ac:spMk id="873" creationId="{D4F7FA82-1D2D-2B99-1659-34F3CCBCCE4F}"/>
          </ac:spMkLst>
        </pc:spChg>
        <pc:spChg chg="add del mod">
          <ac:chgData name="Steiner Andreas 6206 ED" userId="e6377c33-a923-4f14-8587-531c474c7b48" providerId="ADAL" clId="{6ECD27E6-B224-41CD-B4E0-E297462320DD}" dt="2023-11-24T11:38:01.286" v="134179"/>
          <ac:spMkLst>
            <pc:docMk/>
            <pc:sldMk cId="4099999037" sldId="2147478570"/>
            <ac:spMk id="874" creationId="{8DE8E168-9CC2-E861-42CC-E2204F7E8B47}"/>
          </ac:spMkLst>
        </pc:spChg>
        <pc:spChg chg="add del mod">
          <ac:chgData name="Steiner Andreas 6206 ED" userId="e6377c33-a923-4f14-8587-531c474c7b48" providerId="ADAL" clId="{6ECD27E6-B224-41CD-B4E0-E297462320DD}" dt="2023-11-24T11:38:03.834" v="134334"/>
          <ac:spMkLst>
            <pc:docMk/>
            <pc:sldMk cId="4099999037" sldId="2147478570"/>
            <ac:spMk id="875" creationId="{70BFA4FE-CD69-5695-F8C7-084903F3A53C}"/>
          </ac:spMkLst>
        </pc:spChg>
        <pc:spChg chg="add del mod">
          <ac:chgData name="Steiner Andreas 6206 ED" userId="e6377c33-a923-4f14-8587-531c474c7b48" providerId="ADAL" clId="{6ECD27E6-B224-41CD-B4E0-E297462320DD}" dt="2023-11-24T11:38:06.184" v="134489"/>
          <ac:spMkLst>
            <pc:docMk/>
            <pc:sldMk cId="4099999037" sldId="2147478570"/>
            <ac:spMk id="876" creationId="{A57955C6-DED6-E9FA-4879-D32544B87D84}"/>
          </ac:spMkLst>
        </pc:spChg>
        <pc:spChg chg="add del mod">
          <ac:chgData name="Steiner Andreas 6206 ED" userId="e6377c33-a923-4f14-8587-531c474c7b48" providerId="ADAL" clId="{6ECD27E6-B224-41CD-B4E0-E297462320DD}" dt="2023-11-24T11:38:08.963" v="134644"/>
          <ac:spMkLst>
            <pc:docMk/>
            <pc:sldMk cId="4099999037" sldId="2147478570"/>
            <ac:spMk id="877" creationId="{BEE77C78-2A78-ED6F-4AB1-37621377CF6E}"/>
          </ac:spMkLst>
        </pc:spChg>
        <pc:spChg chg="add del mod">
          <ac:chgData name="Steiner Andreas 6206 ED" userId="e6377c33-a923-4f14-8587-531c474c7b48" providerId="ADAL" clId="{6ECD27E6-B224-41CD-B4E0-E297462320DD}" dt="2023-11-24T11:38:11.913" v="134799"/>
          <ac:spMkLst>
            <pc:docMk/>
            <pc:sldMk cId="4099999037" sldId="2147478570"/>
            <ac:spMk id="878" creationId="{8E002963-1E66-C3A4-9692-0A363F3082A8}"/>
          </ac:spMkLst>
        </pc:spChg>
        <pc:spChg chg="add del mod">
          <ac:chgData name="Steiner Andreas 6206 ED" userId="e6377c33-a923-4f14-8587-531c474c7b48" providerId="ADAL" clId="{6ECD27E6-B224-41CD-B4E0-E297462320DD}" dt="2023-11-24T11:38:14.139" v="134954"/>
          <ac:spMkLst>
            <pc:docMk/>
            <pc:sldMk cId="4099999037" sldId="2147478570"/>
            <ac:spMk id="879" creationId="{3DF8082F-5BB6-07DD-254E-930C304AB916}"/>
          </ac:spMkLst>
        </pc:spChg>
        <pc:spChg chg="add del mod">
          <ac:chgData name="Steiner Andreas 6206 ED" userId="e6377c33-a923-4f14-8587-531c474c7b48" providerId="ADAL" clId="{6ECD27E6-B224-41CD-B4E0-E297462320DD}" dt="2023-11-24T11:38:16.644" v="135109"/>
          <ac:spMkLst>
            <pc:docMk/>
            <pc:sldMk cId="4099999037" sldId="2147478570"/>
            <ac:spMk id="880" creationId="{643E9C55-8F71-D2BA-CBD2-B8417BCF4074}"/>
          </ac:spMkLst>
        </pc:spChg>
        <pc:spChg chg="add del mod">
          <ac:chgData name="Steiner Andreas 6206 ED" userId="e6377c33-a923-4f14-8587-531c474c7b48" providerId="ADAL" clId="{6ECD27E6-B224-41CD-B4E0-E297462320DD}" dt="2023-11-24T11:38:19.412" v="135264"/>
          <ac:spMkLst>
            <pc:docMk/>
            <pc:sldMk cId="4099999037" sldId="2147478570"/>
            <ac:spMk id="881" creationId="{981F6EB5-911C-FE7C-EE28-14D1ACA96BB9}"/>
          </ac:spMkLst>
        </pc:spChg>
        <pc:spChg chg="add del mod">
          <ac:chgData name="Steiner Andreas 6206 ED" userId="e6377c33-a923-4f14-8587-531c474c7b48" providerId="ADAL" clId="{6ECD27E6-B224-41CD-B4E0-E297462320DD}" dt="2023-11-24T11:38:22.002" v="135419"/>
          <ac:spMkLst>
            <pc:docMk/>
            <pc:sldMk cId="4099999037" sldId="2147478570"/>
            <ac:spMk id="882" creationId="{72BA8E02-E45C-29F0-A586-9C9E70D55430}"/>
          </ac:spMkLst>
        </pc:spChg>
        <pc:spChg chg="add del mod">
          <ac:chgData name="Steiner Andreas 6206 ED" userId="e6377c33-a923-4f14-8587-531c474c7b48" providerId="ADAL" clId="{6ECD27E6-B224-41CD-B4E0-E297462320DD}" dt="2023-11-24T11:38:24.854" v="135574"/>
          <ac:spMkLst>
            <pc:docMk/>
            <pc:sldMk cId="4099999037" sldId="2147478570"/>
            <ac:spMk id="883" creationId="{EBF841F2-72A8-7AF3-8B85-9F7D2F94731C}"/>
          </ac:spMkLst>
        </pc:spChg>
        <pc:spChg chg="add del mod">
          <ac:chgData name="Steiner Andreas 6206 ED" userId="e6377c33-a923-4f14-8587-531c474c7b48" providerId="ADAL" clId="{6ECD27E6-B224-41CD-B4E0-E297462320DD}" dt="2023-11-24T11:38:27.627" v="135729"/>
          <ac:spMkLst>
            <pc:docMk/>
            <pc:sldMk cId="4099999037" sldId="2147478570"/>
            <ac:spMk id="884" creationId="{B315E590-EFB0-0B22-463A-014007A82324}"/>
          </ac:spMkLst>
        </pc:spChg>
        <pc:spChg chg="add del mod">
          <ac:chgData name="Steiner Andreas 6206 ED" userId="e6377c33-a923-4f14-8587-531c474c7b48" providerId="ADAL" clId="{6ECD27E6-B224-41CD-B4E0-E297462320DD}" dt="2023-11-24T11:38:30.298" v="135884"/>
          <ac:spMkLst>
            <pc:docMk/>
            <pc:sldMk cId="4099999037" sldId="2147478570"/>
            <ac:spMk id="885" creationId="{7A7F6152-6707-A994-2726-A296C54FEF4E}"/>
          </ac:spMkLst>
        </pc:spChg>
        <pc:spChg chg="add del mod">
          <ac:chgData name="Steiner Andreas 6206 ED" userId="e6377c33-a923-4f14-8587-531c474c7b48" providerId="ADAL" clId="{6ECD27E6-B224-41CD-B4E0-E297462320DD}" dt="2023-11-24T11:38:32.626" v="136039"/>
          <ac:spMkLst>
            <pc:docMk/>
            <pc:sldMk cId="4099999037" sldId="2147478570"/>
            <ac:spMk id="886" creationId="{528C4168-FDE3-B958-6AD6-6A5BDABAAD6B}"/>
          </ac:spMkLst>
        </pc:spChg>
        <pc:spChg chg="add del mod">
          <ac:chgData name="Steiner Andreas 6206 ED" userId="e6377c33-a923-4f14-8587-531c474c7b48" providerId="ADAL" clId="{6ECD27E6-B224-41CD-B4E0-E297462320DD}" dt="2023-11-24T11:38:35.122" v="136194"/>
          <ac:spMkLst>
            <pc:docMk/>
            <pc:sldMk cId="4099999037" sldId="2147478570"/>
            <ac:spMk id="887" creationId="{0FB79B3B-FCA6-B1BF-7AFA-3959481A9D53}"/>
          </ac:spMkLst>
        </pc:spChg>
        <pc:spChg chg="add del mod">
          <ac:chgData name="Steiner Andreas 6206 ED" userId="e6377c33-a923-4f14-8587-531c474c7b48" providerId="ADAL" clId="{6ECD27E6-B224-41CD-B4E0-E297462320DD}" dt="2023-11-24T11:38:37.844" v="136349"/>
          <ac:spMkLst>
            <pc:docMk/>
            <pc:sldMk cId="4099999037" sldId="2147478570"/>
            <ac:spMk id="888" creationId="{460F782D-81EC-01F1-7B65-796FB4581923}"/>
          </ac:spMkLst>
        </pc:spChg>
        <pc:spChg chg="add del mod">
          <ac:chgData name="Steiner Andreas 6206 ED" userId="e6377c33-a923-4f14-8587-531c474c7b48" providerId="ADAL" clId="{6ECD27E6-B224-41CD-B4E0-E297462320DD}" dt="2023-11-24T11:38:40.525" v="136504"/>
          <ac:spMkLst>
            <pc:docMk/>
            <pc:sldMk cId="4099999037" sldId="2147478570"/>
            <ac:spMk id="889" creationId="{F814C7BB-B389-E002-6362-58D88C61DC90}"/>
          </ac:spMkLst>
        </pc:spChg>
        <pc:spChg chg="add del mod">
          <ac:chgData name="Steiner Andreas 6206 ED" userId="e6377c33-a923-4f14-8587-531c474c7b48" providerId="ADAL" clId="{6ECD27E6-B224-41CD-B4E0-E297462320DD}" dt="2023-11-24T11:38:42.930" v="136659"/>
          <ac:spMkLst>
            <pc:docMk/>
            <pc:sldMk cId="4099999037" sldId="2147478570"/>
            <ac:spMk id="890" creationId="{5DC386AC-25B5-8B5B-AA86-8804B7866D40}"/>
          </ac:spMkLst>
        </pc:spChg>
        <pc:spChg chg="add del mod">
          <ac:chgData name="Steiner Andreas 6206 ED" userId="e6377c33-a923-4f14-8587-531c474c7b48" providerId="ADAL" clId="{6ECD27E6-B224-41CD-B4E0-E297462320DD}" dt="2023-11-24T11:38:45.295" v="136814"/>
          <ac:spMkLst>
            <pc:docMk/>
            <pc:sldMk cId="4099999037" sldId="2147478570"/>
            <ac:spMk id="891" creationId="{44F8012B-1520-EBF1-2FC8-3ED0AFB2721A}"/>
          </ac:spMkLst>
        </pc:spChg>
        <pc:spChg chg="add del mod">
          <ac:chgData name="Steiner Andreas 6206 ED" userId="e6377c33-a923-4f14-8587-531c474c7b48" providerId="ADAL" clId="{6ECD27E6-B224-41CD-B4E0-E297462320DD}" dt="2023-11-24T11:38:47.686" v="136969"/>
          <ac:spMkLst>
            <pc:docMk/>
            <pc:sldMk cId="4099999037" sldId="2147478570"/>
            <ac:spMk id="892" creationId="{674AF086-2AB5-825D-B4AB-22B38E18AA11}"/>
          </ac:spMkLst>
        </pc:spChg>
        <pc:spChg chg="add del mod">
          <ac:chgData name="Steiner Andreas 6206 ED" userId="e6377c33-a923-4f14-8587-531c474c7b48" providerId="ADAL" clId="{6ECD27E6-B224-41CD-B4E0-E297462320DD}" dt="2023-11-24T11:38:50.697" v="137124"/>
          <ac:spMkLst>
            <pc:docMk/>
            <pc:sldMk cId="4099999037" sldId="2147478570"/>
            <ac:spMk id="893" creationId="{7FE49B6D-5C96-7920-5D87-C95168AAFAC8}"/>
          </ac:spMkLst>
        </pc:spChg>
        <pc:spChg chg="add del mod">
          <ac:chgData name="Steiner Andreas 6206 ED" userId="e6377c33-a923-4f14-8587-531c474c7b48" providerId="ADAL" clId="{6ECD27E6-B224-41CD-B4E0-E297462320DD}" dt="2023-11-24T11:38:53.118" v="137279"/>
          <ac:spMkLst>
            <pc:docMk/>
            <pc:sldMk cId="4099999037" sldId="2147478570"/>
            <ac:spMk id="894" creationId="{B44DEE80-07AF-F9D8-9A99-AB56B1E24ED9}"/>
          </ac:spMkLst>
        </pc:spChg>
        <pc:spChg chg="add del mod">
          <ac:chgData name="Steiner Andreas 6206 ED" userId="e6377c33-a923-4f14-8587-531c474c7b48" providerId="ADAL" clId="{6ECD27E6-B224-41CD-B4E0-E297462320DD}" dt="2023-11-24T11:38:55.590" v="137434"/>
          <ac:spMkLst>
            <pc:docMk/>
            <pc:sldMk cId="4099999037" sldId="2147478570"/>
            <ac:spMk id="895" creationId="{F0AB14B5-813E-508E-F245-F5BAB1CF3A8A}"/>
          </ac:spMkLst>
        </pc:spChg>
        <pc:spChg chg="add del mod">
          <ac:chgData name="Steiner Andreas 6206 ED" userId="e6377c33-a923-4f14-8587-531c474c7b48" providerId="ADAL" clId="{6ECD27E6-B224-41CD-B4E0-E297462320DD}" dt="2023-11-24T11:38:58.203" v="137589"/>
          <ac:spMkLst>
            <pc:docMk/>
            <pc:sldMk cId="4099999037" sldId="2147478570"/>
            <ac:spMk id="896" creationId="{BF1FB807-8F8A-D72F-C507-61BF8FB4A3A7}"/>
          </ac:spMkLst>
        </pc:spChg>
        <pc:spChg chg="add del mod">
          <ac:chgData name="Steiner Andreas 6206 ED" userId="e6377c33-a923-4f14-8587-531c474c7b48" providerId="ADAL" clId="{6ECD27E6-B224-41CD-B4E0-E297462320DD}" dt="2023-11-24T11:39:00.447" v="137744"/>
          <ac:spMkLst>
            <pc:docMk/>
            <pc:sldMk cId="4099999037" sldId="2147478570"/>
            <ac:spMk id="897" creationId="{A16EAA5A-5792-B4A8-1699-F31FA4A9738F}"/>
          </ac:spMkLst>
        </pc:spChg>
        <pc:spChg chg="add del mod">
          <ac:chgData name="Steiner Andreas 6206 ED" userId="e6377c33-a923-4f14-8587-531c474c7b48" providerId="ADAL" clId="{6ECD27E6-B224-41CD-B4E0-E297462320DD}" dt="2023-11-24T11:39:03.445" v="137899"/>
          <ac:spMkLst>
            <pc:docMk/>
            <pc:sldMk cId="4099999037" sldId="2147478570"/>
            <ac:spMk id="898" creationId="{E9074E79-063F-8868-2E3E-1369B357039E}"/>
          </ac:spMkLst>
        </pc:spChg>
        <pc:spChg chg="add del mod">
          <ac:chgData name="Steiner Andreas 6206 ED" userId="e6377c33-a923-4f14-8587-531c474c7b48" providerId="ADAL" clId="{6ECD27E6-B224-41CD-B4E0-E297462320DD}" dt="2023-11-24T11:39:06.139" v="138054"/>
          <ac:spMkLst>
            <pc:docMk/>
            <pc:sldMk cId="4099999037" sldId="2147478570"/>
            <ac:spMk id="899" creationId="{70EAA5D4-4A5F-F2C5-4BF1-097BBA97DB17}"/>
          </ac:spMkLst>
        </pc:spChg>
        <pc:spChg chg="add del mod">
          <ac:chgData name="Steiner Andreas 6206 ED" userId="e6377c33-a923-4f14-8587-531c474c7b48" providerId="ADAL" clId="{6ECD27E6-B224-41CD-B4E0-E297462320DD}" dt="2023-11-24T11:39:08.645" v="138209"/>
          <ac:spMkLst>
            <pc:docMk/>
            <pc:sldMk cId="4099999037" sldId="2147478570"/>
            <ac:spMk id="900" creationId="{C5A94424-E695-09B0-C8AC-6C11670042E4}"/>
          </ac:spMkLst>
        </pc:spChg>
        <pc:spChg chg="add del mod">
          <ac:chgData name="Steiner Andreas 6206 ED" userId="e6377c33-a923-4f14-8587-531c474c7b48" providerId="ADAL" clId="{6ECD27E6-B224-41CD-B4E0-E297462320DD}" dt="2023-11-24T11:39:10.995" v="138364"/>
          <ac:spMkLst>
            <pc:docMk/>
            <pc:sldMk cId="4099999037" sldId="2147478570"/>
            <ac:spMk id="901" creationId="{48E43989-6401-6982-0D97-B7DCA16F7689}"/>
          </ac:spMkLst>
        </pc:spChg>
        <pc:spChg chg="add del mod">
          <ac:chgData name="Steiner Andreas 6206 ED" userId="e6377c33-a923-4f14-8587-531c474c7b48" providerId="ADAL" clId="{6ECD27E6-B224-41CD-B4E0-E297462320DD}" dt="2023-11-24T11:39:13.445" v="138519"/>
          <ac:spMkLst>
            <pc:docMk/>
            <pc:sldMk cId="4099999037" sldId="2147478570"/>
            <ac:spMk id="902" creationId="{584EB80E-0CCC-03F3-F2E6-6079C5275D03}"/>
          </ac:spMkLst>
        </pc:spChg>
        <pc:spChg chg="add del mod">
          <ac:chgData name="Steiner Andreas 6206 ED" userId="e6377c33-a923-4f14-8587-531c474c7b48" providerId="ADAL" clId="{6ECD27E6-B224-41CD-B4E0-E297462320DD}" dt="2023-11-24T11:39:16.143" v="138674"/>
          <ac:spMkLst>
            <pc:docMk/>
            <pc:sldMk cId="4099999037" sldId="2147478570"/>
            <ac:spMk id="903" creationId="{E138934B-7153-992A-2DDE-75DF06566158}"/>
          </ac:spMkLst>
        </pc:spChg>
        <pc:spChg chg="add del mod">
          <ac:chgData name="Steiner Andreas 6206 ED" userId="e6377c33-a923-4f14-8587-531c474c7b48" providerId="ADAL" clId="{6ECD27E6-B224-41CD-B4E0-E297462320DD}" dt="2023-11-24T11:39:19.001" v="138829"/>
          <ac:spMkLst>
            <pc:docMk/>
            <pc:sldMk cId="4099999037" sldId="2147478570"/>
            <ac:spMk id="904" creationId="{2B618B92-05DF-8463-70FE-837AC9DC3199}"/>
          </ac:spMkLst>
        </pc:spChg>
        <pc:spChg chg="add del mod">
          <ac:chgData name="Steiner Andreas 6206 ED" userId="e6377c33-a923-4f14-8587-531c474c7b48" providerId="ADAL" clId="{6ECD27E6-B224-41CD-B4E0-E297462320DD}" dt="2023-11-24T11:39:21.645" v="138984"/>
          <ac:spMkLst>
            <pc:docMk/>
            <pc:sldMk cId="4099999037" sldId="2147478570"/>
            <ac:spMk id="905" creationId="{337C9A8C-12B9-DF2F-25F4-84326ED9E74A}"/>
          </ac:spMkLst>
        </pc:spChg>
        <pc:spChg chg="add del mod">
          <ac:chgData name="Steiner Andreas 6206 ED" userId="e6377c33-a923-4f14-8587-531c474c7b48" providerId="ADAL" clId="{6ECD27E6-B224-41CD-B4E0-E297462320DD}" dt="2023-11-24T11:39:24.211" v="139139"/>
          <ac:spMkLst>
            <pc:docMk/>
            <pc:sldMk cId="4099999037" sldId="2147478570"/>
            <ac:spMk id="906" creationId="{730A79EB-EB8E-E77E-452D-C9DC0AB2BBE9}"/>
          </ac:spMkLst>
        </pc:spChg>
        <pc:spChg chg="add del mod">
          <ac:chgData name="Steiner Andreas 6206 ED" userId="e6377c33-a923-4f14-8587-531c474c7b48" providerId="ADAL" clId="{6ECD27E6-B224-41CD-B4E0-E297462320DD}" dt="2023-11-24T11:39:26.994" v="139294"/>
          <ac:spMkLst>
            <pc:docMk/>
            <pc:sldMk cId="4099999037" sldId="2147478570"/>
            <ac:spMk id="907" creationId="{18044032-56D0-6D5A-5393-645CF095728D}"/>
          </ac:spMkLst>
        </pc:spChg>
        <pc:spChg chg="add del mod">
          <ac:chgData name="Steiner Andreas 6206 ED" userId="e6377c33-a923-4f14-8587-531c474c7b48" providerId="ADAL" clId="{6ECD27E6-B224-41CD-B4E0-E297462320DD}" dt="2023-11-24T11:39:29.626" v="139449"/>
          <ac:spMkLst>
            <pc:docMk/>
            <pc:sldMk cId="4099999037" sldId="2147478570"/>
            <ac:spMk id="908" creationId="{205A6B16-AC16-341E-BD8C-573D262AD53C}"/>
          </ac:spMkLst>
        </pc:spChg>
        <pc:spChg chg="add del mod">
          <ac:chgData name="Steiner Andreas 6206 ED" userId="e6377c33-a923-4f14-8587-531c474c7b48" providerId="ADAL" clId="{6ECD27E6-B224-41CD-B4E0-E297462320DD}" dt="2023-11-24T11:39:32.659" v="139604"/>
          <ac:spMkLst>
            <pc:docMk/>
            <pc:sldMk cId="4099999037" sldId="2147478570"/>
            <ac:spMk id="909" creationId="{DF2EAC5B-8CBF-6123-F8BA-DE0B34689E4B}"/>
          </ac:spMkLst>
        </pc:spChg>
        <pc:spChg chg="add del mod">
          <ac:chgData name="Steiner Andreas 6206 ED" userId="e6377c33-a923-4f14-8587-531c474c7b48" providerId="ADAL" clId="{6ECD27E6-B224-41CD-B4E0-E297462320DD}" dt="2023-11-24T11:39:35.359" v="139759"/>
          <ac:spMkLst>
            <pc:docMk/>
            <pc:sldMk cId="4099999037" sldId="2147478570"/>
            <ac:spMk id="910" creationId="{4C9E13CA-B5CE-68BF-DCE7-176AD1C47F83}"/>
          </ac:spMkLst>
        </pc:spChg>
        <pc:spChg chg="add del mod">
          <ac:chgData name="Steiner Andreas 6206 ED" userId="e6377c33-a923-4f14-8587-531c474c7b48" providerId="ADAL" clId="{6ECD27E6-B224-41CD-B4E0-E297462320DD}" dt="2023-11-24T11:39:38.290" v="139914"/>
          <ac:spMkLst>
            <pc:docMk/>
            <pc:sldMk cId="4099999037" sldId="2147478570"/>
            <ac:spMk id="911" creationId="{6CB42814-48EF-39CF-CF91-47EA574A677B}"/>
          </ac:spMkLst>
        </pc:spChg>
        <pc:spChg chg="add del mod">
          <ac:chgData name="Steiner Andreas 6206 ED" userId="e6377c33-a923-4f14-8587-531c474c7b48" providerId="ADAL" clId="{6ECD27E6-B224-41CD-B4E0-E297462320DD}" dt="2023-11-24T11:39:40.952" v="140069"/>
          <ac:spMkLst>
            <pc:docMk/>
            <pc:sldMk cId="4099999037" sldId="2147478570"/>
            <ac:spMk id="912" creationId="{A8CCB105-0C0A-BAC1-F551-DED014C741BD}"/>
          </ac:spMkLst>
        </pc:spChg>
        <pc:spChg chg="add del mod">
          <ac:chgData name="Steiner Andreas 6206 ED" userId="e6377c33-a923-4f14-8587-531c474c7b48" providerId="ADAL" clId="{6ECD27E6-B224-41CD-B4E0-E297462320DD}" dt="2023-11-24T11:39:43.566" v="140224"/>
          <ac:spMkLst>
            <pc:docMk/>
            <pc:sldMk cId="4099999037" sldId="2147478570"/>
            <ac:spMk id="913" creationId="{752D4060-34B4-2603-4C54-B575670F4A55}"/>
          </ac:spMkLst>
        </pc:spChg>
        <pc:spChg chg="add del mod">
          <ac:chgData name="Steiner Andreas 6206 ED" userId="e6377c33-a923-4f14-8587-531c474c7b48" providerId="ADAL" clId="{6ECD27E6-B224-41CD-B4E0-E297462320DD}" dt="2023-11-24T11:39:46.146" v="140379"/>
          <ac:spMkLst>
            <pc:docMk/>
            <pc:sldMk cId="4099999037" sldId="2147478570"/>
            <ac:spMk id="914" creationId="{759829D5-174E-0791-9E68-0D3CDADC077A}"/>
          </ac:spMkLst>
        </pc:spChg>
        <pc:spChg chg="add del mod">
          <ac:chgData name="Steiner Andreas 6206 ED" userId="e6377c33-a923-4f14-8587-531c474c7b48" providerId="ADAL" clId="{6ECD27E6-B224-41CD-B4E0-E297462320DD}" dt="2023-11-24T11:39:48.579" v="140534"/>
          <ac:spMkLst>
            <pc:docMk/>
            <pc:sldMk cId="4099999037" sldId="2147478570"/>
            <ac:spMk id="915" creationId="{493D4CAC-0673-459E-3A92-6FA12E8751FE}"/>
          </ac:spMkLst>
        </pc:spChg>
        <pc:spChg chg="add del mod">
          <ac:chgData name="Steiner Andreas 6206 ED" userId="e6377c33-a923-4f14-8587-531c474c7b48" providerId="ADAL" clId="{6ECD27E6-B224-41CD-B4E0-E297462320DD}" dt="2023-11-24T11:39:51.585" v="140689"/>
          <ac:spMkLst>
            <pc:docMk/>
            <pc:sldMk cId="4099999037" sldId="2147478570"/>
            <ac:spMk id="916" creationId="{90EDAC43-11AB-6366-8A5B-148E32891555}"/>
          </ac:spMkLst>
        </pc:spChg>
        <pc:spChg chg="add del mod">
          <ac:chgData name="Steiner Andreas 6206 ED" userId="e6377c33-a923-4f14-8587-531c474c7b48" providerId="ADAL" clId="{6ECD27E6-B224-41CD-B4E0-E297462320DD}" dt="2023-11-24T11:39:54.459" v="140844"/>
          <ac:spMkLst>
            <pc:docMk/>
            <pc:sldMk cId="4099999037" sldId="2147478570"/>
            <ac:spMk id="917" creationId="{2F1E168F-346A-5B03-39BA-1DD7FA1508F3}"/>
          </ac:spMkLst>
        </pc:spChg>
        <pc:spChg chg="add del mod">
          <ac:chgData name="Steiner Andreas 6206 ED" userId="e6377c33-a923-4f14-8587-531c474c7b48" providerId="ADAL" clId="{6ECD27E6-B224-41CD-B4E0-E297462320DD}" dt="2023-11-24T11:39:56.980" v="140999"/>
          <ac:spMkLst>
            <pc:docMk/>
            <pc:sldMk cId="4099999037" sldId="2147478570"/>
            <ac:spMk id="918" creationId="{17793FDD-9196-0010-7588-90A5F54C6B69}"/>
          </ac:spMkLst>
        </pc:spChg>
        <pc:spChg chg="add del mod">
          <ac:chgData name="Steiner Andreas 6206 ED" userId="e6377c33-a923-4f14-8587-531c474c7b48" providerId="ADAL" clId="{6ECD27E6-B224-41CD-B4E0-E297462320DD}" dt="2023-11-24T11:39:59.339" v="141154"/>
          <ac:spMkLst>
            <pc:docMk/>
            <pc:sldMk cId="4099999037" sldId="2147478570"/>
            <ac:spMk id="919" creationId="{EB66940D-A599-0BD5-993C-4FD60B89991D}"/>
          </ac:spMkLst>
        </pc:spChg>
        <pc:spChg chg="add del mod">
          <ac:chgData name="Steiner Andreas 6206 ED" userId="e6377c33-a923-4f14-8587-531c474c7b48" providerId="ADAL" clId="{6ECD27E6-B224-41CD-B4E0-E297462320DD}" dt="2023-11-24T11:40:02.094" v="141309"/>
          <ac:spMkLst>
            <pc:docMk/>
            <pc:sldMk cId="4099999037" sldId="2147478570"/>
            <ac:spMk id="920" creationId="{E90D2AE7-57A5-FD00-7DC4-5F0A73F19386}"/>
          </ac:spMkLst>
        </pc:spChg>
        <pc:spChg chg="add del mod">
          <ac:chgData name="Steiner Andreas 6206 ED" userId="e6377c33-a923-4f14-8587-531c474c7b48" providerId="ADAL" clId="{6ECD27E6-B224-41CD-B4E0-E297462320DD}" dt="2023-11-24T11:40:04.947" v="141464"/>
          <ac:spMkLst>
            <pc:docMk/>
            <pc:sldMk cId="4099999037" sldId="2147478570"/>
            <ac:spMk id="921" creationId="{8200FC86-1244-415A-2E5F-6A66AD07A749}"/>
          </ac:spMkLst>
        </pc:spChg>
        <pc:spChg chg="add del mod">
          <ac:chgData name="Steiner Andreas 6206 ED" userId="e6377c33-a923-4f14-8587-531c474c7b48" providerId="ADAL" clId="{6ECD27E6-B224-41CD-B4E0-E297462320DD}" dt="2023-11-24T11:40:07.705" v="141619"/>
          <ac:spMkLst>
            <pc:docMk/>
            <pc:sldMk cId="4099999037" sldId="2147478570"/>
            <ac:spMk id="922" creationId="{705BBCFD-B6ED-8FC6-320A-55408FD611F6}"/>
          </ac:spMkLst>
        </pc:spChg>
        <pc:spChg chg="add del mod">
          <ac:chgData name="Steiner Andreas 6206 ED" userId="e6377c33-a923-4f14-8587-531c474c7b48" providerId="ADAL" clId="{6ECD27E6-B224-41CD-B4E0-E297462320DD}" dt="2023-11-24T11:40:10.132" v="141774"/>
          <ac:spMkLst>
            <pc:docMk/>
            <pc:sldMk cId="4099999037" sldId="2147478570"/>
            <ac:spMk id="923" creationId="{218D887A-D753-851B-186D-D8642EE99459}"/>
          </ac:spMkLst>
        </pc:spChg>
        <pc:spChg chg="add del mod">
          <ac:chgData name="Steiner Andreas 6206 ED" userId="e6377c33-a923-4f14-8587-531c474c7b48" providerId="ADAL" clId="{6ECD27E6-B224-41CD-B4E0-E297462320DD}" dt="2023-11-24T11:40:12.622" v="141929"/>
          <ac:spMkLst>
            <pc:docMk/>
            <pc:sldMk cId="4099999037" sldId="2147478570"/>
            <ac:spMk id="924" creationId="{85852068-08B8-CFD0-F16E-4025460F55A2}"/>
          </ac:spMkLst>
        </pc:spChg>
        <pc:spChg chg="add del mod">
          <ac:chgData name="Steiner Andreas 6206 ED" userId="e6377c33-a923-4f14-8587-531c474c7b48" providerId="ADAL" clId="{6ECD27E6-B224-41CD-B4E0-E297462320DD}" dt="2023-11-24T11:40:16.352" v="142084"/>
          <ac:spMkLst>
            <pc:docMk/>
            <pc:sldMk cId="4099999037" sldId="2147478570"/>
            <ac:spMk id="925" creationId="{F50297E6-BD63-EC23-2421-2D28F0D58082}"/>
          </ac:spMkLst>
        </pc:spChg>
        <pc:spChg chg="add del mod">
          <ac:chgData name="Steiner Andreas 6206 ED" userId="e6377c33-a923-4f14-8587-531c474c7b48" providerId="ADAL" clId="{6ECD27E6-B224-41CD-B4E0-E297462320DD}" dt="2023-11-24T11:40:19.724" v="142239"/>
          <ac:spMkLst>
            <pc:docMk/>
            <pc:sldMk cId="4099999037" sldId="2147478570"/>
            <ac:spMk id="926" creationId="{09BA2AAC-35B0-DC75-1EF6-109E2FB8154D}"/>
          </ac:spMkLst>
        </pc:spChg>
        <pc:spChg chg="add del mod">
          <ac:chgData name="Steiner Andreas 6206 ED" userId="e6377c33-a923-4f14-8587-531c474c7b48" providerId="ADAL" clId="{6ECD27E6-B224-41CD-B4E0-E297462320DD}" dt="2023-11-24T11:40:22.525" v="142394"/>
          <ac:spMkLst>
            <pc:docMk/>
            <pc:sldMk cId="4099999037" sldId="2147478570"/>
            <ac:spMk id="927" creationId="{A4A473FA-B9CD-883B-4F04-C5651EA77B47}"/>
          </ac:spMkLst>
        </pc:spChg>
        <pc:spChg chg="add del mod">
          <ac:chgData name="Steiner Andreas 6206 ED" userId="e6377c33-a923-4f14-8587-531c474c7b48" providerId="ADAL" clId="{6ECD27E6-B224-41CD-B4E0-E297462320DD}" dt="2023-11-24T11:40:25.205" v="142549"/>
          <ac:spMkLst>
            <pc:docMk/>
            <pc:sldMk cId="4099999037" sldId="2147478570"/>
            <ac:spMk id="928" creationId="{CB902F6C-BA1B-B889-9C19-662F9B3957B2}"/>
          </ac:spMkLst>
        </pc:spChg>
        <pc:spChg chg="add del mod">
          <ac:chgData name="Steiner Andreas 6206 ED" userId="e6377c33-a923-4f14-8587-531c474c7b48" providerId="ADAL" clId="{6ECD27E6-B224-41CD-B4E0-E297462320DD}" dt="2023-11-24T11:40:28.319" v="142704"/>
          <ac:spMkLst>
            <pc:docMk/>
            <pc:sldMk cId="4099999037" sldId="2147478570"/>
            <ac:spMk id="929" creationId="{A4DAF9EE-1BEC-E9E2-6C77-D6655AC2DFE5}"/>
          </ac:spMkLst>
        </pc:spChg>
        <pc:spChg chg="add del mod">
          <ac:chgData name="Steiner Andreas 6206 ED" userId="e6377c33-a923-4f14-8587-531c474c7b48" providerId="ADAL" clId="{6ECD27E6-B224-41CD-B4E0-E297462320DD}" dt="2023-11-24T11:40:30.991" v="142859"/>
          <ac:spMkLst>
            <pc:docMk/>
            <pc:sldMk cId="4099999037" sldId="2147478570"/>
            <ac:spMk id="930" creationId="{62D41DC1-0914-013A-4D94-5C5E2D10EB22}"/>
          </ac:spMkLst>
        </pc:spChg>
        <pc:spChg chg="add del mod">
          <ac:chgData name="Steiner Andreas 6206 ED" userId="e6377c33-a923-4f14-8587-531c474c7b48" providerId="ADAL" clId="{6ECD27E6-B224-41CD-B4E0-E297462320DD}" dt="2023-11-24T11:40:33.556" v="143014"/>
          <ac:spMkLst>
            <pc:docMk/>
            <pc:sldMk cId="4099999037" sldId="2147478570"/>
            <ac:spMk id="931" creationId="{C155F5CE-1A1B-17D2-5D74-FA37C6BF8D03}"/>
          </ac:spMkLst>
        </pc:spChg>
        <pc:spChg chg="add del mod">
          <ac:chgData name="Steiner Andreas 6206 ED" userId="e6377c33-a923-4f14-8587-531c474c7b48" providerId="ADAL" clId="{6ECD27E6-B224-41CD-B4E0-E297462320DD}" dt="2023-11-24T11:40:36.277" v="143169"/>
          <ac:spMkLst>
            <pc:docMk/>
            <pc:sldMk cId="4099999037" sldId="2147478570"/>
            <ac:spMk id="932" creationId="{FEEF7F8D-0EA0-B1A2-E50A-82159705A691}"/>
          </ac:spMkLst>
        </pc:spChg>
        <pc:spChg chg="add del mod">
          <ac:chgData name="Steiner Andreas 6206 ED" userId="e6377c33-a923-4f14-8587-531c474c7b48" providerId="ADAL" clId="{6ECD27E6-B224-41CD-B4E0-E297462320DD}" dt="2023-11-24T11:40:39.288" v="143324"/>
          <ac:spMkLst>
            <pc:docMk/>
            <pc:sldMk cId="4099999037" sldId="2147478570"/>
            <ac:spMk id="933" creationId="{50AD59A4-7745-93AB-419E-5FF8D428C317}"/>
          </ac:spMkLst>
        </pc:spChg>
        <pc:spChg chg="add del mod">
          <ac:chgData name="Steiner Andreas 6206 ED" userId="e6377c33-a923-4f14-8587-531c474c7b48" providerId="ADAL" clId="{6ECD27E6-B224-41CD-B4E0-E297462320DD}" dt="2023-11-24T11:40:42.290" v="143479"/>
          <ac:spMkLst>
            <pc:docMk/>
            <pc:sldMk cId="4099999037" sldId="2147478570"/>
            <ac:spMk id="934" creationId="{69AC0AD8-734A-8495-C1DB-1A2563F5EC8F}"/>
          </ac:spMkLst>
        </pc:spChg>
        <pc:spChg chg="add del mod">
          <ac:chgData name="Steiner Andreas 6206 ED" userId="e6377c33-a923-4f14-8587-531c474c7b48" providerId="ADAL" clId="{6ECD27E6-B224-41CD-B4E0-E297462320DD}" dt="2023-11-24T11:40:44.960" v="143634"/>
          <ac:spMkLst>
            <pc:docMk/>
            <pc:sldMk cId="4099999037" sldId="2147478570"/>
            <ac:spMk id="935" creationId="{F8AD9153-D12A-37A5-38F2-9A65E3FEE9EE}"/>
          </ac:spMkLst>
        </pc:spChg>
        <pc:spChg chg="add del mod">
          <ac:chgData name="Steiner Andreas 6206 ED" userId="e6377c33-a923-4f14-8587-531c474c7b48" providerId="ADAL" clId="{6ECD27E6-B224-41CD-B4E0-E297462320DD}" dt="2023-11-24T11:40:47.716" v="143789"/>
          <ac:spMkLst>
            <pc:docMk/>
            <pc:sldMk cId="4099999037" sldId="2147478570"/>
            <ac:spMk id="936" creationId="{1E187710-FAFA-24CA-4350-6246A4A5F43A}"/>
          </ac:spMkLst>
        </pc:spChg>
        <pc:spChg chg="add del mod">
          <ac:chgData name="Steiner Andreas 6206 ED" userId="e6377c33-a923-4f14-8587-531c474c7b48" providerId="ADAL" clId="{6ECD27E6-B224-41CD-B4E0-E297462320DD}" dt="2023-11-24T11:40:50.471" v="143944"/>
          <ac:spMkLst>
            <pc:docMk/>
            <pc:sldMk cId="4099999037" sldId="2147478570"/>
            <ac:spMk id="937" creationId="{25760515-C2A0-0C88-D974-2B4BB143C794}"/>
          </ac:spMkLst>
        </pc:spChg>
        <pc:spChg chg="add del mod">
          <ac:chgData name="Steiner Andreas 6206 ED" userId="e6377c33-a923-4f14-8587-531c474c7b48" providerId="ADAL" clId="{6ECD27E6-B224-41CD-B4E0-E297462320DD}" dt="2023-11-24T11:40:53.340" v="144099"/>
          <ac:spMkLst>
            <pc:docMk/>
            <pc:sldMk cId="4099999037" sldId="2147478570"/>
            <ac:spMk id="938" creationId="{93E9D98C-65DC-5F6E-E4D4-87065ABA98C6}"/>
          </ac:spMkLst>
        </pc:spChg>
        <pc:spChg chg="add del mod">
          <ac:chgData name="Steiner Andreas 6206 ED" userId="e6377c33-a923-4f14-8587-531c474c7b48" providerId="ADAL" clId="{6ECD27E6-B224-41CD-B4E0-E297462320DD}" dt="2023-11-24T11:40:56.013" v="144254"/>
          <ac:spMkLst>
            <pc:docMk/>
            <pc:sldMk cId="4099999037" sldId="2147478570"/>
            <ac:spMk id="939" creationId="{6431F37D-B6E5-168E-BACF-DDCDCFE6010B}"/>
          </ac:spMkLst>
        </pc:spChg>
        <pc:spChg chg="add del mod">
          <ac:chgData name="Steiner Andreas 6206 ED" userId="e6377c33-a923-4f14-8587-531c474c7b48" providerId="ADAL" clId="{6ECD27E6-B224-41CD-B4E0-E297462320DD}" dt="2023-11-24T11:40:58.592" v="144409"/>
          <ac:spMkLst>
            <pc:docMk/>
            <pc:sldMk cId="4099999037" sldId="2147478570"/>
            <ac:spMk id="940" creationId="{18F27717-E0DD-5CFA-6210-C4F3E3901A0A}"/>
          </ac:spMkLst>
        </pc:spChg>
        <pc:spChg chg="add del mod">
          <ac:chgData name="Steiner Andreas 6206 ED" userId="e6377c33-a923-4f14-8587-531c474c7b48" providerId="ADAL" clId="{6ECD27E6-B224-41CD-B4E0-E297462320DD}" dt="2023-11-24T11:41:01.167" v="144564"/>
          <ac:spMkLst>
            <pc:docMk/>
            <pc:sldMk cId="4099999037" sldId="2147478570"/>
            <ac:spMk id="941" creationId="{8D20EAA6-82EA-C65A-9A21-B5AF8A1B312D}"/>
          </ac:spMkLst>
        </pc:spChg>
        <pc:spChg chg="add del mod">
          <ac:chgData name="Steiner Andreas 6206 ED" userId="e6377c33-a923-4f14-8587-531c474c7b48" providerId="ADAL" clId="{6ECD27E6-B224-41CD-B4E0-E297462320DD}" dt="2023-11-24T11:41:03.830" v="144719"/>
          <ac:spMkLst>
            <pc:docMk/>
            <pc:sldMk cId="4099999037" sldId="2147478570"/>
            <ac:spMk id="942" creationId="{968F7BA5-EA5B-D579-E2D0-E263E9F262B0}"/>
          </ac:spMkLst>
        </pc:spChg>
        <pc:spChg chg="add del mod">
          <ac:chgData name="Steiner Andreas 6206 ED" userId="e6377c33-a923-4f14-8587-531c474c7b48" providerId="ADAL" clId="{6ECD27E6-B224-41CD-B4E0-E297462320DD}" dt="2023-11-24T11:41:06.982" v="144874"/>
          <ac:spMkLst>
            <pc:docMk/>
            <pc:sldMk cId="4099999037" sldId="2147478570"/>
            <ac:spMk id="943" creationId="{754E3353-A81F-2043-E8D6-94BC1355F70E}"/>
          </ac:spMkLst>
        </pc:spChg>
        <pc:spChg chg="add del mod">
          <ac:chgData name="Steiner Andreas 6206 ED" userId="e6377c33-a923-4f14-8587-531c474c7b48" providerId="ADAL" clId="{6ECD27E6-B224-41CD-B4E0-E297462320DD}" dt="2023-11-24T11:41:10.110" v="145029"/>
          <ac:spMkLst>
            <pc:docMk/>
            <pc:sldMk cId="4099999037" sldId="2147478570"/>
            <ac:spMk id="944" creationId="{AF2F506C-2B6F-0875-0492-40B57C418B81}"/>
          </ac:spMkLst>
        </pc:spChg>
        <pc:spChg chg="add del mod">
          <ac:chgData name="Steiner Andreas 6206 ED" userId="e6377c33-a923-4f14-8587-531c474c7b48" providerId="ADAL" clId="{6ECD27E6-B224-41CD-B4E0-E297462320DD}" dt="2023-11-24T11:41:12.948" v="145184"/>
          <ac:spMkLst>
            <pc:docMk/>
            <pc:sldMk cId="4099999037" sldId="2147478570"/>
            <ac:spMk id="945" creationId="{A3F6B319-C257-A865-69A1-520DDFD02132}"/>
          </ac:spMkLst>
        </pc:spChg>
        <pc:spChg chg="add del mod">
          <ac:chgData name="Steiner Andreas 6206 ED" userId="e6377c33-a923-4f14-8587-531c474c7b48" providerId="ADAL" clId="{6ECD27E6-B224-41CD-B4E0-E297462320DD}" dt="2023-11-24T11:41:15.978" v="145339"/>
          <ac:spMkLst>
            <pc:docMk/>
            <pc:sldMk cId="4099999037" sldId="2147478570"/>
            <ac:spMk id="946" creationId="{1D7D2EB3-62DA-2AB9-E06C-706D5E887278}"/>
          </ac:spMkLst>
        </pc:spChg>
        <pc:spChg chg="add del mod">
          <ac:chgData name="Steiner Andreas 6206 ED" userId="e6377c33-a923-4f14-8587-531c474c7b48" providerId="ADAL" clId="{6ECD27E6-B224-41CD-B4E0-E297462320DD}" dt="2023-11-24T11:41:19.199" v="145494"/>
          <ac:spMkLst>
            <pc:docMk/>
            <pc:sldMk cId="4099999037" sldId="2147478570"/>
            <ac:spMk id="947" creationId="{521C1EF0-D607-2DF6-A7E9-04275E12F28A}"/>
          </ac:spMkLst>
        </pc:spChg>
        <pc:spChg chg="add del mod">
          <ac:chgData name="Steiner Andreas 6206 ED" userId="e6377c33-a923-4f14-8587-531c474c7b48" providerId="ADAL" clId="{6ECD27E6-B224-41CD-B4E0-E297462320DD}" dt="2023-11-24T11:41:21.738" v="145649"/>
          <ac:spMkLst>
            <pc:docMk/>
            <pc:sldMk cId="4099999037" sldId="2147478570"/>
            <ac:spMk id="948" creationId="{0ACB9B21-ABEE-E092-42EC-98802E34C08D}"/>
          </ac:spMkLst>
        </pc:spChg>
        <pc:spChg chg="add del mod">
          <ac:chgData name="Steiner Andreas 6206 ED" userId="e6377c33-a923-4f14-8587-531c474c7b48" providerId="ADAL" clId="{6ECD27E6-B224-41CD-B4E0-E297462320DD}" dt="2023-11-24T11:41:25.624" v="145804"/>
          <ac:spMkLst>
            <pc:docMk/>
            <pc:sldMk cId="4099999037" sldId="2147478570"/>
            <ac:spMk id="949" creationId="{520E8398-1E4D-2BAE-D587-AE4295DAA2B3}"/>
          </ac:spMkLst>
        </pc:spChg>
        <pc:spChg chg="add del mod">
          <ac:chgData name="Steiner Andreas 6206 ED" userId="e6377c33-a923-4f14-8587-531c474c7b48" providerId="ADAL" clId="{6ECD27E6-B224-41CD-B4E0-E297462320DD}" dt="2023-11-24T11:41:28.619" v="145959"/>
          <ac:spMkLst>
            <pc:docMk/>
            <pc:sldMk cId="4099999037" sldId="2147478570"/>
            <ac:spMk id="950" creationId="{5FD5977F-0373-7F25-0207-0F2ACBC28DC0}"/>
          </ac:spMkLst>
        </pc:spChg>
        <pc:spChg chg="add del mod">
          <ac:chgData name="Steiner Andreas 6206 ED" userId="e6377c33-a923-4f14-8587-531c474c7b48" providerId="ADAL" clId="{6ECD27E6-B224-41CD-B4E0-E297462320DD}" dt="2023-11-24T11:41:31.340" v="146114"/>
          <ac:spMkLst>
            <pc:docMk/>
            <pc:sldMk cId="4099999037" sldId="2147478570"/>
            <ac:spMk id="951" creationId="{09EEAC45-75BE-5126-893E-0006BF8A7B98}"/>
          </ac:spMkLst>
        </pc:spChg>
        <pc:spChg chg="add del mod">
          <ac:chgData name="Steiner Andreas 6206 ED" userId="e6377c33-a923-4f14-8587-531c474c7b48" providerId="ADAL" clId="{6ECD27E6-B224-41CD-B4E0-E297462320DD}" dt="2023-11-24T11:41:33.524" v="146269"/>
          <ac:spMkLst>
            <pc:docMk/>
            <pc:sldMk cId="4099999037" sldId="2147478570"/>
            <ac:spMk id="952" creationId="{F871EA8D-C10A-EE33-609C-3D11E948269F}"/>
          </ac:spMkLst>
        </pc:spChg>
        <pc:spChg chg="add del mod">
          <ac:chgData name="Steiner Andreas 6206 ED" userId="e6377c33-a923-4f14-8587-531c474c7b48" providerId="ADAL" clId="{6ECD27E6-B224-41CD-B4E0-E297462320DD}" dt="2023-11-24T11:41:35.649" v="146424"/>
          <ac:spMkLst>
            <pc:docMk/>
            <pc:sldMk cId="4099999037" sldId="2147478570"/>
            <ac:spMk id="953" creationId="{88ABDFE2-1B10-10B2-48D1-97FA36889028}"/>
          </ac:spMkLst>
        </pc:spChg>
        <pc:spChg chg="add del mod">
          <ac:chgData name="Steiner Andreas 6206 ED" userId="e6377c33-a923-4f14-8587-531c474c7b48" providerId="ADAL" clId="{6ECD27E6-B224-41CD-B4E0-E297462320DD}" dt="2023-11-24T11:41:37.855" v="146579"/>
          <ac:spMkLst>
            <pc:docMk/>
            <pc:sldMk cId="4099999037" sldId="2147478570"/>
            <ac:spMk id="954" creationId="{51BB5708-F2F1-9838-D2F5-E5F728A6E188}"/>
          </ac:spMkLst>
        </pc:spChg>
        <pc:spChg chg="add del mod">
          <ac:chgData name="Steiner Andreas 6206 ED" userId="e6377c33-a923-4f14-8587-531c474c7b48" providerId="ADAL" clId="{6ECD27E6-B224-41CD-B4E0-E297462320DD}" dt="2023-11-24T11:41:40.615" v="146734"/>
          <ac:spMkLst>
            <pc:docMk/>
            <pc:sldMk cId="4099999037" sldId="2147478570"/>
            <ac:spMk id="955" creationId="{9ACE9ECB-C25B-59F8-9187-D66BA39AD212}"/>
          </ac:spMkLst>
        </pc:spChg>
        <pc:spChg chg="add del mod">
          <ac:chgData name="Steiner Andreas 6206 ED" userId="e6377c33-a923-4f14-8587-531c474c7b48" providerId="ADAL" clId="{6ECD27E6-B224-41CD-B4E0-E297462320DD}" dt="2023-11-24T11:41:42.784" v="146889"/>
          <ac:spMkLst>
            <pc:docMk/>
            <pc:sldMk cId="4099999037" sldId="2147478570"/>
            <ac:spMk id="956" creationId="{71B761F6-AB52-6303-948C-0DAFEA08F438}"/>
          </ac:spMkLst>
        </pc:spChg>
        <pc:spChg chg="add del mod">
          <ac:chgData name="Steiner Andreas 6206 ED" userId="e6377c33-a923-4f14-8587-531c474c7b48" providerId="ADAL" clId="{6ECD27E6-B224-41CD-B4E0-E297462320DD}" dt="2023-11-24T11:41:44.843" v="147044"/>
          <ac:spMkLst>
            <pc:docMk/>
            <pc:sldMk cId="4099999037" sldId="2147478570"/>
            <ac:spMk id="957" creationId="{3F517C7C-607E-D483-0F09-837D5A0FBF28}"/>
          </ac:spMkLst>
        </pc:spChg>
        <pc:spChg chg="add del mod">
          <ac:chgData name="Steiner Andreas 6206 ED" userId="e6377c33-a923-4f14-8587-531c474c7b48" providerId="ADAL" clId="{6ECD27E6-B224-41CD-B4E0-E297462320DD}" dt="2023-11-24T11:41:47.352" v="147199"/>
          <ac:spMkLst>
            <pc:docMk/>
            <pc:sldMk cId="4099999037" sldId="2147478570"/>
            <ac:spMk id="958" creationId="{A17A5FBA-AE59-82FE-B381-FA3CF9F5138E}"/>
          </ac:spMkLst>
        </pc:spChg>
        <pc:spChg chg="add del mod">
          <ac:chgData name="Steiner Andreas 6206 ED" userId="e6377c33-a923-4f14-8587-531c474c7b48" providerId="ADAL" clId="{6ECD27E6-B224-41CD-B4E0-E297462320DD}" dt="2023-11-24T11:41:49.472" v="147354"/>
          <ac:spMkLst>
            <pc:docMk/>
            <pc:sldMk cId="4099999037" sldId="2147478570"/>
            <ac:spMk id="959" creationId="{1695D64A-C8AD-BA67-4C62-0C7EEC24C707}"/>
          </ac:spMkLst>
        </pc:spChg>
        <pc:spChg chg="add del mod">
          <ac:chgData name="Steiner Andreas 6206 ED" userId="e6377c33-a923-4f14-8587-531c474c7b48" providerId="ADAL" clId="{6ECD27E6-B224-41CD-B4E0-E297462320DD}" dt="2023-11-24T11:41:51.798" v="147509"/>
          <ac:spMkLst>
            <pc:docMk/>
            <pc:sldMk cId="4099999037" sldId="2147478570"/>
            <ac:spMk id="960" creationId="{691951E2-513F-2FC6-921D-03E3CAC53BA2}"/>
          </ac:spMkLst>
        </pc:spChg>
        <pc:spChg chg="add del mod">
          <ac:chgData name="Steiner Andreas 6206 ED" userId="e6377c33-a923-4f14-8587-531c474c7b48" providerId="ADAL" clId="{6ECD27E6-B224-41CD-B4E0-E297462320DD}" dt="2023-11-24T11:41:54.229" v="147664"/>
          <ac:spMkLst>
            <pc:docMk/>
            <pc:sldMk cId="4099999037" sldId="2147478570"/>
            <ac:spMk id="961" creationId="{6D06FF17-8BE2-46D1-7604-452492196AB5}"/>
          </ac:spMkLst>
        </pc:spChg>
        <pc:spChg chg="add del mod">
          <ac:chgData name="Steiner Andreas 6206 ED" userId="e6377c33-a923-4f14-8587-531c474c7b48" providerId="ADAL" clId="{6ECD27E6-B224-41CD-B4E0-E297462320DD}" dt="2023-11-24T11:41:57.313" v="147819"/>
          <ac:spMkLst>
            <pc:docMk/>
            <pc:sldMk cId="4099999037" sldId="2147478570"/>
            <ac:spMk id="962" creationId="{83D6F3F8-5C5B-D696-0851-918A6E33DB5B}"/>
          </ac:spMkLst>
        </pc:spChg>
        <pc:spChg chg="add del mod">
          <ac:chgData name="Steiner Andreas 6206 ED" userId="e6377c33-a923-4f14-8587-531c474c7b48" providerId="ADAL" clId="{6ECD27E6-B224-41CD-B4E0-E297462320DD}" dt="2023-11-24T11:42:00.681" v="147974"/>
          <ac:spMkLst>
            <pc:docMk/>
            <pc:sldMk cId="4099999037" sldId="2147478570"/>
            <ac:spMk id="963" creationId="{2D936727-0477-8CE9-B427-8EC11D58EF96}"/>
          </ac:spMkLst>
        </pc:spChg>
        <pc:spChg chg="add del mod">
          <ac:chgData name="Steiner Andreas 6206 ED" userId="e6377c33-a923-4f14-8587-531c474c7b48" providerId="ADAL" clId="{6ECD27E6-B224-41CD-B4E0-E297462320DD}" dt="2023-11-24T11:42:04.009" v="148129"/>
          <ac:spMkLst>
            <pc:docMk/>
            <pc:sldMk cId="4099999037" sldId="2147478570"/>
            <ac:spMk id="964" creationId="{FB604698-075A-5E93-0FFE-F99B54676DB1}"/>
          </ac:spMkLst>
        </pc:spChg>
        <pc:spChg chg="add del mod">
          <ac:chgData name="Steiner Andreas 6206 ED" userId="e6377c33-a923-4f14-8587-531c474c7b48" providerId="ADAL" clId="{6ECD27E6-B224-41CD-B4E0-E297462320DD}" dt="2023-11-24T11:42:06.505" v="148284"/>
          <ac:spMkLst>
            <pc:docMk/>
            <pc:sldMk cId="4099999037" sldId="2147478570"/>
            <ac:spMk id="965" creationId="{B35E0CDE-D633-74AF-BC69-8AFDF67C09DB}"/>
          </ac:spMkLst>
        </pc:spChg>
        <pc:spChg chg="add del mod">
          <ac:chgData name="Steiner Andreas 6206 ED" userId="e6377c33-a923-4f14-8587-531c474c7b48" providerId="ADAL" clId="{6ECD27E6-B224-41CD-B4E0-E297462320DD}" dt="2023-11-24T11:42:08.769" v="148439"/>
          <ac:spMkLst>
            <pc:docMk/>
            <pc:sldMk cId="4099999037" sldId="2147478570"/>
            <ac:spMk id="966" creationId="{8A22B164-8B74-631F-C831-ADA24AEC186E}"/>
          </ac:spMkLst>
        </pc:spChg>
        <pc:spChg chg="add del mod">
          <ac:chgData name="Steiner Andreas 6206 ED" userId="e6377c33-a923-4f14-8587-531c474c7b48" providerId="ADAL" clId="{6ECD27E6-B224-41CD-B4E0-E297462320DD}" dt="2023-11-24T11:42:11.349" v="148594"/>
          <ac:spMkLst>
            <pc:docMk/>
            <pc:sldMk cId="4099999037" sldId="2147478570"/>
            <ac:spMk id="967" creationId="{900C8998-5DE5-FA5C-CEC7-0DBE8F979E1E}"/>
          </ac:spMkLst>
        </pc:spChg>
        <pc:spChg chg="add del mod">
          <ac:chgData name="Steiner Andreas 6206 ED" userId="e6377c33-a923-4f14-8587-531c474c7b48" providerId="ADAL" clId="{6ECD27E6-B224-41CD-B4E0-E297462320DD}" dt="2023-11-24T11:42:13.964" v="148749"/>
          <ac:spMkLst>
            <pc:docMk/>
            <pc:sldMk cId="4099999037" sldId="2147478570"/>
            <ac:spMk id="968" creationId="{AD18EB4E-6F35-4CC0-4C8D-0B5C3C43A9E2}"/>
          </ac:spMkLst>
        </pc:spChg>
        <pc:spChg chg="add del mod">
          <ac:chgData name="Steiner Andreas 6206 ED" userId="e6377c33-a923-4f14-8587-531c474c7b48" providerId="ADAL" clId="{6ECD27E6-B224-41CD-B4E0-E297462320DD}" dt="2023-11-24T11:42:16.263" v="148904"/>
          <ac:spMkLst>
            <pc:docMk/>
            <pc:sldMk cId="4099999037" sldId="2147478570"/>
            <ac:spMk id="969" creationId="{59282DA4-34C9-4C67-474E-1E37B74F27A7}"/>
          </ac:spMkLst>
        </pc:spChg>
        <pc:spChg chg="add del mod">
          <ac:chgData name="Steiner Andreas 6206 ED" userId="e6377c33-a923-4f14-8587-531c474c7b48" providerId="ADAL" clId="{6ECD27E6-B224-41CD-B4E0-E297462320DD}" dt="2023-11-24T11:42:18.388" v="149059"/>
          <ac:spMkLst>
            <pc:docMk/>
            <pc:sldMk cId="4099999037" sldId="2147478570"/>
            <ac:spMk id="970" creationId="{162FF87B-D7D1-4224-B3FD-50453DCD9584}"/>
          </ac:spMkLst>
        </pc:spChg>
        <pc:spChg chg="add del mod">
          <ac:chgData name="Steiner Andreas 6206 ED" userId="e6377c33-a923-4f14-8587-531c474c7b48" providerId="ADAL" clId="{6ECD27E6-B224-41CD-B4E0-E297462320DD}" dt="2023-11-24T11:42:20.423" v="149214"/>
          <ac:spMkLst>
            <pc:docMk/>
            <pc:sldMk cId="4099999037" sldId="2147478570"/>
            <ac:spMk id="971" creationId="{CB674204-A756-BE85-1F2A-7C3A5457D92C}"/>
          </ac:spMkLst>
        </pc:spChg>
        <pc:spChg chg="add del mod">
          <ac:chgData name="Steiner Andreas 6206 ED" userId="e6377c33-a923-4f14-8587-531c474c7b48" providerId="ADAL" clId="{6ECD27E6-B224-41CD-B4E0-E297462320DD}" dt="2023-11-24T11:42:22.502" v="149369"/>
          <ac:spMkLst>
            <pc:docMk/>
            <pc:sldMk cId="4099999037" sldId="2147478570"/>
            <ac:spMk id="972" creationId="{5319868A-C0D0-0359-D9E3-A236862FC214}"/>
          </ac:spMkLst>
        </pc:spChg>
        <pc:spChg chg="add del mod">
          <ac:chgData name="Steiner Andreas 6206 ED" userId="e6377c33-a923-4f14-8587-531c474c7b48" providerId="ADAL" clId="{6ECD27E6-B224-41CD-B4E0-E297462320DD}" dt="2023-11-24T11:42:24.448" v="149524"/>
          <ac:spMkLst>
            <pc:docMk/>
            <pc:sldMk cId="4099999037" sldId="2147478570"/>
            <ac:spMk id="973" creationId="{EBB8D78D-2AB6-3475-14B4-C1CACDDBD405}"/>
          </ac:spMkLst>
        </pc:spChg>
        <pc:spChg chg="add del mod">
          <ac:chgData name="Steiner Andreas 6206 ED" userId="e6377c33-a923-4f14-8587-531c474c7b48" providerId="ADAL" clId="{6ECD27E6-B224-41CD-B4E0-E297462320DD}" dt="2023-11-24T11:42:26.379" v="149679"/>
          <ac:spMkLst>
            <pc:docMk/>
            <pc:sldMk cId="4099999037" sldId="2147478570"/>
            <ac:spMk id="974" creationId="{0C5A6853-D1A2-FDAE-63B2-C25FBF2B993B}"/>
          </ac:spMkLst>
        </pc:spChg>
        <pc:spChg chg="add del mod">
          <ac:chgData name="Steiner Andreas 6206 ED" userId="e6377c33-a923-4f14-8587-531c474c7b48" providerId="ADAL" clId="{6ECD27E6-B224-41CD-B4E0-E297462320DD}" dt="2023-11-24T11:42:29.482" v="149834"/>
          <ac:spMkLst>
            <pc:docMk/>
            <pc:sldMk cId="4099999037" sldId="2147478570"/>
            <ac:spMk id="975" creationId="{EE879C05-5853-4422-C2F8-57526231F954}"/>
          </ac:spMkLst>
        </pc:spChg>
        <pc:spChg chg="add del mod">
          <ac:chgData name="Steiner Andreas 6206 ED" userId="e6377c33-a923-4f14-8587-531c474c7b48" providerId="ADAL" clId="{6ECD27E6-B224-41CD-B4E0-E297462320DD}" dt="2023-11-24T11:42:32.462" v="149989"/>
          <ac:spMkLst>
            <pc:docMk/>
            <pc:sldMk cId="4099999037" sldId="2147478570"/>
            <ac:spMk id="976" creationId="{2C90A243-47A1-F742-8F92-B69C8DBD8468}"/>
          </ac:spMkLst>
        </pc:spChg>
        <pc:spChg chg="add del mod">
          <ac:chgData name="Steiner Andreas 6206 ED" userId="e6377c33-a923-4f14-8587-531c474c7b48" providerId="ADAL" clId="{6ECD27E6-B224-41CD-B4E0-E297462320DD}" dt="2023-11-24T11:42:35.738" v="150144"/>
          <ac:spMkLst>
            <pc:docMk/>
            <pc:sldMk cId="4099999037" sldId="2147478570"/>
            <ac:spMk id="977" creationId="{BF051A22-7157-8C2F-75D0-E9000631A77B}"/>
          </ac:spMkLst>
        </pc:spChg>
        <pc:spChg chg="add del mod">
          <ac:chgData name="Steiner Andreas 6206 ED" userId="e6377c33-a923-4f14-8587-531c474c7b48" providerId="ADAL" clId="{6ECD27E6-B224-41CD-B4E0-E297462320DD}" dt="2023-11-24T11:42:38.036" v="150299"/>
          <ac:spMkLst>
            <pc:docMk/>
            <pc:sldMk cId="4099999037" sldId="2147478570"/>
            <ac:spMk id="978" creationId="{D9E92130-56FB-C16B-DB3D-ABF5E5589D76}"/>
          </ac:spMkLst>
        </pc:spChg>
        <pc:spChg chg="add del mod">
          <ac:chgData name="Steiner Andreas 6206 ED" userId="e6377c33-a923-4f14-8587-531c474c7b48" providerId="ADAL" clId="{6ECD27E6-B224-41CD-B4E0-E297462320DD}" dt="2023-11-24T11:42:40.140" v="150454"/>
          <ac:spMkLst>
            <pc:docMk/>
            <pc:sldMk cId="4099999037" sldId="2147478570"/>
            <ac:spMk id="979" creationId="{02E9779A-7966-73D8-5693-11197ACDB6BA}"/>
          </ac:spMkLst>
        </pc:spChg>
        <pc:spChg chg="add del mod">
          <ac:chgData name="Steiner Andreas 6206 ED" userId="e6377c33-a923-4f14-8587-531c474c7b48" providerId="ADAL" clId="{6ECD27E6-B224-41CD-B4E0-E297462320DD}" dt="2023-11-24T11:42:42.195" v="150609"/>
          <ac:spMkLst>
            <pc:docMk/>
            <pc:sldMk cId="4099999037" sldId="2147478570"/>
            <ac:spMk id="980" creationId="{C738276F-5D3F-F5FB-19AE-E172A8BF000C}"/>
          </ac:spMkLst>
        </pc:spChg>
        <pc:spChg chg="add del mod">
          <ac:chgData name="Steiner Andreas 6206 ED" userId="e6377c33-a923-4f14-8587-531c474c7b48" providerId="ADAL" clId="{6ECD27E6-B224-41CD-B4E0-E297462320DD}" dt="2023-11-24T11:42:44.294" v="150764"/>
          <ac:spMkLst>
            <pc:docMk/>
            <pc:sldMk cId="4099999037" sldId="2147478570"/>
            <ac:spMk id="981" creationId="{E8EB47FC-07FA-9932-8EBA-A450AAF577C7}"/>
          </ac:spMkLst>
        </pc:spChg>
        <pc:spChg chg="add del mod">
          <ac:chgData name="Steiner Andreas 6206 ED" userId="e6377c33-a923-4f14-8587-531c474c7b48" providerId="ADAL" clId="{6ECD27E6-B224-41CD-B4E0-E297462320DD}" dt="2023-11-24T11:42:46.539" v="150919"/>
          <ac:spMkLst>
            <pc:docMk/>
            <pc:sldMk cId="4099999037" sldId="2147478570"/>
            <ac:spMk id="982" creationId="{B06E8F9F-E45F-AF51-CCD4-22C52835790C}"/>
          </ac:spMkLst>
        </pc:spChg>
        <pc:spChg chg="add del mod">
          <ac:chgData name="Steiner Andreas 6206 ED" userId="e6377c33-a923-4f14-8587-531c474c7b48" providerId="ADAL" clId="{6ECD27E6-B224-41CD-B4E0-E297462320DD}" dt="2023-11-24T11:42:48.781" v="151074"/>
          <ac:spMkLst>
            <pc:docMk/>
            <pc:sldMk cId="4099999037" sldId="2147478570"/>
            <ac:spMk id="983" creationId="{9AD8040F-BDCB-D49F-142A-D501B9771572}"/>
          </ac:spMkLst>
        </pc:spChg>
        <pc:spChg chg="add del mod">
          <ac:chgData name="Steiner Andreas 6206 ED" userId="e6377c33-a923-4f14-8587-531c474c7b48" providerId="ADAL" clId="{6ECD27E6-B224-41CD-B4E0-E297462320DD}" dt="2023-11-24T11:42:51.014" v="151229"/>
          <ac:spMkLst>
            <pc:docMk/>
            <pc:sldMk cId="4099999037" sldId="2147478570"/>
            <ac:spMk id="984" creationId="{3BE04379-54DB-E321-2D68-8C8D4BF11854}"/>
          </ac:spMkLst>
        </pc:spChg>
        <pc:spChg chg="add del mod">
          <ac:chgData name="Steiner Andreas 6206 ED" userId="e6377c33-a923-4f14-8587-531c474c7b48" providerId="ADAL" clId="{6ECD27E6-B224-41CD-B4E0-E297462320DD}" dt="2023-11-24T11:42:53.371" v="151384"/>
          <ac:spMkLst>
            <pc:docMk/>
            <pc:sldMk cId="4099999037" sldId="2147478570"/>
            <ac:spMk id="985" creationId="{FF76B884-EFD7-49D2-B3AF-ACDFBC232167}"/>
          </ac:spMkLst>
        </pc:spChg>
        <pc:spChg chg="add del mod">
          <ac:chgData name="Steiner Andreas 6206 ED" userId="e6377c33-a923-4f14-8587-531c474c7b48" providerId="ADAL" clId="{6ECD27E6-B224-41CD-B4E0-E297462320DD}" dt="2023-11-24T11:42:55.606" v="151539"/>
          <ac:spMkLst>
            <pc:docMk/>
            <pc:sldMk cId="4099999037" sldId="2147478570"/>
            <ac:spMk id="986" creationId="{76986D72-D20F-CAC2-6F88-616DBFDC6656}"/>
          </ac:spMkLst>
        </pc:spChg>
        <pc:spChg chg="add del mod">
          <ac:chgData name="Steiner Andreas 6206 ED" userId="e6377c33-a923-4f14-8587-531c474c7b48" providerId="ADAL" clId="{6ECD27E6-B224-41CD-B4E0-E297462320DD}" dt="2023-11-24T11:42:58.062" v="151694"/>
          <ac:spMkLst>
            <pc:docMk/>
            <pc:sldMk cId="4099999037" sldId="2147478570"/>
            <ac:spMk id="987" creationId="{8E602694-6837-EEF9-3C6F-1AF180498822}"/>
          </ac:spMkLst>
        </pc:spChg>
        <pc:spChg chg="add del mod">
          <ac:chgData name="Steiner Andreas 6206 ED" userId="e6377c33-a923-4f14-8587-531c474c7b48" providerId="ADAL" clId="{6ECD27E6-B224-41CD-B4E0-E297462320DD}" dt="2023-11-24T11:43:01.784" v="151849"/>
          <ac:spMkLst>
            <pc:docMk/>
            <pc:sldMk cId="4099999037" sldId="2147478570"/>
            <ac:spMk id="988" creationId="{62D9D891-1E32-DADD-C1B3-683C1E7599F7}"/>
          </ac:spMkLst>
        </pc:spChg>
        <pc:spChg chg="add del mod">
          <ac:chgData name="Steiner Andreas 6206 ED" userId="e6377c33-a923-4f14-8587-531c474c7b48" providerId="ADAL" clId="{6ECD27E6-B224-41CD-B4E0-E297462320DD}" dt="2023-11-24T11:43:04.079" v="152004"/>
          <ac:spMkLst>
            <pc:docMk/>
            <pc:sldMk cId="4099999037" sldId="2147478570"/>
            <ac:spMk id="989" creationId="{B1DD3A3B-CB5F-D49F-473A-BDC687284CC5}"/>
          </ac:spMkLst>
        </pc:spChg>
        <pc:spChg chg="add del mod">
          <ac:chgData name="Steiner Andreas 6206 ED" userId="e6377c33-a923-4f14-8587-531c474c7b48" providerId="ADAL" clId="{6ECD27E6-B224-41CD-B4E0-E297462320DD}" dt="2023-11-24T11:43:06.300" v="152159"/>
          <ac:spMkLst>
            <pc:docMk/>
            <pc:sldMk cId="4099999037" sldId="2147478570"/>
            <ac:spMk id="990" creationId="{A8F6045D-9555-1E71-C64E-3FDC99FA884D}"/>
          </ac:spMkLst>
        </pc:spChg>
        <pc:spChg chg="add del mod">
          <ac:chgData name="Steiner Andreas 6206 ED" userId="e6377c33-a923-4f14-8587-531c474c7b48" providerId="ADAL" clId="{6ECD27E6-B224-41CD-B4E0-E297462320DD}" dt="2023-11-24T11:43:08.415" v="152314"/>
          <ac:spMkLst>
            <pc:docMk/>
            <pc:sldMk cId="4099999037" sldId="2147478570"/>
            <ac:spMk id="991" creationId="{FE3DA0EB-52E8-EC28-F8CD-8010B2BDA0E5}"/>
          </ac:spMkLst>
        </pc:spChg>
        <pc:spChg chg="add del mod">
          <ac:chgData name="Steiner Andreas 6206 ED" userId="e6377c33-a923-4f14-8587-531c474c7b48" providerId="ADAL" clId="{6ECD27E6-B224-41CD-B4E0-E297462320DD}" dt="2023-11-24T11:43:10.565" v="152469"/>
          <ac:spMkLst>
            <pc:docMk/>
            <pc:sldMk cId="4099999037" sldId="2147478570"/>
            <ac:spMk id="992" creationId="{3683D2F7-7846-C654-D276-90350706DC35}"/>
          </ac:spMkLst>
        </pc:spChg>
        <pc:spChg chg="add del mod">
          <ac:chgData name="Steiner Andreas 6206 ED" userId="e6377c33-a923-4f14-8587-531c474c7b48" providerId="ADAL" clId="{6ECD27E6-B224-41CD-B4E0-E297462320DD}" dt="2023-11-24T11:43:12.785" v="152624"/>
          <ac:spMkLst>
            <pc:docMk/>
            <pc:sldMk cId="4099999037" sldId="2147478570"/>
            <ac:spMk id="993" creationId="{CAFCB5AC-CB1E-3C62-307C-916B720A96DD}"/>
          </ac:spMkLst>
        </pc:spChg>
        <pc:spChg chg="add del mod">
          <ac:chgData name="Steiner Andreas 6206 ED" userId="e6377c33-a923-4f14-8587-531c474c7b48" providerId="ADAL" clId="{6ECD27E6-B224-41CD-B4E0-E297462320DD}" dt="2023-11-24T11:43:15.104" v="152779"/>
          <ac:spMkLst>
            <pc:docMk/>
            <pc:sldMk cId="4099999037" sldId="2147478570"/>
            <ac:spMk id="994" creationId="{9F0568B9-F20E-0643-B849-7FB9A94138D3}"/>
          </ac:spMkLst>
        </pc:spChg>
        <pc:spChg chg="add del mod">
          <ac:chgData name="Steiner Andreas 6206 ED" userId="e6377c33-a923-4f14-8587-531c474c7b48" providerId="ADAL" clId="{6ECD27E6-B224-41CD-B4E0-E297462320DD}" dt="2023-11-24T11:43:18.165" v="152934"/>
          <ac:spMkLst>
            <pc:docMk/>
            <pc:sldMk cId="4099999037" sldId="2147478570"/>
            <ac:spMk id="995" creationId="{6BC8795C-4B89-9A9D-90A4-B28767AFA721}"/>
          </ac:spMkLst>
        </pc:spChg>
        <pc:spChg chg="add del mod">
          <ac:chgData name="Steiner Andreas 6206 ED" userId="e6377c33-a923-4f14-8587-531c474c7b48" providerId="ADAL" clId="{6ECD27E6-B224-41CD-B4E0-E297462320DD}" dt="2023-11-24T11:43:22.338" v="153089"/>
          <ac:spMkLst>
            <pc:docMk/>
            <pc:sldMk cId="4099999037" sldId="2147478570"/>
            <ac:spMk id="996" creationId="{5459F3F0-9E7B-27FE-0EE6-CC3CBB80038D}"/>
          </ac:spMkLst>
        </pc:spChg>
        <pc:spChg chg="add del mod">
          <ac:chgData name="Steiner Andreas 6206 ED" userId="e6377c33-a923-4f14-8587-531c474c7b48" providerId="ADAL" clId="{6ECD27E6-B224-41CD-B4E0-E297462320DD}" dt="2023-11-24T11:43:24.830" v="153244"/>
          <ac:spMkLst>
            <pc:docMk/>
            <pc:sldMk cId="4099999037" sldId="2147478570"/>
            <ac:spMk id="997" creationId="{5FDB64B5-BFA2-7593-9E6E-17DD447B5F82}"/>
          </ac:spMkLst>
        </pc:spChg>
        <pc:spChg chg="add del mod">
          <ac:chgData name="Steiner Andreas 6206 ED" userId="e6377c33-a923-4f14-8587-531c474c7b48" providerId="ADAL" clId="{6ECD27E6-B224-41CD-B4E0-E297462320DD}" dt="2023-11-24T11:43:27.082" v="153399"/>
          <ac:spMkLst>
            <pc:docMk/>
            <pc:sldMk cId="4099999037" sldId="2147478570"/>
            <ac:spMk id="998" creationId="{93E1FE4D-D66C-3A14-E543-E3E1193244CA}"/>
          </ac:spMkLst>
        </pc:spChg>
        <pc:spChg chg="add del mod">
          <ac:chgData name="Steiner Andreas 6206 ED" userId="e6377c33-a923-4f14-8587-531c474c7b48" providerId="ADAL" clId="{6ECD27E6-B224-41CD-B4E0-E297462320DD}" dt="2023-11-24T11:43:29.349" v="153554"/>
          <ac:spMkLst>
            <pc:docMk/>
            <pc:sldMk cId="4099999037" sldId="2147478570"/>
            <ac:spMk id="999" creationId="{CA30815D-363C-F548-EA69-5BD91C058710}"/>
          </ac:spMkLst>
        </pc:spChg>
        <pc:spChg chg="add del mod">
          <ac:chgData name="Steiner Andreas 6206 ED" userId="e6377c33-a923-4f14-8587-531c474c7b48" providerId="ADAL" clId="{6ECD27E6-B224-41CD-B4E0-E297462320DD}" dt="2023-11-24T11:43:31.603" v="153709"/>
          <ac:spMkLst>
            <pc:docMk/>
            <pc:sldMk cId="4099999037" sldId="2147478570"/>
            <ac:spMk id="1000" creationId="{90F8A419-FD5B-F6A9-2AE6-20779DA71D93}"/>
          </ac:spMkLst>
        </pc:spChg>
        <pc:spChg chg="add del mod">
          <ac:chgData name="Steiner Andreas 6206 ED" userId="e6377c33-a923-4f14-8587-531c474c7b48" providerId="ADAL" clId="{6ECD27E6-B224-41CD-B4E0-E297462320DD}" dt="2023-11-24T11:43:34.309" v="153864"/>
          <ac:spMkLst>
            <pc:docMk/>
            <pc:sldMk cId="4099999037" sldId="2147478570"/>
            <ac:spMk id="1001" creationId="{8BFD8C9B-09DF-D701-4CED-0F132DEAF12B}"/>
          </ac:spMkLst>
        </pc:spChg>
        <pc:spChg chg="add del mod">
          <ac:chgData name="Steiner Andreas 6206 ED" userId="e6377c33-a923-4f14-8587-531c474c7b48" providerId="ADAL" clId="{6ECD27E6-B224-41CD-B4E0-E297462320DD}" dt="2023-11-24T11:43:36.483" v="154019"/>
          <ac:spMkLst>
            <pc:docMk/>
            <pc:sldMk cId="4099999037" sldId="2147478570"/>
            <ac:spMk id="1002" creationId="{EEBE689B-4BB1-D0D5-6B97-0C4D52619217}"/>
          </ac:spMkLst>
        </pc:spChg>
        <pc:spChg chg="add del mod">
          <ac:chgData name="Steiner Andreas 6206 ED" userId="e6377c33-a923-4f14-8587-531c474c7b48" providerId="ADAL" clId="{6ECD27E6-B224-41CD-B4E0-E297462320DD}" dt="2023-11-24T11:43:38.677" v="154174"/>
          <ac:spMkLst>
            <pc:docMk/>
            <pc:sldMk cId="4099999037" sldId="2147478570"/>
            <ac:spMk id="1003" creationId="{8AA82156-903E-26C3-D16A-D0CECB05FA39}"/>
          </ac:spMkLst>
        </pc:spChg>
        <pc:spChg chg="add del mod">
          <ac:chgData name="Steiner Andreas 6206 ED" userId="e6377c33-a923-4f14-8587-531c474c7b48" providerId="ADAL" clId="{6ECD27E6-B224-41CD-B4E0-E297462320DD}" dt="2023-11-24T11:43:40.980" v="154329"/>
          <ac:spMkLst>
            <pc:docMk/>
            <pc:sldMk cId="4099999037" sldId="2147478570"/>
            <ac:spMk id="1004" creationId="{4E8C4E48-B253-DB06-C7D3-3BE9CBBDA055}"/>
          </ac:spMkLst>
        </pc:spChg>
        <pc:spChg chg="add del mod">
          <ac:chgData name="Steiner Andreas 6206 ED" userId="e6377c33-a923-4f14-8587-531c474c7b48" providerId="ADAL" clId="{6ECD27E6-B224-41CD-B4E0-E297462320DD}" dt="2023-11-24T11:43:43.964" v="154484"/>
          <ac:spMkLst>
            <pc:docMk/>
            <pc:sldMk cId="4099999037" sldId="2147478570"/>
            <ac:spMk id="1005" creationId="{8DB679C0-EBAB-BB72-E025-D856C96CF0AE}"/>
          </ac:spMkLst>
        </pc:spChg>
        <pc:spChg chg="add del mod">
          <ac:chgData name="Steiner Andreas 6206 ED" userId="e6377c33-a923-4f14-8587-531c474c7b48" providerId="ADAL" clId="{6ECD27E6-B224-41CD-B4E0-E297462320DD}" dt="2023-11-24T11:43:46.306" v="154639"/>
          <ac:spMkLst>
            <pc:docMk/>
            <pc:sldMk cId="4099999037" sldId="2147478570"/>
            <ac:spMk id="1006" creationId="{503B85E8-C4BE-8890-C72C-956EFBD45D74}"/>
          </ac:spMkLst>
        </pc:spChg>
        <pc:spChg chg="add del mod">
          <ac:chgData name="Steiner Andreas 6206 ED" userId="e6377c33-a923-4f14-8587-531c474c7b48" providerId="ADAL" clId="{6ECD27E6-B224-41CD-B4E0-E297462320DD}" dt="2023-11-24T11:43:48.607" v="154794"/>
          <ac:spMkLst>
            <pc:docMk/>
            <pc:sldMk cId="4099999037" sldId="2147478570"/>
            <ac:spMk id="1007" creationId="{DE69D936-0710-4CD1-4EAF-87DB24AFF0FE}"/>
          </ac:spMkLst>
        </pc:spChg>
        <pc:spChg chg="add del mod">
          <ac:chgData name="Steiner Andreas 6206 ED" userId="e6377c33-a923-4f14-8587-531c474c7b48" providerId="ADAL" clId="{6ECD27E6-B224-41CD-B4E0-E297462320DD}" dt="2023-11-24T11:43:50.666" v="154949"/>
          <ac:spMkLst>
            <pc:docMk/>
            <pc:sldMk cId="4099999037" sldId="2147478570"/>
            <ac:spMk id="1008" creationId="{808F05C2-F8B8-1659-8748-292B8E24EE2F}"/>
          </ac:spMkLst>
        </pc:spChg>
        <pc:spChg chg="add del mod">
          <ac:chgData name="Steiner Andreas 6206 ED" userId="e6377c33-a923-4f14-8587-531c474c7b48" providerId="ADAL" clId="{6ECD27E6-B224-41CD-B4E0-E297462320DD}" dt="2023-11-24T11:43:52.854" v="155104"/>
          <ac:spMkLst>
            <pc:docMk/>
            <pc:sldMk cId="4099999037" sldId="2147478570"/>
            <ac:spMk id="1009" creationId="{DE03C5AC-D792-3511-D17A-E4328329A9C7}"/>
          </ac:spMkLst>
        </pc:spChg>
        <pc:spChg chg="add del mod">
          <ac:chgData name="Steiner Andreas 6206 ED" userId="e6377c33-a923-4f14-8587-531c474c7b48" providerId="ADAL" clId="{6ECD27E6-B224-41CD-B4E0-E297462320DD}" dt="2023-11-24T11:43:55.860" v="155259"/>
          <ac:spMkLst>
            <pc:docMk/>
            <pc:sldMk cId="4099999037" sldId="2147478570"/>
            <ac:spMk id="1010" creationId="{C8E94793-70DC-65FC-FE1D-EDA801C4B2D0}"/>
          </ac:spMkLst>
        </pc:spChg>
        <pc:spChg chg="add del mod">
          <ac:chgData name="Steiner Andreas 6206 ED" userId="e6377c33-a923-4f14-8587-531c474c7b48" providerId="ADAL" clId="{6ECD27E6-B224-41CD-B4E0-E297462320DD}" dt="2023-11-24T11:43:58.205" v="155414"/>
          <ac:spMkLst>
            <pc:docMk/>
            <pc:sldMk cId="4099999037" sldId="2147478570"/>
            <ac:spMk id="1011" creationId="{3F011529-A896-2CCF-34CD-4D58E06A5185}"/>
          </ac:spMkLst>
        </pc:spChg>
        <pc:spChg chg="add del mod">
          <ac:chgData name="Steiner Andreas 6206 ED" userId="e6377c33-a923-4f14-8587-531c474c7b48" providerId="ADAL" clId="{6ECD27E6-B224-41CD-B4E0-E297462320DD}" dt="2023-11-24T11:44:00.301" v="155569"/>
          <ac:spMkLst>
            <pc:docMk/>
            <pc:sldMk cId="4099999037" sldId="2147478570"/>
            <ac:spMk id="1012" creationId="{B4F5B03E-2FB5-886C-2127-C6EEAF779D82}"/>
          </ac:spMkLst>
        </pc:spChg>
        <pc:spChg chg="add del mod">
          <ac:chgData name="Steiner Andreas 6206 ED" userId="e6377c33-a923-4f14-8587-531c474c7b48" providerId="ADAL" clId="{6ECD27E6-B224-41CD-B4E0-E297462320DD}" dt="2023-11-24T11:44:02.296" v="155724"/>
          <ac:spMkLst>
            <pc:docMk/>
            <pc:sldMk cId="4099999037" sldId="2147478570"/>
            <ac:spMk id="1013" creationId="{BCDB09F3-EC5D-65F6-6151-63CD631FD8EA}"/>
          </ac:spMkLst>
        </pc:spChg>
        <pc:spChg chg="add del mod">
          <ac:chgData name="Steiner Andreas 6206 ED" userId="e6377c33-a923-4f14-8587-531c474c7b48" providerId="ADAL" clId="{6ECD27E6-B224-41CD-B4E0-E297462320DD}" dt="2023-11-24T11:44:04.359" v="155879"/>
          <ac:spMkLst>
            <pc:docMk/>
            <pc:sldMk cId="4099999037" sldId="2147478570"/>
            <ac:spMk id="1014" creationId="{105DE127-7BA7-25E3-912E-F2C9ABAB3434}"/>
          </ac:spMkLst>
        </pc:spChg>
        <pc:spChg chg="add del mod">
          <ac:chgData name="Steiner Andreas 6206 ED" userId="e6377c33-a923-4f14-8587-531c474c7b48" providerId="ADAL" clId="{6ECD27E6-B224-41CD-B4E0-E297462320DD}" dt="2023-11-24T11:44:06.364" v="156034"/>
          <ac:spMkLst>
            <pc:docMk/>
            <pc:sldMk cId="4099999037" sldId="2147478570"/>
            <ac:spMk id="1015" creationId="{EAFB724B-8905-37D4-787B-BC72541A1921}"/>
          </ac:spMkLst>
        </pc:spChg>
        <pc:spChg chg="add del mod">
          <ac:chgData name="Steiner Andreas 6206 ED" userId="e6377c33-a923-4f14-8587-531c474c7b48" providerId="ADAL" clId="{6ECD27E6-B224-41CD-B4E0-E297462320DD}" dt="2023-11-24T11:44:08.547" v="156189"/>
          <ac:spMkLst>
            <pc:docMk/>
            <pc:sldMk cId="4099999037" sldId="2147478570"/>
            <ac:spMk id="1016" creationId="{AB01D9A5-6837-650C-7F3B-DB842161C362}"/>
          </ac:spMkLst>
        </pc:spChg>
        <pc:spChg chg="add del mod">
          <ac:chgData name="Steiner Andreas 6206 ED" userId="e6377c33-a923-4f14-8587-531c474c7b48" providerId="ADAL" clId="{6ECD27E6-B224-41CD-B4E0-E297462320DD}" dt="2023-11-24T11:44:10.607" v="156344"/>
          <ac:spMkLst>
            <pc:docMk/>
            <pc:sldMk cId="4099999037" sldId="2147478570"/>
            <ac:spMk id="1017" creationId="{6721F2E5-174F-FEF5-3D2F-27D3B50CB42F}"/>
          </ac:spMkLst>
        </pc:spChg>
        <pc:spChg chg="add del mod">
          <ac:chgData name="Steiner Andreas 6206 ED" userId="e6377c33-a923-4f14-8587-531c474c7b48" providerId="ADAL" clId="{6ECD27E6-B224-41CD-B4E0-E297462320DD}" dt="2023-11-24T11:44:12.613" v="156499"/>
          <ac:spMkLst>
            <pc:docMk/>
            <pc:sldMk cId="4099999037" sldId="2147478570"/>
            <ac:spMk id="1018" creationId="{2EC70B4A-5854-0070-5CA9-AC82E931B560}"/>
          </ac:spMkLst>
        </pc:spChg>
        <pc:spChg chg="add del mod">
          <ac:chgData name="Steiner Andreas 6206 ED" userId="e6377c33-a923-4f14-8587-531c474c7b48" providerId="ADAL" clId="{6ECD27E6-B224-41CD-B4E0-E297462320DD}" dt="2023-11-24T11:44:14.599" v="156654"/>
          <ac:spMkLst>
            <pc:docMk/>
            <pc:sldMk cId="4099999037" sldId="2147478570"/>
            <ac:spMk id="1019" creationId="{1828CB53-9BC7-BDEE-1F17-324BB00B81E4}"/>
          </ac:spMkLst>
        </pc:spChg>
        <pc:spChg chg="add del mod">
          <ac:chgData name="Steiner Andreas 6206 ED" userId="e6377c33-a923-4f14-8587-531c474c7b48" providerId="ADAL" clId="{6ECD27E6-B224-41CD-B4E0-E297462320DD}" dt="2023-11-24T11:44:16.602" v="156809"/>
          <ac:spMkLst>
            <pc:docMk/>
            <pc:sldMk cId="4099999037" sldId="2147478570"/>
            <ac:spMk id="1020" creationId="{0D2CCF58-B844-E416-1D7B-A7EB7147CAE9}"/>
          </ac:spMkLst>
        </pc:spChg>
        <pc:spChg chg="add del mod">
          <ac:chgData name="Steiner Andreas 6206 ED" userId="e6377c33-a923-4f14-8587-531c474c7b48" providerId="ADAL" clId="{6ECD27E6-B224-41CD-B4E0-E297462320DD}" dt="2023-11-24T11:44:18.692" v="156964"/>
          <ac:spMkLst>
            <pc:docMk/>
            <pc:sldMk cId="4099999037" sldId="2147478570"/>
            <ac:spMk id="1021" creationId="{D522A4AB-2D3B-909D-7044-AA38B6C3FF40}"/>
          </ac:spMkLst>
        </pc:spChg>
        <pc:spChg chg="add del mod">
          <ac:chgData name="Steiner Andreas 6206 ED" userId="e6377c33-a923-4f14-8587-531c474c7b48" providerId="ADAL" clId="{6ECD27E6-B224-41CD-B4E0-E297462320DD}" dt="2023-11-24T11:44:20.811" v="157119"/>
          <ac:spMkLst>
            <pc:docMk/>
            <pc:sldMk cId="4099999037" sldId="2147478570"/>
            <ac:spMk id="1022" creationId="{D13DF796-C15F-B875-B585-074EB933F5A0}"/>
          </ac:spMkLst>
        </pc:spChg>
        <pc:spChg chg="add del mod">
          <ac:chgData name="Steiner Andreas 6206 ED" userId="e6377c33-a923-4f14-8587-531c474c7b48" providerId="ADAL" clId="{6ECD27E6-B224-41CD-B4E0-E297462320DD}" dt="2023-11-24T11:44:23.136" v="157274"/>
          <ac:spMkLst>
            <pc:docMk/>
            <pc:sldMk cId="4099999037" sldId="2147478570"/>
            <ac:spMk id="1023" creationId="{63D75F00-0D9D-7301-BCA4-FDC3FF2AB8F9}"/>
          </ac:spMkLst>
        </pc:spChg>
        <pc:spChg chg="add del mod">
          <ac:chgData name="Steiner Andreas 6206 ED" userId="e6377c33-a923-4f14-8587-531c474c7b48" providerId="ADAL" clId="{6ECD27E6-B224-41CD-B4E0-E297462320DD}" dt="2023-11-24T11:44:25.292" v="157429"/>
          <ac:spMkLst>
            <pc:docMk/>
            <pc:sldMk cId="4099999037" sldId="2147478570"/>
            <ac:spMk id="1024" creationId="{4B1E4775-F01D-D107-53B3-EAF6F1CB3CA3}"/>
          </ac:spMkLst>
        </pc:spChg>
        <pc:spChg chg="add del mod">
          <ac:chgData name="Steiner Andreas 6206 ED" userId="e6377c33-a923-4f14-8587-531c474c7b48" providerId="ADAL" clId="{6ECD27E6-B224-41CD-B4E0-E297462320DD}" dt="2023-11-24T11:44:30.705" v="157584"/>
          <ac:spMkLst>
            <pc:docMk/>
            <pc:sldMk cId="4099999037" sldId="2147478570"/>
            <ac:spMk id="1025" creationId="{66167C9D-A19C-A946-E43D-0A0821E501B5}"/>
          </ac:spMkLst>
        </pc:spChg>
        <pc:spChg chg="add mod">
          <ac:chgData name="Steiner Andreas 6206 ED" userId="e6377c33-a923-4f14-8587-531c474c7b48" providerId="ADAL" clId="{6ECD27E6-B224-41CD-B4E0-E297462320DD}" dt="2023-11-24T11:44:30.705" v="157585"/>
          <ac:spMkLst>
            <pc:docMk/>
            <pc:sldMk cId="4099999037" sldId="2147478570"/>
            <ac:spMk id="1026" creationId="{B9BE9F40-4BA0-5CEF-5945-3DA506BFA162}"/>
          </ac:spMkLst>
        </pc:spChg>
      </pc:sldChg>
      <pc:sldChg chg="addSp delSp modSp mod">
        <pc:chgData name="Steiner Andreas 6206 ED" userId="e6377c33-a923-4f14-8587-531c474c7b48" providerId="ADAL" clId="{6ECD27E6-B224-41CD-B4E0-E297462320DD}" dt="2023-11-24T11:44:30.662" v="157563"/>
        <pc:sldMkLst>
          <pc:docMk/>
          <pc:sldMk cId="3975964758" sldId="2147478571"/>
        </pc:sldMkLst>
        <pc:spChg chg="mod">
          <ac:chgData name="Steiner Andreas 6206 ED" userId="e6377c33-a923-4f14-8587-531c474c7b48" providerId="ADAL" clId="{6ECD27E6-B224-41CD-B4E0-E297462320DD}" dt="2023-11-24T11:44:30.659" v="157559" actId="20577"/>
          <ac:spMkLst>
            <pc:docMk/>
            <pc:sldMk cId="3975964758" sldId="2147478571"/>
            <ac:spMk id="3" creationId="{4E8CC9C0-365F-2AE2-45F2-482F3CE5F5BC}"/>
          </ac:spMkLst>
        </pc:spChg>
        <pc:spChg chg="del">
          <ac:chgData name="Steiner Andreas 6206 ED" userId="e6377c33-a923-4f14-8587-531c474c7b48" providerId="ADAL" clId="{6ECD27E6-B224-41CD-B4E0-E297462320DD}" dt="2023-11-23T19:49:53.501" v="63"/>
          <ac:spMkLst>
            <pc:docMk/>
            <pc:sldMk cId="3975964758" sldId="2147478571"/>
            <ac:spMk id="5" creationId="{64E93222-32B7-20A4-715C-D9A68AE48A8A}"/>
          </ac:spMkLst>
        </pc:spChg>
        <pc:spChg chg="add del mod">
          <ac:chgData name="Steiner Andreas 6206 ED" userId="e6377c33-a923-4f14-8587-531c474c7b48" providerId="ADAL" clId="{6ECD27E6-B224-41CD-B4E0-E297462320DD}" dt="2023-11-23T19:49:53.503" v="66"/>
          <ac:spMkLst>
            <pc:docMk/>
            <pc:sldMk cId="3975964758" sldId="2147478571"/>
            <ac:spMk id="11" creationId="{E2848BF5-0DEF-1286-4788-356E33147550}"/>
          </ac:spMkLst>
        </pc:spChg>
        <pc:spChg chg="add del mod">
          <ac:chgData name="Steiner Andreas 6206 ED" userId="e6377c33-a923-4f14-8587-531c474c7b48" providerId="ADAL" clId="{6ECD27E6-B224-41CD-B4E0-E297462320DD}" dt="2023-11-23T19:49:54.430" v="237"/>
          <ac:spMkLst>
            <pc:docMk/>
            <pc:sldMk cId="3975964758" sldId="2147478571"/>
            <ac:spMk id="13" creationId="{F465BC71-9259-0EDE-7625-4F829F64AEA4}"/>
          </ac:spMkLst>
        </pc:spChg>
        <pc:spChg chg="add del mod">
          <ac:chgData name="Steiner Andreas 6206 ED" userId="e6377c33-a923-4f14-8587-531c474c7b48" providerId="ADAL" clId="{6ECD27E6-B224-41CD-B4E0-E297462320DD}" dt="2023-11-23T19:50:25.223" v="392"/>
          <ac:spMkLst>
            <pc:docMk/>
            <pc:sldMk cId="3975964758" sldId="2147478571"/>
            <ac:spMk id="14" creationId="{40A81539-0298-E69F-8CD9-67FB3C044879}"/>
          </ac:spMkLst>
        </pc:spChg>
        <pc:spChg chg="add del mod">
          <ac:chgData name="Steiner Andreas 6206 ED" userId="e6377c33-a923-4f14-8587-531c474c7b48" providerId="ADAL" clId="{6ECD27E6-B224-41CD-B4E0-E297462320DD}" dt="2023-11-23T19:50:35.029" v="547"/>
          <ac:spMkLst>
            <pc:docMk/>
            <pc:sldMk cId="3975964758" sldId="2147478571"/>
            <ac:spMk id="15" creationId="{8EB78B1B-4978-1E35-8B4B-9458BB7132DB}"/>
          </ac:spMkLst>
        </pc:spChg>
        <pc:spChg chg="add del mod">
          <ac:chgData name="Steiner Andreas 6206 ED" userId="e6377c33-a923-4f14-8587-531c474c7b48" providerId="ADAL" clId="{6ECD27E6-B224-41CD-B4E0-E297462320DD}" dt="2023-11-23T19:50:46.698" v="702"/>
          <ac:spMkLst>
            <pc:docMk/>
            <pc:sldMk cId="3975964758" sldId="2147478571"/>
            <ac:spMk id="16" creationId="{51254795-CF91-7E2C-A75D-D823E35F18FF}"/>
          </ac:spMkLst>
        </pc:spChg>
        <pc:spChg chg="add del mod">
          <ac:chgData name="Steiner Andreas 6206 ED" userId="e6377c33-a923-4f14-8587-531c474c7b48" providerId="ADAL" clId="{6ECD27E6-B224-41CD-B4E0-E297462320DD}" dt="2023-11-23T19:50:58.405" v="857"/>
          <ac:spMkLst>
            <pc:docMk/>
            <pc:sldMk cId="3975964758" sldId="2147478571"/>
            <ac:spMk id="17" creationId="{FA8C5B77-4740-CBE7-E90B-7AFF2F0C6166}"/>
          </ac:spMkLst>
        </pc:spChg>
        <pc:spChg chg="add del mod">
          <ac:chgData name="Steiner Andreas 6206 ED" userId="e6377c33-a923-4f14-8587-531c474c7b48" providerId="ADAL" clId="{6ECD27E6-B224-41CD-B4E0-E297462320DD}" dt="2023-11-23T19:51:09.085" v="1012"/>
          <ac:spMkLst>
            <pc:docMk/>
            <pc:sldMk cId="3975964758" sldId="2147478571"/>
            <ac:spMk id="18" creationId="{7EE7795C-1D64-35D3-43F4-41B64C74C660}"/>
          </ac:spMkLst>
        </pc:spChg>
        <pc:spChg chg="add del mod">
          <ac:chgData name="Steiner Andreas 6206 ED" userId="e6377c33-a923-4f14-8587-531c474c7b48" providerId="ADAL" clId="{6ECD27E6-B224-41CD-B4E0-E297462320DD}" dt="2023-11-23T19:51:20.070" v="1167"/>
          <ac:spMkLst>
            <pc:docMk/>
            <pc:sldMk cId="3975964758" sldId="2147478571"/>
            <ac:spMk id="19" creationId="{36F18A19-79B2-47E3-C68F-05BFEEFA793C}"/>
          </ac:spMkLst>
        </pc:spChg>
        <pc:spChg chg="add del mod">
          <ac:chgData name="Steiner Andreas 6206 ED" userId="e6377c33-a923-4f14-8587-531c474c7b48" providerId="ADAL" clId="{6ECD27E6-B224-41CD-B4E0-E297462320DD}" dt="2023-11-23T19:51:31.557" v="1322"/>
          <ac:spMkLst>
            <pc:docMk/>
            <pc:sldMk cId="3975964758" sldId="2147478571"/>
            <ac:spMk id="20" creationId="{C9B1E592-D1B7-1B43-333C-1CF0B4A9EE50}"/>
          </ac:spMkLst>
        </pc:spChg>
        <pc:spChg chg="add del mod">
          <ac:chgData name="Steiner Andreas 6206 ED" userId="e6377c33-a923-4f14-8587-531c474c7b48" providerId="ADAL" clId="{6ECD27E6-B224-41CD-B4E0-E297462320DD}" dt="2023-11-23T19:51:42.213" v="1477"/>
          <ac:spMkLst>
            <pc:docMk/>
            <pc:sldMk cId="3975964758" sldId="2147478571"/>
            <ac:spMk id="21" creationId="{22810222-8758-14C6-A7FA-01807AF0ACD7}"/>
          </ac:spMkLst>
        </pc:spChg>
        <pc:spChg chg="add del mod">
          <ac:chgData name="Steiner Andreas 6206 ED" userId="e6377c33-a923-4f14-8587-531c474c7b48" providerId="ADAL" clId="{6ECD27E6-B224-41CD-B4E0-E297462320DD}" dt="2023-11-23T19:51:53.558" v="1632"/>
          <ac:spMkLst>
            <pc:docMk/>
            <pc:sldMk cId="3975964758" sldId="2147478571"/>
            <ac:spMk id="22" creationId="{33CF034A-0AAB-762B-D96D-279C5849AE0A}"/>
          </ac:spMkLst>
        </pc:spChg>
        <pc:spChg chg="add del mod">
          <ac:chgData name="Steiner Andreas 6206 ED" userId="e6377c33-a923-4f14-8587-531c474c7b48" providerId="ADAL" clId="{6ECD27E6-B224-41CD-B4E0-E297462320DD}" dt="2023-11-23T19:52:05.201" v="1787"/>
          <ac:spMkLst>
            <pc:docMk/>
            <pc:sldMk cId="3975964758" sldId="2147478571"/>
            <ac:spMk id="23" creationId="{55F9A761-26A4-4E57-57DB-D56298DC4EA5}"/>
          </ac:spMkLst>
        </pc:spChg>
        <pc:spChg chg="add del mod">
          <ac:chgData name="Steiner Andreas 6206 ED" userId="e6377c33-a923-4f14-8587-531c474c7b48" providerId="ADAL" clId="{6ECD27E6-B224-41CD-B4E0-E297462320DD}" dt="2023-11-23T19:52:16.900" v="1942"/>
          <ac:spMkLst>
            <pc:docMk/>
            <pc:sldMk cId="3975964758" sldId="2147478571"/>
            <ac:spMk id="24" creationId="{04E272A8-292E-B0AD-D6FA-3729925120FE}"/>
          </ac:spMkLst>
        </pc:spChg>
        <pc:spChg chg="add del mod">
          <ac:chgData name="Steiner Andreas 6206 ED" userId="e6377c33-a923-4f14-8587-531c474c7b48" providerId="ADAL" clId="{6ECD27E6-B224-41CD-B4E0-E297462320DD}" dt="2023-11-23T19:52:28.597" v="2097"/>
          <ac:spMkLst>
            <pc:docMk/>
            <pc:sldMk cId="3975964758" sldId="2147478571"/>
            <ac:spMk id="25" creationId="{8B9DD932-12A1-0278-023C-5D4C5ADD2F43}"/>
          </ac:spMkLst>
        </pc:spChg>
        <pc:spChg chg="add del mod">
          <ac:chgData name="Steiner Andreas 6206 ED" userId="e6377c33-a923-4f14-8587-531c474c7b48" providerId="ADAL" clId="{6ECD27E6-B224-41CD-B4E0-E297462320DD}" dt="2023-11-23T19:52:40.280" v="2252"/>
          <ac:spMkLst>
            <pc:docMk/>
            <pc:sldMk cId="3975964758" sldId="2147478571"/>
            <ac:spMk id="26" creationId="{0AC5A2BF-BD9A-D427-919B-3697D1301E99}"/>
          </ac:spMkLst>
        </pc:spChg>
        <pc:spChg chg="add del mod">
          <ac:chgData name="Steiner Andreas 6206 ED" userId="e6377c33-a923-4f14-8587-531c474c7b48" providerId="ADAL" clId="{6ECD27E6-B224-41CD-B4E0-E297462320DD}" dt="2023-11-23T19:52:51.678" v="2407"/>
          <ac:spMkLst>
            <pc:docMk/>
            <pc:sldMk cId="3975964758" sldId="2147478571"/>
            <ac:spMk id="27" creationId="{1E3D4D62-B488-BD3A-4C6B-E94B5892FCB9}"/>
          </ac:spMkLst>
        </pc:spChg>
        <pc:spChg chg="add del mod">
          <ac:chgData name="Steiner Andreas 6206 ED" userId="e6377c33-a923-4f14-8587-531c474c7b48" providerId="ADAL" clId="{6ECD27E6-B224-41CD-B4E0-E297462320DD}" dt="2023-11-23T19:53:03.341" v="2562"/>
          <ac:spMkLst>
            <pc:docMk/>
            <pc:sldMk cId="3975964758" sldId="2147478571"/>
            <ac:spMk id="28" creationId="{E82887B0-5CDB-55EF-BFDF-68717608F596}"/>
          </ac:spMkLst>
        </pc:spChg>
        <pc:spChg chg="add del mod">
          <ac:chgData name="Steiner Andreas 6206 ED" userId="e6377c33-a923-4f14-8587-531c474c7b48" providerId="ADAL" clId="{6ECD27E6-B224-41CD-B4E0-E297462320DD}" dt="2023-11-23T19:53:15.077" v="2717"/>
          <ac:spMkLst>
            <pc:docMk/>
            <pc:sldMk cId="3975964758" sldId="2147478571"/>
            <ac:spMk id="29" creationId="{6CD27DC9-3F5C-ED3C-881D-DC376240DCCF}"/>
          </ac:spMkLst>
        </pc:spChg>
        <pc:spChg chg="add del mod">
          <ac:chgData name="Steiner Andreas 6206 ED" userId="e6377c33-a923-4f14-8587-531c474c7b48" providerId="ADAL" clId="{6ECD27E6-B224-41CD-B4E0-E297462320DD}" dt="2023-11-23T19:53:26.760" v="2872"/>
          <ac:spMkLst>
            <pc:docMk/>
            <pc:sldMk cId="3975964758" sldId="2147478571"/>
            <ac:spMk id="30" creationId="{8AD992F1-FC04-187D-C1EB-C2194A606772}"/>
          </ac:spMkLst>
        </pc:spChg>
        <pc:spChg chg="add del mod">
          <ac:chgData name="Steiner Andreas 6206 ED" userId="e6377c33-a923-4f14-8587-531c474c7b48" providerId="ADAL" clId="{6ECD27E6-B224-41CD-B4E0-E297462320DD}" dt="2023-11-23T19:53:38.419" v="3027"/>
          <ac:spMkLst>
            <pc:docMk/>
            <pc:sldMk cId="3975964758" sldId="2147478571"/>
            <ac:spMk id="31" creationId="{9EAC1C7E-86D0-BC8F-919A-4E953C533E47}"/>
          </ac:spMkLst>
        </pc:spChg>
        <pc:spChg chg="add del mod">
          <ac:chgData name="Steiner Andreas 6206 ED" userId="e6377c33-a923-4f14-8587-531c474c7b48" providerId="ADAL" clId="{6ECD27E6-B224-41CD-B4E0-E297462320DD}" dt="2023-11-23T19:53:50.079" v="3182"/>
          <ac:spMkLst>
            <pc:docMk/>
            <pc:sldMk cId="3975964758" sldId="2147478571"/>
            <ac:spMk id="32" creationId="{512270A2-4BB6-5316-8074-CDD6A73C3193}"/>
          </ac:spMkLst>
        </pc:spChg>
        <pc:spChg chg="add del mod">
          <ac:chgData name="Steiner Andreas 6206 ED" userId="e6377c33-a923-4f14-8587-531c474c7b48" providerId="ADAL" clId="{6ECD27E6-B224-41CD-B4E0-E297462320DD}" dt="2023-11-23T19:54:01.754" v="3337"/>
          <ac:spMkLst>
            <pc:docMk/>
            <pc:sldMk cId="3975964758" sldId="2147478571"/>
            <ac:spMk id="33" creationId="{360F8188-1A35-B283-09F0-1F14144F524F}"/>
          </ac:spMkLst>
        </pc:spChg>
        <pc:spChg chg="add del mod">
          <ac:chgData name="Steiner Andreas 6206 ED" userId="e6377c33-a923-4f14-8587-531c474c7b48" providerId="ADAL" clId="{6ECD27E6-B224-41CD-B4E0-E297462320DD}" dt="2023-11-23T19:54:13.447" v="3492"/>
          <ac:spMkLst>
            <pc:docMk/>
            <pc:sldMk cId="3975964758" sldId="2147478571"/>
            <ac:spMk id="34" creationId="{7FB358C3-4100-783D-003A-1CD14D513E3B}"/>
          </ac:spMkLst>
        </pc:spChg>
        <pc:spChg chg="add del mod">
          <ac:chgData name="Steiner Andreas 6206 ED" userId="e6377c33-a923-4f14-8587-531c474c7b48" providerId="ADAL" clId="{6ECD27E6-B224-41CD-B4E0-E297462320DD}" dt="2023-11-23T19:54:25.110" v="3647"/>
          <ac:spMkLst>
            <pc:docMk/>
            <pc:sldMk cId="3975964758" sldId="2147478571"/>
            <ac:spMk id="35" creationId="{6E7A8491-C4DE-FC28-EF96-B00E00A20E95}"/>
          </ac:spMkLst>
        </pc:spChg>
        <pc:spChg chg="add del mod">
          <ac:chgData name="Steiner Andreas 6206 ED" userId="e6377c33-a923-4f14-8587-531c474c7b48" providerId="ADAL" clId="{6ECD27E6-B224-41CD-B4E0-E297462320DD}" dt="2023-11-23T19:54:36.827" v="3802"/>
          <ac:spMkLst>
            <pc:docMk/>
            <pc:sldMk cId="3975964758" sldId="2147478571"/>
            <ac:spMk id="36" creationId="{8360E948-B330-CD18-A5F8-715C9385EE62}"/>
          </ac:spMkLst>
        </pc:spChg>
        <pc:spChg chg="add del mod">
          <ac:chgData name="Steiner Andreas 6206 ED" userId="e6377c33-a923-4f14-8587-531c474c7b48" providerId="ADAL" clId="{6ECD27E6-B224-41CD-B4E0-E297462320DD}" dt="2023-11-23T19:54:48.165" v="3957"/>
          <ac:spMkLst>
            <pc:docMk/>
            <pc:sldMk cId="3975964758" sldId="2147478571"/>
            <ac:spMk id="37" creationId="{DA3CB336-37DD-A7CD-7E02-81C660F290C4}"/>
          </ac:spMkLst>
        </pc:spChg>
        <pc:spChg chg="add del mod">
          <ac:chgData name="Steiner Andreas 6206 ED" userId="e6377c33-a923-4f14-8587-531c474c7b48" providerId="ADAL" clId="{6ECD27E6-B224-41CD-B4E0-E297462320DD}" dt="2023-11-23T19:54:59.797" v="4112"/>
          <ac:spMkLst>
            <pc:docMk/>
            <pc:sldMk cId="3975964758" sldId="2147478571"/>
            <ac:spMk id="38" creationId="{255B5D66-1C8B-420D-9A68-55BD95BF412D}"/>
          </ac:spMkLst>
        </pc:spChg>
        <pc:spChg chg="add del mod">
          <ac:chgData name="Steiner Andreas 6206 ED" userId="e6377c33-a923-4f14-8587-531c474c7b48" providerId="ADAL" clId="{6ECD27E6-B224-41CD-B4E0-E297462320DD}" dt="2023-11-23T19:55:11.533" v="4267"/>
          <ac:spMkLst>
            <pc:docMk/>
            <pc:sldMk cId="3975964758" sldId="2147478571"/>
            <ac:spMk id="39" creationId="{05FF8EA4-37B3-D2D5-F802-636B2F5045FC}"/>
          </ac:spMkLst>
        </pc:spChg>
        <pc:spChg chg="add del mod">
          <ac:chgData name="Steiner Andreas 6206 ED" userId="e6377c33-a923-4f14-8587-531c474c7b48" providerId="ADAL" clId="{6ECD27E6-B224-41CD-B4E0-E297462320DD}" dt="2023-11-23T19:55:23.211" v="4422"/>
          <ac:spMkLst>
            <pc:docMk/>
            <pc:sldMk cId="3975964758" sldId="2147478571"/>
            <ac:spMk id="40" creationId="{6AB53A68-0156-EE53-A3BE-745895321A20}"/>
          </ac:spMkLst>
        </pc:spChg>
        <pc:spChg chg="add del mod">
          <ac:chgData name="Steiner Andreas 6206 ED" userId="e6377c33-a923-4f14-8587-531c474c7b48" providerId="ADAL" clId="{6ECD27E6-B224-41CD-B4E0-E297462320DD}" dt="2023-11-23T19:55:34.857" v="4577"/>
          <ac:spMkLst>
            <pc:docMk/>
            <pc:sldMk cId="3975964758" sldId="2147478571"/>
            <ac:spMk id="41" creationId="{F80E2909-1BC2-2330-8478-03BD93299BA0}"/>
          </ac:spMkLst>
        </pc:spChg>
        <pc:spChg chg="add del mod">
          <ac:chgData name="Steiner Andreas 6206 ED" userId="e6377c33-a923-4f14-8587-531c474c7b48" providerId="ADAL" clId="{6ECD27E6-B224-41CD-B4E0-E297462320DD}" dt="2023-11-23T19:55:46.196" v="4732"/>
          <ac:spMkLst>
            <pc:docMk/>
            <pc:sldMk cId="3975964758" sldId="2147478571"/>
            <ac:spMk id="42" creationId="{42C4BDDC-D5F1-6DC7-BDBC-799D85220206}"/>
          </ac:spMkLst>
        </pc:spChg>
        <pc:spChg chg="add del mod">
          <ac:chgData name="Steiner Andreas 6206 ED" userId="e6377c33-a923-4f14-8587-531c474c7b48" providerId="ADAL" clId="{6ECD27E6-B224-41CD-B4E0-E297462320DD}" dt="2023-11-23T19:55:57.856" v="4887"/>
          <ac:spMkLst>
            <pc:docMk/>
            <pc:sldMk cId="3975964758" sldId="2147478571"/>
            <ac:spMk id="43" creationId="{54F84C58-4EE3-E218-5856-11A491D14D9B}"/>
          </ac:spMkLst>
        </pc:spChg>
        <pc:spChg chg="add del mod">
          <ac:chgData name="Steiner Andreas 6206 ED" userId="e6377c33-a923-4f14-8587-531c474c7b48" providerId="ADAL" clId="{6ECD27E6-B224-41CD-B4E0-E297462320DD}" dt="2023-11-23T19:56:09.522" v="5042"/>
          <ac:spMkLst>
            <pc:docMk/>
            <pc:sldMk cId="3975964758" sldId="2147478571"/>
            <ac:spMk id="44" creationId="{29E95296-6592-C5A2-9E5A-2B381ECA6DB5}"/>
          </ac:spMkLst>
        </pc:spChg>
        <pc:spChg chg="add del mod">
          <ac:chgData name="Steiner Andreas 6206 ED" userId="e6377c33-a923-4f14-8587-531c474c7b48" providerId="ADAL" clId="{6ECD27E6-B224-41CD-B4E0-E297462320DD}" dt="2023-11-23T19:56:21.220" v="5197"/>
          <ac:spMkLst>
            <pc:docMk/>
            <pc:sldMk cId="3975964758" sldId="2147478571"/>
            <ac:spMk id="45" creationId="{730DDF00-BA2C-50EC-2FC7-F87C72499B3A}"/>
          </ac:spMkLst>
        </pc:spChg>
        <pc:spChg chg="add del mod">
          <ac:chgData name="Steiner Andreas 6206 ED" userId="e6377c33-a923-4f14-8587-531c474c7b48" providerId="ADAL" clId="{6ECD27E6-B224-41CD-B4E0-E297462320DD}" dt="2023-11-23T19:56:32.906" v="5352"/>
          <ac:spMkLst>
            <pc:docMk/>
            <pc:sldMk cId="3975964758" sldId="2147478571"/>
            <ac:spMk id="46" creationId="{7C565AC7-A09E-B431-8A6C-0BBDB5AECB62}"/>
          </ac:spMkLst>
        </pc:spChg>
        <pc:spChg chg="add del mod">
          <ac:chgData name="Steiner Andreas 6206 ED" userId="e6377c33-a923-4f14-8587-531c474c7b48" providerId="ADAL" clId="{6ECD27E6-B224-41CD-B4E0-E297462320DD}" dt="2023-11-23T19:56:44.270" v="5507"/>
          <ac:spMkLst>
            <pc:docMk/>
            <pc:sldMk cId="3975964758" sldId="2147478571"/>
            <ac:spMk id="47" creationId="{21B99B20-CBE6-1B17-DF4B-91BC1BA02F28}"/>
          </ac:spMkLst>
        </pc:spChg>
        <pc:spChg chg="add del mod">
          <ac:chgData name="Steiner Andreas 6206 ED" userId="e6377c33-a923-4f14-8587-531c474c7b48" providerId="ADAL" clId="{6ECD27E6-B224-41CD-B4E0-E297462320DD}" dt="2023-11-23T19:56:54.640" v="5662"/>
          <ac:spMkLst>
            <pc:docMk/>
            <pc:sldMk cId="3975964758" sldId="2147478571"/>
            <ac:spMk id="48" creationId="{B53AABC0-5064-E6C9-F5EC-FF05542EB32D}"/>
          </ac:spMkLst>
        </pc:spChg>
        <pc:spChg chg="add del mod">
          <ac:chgData name="Steiner Andreas 6206 ED" userId="e6377c33-a923-4f14-8587-531c474c7b48" providerId="ADAL" clId="{6ECD27E6-B224-41CD-B4E0-E297462320DD}" dt="2023-11-23T19:57:06.104" v="5817"/>
          <ac:spMkLst>
            <pc:docMk/>
            <pc:sldMk cId="3975964758" sldId="2147478571"/>
            <ac:spMk id="49" creationId="{26DC8805-0F9C-A67B-28F7-5545610B5562}"/>
          </ac:spMkLst>
        </pc:spChg>
        <pc:spChg chg="add del mod">
          <ac:chgData name="Steiner Andreas 6206 ED" userId="e6377c33-a923-4f14-8587-531c474c7b48" providerId="ADAL" clId="{6ECD27E6-B224-41CD-B4E0-E297462320DD}" dt="2023-11-23T19:57:17.783" v="5972"/>
          <ac:spMkLst>
            <pc:docMk/>
            <pc:sldMk cId="3975964758" sldId="2147478571"/>
            <ac:spMk id="50" creationId="{5EC4FDE9-C62D-FE13-5C96-2D5931CF6A69}"/>
          </ac:spMkLst>
        </pc:spChg>
        <pc:spChg chg="add del mod">
          <ac:chgData name="Steiner Andreas 6206 ED" userId="e6377c33-a923-4f14-8587-531c474c7b48" providerId="ADAL" clId="{6ECD27E6-B224-41CD-B4E0-E297462320DD}" dt="2023-11-23T19:57:29.253" v="6127"/>
          <ac:spMkLst>
            <pc:docMk/>
            <pc:sldMk cId="3975964758" sldId="2147478571"/>
            <ac:spMk id="51" creationId="{230B7F2C-32FB-6AD8-36B4-187C7585D3AA}"/>
          </ac:spMkLst>
        </pc:spChg>
        <pc:spChg chg="add del mod">
          <ac:chgData name="Steiner Andreas 6206 ED" userId="e6377c33-a923-4f14-8587-531c474c7b48" providerId="ADAL" clId="{6ECD27E6-B224-41CD-B4E0-E297462320DD}" dt="2023-11-23T19:57:40.877" v="6282"/>
          <ac:spMkLst>
            <pc:docMk/>
            <pc:sldMk cId="3975964758" sldId="2147478571"/>
            <ac:spMk id="52" creationId="{0AE02D34-078A-F61B-F5D1-8689D4BAE227}"/>
          </ac:spMkLst>
        </pc:spChg>
        <pc:spChg chg="add del mod">
          <ac:chgData name="Steiner Andreas 6206 ED" userId="e6377c33-a923-4f14-8587-531c474c7b48" providerId="ADAL" clId="{6ECD27E6-B224-41CD-B4E0-E297462320DD}" dt="2023-11-23T19:57:52.547" v="6437"/>
          <ac:spMkLst>
            <pc:docMk/>
            <pc:sldMk cId="3975964758" sldId="2147478571"/>
            <ac:spMk id="53" creationId="{EEE3B7A4-C087-F036-A3C3-269317A83B79}"/>
          </ac:spMkLst>
        </pc:spChg>
        <pc:spChg chg="add del mod">
          <ac:chgData name="Steiner Andreas 6206 ED" userId="e6377c33-a923-4f14-8587-531c474c7b48" providerId="ADAL" clId="{6ECD27E6-B224-41CD-B4E0-E297462320DD}" dt="2023-11-23T19:58:04.242" v="6592"/>
          <ac:spMkLst>
            <pc:docMk/>
            <pc:sldMk cId="3975964758" sldId="2147478571"/>
            <ac:spMk id="54" creationId="{FDB2E2A5-AD36-B5AE-4652-4730558C6FA0}"/>
          </ac:spMkLst>
        </pc:spChg>
        <pc:spChg chg="add del mod">
          <ac:chgData name="Steiner Andreas 6206 ED" userId="e6377c33-a923-4f14-8587-531c474c7b48" providerId="ADAL" clId="{6ECD27E6-B224-41CD-B4E0-E297462320DD}" dt="2023-11-23T19:58:15.646" v="6747"/>
          <ac:spMkLst>
            <pc:docMk/>
            <pc:sldMk cId="3975964758" sldId="2147478571"/>
            <ac:spMk id="55" creationId="{3FE38E43-0A95-F348-9B6A-B1D5E531BDEE}"/>
          </ac:spMkLst>
        </pc:spChg>
        <pc:spChg chg="add del mod">
          <ac:chgData name="Steiner Andreas 6206 ED" userId="e6377c33-a923-4f14-8587-531c474c7b48" providerId="ADAL" clId="{6ECD27E6-B224-41CD-B4E0-E297462320DD}" dt="2023-11-23T19:58:27.764" v="6902"/>
          <ac:spMkLst>
            <pc:docMk/>
            <pc:sldMk cId="3975964758" sldId="2147478571"/>
            <ac:spMk id="56" creationId="{C0ECA5CD-370E-D641-1F0C-F97B80231F02}"/>
          </ac:spMkLst>
        </pc:spChg>
        <pc:spChg chg="add del mod">
          <ac:chgData name="Steiner Andreas 6206 ED" userId="e6377c33-a923-4f14-8587-531c474c7b48" providerId="ADAL" clId="{6ECD27E6-B224-41CD-B4E0-E297462320DD}" dt="2023-11-23T19:58:39.507" v="7057"/>
          <ac:spMkLst>
            <pc:docMk/>
            <pc:sldMk cId="3975964758" sldId="2147478571"/>
            <ac:spMk id="57" creationId="{ABCE0627-EBF8-34C2-DA1A-C1B6D10FC2D2}"/>
          </ac:spMkLst>
        </pc:spChg>
        <pc:spChg chg="add del mod">
          <ac:chgData name="Steiner Andreas 6206 ED" userId="e6377c33-a923-4f14-8587-531c474c7b48" providerId="ADAL" clId="{6ECD27E6-B224-41CD-B4E0-E297462320DD}" dt="2023-11-23T19:58:51.196" v="7212"/>
          <ac:spMkLst>
            <pc:docMk/>
            <pc:sldMk cId="3975964758" sldId="2147478571"/>
            <ac:spMk id="58" creationId="{FAD8F0A7-EDAE-D520-6E4E-D3B4BDCA49EE}"/>
          </ac:spMkLst>
        </pc:spChg>
        <pc:spChg chg="add del mod">
          <ac:chgData name="Steiner Andreas 6206 ED" userId="e6377c33-a923-4f14-8587-531c474c7b48" providerId="ADAL" clId="{6ECD27E6-B224-41CD-B4E0-E297462320DD}" dt="2023-11-23T19:59:02.580" v="7367"/>
          <ac:spMkLst>
            <pc:docMk/>
            <pc:sldMk cId="3975964758" sldId="2147478571"/>
            <ac:spMk id="59" creationId="{BD03DE87-B797-CED0-4730-D605FD591D34}"/>
          </ac:spMkLst>
        </pc:spChg>
        <pc:spChg chg="add del mod">
          <ac:chgData name="Steiner Andreas 6206 ED" userId="e6377c33-a923-4f14-8587-531c474c7b48" providerId="ADAL" clId="{6ECD27E6-B224-41CD-B4E0-E297462320DD}" dt="2023-11-24T08:31:41.434" v="7522"/>
          <ac:spMkLst>
            <pc:docMk/>
            <pc:sldMk cId="3975964758" sldId="2147478571"/>
            <ac:spMk id="60" creationId="{7CC323D3-1C1E-DAE8-8B28-660DC59C1212}"/>
          </ac:spMkLst>
        </pc:spChg>
        <pc:spChg chg="add del mod">
          <ac:chgData name="Steiner Andreas 6206 ED" userId="e6377c33-a923-4f14-8587-531c474c7b48" providerId="ADAL" clId="{6ECD27E6-B224-41CD-B4E0-E297462320DD}" dt="2023-11-24T08:31:45.140" v="7677"/>
          <ac:spMkLst>
            <pc:docMk/>
            <pc:sldMk cId="3975964758" sldId="2147478571"/>
            <ac:spMk id="61" creationId="{5C0C14C5-3A33-2C87-5A79-FFD9C9315C25}"/>
          </ac:spMkLst>
        </pc:spChg>
        <pc:spChg chg="add del mod">
          <ac:chgData name="Steiner Andreas 6206 ED" userId="e6377c33-a923-4f14-8587-531c474c7b48" providerId="ADAL" clId="{6ECD27E6-B224-41CD-B4E0-E297462320DD}" dt="2023-11-24T08:31:46.983" v="7832"/>
          <ac:spMkLst>
            <pc:docMk/>
            <pc:sldMk cId="3975964758" sldId="2147478571"/>
            <ac:spMk id="62" creationId="{A02B9E4A-6413-263F-082C-C4FFC64BDD5D}"/>
          </ac:spMkLst>
        </pc:spChg>
        <pc:spChg chg="add del mod">
          <ac:chgData name="Steiner Andreas 6206 ED" userId="e6377c33-a923-4f14-8587-531c474c7b48" providerId="ADAL" clId="{6ECD27E6-B224-41CD-B4E0-E297462320DD}" dt="2023-11-24T08:31:48.850" v="7987"/>
          <ac:spMkLst>
            <pc:docMk/>
            <pc:sldMk cId="3975964758" sldId="2147478571"/>
            <ac:spMk id="63" creationId="{C6841C47-6B2D-C643-3893-CA955B19BB64}"/>
          </ac:spMkLst>
        </pc:spChg>
        <pc:spChg chg="add del mod">
          <ac:chgData name="Steiner Andreas 6206 ED" userId="e6377c33-a923-4f14-8587-531c474c7b48" providerId="ADAL" clId="{6ECD27E6-B224-41CD-B4E0-E297462320DD}" dt="2023-11-24T08:31:50.721" v="8142"/>
          <ac:spMkLst>
            <pc:docMk/>
            <pc:sldMk cId="3975964758" sldId="2147478571"/>
            <ac:spMk id="64" creationId="{C04E24F9-8960-BD7C-14FA-BA2ED58CD74A}"/>
          </ac:spMkLst>
        </pc:spChg>
        <pc:spChg chg="add del mod">
          <ac:chgData name="Steiner Andreas 6206 ED" userId="e6377c33-a923-4f14-8587-531c474c7b48" providerId="ADAL" clId="{6ECD27E6-B224-41CD-B4E0-E297462320DD}" dt="2023-11-24T08:31:52.502" v="8297"/>
          <ac:spMkLst>
            <pc:docMk/>
            <pc:sldMk cId="3975964758" sldId="2147478571"/>
            <ac:spMk id="65" creationId="{D0DD450A-10E9-B577-2B9D-F0B360D63D6E}"/>
          </ac:spMkLst>
        </pc:spChg>
        <pc:spChg chg="add del mod">
          <ac:chgData name="Steiner Andreas 6206 ED" userId="e6377c33-a923-4f14-8587-531c474c7b48" providerId="ADAL" clId="{6ECD27E6-B224-41CD-B4E0-E297462320DD}" dt="2023-11-24T08:31:54.321" v="8452"/>
          <ac:spMkLst>
            <pc:docMk/>
            <pc:sldMk cId="3975964758" sldId="2147478571"/>
            <ac:spMk id="66" creationId="{6481ED19-91B7-6B95-60F8-5E864629EF29}"/>
          </ac:spMkLst>
        </pc:spChg>
        <pc:spChg chg="add del mod">
          <ac:chgData name="Steiner Andreas 6206 ED" userId="e6377c33-a923-4f14-8587-531c474c7b48" providerId="ADAL" clId="{6ECD27E6-B224-41CD-B4E0-E297462320DD}" dt="2023-11-24T08:31:56.163" v="8607"/>
          <ac:spMkLst>
            <pc:docMk/>
            <pc:sldMk cId="3975964758" sldId="2147478571"/>
            <ac:spMk id="67" creationId="{8BB1DDE6-554F-6A55-DF6C-833F72984B4A}"/>
          </ac:spMkLst>
        </pc:spChg>
        <pc:spChg chg="add del mod">
          <ac:chgData name="Steiner Andreas 6206 ED" userId="e6377c33-a923-4f14-8587-531c474c7b48" providerId="ADAL" clId="{6ECD27E6-B224-41CD-B4E0-E297462320DD}" dt="2023-11-24T08:31:58.045" v="8762"/>
          <ac:spMkLst>
            <pc:docMk/>
            <pc:sldMk cId="3975964758" sldId="2147478571"/>
            <ac:spMk id="68" creationId="{D5801041-8475-EA50-66BC-1A7B26597687}"/>
          </ac:spMkLst>
        </pc:spChg>
        <pc:spChg chg="add del mod">
          <ac:chgData name="Steiner Andreas 6206 ED" userId="e6377c33-a923-4f14-8587-531c474c7b48" providerId="ADAL" clId="{6ECD27E6-B224-41CD-B4E0-E297462320DD}" dt="2023-11-24T08:32:00.752" v="8917"/>
          <ac:spMkLst>
            <pc:docMk/>
            <pc:sldMk cId="3975964758" sldId="2147478571"/>
            <ac:spMk id="69" creationId="{49570E42-CE5D-BEC1-D1ED-CE4D0B79D177}"/>
          </ac:spMkLst>
        </pc:spChg>
        <pc:spChg chg="add del mod">
          <ac:chgData name="Steiner Andreas 6206 ED" userId="e6377c33-a923-4f14-8587-531c474c7b48" providerId="ADAL" clId="{6ECD27E6-B224-41CD-B4E0-E297462320DD}" dt="2023-11-24T08:32:03.051" v="9072"/>
          <ac:spMkLst>
            <pc:docMk/>
            <pc:sldMk cId="3975964758" sldId="2147478571"/>
            <ac:spMk id="70" creationId="{DA89964D-3380-3C77-BFF1-6FE85066CC3C}"/>
          </ac:spMkLst>
        </pc:spChg>
        <pc:spChg chg="add del mod">
          <ac:chgData name="Steiner Andreas 6206 ED" userId="e6377c33-a923-4f14-8587-531c474c7b48" providerId="ADAL" clId="{6ECD27E6-B224-41CD-B4E0-E297462320DD}" dt="2023-11-24T08:32:05.127" v="9227"/>
          <ac:spMkLst>
            <pc:docMk/>
            <pc:sldMk cId="3975964758" sldId="2147478571"/>
            <ac:spMk id="71" creationId="{1FBB1C47-5957-C610-D154-64ED3B05D16A}"/>
          </ac:spMkLst>
        </pc:spChg>
        <pc:spChg chg="add del mod">
          <ac:chgData name="Steiner Andreas 6206 ED" userId="e6377c33-a923-4f14-8587-531c474c7b48" providerId="ADAL" clId="{6ECD27E6-B224-41CD-B4E0-E297462320DD}" dt="2023-11-24T08:32:07.065" v="9382"/>
          <ac:spMkLst>
            <pc:docMk/>
            <pc:sldMk cId="3975964758" sldId="2147478571"/>
            <ac:spMk id="72" creationId="{E2EADAED-EC2A-2E43-0C0C-84FA986ED9D4}"/>
          </ac:spMkLst>
        </pc:spChg>
        <pc:spChg chg="add del mod">
          <ac:chgData name="Steiner Andreas 6206 ED" userId="e6377c33-a923-4f14-8587-531c474c7b48" providerId="ADAL" clId="{6ECD27E6-B224-41CD-B4E0-E297462320DD}" dt="2023-11-24T08:32:09.400" v="9537"/>
          <ac:spMkLst>
            <pc:docMk/>
            <pc:sldMk cId="3975964758" sldId="2147478571"/>
            <ac:spMk id="73" creationId="{FEF2F2AF-1335-C794-B356-3B4B45763659}"/>
          </ac:spMkLst>
        </pc:spChg>
        <pc:spChg chg="add del mod">
          <ac:chgData name="Steiner Andreas 6206 ED" userId="e6377c33-a923-4f14-8587-531c474c7b48" providerId="ADAL" clId="{6ECD27E6-B224-41CD-B4E0-E297462320DD}" dt="2023-11-24T08:32:11.695" v="9692"/>
          <ac:spMkLst>
            <pc:docMk/>
            <pc:sldMk cId="3975964758" sldId="2147478571"/>
            <ac:spMk id="74" creationId="{24ED78C8-547B-E49C-D820-39E7F70C514C}"/>
          </ac:spMkLst>
        </pc:spChg>
        <pc:spChg chg="add del mod">
          <ac:chgData name="Steiner Andreas 6206 ED" userId="e6377c33-a923-4f14-8587-531c474c7b48" providerId="ADAL" clId="{6ECD27E6-B224-41CD-B4E0-E297462320DD}" dt="2023-11-24T08:32:13.871" v="9847"/>
          <ac:spMkLst>
            <pc:docMk/>
            <pc:sldMk cId="3975964758" sldId="2147478571"/>
            <ac:spMk id="75" creationId="{933A5162-8520-8B55-CA7A-2C3F6E5CA77C}"/>
          </ac:spMkLst>
        </pc:spChg>
        <pc:spChg chg="add del mod">
          <ac:chgData name="Steiner Andreas 6206 ED" userId="e6377c33-a923-4f14-8587-531c474c7b48" providerId="ADAL" clId="{6ECD27E6-B224-41CD-B4E0-E297462320DD}" dt="2023-11-24T08:32:15.809" v="10002"/>
          <ac:spMkLst>
            <pc:docMk/>
            <pc:sldMk cId="3975964758" sldId="2147478571"/>
            <ac:spMk id="76" creationId="{A1298BA6-14EC-20D6-3EEE-F9E061894B96}"/>
          </ac:spMkLst>
        </pc:spChg>
        <pc:spChg chg="add del mod">
          <ac:chgData name="Steiner Andreas 6206 ED" userId="e6377c33-a923-4f14-8587-531c474c7b48" providerId="ADAL" clId="{6ECD27E6-B224-41CD-B4E0-E297462320DD}" dt="2023-11-24T08:32:17.807" v="10157"/>
          <ac:spMkLst>
            <pc:docMk/>
            <pc:sldMk cId="3975964758" sldId="2147478571"/>
            <ac:spMk id="77" creationId="{36A63145-DD15-62A8-AFB0-F2F4B8A10D29}"/>
          </ac:spMkLst>
        </pc:spChg>
        <pc:spChg chg="add del mod">
          <ac:chgData name="Steiner Andreas 6206 ED" userId="e6377c33-a923-4f14-8587-531c474c7b48" providerId="ADAL" clId="{6ECD27E6-B224-41CD-B4E0-E297462320DD}" dt="2023-11-24T08:32:19.752" v="10312"/>
          <ac:spMkLst>
            <pc:docMk/>
            <pc:sldMk cId="3975964758" sldId="2147478571"/>
            <ac:spMk id="78" creationId="{F02C3C64-8753-48AA-5BE7-2070CF2E7F05}"/>
          </ac:spMkLst>
        </pc:spChg>
        <pc:spChg chg="add del mod">
          <ac:chgData name="Steiner Andreas 6206 ED" userId="e6377c33-a923-4f14-8587-531c474c7b48" providerId="ADAL" clId="{6ECD27E6-B224-41CD-B4E0-E297462320DD}" dt="2023-11-24T08:32:21.719" v="10467"/>
          <ac:spMkLst>
            <pc:docMk/>
            <pc:sldMk cId="3975964758" sldId="2147478571"/>
            <ac:spMk id="79" creationId="{1BC91187-86A4-B959-51CE-69C155A69F94}"/>
          </ac:spMkLst>
        </pc:spChg>
        <pc:spChg chg="add del mod">
          <ac:chgData name="Steiner Andreas 6206 ED" userId="e6377c33-a923-4f14-8587-531c474c7b48" providerId="ADAL" clId="{6ECD27E6-B224-41CD-B4E0-E297462320DD}" dt="2023-11-24T08:32:23.866" v="10622"/>
          <ac:spMkLst>
            <pc:docMk/>
            <pc:sldMk cId="3975964758" sldId="2147478571"/>
            <ac:spMk id="80" creationId="{9C96F25F-22CC-5205-60DC-43BD84C8C61D}"/>
          </ac:spMkLst>
        </pc:spChg>
        <pc:spChg chg="add del mod">
          <ac:chgData name="Steiner Andreas 6206 ED" userId="e6377c33-a923-4f14-8587-531c474c7b48" providerId="ADAL" clId="{6ECD27E6-B224-41CD-B4E0-E297462320DD}" dt="2023-11-24T08:32:25.847" v="10777"/>
          <ac:spMkLst>
            <pc:docMk/>
            <pc:sldMk cId="3975964758" sldId="2147478571"/>
            <ac:spMk id="81" creationId="{60246CF7-7B5E-82E4-1320-7918D0EFF0C9}"/>
          </ac:spMkLst>
        </pc:spChg>
        <pc:spChg chg="add del mod">
          <ac:chgData name="Steiner Andreas 6206 ED" userId="e6377c33-a923-4f14-8587-531c474c7b48" providerId="ADAL" clId="{6ECD27E6-B224-41CD-B4E0-E297462320DD}" dt="2023-11-24T08:32:27.827" v="10932"/>
          <ac:spMkLst>
            <pc:docMk/>
            <pc:sldMk cId="3975964758" sldId="2147478571"/>
            <ac:spMk id="82" creationId="{91FE6F32-B107-B069-5144-5A10A7D739D7}"/>
          </ac:spMkLst>
        </pc:spChg>
        <pc:spChg chg="add del mod">
          <ac:chgData name="Steiner Andreas 6206 ED" userId="e6377c33-a923-4f14-8587-531c474c7b48" providerId="ADAL" clId="{6ECD27E6-B224-41CD-B4E0-E297462320DD}" dt="2023-11-24T08:32:29.744" v="11087"/>
          <ac:spMkLst>
            <pc:docMk/>
            <pc:sldMk cId="3975964758" sldId="2147478571"/>
            <ac:spMk id="83" creationId="{0DA4710A-FE5E-ADB1-BEF9-A231DC04DEE3}"/>
          </ac:spMkLst>
        </pc:spChg>
        <pc:spChg chg="add del mod">
          <ac:chgData name="Steiner Andreas 6206 ED" userId="e6377c33-a923-4f14-8587-531c474c7b48" providerId="ADAL" clId="{6ECD27E6-B224-41CD-B4E0-E297462320DD}" dt="2023-11-24T08:32:31.859" v="11242"/>
          <ac:spMkLst>
            <pc:docMk/>
            <pc:sldMk cId="3975964758" sldId="2147478571"/>
            <ac:spMk id="84" creationId="{79A27C09-898A-02DF-183D-826DBF8F2F3F}"/>
          </ac:spMkLst>
        </pc:spChg>
        <pc:spChg chg="add del mod">
          <ac:chgData name="Steiner Andreas 6206 ED" userId="e6377c33-a923-4f14-8587-531c474c7b48" providerId="ADAL" clId="{6ECD27E6-B224-41CD-B4E0-E297462320DD}" dt="2023-11-24T08:32:34.173" v="11397"/>
          <ac:spMkLst>
            <pc:docMk/>
            <pc:sldMk cId="3975964758" sldId="2147478571"/>
            <ac:spMk id="85" creationId="{1B6BB924-C335-2957-7B86-C8755518E0B5}"/>
          </ac:spMkLst>
        </pc:spChg>
        <pc:spChg chg="add del mod">
          <ac:chgData name="Steiner Andreas 6206 ED" userId="e6377c33-a923-4f14-8587-531c474c7b48" providerId="ADAL" clId="{6ECD27E6-B224-41CD-B4E0-E297462320DD}" dt="2023-11-24T08:32:36.573" v="11552"/>
          <ac:spMkLst>
            <pc:docMk/>
            <pc:sldMk cId="3975964758" sldId="2147478571"/>
            <ac:spMk id="86" creationId="{4BEB7262-7D8D-3ECC-5072-6973F68C8C92}"/>
          </ac:spMkLst>
        </pc:spChg>
        <pc:spChg chg="add del mod">
          <ac:chgData name="Steiner Andreas 6206 ED" userId="e6377c33-a923-4f14-8587-531c474c7b48" providerId="ADAL" clId="{6ECD27E6-B224-41CD-B4E0-E297462320DD}" dt="2023-11-24T08:32:38.514" v="11707"/>
          <ac:spMkLst>
            <pc:docMk/>
            <pc:sldMk cId="3975964758" sldId="2147478571"/>
            <ac:spMk id="87" creationId="{A4D68EED-7F2B-59DF-3890-3288590B0463}"/>
          </ac:spMkLst>
        </pc:spChg>
        <pc:spChg chg="add del mod">
          <ac:chgData name="Steiner Andreas 6206 ED" userId="e6377c33-a923-4f14-8587-531c474c7b48" providerId="ADAL" clId="{6ECD27E6-B224-41CD-B4E0-E297462320DD}" dt="2023-11-24T08:32:40.613" v="11862"/>
          <ac:spMkLst>
            <pc:docMk/>
            <pc:sldMk cId="3975964758" sldId="2147478571"/>
            <ac:spMk id="88" creationId="{4ED8B8DD-ACB3-EB7D-C3E3-D5D945B6CAEE}"/>
          </ac:spMkLst>
        </pc:spChg>
        <pc:spChg chg="add del mod">
          <ac:chgData name="Steiner Andreas 6206 ED" userId="e6377c33-a923-4f14-8587-531c474c7b48" providerId="ADAL" clId="{6ECD27E6-B224-41CD-B4E0-E297462320DD}" dt="2023-11-24T08:32:42.768" v="12017"/>
          <ac:spMkLst>
            <pc:docMk/>
            <pc:sldMk cId="3975964758" sldId="2147478571"/>
            <ac:spMk id="89" creationId="{7C9897B9-DA15-6BE1-F8D8-3A692238982A}"/>
          </ac:spMkLst>
        </pc:spChg>
        <pc:spChg chg="add del mod">
          <ac:chgData name="Steiner Andreas 6206 ED" userId="e6377c33-a923-4f14-8587-531c474c7b48" providerId="ADAL" clId="{6ECD27E6-B224-41CD-B4E0-E297462320DD}" dt="2023-11-24T08:32:44.911" v="12172"/>
          <ac:spMkLst>
            <pc:docMk/>
            <pc:sldMk cId="3975964758" sldId="2147478571"/>
            <ac:spMk id="90" creationId="{DEBE3E6C-ABFB-BD45-D118-3E133F053E93}"/>
          </ac:spMkLst>
        </pc:spChg>
        <pc:spChg chg="add del mod">
          <ac:chgData name="Steiner Andreas 6206 ED" userId="e6377c33-a923-4f14-8587-531c474c7b48" providerId="ADAL" clId="{6ECD27E6-B224-41CD-B4E0-E297462320DD}" dt="2023-11-24T08:32:47.095" v="12327"/>
          <ac:spMkLst>
            <pc:docMk/>
            <pc:sldMk cId="3975964758" sldId="2147478571"/>
            <ac:spMk id="91" creationId="{1C23EFD4-8E5F-C00D-8586-B027C04EF6BC}"/>
          </ac:spMkLst>
        </pc:spChg>
        <pc:spChg chg="add del mod">
          <ac:chgData name="Steiner Andreas 6206 ED" userId="e6377c33-a923-4f14-8587-531c474c7b48" providerId="ADAL" clId="{6ECD27E6-B224-41CD-B4E0-E297462320DD}" dt="2023-11-24T08:32:49.154" v="12482"/>
          <ac:spMkLst>
            <pc:docMk/>
            <pc:sldMk cId="3975964758" sldId="2147478571"/>
            <ac:spMk id="92" creationId="{48DD074D-DC5C-CBDA-4E39-3D45433E5567}"/>
          </ac:spMkLst>
        </pc:spChg>
        <pc:spChg chg="add del mod">
          <ac:chgData name="Steiner Andreas 6206 ED" userId="e6377c33-a923-4f14-8587-531c474c7b48" providerId="ADAL" clId="{6ECD27E6-B224-41CD-B4E0-E297462320DD}" dt="2023-11-24T08:32:51.097" v="12637"/>
          <ac:spMkLst>
            <pc:docMk/>
            <pc:sldMk cId="3975964758" sldId="2147478571"/>
            <ac:spMk id="93" creationId="{23042BB8-2B69-ABC7-5704-5DB5E6C8E255}"/>
          </ac:spMkLst>
        </pc:spChg>
        <pc:spChg chg="add del mod">
          <ac:chgData name="Steiner Andreas 6206 ED" userId="e6377c33-a923-4f14-8587-531c474c7b48" providerId="ADAL" clId="{6ECD27E6-B224-41CD-B4E0-E297462320DD}" dt="2023-11-24T08:32:53.113" v="12792"/>
          <ac:spMkLst>
            <pc:docMk/>
            <pc:sldMk cId="3975964758" sldId="2147478571"/>
            <ac:spMk id="94" creationId="{FEB6F6FA-EEFB-47AE-FEB5-0CB1BE566825}"/>
          </ac:spMkLst>
        </pc:spChg>
        <pc:spChg chg="add del mod">
          <ac:chgData name="Steiner Andreas 6206 ED" userId="e6377c33-a923-4f14-8587-531c474c7b48" providerId="ADAL" clId="{6ECD27E6-B224-41CD-B4E0-E297462320DD}" dt="2023-11-24T08:32:55.108" v="12947"/>
          <ac:spMkLst>
            <pc:docMk/>
            <pc:sldMk cId="3975964758" sldId="2147478571"/>
            <ac:spMk id="95" creationId="{7E5254C0-1695-23A5-25BE-844F7FC0FA32}"/>
          </ac:spMkLst>
        </pc:spChg>
        <pc:spChg chg="add del mod">
          <ac:chgData name="Steiner Andreas 6206 ED" userId="e6377c33-a923-4f14-8587-531c474c7b48" providerId="ADAL" clId="{6ECD27E6-B224-41CD-B4E0-E297462320DD}" dt="2023-11-24T08:32:57.031" v="13102"/>
          <ac:spMkLst>
            <pc:docMk/>
            <pc:sldMk cId="3975964758" sldId="2147478571"/>
            <ac:spMk id="96" creationId="{F29F9A68-C612-FDEE-ED92-3413578F954D}"/>
          </ac:spMkLst>
        </pc:spChg>
        <pc:spChg chg="add del mod">
          <ac:chgData name="Steiner Andreas 6206 ED" userId="e6377c33-a923-4f14-8587-531c474c7b48" providerId="ADAL" clId="{6ECD27E6-B224-41CD-B4E0-E297462320DD}" dt="2023-11-24T08:32:59.127" v="13257"/>
          <ac:spMkLst>
            <pc:docMk/>
            <pc:sldMk cId="3975964758" sldId="2147478571"/>
            <ac:spMk id="97" creationId="{A817DE66-30C4-8E2A-D1D1-D9EFB597BBBD}"/>
          </ac:spMkLst>
        </pc:spChg>
        <pc:spChg chg="add del mod">
          <ac:chgData name="Steiner Andreas 6206 ED" userId="e6377c33-a923-4f14-8587-531c474c7b48" providerId="ADAL" clId="{6ECD27E6-B224-41CD-B4E0-E297462320DD}" dt="2023-11-24T08:33:01.260" v="13412"/>
          <ac:spMkLst>
            <pc:docMk/>
            <pc:sldMk cId="3975964758" sldId="2147478571"/>
            <ac:spMk id="98" creationId="{6EF0D3DE-EB91-F2A4-CB60-26FB1690B206}"/>
          </ac:spMkLst>
        </pc:spChg>
        <pc:spChg chg="add del mod">
          <ac:chgData name="Steiner Andreas 6206 ED" userId="e6377c33-a923-4f14-8587-531c474c7b48" providerId="ADAL" clId="{6ECD27E6-B224-41CD-B4E0-E297462320DD}" dt="2023-11-24T08:33:03.603" v="13567"/>
          <ac:spMkLst>
            <pc:docMk/>
            <pc:sldMk cId="3975964758" sldId="2147478571"/>
            <ac:spMk id="99" creationId="{1E6BCB43-77C4-C110-A3B3-65CE874352D2}"/>
          </ac:spMkLst>
        </pc:spChg>
        <pc:spChg chg="add del mod">
          <ac:chgData name="Steiner Andreas 6206 ED" userId="e6377c33-a923-4f14-8587-531c474c7b48" providerId="ADAL" clId="{6ECD27E6-B224-41CD-B4E0-E297462320DD}" dt="2023-11-24T08:33:05.927" v="13722"/>
          <ac:spMkLst>
            <pc:docMk/>
            <pc:sldMk cId="3975964758" sldId="2147478571"/>
            <ac:spMk id="100" creationId="{73523CC1-15D9-0637-FED9-3C5075E171CA}"/>
          </ac:spMkLst>
        </pc:spChg>
        <pc:spChg chg="add del mod">
          <ac:chgData name="Steiner Andreas 6206 ED" userId="e6377c33-a923-4f14-8587-531c474c7b48" providerId="ADAL" clId="{6ECD27E6-B224-41CD-B4E0-E297462320DD}" dt="2023-11-24T08:33:08.171" v="13877"/>
          <ac:spMkLst>
            <pc:docMk/>
            <pc:sldMk cId="3975964758" sldId="2147478571"/>
            <ac:spMk id="101" creationId="{84092E90-E055-8E9E-AB68-0B5365B399CA}"/>
          </ac:spMkLst>
        </pc:spChg>
        <pc:spChg chg="add del mod">
          <ac:chgData name="Steiner Andreas 6206 ED" userId="e6377c33-a923-4f14-8587-531c474c7b48" providerId="ADAL" clId="{6ECD27E6-B224-41CD-B4E0-E297462320DD}" dt="2023-11-24T08:33:10.595" v="14032"/>
          <ac:spMkLst>
            <pc:docMk/>
            <pc:sldMk cId="3975964758" sldId="2147478571"/>
            <ac:spMk id="102" creationId="{3C2F9CF1-8EBA-0ACD-373C-D17E8C46711F}"/>
          </ac:spMkLst>
        </pc:spChg>
        <pc:spChg chg="add del mod">
          <ac:chgData name="Steiner Andreas 6206 ED" userId="e6377c33-a923-4f14-8587-531c474c7b48" providerId="ADAL" clId="{6ECD27E6-B224-41CD-B4E0-E297462320DD}" dt="2023-11-24T08:33:12.594" v="14187"/>
          <ac:spMkLst>
            <pc:docMk/>
            <pc:sldMk cId="3975964758" sldId="2147478571"/>
            <ac:spMk id="103" creationId="{67B89413-3864-D08B-584F-4AEBB9766546}"/>
          </ac:spMkLst>
        </pc:spChg>
        <pc:spChg chg="add del mod">
          <ac:chgData name="Steiner Andreas 6206 ED" userId="e6377c33-a923-4f14-8587-531c474c7b48" providerId="ADAL" clId="{6ECD27E6-B224-41CD-B4E0-E297462320DD}" dt="2023-11-24T08:33:14.491" v="14342"/>
          <ac:spMkLst>
            <pc:docMk/>
            <pc:sldMk cId="3975964758" sldId="2147478571"/>
            <ac:spMk id="104" creationId="{27291C01-99B5-2575-F3FE-FCD7C90D0A62}"/>
          </ac:spMkLst>
        </pc:spChg>
        <pc:spChg chg="add del mod">
          <ac:chgData name="Steiner Andreas 6206 ED" userId="e6377c33-a923-4f14-8587-531c474c7b48" providerId="ADAL" clId="{6ECD27E6-B224-41CD-B4E0-E297462320DD}" dt="2023-11-24T08:33:16.482" v="14497"/>
          <ac:spMkLst>
            <pc:docMk/>
            <pc:sldMk cId="3975964758" sldId="2147478571"/>
            <ac:spMk id="105" creationId="{10C228E8-53C8-FAF1-6BE6-21DDF0F3EF3A}"/>
          </ac:spMkLst>
        </pc:spChg>
        <pc:spChg chg="add del mod">
          <ac:chgData name="Steiner Andreas 6206 ED" userId="e6377c33-a923-4f14-8587-531c474c7b48" providerId="ADAL" clId="{6ECD27E6-B224-41CD-B4E0-E297462320DD}" dt="2023-11-24T08:33:18.799" v="14652"/>
          <ac:spMkLst>
            <pc:docMk/>
            <pc:sldMk cId="3975964758" sldId="2147478571"/>
            <ac:spMk id="106" creationId="{A37A4ED9-3BC8-EFF7-9028-CB3EC8FF52E2}"/>
          </ac:spMkLst>
        </pc:spChg>
        <pc:spChg chg="add del mod">
          <ac:chgData name="Steiner Andreas 6206 ED" userId="e6377c33-a923-4f14-8587-531c474c7b48" providerId="ADAL" clId="{6ECD27E6-B224-41CD-B4E0-E297462320DD}" dt="2023-11-24T08:33:21.139" v="14807"/>
          <ac:spMkLst>
            <pc:docMk/>
            <pc:sldMk cId="3975964758" sldId="2147478571"/>
            <ac:spMk id="107" creationId="{F3BF6F8F-B69F-D47B-0406-BBA1E7ACF817}"/>
          </ac:spMkLst>
        </pc:spChg>
        <pc:spChg chg="add del mod">
          <ac:chgData name="Steiner Andreas 6206 ED" userId="e6377c33-a923-4f14-8587-531c474c7b48" providerId="ADAL" clId="{6ECD27E6-B224-41CD-B4E0-E297462320DD}" dt="2023-11-24T08:33:23.495" v="14962"/>
          <ac:spMkLst>
            <pc:docMk/>
            <pc:sldMk cId="3975964758" sldId="2147478571"/>
            <ac:spMk id="108" creationId="{DDA5FC42-7946-F3F8-5EC8-538AEDC8CC23}"/>
          </ac:spMkLst>
        </pc:spChg>
        <pc:spChg chg="add del mod">
          <ac:chgData name="Steiner Andreas 6206 ED" userId="e6377c33-a923-4f14-8587-531c474c7b48" providerId="ADAL" clId="{6ECD27E6-B224-41CD-B4E0-E297462320DD}" dt="2023-11-24T08:33:25.928" v="15117"/>
          <ac:spMkLst>
            <pc:docMk/>
            <pc:sldMk cId="3975964758" sldId="2147478571"/>
            <ac:spMk id="109" creationId="{8BB7591E-1B3B-9ED8-117E-4E77BADD457A}"/>
          </ac:spMkLst>
        </pc:spChg>
        <pc:spChg chg="add del mod">
          <ac:chgData name="Steiner Andreas 6206 ED" userId="e6377c33-a923-4f14-8587-531c474c7b48" providerId="ADAL" clId="{6ECD27E6-B224-41CD-B4E0-E297462320DD}" dt="2023-11-24T08:33:28.207" v="15272"/>
          <ac:spMkLst>
            <pc:docMk/>
            <pc:sldMk cId="3975964758" sldId="2147478571"/>
            <ac:spMk id="110" creationId="{2559275B-E7F3-DAE9-D78B-14CE78D644EA}"/>
          </ac:spMkLst>
        </pc:spChg>
        <pc:spChg chg="add del mod">
          <ac:chgData name="Steiner Andreas 6206 ED" userId="e6377c33-a923-4f14-8587-531c474c7b48" providerId="ADAL" clId="{6ECD27E6-B224-41CD-B4E0-E297462320DD}" dt="2023-11-24T08:33:30.630" v="15427"/>
          <ac:spMkLst>
            <pc:docMk/>
            <pc:sldMk cId="3975964758" sldId="2147478571"/>
            <ac:spMk id="111" creationId="{5C4CFF98-3539-5536-944C-8E66AEF5D0B8}"/>
          </ac:spMkLst>
        </pc:spChg>
        <pc:spChg chg="add del mod">
          <ac:chgData name="Steiner Andreas 6206 ED" userId="e6377c33-a923-4f14-8587-531c474c7b48" providerId="ADAL" clId="{6ECD27E6-B224-41CD-B4E0-E297462320DD}" dt="2023-11-24T08:33:33.473" v="15582"/>
          <ac:spMkLst>
            <pc:docMk/>
            <pc:sldMk cId="3975964758" sldId="2147478571"/>
            <ac:spMk id="112" creationId="{953D05D0-B40D-942B-0F0A-2C3149D59253}"/>
          </ac:spMkLst>
        </pc:spChg>
        <pc:spChg chg="add del mod">
          <ac:chgData name="Steiner Andreas 6206 ED" userId="e6377c33-a923-4f14-8587-531c474c7b48" providerId="ADAL" clId="{6ECD27E6-B224-41CD-B4E0-E297462320DD}" dt="2023-11-24T08:33:35.774" v="15737"/>
          <ac:spMkLst>
            <pc:docMk/>
            <pc:sldMk cId="3975964758" sldId="2147478571"/>
            <ac:spMk id="113" creationId="{52D4A2D5-71B0-3672-E42A-646468729351}"/>
          </ac:spMkLst>
        </pc:spChg>
        <pc:spChg chg="add del mod">
          <ac:chgData name="Steiner Andreas 6206 ED" userId="e6377c33-a923-4f14-8587-531c474c7b48" providerId="ADAL" clId="{6ECD27E6-B224-41CD-B4E0-E297462320DD}" dt="2023-11-24T08:33:37.896" v="15892"/>
          <ac:spMkLst>
            <pc:docMk/>
            <pc:sldMk cId="3975964758" sldId="2147478571"/>
            <ac:spMk id="114" creationId="{D1DBE000-8A4B-7735-D20F-2B3BD8543B6C}"/>
          </ac:spMkLst>
        </pc:spChg>
        <pc:spChg chg="add del mod">
          <ac:chgData name="Steiner Andreas 6206 ED" userId="e6377c33-a923-4f14-8587-531c474c7b48" providerId="ADAL" clId="{6ECD27E6-B224-41CD-B4E0-E297462320DD}" dt="2023-11-24T08:33:40.210" v="16047"/>
          <ac:spMkLst>
            <pc:docMk/>
            <pc:sldMk cId="3975964758" sldId="2147478571"/>
            <ac:spMk id="115" creationId="{33A29310-F0A5-E9BB-1293-1A857B332C4A}"/>
          </ac:spMkLst>
        </pc:spChg>
        <pc:spChg chg="add del mod">
          <ac:chgData name="Steiner Andreas 6206 ED" userId="e6377c33-a923-4f14-8587-531c474c7b48" providerId="ADAL" clId="{6ECD27E6-B224-41CD-B4E0-E297462320DD}" dt="2023-11-24T08:33:42.786" v="16202"/>
          <ac:spMkLst>
            <pc:docMk/>
            <pc:sldMk cId="3975964758" sldId="2147478571"/>
            <ac:spMk id="116" creationId="{C84CA8B4-EEFE-D57B-0F76-D43DC9F0981E}"/>
          </ac:spMkLst>
        </pc:spChg>
        <pc:spChg chg="add del mod">
          <ac:chgData name="Steiner Andreas 6206 ED" userId="e6377c33-a923-4f14-8587-531c474c7b48" providerId="ADAL" clId="{6ECD27E6-B224-41CD-B4E0-E297462320DD}" dt="2023-11-24T08:33:45.402" v="16357"/>
          <ac:spMkLst>
            <pc:docMk/>
            <pc:sldMk cId="3975964758" sldId="2147478571"/>
            <ac:spMk id="117" creationId="{874D48F1-0F19-337B-562D-6221DF3E1175}"/>
          </ac:spMkLst>
        </pc:spChg>
        <pc:spChg chg="add del mod">
          <ac:chgData name="Steiner Andreas 6206 ED" userId="e6377c33-a923-4f14-8587-531c474c7b48" providerId="ADAL" clId="{6ECD27E6-B224-41CD-B4E0-E297462320DD}" dt="2023-11-24T08:33:47.611" v="16512"/>
          <ac:spMkLst>
            <pc:docMk/>
            <pc:sldMk cId="3975964758" sldId="2147478571"/>
            <ac:spMk id="118" creationId="{BD735254-0137-5793-C8BB-1B35A9FA7481}"/>
          </ac:spMkLst>
        </pc:spChg>
        <pc:spChg chg="add del mod">
          <ac:chgData name="Steiner Andreas 6206 ED" userId="e6377c33-a923-4f14-8587-531c474c7b48" providerId="ADAL" clId="{6ECD27E6-B224-41CD-B4E0-E297462320DD}" dt="2023-11-24T08:33:50.312" v="16667"/>
          <ac:spMkLst>
            <pc:docMk/>
            <pc:sldMk cId="3975964758" sldId="2147478571"/>
            <ac:spMk id="119" creationId="{F69BA618-D919-FBF5-1E85-739B771EB0C7}"/>
          </ac:spMkLst>
        </pc:spChg>
        <pc:spChg chg="add del mod">
          <ac:chgData name="Steiner Andreas 6206 ED" userId="e6377c33-a923-4f14-8587-531c474c7b48" providerId="ADAL" clId="{6ECD27E6-B224-41CD-B4E0-E297462320DD}" dt="2023-11-24T08:33:52.735" v="16822"/>
          <ac:spMkLst>
            <pc:docMk/>
            <pc:sldMk cId="3975964758" sldId="2147478571"/>
            <ac:spMk id="120" creationId="{A31E5D8A-575F-6CA2-A390-A7E90A862AE0}"/>
          </ac:spMkLst>
        </pc:spChg>
        <pc:spChg chg="add del mod">
          <ac:chgData name="Steiner Andreas 6206 ED" userId="e6377c33-a923-4f14-8587-531c474c7b48" providerId="ADAL" clId="{6ECD27E6-B224-41CD-B4E0-E297462320DD}" dt="2023-11-24T08:33:54.891" v="16977"/>
          <ac:spMkLst>
            <pc:docMk/>
            <pc:sldMk cId="3975964758" sldId="2147478571"/>
            <ac:spMk id="121" creationId="{A47B26A3-C09E-505B-ED5B-916B3F28AAC7}"/>
          </ac:spMkLst>
        </pc:spChg>
        <pc:spChg chg="add del mod">
          <ac:chgData name="Steiner Andreas 6206 ED" userId="e6377c33-a923-4f14-8587-531c474c7b48" providerId="ADAL" clId="{6ECD27E6-B224-41CD-B4E0-E297462320DD}" dt="2023-11-24T08:33:57.257" v="17132"/>
          <ac:spMkLst>
            <pc:docMk/>
            <pc:sldMk cId="3975964758" sldId="2147478571"/>
            <ac:spMk id="122" creationId="{2A9302F1-1351-763D-32CE-C4F37B2D17DE}"/>
          </ac:spMkLst>
        </pc:spChg>
        <pc:spChg chg="add del mod">
          <ac:chgData name="Steiner Andreas 6206 ED" userId="e6377c33-a923-4f14-8587-531c474c7b48" providerId="ADAL" clId="{6ECD27E6-B224-41CD-B4E0-E297462320DD}" dt="2023-11-24T08:33:59.696" v="17287"/>
          <ac:spMkLst>
            <pc:docMk/>
            <pc:sldMk cId="3975964758" sldId="2147478571"/>
            <ac:spMk id="123" creationId="{A1F8E15E-B0CA-A089-1020-8FE2F263BF89}"/>
          </ac:spMkLst>
        </pc:spChg>
        <pc:spChg chg="add del mod">
          <ac:chgData name="Steiner Andreas 6206 ED" userId="e6377c33-a923-4f14-8587-531c474c7b48" providerId="ADAL" clId="{6ECD27E6-B224-41CD-B4E0-E297462320DD}" dt="2023-11-24T08:34:01.671" v="17442"/>
          <ac:spMkLst>
            <pc:docMk/>
            <pc:sldMk cId="3975964758" sldId="2147478571"/>
            <ac:spMk id="124" creationId="{00CA7197-2232-C861-5BD1-363A91168613}"/>
          </ac:spMkLst>
        </pc:spChg>
        <pc:spChg chg="add del mod">
          <ac:chgData name="Steiner Andreas 6206 ED" userId="e6377c33-a923-4f14-8587-531c474c7b48" providerId="ADAL" clId="{6ECD27E6-B224-41CD-B4E0-E297462320DD}" dt="2023-11-24T08:34:04.077" v="17597"/>
          <ac:spMkLst>
            <pc:docMk/>
            <pc:sldMk cId="3975964758" sldId="2147478571"/>
            <ac:spMk id="125" creationId="{F13069F6-CF89-5700-E0D9-F806A36F09A7}"/>
          </ac:spMkLst>
        </pc:spChg>
        <pc:spChg chg="add del mod">
          <ac:chgData name="Steiner Andreas 6206 ED" userId="e6377c33-a923-4f14-8587-531c474c7b48" providerId="ADAL" clId="{6ECD27E6-B224-41CD-B4E0-E297462320DD}" dt="2023-11-24T08:34:05.954" v="17752"/>
          <ac:spMkLst>
            <pc:docMk/>
            <pc:sldMk cId="3975964758" sldId="2147478571"/>
            <ac:spMk id="126" creationId="{F6882173-7E7E-8B64-A3E0-5F8912190A00}"/>
          </ac:spMkLst>
        </pc:spChg>
        <pc:spChg chg="add del mod">
          <ac:chgData name="Steiner Andreas 6206 ED" userId="e6377c33-a923-4f14-8587-531c474c7b48" providerId="ADAL" clId="{6ECD27E6-B224-41CD-B4E0-E297462320DD}" dt="2023-11-24T08:34:08.061" v="17907"/>
          <ac:spMkLst>
            <pc:docMk/>
            <pc:sldMk cId="3975964758" sldId="2147478571"/>
            <ac:spMk id="127" creationId="{87B6D3B8-32DA-0918-C0A1-CE057032F7BF}"/>
          </ac:spMkLst>
        </pc:spChg>
        <pc:spChg chg="add del mod">
          <ac:chgData name="Steiner Andreas 6206 ED" userId="e6377c33-a923-4f14-8587-531c474c7b48" providerId="ADAL" clId="{6ECD27E6-B224-41CD-B4E0-E297462320DD}" dt="2023-11-24T08:34:10.011" v="18062"/>
          <ac:spMkLst>
            <pc:docMk/>
            <pc:sldMk cId="3975964758" sldId="2147478571"/>
            <ac:spMk id="128" creationId="{85F03492-EB71-A432-9CA9-C6E1CB7186E5}"/>
          </ac:spMkLst>
        </pc:spChg>
        <pc:spChg chg="add del mod">
          <ac:chgData name="Steiner Andreas 6206 ED" userId="e6377c33-a923-4f14-8587-531c474c7b48" providerId="ADAL" clId="{6ECD27E6-B224-41CD-B4E0-E297462320DD}" dt="2023-11-24T08:34:12.087" v="18217"/>
          <ac:spMkLst>
            <pc:docMk/>
            <pc:sldMk cId="3975964758" sldId="2147478571"/>
            <ac:spMk id="129" creationId="{018DA626-889D-16A4-4425-36C6F72A856E}"/>
          </ac:spMkLst>
        </pc:spChg>
        <pc:spChg chg="add del mod">
          <ac:chgData name="Steiner Andreas 6206 ED" userId="e6377c33-a923-4f14-8587-531c474c7b48" providerId="ADAL" clId="{6ECD27E6-B224-41CD-B4E0-E297462320DD}" dt="2023-11-24T08:34:14.371" v="18372"/>
          <ac:spMkLst>
            <pc:docMk/>
            <pc:sldMk cId="3975964758" sldId="2147478571"/>
            <ac:spMk id="130" creationId="{3A92A1D3-AD04-72A1-2CD4-472251CA2534}"/>
          </ac:spMkLst>
        </pc:spChg>
        <pc:spChg chg="add del mod">
          <ac:chgData name="Steiner Andreas 6206 ED" userId="e6377c33-a923-4f14-8587-531c474c7b48" providerId="ADAL" clId="{6ECD27E6-B224-41CD-B4E0-E297462320DD}" dt="2023-11-24T08:34:16.465" v="18527"/>
          <ac:spMkLst>
            <pc:docMk/>
            <pc:sldMk cId="3975964758" sldId="2147478571"/>
            <ac:spMk id="131" creationId="{816FB3C5-2DAA-3E62-42DD-0990B52A51E6}"/>
          </ac:spMkLst>
        </pc:spChg>
        <pc:spChg chg="add del mod">
          <ac:chgData name="Steiner Andreas 6206 ED" userId="e6377c33-a923-4f14-8587-531c474c7b48" providerId="ADAL" clId="{6ECD27E6-B224-41CD-B4E0-E297462320DD}" dt="2023-11-24T08:34:18.647" v="18682"/>
          <ac:spMkLst>
            <pc:docMk/>
            <pc:sldMk cId="3975964758" sldId="2147478571"/>
            <ac:spMk id="132" creationId="{BFE2367D-B2B6-BDC4-5A79-FA7697D86D25}"/>
          </ac:spMkLst>
        </pc:spChg>
        <pc:spChg chg="add del mod">
          <ac:chgData name="Steiner Andreas 6206 ED" userId="e6377c33-a923-4f14-8587-531c474c7b48" providerId="ADAL" clId="{6ECD27E6-B224-41CD-B4E0-E297462320DD}" dt="2023-11-24T08:34:20.758" v="18837"/>
          <ac:spMkLst>
            <pc:docMk/>
            <pc:sldMk cId="3975964758" sldId="2147478571"/>
            <ac:spMk id="133" creationId="{E5C53AE4-A7DA-4E76-8F0F-6BAA1B917D9B}"/>
          </ac:spMkLst>
        </pc:spChg>
        <pc:spChg chg="add del mod">
          <ac:chgData name="Steiner Andreas 6206 ED" userId="e6377c33-a923-4f14-8587-531c474c7b48" providerId="ADAL" clId="{6ECD27E6-B224-41CD-B4E0-E297462320DD}" dt="2023-11-24T08:34:22.872" v="18992"/>
          <ac:spMkLst>
            <pc:docMk/>
            <pc:sldMk cId="3975964758" sldId="2147478571"/>
            <ac:spMk id="134" creationId="{FE308A76-F3E1-BAA7-1616-CEACE1C2529D}"/>
          </ac:spMkLst>
        </pc:spChg>
        <pc:spChg chg="add del mod">
          <ac:chgData name="Steiner Andreas 6206 ED" userId="e6377c33-a923-4f14-8587-531c474c7b48" providerId="ADAL" clId="{6ECD27E6-B224-41CD-B4E0-E297462320DD}" dt="2023-11-24T08:34:26.146" v="19147"/>
          <ac:spMkLst>
            <pc:docMk/>
            <pc:sldMk cId="3975964758" sldId="2147478571"/>
            <ac:spMk id="135" creationId="{F1B074F9-DE8D-3F05-3B2F-A431156C6C8E}"/>
          </ac:spMkLst>
        </pc:spChg>
        <pc:spChg chg="add del mod">
          <ac:chgData name="Steiner Andreas 6206 ED" userId="e6377c33-a923-4f14-8587-531c474c7b48" providerId="ADAL" clId="{6ECD27E6-B224-41CD-B4E0-E297462320DD}" dt="2023-11-24T08:34:28.802" v="19302"/>
          <ac:spMkLst>
            <pc:docMk/>
            <pc:sldMk cId="3975964758" sldId="2147478571"/>
            <ac:spMk id="136" creationId="{BF49342D-EB09-0166-36B8-84B5C8633261}"/>
          </ac:spMkLst>
        </pc:spChg>
        <pc:spChg chg="add del mod">
          <ac:chgData name="Steiner Andreas 6206 ED" userId="e6377c33-a923-4f14-8587-531c474c7b48" providerId="ADAL" clId="{6ECD27E6-B224-41CD-B4E0-E297462320DD}" dt="2023-11-24T08:34:31.434" v="19457"/>
          <ac:spMkLst>
            <pc:docMk/>
            <pc:sldMk cId="3975964758" sldId="2147478571"/>
            <ac:spMk id="137" creationId="{6A2BE73D-5450-AE5D-8986-388F006BE2F1}"/>
          </ac:spMkLst>
        </pc:spChg>
        <pc:spChg chg="add del mod">
          <ac:chgData name="Steiner Andreas 6206 ED" userId="e6377c33-a923-4f14-8587-531c474c7b48" providerId="ADAL" clId="{6ECD27E6-B224-41CD-B4E0-E297462320DD}" dt="2023-11-24T08:34:33.614" v="19612"/>
          <ac:spMkLst>
            <pc:docMk/>
            <pc:sldMk cId="3975964758" sldId="2147478571"/>
            <ac:spMk id="138" creationId="{612420B3-36E8-3435-BA03-2978CA4954AF}"/>
          </ac:spMkLst>
        </pc:spChg>
        <pc:spChg chg="add del mod">
          <ac:chgData name="Steiner Andreas 6206 ED" userId="e6377c33-a923-4f14-8587-531c474c7b48" providerId="ADAL" clId="{6ECD27E6-B224-41CD-B4E0-E297462320DD}" dt="2023-11-24T08:34:35.864" v="19767"/>
          <ac:spMkLst>
            <pc:docMk/>
            <pc:sldMk cId="3975964758" sldId="2147478571"/>
            <ac:spMk id="139" creationId="{75447174-DCF8-5439-BCA4-572947754109}"/>
          </ac:spMkLst>
        </pc:spChg>
        <pc:spChg chg="add del mod">
          <ac:chgData name="Steiner Andreas 6206 ED" userId="e6377c33-a923-4f14-8587-531c474c7b48" providerId="ADAL" clId="{6ECD27E6-B224-41CD-B4E0-E297462320DD}" dt="2023-11-24T08:34:38.135" v="19922"/>
          <ac:spMkLst>
            <pc:docMk/>
            <pc:sldMk cId="3975964758" sldId="2147478571"/>
            <ac:spMk id="140" creationId="{8773E3DE-270D-1F6B-D014-F177235E2028}"/>
          </ac:spMkLst>
        </pc:spChg>
        <pc:spChg chg="add del mod">
          <ac:chgData name="Steiner Andreas 6206 ED" userId="e6377c33-a923-4f14-8587-531c474c7b48" providerId="ADAL" clId="{6ECD27E6-B224-41CD-B4E0-E297462320DD}" dt="2023-11-24T08:34:40.400" v="20077"/>
          <ac:spMkLst>
            <pc:docMk/>
            <pc:sldMk cId="3975964758" sldId="2147478571"/>
            <ac:spMk id="141" creationId="{38B76D26-6809-AFF4-41ED-105363B1535A}"/>
          </ac:spMkLst>
        </pc:spChg>
        <pc:spChg chg="add del mod">
          <ac:chgData name="Steiner Andreas 6206 ED" userId="e6377c33-a923-4f14-8587-531c474c7b48" providerId="ADAL" clId="{6ECD27E6-B224-41CD-B4E0-E297462320DD}" dt="2023-11-24T08:34:43.178" v="20232"/>
          <ac:spMkLst>
            <pc:docMk/>
            <pc:sldMk cId="3975964758" sldId="2147478571"/>
            <ac:spMk id="142" creationId="{50065F01-ACA7-3F2A-2162-8EE7C47F40C5}"/>
          </ac:spMkLst>
        </pc:spChg>
        <pc:spChg chg="add del mod">
          <ac:chgData name="Steiner Andreas 6206 ED" userId="e6377c33-a923-4f14-8587-531c474c7b48" providerId="ADAL" clId="{6ECD27E6-B224-41CD-B4E0-E297462320DD}" dt="2023-11-24T08:34:45.477" v="20387"/>
          <ac:spMkLst>
            <pc:docMk/>
            <pc:sldMk cId="3975964758" sldId="2147478571"/>
            <ac:spMk id="143" creationId="{DFF706CC-0F1A-D8AC-DF7F-08A870E75EC8}"/>
          </ac:spMkLst>
        </pc:spChg>
        <pc:spChg chg="add del mod">
          <ac:chgData name="Steiner Andreas 6206 ED" userId="e6377c33-a923-4f14-8587-531c474c7b48" providerId="ADAL" clId="{6ECD27E6-B224-41CD-B4E0-E297462320DD}" dt="2023-11-24T08:34:47.754" v="20542"/>
          <ac:spMkLst>
            <pc:docMk/>
            <pc:sldMk cId="3975964758" sldId="2147478571"/>
            <ac:spMk id="144" creationId="{0AE496F9-2F97-DBC2-FE03-95C6341383C0}"/>
          </ac:spMkLst>
        </pc:spChg>
        <pc:spChg chg="add del mod">
          <ac:chgData name="Steiner Andreas 6206 ED" userId="e6377c33-a923-4f14-8587-531c474c7b48" providerId="ADAL" clId="{6ECD27E6-B224-41CD-B4E0-E297462320DD}" dt="2023-11-24T08:34:50.135" v="20697"/>
          <ac:spMkLst>
            <pc:docMk/>
            <pc:sldMk cId="3975964758" sldId="2147478571"/>
            <ac:spMk id="145" creationId="{DAB95067-BA95-37E0-6653-2D2FB24DCB68}"/>
          </ac:spMkLst>
        </pc:spChg>
        <pc:spChg chg="add del mod">
          <ac:chgData name="Steiner Andreas 6206 ED" userId="e6377c33-a923-4f14-8587-531c474c7b48" providerId="ADAL" clId="{6ECD27E6-B224-41CD-B4E0-E297462320DD}" dt="2023-11-24T08:34:52.702" v="20852"/>
          <ac:spMkLst>
            <pc:docMk/>
            <pc:sldMk cId="3975964758" sldId="2147478571"/>
            <ac:spMk id="146" creationId="{9111EBB1-2B3C-DF23-4112-9F3C118D68E1}"/>
          </ac:spMkLst>
        </pc:spChg>
        <pc:spChg chg="add del mod">
          <ac:chgData name="Steiner Andreas 6206 ED" userId="e6377c33-a923-4f14-8587-531c474c7b48" providerId="ADAL" clId="{6ECD27E6-B224-41CD-B4E0-E297462320DD}" dt="2023-11-24T08:34:55.211" v="21007"/>
          <ac:spMkLst>
            <pc:docMk/>
            <pc:sldMk cId="3975964758" sldId="2147478571"/>
            <ac:spMk id="147" creationId="{284E8A7D-4648-D97D-EA4A-3E3BD79486D6}"/>
          </ac:spMkLst>
        </pc:spChg>
        <pc:spChg chg="add del mod">
          <ac:chgData name="Steiner Andreas 6206 ED" userId="e6377c33-a923-4f14-8587-531c474c7b48" providerId="ADAL" clId="{6ECD27E6-B224-41CD-B4E0-E297462320DD}" dt="2023-11-24T08:34:57.497" v="21162"/>
          <ac:spMkLst>
            <pc:docMk/>
            <pc:sldMk cId="3975964758" sldId="2147478571"/>
            <ac:spMk id="148" creationId="{35FC9515-7FDC-6FC6-9FA7-CA1C422DBFF4}"/>
          </ac:spMkLst>
        </pc:spChg>
        <pc:spChg chg="add del mod">
          <ac:chgData name="Steiner Andreas 6206 ED" userId="e6377c33-a923-4f14-8587-531c474c7b48" providerId="ADAL" clId="{6ECD27E6-B224-41CD-B4E0-E297462320DD}" dt="2023-11-24T08:35:00.038" v="21317"/>
          <ac:spMkLst>
            <pc:docMk/>
            <pc:sldMk cId="3975964758" sldId="2147478571"/>
            <ac:spMk id="149" creationId="{F5A3CF4E-2DF3-A95B-86CD-E9DFB7E3C806}"/>
          </ac:spMkLst>
        </pc:spChg>
        <pc:spChg chg="add del mod">
          <ac:chgData name="Steiner Andreas 6206 ED" userId="e6377c33-a923-4f14-8587-531c474c7b48" providerId="ADAL" clId="{6ECD27E6-B224-41CD-B4E0-E297462320DD}" dt="2023-11-24T08:35:02.715" v="21472"/>
          <ac:spMkLst>
            <pc:docMk/>
            <pc:sldMk cId="3975964758" sldId="2147478571"/>
            <ac:spMk id="150" creationId="{70072939-71A9-D9E5-B971-7F5BA5D51131}"/>
          </ac:spMkLst>
        </pc:spChg>
        <pc:spChg chg="add del mod">
          <ac:chgData name="Steiner Andreas 6206 ED" userId="e6377c33-a923-4f14-8587-531c474c7b48" providerId="ADAL" clId="{6ECD27E6-B224-41CD-B4E0-E297462320DD}" dt="2023-11-24T08:35:05.193" v="21627"/>
          <ac:spMkLst>
            <pc:docMk/>
            <pc:sldMk cId="3975964758" sldId="2147478571"/>
            <ac:spMk id="151" creationId="{68BC88A0-E7F4-C170-4F67-E84B20948A20}"/>
          </ac:spMkLst>
        </pc:spChg>
        <pc:spChg chg="add del mod">
          <ac:chgData name="Steiner Andreas 6206 ED" userId="e6377c33-a923-4f14-8587-531c474c7b48" providerId="ADAL" clId="{6ECD27E6-B224-41CD-B4E0-E297462320DD}" dt="2023-11-24T08:35:07.668" v="21782"/>
          <ac:spMkLst>
            <pc:docMk/>
            <pc:sldMk cId="3975964758" sldId="2147478571"/>
            <ac:spMk id="152" creationId="{5928063F-ED22-6826-15D2-0392D637D27C}"/>
          </ac:spMkLst>
        </pc:spChg>
        <pc:spChg chg="add del mod">
          <ac:chgData name="Steiner Andreas 6206 ED" userId="e6377c33-a923-4f14-8587-531c474c7b48" providerId="ADAL" clId="{6ECD27E6-B224-41CD-B4E0-E297462320DD}" dt="2023-11-24T08:35:10.226" v="21937"/>
          <ac:spMkLst>
            <pc:docMk/>
            <pc:sldMk cId="3975964758" sldId="2147478571"/>
            <ac:spMk id="153" creationId="{84332EFD-8FA5-B694-6E50-09AD76E05A7E}"/>
          </ac:spMkLst>
        </pc:spChg>
        <pc:spChg chg="add del mod">
          <ac:chgData name="Steiner Andreas 6206 ED" userId="e6377c33-a923-4f14-8587-531c474c7b48" providerId="ADAL" clId="{6ECD27E6-B224-41CD-B4E0-E297462320DD}" dt="2023-11-24T08:35:12.652" v="22092"/>
          <ac:spMkLst>
            <pc:docMk/>
            <pc:sldMk cId="3975964758" sldId="2147478571"/>
            <ac:spMk id="154" creationId="{A378B593-6CF0-E7DB-7897-600FCF3C0228}"/>
          </ac:spMkLst>
        </pc:spChg>
        <pc:spChg chg="add del mod">
          <ac:chgData name="Steiner Andreas 6206 ED" userId="e6377c33-a923-4f14-8587-531c474c7b48" providerId="ADAL" clId="{6ECD27E6-B224-41CD-B4E0-E297462320DD}" dt="2023-11-24T08:35:14.740" v="22247"/>
          <ac:spMkLst>
            <pc:docMk/>
            <pc:sldMk cId="3975964758" sldId="2147478571"/>
            <ac:spMk id="155" creationId="{FAE750C1-35D3-244F-0A08-FFC484B17838}"/>
          </ac:spMkLst>
        </pc:spChg>
        <pc:spChg chg="add del mod">
          <ac:chgData name="Steiner Andreas 6206 ED" userId="e6377c33-a923-4f14-8587-531c474c7b48" providerId="ADAL" clId="{6ECD27E6-B224-41CD-B4E0-E297462320DD}" dt="2023-11-24T08:35:17.114" v="22402"/>
          <ac:spMkLst>
            <pc:docMk/>
            <pc:sldMk cId="3975964758" sldId="2147478571"/>
            <ac:spMk id="156" creationId="{5BDC70F7-F377-3E7C-45B9-F23141315CEB}"/>
          </ac:spMkLst>
        </pc:spChg>
        <pc:spChg chg="add del mod">
          <ac:chgData name="Steiner Andreas 6206 ED" userId="e6377c33-a923-4f14-8587-531c474c7b48" providerId="ADAL" clId="{6ECD27E6-B224-41CD-B4E0-E297462320DD}" dt="2023-11-24T08:35:19.558" v="22557"/>
          <ac:spMkLst>
            <pc:docMk/>
            <pc:sldMk cId="3975964758" sldId="2147478571"/>
            <ac:spMk id="157" creationId="{65A489CB-EFCD-7E07-24D0-D60769DFE634}"/>
          </ac:spMkLst>
        </pc:spChg>
        <pc:spChg chg="add del mod">
          <ac:chgData name="Steiner Andreas 6206 ED" userId="e6377c33-a923-4f14-8587-531c474c7b48" providerId="ADAL" clId="{6ECD27E6-B224-41CD-B4E0-E297462320DD}" dt="2023-11-24T08:35:21.991" v="22712"/>
          <ac:spMkLst>
            <pc:docMk/>
            <pc:sldMk cId="3975964758" sldId="2147478571"/>
            <ac:spMk id="158" creationId="{87F9B798-4574-6AB2-D1A9-35DE7B056728}"/>
          </ac:spMkLst>
        </pc:spChg>
        <pc:spChg chg="add del mod">
          <ac:chgData name="Steiner Andreas 6206 ED" userId="e6377c33-a923-4f14-8587-531c474c7b48" providerId="ADAL" clId="{6ECD27E6-B224-41CD-B4E0-E297462320DD}" dt="2023-11-24T08:35:24.307" v="22867"/>
          <ac:spMkLst>
            <pc:docMk/>
            <pc:sldMk cId="3975964758" sldId="2147478571"/>
            <ac:spMk id="159" creationId="{3645FFD3-2020-0B0B-DF18-6FF7182E7D5B}"/>
          </ac:spMkLst>
        </pc:spChg>
        <pc:spChg chg="add del mod">
          <ac:chgData name="Steiner Andreas 6206 ED" userId="e6377c33-a923-4f14-8587-531c474c7b48" providerId="ADAL" clId="{6ECD27E6-B224-41CD-B4E0-E297462320DD}" dt="2023-11-24T08:35:26.953" v="23022"/>
          <ac:spMkLst>
            <pc:docMk/>
            <pc:sldMk cId="3975964758" sldId="2147478571"/>
            <ac:spMk id="160" creationId="{ED74844F-A9CF-5C14-A521-C842EC8ACF8A}"/>
          </ac:spMkLst>
        </pc:spChg>
        <pc:spChg chg="add del mod">
          <ac:chgData name="Steiner Andreas 6206 ED" userId="e6377c33-a923-4f14-8587-531c474c7b48" providerId="ADAL" clId="{6ECD27E6-B224-41CD-B4E0-E297462320DD}" dt="2023-11-24T08:35:29.679" v="23177"/>
          <ac:spMkLst>
            <pc:docMk/>
            <pc:sldMk cId="3975964758" sldId="2147478571"/>
            <ac:spMk id="161" creationId="{AB49CDF5-4969-78A5-240A-4CA76EC53F69}"/>
          </ac:spMkLst>
        </pc:spChg>
        <pc:spChg chg="add del mod">
          <ac:chgData name="Steiner Andreas 6206 ED" userId="e6377c33-a923-4f14-8587-531c474c7b48" providerId="ADAL" clId="{6ECD27E6-B224-41CD-B4E0-E297462320DD}" dt="2023-11-24T08:35:32.032" v="23332"/>
          <ac:spMkLst>
            <pc:docMk/>
            <pc:sldMk cId="3975964758" sldId="2147478571"/>
            <ac:spMk id="162" creationId="{08107DA8-C237-BA35-BAF5-5CF98FEBB490}"/>
          </ac:spMkLst>
        </pc:spChg>
        <pc:spChg chg="add del mod">
          <ac:chgData name="Steiner Andreas 6206 ED" userId="e6377c33-a923-4f14-8587-531c474c7b48" providerId="ADAL" clId="{6ECD27E6-B224-41CD-B4E0-E297462320DD}" dt="2023-11-24T08:35:34.427" v="23487"/>
          <ac:spMkLst>
            <pc:docMk/>
            <pc:sldMk cId="3975964758" sldId="2147478571"/>
            <ac:spMk id="163" creationId="{A54397F4-75AB-772E-0CB5-522D6146A27E}"/>
          </ac:spMkLst>
        </pc:spChg>
        <pc:spChg chg="add del mod">
          <ac:chgData name="Steiner Andreas 6206 ED" userId="e6377c33-a923-4f14-8587-531c474c7b48" providerId="ADAL" clId="{6ECD27E6-B224-41CD-B4E0-E297462320DD}" dt="2023-11-24T08:35:36.747" v="23642"/>
          <ac:spMkLst>
            <pc:docMk/>
            <pc:sldMk cId="3975964758" sldId="2147478571"/>
            <ac:spMk id="164" creationId="{2EB5A117-3D87-B09C-6678-3E4AAC60B10D}"/>
          </ac:spMkLst>
        </pc:spChg>
        <pc:spChg chg="add del mod">
          <ac:chgData name="Steiner Andreas 6206 ED" userId="e6377c33-a923-4f14-8587-531c474c7b48" providerId="ADAL" clId="{6ECD27E6-B224-41CD-B4E0-E297462320DD}" dt="2023-11-24T08:35:39.161" v="23797"/>
          <ac:spMkLst>
            <pc:docMk/>
            <pc:sldMk cId="3975964758" sldId="2147478571"/>
            <ac:spMk id="165" creationId="{6319CEC1-6627-4211-001B-4C98985ED585}"/>
          </ac:spMkLst>
        </pc:spChg>
        <pc:spChg chg="add del mod">
          <ac:chgData name="Steiner Andreas 6206 ED" userId="e6377c33-a923-4f14-8587-531c474c7b48" providerId="ADAL" clId="{6ECD27E6-B224-41CD-B4E0-E297462320DD}" dt="2023-11-24T08:35:41.835" v="23952"/>
          <ac:spMkLst>
            <pc:docMk/>
            <pc:sldMk cId="3975964758" sldId="2147478571"/>
            <ac:spMk id="166" creationId="{0E12A545-3C30-F5AA-6066-DFB1673C1661}"/>
          </ac:spMkLst>
        </pc:spChg>
        <pc:spChg chg="add del mod">
          <ac:chgData name="Steiner Andreas 6206 ED" userId="e6377c33-a923-4f14-8587-531c474c7b48" providerId="ADAL" clId="{6ECD27E6-B224-41CD-B4E0-E297462320DD}" dt="2023-11-24T08:35:44.286" v="24107"/>
          <ac:spMkLst>
            <pc:docMk/>
            <pc:sldMk cId="3975964758" sldId="2147478571"/>
            <ac:spMk id="167" creationId="{10199639-4347-41A0-EF2E-2862C6111031}"/>
          </ac:spMkLst>
        </pc:spChg>
        <pc:spChg chg="add del mod">
          <ac:chgData name="Steiner Andreas 6206 ED" userId="e6377c33-a923-4f14-8587-531c474c7b48" providerId="ADAL" clId="{6ECD27E6-B224-41CD-B4E0-E297462320DD}" dt="2023-11-24T08:35:46.571" v="24262"/>
          <ac:spMkLst>
            <pc:docMk/>
            <pc:sldMk cId="3975964758" sldId="2147478571"/>
            <ac:spMk id="168" creationId="{B412F578-92E7-C790-1BAA-4F7E4A30A5DD}"/>
          </ac:spMkLst>
        </pc:spChg>
        <pc:spChg chg="add del mod">
          <ac:chgData name="Steiner Andreas 6206 ED" userId="e6377c33-a923-4f14-8587-531c474c7b48" providerId="ADAL" clId="{6ECD27E6-B224-41CD-B4E0-E297462320DD}" dt="2023-11-24T08:35:48.800" v="24417"/>
          <ac:spMkLst>
            <pc:docMk/>
            <pc:sldMk cId="3975964758" sldId="2147478571"/>
            <ac:spMk id="169" creationId="{F80100D7-7CC0-C313-231D-67BAE36821DB}"/>
          </ac:spMkLst>
        </pc:spChg>
        <pc:spChg chg="add del mod">
          <ac:chgData name="Steiner Andreas 6206 ED" userId="e6377c33-a923-4f14-8587-531c474c7b48" providerId="ADAL" clId="{6ECD27E6-B224-41CD-B4E0-E297462320DD}" dt="2023-11-24T08:35:51.099" v="24572"/>
          <ac:spMkLst>
            <pc:docMk/>
            <pc:sldMk cId="3975964758" sldId="2147478571"/>
            <ac:spMk id="170" creationId="{E6A21BD1-43B7-67F5-6F96-7C93C9931B3A}"/>
          </ac:spMkLst>
        </pc:spChg>
        <pc:spChg chg="add del mod">
          <ac:chgData name="Steiner Andreas 6206 ED" userId="e6377c33-a923-4f14-8587-531c474c7b48" providerId="ADAL" clId="{6ECD27E6-B224-41CD-B4E0-E297462320DD}" dt="2023-11-24T08:35:53.978" v="24727"/>
          <ac:spMkLst>
            <pc:docMk/>
            <pc:sldMk cId="3975964758" sldId="2147478571"/>
            <ac:spMk id="171" creationId="{9FECCF32-BE3C-6657-4F29-E69140EE57E2}"/>
          </ac:spMkLst>
        </pc:spChg>
        <pc:spChg chg="add del mod">
          <ac:chgData name="Steiner Andreas 6206 ED" userId="e6377c33-a923-4f14-8587-531c474c7b48" providerId="ADAL" clId="{6ECD27E6-B224-41CD-B4E0-E297462320DD}" dt="2023-11-24T08:35:56.496" v="24882"/>
          <ac:spMkLst>
            <pc:docMk/>
            <pc:sldMk cId="3975964758" sldId="2147478571"/>
            <ac:spMk id="172" creationId="{64053EB3-AD9D-5870-8015-94A26F1C580E}"/>
          </ac:spMkLst>
        </pc:spChg>
        <pc:spChg chg="add del mod">
          <ac:chgData name="Steiner Andreas 6206 ED" userId="e6377c33-a923-4f14-8587-531c474c7b48" providerId="ADAL" clId="{6ECD27E6-B224-41CD-B4E0-E297462320DD}" dt="2023-11-24T08:35:59.025" v="25037"/>
          <ac:spMkLst>
            <pc:docMk/>
            <pc:sldMk cId="3975964758" sldId="2147478571"/>
            <ac:spMk id="173" creationId="{93B8FA7E-006C-74D9-29E5-79492A784432}"/>
          </ac:spMkLst>
        </pc:spChg>
        <pc:spChg chg="add del mod">
          <ac:chgData name="Steiner Andreas 6206 ED" userId="e6377c33-a923-4f14-8587-531c474c7b48" providerId="ADAL" clId="{6ECD27E6-B224-41CD-B4E0-E297462320DD}" dt="2023-11-24T08:36:01.478" v="25192"/>
          <ac:spMkLst>
            <pc:docMk/>
            <pc:sldMk cId="3975964758" sldId="2147478571"/>
            <ac:spMk id="174" creationId="{660050D5-ABFD-CB59-3F6D-843B629517C5}"/>
          </ac:spMkLst>
        </pc:spChg>
        <pc:spChg chg="add del mod">
          <ac:chgData name="Steiner Andreas 6206 ED" userId="e6377c33-a923-4f14-8587-531c474c7b48" providerId="ADAL" clId="{6ECD27E6-B224-41CD-B4E0-E297462320DD}" dt="2023-11-24T08:36:04.084" v="25347"/>
          <ac:spMkLst>
            <pc:docMk/>
            <pc:sldMk cId="3975964758" sldId="2147478571"/>
            <ac:spMk id="175" creationId="{7398DD9B-2704-8267-45F7-7E14FDAE52C1}"/>
          </ac:spMkLst>
        </pc:spChg>
        <pc:spChg chg="add del mod">
          <ac:chgData name="Steiner Andreas 6206 ED" userId="e6377c33-a923-4f14-8587-531c474c7b48" providerId="ADAL" clId="{6ECD27E6-B224-41CD-B4E0-E297462320DD}" dt="2023-11-24T08:36:06.630" v="25502"/>
          <ac:spMkLst>
            <pc:docMk/>
            <pc:sldMk cId="3975964758" sldId="2147478571"/>
            <ac:spMk id="176" creationId="{FC4C77B5-EE11-3ACF-6DC1-FE1EE3A9DD4B}"/>
          </ac:spMkLst>
        </pc:spChg>
        <pc:spChg chg="add del mod">
          <ac:chgData name="Steiner Andreas 6206 ED" userId="e6377c33-a923-4f14-8587-531c474c7b48" providerId="ADAL" clId="{6ECD27E6-B224-41CD-B4E0-E297462320DD}" dt="2023-11-24T08:36:09.143" v="25657"/>
          <ac:spMkLst>
            <pc:docMk/>
            <pc:sldMk cId="3975964758" sldId="2147478571"/>
            <ac:spMk id="177" creationId="{BFD871B8-2F3C-1505-AC8D-1891FDA30212}"/>
          </ac:spMkLst>
        </pc:spChg>
        <pc:spChg chg="add del mod">
          <ac:chgData name="Steiner Andreas 6206 ED" userId="e6377c33-a923-4f14-8587-531c474c7b48" providerId="ADAL" clId="{6ECD27E6-B224-41CD-B4E0-E297462320DD}" dt="2023-11-24T08:36:11.682" v="25812"/>
          <ac:spMkLst>
            <pc:docMk/>
            <pc:sldMk cId="3975964758" sldId="2147478571"/>
            <ac:spMk id="178" creationId="{F24F99E8-1A98-1D66-F793-1C7B4B39D349}"/>
          </ac:spMkLst>
        </pc:spChg>
        <pc:spChg chg="add del mod">
          <ac:chgData name="Steiner Andreas 6206 ED" userId="e6377c33-a923-4f14-8587-531c474c7b48" providerId="ADAL" clId="{6ECD27E6-B224-41CD-B4E0-E297462320DD}" dt="2023-11-24T08:36:14.071" v="25967"/>
          <ac:spMkLst>
            <pc:docMk/>
            <pc:sldMk cId="3975964758" sldId="2147478571"/>
            <ac:spMk id="179" creationId="{D974EAF8-7259-FE44-387B-3F1385040F2F}"/>
          </ac:spMkLst>
        </pc:spChg>
        <pc:spChg chg="add del mod">
          <ac:chgData name="Steiner Andreas 6206 ED" userId="e6377c33-a923-4f14-8587-531c474c7b48" providerId="ADAL" clId="{6ECD27E6-B224-41CD-B4E0-E297462320DD}" dt="2023-11-24T08:36:16.820" v="26122"/>
          <ac:spMkLst>
            <pc:docMk/>
            <pc:sldMk cId="3975964758" sldId="2147478571"/>
            <ac:spMk id="180" creationId="{7E013232-0C75-8DA5-0DFB-F3509DDECDE6}"/>
          </ac:spMkLst>
        </pc:spChg>
        <pc:spChg chg="add del mod">
          <ac:chgData name="Steiner Andreas 6206 ED" userId="e6377c33-a923-4f14-8587-531c474c7b48" providerId="ADAL" clId="{6ECD27E6-B224-41CD-B4E0-E297462320DD}" dt="2023-11-24T08:36:19.304" v="26277"/>
          <ac:spMkLst>
            <pc:docMk/>
            <pc:sldMk cId="3975964758" sldId="2147478571"/>
            <ac:spMk id="181" creationId="{A1322DE2-D9EB-15EB-673D-071FC7D47C6F}"/>
          </ac:spMkLst>
        </pc:spChg>
        <pc:spChg chg="add del mod">
          <ac:chgData name="Steiner Andreas 6206 ED" userId="e6377c33-a923-4f14-8587-531c474c7b48" providerId="ADAL" clId="{6ECD27E6-B224-41CD-B4E0-E297462320DD}" dt="2023-11-24T08:36:21.557" v="26432"/>
          <ac:spMkLst>
            <pc:docMk/>
            <pc:sldMk cId="3975964758" sldId="2147478571"/>
            <ac:spMk id="182" creationId="{5D4653EB-E9B8-BED9-E919-A0705837D300}"/>
          </ac:spMkLst>
        </pc:spChg>
        <pc:spChg chg="add del mod">
          <ac:chgData name="Steiner Andreas 6206 ED" userId="e6377c33-a923-4f14-8587-531c474c7b48" providerId="ADAL" clId="{6ECD27E6-B224-41CD-B4E0-E297462320DD}" dt="2023-11-24T08:36:24.052" v="26587"/>
          <ac:spMkLst>
            <pc:docMk/>
            <pc:sldMk cId="3975964758" sldId="2147478571"/>
            <ac:spMk id="183" creationId="{AD51BF06-D947-052D-C515-1F8E692EC4D0}"/>
          </ac:spMkLst>
        </pc:spChg>
        <pc:spChg chg="add del mod">
          <ac:chgData name="Steiner Andreas 6206 ED" userId="e6377c33-a923-4f14-8587-531c474c7b48" providerId="ADAL" clId="{6ECD27E6-B224-41CD-B4E0-E297462320DD}" dt="2023-11-24T08:36:26.583" v="26742"/>
          <ac:spMkLst>
            <pc:docMk/>
            <pc:sldMk cId="3975964758" sldId="2147478571"/>
            <ac:spMk id="184" creationId="{90A8BF92-C95E-BF15-8EE4-54AE36176B11}"/>
          </ac:spMkLst>
        </pc:spChg>
        <pc:spChg chg="add del mod">
          <ac:chgData name="Steiner Andreas 6206 ED" userId="e6377c33-a923-4f14-8587-531c474c7b48" providerId="ADAL" clId="{6ECD27E6-B224-41CD-B4E0-E297462320DD}" dt="2023-11-24T08:36:29.498" v="26897"/>
          <ac:spMkLst>
            <pc:docMk/>
            <pc:sldMk cId="3975964758" sldId="2147478571"/>
            <ac:spMk id="185" creationId="{61B6D31E-469C-1967-F115-AA8443510B3A}"/>
          </ac:spMkLst>
        </pc:spChg>
        <pc:spChg chg="add del mod">
          <ac:chgData name="Steiner Andreas 6206 ED" userId="e6377c33-a923-4f14-8587-531c474c7b48" providerId="ADAL" clId="{6ECD27E6-B224-41CD-B4E0-E297462320DD}" dt="2023-11-24T08:36:32.196" v="27052"/>
          <ac:spMkLst>
            <pc:docMk/>
            <pc:sldMk cId="3975964758" sldId="2147478571"/>
            <ac:spMk id="186" creationId="{5CD04FBB-F19E-A9EB-EA5C-D644A7BFAEB0}"/>
          </ac:spMkLst>
        </pc:spChg>
        <pc:spChg chg="add del mod">
          <ac:chgData name="Steiner Andreas 6206 ED" userId="e6377c33-a923-4f14-8587-531c474c7b48" providerId="ADAL" clId="{6ECD27E6-B224-41CD-B4E0-E297462320DD}" dt="2023-11-24T08:36:34.726" v="27207"/>
          <ac:spMkLst>
            <pc:docMk/>
            <pc:sldMk cId="3975964758" sldId="2147478571"/>
            <ac:spMk id="187" creationId="{2C57B47E-3724-BFE6-9244-3E21E0D073B1}"/>
          </ac:spMkLst>
        </pc:spChg>
        <pc:spChg chg="add del mod">
          <ac:chgData name="Steiner Andreas 6206 ED" userId="e6377c33-a923-4f14-8587-531c474c7b48" providerId="ADAL" clId="{6ECD27E6-B224-41CD-B4E0-E297462320DD}" dt="2023-11-24T08:36:37.258" v="27362"/>
          <ac:spMkLst>
            <pc:docMk/>
            <pc:sldMk cId="3975964758" sldId="2147478571"/>
            <ac:spMk id="188" creationId="{4FFE2602-E960-83E2-2117-3E297E10ADB7}"/>
          </ac:spMkLst>
        </pc:spChg>
        <pc:spChg chg="add del mod">
          <ac:chgData name="Steiner Andreas 6206 ED" userId="e6377c33-a923-4f14-8587-531c474c7b48" providerId="ADAL" clId="{6ECD27E6-B224-41CD-B4E0-E297462320DD}" dt="2023-11-24T08:36:39.808" v="27517"/>
          <ac:spMkLst>
            <pc:docMk/>
            <pc:sldMk cId="3975964758" sldId="2147478571"/>
            <ac:spMk id="189" creationId="{4DBFF7E0-3EBD-46E2-50D8-4C7AB402187F}"/>
          </ac:spMkLst>
        </pc:spChg>
        <pc:spChg chg="add del mod">
          <ac:chgData name="Steiner Andreas 6206 ED" userId="e6377c33-a923-4f14-8587-531c474c7b48" providerId="ADAL" clId="{6ECD27E6-B224-41CD-B4E0-E297462320DD}" dt="2023-11-24T08:36:42.625" v="27672"/>
          <ac:spMkLst>
            <pc:docMk/>
            <pc:sldMk cId="3975964758" sldId="2147478571"/>
            <ac:spMk id="190" creationId="{6B0D3ACF-1E5A-0B77-71DD-4EA868D0B362}"/>
          </ac:spMkLst>
        </pc:spChg>
        <pc:spChg chg="add del mod">
          <ac:chgData name="Steiner Andreas 6206 ED" userId="e6377c33-a923-4f14-8587-531c474c7b48" providerId="ADAL" clId="{6ECD27E6-B224-41CD-B4E0-E297462320DD}" dt="2023-11-24T08:36:45.138" v="27827"/>
          <ac:spMkLst>
            <pc:docMk/>
            <pc:sldMk cId="3975964758" sldId="2147478571"/>
            <ac:spMk id="191" creationId="{DF92449C-57FF-0FE5-57D4-65EE3392ACB4}"/>
          </ac:spMkLst>
        </pc:spChg>
        <pc:spChg chg="add del mod">
          <ac:chgData name="Steiner Andreas 6206 ED" userId="e6377c33-a923-4f14-8587-531c474c7b48" providerId="ADAL" clId="{6ECD27E6-B224-41CD-B4E0-E297462320DD}" dt="2023-11-24T08:36:47.514" v="27982"/>
          <ac:spMkLst>
            <pc:docMk/>
            <pc:sldMk cId="3975964758" sldId="2147478571"/>
            <ac:spMk id="192" creationId="{E7D71918-2CB0-099A-1CFB-057ADB8A67F8}"/>
          </ac:spMkLst>
        </pc:spChg>
        <pc:spChg chg="add del mod">
          <ac:chgData name="Steiner Andreas 6206 ED" userId="e6377c33-a923-4f14-8587-531c474c7b48" providerId="ADAL" clId="{6ECD27E6-B224-41CD-B4E0-E297462320DD}" dt="2023-11-24T08:36:49.992" v="28137"/>
          <ac:spMkLst>
            <pc:docMk/>
            <pc:sldMk cId="3975964758" sldId="2147478571"/>
            <ac:spMk id="193" creationId="{AAA298DC-0A59-70ED-A660-1BE4C75873C7}"/>
          </ac:spMkLst>
        </pc:spChg>
        <pc:spChg chg="add del mod">
          <ac:chgData name="Steiner Andreas 6206 ED" userId="e6377c33-a923-4f14-8587-531c474c7b48" providerId="ADAL" clId="{6ECD27E6-B224-41CD-B4E0-E297462320DD}" dt="2023-11-24T08:36:53.001" v="28292"/>
          <ac:spMkLst>
            <pc:docMk/>
            <pc:sldMk cId="3975964758" sldId="2147478571"/>
            <ac:spMk id="194" creationId="{51638733-294E-A1A0-C7B1-5073A298C032}"/>
          </ac:spMkLst>
        </pc:spChg>
        <pc:spChg chg="add del mod">
          <ac:chgData name="Steiner Andreas 6206 ED" userId="e6377c33-a923-4f14-8587-531c474c7b48" providerId="ADAL" clId="{6ECD27E6-B224-41CD-B4E0-E297462320DD}" dt="2023-11-24T08:36:56.095" v="28447"/>
          <ac:spMkLst>
            <pc:docMk/>
            <pc:sldMk cId="3975964758" sldId="2147478571"/>
            <ac:spMk id="195" creationId="{E2E6880B-042C-29DA-C3CC-0ADD5E4E99DF}"/>
          </ac:spMkLst>
        </pc:spChg>
        <pc:spChg chg="add del mod">
          <ac:chgData name="Steiner Andreas 6206 ED" userId="e6377c33-a923-4f14-8587-531c474c7b48" providerId="ADAL" clId="{6ECD27E6-B224-41CD-B4E0-E297462320DD}" dt="2023-11-24T08:36:58.904" v="28602"/>
          <ac:spMkLst>
            <pc:docMk/>
            <pc:sldMk cId="3975964758" sldId="2147478571"/>
            <ac:spMk id="196" creationId="{5AFBF93A-6172-070C-60C7-90C9886C80EA}"/>
          </ac:spMkLst>
        </pc:spChg>
        <pc:spChg chg="add del mod">
          <ac:chgData name="Steiner Andreas 6206 ED" userId="e6377c33-a923-4f14-8587-531c474c7b48" providerId="ADAL" clId="{6ECD27E6-B224-41CD-B4E0-E297462320DD}" dt="2023-11-24T08:37:01.631" v="28757"/>
          <ac:spMkLst>
            <pc:docMk/>
            <pc:sldMk cId="3975964758" sldId="2147478571"/>
            <ac:spMk id="197" creationId="{D1F79948-84F6-18A4-DBD3-6DC227BDA9B0}"/>
          </ac:spMkLst>
        </pc:spChg>
        <pc:spChg chg="add del mod">
          <ac:chgData name="Steiner Andreas 6206 ED" userId="e6377c33-a923-4f14-8587-531c474c7b48" providerId="ADAL" clId="{6ECD27E6-B224-41CD-B4E0-E297462320DD}" dt="2023-11-24T08:37:04.375" v="28912"/>
          <ac:spMkLst>
            <pc:docMk/>
            <pc:sldMk cId="3975964758" sldId="2147478571"/>
            <ac:spMk id="198" creationId="{77ABE9FC-932B-1D3A-102A-50344BDC7967}"/>
          </ac:spMkLst>
        </pc:spChg>
        <pc:spChg chg="add del mod">
          <ac:chgData name="Steiner Andreas 6206 ED" userId="e6377c33-a923-4f14-8587-531c474c7b48" providerId="ADAL" clId="{6ECD27E6-B224-41CD-B4E0-E297462320DD}" dt="2023-11-24T08:37:07.237" v="29067"/>
          <ac:spMkLst>
            <pc:docMk/>
            <pc:sldMk cId="3975964758" sldId="2147478571"/>
            <ac:spMk id="199" creationId="{96030E28-79E2-4F2D-14A8-E3981CEEC606}"/>
          </ac:spMkLst>
        </pc:spChg>
        <pc:spChg chg="add del mod">
          <ac:chgData name="Steiner Andreas 6206 ED" userId="e6377c33-a923-4f14-8587-531c474c7b48" providerId="ADAL" clId="{6ECD27E6-B224-41CD-B4E0-E297462320DD}" dt="2023-11-24T08:37:09.780" v="29222"/>
          <ac:spMkLst>
            <pc:docMk/>
            <pc:sldMk cId="3975964758" sldId="2147478571"/>
            <ac:spMk id="200" creationId="{329E31AB-0B8A-895C-035D-33661CBD52B5}"/>
          </ac:spMkLst>
        </pc:spChg>
        <pc:spChg chg="add del mod">
          <ac:chgData name="Steiner Andreas 6206 ED" userId="e6377c33-a923-4f14-8587-531c474c7b48" providerId="ADAL" clId="{6ECD27E6-B224-41CD-B4E0-E297462320DD}" dt="2023-11-24T08:37:12.545" v="29377"/>
          <ac:spMkLst>
            <pc:docMk/>
            <pc:sldMk cId="3975964758" sldId="2147478571"/>
            <ac:spMk id="201" creationId="{749A0719-C97B-0D30-569E-DDBE9A1234FC}"/>
          </ac:spMkLst>
        </pc:spChg>
        <pc:spChg chg="add del mod">
          <ac:chgData name="Steiner Andreas 6206 ED" userId="e6377c33-a923-4f14-8587-531c474c7b48" providerId="ADAL" clId="{6ECD27E6-B224-41CD-B4E0-E297462320DD}" dt="2023-11-24T08:37:15.846" v="29532"/>
          <ac:spMkLst>
            <pc:docMk/>
            <pc:sldMk cId="3975964758" sldId="2147478571"/>
            <ac:spMk id="202" creationId="{97248445-3ACC-51D4-6AAD-8E9890897BE3}"/>
          </ac:spMkLst>
        </pc:spChg>
        <pc:spChg chg="add del mod">
          <ac:chgData name="Steiner Andreas 6206 ED" userId="e6377c33-a923-4f14-8587-531c474c7b48" providerId="ADAL" clId="{6ECD27E6-B224-41CD-B4E0-E297462320DD}" dt="2023-11-24T08:37:18.619" v="29687"/>
          <ac:spMkLst>
            <pc:docMk/>
            <pc:sldMk cId="3975964758" sldId="2147478571"/>
            <ac:spMk id="203" creationId="{35D4483E-AD17-BD85-1080-9BE361F06957}"/>
          </ac:spMkLst>
        </pc:spChg>
        <pc:spChg chg="add del mod">
          <ac:chgData name="Steiner Andreas 6206 ED" userId="e6377c33-a923-4f14-8587-531c474c7b48" providerId="ADAL" clId="{6ECD27E6-B224-41CD-B4E0-E297462320DD}" dt="2023-11-24T08:37:21.104" v="29842"/>
          <ac:spMkLst>
            <pc:docMk/>
            <pc:sldMk cId="3975964758" sldId="2147478571"/>
            <ac:spMk id="204" creationId="{618C4D9B-E95F-1233-E399-662FA24E7031}"/>
          </ac:spMkLst>
        </pc:spChg>
        <pc:spChg chg="add del mod">
          <ac:chgData name="Steiner Andreas 6206 ED" userId="e6377c33-a923-4f14-8587-531c474c7b48" providerId="ADAL" clId="{6ECD27E6-B224-41CD-B4E0-E297462320DD}" dt="2023-11-24T08:37:23.953" v="29997"/>
          <ac:spMkLst>
            <pc:docMk/>
            <pc:sldMk cId="3975964758" sldId="2147478571"/>
            <ac:spMk id="205" creationId="{897F2D91-B6FA-1832-69DC-0234CA861D15}"/>
          </ac:spMkLst>
        </pc:spChg>
        <pc:spChg chg="add del mod">
          <ac:chgData name="Steiner Andreas 6206 ED" userId="e6377c33-a923-4f14-8587-531c474c7b48" providerId="ADAL" clId="{6ECD27E6-B224-41CD-B4E0-E297462320DD}" dt="2023-11-24T08:37:26.478" v="30152"/>
          <ac:spMkLst>
            <pc:docMk/>
            <pc:sldMk cId="3975964758" sldId="2147478571"/>
            <ac:spMk id="206" creationId="{2C8BC7D7-99DF-164A-2C79-E732498C451F}"/>
          </ac:spMkLst>
        </pc:spChg>
        <pc:spChg chg="add del mod">
          <ac:chgData name="Steiner Andreas 6206 ED" userId="e6377c33-a923-4f14-8587-531c474c7b48" providerId="ADAL" clId="{6ECD27E6-B224-41CD-B4E0-E297462320DD}" dt="2023-11-24T08:37:29.636" v="30307"/>
          <ac:spMkLst>
            <pc:docMk/>
            <pc:sldMk cId="3975964758" sldId="2147478571"/>
            <ac:spMk id="207" creationId="{45556C93-C8D4-CE30-9F71-E8AAC0ABC9CE}"/>
          </ac:spMkLst>
        </pc:spChg>
        <pc:spChg chg="add del mod">
          <ac:chgData name="Steiner Andreas 6206 ED" userId="e6377c33-a923-4f14-8587-531c474c7b48" providerId="ADAL" clId="{6ECD27E6-B224-41CD-B4E0-E297462320DD}" dt="2023-11-24T08:37:32.659" v="30462"/>
          <ac:spMkLst>
            <pc:docMk/>
            <pc:sldMk cId="3975964758" sldId="2147478571"/>
            <ac:spMk id="208" creationId="{5E3A6309-F0BD-7B83-F8F4-2734B5ECA260}"/>
          </ac:spMkLst>
        </pc:spChg>
        <pc:spChg chg="add del mod">
          <ac:chgData name="Steiner Andreas 6206 ED" userId="e6377c33-a923-4f14-8587-531c474c7b48" providerId="ADAL" clId="{6ECD27E6-B224-41CD-B4E0-E297462320DD}" dt="2023-11-24T08:37:35.241" v="30617"/>
          <ac:spMkLst>
            <pc:docMk/>
            <pc:sldMk cId="3975964758" sldId="2147478571"/>
            <ac:spMk id="209" creationId="{61418A84-44E9-DE57-5D76-D0EFA8ABE181}"/>
          </ac:spMkLst>
        </pc:spChg>
        <pc:spChg chg="add del mod">
          <ac:chgData name="Steiner Andreas 6206 ED" userId="e6377c33-a923-4f14-8587-531c474c7b48" providerId="ADAL" clId="{6ECD27E6-B224-41CD-B4E0-E297462320DD}" dt="2023-11-24T08:37:37.920" v="30772"/>
          <ac:spMkLst>
            <pc:docMk/>
            <pc:sldMk cId="3975964758" sldId="2147478571"/>
            <ac:spMk id="210" creationId="{491A7EBC-8A47-3343-43FE-D3C75C5C3E3B}"/>
          </ac:spMkLst>
        </pc:spChg>
        <pc:spChg chg="add del mod">
          <ac:chgData name="Steiner Andreas 6206 ED" userId="e6377c33-a923-4f14-8587-531c474c7b48" providerId="ADAL" clId="{6ECD27E6-B224-41CD-B4E0-E297462320DD}" dt="2023-11-24T08:37:41.605" v="30927"/>
          <ac:spMkLst>
            <pc:docMk/>
            <pc:sldMk cId="3975964758" sldId="2147478571"/>
            <ac:spMk id="211" creationId="{2844E169-47BD-F117-957C-A9B323B8F7FF}"/>
          </ac:spMkLst>
        </pc:spChg>
        <pc:spChg chg="add del mod">
          <ac:chgData name="Steiner Andreas 6206 ED" userId="e6377c33-a923-4f14-8587-531c474c7b48" providerId="ADAL" clId="{6ECD27E6-B224-41CD-B4E0-E297462320DD}" dt="2023-11-24T08:37:44.862" v="31082"/>
          <ac:spMkLst>
            <pc:docMk/>
            <pc:sldMk cId="3975964758" sldId="2147478571"/>
            <ac:spMk id="212" creationId="{07107CD8-DAD2-2CDC-FE9F-E8B63A88F558}"/>
          </ac:spMkLst>
        </pc:spChg>
        <pc:spChg chg="add del mod">
          <ac:chgData name="Steiner Andreas 6206 ED" userId="e6377c33-a923-4f14-8587-531c474c7b48" providerId="ADAL" clId="{6ECD27E6-B224-41CD-B4E0-E297462320DD}" dt="2023-11-24T08:37:47.626" v="31237"/>
          <ac:spMkLst>
            <pc:docMk/>
            <pc:sldMk cId="3975964758" sldId="2147478571"/>
            <ac:spMk id="213" creationId="{3E3117EB-2FC5-E648-1307-EF263586C44B}"/>
          </ac:spMkLst>
        </pc:spChg>
        <pc:spChg chg="add del mod">
          <ac:chgData name="Steiner Andreas 6206 ED" userId="e6377c33-a923-4f14-8587-531c474c7b48" providerId="ADAL" clId="{6ECD27E6-B224-41CD-B4E0-E297462320DD}" dt="2023-11-24T08:37:50.408" v="31392"/>
          <ac:spMkLst>
            <pc:docMk/>
            <pc:sldMk cId="3975964758" sldId="2147478571"/>
            <ac:spMk id="214" creationId="{F9E1417E-2C3B-54CE-9017-BC40BC87B97D}"/>
          </ac:spMkLst>
        </pc:spChg>
        <pc:spChg chg="add del mod">
          <ac:chgData name="Steiner Andreas 6206 ED" userId="e6377c33-a923-4f14-8587-531c474c7b48" providerId="ADAL" clId="{6ECD27E6-B224-41CD-B4E0-E297462320DD}" dt="2023-11-24T08:37:53.018" v="31547"/>
          <ac:spMkLst>
            <pc:docMk/>
            <pc:sldMk cId="3975964758" sldId="2147478571"/>
            <ac:spMk id="215" creationId="{FCC29C36-8121-0180-D07B-F40AA6640951}"/>
          </ac:spMkLst>
        </pc:spChg>
        <pc:spChg chg="add del mod">
          <ac:chgData name="Steiner Andreas 6206 ED" userId="e6377c33-a923-4f14-8587-531c474c7b48" providerId="ADAL" clId="{6ECD27E6-B224-41CD-B4E0-E297462320DD}" dt="2023-11-24T08:37:57.058" v="31702"/>
          <ac:spMkLst>
            <pc:docMk/>
            <pc:sldMk cId="3975964758" sldId="2147478571"/>
            <ac:spMk id="216" creationId="{D0A01B30-C261-A83F-90E2-8C2CDAFDB223}"/>
          </ac:spMkLst>
        </pc:spChg>
        <pc:spChg chg="add del mod">
          <ac:chgData name="Steiner Andreas 6206 ED" userId="e6377c33-a923-4f14-8587-531c474c7b48" providerId="ADAL" clId="{6ECD27E6-B224-41CD-B4E0-E297462320DD}" dt="2023-11-24T08:37:59.864" v="31857"/>
          <ac:spMkLst>
            <pc:docMk/>
            <pc:sldMk cId="3975964758" sldId="2147478571"/>
            <ac:spMk id="217" creationId="{8ACBACCB-5FD9-453D-FF20-1834D58D725E}"/>
          </ac:spMkLst>
        </pc:spChg>
        <pc:spChg chg="add del mod">
          <ac:chgData name="Steiner Andreas 6206 ED" userId="e6377c33-a923-4f14-8587-531c474c7b48" providerId="ADAL" clId="{6ECD27E6-B224-41CD-B4E0-E297462320DD}" dt="2023-11-24T08:38:02.866" v="32012"/>
          <ac:spMkLst>
            <pc:docMk/>
            <pc:sldMk cId="3975964758" sldId="2147478571"/>
            <ac:spMk id="218" creationId="{8EFFBF8A-A1E2-8E79-19C7-70B305581D5A}"/>
          </ac:spMkLst>
        </pc:spChg>
        <pc:spChg chg="add del mod">
          <ac:chgData name="Steiner Andreas 6206 ED" userId="e6377c33-a923-4f14-8587-531c474c7b48" providerId="ADAL" clId="{6ECD27E6-B224-41CD-B4E0-E297462320DD}" dt="2023-11-24T08:38:05.739" v="32167"/>
          <ac:spMkLst>
            <pc:docMk/>
            <pc:sldMk cId="3975964758" sldId="2147478571"/>
            <ac:spMk id="219" creationId="{13352050-A688-59AC-CD7C-43531CEC310C}"/>
          </ac:spMkLst>
        </pc:spChg>
        <pc:spChg chg="add del mod">
          <ac:chgData name="Steiner Andreas 6206 ED" userId="e6377c33-a923-4f14-8587-531c474c7b48" providerId="ADAL" clId="{6ECD27E6-B224-41CD-B4E0-E297462320DD}" dt="2023-11-24T08:38:08.863" v="32322"/>
          <ac:spMkLst>
            <pc:docMk/>
            <pc:sldMk cId="3975964758" sldId="2147478571"/>
            <ac:spMk id="220" creationId="{932CA77E-58B8-0CC0-A5B5-934CD4A467F8}"/>
          </ac:spMkLst>
        </pc:spChg>
        <pc:spChg chg="add del mod">
          <ac:chgData name="Steiner Andreas 6206 ED" userId="e6377c33-a923-4f14-8587-531c474c7b48" providerId="ADAL" clId="{6ECD27E6-B224-41CD-B4E0-E297462320DD}" dt="2023-11-24T08:38:11.614" v="32477"/>
          <ac:spMkLst>
            <pc:docMk/>
            <pc:sldMk cId="3975964758" sldId="2147478571"/>
            <ac:spMk id="221" creationId="{6191E70D-28F5-2C1C-5152-CBAAD845F28B}"/>
          </ac:spMkLst>
        </pc:spChg>
        <pc:spChg chg="add del mod">
          <ac:chgData name="Steiner Andreas 6206 ED" userId="e6377c33-a923-4f14-8587-531c474c7b48" providerId="ADAL" clId="{6ECD27E6-B224-41CD-B4E0-E297462320DD}" dt="2023-11-24T08:38:14.249" v="32632"/>
          <ac:spMkLst>
            <pc:docMk/>
            <pc:sldMk cId="3975964758" sldId="2147478571"/>
            <ac:spMk id="222" creationId="{C1C6B103-C1CC-B9BF-2C54-55D4FAA17B6E}"/>
          </ac:spMkLst>
        </pc:spChg>
        <pc:spChg chg="add del mod">
          <ac:chgData name="Steiner Andreas 6206 ED" userId="e6377c33-a923-4f14-8587-531c474c7b48" providerId="ADAL" clId="{6ECD27E6-B224-41CD-B4E0-E297462320DD}" dt="2023-11-24T08:38:16.943" v="32787"/>
          <ac:spMkLst>
            <pc:docMk/>
            <pc:sldMk cId="3975964758" sldId="2147478571"/>
            <ac:spMk id="223" creationId="{E544E366-20E9-378E-1131-3932FBF6E72D}"/>
          </ac:spMkLst>
        </pc:spChg>
        <pc:spChg chg="add del mod">
          <ac:chgData name="Steiner Andreas 6206 ED" userId="e6377c33-a923-4f14-8587-531c474c7b48" providerId="ADAL" clId="{6ECD27E6-B224-41CD-B4E0-E297462320DD}" dt="2023-11-24T08:38:19.940" v="32942"/>
          <ac:spMkLst>
            <pc:docMk/>
            <pc:sldMk cId="3975964758" sldId="2147478571"/>
            <ac:spMk id="224" creationId="{F9316819-0C1F-16BE-C73D-C45BE46D6441}"/>
          </ac:spMkLst>
        </pc:spChg>
        <pc:spChg chg="add del mod">
          <ac:chgData name="Steiner Andreas 6206 ED" userId="e6377c33-a923-4f14-8587-531c474c7b48" providerId="ADAL" clId="{6ECD27E6-B224-41CD-B4E0-E297462320DD}" dt="2023-11-24T08:38:22.778" v="33097"/>
          <ac:spMkLst>
            <pc:docMk/>
            <pc:sldMk cId="3975964758" sldId="2147478571"/>
            <ac:spMk id="225" creationId="{92690AF0-1AEE-3C0F-F7A2-2B62935D54D9}"/>
          </ac:spMkLst>
        </pc:spChg>
        <pc:spChg chg="add del mod">
          <ac:chgData name="Steiner Andreas 6206 ED" userId="e6377c33-a923-4f14-8587-531c474c7b48" providerId="ADAL" clId="{6ECD27E6-B224-41CD-B4E0-E297462320DD}" dt="2023-11-24T08:38:25.587" v="33252"/>
          <ac:spMkLst>
            <pc:docMk/>
            <pc:sldMk cId="3975964758" sldId="2147478571"/>
            <ac:spMk id="226" creationId="{087DF714-AC94-67E4-2A4A-1C50283B001C}"/>
          </ac:spMkLst>
        </pc:spChg>
        <pc:spChg chg="add del mod">
          <ac:chgData name="Steiner Andreas 6206 ED" userId="e6377c33-a923-4f14-8587-531c474c7b48" providerId="ADAL" clId="{6ECD27E6-B224-41CD-B4E0-E297462320DD}" dt="2023-11-24T08:38:29.143" v="33407"/>
          <ac:spMkLst>
            <pc:docMk/>
            <pc:sldMk cId="3975964758" sldId="2147478571"/>
            <ac:spMk id="227" creationId="{878D5263-B204-6AA8-D0B3-2A87C26F958A}"/>
          </ac:spMkLst>
        </pc:spChg>
        <pc:spChg chg="add del mod">
          <ac:chgData name="Steiner Andreas 6206 ED" userId="e6377c33-a923-4f14-8587-531c474c7b48" providerId="ADAL" clId="{6ECD27E6-B224-41CD-B4E0-E297462320DD}" dt="2023-11-24T08:38:32.288" v="33562"/>
          <ac:spMkLst>
            <pc:docMk/>
            <pc:sldMk cId="3975964758" sldId="2147478571"/>
            <ac:spMk id="228" creationId="{CD6FE70E-6512-3DD0-BF5F-A8EF4059B949}"/>
          </ac:spMkLst>
        </pc:spChg>
        <pc:spChg chg="add del mod">
          <ac:chgData name="Steiner Andreas 6206 ED" userId="e6377c33-a923-4f14-8587-531c474c7b48" providerId="ADAL" clId="{6ECD27E6-B224-41CD-B4E0-E297462320DD}" dt="2023-11-24T08:38:35.050" v="33717"/>
          <ac:spMkLst>
            <pc:docMk/>
            <pc:sldMk cId="3975964758" sldId="2147478571"/>
            <ac:spMk id="229" creationId="{E7A958DA-B1D7-45E8-EF2F-F5564E4D81E2}"/>
          </ac:spMkLst>
        </pc:spChg>
        <pc:spChg chg="add del mod">
          <ac:chgData name="Steiner Andreas 6206 ED" userId="e6377c33-a923-4f14-8587-531c474c7b48" providerId="ADAL" clId="{6ECD27E6-B224-41CD-B4E0-E297462320DD}" dt="2023-11-24T08:38:37.697" v="33872"/>
          <ac:spMkLst>
            <pc:docMk/>
            <pc:sldMk cId="3975964758" sldId="2147478571"/>
            <ac:spMk id="230" creationId="{843544D8-90E5-3B47-9DE9-EAD7DF07207B}"/>
          </ac:spMkLst>
        </pc:spChg>
        <pc:spChg chg="add del mod">
          <ac:chgData name="Steiner Andreas 6206 ED" userId="e6377c33-a923-4f14-8587-531c474c7b48" providerId="ADAL" clId="{6ECD27E6-B224-41CD-B4E0-E297462320DD}" dt="2023-11-24T08:38:40.210" v="34027"/>
          <ac:spMkLst>
            <pc:docMk/>
            <pc:sldMk cId="3975964758" sldId="2147478571"/>
            <ac:spMk id="231" creationId="{52698F36-66EC-F8DA-D5FA-D7B6C40EAA00}"/>
          </ac:spMkLst>
        </pc:spChg>
        <pc:spChg chg="add del mod">
          <ac:chgData name="Steiner Andreas 6206 ED" userId="e6377c33-a923-4f14-8587-531c474c7b48" providerId="ADAL" clId="{6ECD27E6-B224-41CD-B4E0-E297462320DD}" dt="2023-11-24T08:38:42.712" v="34182"/>
          <ac:spMkLst>
            <pc:docMk/>
            <pc:sldMk cId="3975964758" sldId="2147478571"/>
            <ac:spMk id="232" creationId="{A94A4A49-B28C-897F-A4D8-AFAD2172FDC1}"/>
          </ac:spMkLst>
        </pc:spChg>
        <pc:spChg chg="add del mod">
          <ac:chgData name="Steiner Andreas 6206 ED" userId="e6377c33-a923-4f14-8587-531c474c7b48" providerId="ADAL" clId="{6ECD27E6-B224-41CD-B4E0-E297462320DD}" dt="2023-11-24T08:38:46.758" v="34337"/>
          <ac:spMkLst>
            <pc:docMk/>
            <pc:sldMk cId="3975964758" sldId="2147478571"/>
            <ac:spMk id="233" creationId="{4CD87AC8-9D54-9996-135E-0C6FB1A00E28}"/>
          </ac:spMkLst>
        </pc:spChg>
        <pc:spChg chg="add del mod">
          <ac:chgData name="Steiner Andreas 6206 ED" userId="e6377c33-a923-4f14-8587-531c474c7b48" providerId="ADAL" clId="{6ECD27E6-B224-41CD-B4E0-E297462320DD}" dt="2023-11-24T08:38:49.475" v="34492"/>
          <ac:spMkLst>
            <pc:docMk/>
            <pc:sldMk cId="3975964758" sldId="2147478571"/>
            <ac:spMk id="234" creationId="{9DC936F9-CDDD-3CFC-54FC-67C85BC6AFF5}"/>
          </ac:spMkLst>
        </pc:spChg>
        <pc:spChg chg="add del mod">
          <ac:chgData name="Steiner Andreas 6206 ED" userId="e6377c33-a923-4f14-8587-531c474c7b48" providerId="ADAL" clId="{6ECD27E6-B224-41CD-B4E0-E297462320DD}" dt="2023-11-24T08:38:52.239" v="34647"/>
          <ac:spMkLst>
            <pc:docMk/>
            <pc:sldMk cId="3975964758" sldId="2147478571"/>
            <ac:spMk id="235" creationId="{EB09E240-F669-42E0-D30A-2B4A6FF92329}"/>
          </ac:spMkLst>
        </pc:spChg>
        <pc:spChg chg="add del mod">
          <ac:chgData name="Steiner Andreas 6206 ED" userId="e6377c33-a923-4f14-8587-531c474c7b48" providerId="ADAL" clId="{6ECD27E6-B224-41CD-B4E0-E297462320DD}" dt="2023-11-24T08:38:55.237" v="34802"/>
          <ac:spMkLst>
            <pc:docMk/>
            <pc:sldMk cId="3975964758" sldId="2147478571"/>
            <ac:spMk id="236" creationId="{9A0EAFEE-3767-CC8D-D7F2-A8111DAA041A}"/>
          </ac:spMkLst>
        </pc:spChg>
        <pc:spChg chg="add del mod">
          <ac:chgData name="Steiner Andreas 6206 ED" userId="e6377c33-a923-4f14-8587-531c474c7b48" providerId="ADAL" clId="{6ECD27E6-B224-41CD-B4E0-E297462320DD}" dt="2023-11-24T08:38:58.408" v="34957"/>
          <ac:spMkLst>
            <pc:docMk/>
            <pc:sldMk cId="3975964758" sldId="2147478571"/>
            <ac:spMk id="237" creationId="{73CD31F9-50C6-58DF-A22A-87FB3EF89893}"/>
          </ac:spMkLst>
        </pc:spChg>
        <pc:spChg chg="add del mod">
          <ac:chgData name="Steiner Andreas 6206 ED" userId="e6377c33-a923-4f14-8587-531c474c7b48" providerId="ADAL" clId="{6ECD27E6-B224-41CD-B4E0-E297462320DD}" dt="2023-11-24T08:39:01.807" v="35112"/>
          <ac:spMkLst>
            <pc:docMk/>
            <pc:sldMk cId="3975964758" sldId="2147478571"/>
            <ac:spMk id="238" creationId="{64F7E2A4-A2BB-26A1-71DF-27A876121045}"/>
          </ac:spMkLst>
        </pc:spChg>
        <pc:spChg chg="add del mod">
          <ac:chgData name="Steiner Andreas 6206 ED" userId="e6377c33-a923-4f14-8587-531c474c7b48" providerId="ADAL" clId="{6ECD27E6-B224-41CD-B4E0-E297462320DD}" dt="2023-11-24T08:39:05.087" v="35267"/>
          <ac:spMkLst>
            <pc:docMk/>
            <pc:sldMk cId="3975964758" sldId="2147478571"/>
            <ac:spMk id="239" creationId="{EA6DAE01-DEC6-8175-787C-36F5FD6B9482}"/>
          </ac:spMkLst>
        </pc:spChg>
        <pc:spChg chg="add del mod">
          <ac:chgData name="Steiner Andreas 6206 ED" userId="e6377c33-a923-4f14-8587-531c474c7b48" providerId="ADAL" clId="{6ECD27E6-B224-41CD-B4E0-E297462320DD}" dt="2023-11-24T08:39:07.936" v="35422"/>
          <ac:spMkLst>
            <pc:docMk/>
            <pc:sldMk cId="3975964758" sldId="2147478571"/>
            <ac:spMk id="240" creationId="{2F321BB8-63DD-2126-5B58-3A8FE9A8EB59}"/>
          </ac:spMkLst>
        </pc:spChg>
        <pc:spChg chg="add del mod">
          <ac:chgData name="Steiner Andreas 6206 ED" userId="e6377c33-a923-4f14-8587-531c474c7b48" providerId="ADAL" clId="{6ECD27E6-B224-41CD-B4E0-E297462320DD}" dt="2023-11-24T08:39:12.611" v="35577"/>
          <ac:spMkLst>
            <pc:docMk/>
            <pc:sldMk cId="3975964758" sldId="2147478571"/>
            <ac:spMk id="241" creationId="{BF8887FF-3EB8-410E-8658-941AC019A401}"/>
          </ac:spMkLst>
        </pc:spChg>
        <pc:spChg chg="add del mod">
          <ac:chgData name="Steiner Andreas 6206 ED" userId="e6377c33-a923-4f14-8587-531c474c7b48" providerId="ADAL" clId="{6ECD27E6-B224-41CD-B4E0-E297462320DD}" dt="2023-11-24T08:39:15.305" v="35732"/>
          <ac:spMkLst>
            <pc:docMk/>
            <pc:sldMk cId="3975964758" sldId="2147478571"/>
            <ac:spMk id="242" creationId="{9E3B5700-CA6A-FB06-A8F3-11DFF412D891}"/>
          </ac:spMkLst>
        </pc:spChg>
        <pc:spChg chg="add del mod">
          <ac:chgData name="Steiner Andreas 6206 ED" userId="e6377c33-a923-4f14-8587-531c474c7b48" providerId="ADAL" clId="{6ECD27E6-B224-41CD-B4E0-E297462320DD}" dt="2023-11-24T08:39:17.875" v="35887"/>
          <ac:spMkLst>
            <pc:docMk/>
            <pc:sldMk cId="3975964758" sldId="2147478571"/>
            <ac:spMk id="243" creationId="{177F1983-8FA2-0B8E-35C5-2B87864639D5}"/>
          </ac:spMkLst>
        </pc:spChg>
        <pc:spChg chg="add del mod">
          <ac:chgData name="Steiner Andreas 6206 ED" userId="e6377c33-a923-4f14-8587-531c474c7b48" providerId="ADAL" clId="{6ECD27E6-B224-41CD-B4E0-E297462320DD}" dt="2023-11-24T08:39:20.560" v="36042"/>
          <ac:spMkLst>
            <pc:docMk/>
            <pc:sldMk cId="3975964758" sldId="2147478571"/>
            <ac:spMk id="244" creationId="{B4F56446-ED24-C836-F11E-00C916D81010}"/>
          </ac:spMkLst>
        </pc:spChg>
        <pc:spChg chg="add del mod">
          <ac:chgData name="Steiner Andreas 6206 ED" userId="e6377c33-a923-4f14-8587-531c474c7b48" providerId="ADAL" clId="{6ECD27E6-B224-41CD-B4E0-E297462320DD}" dt="2023-11-24T08:39:23.692" v="36197"/>
          <ac:spMkLst>
            <pc:docMk/>
            <pc:sldMk cId="3975964758" sldId="2147478571"/>
            <ac:spMk id="245" creationId="{039C40B3-26D7-ADC9-BFD5-C660387AE3E5}"/>
          </ac:spMkLst>
        </pc:spChg>
        <pc:spChg chg="add del mod">
          <ac:chgData name="Steiner Andreas 6206 ED" userId="e6377c33-a923-4f14-8587-531c474c7b48" providerId="ADAL" clId="{6ECD27E6-B224-41CD-B4E0-E297462320DD}" dt="2023-11-24T08:39:26.480" v="36352"/>
          <ac:spMkLst>
            <pc:docMk/>
            <pc:sldMk cId="3975964758" sldId="2147478571"/>
            <ac:spMk id="246" creationId="{B14848CF-8874-93C2-11CF-BEF9616DB109}"/>
          </ac:spMkLst>
        </pc:spChg>
        <pc:spChg chg="add del mod">
          <ac:chgData name="Steiner Andreas 6206 ED" userId="e6377c33-a923-4f14-8587-531c474c7b48" providerId="ADAL" clId="{6ECD27E6-B224-41CD-B4E0-E297462320DD}" dt="2023-11-24T08:39:29.216" v="36507"/>
          <ac:spMkLst>
            <pc:docMk/>
            <pc:sldMk cId="3975964758" sldId="2147478571"/>
            <ac:spMk id="247" creationId="{56178BDB-9B85-A555-84A2-C920BD4FB574}"/>
          </ac:spMkLst>
        </pc:spChg>
        <pc:spChg chg="add del mod">
          <ac:chgData name="Steiner Andreas 6206 ED" userId="e6377c33-a923-4f14-8587-531c474c7b48" providerId="ADAL" clId="{6ECD27E6-B224-41CD-B4E0-E297462320DD}" dt="2023-11-24T08:39:31.780" v="36662"/>
          <ac:spMkLst>
            <pc:docMk/>
            <pc:sldMk cId="3975964758" sldId="2147478571"/>
            <ac:spMk id="248" creationId="{46306E74-8C42-F869-0F6C-3B455369A5AE}"/>
          </ac:spMkLst>
        </pc:spChg>
        <pc:spChg chg="add del mod">
          <ac:chgData name="Steiner Andreas 6206 ED" userId="e6377c33-a923-4f14-8587-531c474c7b48" providerId="ADAL" clId="{6ECD27E6-B224-41CD-B4E0-E297462320DD}" dt="2023-11-24T08:39:34.314" v="36817"/>
          <ac:spMkLst>
            <pc:docMk/>
            <pc:sldMk cId="3975964758" sldId="2147478571"/>
            <ac:spMk id="249" creationId="{3958B179-21E3-542F-1569-69965E0A7E34}"/>
          </ac:spMkLst>
        </pc:spChg>
        <pc:spChg chg="add del mod">
          <ac:chgData name="Steiner Andreas 6206 ED" userId="e6377c33-a923-4f14-8587-531c474c7b48" providerId="ADAL" clId="{6ECD27E6-B224-41CD-B4E0-E297462320DD}" dt="2023-11-24T08:39:37.211" v="36972"/>
          <ac:spMkLst>
            <pc:docMk/>
            <pc:sldMk cId="3975964758" sldId="2147478571"/>
            <ac:spMk id="250" creationId="{97E27FBD-50FE-6956-641E-1C3C7CEB92F2}"/>
          </ac:spMkLst>
        </pc:spChg>
        <pc:spChg chg="add del mod">
          <ac:chgData name="Steiner Andreas 6206 ED" userId="e6377c33-a923-4f14-8587-531c474c7b48" providerId="ADAL" clId="{6ECD27E6-B224-41CD-B4E0-E297462320DD}" dt="2023-11-24T08:39:39.835" v="37127"/>
          <ac:spMkLst>
            <pc:docMk/>
            <pc:sldMk cId="3975964758" sldId="2147478571"/>
            <ac:spMk id="251" creationId="{A0240863-0F27-6349-AA20-D55EF04A828F}"/>
          </ac:spMkLst>
        </pc:spChg>
        <pc:spChg chg="add del mod">
          <ac:chgData name="Steiner Andreas 6206 ED" userId="e6377c33-a923-4f14-8587-531c474c7b48" providerId="ADAL" clId="{6ECD27E6-B224-41CD-B4E0-E297462320DD}" dt="2023-11-24T08:39:42.342" v="37282"/>
          <ac:spMkLst>
            <pc:docMk/>
            <pc:sldMk cId="3975964758" sldId="2147478571"/>
            <ac:spMk id="252" creationId="{7AE18C73-C450-B167-FF7F-9F92119E35AC}"/>
          </ac:spMkLst>
        </pc:spChg>
        <pc:spChg chg="add del mod">
          <ac:chgData name="Steiner Andreas 6206 ED" userId="e6377c33-a923-4f14-8587-531c474c7b48" providerId="ADAL" clId="{6ECD27E6-B224-41CD-B4E0-E297462320DD}" dt="2023-11-24T08:39:44.857" v="37437"/>
          <ac:spMkLst>
            <pc:docMk/>
            <pc:sldMk cId="3975964758" sldId="2147478571"/>
            <ac:spMk id="253" creationId="{81D02BA9-E374-6BDF-3C91-EE6BF6B55648}"/>
          </ac:spMkLst>
        </pc:spChg>
        <pc:spChg chg="add del mod">
          <ac:chgData name="Steiner Andreas 6206 ED" userId="e6377c33-a923-4f14-8587-531c474c7b48" providerId="ADAL" clId="{6ECD27E6-B224-41CD-B4E0-E297462320DD}" dt="2023-11-24T08:39:47.806" v="37592"/>
          <ac:spMkLst>
            <pc:docMk/>
            <pc:sldMk cId="3975964758" sldId="2147478571"/>
            <ac:spMk id="254" creationId="{6598289F-33A5-D5D3-7073-DCF7003D014C}"/>
          </ac:spMkLst>
        </pc:spChg>
        <pc:spChg chg="add del mod">
          <ac:chgData name="Steiner Andreas 6206 ED" userId="e6377c33-a923-4f14-8587-531c474c7b48" providerId="ADAL" clId="{6ECD27E6-B224-41CD-B4E0-E297462320DD}" dt="2023-11-24T08:39:50.585" v="37747"/>
          <ac:spMkLst>
            <pc:docMk/>
            <pc:sldMk cId="3975964758" sldId="2147478571"/>
            <ac:spMk id="255" creationId="{6644D888-CD98-F9C0-6C7A-1BF2A66A6E4D}"/>
          </ac:spMkLst>
        </pc:spChg>
        <pc:spChg chg="add del mod">
          <ac:chgData name="Steiner Andreas 6206 ED" userId="e6377c33-a923-4f14-8587-531c474c7b48" providerId="ADAL" clId="{6ECD27E6-B224-41CD-B4E0-E297462320DD}" dt="2023-11-24T08:39:53.197" v="37902"/>
          <ac:spMkLst>
            <pc:docMk/>
            <pc:sldMk cId="3975964758" sldId="2147478571"/>
            <ac:spMk id="256" creationId="{1F4C257E-F19D-997F-49D0-55C9A1E7F1AF}"/>
          </ac:spMkLst>
        </pc:spChg>
        <pc:spChg chg="add del mod">
          <ac:chgData name="Steiner Andreas 6206 ED" userId="e6377c33-a923-4f14-8587-531c474c7b48" providerId="ADAL" clId="{6ECD27E6-B224-41CD-B4E0-E297462320DD}" dt="2023-11-24T08:39:56.141" v="38057"/>
          <ac:spMkLst>
            <pc:docMk/>
            <pc:sldMk cId="3975964758" sldId="2147478571"/>
            <ac:spMk id="257" creationId="{F536FA2B-8553-31D9-7A6A-10B5343CC935}"/>
          </ac:spMkLst>
        </pc:spChg>
        <pc:spChg chg="add del mod">
          <ac:chgData name="Steiner Andreas 6206 ED" userId="e6377c33-a923-4f14-8587-531c474c7b48" providerId="ADAL" clId="{6ECD27E6-B224-41CD-B4E0-E297462320DD}" dt="2023-11-24T08:39:59.241" v="38212"/>
          <ac:spMkLst>
            <pc:docMk/>
            <pc:sldMk cId="3975964758" sldId="2147478571"/>
            <ac:spMk id="258" creationId="{B8CDA23E-4CE0-BD20-0205-43612377A099}"/>
          </ac:spMkLst>
        </pc:spChg>
        <pc:spChg chg="add del mod">
          <ac:chgData name="Steiner Andreas 6206 ED" userId="e6377c33-a923-4f14-8587-531c474c7b48" providerId="ADAL" clId="{6ECD27E6-B224-41CD-B4E0-E297462320DD}" dt="2023-11-24T08:40:02.658" v="38367"/>
          <ac:spMkLst>
            <pc:docMk/>
            <pc:sldMk cId="3975964758" sldId="2147478571"/>
            <ac:spMk id="259" creationId="{FAFE8302-3622-DB6F-5648-37258DA5BE8F}"/>
          </ac:spMkLst>
        </pc:spChg>
        <pc:spChg chg="add del mod">
          <ac:chgData name="Steiner Andreas 6206 ED" userId="e6377c33-a923-4f14-8587-531c474c7b48" providerId="ADAL" clId="{6ECD27E6-B224-41CD-B4E0-E297462320DD}" dt="2023-11-24T08:40:05.413" v="38522"/>
          <ac:spMkLst>
            <pc:docMk/>
            <pc:sldMk cId="3975964758" sldId="2147478571"/>
            <ac:spMk id="260" creationId="{E6A82F2E-1B6C-45AC-0076-C101AC7D3009}"/>
          </ac:spMkLst>
        </pc:spChg>
        <pc:spChg chg="add del mod">
          <ac:chgData name="Steiner Andreas 6206 ED" userId="e6377c33-a923-4f14-8587-531c474c7b48" providerId="ADAL" clId="{6ECD27E6-B224-41CD-B4E0-E297462320DD}" dt="2023-11-24T08:40:07.933" v="38677"/>
          <ac:spMkLst>
            <pc:docMk/>
            <pc:sldMk cId="3975964758" sldId="2147478571"/>
            <ac:spMk id="261" creationId="{158A9D8E-BA66-760C-3633-DA29782E6394}"/>
          </ac:spMkLst>
        </pc:spChg>
        <pc:spChg chg="add del mod">
          <ac:chgData name="Steiner Andreas 6206 ED" userId="e6377c33-a923-4f14-8587-531c474c7b48" providerId="ADAL" clId="{6ECD27E6-B224-41CD-B4E0-E297462320DD}" dt="2023-11-24T08:40:10.652" v="38832"/>
          <ac:spMkLst>
            <pc:docMk/>
            <pc:sldMk cId="3975964758" sldId="2147478571"/>
            <ac:spMk id="262" creationId="{513F50CA-E07C-5D5E-6721-5B2B2052A66C}"/>
          </ac:spMkLst>
        </pc:spChg>
        <pc:spChg chg="add del mod">
          <ac:chgData name="Steiner Andreas 6206 ED" userId="e6377c33-a923-4f14-8587-531c474c7b48" providerId="ADAL" clId="{6ECD27E6-B224-41CD-B4E0-E297462320DD}" dt="2023-11-24T08:40:13.804" v="38987"/>
          <ac:spMkLst>
            <pc:docMk/>
            <pc:sldMk cId="3975964758" sldId="2147478571"/>
            <ac:spMk id="263" creationId="{E1D0ADAF-859F-0359-7109-E5323CC025CF}"/>
          </ac:spMkLst>
        </pc:spChg>
        <pc:spChg chg="add del mod">
          <ac:chgData name="Steiner Andreas 6206 ED" userId="e6377c33-a923-4f14-8587-531c474c7b48" providerId="ADAL" clId="{6ECD27E6-B224-41CD-B4E0-E297462320DD}" dt="2023-11-24T08:40:16.517" v="39142"/>
          <ac:spMkLst>
            <pc:docMk/>
            <pc:sldMk cId="3975964758" sldId="2147478571"/>
            <ac:spMk id="264" creationId="{37848DAF-0A2A-D0BC-E0E7-6E3F34EE4FDD}"/>
          </ac:spMkLst>
        </pc:spChg>
        <pc:spChg chg="add del mod">
          <ac:chgData name="Steiner Andreas 6206 ED" userId="e6377c33-a923-4f14-8587-531c474c7b48" providerId="ADAL" clId="{6ECD27E6-B224-41CD-B4E0-E297462320DD}" dt="2023-11-24T08:40:19.045" v="39297"/>
          <ac:spMkLst>
            <pc:docMk/>
            <pc:sldMk cId="3975964758" sldId="2147478571"/>
            <ac:spMk id="265" creationId="{ED65C9B6-167B-2A84-3094-59B5E54777FF}"/>
          </ac:spMkLst>
        </pc:spChg>
        <pc:spChg chg="add del mod">
          <ac:chgData name="Steiner Andreas 6206 ED" userId="e6377c33-a923-4f14-8587-531c474c7b48" providerId="ADAL" clId="{6ECD27E6-B224-41CD-B4E0-E297462320DD}" dt="2023-11-24T08:40:21.453" v="39452"/>
          <ac:spMkLst>
            <pc:docMk/>
            <pc:sldMk cId="3975964758" sldId="2147478571"/>
            <ac:spMk id="266" creationId="{8D9CFB81-04DC-AF54-D26D-593C5512CB18}"/>
          </ac:spMkLst>
        </pc:spChg>
        <pc:spChg chg="add del mod">
          <ac:chgData name="Steiner Andreas 6206 ED" userId="e6377c33-a923-4f14-8587-531c474c7b48" providerId="ADAL" clId="{6ECD27E6-B224-41CD-B4E0-E297462320DD}" dt="2023-11-24T08:40:24.090" v="39607"/>
          <ac:spMkLst>
            <pc:docMk/>
            <pc:sldMk cId="3975964758" sldId="2147478571"/>
            <ac:spMk id="267" creationId="{B7144F67-8C86-6CC1-FF2C-E3254D244A00}"/>
          </ac:spMkLst>
        </pc:spChg>
        <pc:spChg chg="add del mod">
          <ac:chgData name="Steiner Andreas 6206 ED" userId="e6377c33-a923-4f14-8587-531c474c7b48" providerId="ADAL" clId="{6ECD27E6-B224-41CD-B4E0-E297462320DD}" dt="2023-11-24T08:40:27.053" v="39762"/>
          <ac:spMkLst>
            <pc:docMk/>
            <pc:sldMk cId="3975964758" sldId="2147478571"/>
            <ac:spMk id="268" creationId="{9A2EC798-9D37-E408-3411-462A3F5B7064}"/>
          </ac:spMkLst>
        </pc:spChg>
        <pc:spChg chg="add del mod">
          <ac:chgData name="Steiner Andreas 6206 ED" userId="e6377c33-a923-4f14-8587-531c474c7b48" providerId="ADAL" clId="{6ECD27E6-B224-41CD-B4E0-E297462320DD}" dt="2023-11-24T08:40:29.697" v="39917"/>
          <ac:spMkLst>
            <pc:docMk/>
            <pc:sldMk cId="3975964758" sldId="2147478571"/>
            <ac:spMk id="269" creationId="{950C51C9-84F6-A472-B3C4-EE0C0503271E}"/>
          </ac:spMkLst>
        </pc:spChg>
        <pc:spChg chg="add del mod">
          <ac:chgData name="Steiner Andreas 6206 ED" userId="e6377c33-a923-4f14-8587-531c474c7b48" providerId="ADAL" clId="{6ECD27E6-B224-41CD-B4E0-E297462320DD}" dt="2023-11-24T08:40:32.224" v="40072"/>
          <ac:spMkLst>
            <pc:docMk/>
            <pc:sldMk cId="3975964758" sldId="2147478571"/>
            <ac:spMk id="270" creationId="{92A10753-3C4F-48AA-FBE1-983F605E215F}"/>
          </ac:spMkLst>
        </pc:spChg>
        <pc:spChg chg="add del mod">
          <ac:chgData name="Steiner Andreas 6206 ED" userId="e6377c33-a923-4f14-8587-531c474c7b48" providerId="ADAL" clId="{6ECD27E6-B224-41CD-B4E0-E297462320DD}" dt="2023-11-24T08:40:34.852" v="40227"/>
          <ac:spMkLst>
            <pc:docMk/>
            <pc:sldMk cId="3975964758" sldId="2147478571"/>
            <ac:spMk id="271" creationId="{4FF5A82D-3789-296F-9D97-D7742FADA3A6}"/>
          </ac:spMkLst>
        </pc:spChg>
        <pc:spChg chg="add del mod">
          <ac:chgData name="Steiner Andreas 6206 ED" userId="e6377c33-a923-4f14-8587-531c474c7b48" providerId="ADAL" clId="{6ECD27E6-B224-41CD-B4E0-E297462320DD}" dt="2023-11-24T08:40:38.250" v="40382"/>
          <ac:spMkLst>
            <pc:docMk/>
            <pc:sldMk cId="3975964758" sldId="2147478571"/>
            <ac:spMk id="272" creationId="{63DEA23E-730B-2335-D7C8-0135E1034676}"/>
          </ac:spMkLst>
        </pc:spChg>
        <pc:spChg chg="add del mod">
          <ac:chgData name="Steiner Andreas 6206 ED" userId="e6377c33-a923-4f14-8587-531c474c7b48" providerId="ADAL" clId="{6ECD27E6-B224-41CD-B4E0-E297462320DD}" dt="2023-11-24T08:40:40.935" v="40537"/>
          <ac:spMkLst>
            <pc:docMk/>
            <pc:sldMk cId="3975964758" sldId="2147478571"/>
            <ac:spMk id="273" creationId="{B2C31A09-65EF-921E-98F4-4D66A7E0E405}"/>
          </ac:spMkLst>
        </pc:spChg>
        <pc:spChg chg="add del mod">
          <ac:chgData name="Steiner Andreas 6206 ED" userId="e6377c33-a923-4f14-8587-531c474c7b48" providerId="ADAL" clId="{6ECD27E6-B224-41CD-B4E0-E297462320DD}" dt="2023-11-24T08:40:43.756" v="40692"/>
          <ac:spMkLst>
            <pc:docMk/>
            <pc:sldMk cId="3975964758" sldId="2147478571"/>
            <ac:spMk id="274" creationId="{A613A5A0-99FA-5DBB-C5F4-980B79B4E783}"/>
          </ac:spMkLst>
        </pc:spChg>
        <pc:spChg chg="add del mod">
          <ac:chgData name="Steiner Andreas 6206 ED" userId="e6377c33-a923-4f14-8587-531c474c7b48" providerId="ADAL" clId="{6ECD27E6-B224-41CD-B4E0-E297462320DD}" dt="2023-11-24T08:40:46.199" v="40847"/>
          <ac:spMkLst>
            <pc:docMk/>
            <pc:sldMk cId="3975964758" sldId="2147478571"/>
            <ac:spMk id="275" creationId="{B9D07581-830A-F0D4-0AF2-8CA26FA96276}"/>
          </ac:spMkLst>
        </pc:spChg>
        <pc:spChg chg="add del mod">
          <ac:chgData name="Steiner Andreas 6206 ED" userId="e6377c33-a923-4f14-8587-531c474c7b48" providerId="ADAL" clId="{6ECD27E6-B224-41CD-B4E0-E297462320DD}" dt="2023-11-24T08:40:48.965" v="41002"/>
          <ac:spMkLst>
            <pc:docMk/>
            <pc:sldMk cId="3975964758" sldId="2147478571"/>
            <ac:spMk id="276" creationId="{0EF6E403-8F01-8072-11B9-92D017F6417D}"/>
          </ac:spMkLst>
        </pc:spChg>
        <pc:spChg chg="add del mod">
          <ac:chgData name="Steiner Andreas 6206 ED" userId="e6377c33-a923-4f14-8587-531c474c7b48" providerId="ADAL" clId="{6ECD27E6-B224-41CD-B4E0-E297462320DD}" dt="2023-11-24T08:40:51.853" v="41157"/>
          <ac:spMkLst>
            <pc:docMk/>
            <pc:sldMk cId="3975964758" sldId="2147478571"/>
            <ac:spMk id="277" creationId="{A627DB0D-A443-74E5-889C-4A98CFC5FE74}"/>
          </ac:spMkLst>
        </pc:spChg>
        <pc:spChg chg="add del mod">
          <ac:chgData name="Steiner Andreas 6206 ED" userId="e6377c33-a923-4f14-8587-531c474c7b48" providerId="ADAL" clId="{6ECD27E6-B224-41CD-B4E0-E297462320DD}" dt="2023-11-24T08:40:54.377" v="41312"/>
          <ac:spMkLst>
            <pc:docMk/>
            <pc:sldMk cId="3975964758" sldId="2147478571"/>
            <ac:spMk id="278" creationId="{2F67A0F5-7BD5-E3B5-7E1A-E70A3AD3C4CA}"/>
          </ac:spMkLst>
        </pc:spChg>
        <pc:spChg chg="add del mod">
          <ac:chgData name="Steiner Andreas 6206 ED" userId="e6377c33-a923-4f14-8587-531c474c7b48" providerId="ADAL" clId="{6ECD27E6-B224-41CD-B4E0-E297462320DD}" dt="2023-11-24T08:40:56.843" v="41467"/>
          <ac:spMkLst>
            <pc:docMk/>
            <pc:sldMk cId="3975964758" sldId="2147478571"/>
            <ac:spMk id="279" creationId="{9E4E0AEF-F38C-8790-3778-6F05EB541547}"/>
          </ac:spMkLst>
        </pc:spChg>
        <pc:spChg chg="add del mod">
          <ac:chgData name="Steiner Andreas 6206 ED" userId="e6377c33-a923-4f14-8587-531c474c7b48" providerId="ADAL" clId="{6ECD27E6-B224-41CD-B4E0-E297462320DD}" dt="2023-11-24T08:40:59.546" v="41622"/>
          <ac:spMkLst>
            <pc:docMk/>
            <pc:sldMk cId="3975964758" sldId="2147478571"/>
            <ac:spMk id="280" creationId="{132643E5-4D42-CB25-E42B-DDA20078AE0A}"/>
          </ac:spMkLst>
        </pc:spChg>
        <pc:spChg chg="add del mod">
          <ac:chgData name="Steiner Andreas 6206 ED" userId="e6377c33-a923-4f14-8587-531c474c7b48" providerId="ADAL" clId="{6ECD27E6-B224-41CD-B4E0-E297462320DD}" dt="2023-11-24T08:41:02.522" v="41777"/>
          <ac:spMkLst>
            <pc:docMk/>
            <pc:sldMk cId="3975964758" sldId="2147478571"/>
            <ac:spMk id="281" creationId="{F876AE87-59B6-1A3A-E2FF-18DF82AD8109}"/>
          </ac:spMkLst>
        </pc:spChg>
        <pc:spChg chg="add del mod">
          <ac:chgData name="Steiner Andreas 6206 ED" userId="e6377c33-a923-4f14-8587-531c474c7b48" providerId="ADAL" clId="{6ECD27E6-B224-41CD-B4E0-E297462320DD}" dt="2023-11-24T08:41:05.247" v="41932"/>
          <ac:spMkLst>
            <pc:docMk/>
            <pc:sldMk cId="3975964758" sldId="2147478571"/>
            <ac:spMk id="282" creationId="{F705A8A4-0F86-8573-34BD-2BABA04859C0}"/>
          </ac:spMkLst>
        </pc:spChg>
        <pc:spChg chg="add del mod">
          <ac:chgData name="Steiner Andreas 6206 ED" userId="e6377c33-a923-4f14-8587-531c474c7b48" providerId="ADAL" clId="{6ECD27E6-B224-41CD-B4E0-E297462320DD}" dt="2023-11-24T08:41:08.517" v="42087"/>
          <ac:spMkLst>
            <pc:docMk/>
            <pc:sldMk cId="3975964758" sldId="2147478571"/>
            <ac:spMk id="283" creationId="{336C2A50-9CF0-4BCF-E0DC-4B7189B4B3B7}"/>
          </ac:spMkLst>
        </pc:spChg>
        <pc:spChg chg="add del mod">
          <ac:chgData name="Steiner Andreas 6206 ED" userId="e6377c33-a923-4f14-8587-531c474c7b48" providerId="ADAL" clId="{6ECD27E6-B224-41CD-B4E0-E297462320DD}" dt="2023-11-24T08:41:12.432" v="42242"/>
          <ac:spMkLst>
            <pc:docMk/>
            <pc:sldMk cId="3975964758" sldId="2147478571"/>
            <ac:spMk id="284" creationId="{54A42EA2-2262-BFC4-D5D6-14E83A9A739E}"/>
          </ac:spMkLst>
        </pc:spChg>
        <pc:spChg chg="add del mod">
          <ac:chgData name="Steiner Andreas 6206 ED" userId="e6377c33-a923-4f14-8587-531c474c7b48" providerId="ADAL" clId="{6ECD27E6-B224-41CD-B4E0-E297462320DD}" dt="2023-11-24T08:41:15.225" v="42397"/>
          <ac:spMkLst>
            <pc:docMk/>
            <pc:sldMk cId="3975964758" sldId="2147478571"/>
            <ac:spMk id="285" creationId="{F4DDC235-2E6F-D349-2371-DD6C38FED862}"/>
          </ac:spMkLst>
        </pc:spChg>
        <pc:spChg chg="add del mod">
          <ac:chgData name="Steiner Andreas 6206 ED" userId="e6377c33-a923-4f14-8587-531c474c7b48" providerId="ADAL" clId="{6ECD27E6-B224-41CD-B4E0-E297462320DD}" dt="2023-11-24T08:41:17.369" v="42552"/>
          <ac:spMkLst>
            <pc:docMk/>
            <pc:sldMk cId="3975964758" sldId="2147478571"/>
            <ac:spMk id="286" creationId="{263C17A4-DE7B-5CD0-9F70-13FEADD58009}"/>
          </ac:spMkLst>
        </pc:spChg>
        <pc:spChg chg="add del mod">
          <ac:chgData name="Steiner Andreas 6206 ED" userId="e6377c33-a923-4f14-8587-531c474c7b48" providerId="ADAL" clId="{6ECD27E6-B224-41CD-B4E0-E297462320DD}" dt="2023-11-24T08:41:19.809" v="42707"/>
          <ac:spMkLst>
            <pc:docMk/>
            <pc:sldMk cId="3975964758" sldId="2147478571"/>
            <ac:spMk id="287" creationId="{4ADF42BE-2D2E-749B-990A-95123F994254}"/>
          </ac:spMkLst>
        </pc:spChg>
        <pc:spChg chg="add del mod">
          <ac:chgData name="Steiner Andreas 6206 ED" userId="e6377c33-a923-4f14-8587-531c474c7b48" providerId="ADAL" clId="{6ECD27E6-B224-41CD-B4E0-E297462320DD}" dt="2023-11-24T08:41:22.138" v="42862"/>
          <ac:spMkLst>
            <pc:docMk/>
            <pc:sldMk cId="3975964758" sldId="2147478571"/>
            <ac:spMk id="288" creationId="{483BD9AB-6448-E270-853B-B384B48E1914}"/>
          </ac:spMkLst>
        </pc:spChg>
        <pc:spChg chg="add del mod">
          <ac:chgData name="Steiner Andreas 6206 ED" userId="e6377c33-a923-4f14-8587-531c474c7b48" providerId="ADAL" clId="{6ECD27E6-B224-41CD-B4E0-E297462320DD}" dt="2023-11-24T08:41:24.284" v="43017"/>
          <ac:spMkLst>
            <pc:docMk/>
            <pc:sldMk cId="3975964758" sldId="2147478571"/>
            <ac:spMk id="289" creationId="{653EBC15-02BE-42AE-AFC9-CE554B0663C2}"/>
          </ac:spMkLst>
        </pc:spChg>
        <pc:spChg chg="add del mod">
          <ac:chgData name="Steiner Andreas 6206 ED" userId="e6377c33-a923-4f14-8587-531c474c7b48" providerId="ADAL" clId="{6ECD27E6-B224-41CD-B4E0-E297462320DD}" dt="2023-11-24T08:41:26.784" v="43172"/>
          <ac:spMkLst>
            <pc:docMk/>
            <pc:sldMk cId="3975964758" sldId="2147478571"/>
            <ac:spMk id="290" creationId="{CD722345-28A8-C796-577B-2472DB44D0C2}"/>
          </ac:spMkLst>
        </pc:spChg>
        <pc:spChg chg="add del mod">
          <ac:chgData name="Steiner Andreas 6206 ED" userId="e6377c33-a923-4f14-8587-531c474c7b48" providerId="ADAL" clId="{6ECD27E6-B224-41CD-B4E0-E297462320DD}" dt="2023-11-24T08:41:28.936" v="43327"/>
          <ac:spMkLst>
            <pc:docMk/>
            <pc:sldMk cId="3975964758" sldId="2147478571"/>
            <ac:spMk id="291" creationId="{BD46CE42-3C9F-0D75-64CF-72AB17445C30}"/>
          </ac:spMkLst>
        </pc:spChg>
        <pc:spChg chg="add del mod">
          <ac:chgData name="Steiner Andreas 6206 ED" userId="e6377c33-a923-4f14-8587-531c474c7b48" providerId="ADAL" clId="{6ECD27E6-B224-41CD-B4E0-E297462320DD}" dt="2023-11-24T08:41:31.137" v="43482"/>
          <ac:spMkLst>
            <pc:docMk/>
            <pc:sldMk cId="3975964758" sldId="2147478571"/>
            <ac:spMk id="292" creationId="{54994A0B-2A6D-8543-8954-8302AE3A5E71}"/>
          </ac:spMkLst>
        </pc:spChg>
        <pc:spChg chg="add del mod">
          <ac:chgData name="Steiner Andreas 6206 ED" userId="e6377c33-a923-4f14-8587-531c474c7b48" providerId="ADAL" clId="{6ECD27E6-B224-41CD-B4E0-E297462320DD}" dt="2023-11-24T08:41:35.548" v="43637"/>
          <ac:spMkLst>
            <pc:docMk/>
            <pc:sldMk cId="3975964758" sldId="2147478571"/>
            <ac:spMk id="293" creationId="{8D1393ED-415F-2AA4-0A9D-4C76CBA1E261}"/>
          </ac:spMkLst>
        </pc:spChg>
        <pc:spChg chg="add del mod">
          <ac:chgData name="Steiner Andreas 6206 ED" userId="e6377c33-a923-4f14-8587-531c474c7b48" providerId="ADAL" clId="{6ECD27E6-B224-41CD-B4E0-E297462320DD}" dt="2023-11-24T08:41:38.525" v="43792"/>
          <ac:spMkLst>
            <pc:docMk/>
            <pc:sldMk cId="3975964758" sldId="2147478571"/>
            <ac:spMk id="294" creationId="{807F2AF6-7F13-704F-05A8-DE0BFF09DC3F}"/>
          </ac:spMkLst>
        </pc:spChg>
        <pc:spChg chg="add del mod">
          <ac:chgData name="Steiner Andreas 6206 ED" userId="e6377c33-a923-4f14-8587-531c474c7b48" providerId="ADAL" clId="{6ECD27E6-B224-41CD-B4E0-E297462320DD}" dt="2023-11-24T08:41:40.792" v="43947"/>
          <ac:spMkLst>
            <pc:docMk/>
            <pc:sldMk cId="3975964758" sldId="2147478571"/>
            <ac:spMk id="295" creationId="{5B8134EF-59BD-DA8A-D78D-22471C12AC8B}"/>
          </ac:spMkLst>
        </pc:spChg>
        <pc:spChg chg="add del mod">
          <ac:chgData name="Steiner Andreas 6206 ED" userId="e6377c33-a923-4f14-8587-531c474c7b48" providerId="ADAL" clId="{6ECD27E6-B224-41CD-B4E0-E297462320DD}" dt="2023-11-24T08:41:43.184" v="44102"/>
          <ac:spMkLst>
            <pc:docMk/>
            <pc:sldMk cId="3975964758" sldId="2147478571"/>
            <ac:spMk id="296" creationId="{C9ED82DC-D9CA-F7E2-5964-0266B5B5E94C}"/>
          </ac:spMkLst>
        </pc:spChg>
        <pc:spChg chg="add del mod">
          <ac:chgData name="Steiner Andreas 6206 ED" userId="e6377c33-a923-4f14-8587-531c474c7b48" providerId="ADAL" clId="{6ECD27E6-B224-41CD-B4E0-E297462320DD}" dt="2023-11-24T08:41:45.104" v="44257"/>
          <ac:spMkLst>
            <pc:docMk/>
            <pc:sldMk cId="3975964758" sldId="2147478571"/>
            <ac:spMk id="297" creationId="{BC349BA0-19D4-937E-E9A2-914191009C83}"/>
          </ac:spMkLst>
        </pc:spChg>
        <pc:spChg chg="add del mod">
          <ac:chgData name="Steiner Andreas 6206 ED" userId="e6377c33-a923-4f14-8587-531c474c7b48" providerId="ADAL" clId="{6ECD27E6-B224-41CD-B4E0-E297462320DD}" dt="2023-11-24T08:41:47.008" v="44412"/>
          <ac:spMkLst>
            <pc:docMk/>
            <pc:sldMk cId="3975964758" sldId="2147478571"/>
            <ac:spMk id="298" creationId="{1B7778AF-704B-AD64-1348-87CB28A56EE5}"/>
          </ac:spMkLst>
        </pc:spChg>
        <pc:spChg chg="add del mod">
          <ac:chgData name="Steiner Andreas 6206 ED" userId="e6377c33-a923-4f14-8587-531c474c7b48" providerId="ADAL" clId="{6ECD27E6-B224-41CD-B4E0-E297462320DD}" dt="2023-11-24T08:41:49.034" v="44567"/>
          <ac:spMkLst>
            <pc:docMk/>
            <pc:sldMk cId="3975964758" sldId="2147478571"/>
            <ac:spMk id="299" creationId="{7BAEF9D2-C655-D2E4-A2EA-094EF32FB11D}"/>
          </ac:spMkLst>
        </pc:spChg>
        <pc:spChg chg="add del mod">
          <ac:chgData name="Steiner Andreas 6206 ED" userId="e6377c33-a923-4f14-8587-531c474c7b48" providerId="ADAL" clId="{6ECD27E6-B224-41CD-B4E0-E297462320DD}" dt="2023-11-24T08:41:50.913" v="44722"/>
          <ac:spMkLst>
            <pc:docMk/>
            <pc:sldMk cId="3975964758" sldId="2147478571"/>
            <ac:spMk id="300" creationId="{F76AB1DC-68B6-0A72-D3C1-7ABA8BC2D40A}"/>
          </ac:spMkLst>
        </pc:spChg>
        <pc:spChg chg="add del mod">
          <ac:chgData name="Steiner Andreas 6206 ED" userId="e6377c33-a923-4f14-8587-531c474c7b48" providerId="ADAL" clId="{6ECD27E6-B224-41CD-B4E0-E297462320DD}" dt="2023-11-24T08:41:53.246" v="44877"/>
          <ac:spMkLst>
            <pc:docMk/>
            <pc:sldMk cId="3975964758" sldId="2147478571"/>
            <ac:spMk id="301" creationId="{96F6FEEB-19B4-AE93-D9F5-7A061155A5E1}"/>
          </ac:spMkLst>
        </pc:spChg>
        <pc:spChg chg="add del mod">
          <ac:chgData name="Steiner Andreas 6206 ED" userId="e6377c33-a923-4f14-8587-531c474c7b48" providerId="ADAL" clId="{6ECD27E6-B224-41CD-B4E0-E297462320DD}" dt="2023-11-24T08:41:55.177" v="45032"/>
          <ac:spMkLst>
            <pc:docMk/>
            <pc:sldMk cId="3975964758" sldId="2147478571"/>
            <ac:spMk id="302" creationId="{8A8C9FA1-5E72-D228-CF00-13D7DF8BFEB6}"/>
          </ac:spMkLst>
        </pc:spChg>
        <pc:spChg chg="add del mod">
          <ac:chgData name="Steiner Andreas 6206 ED" userId="e6377c33-a923-4f14-8587-531c474c7b48" providerId="ADAL" clId="{6ECD27E6-B224-41CD-B4E0-E297462320DD}" dt="2023-11-24T08:41:57.442" v="45187"/>
          <ac:spMkLst>
            <pc:docMk/>
            <pc:sldMk cId="3975964758" sldId="2147478571"/>
            <ac:spMk id="303" creationId="{C2A67CBB-2649-A164-37C6-6B9434C7FC21}"/>
          </ac:spMkLst>
        </pc:spChg>
        <pc:spChg chg="add del mod">
          <ac:chgData name="Steiner Andreas 6206 ED" userId="e6377c33-a923-4f14-8587-531c474c7b48" providerId="ADAL" clId="{6ECD27E6-B224-41CD-B4E0-E297462320DD}" dt="2023-11-24T08:41:59.592" v="45342"/>
          <ac:spMkLst>
            <pc:docMk/>
            <pc:sldMk cId="3975964758" sldId="2147478571"/>
            <ac:spMk id="304" creationId="{21330CB7-E542-2F45-4144-6BBEEA10EB39}"/>
          </ac:spMkLst>
        </pc:spChg>
        <pc:spChg chg="add del mod">
          <ac:chgData name="Steiner Andreas 6206 ED" userId="e6377c33-a923-4f14-8587-531c474c7b48" providerId="ADAL" clId="{6ECD27E6-B224-41CD-B4E0-E297462320DD}" dt="2023-11-24T08:42:01.822" v="45497"/>
          <ac:spMkLst>
            <pc:docMk/>
            <pc:sldMk cId="3975964758" sldId="2147478571"/>
            <ac:spMk id="305" creationId="{D4BE89B6-3FF6-FA65-F1A3-633205ACB6F2}"/>
          </ac:spMkLst>
        </pc:spChg>
        <pc:spChg chg="add del mod">
          <ac:chgData name="Steiner Andreas 6206 ED" userId="e6377c33-a923-4f14-8587-531c474c7b48" providerId="ADAL" clId="{6ECD27E6-B224-41CD-B4E0-E297462320DD}" dt="2023-11-24T08:42:03.840" v="45652"/>
          <ac:spMkLst>
            <pc:docMk/>
            <pc:sldMk cId="3975964758" sldId="2147478571"/>
            <ac:spMk id="306" creationId="{7A8CAFC4-EA63-1706-CF60-C06C946E8C24}"/>
          </ac:spMkLst>
        </pc:spChg>
        <pc:spChg chg="add del mod">
          <ac:chgData name="Steiner Andreas 6206 ED" userId="e6377c33-a923-4f14-8587-531c474c7b48" providerId="ADAL" clId="{6ECD27E6-B224-41CD-B4E0-E297462320DD}" dt="2023-11-24T08:42:05.799" v="45807"/>
          <ac:spMkLst>
            <pc:docMk/>
            <pc:sldMk cId="3975964758" sldId="2147478571"/>
            <ac:spMk id="307" creationId="{BD8B71B9-13D9-A527-2773-F7563D73C1E2}"/>
          </ac:spMkLst>
        </pc:spChg>
        <pc:spChg chg="add del mod">
          <ac:chgData name="Steiner Andreas 6206 ED" userId="e6377c33-a923-4f14-8587-531c474c7b48" providerId="ADAL" clId="{6ECD27E6-B224-41CD-B4E0-E297462320DD}" dt="2023-11-24T08:42:07.699" v="45962"/>
          <ac:spMkLst>
            <pc:docMk/>
            <pc:sldMk cId="3975964758" sldId="2147478571"/>
            <ac:spMk id="308" creationId="{FDA75609-4882-0865-0DC5-DC1EDEA0D05C}"/>
          </ac:spMkLst>
        </pc:spChg>
        <pc:spChg chg="add del mod">
          <ac:chgData name="Steiner Andreas 6206 ED" userId="e6377c33-a923-4f14-8587-531c474c7b48" providerId="ADAL" clId="{6ECD27E6-B224-41CD-B4E0-E297462320DD}" dt="2023-11-24T08:42:09.598" v="46117"/>
          <ac:spMkLst>
            <pc:docMk/>
            <pc:sldMk cId="3975964758" sldId="2147478571"/>
            <ac:spMk id="309" creationId="{D2E54672-34B6-F736-D8AB-B795C355D993}"/>
          </ac:spMkLst>
        </pc:spChg>
        <pc:spChg chg="add del mod">
          <ac:chgData name="Steiner Andreas 6206 ED" userId="e6377c33-a923-4f14-8587-531c474c7b48" providerId="ADAL" clId="{6ECD27E6-B224-41CD-B4E0-E297462320DD}" dt="2023-11-24T08:42:11.939" v="46272"/>
          <ac:spMkLst>
            <pc:docMk/>
            <pc:sldMk cId="3975964758" sldId="2147478571"/>
            <ac:spMk id="310" creationId="{A819F99B-B723-EBD0-DE4A-5A3508116E01}"/>
          </ac:spMkLst>
        </pc:spChg>
        <pc:spChg chg="add del mod">
          <ac:chgData name="Steiner Andreas 6206 ED" userId="e6377c33-a923-4f14-8587-531c474c7b48" providerId="ADAL" clId="{6ECD27E6-B224-41CD-B4E0-E297462320DD}" dt="2023-11-24T08:42:14.363" v="46427"/>
          <ac:spMkLst>
            <pc:docMk/>
            <pc:sldMk cId="3975964758" sldId="2147478571"/>
            <ac:spMk id="311" creationId="{B6C574FF-9D0A-254F-812F-643A10799D24}"/>
          </ac:spMkLst>
        </pc:spChg>
        <pc:spChg chg="add del mod">
          <ac:chgData name="Steiner Andreas 6206 ED" userId="e6377c33-a923-4f14-8587-531c474c7b48" providerId="ADAL" clId="{6ECD27E6-B224-41CD-B4E0-E297462320DD}" dt="2023-11-24T08:42:16.869" v="46582"/>
          <ac:spMkLst>
            <pc:docMk/>
            <pc:sldMk cId="3975964758" sldId="2147478571"/>
            <ac:spMk id="312" creationId="{7ACE1F3D-68EF-3514-E6EA-AE05528E5827}"/>
          </ac:spMkLst>
        </pc:spChg>
        <pc:spChg chg="add del mod">
          <ac:chgData name="Steiner Andreas 6206 ED" userId="e6377c33-a923-4f14-8587-531c474c7b48" providerId="ADAL" clId="{6ECD27E6-B224-41CD-B4E0-E297462320DD}" dt="2023-11-24T08:42:18.990" v="46737"/>
          <ac:spMkLst>
            <pc:docMk/>
            <pc:sldMk cId="3975964758" sldId="2147478571"/>
            <ac:spMk id="313" creationId="{2A2C9527-CF3A-C6DC-A17E-3B1134BB021D}"/>
          </ac:spMkLst>
        </pc:spChg>
        <pc:spChg chg="add del mod">
          <ac:chgData name="Steiner Andreas 6206 ED" userId="e6377c33-a923-4f14-8587-531c474c7b48" providerId="ADAL" clId="{6ECD27E6-B224-41CD-B4E0-E297462320DD}" dt="2023-11-24T08:42:21.301" v="46892"/>
          <ac:spMkLst>
            <pc:docMk/>
            <pc:sldMk cId="3975964758" sldId="2147478571"/>
            <ac:spMk id="314" creationId="{36FEEDE4-508C-F2FB-289C-840AE097165F}"/>
          </ac:spMkLst>
        </pc:spChg>
        <pc:spChg chg="add del mod">
          <ac:chgData name="Steiner Andreas 6206 ED" userId="e6377c33-a923-4f14-8587-531c474c7b48" providerId="ADAL" clId="{6ECD27E6-B224-41CD-B4E0-E297462320DD}" dt="2023-11-24T08:42:23.942" v="47047"/>
          <ac:spMkLst>
            <pc:docMk/>
            <pc:sldMk cId="3975964758" sldId="2147478571"/>
            <ac:spMk id="315" creationId="{1AF9C10E-AEF7-5BD3-3F78-213353E55855}"/>
          </ac:spMkLst>
        </pc:spChg>
        <pc:spChg chg="add del mod">
          <ac:chgData name="Steiner Andreas 6206 ED" userId="e6377c33-a923-4f14-8587-531c474c7b48" providerId="ADAL" clId="{6ECD27E6-B224-41CD-B4E0-E297462320DD}" dt="2023-11-24T08:42:25.936" v="47202"/>
          <ac:spMkLst>
            <pc:docMk/>
            <pc:sldMk cId="3975964758" sldId="2147478571"/>
            <ac:spMk id="316" creationId="{8D5B508F-0F66-7A15-4CAB-D5BC1E33EA13}"/>
          </ac:spMkLst>
        </pc:spChg>
        <pc:spChg chg="add del mod">
          <ac:chgData name="Steiner Andreas 6206 ED" userId="e6377c33-a923-4f14-8587-531c474c7b48" providerId="ADAL" clId="{6ECD27E6-B224-41CD-B4E0-E297462320DD}" dt="2023-11-24T08:42:27.837" v="47357"/>
          <ac:spMkLst>
            <pc:docMk/>
            <pc:sldMk cId="3975964758" sldId="2147478571"/>
            <ac:spMk id="317" creationId="{F3382AA2-8439-55B6-9B8A-597CB9EF2060}"/>
          </ac:spMkLst>
        </pc:spChg>
        <pc:spChg chg="add del mod">
          <ac:chgData name="Steiner Andreas 6206 ED" userId="e6377c33-a923-4f14-8587-531c474c7b48" providerId="ADAL" clId="{6ECD27E6-B224-41CD-B4E0-E297462320DD}" dt="2023-11-24T08:42:29.605" v="47512"/>
          <ac:spMkLst>
            <pc:docMk/>
            <pc:sldMk cId="3975964758" sldId="2147478571"/>
            <ac:spMk id="318" creationId="{9134AEEF-9AB8-D175-180B-3F4795DC6FAB}"/>
          </ac:spMkLst>
        </pc:spChg>
        <pc:spChg chg="add del mod">
          <ac:chgData name="Steiner Andreas 6206 ED" userId="e6377c33-a923-4f14-8587-531c474c7b48" providerId="ADAL" clId="{6ECD27E6-B224-41CD-B4E0-E297462320DD}" dt="2023-11-24T08:42:31.488" v="47667"/>
          <ac:spMkLst>
            <pc:docMk/>
            <pc:sldMk cId="3975964758" sldId="2147478571"/>
            <ac:spMk id="319" creationId="{9481BC26-D865-639A-5194-CDE8BACCD693}"/>
          </ac:spMkLst>
        </pc:spChg>
        <pc:spChg chg="add del mod">
          <ac:chgData name="Steiner Andreas 6206 ED" userId="e6377c33-a923-4f14-8587-531c474c7b48" providerId="ADAL" clId="{6ECD27E6-B224-41CD-B4E0-E297462320DD}" dt="2023-11-24T08:42:33.475" v="47822"/>
          <ac:spMkLst>
            <pc:docMk/>
            <pc:sldMk cId="3975964758" sldId="2147478571"/>
            <ac:spMk id="320" creationId="{0513CCAD-4CE1-F97B-8A7B-AF01FB94FE1C}"/>
          </ac:spMkLst>
        </pc:spChg>
        <pc:spChg chg="add del mod">
          <ac:chgData name="Steiner Andreas 6206 ED" userId="e6377c33-a923-4f14-8587-531c474c7b48" providerId="ADAL" clId="{6ECD27E6-B224-41CD-B4E0-E297462320DD}" dt="2023-11-24T08:42:35.542" v="47977"/>
          <ac:spMkLst>
            <pc:docMk/>
            <pc:sldMk cId="3975964758" sldId="2147478571"/>
            <ac:spMk id="321" creationId="{3CE0717A-B1E8-F349-7057-7252584F35C7}"/>
          </ac:spMkLst>
        </pc:spChg>
        <pc:spChg chg="add del mod">
          <ac:chgData name="Steiner Andreas 6206 ED" userId="e6377c33-a923-4f14-8587-531c474c7b48" providerId="ADAL" clId="{6ECD27E6-B224-41CD-B4E0-E297462320DD}" dt="2023-11-24T08:42:37.430" v="48132"/>
          <ac:spMkLst>
            <pc:docMk/>
            <pc:sldMk cId="3975964758" sldId="2147478571"/>
            <ac:spMk id="322" creationId="{93687166-8B9F-6C31-432A-3949B903045F}"/>
          </ac:spMkLst>
        </pc:spChg>
        <pc:spChg chg="add del mod">
          <ac:chgData name="Steiner Andreas 6206 ED" userId="e6377c33-a923-4f14-8587-531c474c7b48" providerId="ADAL" clId="{6ECD27E6-B224-41CD-B4E0-E297462320DD}" dt="2023-11-24T08:42:39.297" v="48287"/>
          <ac:spMkLst>
            <pc:docMk/>
            <pc:sldMk cId="3975964758" sldId="2147478571"/>
            <ac:spMk id="323" creationId="{274EA182-C43A-1448-F998-FD27905D08BD}"/>
          </ac:spMkLst>
        </pc:spChg>
        <pc:spChg chg="add del mod">
          <ac:chgData name="Steiner Andreas 6206 ED" userId="e6377c33-a923-4f14-8587-531c474c7b48" providerId="ADAL" clId="{6ECD27E6-B224-41CD-B4E0-E297462320DD}" dt="2023-11-24T08:42:41.404" v="48442"/>
          <ac:spMkLst>
            <pc:docMk/>
            <pc:sldMk cId="3975964758" sldId="2147478571"/>
            <ac:spMk id="324" creationId="{DBAB07B5-436E-5918-A8A6-028EDB735B28}"/>
          </ac:spMkLst>
        </pc:spChg>
        <pc:spChg chg="add del mod">
          <ac:chgData name="Steiner Andreas 6206 ED" userId="e6377c33-a923-4f14-8587-531c474c7b48" providerId="ADAL" clId="{6ECD27E6-B224-41CD-B4E0-E297462320DD}" dt="2023-11-24T08:42:43.519" v="48597"/>
          <ac:spMkLst>
            <pc:docMk/>
            <pc:sldMk cId="3975964758" sldId="2147478571"/>
            <ac:spMk id="325" creationId="{A177C841-0EC1-8676-1D15-050999ABA596}"/>
          </ac:spMkLst>
        </pc:spChg>
        <pc:spChg chg="add del mod">
          <ac:chgData name="Steiner Andreas 6206 ED" userId="e6377c33-a923-4f14-8587-531c474c7b48" providerId="ADAL" clId="{6ECD27E6-B224-41CD-B4E0-E297462320DD}" dt="2023-11-24T08:42:45.546" v="48752"/>
          <ac:spMkLst>
            <pc:docMk/>
            <pc:sldMk cId="3975964758" sldId="2147478571"/>
            <ac:spMk id="326" creationId="{CD9018ED-F799-E3CF-FF5A-446E21C8F9CB}"/>
          </ac:spMkLst>
        </pc:spChg>
        <pc:spChg chg="add del mod">
          <ac:chgData name="Steiner Andreas 6206 ED" userId="e6377c33-a923-4f14-8587-531c474c7b48" providerId="ADAL" clId="{6ECD27E6-B224-41CD-B4E0-E297462320DD}" dt="2023-11-24T08:42:47.439" v="48907"/>
          <ac:spMkLst>
            <pc:docMk/>
            <pc:sldMk cId="3975964758" sldId="2147478571"/>
            <ac:spMk id="327" creationId="{CA97A78B-6B7A-1035-4AFD-466C3E36E9C7}"/>
          </ac:spMkLst>
        </pc:spChg>
        <pc:spChg chg="add del mod">
          <ac:chgData name="Steiner Andreas 6206 ED" userId="e6377c33-a923-4f14-8587-531c474c7b48" providerId="ADAL" clId="{6ECD27E6-B224-41CD-B4E0-E297462320DD}" dt="2023-11-24T08:42:49.247" v="49062"/>
          <ac:spMkLst>
            <pc:docMk/>
            <pc:sldMk cId="3975964758" sldId="2147478571"/>
            <ac:spMk id="328" creationId="{ECBA43FC-285A-F97F-118B-F9C576C79C62}"/>
          </ac:spMkLst>
        </pc:spChg>
        <pc:spChg chg="add del mod">
          <ac:chgData name="Steiner Andreas 6206 ED" userId="e6377c33-a923-4f14-8587-531c474c7b48" providerId="ADAL" clId="{6ECD27E6-B224-41CD-B4E0-E297462320DD}" dt="2023-11-24T08:42:51.118" v="49217"/>
          <ac:spMkLst>
            <pc:docMk/>
            <pc:sldMk cId="3975964758" sldId="2147478571"/>
            <ac:spMk id="329" creationId="{A5032743-BAD0-DEAD-0723-A3F3C1F86BA3}"/>
          </ac:spMkLst>
        </pc:spChg>
        <pc:spChg chg="add del mod">
          <ac:chgData name="Steiner Andreas 6206 ED" userId="e6377c33-a923-4f14-8587-531c474c7b48" providerId="ADAL" clId="{6ECD27E6-B224-41CD-B4E0-E297462320DD}" dt="2023-11-24T08:42:53.203" v="49372"/>
          <ac:spMkLst>
            <pc:docMk/>
            <pc:sldMk cId="3975964758" sldId="2147478571"/>
            <ac:spMk id="330" creationId="{14A44FF9-DDE8-AAAD-6997-A521E39FE36D}"/>
          </ac:spMkLst>
        </pc:spChg>
        <pc:spChg chg="add del mod">
          <ac:chgData name="Steiner Andreas 6206 ED" userId="e6377c33-a923-4f14-8587-531c474c7b48" providerId="ADAL" clId="{6ECD27E6-B224-41CD-B4E0-E297462320DD}" dt="2023-11-24T08:42:55.802" v="49527"/>
          <ac:spMkLst>
            <pc:docMk/>
            <pc:sldMk cId="3975964758" sldId="2147478571"/>
            <ac:spMk id="331" creationId="{5466F60F-5469-6BF1-8DD9-717BC8D078F4}"/>
          </ac:spMkLst>
        </pc:spChg>
        <pc:spChg chg="add del mod">
          <ac:chgData name="Steiner Andreas 6206 ED" userId="e6377c33-a923-4f14-8587-531c474c7b48" providerId="ADAL" clId="{6ECD27E6-B224-41CD-B4E0-E297462320DD}" dt="2023-11-24T08:42:57.911" v="49682"/>
          <ac:spMkLst>
            <pc:docMk/>
            <pc:sldMk cId="3975964758" sldId="2147478571"/>
            <ac:spMk id="332" creationId="{E3C9222F-A4DC-1F53-125E-7C5184F81E21}"/>
          </ac:spMkLst>
        </pc:spChg>
        <pc:spChg chg="add del mod">
          <ac:chgData name="Steiner Andreas 6206 ED" userId="e6377c33-a923-4f14-8587-531c474c7b48" providerId="ADAL" clId="{6ECD27E6-B224-41CD-B4E0-E297462320DD}" dt="2023-11-24T08:42:59.843" v="49837"/>
          <ac:spMkLst>
            <pc:docMk/>
            <pc:sldMk cId="3975964758" sldId="2147478571"/>
            <ac:spMk id="333" creationId="{858BD0CF-2EF2-F1D7-22B2-0E83AE6C5114}"/>
          </ac:spMkLst>
        </pc:spChg>
        <pc:spChg chg="add del mod">
          <ac:chgData name="Steiner Andreas 6206 ED" userId="e6377c33-a923-4f14-8587-531c474c7b48" providerId="ADAL" clId="{6ECD27E6-B224-41CD-B4E0-E297462320DD}" dt="2023-11-24T08:43:01.836" v="49992"/>
          <ac:spMkLst>
            <pc:docMk/>
            <pc:sldMk cId="3975964758" sldId="2147478571"/>
            <ac:spMk id="334" creationId="{D58A0237-64F8-799A-67C3-92887EDEF06B}"/>
          </ac:spMkLst>
        </pc:spChg>
        <pc:spChg chg="add del mod">
          <ac:chgData name="Steiner Andreas 6206 ED" userId="e6377c33-a923-4f14-8587-531c474c7b48" providerId="ADAL" clId="{6ECD27E6-B224-41CD-B4E0-E297462320DD}" dt="2023-11-24T08:43:03.825" v="50147"/>
          <ac:spMkLst>
            <pc:docMk/>
            <pc:sldMk cId="3975964758" sldId="2147478571"/>
            <ac:spMk id="335" creationId="{D13FE1F5-9739-9AA3-4086-97EC6BC7DB5D}"/>
          </ac:spMkLst>
        </pc:spChg>
        <pc:spChg chg="add del mod">
          <ac:chgData name="Steiner Andreas 6206 ED" userId="e6377c33-a923-4f14-8587-531c474c7b48" providerId="ADAL" clId="{6ECD27E6-B224-41CD-B4E0-E297462320DD}" dt="2023-11-24T08:43:05.699" v="50302"/>
          <ac:spMkLst>
            <pc:docMk/>
            <pc:sldMk cId="3975964758" sldId="2147478571"/>
            <ac:spMk id="336" creationId="{572363EF-02AB-8A65-240D-6797F025B411}"/>
          </ac:spMkLst>
        </pc:spChg>
        <pc:spChg chg="add del mod">
          <ac:chgData name="Steiner Andreas 6206 ED" userId="e6377c33-a923-4f14-8587-531c474c7b48" providerId="ADAL" clId="{6ECD27E6-B224-41CD-B4E0-E297462320DD}" dt="2023-11-24T08:43:07.895" v="50457"/>
          <ac:spMkLst>
            <pc:docMk/>
            <pc:sldMk cId="3975964758" sldId="2147478571"/>
            <ac:spMk id="337" creationId="{180F6463-9E65-7D12-445A-8D1B2D0898C2}"/>
          </ac:spMkLst>
        </pc:spChg>
        <pc:spChg chg="add del mod">
          <ac:chgData name="Steiner Andreas 6206 ED" userId="e6377c33-a923-4f14-8587-531c474c7b48" providerId="ADAL" clId="{6ECD27E6-B224-41CD-B4E0-E297462320DD}" dt="2023-11-24T08:43:09.977" v="50612"/>
          <ac:spMkLst>
            <pc:docMk/>
            <pc:sldMk cId="3975964758" sldId="2147478571"/>
            <ac:spMk id="338" creationId="{3E249E8F-0600-1E3C-5335-A0A92F6B1BFA}"/>
          </ac:spMkLst>
        </pc:spChg>
        <pc:spChg chg="add del mod">
          <ac:chgData name="Steiner Andreas 6206 ED" userId="e6377c33-a923-4f14-8587-531c474c7b48" providerId="ADAL" clId="{6ECD27E6-B224-41CD-B4E0-E297462320DD}" dt="2023-11-24T08:43:11.810" v="50767"/>
          <ac:spMkLst>
            <pc:docMk/>
            <pc:sldMk cId="3975964758" sldId="2147478571"/>
            <ac:spMk id="339" creationId="{049E62FD-CF46-4669-CC3A-A4ADE5C54372}"/>
          </ac:spMkLst>
        </pc:spChg>
        <pc:spChg chg="add del mod">
          <ac:chgData name="Steiner Andreas 6206 ED" userId="e6377c33-a923-4f14-8587-531c474c7b48" providerId="ADAL" clId="{6ECD27E6-B224-41CD-B4E0-E297462320DD}" dt="2023-11-24T08:43:13.866" v="50922"/>
          <ac:spMkLst>
            <pc:docMk/>
            <pc:sldMk cId="3975964758" sldId="2147478571"/>
            <ac:spMk id="340" creationId="{AAF970E5-85FE-7C13-D1D9-3140A61F7AD1}"/>
          </ac:spMkLst>
        </pc:spChg>
        <pc:spChg chg="add del mod">
          <ac:chgData name="Steiner Andreas 6206 ED" userId="e6377c33-a923-4f14-8587-531c474c7b48" providerId="ADAL" clId="{6ECD27E6-B224-41CD-B4E0-E297462320DD}" dt="2023-11-24T08:43:15.838" v="51077"/>
          <ac:spMkLst>
            <pc:docMk/>
            <pc:sldMk cId="3975964758" sldId="2147478571"/>
            <ac:spMk id="341" creationId="{874F465D-9557-28F9-213B-B486EDDEEDDA}"/>
          </ac:spMkLst>
        </pc:spChg>
        <pc:spChg chg="add del mod">
          <ac:chgData name="Steiner Andreas 6206 ED" userId="e6377c33-a923-4f14-8587-531c474c7b48" providerId="ADAL" clId="{6ECD27E6-B224-41CD-B4E0-E297462320DD}" dt="2023-11-24T08:43:17.925" v="51232"/>
          <ac:spMkLst>
            <pc:docMk/>
            <pc:sldMk cId="3975964758" sldId="2147478571"/>
            <ac:spMk id="342" creationId="{0CFB1D22-F4C6-558C-BACA-F289CD1A8B14}"/>
          </ac:spMkLst>
        </pc:spChg>
        <pc:spChg chg="add del mod">
          <ac:chgData name="Steiner Andreas 6206 ED" userId="e6377c33-a923-4f14-8587-531c474c7b48" providerId="ADAL" clId="{6ECD27E6-B224-41CD-B4E0-E297462320DD}" dt="2023-11-24T08:43:19.907" v="51387"/>
          <ac:spMkLst>
            <pc:docMk/>
            <pc:sldMk cId="3975964758" sldId="2147478571"/>
            <ac:spMk id="343" creationId="{B5879990-F4F5-90D8-B157-16ABD59A353C}"/>
          </ac:spMkLst>
        </pc:spChg>
        <pc:spChg chg="add del mod">
          <ac:chgData name="Steiner Andreas 6206 ED" userId="e6377c33-a923-4f14-8587-531c474c7b48" providerId="ADAL" clId="{6ECD27E6-B224-41CD-B4E0-E297462320DD}" dt="2023-11-24T08:43:21.818" v="51542"/>
          <ac:spMkLst>
            <pc:docMk/>
            <pc:sldMk cId="3975964758" sldId="2147478571"/>
            <ac:spMk id="344" creationId="{1CC3AD14-98DB-B02D-5777-D36C446A3330}"/>
          </ac:spMkLst>
        </pc:spChg>
        <pc:spChg chg="add del mod">
          <ac:chgData name="Steiner Andreas 6206 ED" userId="e6377c33-a923-4f14-8587-531c474c7b48" providerId="ADAL" clId="{6ECD27E6-B224-41CD-B4E0-E297462320DD}" dt="2023-11-24T08:43:23.744" v="51697"/>
          <ac:spMkLst>
            <pc:docMk/>
            <pc:sldMk cId="3975964758" sldId="2147478571"/>
            <ac:spMk id="345" creationId="{ED9F3AB7-8238-E558-DA91-6C402005A76B}"/>
          </ac:spMkLst>
        </pc:spChg>
        <pc:spChg chg="add del mod">
          <ac:chgData name="Steiner Andreas 6206 ED" userId="e6377c33-a923-4f14-8587-531c474c7b48" providerId="ADAL" clId="{6ECD27E6-B224-41CD-B4E0-E297462320DD}" dt="2023-11-24T08:43:25.644" v="51852"/>
          <ac:spMkLst>
            <pc:docMk/>
            <pc:sldMk cId="3975964758" sldId="2147478571"/>
            <ac:spMk id="346" creationId="{1DAFDC0B-3409-037D-7AC5-2876B572708E}"/>
          </ac:spMkLst>
        </pc:spChg>
        <pc:spChg chg="add del mod">
          <ac:chgData name="Steiner Andreas 6206 ED" userId="e6377c33-a923-4f14-8587-531c474c7b48" providerId="ADAL" clId="{6ECD27E6-B224-41CD-B4E0-E297462320DD}" dt="2023-11-24T08:43:27.458" v="52007"/>
          <ac:spMkLst>
            <pc:docMk/>
            <pc:sldMk cId="3975964758" sldId="2147478571"/>
            <ac:spMk id="347" creationId="{EE243AD9-EAB8-5765-867B-482A48E3A8C6}"/>
          </ac:spMkLst>
        </pc:spChg>
        <pc:spChg chg="add del mod">
          <ac:chgData name="Steiner Andreas 6206 ED" userId="e6377c33-a923-4f14-8587-531c474c7b48" providerId="ADAL" clId="{6ECD27E6-B224-41CD-B4E0-E297462320DD}" dt="2023-11-24T08:43:29.279" v="52162"/>
          <ac:spMkLst>
            <pc:docMk/>
            <pc:sldMk cId="3975964758" sldId="2147478571"/>
            <ac:spMk id="348" creationId="{B5F9DD20-A4B7-6D03-32D4-66F4A1ADC9A6}"/>
          </ac:spMkLst>
        </pc:spChg>
        <pc:spChg chg="add del mod">
          <ac:chgData name="Steiner Andreas 6206 ED" userId="e6377c33-a923-4f14-8587-531c474c7b48" providerId="ADAL" clId="{6ECD27E6-B224-41CD-B4E0-E297462320DD}" dt="2023-11-24T08:43:31.927" v="52317"/>
          <ac:spMkLst>
            <pc:docMk/>
            <pc:sldMk cId="3975964758" sldId="2147478571"/>
            <ac:spMk id="349" creationId="{8AA30730-FE59-BEF7-637C-0DFADC6CDEEA}"/>
          </ac:spMkLst>
        </pc:spChg>
        <pc:spChg chg="add del mod">
          <ac:chgData name="Steiner Andreas 6206 ED" userId="e6377c33-a923-4f14-8587-531c474c7b48" providerId="ADAL" clId="{6ECD27E6-B224-41CD-B4E0-E297462320DD}" dt="2023-11-24T08:43:34.465" v="52472"/>
          <ac:spMkLst>
            <pc:docMk/>
            <pc:sldMk cId="3975964758" sldId="2147478571"/>
            <ac:spMk id="350" creationId="{9BADC412-00EA-C334-76CD-2C9615876843}"/>
          </ac:spMkLst>
        </pc:spChg>
        <pc:spChg chg="add del mod">
          <ac:chgData name="Steiner Andreas 6206 ED" userId="e6377c33-a923-4f14-8587-531c474c7b48" providerId="ADAL" clId="{6ECD27E6-B224-41CD-B4E0-E297462320DD}" dt="2023-11-24T08:43:36.556" v="52627"/>
          <ac:spMkLst>
            <pc:docMk/>
            <pc:sldMk cId="3975964758" sldId="2147478571"/>
            <ac:spMk id="351" creationId="{32D2949D-52F9-1B3E-EF1D-76D8B42351DA}"/>
          </ac:spMkLst>
        </pc:spChg>
        <pc:spChg chg="add del mod">
          <ac:chgData name="Steiner Andreas 6206 ED" userId="e6377c33-a923-4f14-8587-531c474c7b48" providerId="ADAL" clId="{6ECD27E6-B224-41CD-B4E0-E297462320DD}" dt="2023-11-24T08:43:38.656" v="52782"/>
          <ac:spMkLst>
            <pc:docMk/>
            <pc:sldMk cId="3975964758" sldId="2147478571"/>
            <ac:spMk id="352" creationId="{59EF0C0C-ACD3-004B-C69A-5004F5732432}"/>
          </ac:spMkLst>
        </pc:spChg>
        <pc:spChg chg="add del mod">
          <ac:chgData name="Steiner Andreas 6206 ED" userId="e6377c33-a923-4f14-8587-531c474c7b48" providerId="ADAL" clId="{6ECD27E6-B224-41CD-B4E0-E297462320DD}" dt="2023-11-24T08:43:40.781" v="52937"/>
          <ac:spMkLst>
            <pc:docMk/>
            <pc:sldMk cId="3975964758" sldId="2147478571"/>
            <ac:spMk id="353" creationId="{E1E7B634-450C-F206-0AF2-B56B70263055}"/>
          </ac:spMkLst>
        </pc:spChg>
        <pc:spChg chg="add del mod">
          <ac:chgData name="Steiner Andreas 6206 ED" userId="e6377c33-a923-4f14-8587-531c474c7b48" providerId="ADAL" clId="{6ECD27E6-B224-41CD-B4E0-E297462320DD}" dt="2023-11-24T08:43:42.763" v="53092"/>
          <ac:spMkLst>
            <pc:docMk/>
            <pc:sldMk cId="3975964758" sldId="2147478571"/>
            <ac:spMk id="354" creationId="{808F9FFB-EC6D-69C9-625E-0AA61CFCD7DA}"/>
          </ac:spMkLst>
        </pc:spChg>
        <pc:spChg chg="add del mod">
          <ac:chgData name="Steiner Andreas 6206 ED" userId="e6377c33-a923-4f14-8587-531c474c7b48" providerId="ADAL" clId="{6ECD27E6-B224-41CD-B4E0-E297462320DD}" dt="2023-11-24T08:43:44.587" v="53247"/>
          <ac:spMkLst>
            <pc:docMk/>
            <pc:sldMk cId="3975964758" sldId="2147478571"/>
            <ac:spMk id="355" creationId="{738A1619-D458-C726-A17F-3EDBBA636677}"/>
          </ac:spMkLst>
        </pc:spChg>
        <pc:spChg chg="add del mod">
          <ac:chgData name="Steiner Andreas 6206 ED" userId="e6377c33-a923-4f14-8587-531c474c7b48" providerId="ADAL" clId="{6ECD27E6-B224-41CD-B4E0-E297462320DD}" dt="2023-11-24T08:43:46.366" v="53402"/>
          <ac:spMkLst>
            <pc:docMk/>
            <pc:sldMk cId="3975964758" sldId="2147478571"/>
            <ac:spMk id="356" creationId="{09E3DCF3-F6D9-59F0-F459-BF13F89D2972}"/>
          </ac:spMkLst>
        </pc:spChg>
        <pc:spChg chg="add del mod">
          <ac:chgData name="Steiner Andreas 6206 ED" userId="e6377c33-a923-4f14-8587-531c474c7b48" providerId="ADAL" clId="{6ECD27E6-B224-41CD-B4E0-E297462320DD}" dt="2023-11-24T08:43:48.315" v="53557"/>
          <ac:spMkLst>
            <pc:docMk/>
            <pc:sldMk cId="3975964758" sldId="2147478571"/>
            <ac:spMk id="357" creationId="{1BE8D6E2-9816-6B11-DA7B-DFB39F3D5282}"/>
          </ac:spMkLst>
        </pc:spChg>
        <pc:spChg chg="add del mod">
          <ac:chgData name="Steiner Andreas 6206 ED" userId="e6377c33-a923-4f14-8587-531c474c7b48" providerId="ADAL" clId="{6ECD27E6-B224-41CD-B4E0-E297462320DD}" dt="2023-11-24T08:43:50.281" v="53712"/>
          <ac:spMkLst>
            <pc:docMk/>
            <pc:sldMk cId="3975964758" sldId="2147478571"/>
            <ac:spMk id="358" creationId="{4752828D-2D2F-1815-3448-8739B2D48077}"/>
          </ac:spMkLst>
        </pc:spChg>
        <pc:spChg chg="add del mod">
          <ac:chgData name="Steiner Andreas 6206 ED" userId="e6377c33-a923-4f14-8587-531c474c7b48" providerId="ADAL" clId="{6ECD27E6-B224-41CD-B4E0-E297462320DD}" dt="2023-11-24T08:43:52.388" v="53867"/>
          <ac:spMkLst>
            <pc:docMk/>
            <pc:sldMk cId="3975964758" sldId="2147478571"/>
            <ac:spMk id="359" creationId="{A8942742-B951-70C3-2C65-B066711B6A25}"/>
          </ac:spMkLst>
        </pc:spChg>
        <pc:spChg chg="add del mod">
          <ac:chgData name="Steiner Andreas 6206 ED" userId="e6377c33-a923-4f14-8587-531c474c7b48" providerId="ADAL" clId="{6ECD27E6-B224-41CD-B4E0-E297462320DD}" dt="2023-11-24T08:43:55.082" v="54022"/>
          <ac:spMkLst>
            <pc:docMk/>
            <pc:sldMk cId="3975964758" sldId="2147478571"/>
            <ac:spMk id="360" creationId="{6C8E65D8-FF52-AB80-96EB-A27B26DDF756}"/>
          </ac:spMkLst>
        </pc:spChg>
        <pc:spChg chg="add del mod">
          <ac:chgData name="Steiner Andreas 6206 ED" userId="e6377c33-a923-4f14-8587-531c474c7b48" providerId="ADAL" clId="{6ECD27E6-B224-41CD-B4E0-E297462320DD}" dt="2023-11-24T08:43:57.143" v="54177"/>
          <ac:spMkLst>
            <pc:docMk/>
            <pc:sldMk cId="3975964758" sldId="2147478571"/>
            <ac:spMk id="361" creationId="{E8478F09-E2F1-F08A-CC0B-B36B8BC5417B}"/>
          </ac:spMkLst>
        </pc:spChg>
        <pc:spChg chg="add del mod">
          <ac:chgData name="Steiner Andreas 6206 ED" userId="e6377c33-a923-4f14-8587-531c474c7b48" providerId="ADAL" clId="{6ECD27E6-B224-41CD-B4E0-E297462320DD}" dt="2023-11-24T08:43:59.288" v="54332"/>
          <ac:spMkLst>
            <pc:docMk/>
            <pc:sldMk cId="3975964758" sldId="2147478571"/>
            <ac:spMk id="362" creationId="{9C9F79D4-B873-A429-BF1E-C861233B7D69}"/>
          </ac:spMkLst>
        </pc:spChg>
        <pc:spChg chg="add del mod">
          <ac:chgData name="Steiner Andreas 6206 ED" userId="e6377c33-a923-4f14-8587-531c474c7b48" providerId="ADAL" clId="{6ECD27E6-B224-41CD-B4E0-E297462320DD}" dt="2023-11-24T08:44:01.580" v="54487"/>
          <ac:spMkLst>
            <pc:docMk/>
            <pc:sldMk cId="3975964758" sldId="2147478571"/>
            <ac:spMk id="363" creationId="{F4EB2831-C147-9931-6AEC-D074D60021C0}"/>
          </ac:spMkLst>
        </pc:spChg>
        <pc:spChg chg="add del mod">
          <ac:chgData name="Steiner Andreas 6206 ED" userId="e6377c33-a923-4f14-8587-531c474c7b48" providerId="ADAL" clId="{6ECD27E6-B224-41CD-B4E0-E297462320DD}" dt="2023-11-24T08:44:03.711" v="54642"/>
          <ac:spMkLst>
            <pc:docMk/>
            <pc:sldMk cId="3975964758" sldId="2147478571"/>
            <ac:spMk id="364" creationId="{1D09DCB8-3B6F-B56A-66CE-42E49F116260}"/>
          </ac:spMkLst>
        </pc:spChg>
        <pc:spChg chg="add del mod">
          <ac:chgData name="Steiner Andreas 6206 ED" userId="e6377c33-a923-4f14-8587-531c474c7b48" providerId="ADAL" clId="{6ECD27E6-B224-41CD-B4E0-E297462320DD}" dt="2023-11-24T08:44:05.815" v="54797"/>
          <ac:spMkLst>
            <pc:docMk/>
            <pc:sldMk cId="3975964758" sldId="2147478571"/>
            <ac:spMk id="365" creationId="{85E8195A-7AA5-602F-DB59-1DA03A44B432}"/>
          </ac:spMkLst>
        </pc:spChg>
        <pc:spChg chg="add del mod">
          <ac:chgData name="Steiner Andreas 6206 ED" userId="e6377c33-a923-4f14-8587-531c474c7b48" providerId="ADAL" clId="{6ECD27E6-B224-41CD-B4E0-E297462320DD}" dt="2023-11-24T08:44:07.796" v="54952"/>
          <ac:spMkLst>
            <pc:docMk/>
            <pc:sldMk cId="3975964758" sldId="2147478571"/>
            <ac:spMk id="366" creationId="{491A4F28-BAA6-6F30-8C84-D35F3C5EF50D}"/>
          </ac:spMkLst>
        </pc:spChg>
        <pc:spChg chg="add del mod">
          <ac:chgData name="Steiner Andreas 6206 ED" userId="e6377c33-a923-4f14-8587-531c474c7b48" providerId="ADAL" clId="{6ECD27E6-B224-41CD-B4E0-E297462320DD}" dt="2023-11-24T08:44:09.780" v="55107"/>
          <ac:spMkLst>
            <pc:docMk/>
            <pc:sldMk cId="3975964758" sldId="2147478571"/>
            <ac:spMk id="367" creationId="{34E5FCE1-D601-EF0B-7625-848F94D164AE}"/>
          </ac:spMkLst>
        </pc:spChg>
        <pc:spChg chg="add del mod">
          <ac:chgData name="Steiner Andreas 6206 ED" userId="e6377c33-a923-4f14-8587-531c474c7b48" providerId="ADAL" clId="{6ECD27E6-B224-41CD-B4E0-E297462320DD}" dt="2023-11-24T08:44:11.761" v="55262"/>
          <ac:spMkLst>
            <pc:docMk/>
            <pc:sldMk cId="3975964758" sldId="2147478571"/>
            <ac:spMk id="368" creationId="{87197F5A-9225-87BB-4649-03BCFE6945C9}"/>
          </ac:spMkLst>
        </pc:spChg>
        <pc:spChg chg="add del mod">
          <ac:chgData name="Steiner Andreas 6206 ED" userId="e6377c33-a923-4f14-8587-531c474c7b48" providerId="ADAL" clId="{6ECD27E6-B224-41CD-B4E0-E297462320DD}" dt="2023-11-24T08:44:13.932" v="55417"/>
          <ac:spMkLst>
            <pc:docMk/>
            <pc:sldMk cId="3975964758" sldId="2147478571"/>
            <ac:spMk id="369" creationId="{CE7661CA-6DD0-7539-2713-66ABF5D0A11F}"/>
          </ac:spMkLst>
        </pc:spChg>
        <pc:spChg chg="add del mod">
          <ac:chgData name="Steiner Andreas 6206 ED" userId="e6377c33-a923-4f14-8587-531c474c7b48" providerId="ADAL" clId="{6ECD27E6-B224-41CD-B4E0-E297462320DD}" dt="2023-11-24T08:44:16.015" v="55572"/>
          <ac:spMkLst>
            <pc:docMk/>
            <pc:sldMk cId="3975964758" sldId="2147478571"/>
            <ac:spMk id="370" creationId="{7AF39A92-1FEF-5E1E-B612-4BAACB78F434}"/>
          </ac:spMkLst>
        </pc:spChg>
        <pc:spChg chg="add del mod">
          <ac:chgData name="Steiner Andreas 6206 ED" userId="e6377c33-a923-4f14-8587-531c474c7b48" providerId="ADAL" clId="{6ECD27E6-B224-41CD-B4E0-E297462320DD}" dt="2023-11-24T08:44:18.460" v="55727"/>
          <ac:spMkLst>
            <pc:docMk/>
            <pc:sldMk cId="3975964758" sldId="2147478571"/>
            <ac:spMk id="371" creationId="{EE9FF02E-CAEE-1E58-5002-B31DAD76322E}"/>
          </ac:spMkLst>
        </pc:spChg>
        <pc:spChg chg="add del mod">
          <ac:chgData name="Steiner Andreas 6206 ED" userId="e6377c33-a923-4f14-8587-531c474c7b48" providerId="ADAL" clId="{6ECD27E6-B224-41CD-B4E0-E297462320DD}" dt="2023-11-24T08:44:21.301" v="55882"/>
          <ac:spMkLst>
            <pc:docMk/>
            <pc:sldMk cId="3975964758" sldId="2147478571"/>
            <ac:spMk id="372" creationId="{200307A2-DC56-3767-83E5-B5BF7FD1481C}"/>
          </ac:spMkLst>
        </pc:spChg>
        <pc:spChg chg="add del mod">
          <ac:chgData name="Steiner Andreas 6206 ED" userId="e6377c33-a923-4f14-8587-531c474c7b48" providerId="ADAL" clId="{6ECD27E6-B224-41CD-B4E0-E297462320DD}" dt="2023-11-24T08:44:23.725" v="56037"/>
          <ac:spMkLst>
            <pc:docMk/>
            <pc:sldMk cId="3975964758" sldId="2147478571"/>
            <ac:spMk id="373" creationId="{5D2FB906-434B-0766-3507-452948AB10E1}"/>
          </ac:spMkLst>
        </pc:spChg>
        <pc:spChg chg="add del mod">
          <ac:chgData name="Steiner Andreas 6206 ED" userId="e6377c33-a923-4f14-8587-531c474c7b48" providerId="ADAL" clId="{6ECD27E6-B224-41CD-B4E0-E297462320DD}" dt="2023-11-24T08:44:25.656" v="56192"/>
          <ac:spMkLst>
            <pc:docMk/>
            <pc:sldMk cId="3975964758" sldId="2147478571"/>
            <ac:spMk id="374" creationId="{284BE472-AF0C-ED62-D679-A3685FB9EEC9}"/>
          </ac:spMkLst>
        </pc:spChg>
        <pc:spChg chg="add del mod">
          <ac:chgData name="Steiner Andreas 6206 ED" userId="e6377c33-a923-4f14-8587-531c474c7b48" providerId="ADAL" clId="{6ECD27E6-B224-41CD-B4E0-E297462320DD}" dt="2023-11-24T08:44:27.844" v="56347"/>
          <ac:spMkLst>
            <pc:docMk/>
            <pc:sldMk cId="3975964758" sldId="2147478571"/>
            <ac:spMk id="375" creationId="{4F9AA16C-0051-72B3-076A-4D4F1FD96B9D}"/>
          </ac:spMkLst>
        </pc:spChg>
        <pc:spChg chg="add del mod">
          <ac:chgData name="Steiner Andreas 6206 ED" userId="e6377c33-a923-4f14-8587-531c474c7b48" providerId="ADAL" clId="{6ECD27E6-B224-41CD-B4E0-E297462320DD}" dt="2023-11-24T08:44:29.854" v="56502"/>
          <ac:spMkLst>
            <pc:docMk/>
            <pc:sldMk cId="3975964758" sldId="2147478571"/>
            <ac:spMk id="376" creationId="{39535C52-FD9D-2D7E-3CB9-2E42B7D1A4BE}"/>
          </ac:spMkLst>
        </pc:spChg>
        <pc:spChg chg="add del mod">
          <ac:chgData name="Steiner Andreas 6206 ED" userId="e6377c33-a923-4f14-8587-531c474c7b48" providerId="ADAL" clId="{6ECD27E6-B224-41CD-B4E0-E297462320DD}" dt="2023-11-24T08:44:31.835" v="56657"/>
          <ac:spMkLst>
            <pc:docMk/>
            <pc:sldMk cId="3975964758" sldId="2147478571"/>
            <ac:spMk id="377" creationId="{6A1D89B0-84E8-8147-CBC6-226C563C1DA6}"/>
          </ac:spMkLst>
        </pc:spChg>
        <pc:spChg chg="add del mod">
          <ac:chgData name="Steiner Andreas 6206 ED" userId="e6377c33-a923-4f14-8587-531c474c7b48" providerId="ADAL" clId="{6ECD27E6-B224-41CD-B4E0-E297462320DD}" dt="2023-11-24T08:44:33.787" v="56812"/>
          <ac:spMkLst>
            <pc:docMk/>
            <pc:sldMk cId="3975964758" sldId="2147478571"/>
            <ac:spMk id="378" creationId="{DE1AB0FB-D5A4-722E-B48B-B6F3AC61B2AF}"/>
          </ac:spMkLst>
        </pc:spChg>
        <pc:spChg chg="add del mod">
          <ac:chgData name="Steiner Andreas 6206 ED" userId="e6377c33-a923-4f14-8587-531c474c7b48" providerId="ADAL" clId="{6ECD27E6-B224-41CD-B4E0-E297462320DD}" dt="2023-11-24T08:44:36.160" v="56967"/>
          <ac:spMkLst>
            <pc:docMk/>
            <pc:sldMk cId="3975964758" sldId="2147478571"/>
            <ac:spMk id="379" creationId="{2409B41A-76FF-9152-9592-28F37E480FCE}"/>
          </ac:spMkLst>
        </pc:spChg>
        <pc:spChg chg="add del mod">
          <ac:chgData name="Steiner Andreas 6206 ED" userId="e6377c33-a923-4f14-8587-531c474c7b48" providerId="ADAL" clId="{6ECD27E6-B224-41CD-B4E0-E297462320DD}" dt="2023-11-24T08:44:38.773" v="57122"/>
          <ac:spMkLst>
            <pc:docMk/>
            <pc:sldMk cId="3975964758" sldId="2147478571"/>
            <ac:spMk id="380" creationId="{1F8292DF-A311-AC81-1597-6677C04F2898}"/>
          </ac:spMkLst>
        </pc:spChg>
        <pc:spChg chg="add del mod">
          <ac:chgData name="Steiner Andreas 6206 ED" userId="e6377c33-a923-4f14-8587-531c474c7b48" providerId="ADAL" clId="{6ECD27E6-B224-41CD-B4E0-E297462320DD}" dt="2023-11-24T08:44:41.094" v="57277"/>
          <ac:spMkLst>
            <pc:docMk/>
            <pc:sldMk cId="3975964758" sldId="2147478571"/>
            <ac:spMk id="381" creationId="{6A6768F0-0ADB-308A-701B-A05381613519}"/>
          </ac:spMkLst>
        </pc:spChg>
        <pc:spChg chg="add del mod">
          <ac:chgData name="Steiner Andreas 6206 ED" userId="e6377c33-a923-4f14-8587-531c474c7b48" providerId="ADAL" clId="{6ECD27E6-B224-41CD-B4E0-E297462320DD}" dt="2023-11-24T08:44:43.320" v="57432"/>
          <ac:spMkLst>
            <pc:docMk/>
            <pc:sldMk cId="3975964758" sldId="2147478571"/>
            <ac:spMk id="382" creationId="{8E814E0D-9CD5-4544-097D-E691161DE6E9}"/>
          </ac:spMkLst>
        </pc:spChg>
        <pc:spChg chg="add del mod">
          <ac:chgData name="Steiner Andreas 6206 ED" userId="e6377c33-a923-4f14-8587-531c474c7b48" providerId="ADAL" clId="{6ECD27E6-B224-41CD-B4E0-E297462320DD}" dt="2023-11-24T08:44:45.468" v="57587"/>
          <ac:spMkLst>
            <pc:docMk/>
            <pc:sldMk cId="3975964758" sldId="2147478571"/>
            <ac:spMk id="383" creationId="{437ED0F0-AD97-0357-A7CC-6EC588C0B305}"/>
          </ac:spMkLst>
        </pc:spChg>
        <pc:spChg chg="add del mod">
          <ac:chgData name="Steiner Andreas 6206 ED" userId="e6377c33-a923-4f14-8587-531c474c7b48" providerId="ADAL" clId="{6ECD27E6-B224-41CD-B4E0-E297462320DD}" dt="2023-11-24T08:44:48.194" v="57742"/>
          <ac:spMkLst>
            <pc:docMk/>
            <pc:sldMk cId="3975964758" sldId="2147478571"/>
            <ac:spMk id="384" creationId="{89D72423-B76E-2C2D-A44F-BEE547A827E2}"/>
          </ac:spMkLst>
        </pc:spChg>
        <pc:spChg chg="add del mod">
          <ac:chgData name="Steiner Andreas 6206 ED" userId="e6377c33-a923-4f14-8587-531c474c7b48" providerId="ADAL" clId="{6ECD27E6-B224-41CD-B4E0-E297462320DD}" dt="2023-11-24T08:44:50.482" v="57897"/>
          <ac:spMkLst>
            <pc:docMk/>
            <pc:sldMk cId="3975964758" sldId="2147478571"/>
            <ac:spMk id="385" creationId="{51075049-94B5-E755-688C-55CCA87C8DC4}"/>
          </ac:spMkLst>
        </pc:spChg>
        <pc:spChg chg="add del mod">
          <ac:chgData name="Steiner Andreas 6206 ED" userId="e6377c33-a923-4f14-8587-531c474c7b48" providerId="ADAL" clId="{6ECD27E6-B224-41CD-B4E0-E297462320DD}" dt="2023-11-24T08:44:52.626" v="58052"/>
          <ac:spMkLst>
            <pc:docMk/>
            <pc:sldMk cId="3975964758" sldId="2147478571"/>
            <ac:spMk id="386" creationId="{69F406B4-67D0-EF45-2141-0885213CB82F}"/>
          </ac:spMkLst>
        </pc:spChg>
        <pc:spChg chg="add del mod">
          <ac:chgData name="Steiner Andreas 6206 ED" userId="e6377c33-a923-4f14-8587-531c474c7b48" providerId="ADAL" clId="{6ECD27E6-B224-41CD-B4E0-E297462320DD}" dt="2023-11-24T08:44:54.820" v="58207"/>
          <ac:spMkLst>
            <pc:docMk/>
            <pc:sldMk cId="3975964758" sldId="2147478571"/>
            <ac:spMk id="387" creationId="{64E8DE5E-155D-1E4E-1597-E6F31112EFE3}"/>
          </ac:spMkLst>
        </pc:spChg>
        <pc:spChg chg="add del mod">
          <ac:chgData name="Steiner Andreas 6206 ED" userId="e6377c33-a923-4f14-8587-531c474c7b48" providerId="ADAL" clId="{6ECD27E6-B224-41CD-B4E0-E297462320DD}" dt="2023-11-24T08:44:56.843" v="58362"/>
          <ac:spMkLst>
            <pc:docMk/>
            <pc:sldMk cId="3975964758" sldId="2147478571"/>
            <ac:spMk id="388" creationId="{56D4F469-7A50-A3FA-F6DC-8353EEA20E97}"/>
          </ac:spMkLst>
        </pc:spChg>
        <pc:spChg chg="add del mod">
          <ac:chgData name="Steiner Andreas 6206 ED" userId="e6377c33-a923-4f14-8587-531c474c7b48" providerId="ADAL" clId="{6ECD27E6-B224-41CD-B4E0-E297462320DD}" dt="2023-11-24T08:44:58.777" v="58517"/>
          <ac:spMkLst>
            <pc:docMk/>
            <pc:sldMk cId="3975964758" sldId="2147478571"/>
            <ac:spMk id="389" creationId="{C96C1EE0-5953-3338-68E9-0232E637B35D}"/>
          </ac:spMkLst>
        </pc:spChg>
        <pc:spChg chg="add del mod">
          <ac:chgData name="Steiner Andreas 6206 ED" userId="e6377c33-a923-4f14-8587-531c474c7b48" providerId="ADAL" clId="{6ECD27E6-B224-41CD-B4E0-E297462320DD}" dt="2023-11-24T08:45:00.935" v="58672"/>
          <ac:spMkLst>
            <pc:docMk/>
            <pc:sldMk cId="3975964758" sldId="2147478571"/>
            <ac:spMk id="390" creationId="{A1B3B5E2-4C82-980B-5956-5E7E66FFB969}"/>
          </ac:spMkLst>
        </pc:spChg>
        <pc:spChg chg="add del mod">
          <ac:chgData name="Steiner Andreas 6206 ED" userId="e6377c33-a923-4f14-8587-531c474c7b48" providerId="ADAL" clId="{6ECD27E6-B224-41CD-B4E0-E297462320DD}" dt="2023-11-24T08:45:02.860" v="58827"/>
          <ac:spMkLst>
            <pc:docMk/>
            <pc:sldMk cId="3975964758" sldId="2147478571"/>
            <ac:spMk id="391" creationId="{6BEA1D30-38B7-E507-FC93-622007125B22}"/>
          </ac:spMkLst>
        </pc:spChg>
        <pc:spChg chg="add del mod">
          <ac:chgData name="Steiner Andreas 6206 ED" userId="e6377c33-a923-4f14-8587-531c474c7b48" providerId="ADAL" clId="{6ECD27E6-B224-41CD-B4E0-E297462320DD}" dt="2023-11-24T08:45:04.711" v="58982"/>
          <ac:spMkLst>
            <pc:docMk/>
            <pc:sldMk cId="3975964758" sldId="2147478571"/>
            <ac:spMk id="392" creationId="{438B5FD8-60A4-46C7-9F0C-3228CB552874}"/>
          </ac:spMkLst>
        </pc:spChg>
        <pc:spChg chg="add del mod">
          <ac:chgData name="Steiner Andreas 6206 ED" userId="e6377c33-a923-4f14-8587-531c474c7b48" providerId="ADAL" clId="{6ECD27E6-B224-41CD-B4E0-E297462320DD}" dt="2023-11-24T08:45:06.568" v="59137"/>
          <ac:spMkLst>
            <pc:docMk/>
            <pc:sldMk cId="3975964758" sldId="2147478571"/>
            <ac:spMk id="393" creationId="{BF0EA444-ACED-D7B5-4E74-B94522E3A753}"/>
          </ac:spMkLst>
        </pc:spChg>
        <pc:spChg chg="add del mod">
          <ac:chgData name="Steiner Andreas 6206 ED" userId="e6377c33-a923-4f14-8587-531c474c7b48" providerId="ADAL" clId="{6ECD27E6-B224-41CD-B4E0-E297462320DD}" dt="2023-11-24T08:45:08.405" v="59292"/>
          <ac:spMkLst>
            <pc:docMk/>
            <pc:sldMk cId="3975964758" sldId="2147478571"/>
            <ac:spMk id="394" creationId="{6BE9BAAB-57A0-6FB5-D367-4E89E56C446F}"/>
          </ac:spMkLst>
        </pc:spChg>
        <pc:spChg chg="add del mod">
          <ac:chgData name="Steiner Andreas 6206 ED" userId="e6377c33-a923-4f14-8587-531c474c7b48" providerId="ADAL" clId="{6ECD27E6-B224-41CD-B4E0-E297462320DD}" dt="2023-11-24T08:45:10.213" v="59447"/>
          <ac:spMkLst>
            <pc:docMk/>
            <pc:sldMk cId="3975964758" sldId="2147478571"/>
            <ac:spMk id="395" creationId="{CA860BEE-31C8-D916-DB5E-2C4D894F8E22}"/>
          </ac:spMkLst>
        </pc:spChg>
        <pc:spChg chg="add del mod">
          <ac:chgData name="Steiner Andreas 6206 ED" userId="e6377c33-a923-4f14-8587-531c474c7b48" providerId="ADAL" clId="{6ECD27E6-B224-41CD-B4E0-E297462320DD}" dt="2023-11-24T08:45:12.294" v="59602"/>
          <ac:spMkLst>
            <pc:docMk/>
            <pc:sldMk cId="3975964758" sldId="2147478571"/>
            <ac:spMk id="396" creationId="{4B6EC614-1B24-739A-5ED4-2D57070FE879}"/>
          </ac:spMkLst>
        </pc:spChg>
        <pc:spChg chg="add del mod">
          <ac:chgData name="Steiner Andreas 6206 ED" userId="e6377c33-a923-4f14-8587-531c474c7b48" providerId="ADAL" clId="{6ECD27E6-B224-41CD-B4E0-E297462320DD}" dt="2023-11-24T08:45:14.227" v="59757"/>
          <ac:spMkLst>
            <pc:docMk/>
            <pc:sldMk cId="3975964758" sldId="2147478571"/>
            <ac:spMk id="397" creationId="{DB839D76-A6C8-56C0-3184-C601834EF6C2}"/>
          </ac:spMkLst>
        </pc:spChg>
        <pc:spChg chg="add del mod">
          <ac:chgData name="Steiner Andreas 6206 ED" userId="e6377c33-a923-4f14-8587-531c474c7b48" providerId="ADAL" clId="{6ECD27E6-B224-41CD-B4E0-E297462320DD}" dt="2023-11-24T08:45:16.299" v="59912"/>
          <ac:spMkLst>
            <pc:docMk/>
            <pc:sldMk cId="3975964758" sldId="2147478571"/>
            <ac:spMk id="398" creationId="{77AD6FCA-5BA4-520F-91F5-08B96746681F}"/>
          </ac:spMkLst>
        </pc:spChg>
        <pc:spChg chg="add del mod">
          <ac:chgData name="Steiner Andreas 6206 ED" userId="e6377c33-a923-4f14-8587-531c474c7b48" providerId="ADAL" clId="{6ECD27E6-B224-41CD-B4E0-E297462320DD}" dt="2023-11-24T08:45:18.237" v="60067"/>
          <ac:spMkLst>
            <pc:docMk/>
            <pc:sldMk cId="3975964758" sldId="2147478571"/>
            <ac:spMk id="399" creationId="{8ECF38EB-8F07-42A2-60A5-943AD4FFCF4D}"/>
          </ac:spMkLst>
        </pc:spChg>
        <pc:spChg chg="add del mod">
          <ac:chgData name="Steiner Andreas 6206 ED" userId="e6377c33-a923-4f14-8587-531c474c7b48" providerId="ADAL" clId="{6ECD27E6-B224-41CD-B4E0-E297462320DD}" dt="2023-11-24T08:45:20.136" v="60222"/>
          <ac:spMkLst>
            <pc:docMk/>
            <pc:sldMk cId="3975964758" sldId="2147478571"/>
            <ac:spMk id="400" creationId="{64BB759F-0ADD-6553-D5B8-E7BDD5EAABF8}"/>
          </ac:spMkLst>
        </pc:spChg>
        <pc:spChg chg="add del mod">
          <ac:chgData name="Steiner Andreas 6206 ED" userId="e6377c33-a923-4f14-8587-531c474c7b48" providerId="ADAL" clId="{6ECD27E6-B224-41CD-B4E0-E297462320DD}" dt="2023-11-24T08:45:22.270" v="60377"/>
          <ac:spMkLst>
            <pc:docMk/>
            <pc:sldMk cId="3975964758" sldId="2147478571"/>
            <ac:spMk id="401" creationId="{5A7FCF6E-42DC-A445-2474-49742B8F0E37}"/>
          </ac:spMkLst>
        </pc:spChg>
        <pc:spChg chg="add del mod">
          <ac:chgData name="Steiner Andreas 6206 ED" userId="e6377c33-a923-4f14-8587-531c474c7b48" providerId="ADAL" clId="{6ECD27E6-B224-41CD-B4E0-E297462320DD}" dt="2023-11-24T08:45:24.477" v="60532"/>
          <ac:spMkLst>
            <pc:docMk/>
            <pc:sldMk cId="3975964758" sldId="2147478571"/>
            <ac:spMk id="402" creationId="{A2C62228-B9FE-4F30-3DA2-34D4B8D121A3}"/>
          </ac:spMkLst>
        </pc:spChg>
        <pc:spChg chg="add del mod">
          <ac:chgData name="Steiner Andreas 6206 ED" userId="e6377c33-a923-4f14-8587-531c474c7b48" providerId="ADAL" clId="{6ECD27E6-B224-41CD-B4E0-E297462320DD}" dt="2023-11-24T08:45:26.446" v="60687"/>
          <ac:spMkLst>
            <pc:docMk/>
            <pc:sldMk cId="3975964758" sldId="2147478571"/>
            <ac:spMk id="403" creationId="{17C581B0-4CF3-3147-F0A5-609AE6FCAD9E}"/>
          </ac:spMkLst>
        </pc:spChg>
        <pc:spChg chg="add del mod">
          <ac:chgData name="Steiner Andreas 6206 ED" userId="e6377c33-a923-4f14-8587-531c474c7b48" providerId="ADAL" clId="{6ECD27E6-B224-41CD-B4E0-E297462320DD}" dt="2023-11-24T08:45:28.339" v="60842"/>
          <ac:spMkLst>
            <pc:docMk/>
            <pc:sldMk cId="3975964758" sldId="2147478571"/>
            <ac:spMk id="404" creationId="{AC2C6CC2-4BCA-344B-364F-4A91FC780933}"/>
          </ac:spMkLst>
        </pc:spChg>
        <pc:spChg chg="add del mod">
          <ac:chgData name="Steiner Andreas 6206 ED" userId="e6377c33-a923-4f14-8587-531c474c7b48" providerId="ADAL" clId="{6ECD27E6-B224-41CD-B4E0-E297462320DD}" dt="2023-11-24T08:45:30.157" v="60997"/>
          <ac:spMkLst>
            <pc:docMk/>
            <pc:sldMk cId="3975964758" sldId="2147478571"/>
            <ac:spMk id="405" creationId="{38B3E404-1659-080B-6C64-13E42E02D87B}"/>
          </ac:spMkLst>
        </pc:spChg>
        <pc:spChg chg="add del mod">
          <ac:chgData name="Steiner Andreas 6206 ED" userId="e6377c33-a923-4f14-8587-531c474c7b48" providerId="ADAL" clId="{6ECD27E6-B224-41CD-B4E0-E297462320DD}" dt="2023-11-24T08:45:32.033" v="61152"/>
          <ac:spMkLst>
            <pc:docMk/>
            <pc:sldMk cId="3975964758" sldId="2147478571"/>
            <ac:spMk id="406" creationId="{663B844F-0B00-8F35-1DD9-8713DE14FB42}"/>
          </ac:spMkLst>
        </pc:spChg>
        <pc:spChg chg="add del mod">
          <ac:chgData name="Steiner Andreas 6206 ED" userId="e6377c33-a923-4f14-8587-531c474c7b48" providerId="ADAL" clId="{6ECD27E6-B224-41CD-B4E0-E297462320DD}" dt="2023-11-24T08:45:34.153" v="61307"/>
          <ac:spMkLst>
            <pc:docMk/>
            <pc:sldMk cId="3975964758" sldId="2147478571"/>
            <ac:spMk id="407" creationId="{F9D980CE-8A08-F1D1-C374-9DDDF8702C11}"/>
          </ac:spMkLst>
        </pc:spChg>
        <pc:spChg chg="add del mod">
          <ac:chgData name="Steiner Andreas 6206 ED" userId="e6377c33-a923-4f14-8587-531c474c7b48" providerId="ADAL" clId="{6ECD27E6-B224-41CD-B4E0-E297462320DD}" dt="2023-11-24T08:45:36.210" v="61462"/>
          <ac:spMkLst>
            <pc:docMk/>
            <pc:sldMk cId="3975964758" sldId="2147478571"/>
            <ac:spMk id="408" creationId="{E8FE449B-5B52-763E-63A3-B9E91577BCDB}"/>
          </ac:spMkLst>
        </pc:spChg>
        <pc:spChg chg="add del mod">
          <ac:chgData name="Steiner Andreas 6206 ED" userId="e6377c33-a923-4f14-8587-531c474c7b48" providerId="ADAL" clId="{6ECD27E6-B224-41CD-B4E0-E297462320DD}" dt="2023-11-24T08:45:38.105" v="61617"/>
          <ac:spMkLst>
            <pc:docMk/>
            <pc:sldMk cId="3975964758" sldId="2147478571"/>
            <ac:spMk id="409" creationId="{B3C57572-B409-E7B5-2B76-403BB4DD66C1}"/>
          </ac:spMkLst>
        </pc:spChg>
        <pc:spChg chg="add del mod">
          <ac:chgData name="Steiner Andreas 6206 ED" userId="e6377c33-a923-4f14-8587-531c474c7b48" providerId="ADAL" clId="{6ECD27E6-B224-41CD-B4E0-E297462320DD}" dt="2023-11-24T08:45:39.981" v="61772"/>
          <ac:spMkLst>
            <pc:docMk/>
            <pc:sldMk cId="3975964758" sldId="2147478571"/>
            <ac:spMk id="410" creationId="{8370D0AE-506B-848D-1899-8788C4AE35E8}"/>
          </ac:spMkLst>
        </pc:spChg>
        <pc:spChg chg="add del mod">
          <ac:chgData name="Steiner Andreas 6206 ED" userId="e6377c33-a923-4f14-8587-531c474c7b48" providerId="ADAL" clId="{6ECD27E6-B224-41CD-B4E0-E297462320DD}" dt="2023-11-24T08:45:41.987" v="61927"/>
          <ac:spMkLst>
            <pc:docMk/>
            <pc:sldMk cId="3975964758" sldId="2147478571"/>
            <ac:spMk id="411" creationId="{3AAE276A-451A-F6A4-EC9D-C8F68BB76D0F}"/>
          </ac:spMkLst>
        </pc:spChg>
        <pc:spChg chg="add del mod">
          <ac:chgData name="Steiner Andreas 6206 ED" userId="e6377c33-a923-4f14-8587-531c474c7b48" providerId="ADAL" clId="{6ECD27E6-B224-41CD-B4E0-E297462320DD}" dt="2023-11-24T08:45:43.975" v="62082"/>
          <ac:spMkLst>
            <pc:docMk/>
            <pc:sldMk cId="3975964758" sldId="2147478571"/>
            <ac:spMk id="412" creationId="{7490F987-61C4-6416-719E-B1D1B171CE2A}"/>
          </ac:spMkLst>
        </pc:spChg>
        <pc:spChg chg="add del mod">
          <ac:chgData name="Steiner Andreas 6206 ED" userId="e6377c33-a923-4f14-8587-531c474c7b48" providerId="ADAL" clId="{6ECD27E6-B224-41CD-B4E0-E297462320DD}" dt="2023-11-24T08:45:46.079" v="62237"/>
          <ac:spMkLst>
            <pc:docMk/>
            <pc:sldMk cId="3975964758" sldId="2147478571"/>
            <ac:spMk id="413" creationId="{16650FDB-7494-A5F1-BE4D-9DCD69F0FD0C}"/>
          </ac:spMkLst>
        </pc:spChg>
        <pc:spChg chg="add del mod">
          <ac:chgData name="Steiner Andreas 6206 ED" userId="e6377c33-a923-4f14-8587-531c474c7b48" providerId="ADAL" clId="{6ECD27E6-B224-41CD-B4E0-E297462320DD}" dt="2023-11-24T08:45:47.984" v="62392"/>
          <ac:spMkLst>
            <pc:docMk/>
            <pc:sldMk cId="3975964758" sldId="2147478571"/>
            <ac:spMk id="414" creationId="{7A494D55-0B98-6653-7E9E-230B2384FDBF}"/>
          </ac:spMkLst>
        </pc:spChg>
        <pc:spChg chg="add del mod">
          <ac:chgData name="Steiner Andreas 6206 ED" userId="e6377c33-a923-4f14-8587-531c474c7b48" providerId="ADAL" clId="{6ECD27E6-B224-41CD-B4E0-E297462320DD}" dt="2023-11-24T08:45:50.285" v="62547"/>
          <ac:spMkLst>
            <pc:docMk/>
            <pc:sldMk cId="3975964758" sldId="2147478571"/>
            <ac:spMk id="415" creationId="{7DFB0C28-3DE8-B5AB-6516-CA20923C313F}"/>
          </ac:spMkLst>
        </pc:spChg>
        <pc:spChg chg="add del mod">
          <ac:chgData name="Steiner Andreas 6206 ED" userId="e6377c33-a923-4f14-8587-531c474c7b48" providerId="ADAL" clId="{6ECD27E6-B224-41CD-B4E0-E297462320DD}" dt="2023-11-24T08:45:52.329" v="62702"/>
          <ac:spMkLst>
            <pc:docMk/>
            <pc:sldMk cId="3975964758" sldId="2147478571"/>
            <ac:spMk id="416" creationId="{9AE8B49F-9471-8DDE-73EA-72F79D44F2B6}"/>
          </ac:spMkLst>
        </pc:spChg>
        <pc:spChg chg="add del mod">
          <ac:chgData name="Steiner Andreas 6206 ED" userId="e6377c33-a923-4f14-8587-531c474c7b48" providerId="ADAL" clId="{6ECD27E6-B224-41CD-B4E0-E297462320DD}" dt="2023-11-24T08:45:54.351" v="62857"/>
          <ac:spMkLst>
            <pc:docMk/>
            <pc:sldMk cId="3975964758" sldId="2147478571"/>
            <ac:spMk id="417" creationId="{A9433089-B5AC-4BD4-6A58-65615EEE1426}"/>
          </ac:spMkLst>
        </pc:spChg>
        <pc:spChg chg="add del mod">
          <ac:chgData name="Steiner Andreas 6206 ED" userId="e6377c33-a923-4f14-8587-531c474c7b48" providerId="ADAL" clId="{6ECD27E6-B224-41CD-B4E0-E297462320DD}" dt="2023-11-24T08:45:56.521" v="63012"/>
          <ac:spMkLst>
            <pc:docMk/>
            <pc:sldMk cId="3975964758" sldId="2147478571"/>
            <ac:spMk id="418" creationId="{22443080-A608-6D94-79E2-737B22ABDF28}"/>
          </ac:spMkLst>
        </pc:spChg>
        <pc:spChg chg="add del mod">
          <ac:chgData name="Steiner Andreas 6206 ED" userId="e6377c33-a923-4f14-8587-531c474c7b48" providerId="ADAL" clId="{6ECD27E6-B224-41CD-B4E0-E297462320DD}" dt="2023-11-24T08:45:58.565" v="63167"/>
          <ac:spMkLst>
            <pc:docMk/>
            <pc:sldMk cId="3975964758" sldId="2147478571"/>
            <ac:spMk id="419" creationId="{F8007D95-9291-0277-01D6-83A8174AE3D6}"/>
          </ac:spMkLst>
        </pc:spChg>
        <pc:spChg chg="add del mod">
          <ac:chgData name="Steiner Andreas 6206 ED" userId="e6377c33-a923-4f14-8587-531c474c7b48" providerId="ADAL" clId="{6ECD27E6-B224-41CD-B4E0-E297462320DD}" dt="2023-11-24T08:46:00.646" v="63322"/>
          <ac:spMkLst>
            <pc:docMk/>
            <pc:sldMk cId="3975964758" sldId="2147478571"/>
            <ac:spMk id="420" creationId="{8550593F-3F2E-B789-6282-72B97D61EE4E}"/>
          </ac:spMkLst>
        </pc:spChg>
        <pc:spChg chg="add del mod">
          <ac:chgData name="Steiner Andreas 6206 ED" userId="e6377c33-a923-4f14-8587-531c474c7b48" providerId="ADAL" clId="{6ECD27E6-B224-41CD-B4E0-E297462320DD}" dt="2023-11-24T08:46:02.722" v="63477"/>
          <ac:spMkLst>
            <pc:docMk/>
            <pc:sldMk cId="3975964758" sldId="2147478571"/>
            <ac:spMk id="421" creationId="{13005466-4C57-3D46-026E-47812A86E2FE}"/>
          </ac:spMkLst>
        </pc:spChg>
        <pc:spChg chg="add del mod">
          <ac:chgData name="Steiner Andreas 6206 ED" userId="e6377c33-a923-4f14-8587-531c474c7b48" providerId="ADAL" clId="{6ECD27E6-B224-41CD-B4E0-E297462320DD}" dt="2023-11-24T08:46:05.064" v="63632"/>
          <ac:spMkLst>
            <pc:docMk/>
            <pc:sldMk cId="3975964758" sldId="2147478571"/>
            <ac:spMk id="422" creationId="{06DEAC2E-DB1B-C6D2-0175-24DAAAFC0C11}"/>
          </ac:spMkLst>
        </pc:spChg>
        <pc:spChg chg="add del mod">
          <ac:chgData name="Steiner Andreas 6206 ED" userId="e6377c33-a923-4f14-8587-531c474c7b48" providerId="ADAL" clId="{6ECD27E6-B224-41CD-B4E0-E297462320DD}" dt="2023-11-24T08:46:07.638" v="63787"/>
          <ac:spMkLst>
            <pc:docMk/>
            <pc:sldMk cId="3975964758" sldId="2147478571"/>
            <ac:spMk id="423" creationId="{3580F585-8699-0191-1F6A-D8466622065D}"/>
          </ac:spMkLst>
        </pc:spChg>
        <pc:spChg chg="add del mod">
          <ac:chgData name="Steiner Andreas 6206 ED" userId="e6377c33-a923-4f14-8587-531c474c7b48" providerId="ADAL" clId="{6ECD27E6-B224-41CD-B4E0-E297462320DD}" dt="2023-11-24T08:46:09.840" v="63942"/>
          <ac:spMkLst>
            <pc:docMk/>
            <pc:sldMk cId="3975964758" sldId="2147478571"/>
            <ac:spMk id="424" creationId="{7FC57158-0C41-619A-F980-10A2592824E1}"/>
          </ac:spMkLst>
        </pc:spChg>
        <pc:spChg chg="add del mod">
          <ac:chgData name="Steiner Andreas 6206 ED" userId="e6377c33-a923-4f14-8587-531c474c7b48" providerId="ADAL" clId="{6ECD27E6-B224-41CD-B4E0-E297462320DD}" dt="2023-11-24T08:46:12.020" v="64097"/>
          <ac:spMkLst>
            <pc:docMk/>
            <pc:sldMk cId="3975964758" sldId="2147478571"/>
            <ac:spMk id="425" creationId="{1CFE4D21-8234-593A-5BCF-451B1F7C841C}"/>
          </ac:spMkLst>
        </pc:spChg>
        <pc:spChg chg="add del mod">
          <ac:chgData name="Steiner Andreas 6206 ED" userId="e6377c33-a923-4f14-8587-531c474c7b48" providerId="ADAL" clId="{6ECD27E6-B224-41CD-B4E0-E297462320DD}" dt="2023-11-24T08:46:14.176" v="64252"/>
          <ac:spMkLst>
            <pc:docMk/>
            <pc:sldMk cId="3975964758" sldId="2147478571"/>
            <ac:spMk id="426" creationId="{7EE9C93D-03C2-5EB5-F4DB-383B11924F9B}"/>
          </ac:spMkLst>
        </pc:spChg>
        <pc:spChg chg="add del mod">
          <ac:chgData name="Steiner Andreas 6206 ED" userId="e6377c33-a923-4f14-8587-531c474c7b48" providerId="ADAL" clId="{6ECD27E6-B224-41CD-B4E0-E297462320DD}" dt="2023-11-24T08:46:16.408" v="64407"/>
          <ac:spMkLst>
            <pc:docMk/>
            <pc:sldMk cId="3975964758" sldId="2147478571"/>
            <ac:spMk id="427" creationId="{C8E2C7B0-D780-A4B0-463A-51A1181FCC9F}"/>
          </ac:spMkLst>
        </pc:spChg>
        <pc:spChg chg="add del mod">
          <ac:chgData name="Steiner Andreas 6206 ED" userId="e6377c33-a923-4f14-8587-531c474c7b48" providerId="ADAL" clId="{6ECD27E6-B224-41CD-B4E0-E297462320DD}" dt="2023-11-24T08:46:18.276" v="64562"/>
          <ac:spMkLst>
            <pc:docMk/>
            <pc:sldMk cId="3975964758" sldId="2147478571"/>
            <ac:spMk id="428" creationId="{4965C3BD-076B-6094-B518-25FC60D4EEBD}"/>
          </ac:spMkLst>
        </pc:spChg>
        <pc:spChg chg="add del mod">
          <ac:chgData name="Steiner Andreas 6206 ED" userId="e6377c33-a923-4f14-8587-531c474c7b48" providerId="ADAL" clId="{6ECD27E6-B224-41CD-B4E0-E297462320DD}" dt="2023-11-24T08:46:20.779" v="64717"/>
          <ac:spMkLst>
            <pc:docMk/>
            <pc:sldMk cId="3975964758" sldId="2147478571"/>
            <ac:spMk id="429" creationId="{6C23CBF3-FFFB-EADC-FC16-334ABC18638F}"/>
          </ac:spMkLst>
        </pc:spChg>
        <pc:spChg chg="add del mod">
          <ac:chgData name="Steiner Andreas 6206 ED" userId="e6377c33-a923-4f14-8587-531c474c7b48" providerId="ADAL" clId="{6ECD27E6-B224-41CD-B4E0-E297462320DD}" dt="2023-11-24T08:46:23.045" v="64872"/>
          <ac:spMkLst>
            <pc:docMk/>
            <pc:sldMk cId="3975964758" sldId="2147478571"/>
            <ac:spMk id="430" creationId="{86CACD55-1228-8F33-966F-DD764B5B07E6}"/>
          </ac:spMkLst>
        </pc:spChg>
        <pc:spChg chg="add del mod">
          <ac:chgData name="Steiner Andreas 6206 ED" userId="e6377c33-a923-4f14-8587-531c474c7b48" providerId="ADAL" clId="{6ECD27E6-B224-41CD-B4E0-E297462320DD}" dt="2023-11-24T08:46:25.313" v="65027"/>
          <ac:spMkLst>
            <pc:docMk/>
            <pc:sldMk cId="3975964758" sldId="2147478571"/>
            <ac:spMk id="431" creationId="{993215DD-A679-180A-CB01-4013C6F8D4CA}"/>
          </ac:spMkLst>
        </pc:spChg>
        <pc:spChg chg="add del mod">
          <ac:chgData name="Steiner Andreas 6206 ED" userId="e6377c33-a923-4f14-8587-531c474c7b48" providerId="ADAL" clId="{6ECD27E6-B224-41CD-B4E0-E297462320DD}" dt="2023-11-24T08:46:27.642" v="65182"/>
          <ac:spMkLst>
            <pc:docMk/>
            <pc:sldMk cId="3975964758" sldId="2147478571"/>
            <ac:spMk id="432" creationId="{BC79F42C-BB6F-897E-7B5E-BC35374649C0}"/>
          </ac:spMkLst>
        </pc:spChg>
        <pc:spChg chg="add del mod">
          <ac:chgData name="Steiner Andreas 6206 ED" userId="e6377c33-a923-4f14-8587-531c474c7b48" providerId="ADAL" clId="{6ECD27E6-B224-41CD-B4E0-E297462320DD}" dt="2023-11-24T08:46:29.654" v="65337"/>
          <ac:spMkLst>
            <pc:docMk/>
            <pc:sldMk cId="3975964758" sldId="2147478571"/>
            <ac:spMk id="433" creationId="{73678A49-F2A6-0256-955C-135F39ACE526}"/>
          </ac:spMkLst>
        </pc:spChg>
        <pc:spChg chg="add del mod">
          <ac:chgData name="Steiner Andreas 6206 ED" userId="e6377c33-a923-4f14-8587-531c474c7b48" providerId="ADAL" clId="{6ECD27E6-B224-41CD-B4E0-E297462320DD}" dt="2023-11-24T08:46:32.131" v="65492"/>
          <ac:spMkLst>
            <pc:docMk/>
            <pc:sldMk cId="3975964758" sldId="2147478571"/>
            <ac:spMk id="434" creationId="{4C75033F-AF0B-D9ED-5D53-36256A811A2E}"/>
          </ac:spMkLst>
        </pc:spChg>
        <pc:spChg chg="add del mod">
          <ac:chgData name="Steiner Andreas 6206 ED" userId="e6377c33-a923-4f14-8587-531c474c7b48" providerId="ADAL" clId="{6ECD27E6-B224-41CD-B4E0-E297462320DD}" dt="2023-11-24T08:46:34.208" v="65647"/>
          <ac:spMkLst>
            <pc:docMk/>
            <pc:sldMk cId="3975964758" sldId="2147478571"/>
            <ac:spMk id="435" creationId="{A7E44BCD-26E5-A157-20FD-1D85F4C9897E}"/>
          </ac:spMkLst>
        </pc:spChg>
        <pc:spChg chg="add del mod">
          <ac:chgData name="Steiner Andreas 6206 ED" userId="e6377c33-a923-4f14-8587-531c474c7b48" providerId="ADAL" clId="{6ECD27E6-B224-41CD-B4E0-E297462320DD}" dt="2023-11-24T08:46:36.146" v="65802"/>
          <ac:spMkLst>
            <pc:docMk/>
            <pc:sldMk cId="3975964758" sldId="2147478571"/>
            <ac:spMk id="436" creationId="{20100CD2-37A9-58E6-6415-35EFD7D40BBE}"/>
          </ac:spMkLst>
        </pc:spChg>
        <pc:spChg chg="add del mod">
          <ac:chgData name="Steiner Andreas 6206 ED" userId="e6377c33-a923-4f14-8587-531c474c7b48" providerId="ADAL" clId="{6ECD27E6-B224-41CD-B4E0-E297462320DD}" dt="2023-11-24T08:46:38.221" v="65957"/>
          <ac:spMkLst>
            <pc:docMk/>
            <pc:sldMk cId="3975964758" sldId="2147478571"/>
            <ac:spMk id="437" creationId="{CB67B984-EC79-8D30-FAC2-87DF31825884}"/>
          </ac:spMkLst>
        </pc:spChg>
        <pc:spChg chg="add del mod">
          <ac:chgData name="Steiner Andreas 6206 ED" userId="e6377c33-a923-4f14-8587-531c474c7b48" providerId="ADAL" clId="{6ECD27E6-B224-41CD-B4E0-E297462320DD}" dt="2023-11-24T08:46:40.293" v="66112"/>
          <ac:spMkLst>
            <pc:docMk/>
            <pc:sldMk cId="3975964758" sldId="2147478571"/>
            <ac:spMk id="438" creationId="{B40B34E5-D441-85D9-C82B-7FD804C1F4C4}"/>
          </ac:spMkLst>
        </pc:spChg>
        <pc:spChg chg="add del mod">
          <ac:chgData name="Steiner Andreas 6206 ED" userId="e6377c33-a923-4f14-8587-531c474c7b48" providerId="ADAL" clId="{6ECD27E6-B224-41CD-B4E0-E297462320DD}" dt="2023-11-24T08:46:42.566" v="66267"/>
          <ac:spMkLst>
            <pc:docMk/>
            <pc:sldMk cId="3975964758" sldId="2147478571"/>
            <ac:spMk id="439" creationId="{AD57E7E3-DA8A-A191-2A47-5999136E21F8}"/>
          </ac:spMkLst>
        </pc:spChg>
        <pc:spChg chg="add del mod">
          <ac:chgData name="Steiner Andreas 6206 ED" userId="e6377c33-a923-4f14-8587-531c474c7b48" providerId="ADAL" clId="{6ECD27E6-B224-41CD-B4E0-E297462320DD}" dt="2023-11-24T08:46:44.684" v="66422"/>
          <ac:spMkLst>
            <pc:docMk/>
            <pc:sldMk cId="3975964758" sldId="2147478571"/>
            <ac:spMk id="440" creationId="{A4FFFD5A-15F4-E788-B24A-34DC17D4B863}"/>
          </ac:spMkLst>
        </pc:spChg>
        <pc:spChg chg="add del mod">
          <ac:chgData name="Steiner Andreas 6206 ED" userId="e6377c33-a923-4f14-8587-531c474c7b48" providerId="ADAL" clId="{6ECD27E6-B224-41CD-B4E0-E297462320DD}" dt="2023-11-24T08:46:46.752" v="66577"/>
          <ac:spMkLst>
            <pc:docMk/>
            <pc:sldMk cId="3975964758" sldId="2147478571"/>
            <ac:spMk id="441" creationId="{2362AE6B-3095-21CC-084B-D70438B24A00}"/>
          </ac:spMkLst>
        </pc:spChg>
        <pc:spChg chg="add del mod">
          <ac:chgData name="Steiner Andreas 6206 ED" userId="e6377c33-a923-4f14-8587-531c474c7b48" providerId="ADAL" clId="{6ECD27E6-B224-41CD-B4E0-E297462320DD}" dt="2023-11-24T08:46:48.882" v="66732"/>
          <ac:spMkLst>
            <pc:docMk/>
            <pc:sldMk cId="3975964758" sldId="2147478571"/>
            <ac:spMk id="442" creationId="{2E5C0675-9E48-53B3-CB37-C490031C6CCE}"/>
          </ac:spMkLst>
        </pc:spChg>
        <pc:spChg chg="add del mod">
          <ac:chgData name="Steiner Andreas 6206 ED" userId="e6377c33-a923-4f14-8587-531c474c7b48" providerId="ADAL" clId="{6ECD27E6-B224-41CD-B4E0-E297462320DD}" dt="2023-11-24T08:46:50.942" v="66887"/>
          <ac:spMkLst>
            <pc:docMk/>
            <pc:sldMk cId="3975964758" sldId="2147478571"/>
            <ac:spMk id="443" creationId="{375C8EF3-479E-89D5-B1D6-FB47A10CF3C7}"/>
          </ac:spMkLst>
        </pc:spChg>
        <pc:spChg chg="add del mod">
          <ac:chgData name="Steiner Andreas 6206 ED" userId="e6377c33-a923-4f14-8587-531c474c7b48" providerId="ADAL" clId="{6ECD27E6-B224-41CD-B4E0-E297462320DD}" dt="2023-11-24T08:46:53.003" v="67042"/>
          <ac:spMkLst>
            <pc:docMk/>
            <pc:sldMk cId="3975964758" sldId="2147478571"/>
            <ac:spMk id="444" creationId="{281F3157-194C-8324-C44B-8A1F352FD464}"/>
          </ac:spMkLst>
        </pc:spChg>
        <pc:spChg chg="add del mod">
          <ac:chgData name="Steiner Andreas 6206 ED" userId="e6377c33-a923-4f14-8587-531c474c7b48" providerId="ADAL" clId="{6ECD27E6-B224-41CD-B4E0-E297462320DD}" dt="2023-11-24T08:46:54.962" v="67197"/>
          <ac:spMkLst>
            <pc:docMk/>
            <pc:sldMk cId="3975964758" sldId="2147478571"/>
            <ac:spMk id="445" creationId="{C0A95B4B-0496-8811-52AE-724E7A560116}"/>
          </ac:spMkLst>
        </pc:spChg>
        <pc:spChg chg="add del mod">
          <ac:chgData name="Steiner Andreas 6206 ED" userId="e6377c33-a923-4f14-8587-531c474c7b48" providerId="ADAL" clId="{6ECD27E6-B224-41CD-B4E0-E297462320DD}" dt="2023-11-24T08:46:56.949" v="67352"/>
          <ac:spMkLst>
            <pc:docMk/>
            <pc:sldMk cId="3975964758" sldId="2147478571"/>
            <ac:spMk id="446" creationId="{8A305D48-9DBD-90A4-8387-656F056D3340}"/>
          </ac:spMkLst>
        </pc:spChg>
        <pc:spChg chg="add del mod">
          <ac:chgData name="Steiner Andreas 6206 ED" userId="e6377c33-a923-4f14-8587-531c474c7b48" providerId="ADAL" clId="{6ECD27E6-B224-41CD-B4E0-E297462320DD}" dt="2023-11-24T08:46:58.812" v="67507"/>
          <ac:spMkLst>
            <pc:docMk/>
            <pc:sldMk cId="3975964758" sldId="2147478571"/>
            <ac:spMk id="447" creationId="{C842F898-6417-DFC2-3C8C-246ABBF674DC}"/>
          </ac:spMkLst>
        </pc:spChg>
        <pc:spChg chg="add del mod">
          <ac:chgData name="Steiner Andreas 6206 ED" userId="e6377c33-a923-4f14-8587-531c474c7b48" providerId="ADAL" clId="{6ECD27E6-B224-41CD-B4E0-E297462320DD}" dt="2023-11-24T08:47:00.918" v="67662"/>
          <ac:spMkLst>
            <pc:docMk/>
            <pc:sldMk cId="3975964758" sldId="2147478571"/>
            <ac:spMk id="448" creationId="{4548BE52-CFBB-BFEF-1B01-CDA9FA1B15DD}"/>
          </ac:spMkLst>
        </pc:spChg>
        <pc:spChg chg="add del mod">
          <ac:chgData name="Steiner Andreas 6206 ED" userId="e6377c33-a923-4f14-8587-531c474c7b48" providerId="ADAL" clId="{6ECD27E6-B224-41CD-B4E0-E297462320DD}" dt="2023-11-24T08:47:03.059" v="67817"/>
          <ac:spMkLst>
            <pc:docMk/>
            <pc:sldMk cId="3975964758" sldId="2147478571"/>
            <ac:spMk id="449" creationId="{31F167CF-AE9A-12FB-3875-56F477147E82}"/>
          </ac:spMkLst>
        </pc:spChg>
        <pc:spChg chg="add del mod">
          <ac:chgData name="Steiner Andreas 6206 ED" userId="e6377c33-a923-4f14-8587-531c474c7b48" providerId="ADAL" clId="{6ECD27E6-B224-41CD-B4E0-E297462320DD}" dt="2023-11-24T08:47:05.076" v="67972"/>
          <ac:spMkLst>
            <pc:docMk/>
            <pc:sldMk cId="3975964758" sldId="2147478571"/>
            <ac:spMk id="450" creationId="{BE5645E2-56F0-E9D5-F480-C6FFBFD91C49}"/>
          </ac:spMkLst>
        </pc:spChg>
        <pc:spChg chg="add del mod">
          <ac:chgData name="Steiner Andreas 6206 ED" userId="e6377c33-a923-4f14-8587-531c474c7b48" providerId="ADAL" clId="{6ECD27E6-B224-41CD-B4E0-E297462320DD}" dt="2023-11-24T08:47:06.851" v="68127"/>
          <ac:spMkLst>
            <pc:docMk/>
            <pc:sldMk cId="3975964758" sldId="2147478571"/>
            <ac:spMk id="451" creationId="{21DBD63A-7B83-E48E-AAA0-AAAE373E75A9}"/>
          </ac:spMkLst>
        </pc:spChg>
        <pc:spChg chg="add del mod">
          <ac:chgData name="Steiner Andreas 6206 ED" userId="e6377c33-a923-4f14-8587-531c474c7b48" providerId="ADAL" clId="{6ECD27E6-B224-41CD-B4E0-E297462320DD}" dt="2023-11-24T08:47:08.740" v="68282"/>
          <ac:spMkLst>
            <pc:docMk/>
            <pc:sldMk cId="3975964758" sldId="2147478571"/>
            <ac:spMk id="452" creationId="{93B78252-421D-6822-29A4-40F0D8BCA53B}"/>
          </ac:spMkLst>
        </pc:spChg>
        <pc:spChg chg="add del mod">
          <ac:chgData name="Steiner Andreas 6206 ED" userId="e6377c33-a923-4f14-8587-531c474c7b48" providerId="ADAL" clId="{6ECD27E6-B224-41CD-B4E0-E297462320DD}" dt="2023-11-24T08:47:10.594" v="68437"/>
          <ac:spMkLst>
            <pc:docMk/>
            <pc:sldMk cId="3975964758" sldId="2147478571"/>
            <ac:spMk id="453" creationId="{CCB5EA8C-10B3-A06C-5FD0-C89812B33A07}"/>
          </ac:spMkLst>
        </pc:spChg>
        <pc:spChg chg="add del mod">
          <ac:chgData name="Steiner Andreas 6206 ED" userId="e6377c33-a923-4f14-8587-531c474c7b48" providerId="ADAL" clId="{6ECD27E6-B224-41CD-B4E0-E297462320DD}" dt="2023-11-24T08:47:12.497" v="68592"/>
          <ac:spMkLst>
            <pc:docMk/>
            <pc:sldMk cId="3975964758" sldId="2147478571"/>
            <ac:spMk id="454" creationId="{852C76CE-CDCD-B9CC-6AAE-C874585FE2AB}"/>
          </ac:spMkLst>
        </pc:spChg>
        <pc:spChg chg="add del mod">
          <ac:chgData name="Steiner Andreas 6206 ED" userId="e6377c33-a923-4f14-8587-531c474c7b48" providerId="ADAL" clId="{6ECD27E6-B224-41CD-B4E0-E297462320DD}" dt="2023-11-24T08:47:14.647" v="68747"/>
          <ac:spMkLst>
            <pc:docMk/>
            <pc:sldMk cId="3975964758" sldId="2147478571"/>
            <ac:spMk id="455" creationId="{3CD87600-AB1E-528E-D07C-5B695E1E8AC7}"/>
          </ac:spMkLst>
        </pc:spChg>
        <pc:spChg chg="add del mod">
          <ac:chgData name="Steiner Andreas 6206 ED" userId="e6377c33-a923-4f14-8587-531c474c7b48" providerId="ADAL" clId="{6ECD27E6-B224-41CD-B4E0-E297462320DD}" dt="2023-11-24T08:47:16.623" v="68902"/>
          <ac:spMkLst>
            <pc:docMk/>
            <pc:sldMk cId="3975964758" sldId="2147478571"/>
            <ac:spMk id="456" creationId="{4CF11912-06F1-5216-630F-BDC55C704413}"/>
          </ac:spMkLst>
        </pc:spChg>
        <pc:spChg chg="add del mod">
          <ac:chgData name="Steiner Andreas 6206 ED" userId="e6377c33-a923-4f14-8587-531c474c7b48" providerId="ADAL" clId="{6ECD27E6-B224-41CD-B4E0-E297462320DD}" dt="2023-11-24T08:47:18.528" v="69057"/>
          <ac:spMkLst>
            <pc:docMk/>
            <pc:sldMk cId="3975964758" sldId="2147478571"/>
            <ac:spMk id="457" creationId="{DA96E19D-CF14-6C48-42A9-07FB60ECB2B9}"/>
          </ac:spMkLst>
        </pc:spChg>
        <pc:spChg chg="add del mod">
          <ac:chgData name="Steiner Andreas 6206 ED" userId="e6377c33-a923-4f14-8587-531c474c7b48" providerId="ADAL" clId="{6ECD27E6-B224-41CD-B4E0-E297462320DD}" dt="2023-11-24T08:47:20.526" v="69212"/>
          <ac:spMkLst>
            <pc:docMk/>
            <pc:sldMk cId="3975964758" sldId="2147478571"/>
            <ac:spMk id="458" creationId="{FCCE270D-E352-45DF-06D3-38900CEECBAE}"/>
          </ac:spMkLst>
        </pc:spChg>
        <pc:spChg chg="add del mod">
          <ac:chgData name="Steiner Andreas 6206 ED" userId="e6377c33-a923-4f14-8587-531c474c7b48" providerId="ADAL" clId="{6ECD27E6-B224-41CD-B4E0-E297462320DD}" dt="2023-11-24T08:47:22.882" v="69367"/>
          <ac:spMkLst>
            <pc:docMk/>
            <pc:sldMk cId="3975964758" sldId="2147478571"/>
            <ac:spMk id="459" creationId="{7951E236-E43A-DE0E-C083-BF197A643667}"/>
          </ac:spMkLst>
        </pc:spChg>
        <pc:spChg chg="add del mod">
          <ac:chgData name="Steiner Andreas 6206 ED" userId="e6377c33-a923-4f14-8587-531c474c7b48" providerId="ADAL" clId="{6ECD27E6-B224-41CD-B4E0-E297462320DD}" dt="2023-11-24T08:47:25.558" v="69522"/>
          <ac:spMkLst>
            <pc:docMk/>
            <pc:sldMk cId="3975964758" sldId="2147478571"/>
            <ac:spMk id="460" creationId="{0CA222B4-AA4C-4A7D-51C3-25F16913C29B}"/>
          </ac:spMkLst>
        </pc:spChg>
        <pc:spChg chg="add del mod">
          <ac:chgData name="Steiner Andreas 6206 ED" userId="e6377c33-a923-4f14-8587-531c474c7b48" providerId="ADAL" clId="{6ECD27E6-B224-41CD-B4E0-E297462320DD}" dt="2023-11-24T08:47:27.763" v="69677"/>
          <ac:spMkLst>
            <pc:docMk/>
            <pc:sldMk cId="3975964758" sldId="2147478571"/>
            <ac:spMk id="461" creationId="{07F5114C-C721-8D42-8CBF-B8A8B06A3C45}"/>
          </ac:spMkLst>
        </pc:spChg>
        <pc:spChg chg="add del mod">
          <ac:chgData name="Steiner Andreas 6206 ED" userId="e6377c33-a923-4f14-8587-531c474c7b48" providerId="ADAL" clId="{6ECD27E6-B224-41CD-B4E0-E297462320DD}" dt="2023-11-24T08:47:29.840" v="69832"/>
          <ac:spMkLst>
            <pc:docMk/>
            <pc:sldMk cId="3975964758" sldId="2147478571"/>
            <ac:spMk id="462" creationId="{82B663D5-92C4-B03E-61E2-D861C264FEF2}"/>
          </ac:spMkLst>
        </pc:spChg>
        <pc:spChg chg="add del mod">
          <ac:chgData name="Steiner Andreas 6206 ED" userId="e6377c33-a923-4f14-8587-531c474c7b48" providerId="ADAL" clId="{6ECD27E6-B224-41CD-B4E0-E297462320DD}" dt="2023-11-24T08:47:31.807" v="69987"/>
          <ac:spMkLst>
            <pc:docMk/>
            <pc:sldMk cId="3975964758" sldId="2147478571"/>
            <ac:spMk id="463" creationId="{0173E9BF-E54D-74D4-AB4B-BDAD84976211}"/>
          </ac:spMkLst>
        </pc:spChg>
        <pc:spChg chg="add del mod">
          <ac:chgData name="Steiner Andreas 6206 ED" userId="e6377c33-a923-4f14-8587-531c474c7b48" providerId="ADAL" clId="{6ECD27E6-B224-41CD-B4E0-E297462320DD}" dt="2023-11-24T08:47:33.802" v="70142"/>
          <ac:spMkLst>
            <pc:docMk/>
            <pc:sldMk cId="3975964758" sldId="2147478571"/>
            <ac:spMk id="464" creationId="{FC802A23-52CF-228F-BE52-0FE5572915A4}"/>
          </ac:spMkLst>
        </pc:spChg>
        <pc:spChg chg="add del mod">
          <ac:chgData name="Steiner Andreas 6206 ED" userId="e6377c33-a923-4f14-8587-531c474c7b48" providerId="ADAL" clId="{6ECD27E6-B224-41CD-B4E0-E297462320DD}" dt="2023-11-24T08:47:35.955" v="70297"/>
          <ac:spMkLst>
            <pc:docMk/>
            <pc:sldMk cId="3975964758" sldId="2147478571"/>
            <ac:spMk id="465" creationId="{C94A0DF8-CD8E-C9E1-03D1-BB60FB840461}"/>
          </ac:spMkLst>
        </pc:spChg>
        <pc:spChg chg="add del mod">
          <ac:chgData name="Steiner Andreas 6206 ED" userId="e6377c33-a923-4f14-8587-531c474c7b48" providerId="ADAL" clId="{6ECD27E6-B224-41CD-B4E0-E297462320DD}" dt="2023-11-24T08:47:38.064" v="70452"/>
          <ac:spMkLst>
            <pc:docMk/>
            <pc:sldMk cId="3975964758" sldId="2147478571"/>
            <ac:spMk id="466" creationId="{D3851DCD-5763-3E8F-E06E-644AAD4DAB37}"/>
          </ac:spMkLst>
        </pc:spChg>
        <pc:spChg chg="add del mod">
          <ac:chgData name="Steiner Andreas 6206 ED" userId="e6377c33-a923-4f14-8587-531c474c7b48" providerId="ADAL" clId="{6ECD27E6-B224-41CD-B4E0-E297462320DD}" dt="2023-11-24T08:47:40.141" v="70607"/>
          <ac:spMkLst>
            <pc:docMk/>
            <pc:sldMk cId="3975964758" sldId="2147478571"/>
            <ac:spMk id="467" creationId="{820D1AEF-7568-B38D-70E8-549BF4ED9A17}"/>
          </ac:spMkLst>
        </pc:spChg>
        <pc:spChg chg="add del mod">
          <ac:chgData name="Steiner Andreas 6206 ED" userId="e6377c33-a923-4f14-8587-531c474c7b48" providerId="ADAL" clId="{6ECD27E6-B224-41CD-B4E0-E297462320DD}" dt="2023-11-24T08:47:42.070" v="70762"/>
          <ac:spMkLst>
            <pc:docMk/>
            <pc:sldMk cId="3975964758" sldId="2147478571"/>
            <ac:spMk id="468" creationId="{E38ED782-00D0-08FB-165C-B81CE8228B81}"/>
          </ac:spMkLst>
        </pc:spChg>
        <pc:spChg chg="add del mod">
          <ac:chgData name="Steiner Andreas 6206 ED" userId="e6377c33-a923-4f14-8587-531c474c7b48" providerId="ADAL" clId="{6ECD27E6-B224-41CD-B4E0-E297462320DD}" dt="2023-11-24T08:47:43.989" v="70917"/>
          <ac:spMkLst>
            <pc:docMk/>
            <pc:sldMk cId="3975964758" sldId="2147478571"/>
            <ac:spMk id="469" creationId="{1DC37F59-3C50-16BA-3628-4F5630689E73}"/>
          </ac:spMkLst>
        </pc:spChg>
        <pc:spChg chg="add del mod">
          <ac:chgData name="Steiner Andreas 6206 ED" userId="e6377c33-a923-4f14-8587-531c474c7b48" providerId="ADAL" clId="{6ECD27E6-B224-41CD-B4E0-E297462320DD}" dt="2023-11-24T08:47:45.914" v="71072"/>
          <ac:spMkLst>
            <pc:docMk/>
            <pc:sldMk cId="3975964758" sldId="2147478571"/>
            <ac:spMk id="470" creationId="{15B3F1F6-1544-83C6-1C47-5ACB45C05160}"/>
          </ac:spMkLst>
        </pc:spChg>
        <pc:spChg chg="add del mod">
          <ac:chgData name="Steiner Andreas 6206 ED" userId="e6377c33-a923-4f14-8587-531c474c7b48" providerId="ADAL" clId="{6ECD27E6-B224-41CD-B4E0-E297462320DD}" dt="2023-11-24T08:47:47.994" v="71227"/>
          <ac:spMkLst>
            <pc:docMk/>
            <pc:sldMk cId="3975964758" sldId="2147478571"/>
            <ac:spMk id="471" creationId="{09652BB8-2AF1-0A6E-10E7-CF180D7B54B1}"/>
          </ac:spMkLst>
        </pc:spChg>
        <pc:spChg chg="add del mod">
          <ac:chgData name="Steiner Andreas 6206 ED" userId="e6377c33-a923-4f14-8587-531c474c7b48" providerId="ADAL" clId="{6ECD27E6-B224-41CD-B4E0-E297462320DD}" dt="2023-11-24T08:47:50.104" v="71382"/>
          <ac:spMkLst>
            <pc:docMk/>
            <pc:sldMk cId="3975964758" sldId="2147478571"/>
            <ac:spMk id="472" creationId="{26B2FB4C-FA2B-3DD1-4D5A-7D9CB33DA618}"/>
          </ac:spMkLst>
        </pc:spChg>
        <pc:spChg chg="add del mod">
          <ac:chgData name="Steiner Andreas 6206 ED" userId="e6377c33-a923-4f14-8587-531c474c7b48" providerId="ADAL" clId="{6ECD27E6-B224-41CD-B4E0-E297462320DD}" dt="2023-11-24T08:47:52.020" v="71537"/>
          <ac:spMkLst>
            <pc:docMk/>
            <pc:sldMk cId="3975964758" sldId="2147478571"/>
            <ac:spMk id="473" creationId="{7368D0F2-DAA7-70C6-87DD-EEF06AB81EF9}"/>
          </ac:spMkLst>
        </pc:spChg>
        <pc:spChg chg="add del mod">
          <ac:chgData name="Steiner Andreas 6206 ED" userId="e6377c33-a923-4f14-8587-531c474c7b48" providerId="ADAL" clId="{6ECD27E6-B224-41CD-B4E0-E297462320DD}" dt="2023-11-24T08:47:53.974" v="71692"/>
          <ac:spMkLst>
            <pc:docMk/>
            <pc:sldMk cId="3975964758" sldId="2147478571"/>
            <ac:spMk id="474" creationId="{8211E8D1-9BA7-A7BE-4778-CB487A77E6CE}"/>
          </ac:spMkLst>
        </pc:spChg>
        <pc:spChg chg="add del mod">
          <ac:chgData name="Steiner Andreas 6206 ED" userId="e6377c33-a923-4f14-8587-531c474c7b48" providerId="ADAL" clId="{6ECD27E6-B224-41CD-B4E0-E297462320DD}" dt="2023-11-24T08:47:55.803" v="71847"/>
          <ac:spMkLst>
            <pc:docMk/>
            <pc:sldMk cId="3975964758" sldId="2147478571"/>
            <ac:spMk id="475" creationId="{B83D172E-B9F5-F8CE-938D-7C878DE65498}"/>
          </ac:spMkLst>
        </pc:spChg>
        <pc:spChg chg="add del mod">
          <ac:chgData name="Steiner Andreas 6206 ED" userId="e6377c33-a923-4f14-8587-531c474c7b48" providerId="ADAL" clId="{6ECD27E6-B224-41CD-B4E0-E297462320DD}" dt="2023-11-24T08:47:57.794" v="72002"/>
          <ac:spMkLst>
            <pc:docMk/>
            <pc:sldMk cId="3975964758" sldId="2147478571"/>
            <ac:spMk id="476" creationId="{48FACE5E-4253-E2F3-BB48-4B3E3540D035}"/>
          </ac:spMkLst>
        </pc:spChg>
        <pc:spChg chg="add del mod">
          <ac:chgData name="Steiner Andreas 6206 ED" userId="e6377c33-a923-4f14-8587-531c474c7b48" providerId="ADAL" clId="{6ECD27E6-B224-41CD-B4E0-E297462320DD}" dt="2023-11-24T08:47:59.914" v="72157"/>
          <ac:spMkLst>
            <pc:docMk/>
            <pc:sldMk cId="3975964758" sldId="2147478571"/>
            <ac:spMk id="477" creationId="{0D862AF4-E483-7317-95B2-CBE140E62275}"/>
          </ac:spMkLst>
        </pc:spChg>
        <pc:spChg chg="add del mod">
          <ac:chgData name="Steiner Andreas 6206 ED" userId="e6377c33-a923-4f14-8587-531c474c7b48" providerId="ADAL" clId="{6ECD27E6-B224-41CD-B4E0-E297462320DD}" dt="2023-11-24T08:48:02.048" v="72312"/>
          <ac:spMkLst>
            <pc:docMk/>
            <pc:sldMk cId="3975964758" sldId="2147478571"/>
            <ac:spMk id="478" creationId="{ACF857C3-30C6-CBCB-7316-A2C4418DD2DD}"/>
          </ac:spMkLst>
        </pc:spChg>
        <pc:spChg chg="add del mod">
          <ac:chgData name="Steiner Andreas 6206 ED" userId="e6377c33-a923-4f14-8587-531c474c7b48" providerId="ADAL" clId="{6ECD27E6-B224-41CD-B4E0-E297462320DD}" dt="2023-11-24T08:48:04.072" v="72467"/>
          <ac:spMkLst>
            <pc:docMk/>
            <pc:sldMk cId="3975964758" sldId="2147478571"/>
            <ac:spMk id="479" creationId="{6381CFC2-19A9-328D-0F4B-6028C6486FB1}"/>
          </ac:spMkLst>
        </pc:spChg>
        <pc:spChg chg="add del mod">
          <ac:chgData name="Steiner Andreas 6206 ED" userId="e6377c33-a923-4f14-8587-531c474c7b48" providerId="ADAL" clId="{6ECD27E6-B224-41CD-B4E0-E297462320DD}" dt="2023-11-24T08:48:06.264" v="72622"/>
          <ac:spMkLst>
            <pc:docMk/>
            <pc:sldMk cId="3975964758" sldId="2147478571"/>
            <ac:spMk id="480" creationId="{E42414FE-0F88-CF94-7AB1-F79968BC6C98}"/>
          </ac:spMkLst>
        </pc:spChg>
        <pc:spChg chg="add del mod">
          <ac:chgData name="Steiner Andreas 6206 ED" userId="e6377c33-a923-4f14-8587-531c474c7b48" providerId="ADAL" clId="{6ECD27E6-B224-41CD-B4E0-E297462320DD}" dt="2023-11-24T08:48:08.453" v="72777"/>
          <ac:spMkLst>
            <pc:docMk/>
            <pc:sldMk cId="3975964758" sldId="2147478571"/>
            <ac:spMk id="481" creationId="{907F4E20-2F7B-1404-780C-B71FB64237D5}"/>
          </ac:spMkLst>
        </pc:spChg>
        <pc:spChg chg="add del mod">
          <ac:chgData name="Steiner Andreas 6206 ED" userId="e6377c33-a923-4f14-8587-531c474c7b48" providerId="ADAL" clId="{6ECD27E6-B224-41CD-B4E0-E297462320DD}" dt="2023-11-24T08:48:10.495" v="72932"/>
          <ac:spMkLst>
            <pc:docMk/>
            <pc:sldMk cId="3975964758" sldId="2147478571"/>
            <ac:spMk id="482" creationId="{6AD016AC-7BFF-0F8C-4D11-DE154367AB43}"/>
          </ac:spMkLst>
        </pc:spChg>
        <pc:spChg chg="add del mod">
          <ac:chgData name="Steiner Andreas 6206 ED" userId="e6377c33-a923-4f14-8587-531c474c7b48" providerId="ADAL" clId="{6ECD27E6-B224-41CD-B4E0-E297462320DD}" dt="2023-11-24T08:48:12.465" v="73087"/>
          <ac:spMkLst>
            <pc:docMk/>
            <pc:sldMk cId="3975964758" sldId="2147478571"/>
            <ac:spMk id="483" creationId="{2A7365BF-0004-E678-A528-5AF0E0F7FB75}"/>
          </ac:spMkLst>
        </pc:spChg>
        <pc:spChg chg="add del mod">
          <ac:chgData name="Steiner Andreas 6206 ED" userId="e6377c33-a923-4f14-8587-531c474c7b48" providerId="ADAL" clId="{6ECD27E6-B224-41CD-B4E0-E297462320DD}" dt="2023-11-24T08:48:14.959" v="73242"/>
          <ac:spMkLst>
            <pc:docMk/>
            <pc:sldMk cId="3975964758" sldId="2147478571"/>
            <ac:spMk id="484" creationId="{6778D489-105D-A2F5-7DC4-4B327A90AA3F}"/>
          </ac:spMkLst>
        </pc:spChg>
        <pc:spChg chg="add del mod">
          <ac:chgData name="Steiner Andreas 6206 ED" userId="e6377c33-a923-4f14-8587-531c474c7b48" providerId="ADAL" clId="{6ECD27E6-B224-41CD-B4E0-E297462320DD}" dt="2023-11-24T08:48:17.759" v="73397"/>
          <ac:spMkLst>
            <pc:docMk/>
            <pc:sldMk cId="3975964758" sldId="2147478571"/>
            <ac:spMk id="485" creationId="{A2B2C6EF-3BEA-AA8D-62FF-A27D460D8C34}"/>
          </ac:spMkLst>
        </pc:spChg>
        <pc:spChg chg="add del mod">
          <ac:chgData name="Steiner Andreas 6206 ED" userId="e6377c33-a923-4f14-8587-531c474c7b48" providerId="ADAL" clId="{6ECD27E6-B224-41CD-B4E0-E297462320DD}" dt="2023-11-24T08:48:20.304" v="73552"/>
          <ac:spMkLst>
            <pc:docMk/>
            <pc:sldMk cId="3975964758" sldId="2147478571"/>
            <ac:spMk id="486" creationId="{6CAC9399-7805-2918-B60D-D44E1A394BC4}"/>
          </ac:spMkLst>
        </pc:spChg>
        <pc:spChg chg="add del mod">
          <ac:chgData name="Steiner Andreas 6206 ED" userId="e6377c33-a923-4f14-8587-531c474c7b48" providerId="ADAL" clId="{6ECD27E6-B224-41CD-B4E0-E297462320DD}" dt="2023-11-24T08:48:22.439" v="73707"/>
          <ac:spMkLst>
            <pc:docMk/>
            <pc:sldMk cId="3975964758" sldId="2147478571"/>
            <ac:spMk id="487" creationId="{E4DA5129-338C-EB7E-D898-FDCBE4706B86}"/>
          </ac:spMkLst>
        </pc:spChg>
        <pc:spChg chg="add del mod">
          <ac:chgData name="Steiner Andreas 6206 ED" userId="e6377c33-a923-4f14-8587-531c474c7b48" providerId="ADAL" clId="{6ECD27E6-B224-41CD-B4E0-E297462320DD}" dt="2023-11-24T08:48:24.518" v="73862"/>
          <ac:spMkLst>
            <pc:docMk/>
            <pc:sldMk cId="3975964758" sldId="2147478571"/>
            <ac:spMk id="488" creationId="{1DF14396-2E6E-03A9-0E69-87011612BCB4}"/>
          </ac:spMkLst>
        </pc:spChg>
        <pc:spChg chg="add del mod">
          <ac:chgData name="Steiner Andreas 6206 ED" userId="e6377c33-a923-4f14-8587-531c474c7b48" providerId="ADAL" clId="{6ECD27E6-B224-41CD-B4E0-E297462320DD}" dt="2023-11-24T08:48:26.626" v="74017"/>
          <ac:spMkLst>
            <pc:docMk/>
            <pc:sldMk cId="3975964758" sldId="2147478571"/>
            <ac:spMk id="489" creationId="{EEDD7EFE-C1CC-0594-F30A-A1209A89B04D}"/>
          </ac:spMkLst>
        </pc:spChg>
        <pc:spChg chg="add del mod">
          <ac:chgData name="Steiner Andreas 6206 ED" userId="e6377c33-a923-4f14-8587-531c474c7b48" providerId="ADAL" clId="{6ECD27E6-B224-41CD-B4E0-E297462320DD}" dt="2023-11-24T08:48:28.637" v="74172"/>
          <ac:spMkLst>
            <pc:docMk/>
            <pc:sldMk cId="3975964758" sldId="2147478571"/>
            <ac:spMk id="490" creationId="{BB299006-FFEC-F774-F0A2-C8EA0DCC2D80}"/>
          </ac:spMkLst>
        </pc:spChg>
        <pc:spChg chg="add del mod">
          <ac:chgData name="Steiner Andreas 6206 ED" userId="e6377c33-a923-4f14-8587-531c474c7b48" providerId="ADAL" clId="{6ECD27E6-B224-41CD-B4E0-E297462320DD}" dt="2023-11-24T08:48:30.516" v="74327"/>
          <ac:spMkLst>
            <pc:docMk/>
            <pc:sldMk cId="3975964758" sldId="2147478571"/>
            <ac:spMk id="491" creationId="{4F5698F8-8A8D-DD39-EDDF-B2E6DDB20C8F}"/>
          </ac:spMkLst>
        </pc:spChg>
        <pc:spChg chg="add del mod">
          <ac:chgData name="Steiner Andreas 6206 ED" userId="e6377c33-a923-4f14-8587-531c474c7b48" providerId="ADAL" clId="{6ECD27E6-B224-41CD-B4E0-E297462320DD}" dt="2023-11-24T08:48:32.479" v="74482"/>
          <ac:spMkLst>
            <pc:docMk/>
            <pc:sldMk cId="3975964758" sldId="2147478571"/>
            <ac:spMk id="492" creationId="{CA627D5F-A39B-3666-0F6E-A2D8E540C8E3}"/>
          </ac:spMkLst>
        </pc:spChg>
        <pc:spChg chg="add del mod">
          <ac:chgData name="Steiner Andreas 6206 ED" userId="e6377c33-a923-4f14-8587-531c474c7b48" providerId="ADAL" clId="{6ECD27E6-B224-41CD-B4E0-E297462320DD}" dt="2023-11-24T08:48:34.764" v="74637"/>
          <ac:spMkLst>
            <pc:docMk/>
            <pc:sldMk cId="3975964758" sldId="2147478571"/>
            <ac:spMk id="493" creationId="{14858B9E-DC56-4B12-2D4D-CF463AEC555A}"/>
          </ac:spMkLst>
        </pc:spChg>
        <pc:spChg chg="add del mod">
          <ac:chgData name="Steiner Andreas 6206 ED" userId="e6377c33-a923-4f14-8587-531c474c7b48" providerId="ADAL" clId="{6ECD27E6-B224-41CD-B4E0-E297462320DD}" dt="2023-11-24T08:48:36.887" v="74792"/>
          <ac:spMkLst>
            <pc:docMk/>
            <pc:sldMk cId="3975964758" sldId="2147478571"/>
            <ac:spMk id="494" creationId="{C691F75E-501D-15EE-A1FB-7F114F90F752}"/>
          </ac:spMkLst>
        </pc:spChg>
        <pc:spChg chg="add del mod">
          <ac:chgData name="Steiner Andreas 6206 ED" userId="e6377c33-a923-4f14-8587-531c474c7b48" providerId="ADAL" clId="{6ECD27E6-B224-41CD-B4E0-E297462320DD}" dt="2023-11-24T08:48:38.959" v="74947"/>
          <ac:spMkLst>
            <pc:docMk/>
            <pc:sldMk cId="3975964758" sldId="2147478571"/>
            <ac:spMk id="495" creationId="{C161730D-B8EB-23E0-F25D-CE79E1FFC75F}"/>
          </ac:spMkLst>
        </pc:spChg>
        <pc:spChg chg="add del mod">
          <ac:chgData name="Steiner Andreas 6206 ED" userId="e6377c33-a923-4f14-8587-531c474c7b48" providerId="ADAL" clId="{6ECD27E6-B224-41CD-B4E0-E297462320DD}" dt="2023-11-24T08:48:41.084" v="75102"/>
          <ac:spMkLst>
            <pc:docMk/>
            <pc:sldMk cId="3975964758" sldId="2147478571"/>
            <ac:spMk id="496" creationId="{82D851EB-3E38-6E41-05AE-E1D3205ECC21}"/>
          </ac:spMkLst>
        </pc:spChg>
        <pc:spChg chg="add del mod">
          <ac:chgData name="Steiner Andreas 6206 ED" userId="e6377c33-a923-4f14-8587-531c474c7b48" providerId="ADAL" clId="{6ECD27E6-B224-41CD-B4E0-E297462320DD}" dt="2023-11-24T08:48:43.515" v="75257"/>
          <ac:spMkLst>
            <pc:docMk/>
            <pc:sldMk cId="3975964758" sldId="2147478571"/>
            <ac:spMk id="497" creationId="{0EB44F27-9336-31D7-1868-3AFE6D1E0FCE}"/>
          </ac:spMkLst>
        </pc:spChg>
        <pc:spChg chg="add del mod">
          <ac:chgData name="Steiner Andreas 6206 ED" userId="e6377c33-a923-4f14-8587-531c474c7b48" providerId="ADAL" clId="{6ECD27E6-B224-41CD-B4E0-E297462320DD}" dt="2023-11-24T08:48:45.831" v="75412"/>
          <ac:spMkLst>
            <pc:docMk/>
            <pc:sldMk cId="3975964758" sldId="2147478571"/>
            <ac:spMk id="498" creationId="{BC447AB7-861C-0426-C03E-031EFE677C10}"/>
          </ac:spMkLst>
        </pc:spChg>
        <pc:spChg chg="add del mod">
          <ac:chgData name="Steiner Andreas 6206 ED" userId="e6377c33-a923-4f14-8587-531c474c7b48" providerId="ADAL" clId="{6ECD27E6-B224-41CD-B4E0-E297462320DD}" dt="2023-11-24T08:48:47.877" v="75567"/>
          <ac:spMkLst>
            <pc:docMk/>
            <pc:sldMk cId="3975964758" sldId="2147478571"/>
            <ac:spMk id="499" creationId="{4BAE7C1B-9629-5C56-558A-03BFD8F79914}"/>
          </ac:spMkLst>
        </pc:spChg>
        <pc:spChg chg="add del mod">
          <ac:chgData name="Steiner Andreas 6206 ED" userId="e6377c33-a923-4f14-8587-531c474c7b48" providerId="ADAL" clId="{6ECD27E6-B224-41CD-B4E0-E297462320DD}" dt="2023-11-24T08:48:49.820" v="75722"/>
          <ac:spMkLst>
            <pc:docMk/>
            <pc:sldMk cId="3975964758" sldId="2147478571"/>
            <ac:spMk id="500" creationId="{C17A23D9-6B41-A6BD-4ADA-79ECF99CA535}"/>
          </ac:spMkLst>
        </pc:spChg>
        <pc:spChg chg="add del mod">
          <ac:chgData name="Steiner Andreas 6206 ED" userId="e6377c33-a923-4f14-8587-531c474c7b48" providerId="ADAL" clId="{6ECD27E6-B224-41CD-B4E0-E297462320DD}" dt="2023-11-24T08:48:52.066" v="75877"/>
          <ac:spMkLst>
            <pc:docMk/>
            <pc:sldMk cId="3975964758" sldId="2147478571"/>
            <ac:spMk id="501" creationId="{249F9EBB-CE81-FDD3-FBBB-B7F3A1B50C97}"/>
          </ac:spMkLst>
        </pc:spChg>
        <pc:spChg chg="add del mod">
          <ac:chgData name="Steiner Andreas 6206 ED" userId="e6377c33-a923-4f14-8587-531c474c7b48" providerId="ADAL" clId="{6ECD27E6-B224-41CD-B4E0-E297462320DD}" dt="2023-11-24T08:48:53.979" v="76032"/>
          <ac:spMkLst>
            <pc:docMk/>
            <pc:sldMk cId="3975964758" sldId="2147478571"/>
            <ac:spMk id="502" creationId="{74D86078-ACF4-BFBB-1653-B769B942EEF0}"/>
          </ac:spMkLst>
        </pc:spChg>
        <pc:spChg chg="add del mod">
          <ac:chgData name="Steiner Andreas 6206 ED" userId="e6377c33-a923-4f14-8587-531c474c7b48" providerId="ADAL" clId="{6ECD27E6-B224-41CD-B4E0-E297462320DD}" dt="2023-11-24T08:48:55.966" v="76187"/>
          <ac:spMkLst>
            <pc:docMk/>
            <pc:sldMk cId="3975964758" sldId="2147478571"/>
            <ac:spMk id="503" creationId="{5BE6765F-F674-430F-017C-C9F153B608A9}"/>
          </ac:spMkLst>
        </pc:spChg>
        <pc:spChg chg="add del mod">
          <ac:chgData name="Steiner Andreas 6206 ED" userId="e6377c33-a923-4f14-8587-531c474c7b48" providerId="ADAL" clId="{6ECD27E6-B224-41CD-B4E0-E297462320DD}" dt="2023-11-24T08:48:57.912" v="76342"/>
          <ac:spMkLst>
            <pc:docMk/>
            <pc:sldMk cId="3975964758" sldId="2147478571"/>
            <ac:spMk id="504" creationId="{63D30CAD-3D4F-24DB-52C0-F668F270D6D7}"/>
          </ac:spMkLst>
        </pc:spChg>
        <pc:spChg chg="add del mod">
          <ac:chgData name="Steiner Andreas 6206 ED" userId="e6377c33-a923-4f14-8587-531c474c7b48" providerId="ADAL" clId="{6ECD27E6-B224-41CD-B4E0-E297462320DD}" dt="2023-11-24T08:48:59.966" v="76497"/>
          <ac:spMkLst>
            <pc:docMk/>
            <pc:sldMk cId="3975964758" sldId="2147478571"/>
            <ac:spMk id="505" creationId="{539D0F29-BAFC-4017-BEA3-55474807F9ED}"/>
          </ac:spMkLst>
        </pc:spChg>
        <pc:spChg chg="add del mod">
          <ac:chgData name="Steiner Andreas 6206 ED" userId="e6377c33-a923-4f14-8587-531c474c7b48" providerId="ADAL" clId="{6ECD27E6-B224-41CD-B4E0-E297462320DD}" dt="2023-11-24T08:49:01.948" v="76652"/>
          <ac:spMkLst>
            <pc:docMk/>
            <pc:sldMk cId="3975964758" sldId="2147478571"/>
            <ac:spMk id="506" creationId="{B4D06666-6E97-D9A2-497E-C5E223C3DE55}"/>
          </ac:spMkLst>
        </pc:spChg>
        <pc:spChg chg="add del mod">
          <ac:chgData name="Steiner Andreas 6206 ED" userId="e6377c33-a923-4f14-8587-531c474c7b48" providerId="ADAL" clId="{6ECD27E6-B224-41CD-B4E0-E297462320DD}" dt="2023-11-24T08:49:03.908" v="76807"/>
          <ac:spMkLst>
            <pc:docMk/>
            <pc:sldMk cId="3975964758" sldId="2147478571"/>
            <ac:spMk id="507" creationId="{F9BE7880-FAE9-2DB2-0116-98D19B5A384F}"/>
          </ac:spMkLst>
        </pc:spChg>
        <pc:spChg chg="add del mod">
          <ac:chgData name="Steiner Andreas 6206 ED" userId="e6377c33-a923-4f14-8587-531c474c7b48" providerId="ADAL" clId="{6ECD27E6-B224-41CD-B4E0-E297462320DD}" dt="2023-11-24T08:49:05.801" v="76962"/>
          <ac:spMkLst>
            <pc:docMk/>
            <pc:sldMk cId="3975964758" sldId="2147478571"/>
            <ac:spMk id="508" creationId="{358E228C-F270-CF97-0733-7B282F3A349F}"/>
          </ac:spMkLst>
        </pc:spChg>
        <pc:spChg chg="add del mod">
          <ac:chgData name="Steiner Andreas 6206 ED" userId="e6377c33-a923-4f14-8587-531c474c7b48" providerId="ADAL" clId="{6ECD27E6-B224-41CD-B4E0-E297462320DD}" dt="2023-11-24T08:49:07.915" v="77117"/>
          <ac:spMkLst>
            <pc:docMk/>
            <pc:sldMk cId="3975964758" sldId="2147478571"/>
            <ac:spMk id="509" creationId="{1BF14C06-6038-98DF-7BFB-08C1E09AC4A1}"/>
          </ac:spMkLst>
        </pc:spChg>
        <pc:spChg chg="add del mod">
          <ac:chgData name="Steiner Andreas 6206 ED" userId="e6377c33-a923-4f14-8587-531c474c7b48" providerId="ADAL" clId="{6ECD27E6-B224-41CD-B4E0-E297462320DD}" dt="2023-11-24T08:49:09.802" v="77272"/>
          <ac:spMkLst>
            <pc:docMk/>
            <pc:sldMk cId="3975964758" sldId="2147478571"/>
            <ac:spMk id="510" creationId="{B77ACEC8-D0D6-BBFC-EB8F-B6EAC0D98F5F}"/>
          </ac:spMkLst>
        </pc:spChg>
        <pc:spChg chg="add del mod">
          <ac:chgData name="Steiner Andreas 6206 ED" userId="e6377c33-a923-4f14-8587-531c474c7b48" providerId="ADAL" clId="{6ECD27E6-B224-41CD-B4E0-E297462320DD}" dt="2023-11-24T08:49:11.578" v="77427"/>
          <ac:spMkLst>
            <pc:docMk/>
            <pc:sldMk cId="3975964758" sldId="2147478571"/>
            <ac:spMk id="511" creationId="{17F971A0-A5EC-9DD5-7713-970B135D623A}"/>
          </ac:spMkLst>
        </pc:spChg>
        <pc:spChg chg="add del mod">
          <ac:chgData name="Steiner Andreas 6206 ED" userId="e6377c33-a923-4f14-8587-531c474c7b48" providerId="ADAL" clId="{6ECD27E6-B224-41CD-B4E0-E297462320DD}" dt="2023-11-24T08:49:13.670" v="77582"/>
          <ac:spMkLst>
            <pc:docMk/>
            <pc:sldMk cId="3975964758" sldId="2147478571"/>
            <ac:spMk id="512" creationId="{956C09D1-5651-D975-9924-6B38B13723DB}"/>
          </ac:spMkLst>
        </pc:spChg>
        <pc:spChg chg="add del mod">
          <ac:chgData name="Steiner Andreas 6206 ED" userId="e6377c33-a923-4f14-8587-531c474c7b48" providerId="ADAL" clId="{6ECD27E6-B224-41CD-B4E0-E297462320DD}" dt="2023-11-24T08:49:15.674" v="77737"/>
          <ac:spMkLst>
            <pc:docMk/>
            <pc:sldMk cId="3975964758" sldId="2147478571"/>
            <ac:spMk id="513" creationId="{0A2F2B8E-0FF5-EEB8-FE53-44DEE757BA70}"/>
          </ac:spMkLst>
        </pc:spChg>
        <pc:spChg chg="add del mod">
          <ac:chgData name="Steiner Andreas 6206 ED" userId="e6377c33-a923-4f14-8587-531c474c7b48" providerId="ADAL" clId="{6ECD27E6-B224-41CD-B4E0-E297462320DD}" dt="2023-11-24T08:49:17.691" v="77892"/>
          <ac:spMkLst>
            <pc:docMk/>
            <pc:sldMk cId="3975964758" sldId="2147478571"/>
            <ac:spMk id="514" creationId="{2BEAC75C-C5C8-ECDD-420E-7C3FC5D2717D}"/>
          </ac:spMkLst>
        </pc:spChg>
        <pc:spChg chg="add del mod">
          <ac:chgData name="Steiner Andreas 6206 ED" userId="e6377c33-a923-4f14-8587-531c474c7b48" providerId="ADAL" clId="{6ECD27E6-B224-41CD-B4E0-E297462320DD}" dt="2023-11-24T08:49:19.750" v="78047"/>
          <ac:spMkLst>
            <pc:docMk/>
            <pc:sldMk cId="3975964758" sldId="2147478571"/>
            <ac:spMk id="515" creationId="{7E485B40-7BB4-6E49-899B-C7DBD04309D7}"/>
          </ac:spMkLst>
        </pc:spChg>
        <pc:spChg chg="add del mod">
          <ac:chgData name="Steiner Andreas 6206 ED" userId="e6377c33-a923-4f14-8587-531c474c7b48" providerId="ADAL" clId="{6ECD27E6-B224-41CD-B4E0-E297462320DD}" dt="2023-11-24T08:49:21.657" v="78202"/>
          <ac:spMkLst>
            <pc:docMk/>
            <pc:sldMk cId="3975964758" sldId="2147478571"/>
            <ac:spMk id="516" creationId="{2216DC49-A2DE-8616-0F64-ED43B635CB17}"/>
          </ac:spMkLst>
        </pc:spChg>
        <pc:spChg chg="add del mod">
          <ac:chgData name="Steiner Andreas 6206 ED" userId="e6377c33-a923-4f14-8587-531c474c7b48" providerId="ADAL" clId="{6ECD27E6-B224-41CD-B4E0-E297462320DD}" dt="2023-11-24T08:49:23.551" v="78357"/>
          <ac:spMkLst>
            <pc:docMk/>
            <pc:sldMk cId="3975964758" sldId="2147478571"/>
            <ac:spMk id="517" creationId="{660520C6-43E1-9AA8-CCCA-9C23A091098E}"/>
          </ac:spMkLst>
        </pc:spChg>
        <pc:spChg chg="add del mod">
          <ac:chgData name="Steiner Andreas 6206 ED" userId="e6377c33-a923-4f14-8587-531c474c7b48" providerId="ADAL" clId="{6ECD27E6-B224-41CD-B4E0-E297462320DD}" dt="2023-11-24T08:49:25.434" v="78512"/>
          <ac:spMkLst>
            <pc:docMk/>
            <pc:sldMk cId="3975964758" sldId="2147478571"/>
            <ac:spMk id="518" creationId="{4925219D-E849-4A89-7B81-AFF9FFD99165}"/>
          </ac:spMkLst>
        </pc:spChg>
        <pc:spChg chg="add del mod">
          <ac:chgData name="Steiner Andreas 6206 ED" userId="e6377c33-a923-4f14-8587-531c474c7b48" providerId="ADAL" clId="{6ECD27E6-B224-41CD-B4E0-E297462320DD}" dt="2023-11-24T08:49:27.492" v="78667"/>
          <ac:spMkLst>
            <pc:docMk/>
            <pc:sldMk cId="3975964758" sldId="2147478571"/>
            <ac:spMk id="519" creationId="{9148A624-8CB1-B9F7-6258-8054D70D7AE1}"/>
          </ac:spMkLst>
        </pc:spChg>
        <pc:spChg chg="add del mod">
          <ac:chgData name="Steiner Andreas 6206 ED" userId="e6377c33-a923-4f14-8587-531c474c7b48" providerId="ADAL" clId="{6ECD27E6-B224-41CD-B4E0-E297462320DD}" dt="2023-11-24T08:49:29.516" v="78822"/>
          <ac:spMkLst>
            <pc:docMk/>
            <pc:sldMk cId="3975964758" sldId="2147478571"/>
            <ac:spMk id="520" creationId="{9CA206A8-4933-5A57-0C33-0E8AA5236673}"/>
          </ac:spMkLst>
        </pc:spChg>
        <pc:spChg chg="add del mod">
          <ac:chgData name="Steiner Andreas 6206 ED" userId="e6377c33-a923-4f14-8587-531c474c7b48" providerId="ADAL" clId="{6ECD27E6-B224-41CD-B4E0-E297462320DD}" dt="2023-11-24T08:49:31.459" v="78977"/>
          <ac:spMkLst>
            <pc:docMk/>
            <pc:sldMk cId="3975964758" sldId="2147478571"/>
            <ac:spMk id="521" creationId="{498B529F-F965-5D4D-879F-0B078F311C27}"/>
          </ac:spMkLst>
        </pc:spChg>
        <pc:spChg chg="add del mod">
          <ac:chgData name="Steiner Andreas 6206 ED" userId="e6377c33-a923-4f14-8587-531c474c7b48" providerId="ADAL" clId="{6ECD27E6-B224-41CD-B4E0-E297462320DD}" dt="2023-11-24T08:49:33.362" v="79132"/>
          <ac:spMkLst>
            <pc:docMk/>
            <pc:sldMk cId="3975964758" sldId="2147478571"/>
            <ac:spMk id="522" creationId="{0C0BBCD4-2E66-3652-8B00-50723686B2E6}"/>
          </ac:spMkLst>
        </pc:spChg>
        <pc:spChg chg="add del mod">
          <ac:chgData name="Steiner Andreas 6206 ED" userId="e6377c33-a923-4f14-8587-531c474c7b48" providerId="ADAL" clId="{6ECD27E6-B224-41CD-B4E0-E297462320DD}" dt="2023-11-24T08:49:35.265" v="79287"/>
          <ac:spMkLst>
            <pc:docMk/>
            <pc:sldMk cId="3975964758" sldId="2147478571"/>
            <ac:spMk id="523" creationId="{986E8024-A9CF-16F9-A285-E46862AABCB5}"/>
          </ac:spMkLst>
        </pc:spChg>
        <pc:spChg chg="add del mod">
          <ac:chgData name="Steiner Andreas 6206 ED" userId="e6377c33-a923-4f14-8587-531c474c7b48" providerId="ADAL" clId="{6ECD27E6-B224-41CD-B4E0-E297462320DD}" dt="2023-11-24T08:49:37.100" v="79442"/>
          <ac:spMkLst>
            <pc:docMk/>
            <pc:sldMk cId="3975964758" sldId="2147478571"/>
            <ac:spMk id="524" creationId="{EC185851-7DA1-0074-250E-52D481688B7C}"/>
          </ac:spMkLst>
        </pc:spChg>
        <pc:spChg chg="add del mod">
          <ac:chgData name="Steiner Andreas 6206 ED" userId="e6377c33-a923-4f14-8587-531c474c7b48" providerId="ADAL" clId="{6ECD27E6-B224-41CD-B4E0-E297462320DD}" dt="2023-11-24T08:49:39.049" v="79597"/>
          <ac:spMkLst>
            <pc:docMk/>
            <pc:sldMk cId="3975964758" sldId="2147478571"/>
            <ac:spMk id="525" creationId="{927973F2-1AB8-66AD-15DE-C9CF6D2765A1}"/>
          </ac:spMkLst>
        </pc:spChg>
        <pc:spChg chg="add del mod">
          <ac:chgData name="Steiner Andreas 6206 ED" userId="e6377c33-a923-4f14-8587-531c474c7b48" providerId="ADAL" clId="{6ECD27E6-B224-41CD-B4E0-E297462320DD}" dt="2023-11-24T08:49:41.145" v="79752"/>
          <ac:spMkLst>
            <pc:docMk/>
            <pc:sldMk cId="3975964758" sldId="2147478571"/>
            <ac:spMk id="526" creationId="{D8CB91EB-1B60-D8A2-8A71-7DC66C55CD1D}"/>
          </ac:spMkLst>
        </pc:spChg>
        <pc:spChg chg="add del mod">
          <ac:chgData name="Steiner Andreas 6206 ED" userId="e6377c33-a923-4f14-8587-531c474c7b48" providerId="ADAL" clId="{6ECD27E6-B224-41CD-B4E0-E297462320DD}" dt="2023-11-24T08:49:43.063" v="79907"/>
          <ac:spMkLst>
            <pc:docMk/>
            <pc:sldMk cId="3975964758" sldId="2147478571"/>
            <ac:spMk id="527" creationId="{8B79ACA1-CCD9-3654-DC6E-5F4CD320C580}"/>
          </ac:spMkLst>
        </pc:spChg>
        <pc:spChg chg="add del mod">
          <ac:chgData name="Steiner Andreas 6206 ED" userId="e6377c33-a923-4f14-8587-531c474c7b48" providerId="ADAL" clId="{6ECD27E6-B224-41CD-B4E0-E297462320DD}" dt="2023-11-24T08:49:45.007" v="80062"/>
          <ac:spMkLst>
            <pc:docMk/>
            <pc:sldMk cId="3975964758" sldId="2147478571"/>
            <ac:spMk id="528" creationId="{23F71014-011B-AE48-D807-DD46F8B1A5AA}"/>
          </ac:spMkLst>
        </pc:spChg>
        <pc:spChg chg="add del mod">
          <ac:chgData name="Steiner Andreas 6206 ED" userId="e6377c33-a923-4f14-8587-531c474c7b48" providerId="ADAL" clId="{6ECD27E6-B224-41CD-B4E0-E297462320DD}" dt="2023-11-24T08:49:46.963" v="80217"/>
          <ac:spMkLst>
            <pc:docMk/>
            <pc:sldMk cId="3975964758" sldId="2147478571"/>
            <ac:spMk id="529" creationId="{F2624065-3596-0726-DC3D-4D530D28D8C2}"/>
          </ac:spMkLst>
        </pc:spChg>
        <pc:spChg chg="add del mod">
          <ac:chgData name="Steiner Andreas 6206 ED" userId="e6377c33-a923-4f14-8587-531c474c7b48" providerId="ADAL" clId="{6ECD27E6-B224-41CD-B4E0-E297462320DD}" dt="2023-11-24T08:49:48.845" v="80372"/>
          <ac:spMkLst>
            <pc:docMk/>
            <pc:sldMk cId="3975964758" sldId="2147478571"/>
            <ac:spMk id="530" creationId="{22E6F7A1-7649-D7EB-634C-2B7FFF0C7FAF}"/>
          </ac:spMkLst>
        </pc:spChg>
        <pc:spChg chg="add del mod">
          <ac:chgData name="Steiner Andreas 6206 ED" userId="e6377c33-a923-4f14-8587-531c474c7b48" providerId="ADAL" clId="{6ECD27E6-B224-41CD-B4E0-E297462320DD}" dt="2023-11-24T08:49:50.736" v="80527"/>
          <ac:spMkLst>
            <pc:docMk/>
            <pc:sldMk cId="3975964758" sldId="2147478571"/>
            <ac:spMk id="531" creationId="{38AC1C87-4A22-967B-59D1-1F3CD51E7F14}"/>
          </ac:spMkLst>
        </pc:spChg>
        <pc:spChg chg="add del mod">
          <ac:chgData name="Steiner Andreas 6206 ED" userId="e6377c33-a923-4f14-8587-531c474c7b48" providerId="ADAL" clId="{6ECD27E6-B224-41CD-B4E0-E297462320DD}" dt="2023-11-24T08:49:52.669" v="80682"/>
          <ac:spMkLst>
            <pc:docMk/>
            <pc:sldMk cId="3975964758" sldId="2147478571"/>
            <ac:spMk id="532" creationId="{3B0A8152-0A7F-2442-0663-B733E964CAD6}"/>
          </ac:spMkLst>
        </pc:spChg>
        <pc:spChg chg="add del mod">
          <ac:chgData name="Steiner Andreas 6206 ED" userId="e6377c33-a923-4f14-8587-531c474c7b48" providerId="ADAL" clId="{6ECD27E6-B224-41CD-B4E0-E297462320DD}" dt="2023-11-24T08:49:54.604" v="80837"/>
          <ac:spMkLst>
            <pc:docMk/>
            <pc:sldMk cId="3975964758" sldId="2147478571"/>
            <ac:spMk id="533" creationId="{948AA613-8251-7556-9644-C1A67DB95C09}"/>
          </ac:spMkLst>
        </pc:spChg>
        <pc:spChg chg="add del mod">
          <ac:chgData name="Steiner Andreas 6206 ED" userId="e6377c33-a923-4f14-8587-531c474c7b48" providerId="ADAL" clId="{6ECD27E6-B224-41CD-B4E0-E297462320DD}" dt="2023-11-24T08:49:56.477" v="80992"/>
          <ac:spMkLst>
            <pc:docMk/>
            <pc:sldMk cId="3975964758" sldId="2147478571"/>
            <ac:spMk id="534" creationId="{949B1638-3A2E-D88B-F11E-27022EFD9BC9}"/>
          </ac:spMkLst>
        </pc:spChg>
        <pc:spChg chg="add del mod">
          <ac:chgData name="Steiner Andreas 6206 ED" userId="e6377c33-a923-4f14-8587-531c474c7b48" providerId="ADAL" clId="{6ECD27E6-B224-41CD-B4E0-E297462320DD}" dt="2023-11-24T08:49:58.365" v="81147"/>
          <ac:spMkLst>
            <pc:docMk/>
            <pc:sldMk cId="3975964758" sldId="2147478571"/>
            <ac:spMk id="535" creationId="{B5B3A8D6-FDFD-3F77-68D3-6DDC0973F35D}"/>
          </ac:spMkLst>
        </pc:spChg>
        <pc:spChg chg="add del mod">
          <ac:chgData name="Steiner Andreas 6206 ED" userId="e6377c33-a923-4f14-8587-531c474c7b48" providerId="ADAL" clId="{6ECD27E6-B224-41CD-B4E0-E297462320DD}" dt="2023-11-24T08:50:00.294" v="81302"/>
          <ac:spMkLst>
            <pc:docMk/>
            <pc:sldMk cId="3975964758" sldId="2147478571"/>
            <ac:spMk id="536" creationId="{0E4CF51E-7540-AF30-7E6E-035F00070BD5}"/>
          </ac:spMkLst>
        </pc:spChg>
        <pc:spChg chg="add del mod">
          <ac:chgData name="Steiner Andreas 6206 ED" userId="e6377c33-a923-4f14-8587-531c474c7b48" providerId="ADAL" clId="{6ECD27E6-B224-41CD-B4E0-E297462320DD}" dt="2023-11-24T08:50:02.366" v="81457"/>
          <ac:spMkLst>
            <pc:docMk/>
            <pc:sldMk cId="3975964758" sldId="2147478571"/>
            <ac:spMk id="537" creationId="{AEF2DBB3-7732-D96F-5805-FAD8AD9D590D}"/>
          </ac:spMkLst>
        </pc:spChg>
        <pc:spChg chg="add del mod">
          <ac:chgData name="Steiner Andreas 6206 ED" userId="e6377c33-a923-4f14-8587-531c474c7b48" providerId="ADAL" clId="{6ECD27E6-B224-41CD-B4E0-E297462320DD}" dt="2023-11-24T08:50:04.429" v="81612"/>
          <ac:spMkLst>
            <pc:docMk/>
            <pc:sldMk cId="3975964758" sldId="2147478571"/>
            <ac:spMk id="538" creationId="{19FADA71-C066-67AF-9305-1E85C7198E4F}"/>
          </ac:spMkLst>
        </pc:spChg>
        <pc:spChg chg="add del mod">
          <ac:chgData name="Steiner Andreas 6206 ED" userId="e6377c33-a923-4f14-8587-531c474c7b48" providerId="ADAL" clId="{6ECD27E6-B224-41CD-B4E0-E297462320DD}" dt="2023-11-24T08:50:06.373" v="81767"/>
          <ac:spMkLst>
            <pc:docMk/>
            <pc:sldMk cId="3975964758" sldId="2147478571"/>
            <ac:spMk id="539" creationId="{80621E2B-3C82-B96B-63B8-9F9E0E64F05D}"/>
          </ac:spMkLst>
        </pc:spChg>
        <pc:spChg chg="add del mod">
          <ac:chgData name="Steiner Andreas 6206 ED" userId="e6377c33-a923-4f14-8587-531c474c7b48" providerId="ADAL" clId="{6ECD27E6-B224-41CD-B4E0-E297462320DD}" dt="2023-11-24T08:50:08.265" v="81922"/>
          <ac:spMkLst>
            <pc:docMk/>
            <pc:sldMk cId="3975964758" sldId="2147478571"/>
            <ac:spMk id="540" creationId="{2ED02985-CFE1-5DE7-B0FF-D0A8826D076B}"/>
          </ac:spMkLst>
        </pc:spChg>
        <pc:spChg chg="add del mod">
          <ac:chgData name="Steiner Andreas 6206 ED" userId="e6377c33-a923-4f14-8587-531c474c7b48" providerId="ADAL" clId="{6ECD27E6-B224-41CD-B4E0-E297462320DD}" dt="2023-11-24T08:50:10.152" v="82077"/>
          <ac:spMkLst>
            <pc:docMk/>
            <pc:sldMk cId="3975964758" sldId="2147478571"/>
            <ac:spMk id="541" creationId="{20BED7C4-5C58-27F0-CA7E-5AA1C85F22DA}"/>
          </ac:spMkLst>
        </pc:spChg>
        <pc:spChg chg="add del mod">
          <ac:chgData name="Steiner Andreas 6206 ED" userId="e6377c33-a923-4f14-8587-531c474c7b48" providerId="ADAL" clId="{6ECD27E6-B224-41CD-B4E0-E297462320DD}" dt="2023-11-24T08:50:12.065" v="82232"/>
          <ac:spMkLst>
            <pc:docMk/>
            <pc:sldMk cId="3975964758" sldId="2147478571"/>
            <ac:spMk id="542" creationId="{EB0CA457-E9BA-F34A-E3A6-B4BB1A74E46D}"/>
          </ac:spMkLst>
        </pc:spChg>
        <pc:spChg chg="add del mod">
          <ac:chgData name="Steiner Andreas 6206 ED" userId="e6377c33-a923-4f14-8587-531c474c7b48" providerId="ADAL" clId="{6ECD27E6-B224-41CD-B4E0-E297462320DD}" dt="2023-11-24T08:50:14.130" v="82387"/>
          <ac:spMkLst>
            <pc:docMk/>
            <pc:sldMk cId="3975964758" sldId="2147478571"/>
            <ac:spMk id="543" creationId="{3D5CD044-2755-D674-50BB-FF7C1A828083}"/>
          </ac:spMkLst>
        </pc:spChg>
        <pc:spChg chg="add del mod">
          <ac:chgData name="Steiner Andreas 6206 ED" userId="e6377c33-a923-4f14-8587-531c474c7b48" providerId="ADAL" clId="{6ECD27E6-B224-41CD-B4E0-E297462320DD}" dt="2023-11-24T08:50:16.090" v="82542"/>
          <ac:spMkLst>
            <pc:docMk/>
            <pc:sldMk cId="3975964758" sldId="2147478571"/>
            <ac:spMk id="544" creationId="{B98372A5-D326-34CB-8D07-A8036588C2EB}"/>
          </ac:spMkLst>
        </pc:spChg>
        <pc:spChg chg="add del mod">
          <ac:chgData name="Steiner Andreas 6206 ED" userId="e6377c33-a923-4f14-8587-531c474c7b48" providerId="ADAL" clId="{6ECD27E6-B224-41CD-B4E0-E297462320DD}" dt="2023-11-24T08:50:18.063" v="82697"/>
          <ac:spMkLst>
            <pc:docMk/>
            <pc:sldMk cId="3975964758" sldId="2147478571"/>
            <ac:spMk id="545" creationId="{3BD217BD-9D09-5559-8B2B-9DD795BE3CA4}"/>
          </ac:spMkLst>
        </pc:spChg>
        <pc:spChg chg="add del mod">
          <ac:chgData name="Steiner Andreas 6206 ED" userId="e6377c33-a923-4f14-8587-531c474c7b48" providerId="ADAL" clId="{6ECD27E6-B224-41CD-B4E0-E297462320DD}" dt="2023-11-24T08:50:20.266" v="82852"/>
          <ac:spMkLst>
            <pc:docMk/>
            <pc:sldMk cId="3975964758" sldId="2147478571"/>
            <ac:spMk id="546" creationId="{46C794D5-C0FD-A1F6-C5D3-BD71180A0AE5}"/>
          </ac:spMkLst>
        </pc:spChg>
        <pc:spChg chg="add del mod">
          <ac:chgData name="Steiner Andreas 6206 ED" userId="e6377c33-a923-4f14-8587-531c474c7b48" providerId="ADAL" clId="{6ECD27E6-B224-41CD-B4E0-E297462320DD}" dt="2023-11-24T08:50:22.211" v="83007"/>
          <ac:spMkLst>
            <pc:docMk/>
            <pc:sldMk cId="3975964758" sldId="2147478571"/>
            <ac:spMk id="547" creationId="{C57CC1E6-CFD3-12B7-F6AD-791E9D33AF2D}"/>
          </ac:spMkLst>
        </pc:spChg>
        <pc:spChg chg="add del mod">
          <ac:chgData name="Steiner Andreas 6206 ED" userId="e6377c33-a923-4f14-8587-531c474c7b48" providerId="ADAL" clId="{6ECD27E6-B224-41CD-B4E0-E297462320DD}" dt="2023-11-24T08:50:24.285" v="83162"/>
          <ac:spMkLst>
            <pc:docMk/>
            <pc:sldMk cId="3975964758" sldId="2147478571"/>
            <ac:spMk id="548" creationId="{87B63991-D627-ADF8-A5E8-520659F24881}"/>
          </ac:spMkLst>
        </pc:spChg>
        <pc:spChg chg="add del mod">
          <ac:chgData name="Steiner Andreas 6206 ED" userId="e6377c33-a923-4f14-8587-531c474c7b48" providerId="ADAL" clId="{6ECD27E6-B224-41CD-B4E0-E297462320DD}" dt="2023-11-24T08:50:26.303" v="83317"/>
          <ac:spMkLst>
            <pc:docMk/>
            <pc:sldMk cId="3975964758" sldId="2147478571"/>
            <ac:spMk id="549" creationId="{3C3D996D-1E34-E138-82B1-6C8E4B1187A8}"/>
          </ac:spMkLst>
        </pc:spChg>
        <pc:spChg chg="add del mod">
          <ac:chgData name="Steiner Andreas 6206 ED" userId="e6377c33-a923-4f14-8587-531c474c7b48" providerId="ADAL" clId="{6ECD27E6-B224-41CD-B4E0-E297462320DD}" dt="2023-11-24T08:50:28.231" v="83472"/>
          <ac:spMkLst>
            <pc:docMk/>
            <pc:sldMk cId="3975964758" sldId="2147478571"/>
            <ac:spMk id="550" creationId="{DC3539B3-D849-DB61-E80A-6AE9930963AC}"/>
          </ac:spMkLst>
        </pc:spChg>
        <pc:spChg chg="add del mod">
          <ac:chgData name="Steiner Andreas 6206 ED" userId="e6377c33-a923-4f14-8587-531c474c7b48" providerId="ADAL" clId="{6ECD27E6-B224-41CD-B4E0-E297462320DD}" dt="2023-11-24T08:50:30.146" v="83627"/>
          <ac:spMkLst>
            <pc:docMk/>
            <pc:sldMk cId="3975964758" sldId="2147478571"/>
            <ac:spMk id="551" creationId="{F8C246A3-58A4-DB08-583C-23B9F8AA8B67}"/>
          </ac:spMkLst>
        </pc:spChg>
        <pc:spChg chg="add del mod">
          <ac:chgData name="Steiner Andreas 6206 ED" userId="e6377c33-a923-4f14-8587-531c474c7b48" providerId="ADAL" clId="{6ECD27E6-B224-41CD-B4E0-E297462320DD}" dt="2023-11-24T08:50:32.184" v="83782"/>
          <ac:spMkLst>
            <pc:docMk/>
            <pc:sldMk cId="3975964758" sldId="2147478571"/>
            <ac:spMk id="552" creationId="{DFB6220D-1D77-17BD-5214-1DDCBA38E9F1}"/>
          </ac:spMkLst>
        </pc:spChg>
        <pc:spChg chg="add del mod">
          <ac:chgData name="Steiner Andreas 6206 ED" userId="e6377c33-a923-4f14-8587-531c474c7b48" providerId="ADAL" clId="{6ECD27E6-B224-41CD-B4E0-E297462320DD}" dt="2023-11-24T08:50:34.220" v="83937"/>
          <ac:spMkLst>
            <pc:docMk/>
            <pc:sldMk cId="3975964758" sldId="2147478571"/>
            <ac:spMk id="553" creationId="{6AF8FD71-3CF4-A33A-E950-9C175E6ACB78}"/>
          </ac:spMkLst>
        </pc:spChg>
        <pc:spChg chg="add del mod">
          <ac:chgData name="Steiner Andreas 6206 ED" userId="e6377c33-a923-4f14-8587-531c474c7b48" providerId="ADAL" clId="{6ECD27E6-B224-41CD-B4E0-E297462320DD}" dt="2023-11-24T08:50:36.464" v="84092"/>
          <ac:spMkLst>
            <pc:docMk/>
            <pc:sldMk cId="3975964758" sldId="2147478571"/>
            <ac:spMk id="554" creationId="{49FF49C3-9CFC-4821-0072-DA978DA753BF}"/>
          </ac:spMkLst>
        </pc:spChg>
        <pc:spChg chg="add del mod">
          <ac:chgData name="Steiner Andreas 6206 ED" userId="e6377c33-a923-4f14-8587-531c474c7b48" providerId="ADAL" clId="{6ECD27E6-B224-41CD-B4E0-E297462320DD}" dt="2023-11-24T08:50:38.423" v="84247"/>
          <ac:spMkLst>
            <pc:docMk/>
            <pc:sldMk cId="3975964758" sldId="2147478571"/>
            <ac:spMk id="555" creationId="{4D5C59B3-F8EF-BD74-265C-65646DCD0485}"/>
          </ac:spMkLst>
        </pc:spChg>
        <pc:spChg chg="add del mod">
          <ac:chgData name="Steiner Andreas 6206 ED" userId="e6377c33-a923-4f14-8587-531c474c7b48" providerId="ADAL" clId="{6ECD27E6-B224-41CD-B4E0-E297462320DD}" dt="2023-11-24T08:50:40.399" v="84402"/>
          <ac:spMkLst>
            <pc:docMk/>
            <pc:sldMk cId="3975964758" sldId="2147478571"/>
            <ac:spMk id="556" creationId="{02E49A01-F1E0-50C5-355A-329FDAE81CEB}"/>
          </ac:spMkLst>
        </pc:spChg>
        <pc:spChg chg="add del mod">
          <ac:chgData name="Steiner Andreas 6206 ED" userId="e6377c33-a923-4f14-8587-531c474c7b48" providerId="ADAL" clId="{6ECD27E6-B224-41CD-B4E0-E297462320DD}" dt="2023-11-24T08:50:42.406" v="84557"/>
          <ac:spMkLst>
            <pc:docMk/>
            <pc:sldMk cId="3975964758" sldId="2147478571"/>
            <ac:spMk id="557" creationId="{AFA87A3D-E3B9-2552-CDD7-1B0EA68F14E4}"/>
          </ac:spMkLst>
        </pc:spChg>
        <pc:spChg chg="add del mod">
          <ac:chgData name="Steiner Andreas 6206 ED" userId="e6377c33-a923-4f14-8587-531c474c7b48" providerId="ADAL" clId="{6ECD27E6-B224-41CD-B4E0-E297462320DD}" dt="2023-11-24T08:50:44.560" v="84712"/>
          <ac:spMkLst>
            <pc:docMk/>
            <pc:sldMk cId="3975964758" sldId="2147478571"/>
            <ac:spMk id="558" creationId="{0D5262C9-F99E-2401-951A-25620E6182B4}"/>
          </ac:spMkLst>
        </pc:spChg>
        <pc:spChg chg="add del mod">
          <ac:chgData name="Steiner Andreas 6206 ED" userId="e6377c33-a923-4f14-8587-531c474c7b48" providerId="ADAL" clId="{6ECD27E6-B224-41CD-B4E0-E297462320DD}" dt="2023-11-24T08:50:46.665" v="84867"/>
          <ac:spMkLst>
            <pc:docMk/>
            <pc:sldMk cId="3975964758" sldId="2147478571"/>
            <ac:spMk id="559" creationId="{CDE75036-E8BA-6206-68F8-21088389F149}"/>
          </ac:spMkLst>
        </pc:spChg>
        <pc:spChg chg="add del mod">
          <ac:chgData name="Steiner Andreas 6206 ED" userId="e6377c33-a923-4f14-8587-531c474c7b48" providerId="ADAL" clId="{6ECD27E6-B224-41CD-B4E0-E297462320DD}" dt="2023-11-24T08:50:48.801" v="85022"/>
          <ac:spMkLst>
            <pc:docMk/>
            <pc:sldMk cId="3975964758" sldId="2147478571"/>
            <ac:spMk id="560" creationId="{003AD75F-0BFA-0050-868A-60F7A8F1AAB2}"/>
          </ac:spMkLst>
        </pc:spChg>
        <pc:spChg chg="add del mod">
          <ac:chgData name="Steiner Andreas 6206 ED" userId="e6377c33-a923-4f14-8587-531c474c7b48" providerId="ADAL" clId="{6ECD27E6-B224-41CD-B4E0-E297462320DD}" dt="2023-11-24T08:50:50.894" v="85177"/>
          <ac:spMkLst>
            <pc:docMk/>
            <pc:sldMk cId="3975964758" sldId="2147478571"/>
            <ac:spMk id="561" creationId="{17C04101-D18F-D368-D85A-DD81F18A86E2}"/>
          </ac:spMkLst>
        </pc:spChg>
        <pc:spChg chg="add del mod">
          <ac:chgData name="Steiner Andreas 6206 ED" userId="e6377c33-a923-4f14-8587-531c474c7b48" providerId="ADAL" clId="{6ECD27E6-B224-41CD-B4E0-E297462320DD}" dt="2023-11-24T08:50:53.023" v="85332"/>
          <ac:spMkLst>
            <pc:docMk/>
            <pc:sldMk cId="3975964758" sldId="2147478571"/>
            <ac:spMk id="562" creationId="{775AB770-9FC6-174C-8923-1AFC295B0187}"/>
          </ac:spMkLst>
        </pc:spChg>
        <pc:spChg chg="add del mod">
          <ac:chgData name="Steiner Andreas 6206 ED" userId="e6377c33-a923-4f14-8587-531c474c7b48" providerId="ADAL" clId="{6ECD27E6-B224-41CD-B4E0-E297462320DD}" dt="2023-11-24T08:50:54.940" v="85487"/>
          <ac:spMkLst>
            <pc:docMk/>
            <pc:sldMk cId="3975964758" sldId="2147478571"/>
            <ac:spMk id="563" creationId="{E6A78302-D925-9338-2E53-00264C47BDCD}"/>
          </ac:spMkLst>
        </pc:spChg>
        <pc:spChg chg="add del mod">
          <ac:chgData name="Steiner Andreas 6206 ED" userId="e6377c33-a923-4f14-8587-531c474c7b48" providerId="ADAL" clId="{6ECD27E6-B224-41CD-B4E0-E297462320DD}" dt="2023-11-24T08:50:56.840" v="85642"/>
          <ac:spMkLst>
            <pc:docMk/>
            <pc:sldMk cId="3975964758" sldId="2147478571"/>
            <ac:spMk id="564" creationId="{096BD39C-0C85-618C-A81C-D51D7795D8DB}"/>
          </ac:spMkLst>
        </pc:spChg>
        <pc:spChg chg="add del mod">
          <ac:chgData name="Steiner Andreas 6206 ED" userId="e6377c33-a923-4f14-8587-531c474c7b48" providerId="ADAL" clId="{6ECD27E6-B224-41CD-B4E0-E297462320DD}" dt="2023-11-24T08:50:59.023" v="85797"/>
          <ac:spMkLst>
            <pc:docMk/>
            <pc:sldMk cId="3975964758" sldId="2147478571"/>
            <ac:spMk id="565" creationId="{2ECACAFF-5B51-316E-E254-590E839916A3}"/>
          </ac:spMkLst>
        </pc:spChg>
        <pc:spChg chg="add del mod">
          <ac:chgData name="Steiner Andreas 6206 ED" userId="e6377c33-a923-4f14-8587-531c474c7b48" providerId="ADAL" clId="{6ECD27E6-B224-41CD-B4E0-E297462320DD}" dt="2023-11-24T08:51:00.983" v="85952"/>
          <ac:spMkLst>
            <pc:docMk/>
            <pc:sldMk cId="3975964758" sldId="2147478571"/>
            <ac:spMk id="566" creationId="{33007197-1ADA-C09D-5751-DCEE7DE0A95C}"/>
          </ac:spMkLst>
        </pc:spChg>
        <pc:spChg chg="add del mod">
          <ac:chgData name="Steiner Andreas 6206 ED" userId="e6377c33-a923-4f14-8587-531c474c7b48" providerId="ADAL" clId="{6ECD27E6-B224-41CD-B4E0-E297462320DD}" dt="2023-11-24T08:51:02.965" v="86107"/>
          <ac:spMkLst>
            <pc:docMk/>
            <pc:sldMk cId="3975964758" sldId="2147478571"/>
            <ac:spMk id="567" creationId="{5D091A9F-F422-B3EB-2AAC-B328813CBE12}"/>
          </ac:spMkLst>
        </pc:spChg>
        <pc:spChg chg="add del mod">
          <ac:chgData name="Steiner Andreas 6206 ED" userId="e6377c33-a923-4f14-8587-531c474c7b48" providerId="ADAL" clId="{6ECD27E6-B224-41CD-B4E0-E297462320DD}" dt="2023-11-24T08:51:04.804" v="86262"/>
          <ac:spMkLst>
            <pc:docMk/>
            <pc:sldMk cId="3975964758" sldId="2147478571"/>
            <ac:spMk id="568" creationId="{FAA54C53-3EED-61B0-6B77-080F3BA12BB6}"/>
          </ac:spMkLst>
        </pc:spChg>
        <pc:spChg chg="add del mod">
          <ac:chgData name="Steiner Andreas 6206 ED" userId="e6377c33-a923-4f14-8587-531c474c7b48" providerId="ADAL" clId="{6ECD27E6-B224-41CD-B4E0-E297462320DD}" dt="2023-11-24T08:51:06.735" v="86417"/>
          <ac:spMkLst>
            <pc:docMk/>
            <pc:sldMk cId="3975964758" sldId="2147478571"/>
            <ac:spMk id="569" creationId="{A490868B-4482-12E1-5B33-9C4720B89A3A}"/>
          </ac:spMkLst>
        </pc:spChg>
        <pc:spChg chg="add del mod">
          <ac:chgData name="Steiner Andreas 6206 ED" userId="e6377c33-a923-4f14-8587-531c474c7b48" providerId="ADAL" clId="{6ECD27E6-B224-41CD-B4E0-E297462320DD}" dt="2023-11-24T08:51:08.716" v="86572"/>
          <ac:spMkLst>
            <pc:docMk/>
            <pc:sldMk cId="3975964758" sldId="2147478571"/>
            <ac:spMk id="570" creationId="{5E1006B5-3CBE-7E44-4D64-A7196FCD30D5}"/>
          </ac:spMkLst>
        </pc:spChg>
        <pc:spChg chg="add del mod">
          <ac:chgData name="Steiner Andreas 6206 ED" userId="e6377c33-a923-4f14-8587-531c474c7b48" providerId="ADAL" clId="{6ECD27E6-B224-41CD-B4E0-E297462320DD}" dt="2023-11-24T08:51:10.744" v="86727"/>
          <ac:spMkLst>
            <pc:docMk/>
            <pc:sldMk cId="3975964758" sldId="2147478571"/>
            <ac:spMk id="571" creationId="{5987572F-D589-8E02-A2CA-42BBD0B4A668}"/>
          </ac:spMkLst>
        </pc:spChg>
        <pc:spChg chg="add del mod">
          <ac:chgData name="Steiner Andreas 6206 ED" userId="e6377c33-a923-4f14-8587-531c474c7b48" providerId="ADAL" clId="{6ECD27E6-B224-41CD-B4E0-E297462320DD}" dt="2023-11-24T08:51:12.639" v="86882"/>
          <ac:spMkLst>
            <pc:docMk/>
            <pc:sldMk cId="3975964758" sldId="2147478571"/>
            <ac:spMk id="572" creationId="{E4D96180-0F31-AD39-395A-04012535A442}"/>
          </ac:spMkLst>
        </pc:spChg>
        <pc:spChg chg="add del mod">
          <ac:chgData name="Steiner Andreas 6206 ED" userId="e6377c33-a923-4f14-8587-531c474c7b48" providerId="ADAL" clId="{6ECD27E6-B224-41CD-B4E0-E297462320DD}" dt="2023-11-24T08:51:14.812" v="87037"/>
          <ac:spMkLst>
            <pc:docMk/>
            <pc:sldMk cId="3975964758" sldId="2147478571"/>
            <ac:spMk id="573" creationId="{7BC34417-3922-3765-B11A-F685DD24B61C}"/>
          </ac:spMkLst>
        </pc:spChg>
        <pc:spChg chg="add del mod">
          <ac:chgData name="Steiner Andreas 6206 ED" userId="e6377c33-a923-4f14-8587-531c474c7b48" providerId="ADAL" clId="{6ECD27E6-B224-41CD-B4E0-E297462320DD}" dt="2023-11-24T08:51:16.924" v="87192"/>
          <ac:spMkLst>
            <pc:docMk/>
            <pc:sldMk cId="3975964758" sldId="2147478571"/>
            <ac:spMk id="574" creationId="{5307DE52-2FB0-716F-80BD-FF3B7F40DF98}"/>
          </ac:spMkLst>
        </pc:spChg>
        <pc:spChg chg="add del mod">
          <ac:chgData name="Steiner Andreas 6206 ED" userId="e6377c33-a923-4f14-8587-531c474c7b48" providerId="ADAL" clId="{6ECD27E6-B224-41CD-B4E0-E297462320DD}" dt="2023-11-24T08:51:18.835" v="87347"/>
          <ac:spMkLst>
            <pc:docMk/>
            <pc:sldMk cId="3975964758" sldId="2147478571"/>
            <ac:spMk id="575" creationId="{88C8D92C-32D8-097E-90CD-2404819D6438}"/>
          </ac:spMkLst>
        </pc:spChg>
        <pc:spChg chg="add del mod">
          <ac:chgData name="Steiner Andreas 6206 ED" userId="e6377c33-a923-4f14-8587-531c474c7b48" providerId="ADAL" clId="{6ECD27E6-B224-41CD-B4E0-E297462320DD}" dt="2023-11-24T08:51:20.891" v="87502"/>
          <ac:spMkLst>
            <pc:docMk/>
            <pc:sldMk cId="3975964758" sldId="2147478571"/>
            <ac:spMk id="576" creationId="{27CDE829-68CC-6EEE-72DE-CB4004A56E6C}"/>
          </ac:spMkLst>
        </pc:spChg>
        <pc:spChg chg="add del mod">
          <ac:chgData name="Steiner Andreas 6206 ED" userId="e6377c33-a923-4f14-8587-531c474c7b48" providerId="ADAL" clId="{6ECD27E6-B224-41CD-B4E0-E297462320DD}" dt="2023-11-24T08:51:22.837" v="87657"/>
          <ac:spMkLst>
            <pc:docMk/>
            <pc:sldMk cId="3975964758" sldId="2147478571"/>
            <ac:spMk id="577" creationId="{2A821038-0B6E-B591-4269-98D142A95F37}"/>
          </ac:spMkLst>
        </pc:spChg>
        <pc:spChg chg="add del mod">
          <ac:chgData name="Steiner Andreas 6206 ED" userId="e6377c33-a923-4f14-8587-531c474c7b48" providerId="ADAL" clId="{6ECD27E6-B224-41CD-B4E0-E297462320DD}" dt="2023-11-24T08:51:24.762" v="87812"/>
          <ac:spMkLst>
            <pc:docMk/>
            <pc:sldMk cId="3975964758" sldId="2147478571"/>
            <ac:spMk id="578" creationId="{5022BD4F-0DF6-8B18-72F6-ECDA6FB757ED}"/>
          </ac:spMkLst>
        </pc:spChg>
        <pc:spChg chg="add del mod">
          <ac:chgData name="Steiner Andreas 6206 ED" userId="e6377c33-a923-4f14-8587-531c474c7b48" providerId="ADAL" clId="{6ECD27E6-B224-41CD-B4E0-E297462320DD}" dt="2023-11-24T08:51:26.630" v="87967"/>
          <ac:spMkLst>
            <pc:docMk/>
            <pc:sldMk cId="3975964758" sldId="2147478571"/>
            <ac:spMk id="579" creationId="{B81F3785-FB3F-32F4-D281-C07403C36CA6}"/>
          </ac:spMkLst>
        </pc:spChg>
        <pc:spChg chg="add del mod">
          <ac:chgData name="Steiner Andreas 6206 ED" userId="e6377c33-a923-4f14-8587-531c474c7b48" providerId="ADAL" clId="{6ECD27E6-B224-41CD-B4E0-E297462320DD}" dt="2023-11-24T08:51:28.540" v="88122"/>
          <ac:spMkLst>
            <pc:docMk/>
            <pc:sldMk cId="3975964758" sldId="2147478571"/>
            <ac:spMk id="580" creationId="{8E1697FE-BE68-EED7-ACF9-0AE02C020099}"/>
          </ac:spMkLst>
        </pc:spChg>
        <pc:spChg chg="add del mod">
          <ac:chgData name="Steiner Andreas 6206 ED" userId="e6377c33-a923-4f14-8587-531c474c7b48" providerId="ADAL" clId="{6ECD27E6-B224-41CD-B4E0-E297462320DD}" dt="2023-11-24T08:51:30.502" v="88277"/>
          <ac:spMkLst>
            <pc:docMk/>
            <pc:sldMk cId="3975964758" sldId="2147478571"/>
            <ac:spMk id="581" creationId="{761A9268-0E16-A22E-F9A1-48B9D2015190}"/>
          </ac:spMkLst>
        </pc:spChg>
        <pc:spChg chg="add del mod">
          <ac:chgData name="Steiner Andreas 6206 ED" userId="e6377c33-a923-4f14-8587-531c474c7b48" providerId="ADAL" clId="{6ECD27E6-B224-41CD-B4E0-E297462320DD}" dt="2023-11-24T08:51:32.665" v="88432"/>
          <ac:spMkLst>
            <pc:docMk/>
            <pc:sldMk cId="3975964758" sldId="2147478571"/>
            <ac:spMk id="582" creationId="{03ADD8C5-DB2A-AA46-E942-B28E09ECE6AE}"/>
          </ac:spMkLst>
        </pc:spChg>
        <pc:spChg chg="add del mod">
          <ac:chgData name="Steiner Andreas 6206 ED" userId="e6377c33-a923-4f14-8587-531c474c7b48" providerId="ADAL" clId="{6ECD27E6-B224-41CD-B4E0-E297462320DD}" dt="2023-11-24T08:51:34.631" v="88587"/>
          <ac:spMkLst>
            <pc:docMk/>
            <pc:sldMk cId="3975964758" sldId="2147478571"/>
            <ac:spMk id="583" creationId="{FEF8A341-B51D-B9E5-69A4-E7F1BED75671}"/>
          </ac:spMkLst>
        </pc:spChg>
        <pc:spChg chg="add del mod">
          <ac:chgData name="Steiner Andreas 6206 ED" userId="e6377c33-a923-4f14-8587-531c474c7b48" providerId="ADAL" clId="{6ECD27E6-B224-41CD-B4E0-E297462320DD}" dt="2023-11-24T08:51:36.504" v="88742"/>
          <ac:spMkLst>
            <pc:docMk/>
            <pc:sldMk cId="3975964758" sldId="2147478571"/>
            <ac:spMk id="584" creationId="{A2A56E84-0843-1250-74AD-4D36720FE3CF}"/>
          </ac:spMkLst>
        </pc:spChg>
        <pc:spChg chg="add del mod">
          <ac:chgData name="Steiner Andreas 6206 ED" userId="e6377c33-a923-4f14-8587-531c474c7b48" providerId="ADAL" clId="{6ECD27E6-B224-41CD-B4E0-E297462320DD}" dt="2023-11-24T08:51:38.447" v="88897"/>
          <ac:spMkLst>
            <pc:docMk/>
            <pc:sldMk cId="3975964758" sldId="2147478571"/>
            <ac:spMk id="585" creationId="{23FC84F0-D81A-7AD6-CC4D-9EBBFF685331}"/>
          </ac:spMkLst>
        </pc:spChg>
        <pc:spChg chg="add del mod">
          <ac:chgData name="Steiner Andreas 6206 ED" userId="e6377c33-a923-4f14-8587-531c474c7b48" providerId="ADAL" clId="{6ECD27E6-B224-41CD-B4E0-E297462320DD}" dt="2023-11-24T08:51:40.382" v="89052"/>
          <ac:spMkLst>
            <pc:docMk/>
            <pc:sldMk cId="3975964758" sldId="2147478571"/>
            <ac:spMk id="586" creationId="{612F92E8-20B6-BBA4-47D5-87184F4F109D}"/>
          </ac:spMkLst>
        </pc:spChg>
        <pc:spChg chg="add del mod">
          <ac:chgData name="Steiner Andreas 6206 ED" userId="e6377c33-a923-4f14-8587-531c474c7b48" providerId="ADAL" clId="{6ECD27E6-B224-41CD-B4E0-E297462320DD}" dt="2023-11-24T08:51:42.389" v="89207"/>
          <ac:spMkLst>
            <pc:docMk/>
            <pc:sldMk cId="3975964758" sldId="2147478571"/>
            <ac:spMk id="587" creationId="{DEA15403-EE5A-C2E6-292A-EE631A037ED4}"/>
          </ac:spMkLst>
        </pc:spChg>
        <pc:spChg chg="add del mod">
          <ac:chgData name="Steiner Andreas 6206 ED" userId="e6377c33-a923-4f14-8587-531c474c7b48" providerId="ADAL" clId="{6ECD27E6-B224-41CD-B4E0-E297462320DD}" dt="2023-11-24T08:51:44.501" v="89362"/>
          <ac:spMkLst>
            <pc:docMk/>
            <pc:sldMk cId="3975964758" sldId="2147478571"/>
            <ac:spMk id="588" creationId="{5C5A743B-2265-D77E-BCC4-9559753D4848}"/>
          </ac:spMkLst>
        </pc:spChg>
        <pc:spChg chg="add del mod">
          <ac:chgData name="Steiner Andreas 6206 ED" userId="e6377c33-a923-4f14-8587-531c474c7b48" providerId="ADAL" clId="{6ECD27E6-B224-41CD-B4E0-E297462320DD}" dt="2023-11-24T08:51:46.465" v="89517"/>
          <ac:spMkLst>
            <pc:docMk/>
            <pc:sldMk cId="3975964758" sldId="2147478571"/>
            <ac:spMk id="589" creationId="{3F7328CD-0FAE-8D50-D256-4BB4F97A136C}"/>
          </ac:spMkLst>
        </pc:spChg>
        <pc:spChg chg="add del mod">
          <ac:chgData name="Steiner Andreas 6206 ED" userId="e6377c33-a923-4f14-8587-531c474c7b48" providerId="ADAL" clId="{6ECD27E6-B224-41CD-B4E0-E297462320DD}" dt="2023-11-24T08:51:48.360" v="89672"/>
          <ac:spMkLst>
            <pc:docMk/>
            <pc:sldMk cId="3975964758" sldId="2147478571"/>
            <ac:spMk id="590" creationId="{7E7ED743-6923-2283-B8FD-5BBD31621CC8}"/>
          </ac:spMkLst>
        </pc:spChg>
        <pc:spChg chg="add del mod">
          <ac:chgData name="Steiner Andreas 6206 ED" userId="e6377c33-a923-4f14-8587-531c474c7b48" providerId="ADAL" clId="{6ECD27E6-B224-41CD-B4E0-E297462320DD}" dt="2023-11-24T08:51:50.274" v="89827"/>
          <ac:spMkLst>
            <pc:docMk/>
            <pc:sldMk cId="3975964758" sldId="2147478571"/>
            <ac:spMk id="591" creationId="{89982966-7F00-C1B1-FDA1-7875CF1C302F}"/>
          </ac:spMkLst>
        </pc:spChg>
        <pc:spChg chg="add del mod">
          <ac:chgData name="Steiner Andreas 6206 ED" userId="e6377c33-a923-4f14-8587-531c474c7b48" providerId="ADAL" clId="{6ECD27E6-B224-41CD-B4E0-E297462320DD}" dt="2023-11-24T08:51:52.187" v="89982"/>
          <ac:spMkLst>
            <pc:docMk/>
            <pc:sldMk cId="3975964758" sldId="2147478571"/>
            <ac:spMk id="592" creationId="{DD32DF1B-B7D2-9B03-713C-10CBA291EBA5}"/>
          </ac:spMkLst>
        </pc:spChg>
        <pc:spChg chg="add del mod">
          <ac:chgData name="Steiner Andreas 6206 ED" userId="e6377c33-a923-4f14-8587-531c474c7b48" providerId="ADAL" clId="{6ECD27E6-B224-41CD-B4E0-E297462320DD}" dt="2023-11-24T08:51:54.163" v="90137"/>
          <ac:spMkLst>
            <pc:docMk/>
            <pc:sldMk cId="3975964758" sldId="2147478571"/>
            <ac:spMk id="593" creationId="{8C07D9EB-F217-0602-0043-C6D373E98B85}"/>
          </ac:spMkLst>
        </pc:spChg>
        <pc:spChg chg="add del mod">
          <ac:chgData name="Steiner Andreas 6206 ED" userId="e6377c33-a923-4f14-8587-531c474c7b48" providerId="ADAL" clId="{6ECD27E6-B224-41CD-B4E0-E297462320DD}" dt="2023-11-24T08:51:56.158" v="90292"/>
          <ac:spMkLst>
            <pc:docMk/>
            <pc:sldMk cId="3975964758" sldId="2147478571"/>
            <ac:spMk id="594" creationId="{A6DB7585-FA88-50DE-92A4-43DBF1C9EF22}"/>
          </ac:spMkLst>
        </pc:spChg>
        <pc:spChg chg="add del mod">
          <ac:chgData name="Steiner Andreas 6206 ED" userId="e6377c33-a923-4f14-8587-531c474c7b48" providerId="ADAL" clId="{6ECD27E6-B224-41CD-B4E0-E297462320DD}" dt="2023-11-24T08:51:58.082" v="90447"/>
          <ac:spMkLst>
            <pc:docMk/>
            <pc:sldMk cId="3975964758" sldId="2147478571"/>
            <ac:spMk id="595" creationId="{04B64A1B-23BA-1EFB-7A12-4AA61D8A3432}"/>
          </ac:spMkLst>
        </pc:spChg>
        <pc:spChg chg="add del mod">
          <ac:chgData name="Steiner Andreas 6206 ED" userId="e6377c33-a923-4f14-8587-531c474c7b48" providerId="ADAL" clId="{6ECD27E6-B224-41CD-B4E0-E297462320DD}" dt="2023-11-24T08:52:00.212" v="90602"/>
          <ac:spMkLst>
            <pc:docMk/>
            <pc:sldMk cId="3975964758" sldId="2147478571"/>
            <ac:spMk id="596" creationId="{281FDAB2-83C9-98B3-4B0C-D49CD65A0FB1}"/>
          </ac:spMkLst>
        </pc:spChg>
        <pc:spChg chg="add del mod">
          <ac:chgData name="Steiner Andreas 6206 ED" userId="e6377c33-a923-4f14-8587-531c474c7b48" providerId="ADAL" clId="{6ECD27E6-B224-41CD-B4E0-E297462320DD}" dt="2023-11-24T08:52:02.169" v="90757"/>
          <ac:spMkLst>
            <pc:docMk/>
            <pc:sldMk cId="3975964758" sldId="2147478571"/>
            <ac:spMk id="597" creationId="{F1E61F8A-D0BF-1BFE-0396-759000572387}"/>
          </ac:spMkLst>
        </pc:spChg>
        <pc:spChg chg="add del mod">
          <ac:chgData name="Steiner Andreas 6206 ED" userId="e6377c33-a923-4f14-8587-531c474c7b48" providerId="ADAL" clId="{6ECD27E6-B224-41CD-B4E0-E297462320DD}" dt="2023-11-24T08:52:04.092" v="90912"/>
          <ac:spMkLst>
            <pc:docMk/>
            <pc:sldMk cId="3975964758" sldId="2147478571"/>
            <ac:spMk id="598" creationId="{93EB7520-A064-C3A1-5266-C65E7E34AB9F}"/>
          </ac:spMkLst>
        </pc:spChg>
        <pc:spChg chg="add del mod">
          <ac:chgData name="Steiner Andreas 6206 ED" userId="e6377c33-a923-4f14-8587-531c474c7b48" providerId="ADAL" clId="{6ECD27E6-B224-41CD-B4E0-E297462320DD}" dt="2023-11-24T08:52:06.278" v="91067"/>
          <ac:spMkLst>
            <pc:docMk/>
            <pc:sldMk cId="3975964758" sldId="2147478571"/>
            <ac:spMk id="599" creationId="{CF3544E9-CCBF-1179-F75B-F597ED95CDEC}"/>
          </ac:spMkLst>
        </pc:spChg>
        <pc:spChg chg="add del mod">
          <ac:chgData name="Steiner Andreas 6206 ED" userId="e6377c33-a923-4f14-8587-531c474c7b48" providerId="ADAL" clId="{6ECD27E6-B224-41CD-B4E0-E297462320DD}" dt="2023-11-24T08:52:08.257" v="91222"/>
          <ac:spMkLst>
            <pc:docMk/>
            <pc:sldMk cId="3975964758" sldId="2147478571"/>
            <ac:spMk id="600" creationId="{7BB49E2B-CF7F-2DEA-3105-4B727DC200A5}"/>
          </ac:spMkLst>
        </pc:spChg>
        <pc:spChg chg="add del mod">
          <ac:chgData name="Steiner Andreas 6206 ED" userId="e6377c33-a923-4f14-8587-531c474c7b48" providerId="ADAL" clId="{6ECD27E6-B224-41CD-B4E0-E297462320DD}" dt="2023-11-24T08:52:10.140" v="91377"/>
          <ac:spMkLst>
            <pc:docMk/>
            <pc:sldMk cId="3975964758" sldId="2147478571"/>
            <ac:spMk id="601" creationId="{6CA8C427-D8FF-627E-644E-ACE06DCC3B88}"/>
          </ac:spMkLst>
        </pc:spChg>
        <pc:spChg chg="add del mod">
          <ac:chgData name="Steiner Andreas 6206 ED" userId="e6377c33-a923-4f14-8587-531c474c7b48" providerId="ADAL" clId="{6ECD27E6-B224-41CD-B4E0-E297462320DD}" dt="2023-11-24T08:52:11.998" v="91532"/>
          <ac:spMkLst>
            <pc:docMk/>
            <pc:sldMk cId="3975964758" sldId="2147478571"/>
            <ac:spMk id="602" creationId="{EDFEC140-1DF7-ACB2-F779-CB526E7B8FE0}"/>
          </ac:spMkLst>
        </pc:spChg>
        <pc:spChg chg="add del mod">
          <ac:chgData name="Steiner Andreas 6206 ED" userId="e6377c33-a923-4f14-8587-531c474c7b48" providerId="ADAL" clId="{6ECD27E6-B224-41CD-B4E0-E297462320DD}" dt="2023-11-24T08:52:13.931" v="91687"/>
          <ac:spMkLst>
            <pc:docMk/>
            <pc:sldMk cId="3975964758" sldId="2147478571"/>
            <ac:spMk id="603" creationId="{15C4C75C-6C9F-3EC1-5B55-C82BF3FE55F6}"/>
          </ac:spMkLst>
        </pc:spChg>
        <pc:spChg chg="add del mod">
          <ac:chgData name="Steiner Andreas 6206 ED" userId="e6377c33-a923-4f14-8587-531c474c7b48" providerId="ADAL" clId="{6ECD27E6-B224-41CD-B4E0-E297462320DD}" dt="2023-11-24T08:52:15.843" v="91842"/>
          <ac:spMkLst>
            <pc:docMk/>
            <pc:sldMk cId="3975964758" sldId="2147478571"/>
            <ac:spMk id="604" creationId="{61F0911E-97BA-FB16-6AC6-DE35989233CE}"/>
          </ac:spMkLst>
        </pc:spChg>
        <pc:spChg chg="add del mod">
          <ac:chgData name="Steiner Andreas 6206 ED" userId="e6377c33-a923-4f14-8587-531c474c7b48" providerId="ADAL" clId="{6ECD27E6-B224-41CD-B4E0-E297462320DD}" dt="2023-11-24T08:52:18.002" v="91997"/>
          <ac:spMkLst>
            <pc:docMk/>
            <pc:sldMk cId="3975964758" sldId="2147478571"/>
            <ac:spMk id="605" creationId="{51E80BD9-B207-9FB7-9AC7-6643C7F926A0}"/>
          </ac:spMkLst>
        </pc:spChg>
        <pc:spChg chg="add del mod">
          <ac:chgData name="Steiner Andreas 6206 ED" userId="e6377c33-a923-4f14-8587-531c474c7b48" providerId="ADAL" clId="{6ECD27E6-B224-41CD-B4E0-E297462320DD}" dt="2023-11-24T08:52:19.972" v="92152"/>
          <ac:spMkLst>
            <pc:docMk/>
            <pc:sldMk cId="3975964758" sldId="2147478571"/>
            <ac:spMk id="606" creationId="{DF2DDDBB-36AA-8F69-C0CF-8860EE1032D1}"/>
          </ac:spMkLst>
        </pc:spChg>
        <pc:spChg chg="add del mod">
          <ac:chgData name="Steiner Andreas 6206 ED" userId="e6377c33-a923-4f14-8587-531c474c7b48" providerId="ADAL" clId="{6ECD27E6-B224-41CD-B4E0-E297462320DD}" dt="2023-11-24T08:52:21.807" v="92307"/>
          <ac:spMkLst>
            <pc:docMk/>
            <pc:sldMk cId="3975964758" sldId="2147478571"/>
            <ac:spMk id="607" creationId="{84C5B331-47B5-1B77-17E4-1562E2C5A2FC}"/>
          </ac:spMkLst>
        </pc:spChg>
        <pc:spChg chg="add del mod">
          <ac:chgData name="Steiner Andreas 6206 ED" userId="e6377c33-a923-4f14-8587-531c474c7b48" providerId="ADAL" clId="{6ECD27E6-B224-41CD-B4E0-E297462320DD}" dt="2023-11-24T08:52:23.869" v="92462"/>
          <ac:spMkLst>
            <pc:docMk/>
            <pc:sldMk cId="3975964758" sldId="2147478571"/>
            <ac:spMk id="608" creationId="{49E75C43-893E-A64B-B3CD-607CB0B97688}"/>
          </ac:spMkLst>
        </pc:spChg>
        <pc:spChg chg="add del mod">
          <ac:chgData name="Steiner Andreas 6206 ED" userId="e6377c33-a923-4f14-8587-531c474c7b48" providerId="ADAL" clId="{6ECD27E6-B224-41CD-B4E0-E297462320DD}" dt="2023-11-24T08:52:25.748" v="92617"/>
          <ac:spMkLst>
            <pc:docMk/>
            <pc:sldMk cId="3975964758" sldId="2147478571"/>
            <ac:spMk id="609" creationId="{DD862173-AA85-3A40-F8C8-E205AC2A2BE9}"/>
          </ac:spMkLst>
        </pc:spChg>
        <pc:spChg chg="add del mod">
          <ac:chgData name="Steiner Andreas 6206 ED" userId="e6377c33-a923-4f14-8587-531c474c7b48" providerId="ADAL" clId="{6ECD27E6-B224-41CD-B4E0-E297462320DD}" dt="2023-11-24T08:52:27.613" v="92772"/>
          <ac:spMkLst>
            <pc:docMk/>
            <pc:sldMk cId="3975964758" sldId="2147478571"/>
            <ac:spMk id="610" creationId="{512EEFBD-ACEC-4FCF-76BB-8A6EC45E8455}"/>
          </ac:spMkLst>
        </pc:spChg>
        <pc:spChg chg="add del mod">
          <ac:chgData name="Steiner Andreas 6206 ED" userId="e6377c33-a923-4f14-8587-531c474c7b48" providerId="ADAL" clId="{6ECD27E6-B224-41CD-B4E0-E297462320DD}" dt="2023-11-24T08:52:29.701" v="92927"/>
          <ac:spMkLst>
            <pc:docMk/>
            <pc:sldMk cId="3975964758" sldId="2147478571"/>
            <ac:spMk id="611" creationId="{1406E487-4FBA-97DD-77BA-EB9F36E6A934}"/>
          </ac:spMkLst>
        </pc:spChg>
        <pc:spChg chg="add del mod">
          <ac:chgData name="Steiner Andreas 6206 ED" userId="e6377c33-a923-4f14-8587-531c474c7b48" providerId="ADAL" clId="{6ECD27E6-B224-41CD-B4E0-E297462320DD}" dt="2023-11-24T08:52:31.632" v="93082"/>
          <ac:spMkLst>
            <pc:docMk/>
            <pc:sldMk cId="3975964758" sldId="2147478571"/>
            <ac:spMk id="612" creationId="{0174ED64-37B8-4691-916F-6828D9D96E97}"/>
          </ac:spMkLst>
        </pc:spChg>
        <pc:spChg chg="add del mod">
          <ac:chgData name="Steiner Andreas 6206 ED" userId="e6377c33-a923-4f14-8587-531c474c7b48" providerId="ADAL" clId="{6ECD27E6-B224-41CD-B4E0-E297462320DD}" dt="2023-11-24T08:52:33.562" v="93237"/>
          <ac:spMkLst>
            <pc:docMk/>
            <pc:sldMk cId="3975964758" sldId="2147478571"/>
            <ac:spMk id="613" creationId="{88281928-5956-FD20-1F5F-234DB554BE7C}"/>
          </ac:spMkLst>
        </pc:spChg>
        <pc:spChg chg="add del mod">
          <ac:chgData name="Steiner Andreas 6206 ED" userId="e6377c33-a923-4f14-8587-531c474c7b48" providerId="ADAL" clId="{6ECD27E6-B224-41CD-B4E0-E297462320DD}" dt="2023-11-24T08:52:35.451" v="93392"/>
          <ac:spMkLst>
            <pc:docMk/>
            <pc:sldMk cId="3975964758" sldId="2147478571"/>
            <ac:spMk id="614" creationId="{FF4E86CD-E5D9-F02D-8CD8-7D007669B053}"/>
          </ac:spMkLst>
        </pc:spChg>
        <pc:spChg chg="add del mod">
          <ac:chgData name="Steiner Andreas 6206 ED" userId="e6377c33-a923-4f14-8587-531c474c7b48" providerId="ADAL" clId="{6ECD27E6-B224-41CD-B4E0-E297462320DD}" dt="2023-11-24T08:52:37.374" v="93547"/>
          <ac:spMkLst>
            <pc:docMk/>
            <pc:sldMk cId="3975964758" sldId="2147478571"/>
            <ac:spMk id="615" creationId="{6A80F4B2-F8B6-9B94-8F59-20F3557B456B}"/>
          </ac:spMkLst>
        </pc:spChg>
        <pc:spChg chg="add del mod">
          <ac:chgData name="Steiner Andreas 6206 ED" userId="e6377c33-a923-4f14-8587-531c474c7b48" providerId="ADAL" clId="{6ECD27E6-B224-41CD-B4E0-E297462320DD}" dt="2023-11-24T08:52:39.281" v="93702"/>
          <ac:spMkLst>
            <pc:docMk/>
            <pc:sldMk cId="3975964758" sldId="2147478571"/>
            <ac:spMk id="616" creationId="{161AC46A-52C1-E103-1BB1-73DBABC2F375}"/>
          </ac:spMkLst>
        </pc:spChg>
        <pc:spChg chg="add del mod">
          <ac:chgData name="Steiner Andreas 6206 ED" userId="e6377c33-a923-4f14-8587-531c474c7b48" providerId="ADAL" clId="{6ECD27E6-B224-41CD-B4E0-E297462320DD}" dt="2023-11-24T08:52:41.332" v="93857"/>
          <ac:spMkLst>
            <pc:docMk/>
            <pc:sldMk cId="3975964758" sldId="2147478571"/>
            <ac:spMk id="617" creationId="{3F619692-EDBD-D03D-BCCC-B66E2EA1A703}"/>
          </ac:spMkLst>
        </pc:spChg>
        <pc:spChg chg="add del mod">
          <ac:chgData name="Steiner Andreas 6206 ED" userId="e6377c33-a923-4f14-8587-531c474c7b48" providerId="ADAL" clId="{6ECD27E6-B224-41CD-B4E0-E297462320DD}" dt="2023-11-24T08:52:43.290" v="94012"/>
          <ac:spMkLst>
            <pc:docMk/>
            <pc:sldMk cId="3975964758" sldId="2147478571"/>
            <ac:spMk id="618" creationId="{4C369B19-156E-83FE-8B94-B4D9D5483A21}"/>
          </ac:spMkLst>
        </pc:spChg>
        <pc:spChg chg="add del mod">
          <ac:chgData name="Steiner Andreas 6206 ED" userId="e6377c33-a923-4f14-8587-531c474c7b48" providerId="ADAL" clId="{6ECD27E6-B224-41CD-B4E0-E297462320DD}" dt="2023-11-24T08:52:45.221" v="94167"/>
          <ac:spMkLst>
            <pc:docMk/>
            <pc:sldMk cId="3975964758" sldId="2147478571"/>
            <ac:spMk id="619" creationId="{7087ECB3-B8FF-6E69-12C7-97138078A7A3}"/>
          </ac:spMkLst>
        </pc:spChg>
        <pc:spChg chg="add del mod">
          <ac:chgData name="Steiner Andreas 6206 ED" userId="e6377c33-a923-4f14-8587-531c474c7b48" providerId="ADAL" clId="{6ECD27E6-B224-41CD-B4E0-E297462320DD}" dt="2023-11-24T08:52:47.182" v="94322"/>
          <ac:spMkLst>
            <pc:docMk/>
            <pc:sldMk cId="3975964758" sldId="2147478571"/>
            <ac:spMk id="620" creationId="{42B41E95-8F7E-3F7A-8A87-E5BF6B2C2D28}"/>
          </ac:spMkLst>
        </pc:spChg>
        <pc:spChg chg="add del mod">
          <ac:chgData name="Steiner Andreas 6206 ED" userId="e6377c33-a923-4f14-8587-531c474c7b48" providerId="ADAL" clId="{6ECD27E6-B224-41CD-B4E0-E297462320DD}" dt="2023-11-24T08:52:49.251" v="94477"/>
          <ac:spMkLst>
            <pc:docMk/>
            <pc:sldMk cId="3975964758" sldId="2147478571"/>
            <ac:spMk id="621" creationId="{B323335F-45F9-50A7-F208-00DF8086282A}"/>
          </ac:spMkLst>
        </pc:spChg>
        <pc:spChg chg="add del mod">
          <ac:chgData name="Steiner Andreas 6206 ED" userId="e6377c33-a923-4f14-8587-531c474c7b48" providerId="ADAL" clId="{6ECD27E6-B224-41CD-B4E0-E297462320DD}" dt="2023-11-24T08:52:51.461" v="94632"/>
          <ac:spMkLst>
            <pc:docMk/>
            <pc:sldMk cId="3975964758" sldId="2147478571"/>
            <ac:spMk id="622" creationId="{1D3719D6-A460-346A-1936-208FF979ABB7}"/>
          </ac:spMkLst>
        </pc:spChg>
        <pc:spChg chg="add del mod">
          <ac:chgData name="Steiner Andreas 6206 ED" userId="e6377c33-a923-4f14-8587-531c474c7b48" providerId="ADAL" clId="{6ECD27E6-B224-41CD-B4E0-E297462320DD}" dt="2023-11-24T08:52:53.407" v="94787"/>
          <ac:spMkLst>
            <pc:docMk/>
            <pc:sldMk cId="3975964758" sldId="2147478571"/>
            <ac:spMk id="623" creationId="{D85B96E7-FB73-F8D2-2A3C-BC5B94EAB30E}"/>
          </ac:spMkLst>
        </pc:spChg>
        <pc:spChg chg="add del mod">
          <ac:chgData name="Steiner Andreas 6206 ED" userId="e6377c33-a923-4f14-8587-531c474c7b48" providerId="ADAL" clId="{6ECD27E6-B224-41CD-B4E0-E297462320DD}" dt="2023-11-24T08:52:55.344" v="94942"/>
          <ac:spMkLst>
            <pc:docMk/>
            <pc:sldMk cId="3975964758" sldId="2147478571"/>
            <ac:spMk id="624" creationId="{33F987A6-4A2A-499B-A42E-18A8F7C9D7A6}"/>
          </ac:spMkLst>
        </pc:spChg>
        <pc:spChg chg="add del mod">
          <ac:chgData name="Steiner Andreas 6206 ED" userId="e6377c33-a923-4f14-8587-531c474c7b48" providerId="ADAL" clId="{6ECD27E6-B224-41CD-B4E0-E297462320DD}" dt="2023-11-24T08:52:57.377" v="95097"/>
          <ac:spMkLst>
            <pc:docMk/>
            <pc:sldMk cId="3975964758" sldId="2147478571"/>
            <ac:spMk id="625" creationId="{133E6353-9DA9-0E57-01E4-4C722FB12F5E}"/>
          </ac:spMkLst>
        </pc:spChg>
        <pc:spChg chg="add del mod">
          <ac:chgData name="Steiner Andreas 6206 ED" userId="e6377c33-a923-4f14-8587-531c474c7b48" providerId="ADAL" clId="{6ECD27E6-B224-41CD-B4E0-E297462320DD}" dt="2023-11-24T08:52:59.326" v="95252"/>
          <ac:spMkLst>
            <pc:docMk/>
            <pc:sldMk cId="3975964758" sldId="2147478571"/>
            <ac:spMk id="626" creationId="{2193A47E-8B72-6F8D-0D98-1B537E4C6587}"/>
          </ac:spMkLst>
        </pc:spChg>
        <pc:spChg chg="add del mod">
          <ac:chgData name="Steiner Andreas 6206 ED" userId="e6377c33-a923-4f14-8587-531c474c7b48" providerId="ADAL" clId="{6ECD27E6-B224-41CD-B4E0-E297462320DD}" dt="2023-11-24T08:53:01.331" v="95407"/>
          <ac:spMkLst>
            <pc:docMk/>
            <pc:sldMk cId="3975964758" sldId="2147478571"/>
            <ac:spMk id="627" creationId="{0D3FA4DF-03EC-D5C3-5EC3-5C4B1089B1F9}"/>
          </ac:spMkLst>
        </pc:spChg>
        <pc:spChg chg="add del mod">
          <ac:chgData name="Steiner Andreas 6206 ED" userId="e6377c33-a923-4f14-8587-531c474c7b48" providerId="ADAL" clId="{6ECD27E6-B224-41CD-B4E0-E297462320DD}" dt="2023-11-24T08:53:03.455" v="95562"/>
          <ac:spMkLst>
            <pc:docMk/>
            <pc:sldMk cId="3975964758" sldId="2147478571"/>
            <ac:spMk id="628" creationId="{CD1DEBCD-564B-4CFC-4901-767BD3AC8C48}"/>
          </ac:spMkLst>
        </pc:spChg>
        <pc:spChg chg="add del mod">
          <ac:chgData name="Steiner Andreas 6206 ED" userId="e6377c33-a923-4f14-8587-531c474c7b48" providerId="ADAL" clId="{6ECD27E6-B224-41CD-B4E0-E297462320DD}" dt="2023-11-24T08:53:05.426" v="95717"/>
          <ac:spMkLst>
            <pc:docMk/>
            <pc:sldMk cId="3975964758" sldId="2147478571"/>
            <ac:spMk id="629" creationId="{C795F451-3A75-7FCA-067F-E86075ABD4D1}"/>
          </ac:spMkLst>
        </pc:spChg>
        <pc:spChg chg="add del mod">
          <ac:chgData name="Steiner Andreas 6206 ED" userId="e6377c33-a923-4f14-8587-531c474c7b48" providerId="ADAL" clId="{6ECD27E6-B224-41CD-B4E0-E297462320DD}" dt="2023-11-24T08:53:07.300" v="95872"/>
          <ac:spMkLst>
            <pc:docMk/>
            <pc:sldMk cId="3975964758" sldId="2147478571"/>
            <ac:spMk id="630" creationId="{8905D5A9-9F95-4502-D18F-E43E93DBD8A8}"/>
          </ac:spMkLst>
        </pc:spChg>
        <pc:spChg chg="add del mod">
          <ac:chgData name="Steiner Andreas 6206 ED" userId="e6377c33-a923-4f14-8587-531c474c7b48" providerId="ADAL" clId="{6ECD27E6-B224-41CD-B4E0-E297462320DD}" dt="2023-11-24T08:53:09.241" v="96027"/>
          <ac:spMkLst>
            <pc:docMk/>
            <pc:sldMk cId="3975964758" sldId="2147478571"/>
            <ac:spMk id="631" creationId="{4CD9E0D2-8671-9176-E729-716ABD7ACE7D}"/>
          </ac:spMkLst>
        </pc:spChg>
        <pc:spChg chg="add del mod">
          <ac:chgData name="Steiner Andreas 6206 ED" userId="e6377c33-a923-4f14-8587-531c474c7b48" providerId="ADAL" clId="{6ECD27E6-B224-41CD-B4E0-E297462320DD}" dt="2023-11-24T08:53:11.183" v="96182"/>
          <ac:spMkLst>
            <pc:docMk/>
            <pc:sldMk cId="3975964758" sldId="2147478571"/>
            <ac:spMk id="632" creationId="{E9EE565B-7EFD-280A-57DB-58F8B6044E01}"/>
          </ac:spMkLst>
        </pc:spChg>
        <pc:spChg chg="add del mod">
          <ac:chgData name="Steiner Andreas 6206 ED" userId="e6377c33-a923-4f14-8587-531c474c7b48" providerId="ADAL" clId="{6ECD27E6-B224-41CD-B4E0-E297462320DD}" dt="2023-11-24T08:53:13.164" v="96337"/>
          <ac:spMkLst>
            <pc:docMk/>
            <pc:sldMk cId="3975964758" sldId="2147478571"/>
            <ac:spMk id="633" creationId="{2391C7F7-44F1-3AC2-B255-4A5412458AC8}"/>
          </ac:spMkLst>
        </pc:spChg>
        <pc:spChg chg="add del mod">
          <ac:chgData name="Steiner Andreas 6206 ED" userId="e6377c33-a923-4f14-8587-531c474c7b48" providerId="ADAL" clId="{6ECD27E6-B224-41CD-B4E0-E297462320DD}" dt="2023-11-24T08:53:15.260" v="96492"/>
          <ac:spMkLst>
            <pc:docMk/>
            <pc:sldMk cId="3975964758" sldId="2147478571"/>
            <ac:spMk id="634" creationId="{14EEF7BC-5A2D-9838-B6E0-2ED412FF8097}"/>
          </ac:spMkLst>
        </pc:spChg>
        <pc:spChg chg="add del mod">
          <ac:chgData name="Steiner Andreas 6206 ED" userId="e6377c33-a923-4f14-8587-531c474c7b48" providerId="ADAL" clId="{6ECD27E6-B224-41CD-B4E0-E297462320DD}" dt="2023-11-24T08:53:17.224" v="96647"/>
          <ac:spMkLst>
            <pc:docMk/>
            <pc:sldMk cId="3975964758" sldId="2147478571"/>
            <ac:spMk id="635" creationId="{6586AC94-DF53-663D-367E-987C0CF2A329}"/>
          </ac:spMkLst>
        </pc:spChg>
        <pc:spChg chg="add del mod">
          <ac:chgData name="Steiner Andreas 6206 ED" userId="e6377c33-a923-4f14-8587-531c474c7b48" providerId="ADAL" clId="{6ECD27E6-B224-41CD-B4E0-E297462320DD}" dt="2023-11-24T08:53:19.178" v="96802"/>
          <ac:spMkLst>
            <pc:docMk/>
            <pc:sldMk cId="3975964758" sldId="2147478571"/>
            <ac:spMk id="636" creationId="{7A0FC534-4D54-75E3-2511-98F8B7637C35}"/>
          </ac:spMkLst>
        </pc:spChg>
        <pc:spChg chg="add del mod">
          <ac:chgData name="Steiner Andreas 6206 ED" userId="e6377c33-a923-4f14-8587-531c474c7b48" providerId="ADAL" clId="{6ECD27E6-B224-41CD-B4E0-E297462320DD}" dt="2023-11-24T08:53:21.149" v="96957"/>
          <ac:spMkLst>
            <pc:docMk/>
            <pc:sldMk cId="3975964758" sldId="2147478571"/>
            <ac:spMk id="637" creationId="{03F525C6-44F9-B510-CF46-A65D41D73CC4}"/>
          </ac:spMkLst>
        </pc:spChg>
        <pc:spChg chg="add del mod">
          <ac:chgData name="Steiner Andreas 6206 ED" userId="e6377c33-a923-4f14-8587-531c474c7b48" providerId="ADAL" clId="{6ECD27E6-B224-41CD-B4E0-E297462320DD}" dt="2023-11-24T08:53:23.109" v="97112"/>
          <ac:spMkLst>
            <pc:docMk/>
            <pc:sldMk cId="3975964758" sldId="2147478571"/>
            <ac:spMk id="638" creationId="{DA1F6FE1-1346-5B80-F93A-A51A15D833A1}"/>
          </ac:spMkLst>
        </pc:spChg>
        <pc:spChg chg="add del mod">
          <ac:chgData name="Steiner Andreas 6206 ED" userId="e6377c33-a923-4f14-8587-531c474c7b48" providerId="ADAL" clId="{6ECD27E6-B224-41CD-B4E0-E297462320DD}" dt="2023-11-24T08:53:25.221" v="97267"/>
          <ac:spMkLst>
            <pc:docMk/>
            <pc:sldMk cId="3975964758" sldId="2147478571"/>
            <ac:spMk id="639" creationId="{5E6CC458-94E6-EA33-8A98-2F1F51FD060D}"/>
          </ac:spMkLst>
        </pc:spChg>
        <pc:spChg chg="add del mod">
          <ac:chgData name="Steiner Andreas 6206 ED" userId="e6377c33-a923-4f14-8587-531c474c7b48" providerId="ADAL" clId="{6ECD27E6-B224-41CD-B4E0-E297462320DD}" dt="2023-11-24T08:53:27.215" v="97422"/>
          <ac:spMkLst>
            <pc:docMk/>
            <pc:sldMk cId="3975964758" sldId="2147478571"/>
            <ac:spMk id="640" creationId="{64A2B2F0-7E59-EAD0-FDD3-29AB61F65CCA}"/>
          </ac:spMkLst>
        </pc:spChg>
        <pc:spChg chg="add del mod">
          <ac:chgData name="Steiner Andreas 6206 ED" userId="e6377c33-a923-4f14-8587-531c474c7b48" providerId="ADAL" clId="{6ECD27E6-B224-41CD-B4E0-E297462320DD}" dt="2023-11-24T08:53:29.102" v="97577"/>
          <ac:spMkLst>
            <pc:docMk/>
            <pc:sldMk cId="3975964758" sldId="2147478571"/>
            <ac:spMk id="641" creationId="{6E8D14D9-84B8-3775-A9A4-A54C1ACE5CCB}"/>
          </ac:spMkLst>
        </pc:spChg>
        <pc:spChg chg="add del mod">
          <ac:chgData name="Steiner Andreas 6206 ED" userId="e6377c33-a923-4f14-8587-531c474c7b48" providerId="ADAL" clId="{6ECD27E6-B224-41CD-B4E0-E297462320DD}" dt="2023-11-24T08:53:31.004" v="97732"/>
          <ac:spMkLst>
            <pc:docMk/>
            <pc:sldMk cId="3975964758" sldId="2147478571"/>
            <ac:spMk id="642" creationId="{82F7B791-1742-C3F3-B317-3244ABBFC9E5}"/>
          </ac:spMkLst>
        </pc:spChg>
        <pc:spChg chg="add del mod">
          <ac:chgData name="Steiner Andreas 6206 ED" userId="e6377c33-a923-4f14-8587-531c474c7b48" providerId="ADAL" clId="{6ECD27E6-B224-41CD-B4E0-E297462320DD}" dt="2023-11-24T08:53:32.941" v="97887"/>
          <ac:spMkLst>
            <pc:docMk/>
            <pc:sldMk cId="3975964758" sldId="2147478571"/>
            <ac:spMk id="643" creationId="{218395F4-133B-EAEE-6A77-CA05DA061375}"/>
          </ac:spMkLst>
        </pc:spChg>
        <pc:spChg chg="add del mod">
          <ac:chgData name="Steiner Andreas 6206 ED" userId="e6377c33-a923-4f14-8587-531c474c7b48" providerId="ADAL" clId="{6ECD27E6-B224-41CD-B4E0-E297462320DD}" dt="2023-11-24T08:53:34.871" v="98042"/>
          <ac:spMkLst>
            <pc:docMk/>
            <pc:sldMk cId="3975964758" sldId="2147478571"/>
            <ac:spMk id="644" creationId="{68F46357-29A6-2FF7-2AB2-0427DA115199}"/>
          </ac:spMkLst>
        </pc:spChg>
        <pc:spChg chg="add del mod">
          <ac:chgData name="Steiner Andreas 6206 ED" userId="e6377c33-a923-4f14-8587-531c474c7b48" providerId="ADAL" clId="{6ECD27E6-B224-41CD-B4E0-E297462320DD}" dt="2023-11-24T08:53:36.964" v="98197"/>
          <ac:spMkLst>
            <pc:docMk/>
            <pc:sldMk cId="3975964758" sldId="2147478571"/>
            <ac:spMk id="645" creationId="{9A2D32BC-89A1-6DEE-12A2-6263E247D96D}"/>
          </ac:spMkLst>
        </pc:spChg>
        <pc:spChg chg="add del mod">
          <ac:chgData name="Steiner Andreas 6206 ED" userId="e6377c33-a923-4f14-8587-531c474c7b48" providerId="ADAL" clId="{6ECD27E6-B224-41CD-B4E0-E297462320DD}" dt="2023-11-24T08:53:38.878" v="98352"/>
          <ac:spMkLst>
            <pc:docMk/>
            <pc:sldMk cId="3975964758" sldId="2147478571"/>
            <ac:spMk id="646" creationId="{0CAD6C92-7E79-2269-709E-223D312F1614}"/>
          </ac:spMkLst>
        </pc:spChg>
        <pc:spChg chg="add del mod">
          <ac:chgData name="Steiner Andreas 6206 ED" userId="e6377c33-a923-4f14-8587-531c474c7b48" providerId="ADAL" clId="{6ECD27E6-B224-41CD-B4E0-E297462320DD}" dt="2023-11-24T08:53:40.843" v="98507"/>
          <ac:spMkLst>
            <pc:docMk/>
            <pc:sldMk cId="3975964758" sldId="2147478571"/>
            <ac:spMk id="647" creationId="{FD48D530-D592-3700-F192-813E915B7C13}"/>
          </ac:spMkLst>
        </pc:spChg>
        <pc:spChg chg="add del mod">
          <ac:chgData name="Steiner Andreas 6206 ED" userId="e6377c33-a923-4f14-8587-531c474c7b48" providerId="ADAL" clId="{6ECD27E6-B224-41CD-B4E0-E297462320DD}" dt="2023-11-24T08:53:42.778" v="98662"/>
          <ac:spMkLst>
            <pc:docMk/>
            <pc:sldMk cId="3975964758" sldId="2147478571"/>
            <ac:spMk id="648" creationId="{21D1F746-B8A8-C54A-C28D-457C130DFEBD}"/>
          </ac:spMkLst>
        </pc:spChg>
        <pc:spChg chg="add del mod">
          <ac:chgData name="Steiner Andreas 6206 ED" userId="e6377c33-a923-4f14-8587-531c474c7b48" providerId="ADAL" clId="{6ECD27E6-B224-41CD-B4E0-E297462320DD}" dt="2023-11-24T08:53:44.735" v="98817"/>
          <ac:spMkLst>
            <pc:docMk/>
            <pc:sldMk cId="3975964758" sldId="2147478571"/>
            <ac:spMk id="649" creationId="{F8DA1825-5011-AA45-2396-EB418FBC5303}"/>
          </ac:spMkLst>
        </pc:spChg>
        <pc:spChg chg="add del mod">
          <ac:chgData name="Steiner Andreas 6206 ED" userId="e6377c33-a923-4f14-8587-531c474c7b48" providerId="ADAL" clId="{6ECD27E6-B224-41CD-B4E0-E297462320DD}" dt="2023-11-24T08:53:46.660" v="98972"/>
          <ac:spMkLst>
            <pc:docMk/>
            <pc:sldMk cId="3975964758" sldId="2147478571"/>
            <ac:spMk id="650" creationId="{23923C55-00F7-1DF0-D1E3-20583E9D015D}"/>
          </ac:spMkLst>
        </pc:spChg>
        <pc:spChg chg="add del mod">
          <ac:chgData name="Steiner Andreas 6206 ED" userId="e6377c33-a923-4f14-8587-531c474c7b48" providerId="ADAL" clId="{6ECD27E6-B224-41CD-B4E0-E297462320DD}" dt="2023-11-24T08:53:48.727" v="99127"/>
          <ac:spMkLst>
            <pc:docMk/>
            <pc:sldMk cId="3975964758" sldId="2147478571"/>
            <ac:spMk id="651" creationId="{21D0DE1D-A538-B0E8-D35B-FDA720DF74FD}"/>
          </ac:spMkLst>
        </pc:spChg>
        <pc:spChg chg="add del mod">
          <ac:chgData name="Steiner Andreas 6206 ED" userId="e6377c33-a923-4f14-8587-531c474c7b48" providerId="ADAL" clId="{6ECD27E6-B224-41CD-B4E0-E297462320DD}" dt="2023-11-24T08:53:50.681" v="99282"/>
          <ac:spMkLst>
            <pc:docMk/>
            <pc:sldMk cId="3975964758" sldId="2147478571"/>
            <ac:spMk id="652" creationId="{0B929FFA-19CD-6049-75FB-AB2856EC13C1}"/>
          </ac:spMkLst>
        </pc:spChg>
        <pc:spChg chg="add del mod">
          <ac:chgData name="Steiner Andreas 6206 ED" userId="e6377c33-a923-4f14-8587-531c474c7b48" providerId="ADAL" clId="{6ECD27E6-B224-41CD-B4E0-E297462320DD}" dt="2023-11-24T08:53:52.660" v="99437"/>
          <ac:spMkLst>
            <pc:docMk/>
            <pc:sldMk cId="3975964758" sldId="2147478571"/>
            <ac:spMk id="653" creationId="{8B934298-80CA-0B82-E027-0EA80EE526B6}"/>
          </ac:spMkLst>
        </pc:spChg>
        <pc:spChg chg="add del mod">
          <ac:chgData name="Steiner Andreas 6206 ED" userId="e6377c33-a923-4f14-8587-531c474c7b48" providerId="ADAL" clId="{6ECD27E6-B224-41CD-B4E0-E297462320DD}" dt="2023-11-24T08:53:54.629" v="99592"/>
          <ac:spMkLst>
            <pc:docMk/>
            <pc:sldMk cId="3975964758" sldId="2147478571"/>
            <ac:spMk id="654" creationId="{98017208-75C8-DF8D-281E-65283C7DFDF3}"/>
          </ac:spMkLst>
        </pc:spChg>
        <pc:spChg chg="add del mod">
          <ac:chgData name="Steiner Andreas 6206 ED" userId="e6377c33-a923-4f14-8587-531c474c7b48" providerId="ADAL" clId="{6ECD27E6-B224-41CD-B4E0-E297462320DD}" dt="2023-11-24T08:53:56.555" v="99747"/>
          <ac:spMkLst>
            <pc:docMk/>
            <pc:sldMk cId="3975964758" sldId="2147478571"/>
            <ac:spMk id="655" creationId="{FEAFA499-4D2B-CA89-EBC3-0C9E873AFA25}"/>
          </ac:spMkLst>
        </pc:spChg>
        <pc:spChg chg="add del mod">
          <ac:chgData name="Steiner Andreas 6206 ED" userId="e6377c33-a923-4f14-8587-531c474c7b48" providerId="ADAL" clId="{6ECD27E6-B224-41CD-B4E0-E297462320DD}" dt="2023-11-24T08:53:58.622" v="99902"/>
          <ac:spMkLst>
            <pc:docMk/>
            <pc:sldMk cId="3975964758" sldId="2147478571"/>
            <ac:spMk id="656" creationId="{816DCA04-8632-EA02-8498-C81FCF3F973C}"/>
          </ac:spMkLst>
        </pc:spChg>
        <pc:spChg chg="add del mod">
          <ac:chgData name="Steiner Andreas 6206 ED" userId="e6377c33-a923-4f14-8587-531c474c7b48" providerId="ADAL" clId="{6ECD27E6-B224-41CD-B4E0-E297462320DD}" dt="2023-11-24T08:54:00.736" v="100057"/>
          <ac:spMkLst>
            <pc:docMk/>
            <pc:sldMk cId="3975964758" sldId="2147478571"/>
            <ac:spMk id="657" creationId="{F8DD3770-1384-101E-CD16-F6FDAF3A8988}"/>
          </ac:spMkLst>
        </pc:spChg>
        <pc:spChg chg="add del mod">
          <ac:chgData name="Steiner Andreas 6206 ED" userId="e6377c33-a923-4f14-8587-531c474c7b48" providerId="ADAL" clId="{6ECD27E6-B224-41CD-B4E0-E297462320DD}" dt="2023-11-24T08:54:02.720" v="100212"/>
          <ac:spMkLst>
            <pc:docMk/>
            <pc:sldMk cId="3975964758" sldId="2147478571"/>
            <ac:spMk id="658" creationId="{A07899E8-C733-5347-263D-CC4FD7FDB710}"/>
          </ac:spMkLst>
        </pc:spChg>
        <pc:spChg chg="add del mod">
          <ac:chgData name="Steiner Andreas 6206 ED" userId="e6377c33-a923-4f14-8587-531c474c7b48" providerId="ADAL" clId="{6ECD27E6-B224-41CD-B4E0-E297462320DD}" dt="2023-11-24T08:54:04.674" v="100367"/>
          <ac:spMkLst>
            <pc:docMk/>
            <pc:sldMk cId="3975964758" sldId="2147478571"/>
            <ac:spMk id="659" creationId="{4A69D6F4-84A7-C2E5-960A-224A10B89972}"/>
          </ac:spMkLst>
        </pc:spChg>
        <pc:spChg chg="add del mod">
          <ac:chgData name="Steiner Andreas 6206 ED" userId="e6377c33-a923-4f14-8587-531c474c7b48" providerId="ADAL" clId="{6ECD27E6-B224-41CD-B4E0-E297462320DD}" dt="2023-11-24T08:54:06.653" v="100522"/>
          <ac:spMkLst>
            <pc:docMk/>
            <pc:sldMk cId="3975964758" sldId="2147478571"/>
            <ac:spMk id="660" creationId="{413130B6-4E51-B829-F8DC-866621B8C746}"/>
          </ac:spMkLst>
        </pc:spChg>
        <pc:spChg chg="add del mod">
          <ac:chgData name="Steiner Andreas 6206 ED" userId="e6377c33-a923-4f14-8587-531c474c7b48" providerId="ADAL" clId="{6ECD27E6-B224-41CD-B4E0-E297462320DD}" dt="2023-11-24T08:54:08.622" v="100677"/>
          <ac:spMkLst>
            <pc:docMk/>
            <pc:sldMk cId="3975964758" sldId="2147478571"/>
            <ac:spMk id="661" creationId="{20269646-535E-C95E-C8EC-83653A02AAD2}"/>
          </ac:spMkLst>
        </pc:spChg>
        <pc:spChg chg="add del mod">
          <ac:chgData name="Steiner Andreas 6206 ED" userId="e6377c33-a923-4f14-8587-531c474c7b48" providerId="ADAL" clId="{6ECD27E6-B224-41CD-B4E0-E297462320DD}" dt="2023-11-24T08:54:10.774" v="100832"/>
          <ac:spMkLst>
            <pc:docMk/>
            <pc:sldMk cId="3975964758" sldId="2147478571"/>
            <ac:spMk id="662" creationId="{9E52EAAC-C2A3-4F4A-D85B-8FD094DA502C}"/>
          </ac:spMkLst>
        </pc:spChg>
        <pc:spChg chg="add del mod">
          <ac:chgData name="Steiner Andreas 6206 ED" userId="e6377c33-a923-4f14-8587-531c474c7b48" providerId="ADAL" clId="{6ECD27E6-B224-41CD-B4E0-E297462320DD}" dt="2023-11-24T08:54:12.698" v="100987"/>
          <ac:spMkLst>
            <pc:docMk/>
            <pc:sldMk cId="3975964758" sldId="2147478571"/>
            <ac:spMk id="663" creationId="{00FD7BE8-5478-5F23-33F6-C0283B33AD62}"/>
          </ac:spMkLst>
        </pc:spChg>
        <pc:spChg chg="add del mod">
          <ac:chgData name="Steiner Andreas 6206 ED" userId="e6377c33-a923-4f14-8587-531c474c7b48" providerId="ADAL" clId="{6ECD27E6-B224-41CD-B4E0-E297462320DD}" dt="2023-11-24T08:54:14.670" v="101142"/>
          <ac:spMkLst>
            <pc:docMk/>
            <pc:sldMk cId="3975964758" sldId="2147478571"/>
            <ac:spMk id="664" creationId="{1C495D31-0EE2-7206-63CE-6BD91D485227}"/>
          </ac:spMkLst>
        </pc:spChg>
        <pc:spChg chg="add del mod">
          <ac:chgData name="Steiner Andreas 6206 ED" userId="e6377c33-a923-4f14-8587-531c474c7b48" providerId="ADAL" clId="{6ECD27E6-B224-41CD-B4E0-E297462320DD}" dt="2023-11-24T08:54:16.547" v="101297"/>
          <ac:spMkLst>
            <pc:docMk/>
            <pc:sldMk cId="3975964758" sldId="2147478571"/>
            <ac:spMk id="665" creationId="{4665DC0A-4441-45AA-D479-80E3D1A73C7F}"/>
          </ac:spMkLst>
        </pc:spChg>
        <pc:spChg chg="add del mod">
          <ac:chgData name="Steiner Andreas 6206 ED" userId="e6377c33-a923-4f14-8587-531c474c7b48" providerId="ADAL" clId="{6ECD27E6-B224-41CD-B4E0-E297462320DD}" dt="2023-11-24T08:54:18.459" v="101452"/>
          <ac:spMkLst>
            <pc:docMk/>
            <pc:sldMk cId="3975964758" sldId="2147478571"/>
            <ac:spMk id="666" creationId="{15A86AE5-A036-4B74-C90F-7F623584DECA}"/>
          </ac:spMkLst>
        </pc:spChg>
        <pc:spChg chg="add del mod">
          <ac:chgData name="Steiner Andreas 6206 ED" userId="e6377c33-a923-4f14-8587-531c474c7b48" providerId="ADAL" clId="{6ECD27E6-B224-41CD-B4E0-E297462320DD}" dt="2023-11-24T08:54:20.417" v="101607"/>
          <ac:spMkLst>
            <pc:docMk/>
            <pc:sldMk cId="3975964758" sldId="2147478571"/>
            <ac:spMk id="667" creationId="{3A6656BD-5A46-94DA-C430-2780B27FB74A}"/>
          </ac:spMkLst>
        </pc:spChg>
        <pc:spChg chg="add del mod">
          <ac:chgData name="Steiner Andreas 6206 ED" userId="e6377c33-a923-4f14-8587-531c474c7b48" providerId="ADAL" clId="{6ECD27E6-B224-41CD-B4E0-E297462320DD}" dt="2023-11-24T08:54:22.538" v="101762"/>
          <ac:spMkLst>
            <pc:docMk/>
            <pc:sldMk cId="3975964758" sldId="2147478571"/>
            <ac:spMk id="668" creationId="{6CB49BD3-6B80-FE9B-5A0F-810887170CBE}"/>
          </ac:spMkLst>
        </pc:spChg>
        <pc:spChg chg="add del mod">
          <ac:chgData name="Steiner Andreas 6206 ED" userId="e6377c33-a923-4f14-8587-531c474c7b48" providerId="ADAL" clId="{6ECD27E6-B224-41CD-B4E0-E297462320DD}" dt="2023-11-24T08:54:24.489" v="101917"/>
          <ac:spMkLst>
            <pc:docMk/>
            <pc:sldMk cId="3975964758" sldId="2147478571"/>
            <ac:spMk id="669" creationId="{D2544E83-4CBF-1FCD-C76A-6EE50F5A90F5}"/>
          </ac:spMkLst>
        </pc:spChg>
        <pc:spChg chg="add del mod">
          <ac:chgData name="Steiner Andreas 6206 ED" userId="e6377c33-a923-4f14-8587-531c474c7b48" providerId="ADAL" clId="{6ECD27E6-B224-41CD-B4E0-E297462320DD}" dt="2023-11-24T08:54:26.446" v="102072"/>
          <ac:spMkLst>
            <pc:docMk/>
            <pc:sldMk cId="3975964758" sldId="2147478571"/>
            <ac:spMk id="670" creationId="{7588252B-39B3-45E3-71DB-477EEEAA5C47}"/>
          </ac:spMkLst>
        </pc:spChg>
        <pc:spChg chg="add del mod">
          <ac:chgData name="Steiner Andreas 6206 ED" userId="e6377c33-a923-4f14-8587-531c474c7b48" providerId="ADAL" clId="{6ECD27E6-B224-41CD-B4E0-E297462320DD}" dt="2023-11-24T08:54:28.406" v="102227"/>
          <ac:spMkLst>
            <pc:docMk/>
            <pc:sldMk cId="3975964758" sldId="2147478571"/>
            <ac:spMk id="671" creationId="{D45AF71C-35C7-1D08-F6B1-D5E171B2D56F}"/>
          </ac:spMkLst>
        </pc:spChg>
        <pc:spChg chg="add del mod">
          <ac:chgData name="Steiner Andreas 6206 ED" userId="e6377c33-a923-4f14-8587-531c474c7b48" providerId="ADAL" clId="{6ECD27E6-B224-41CD-B4E0-E297462320DD}" dt="2023-11-24T08:54:30.335" v="102382"/>
          <ac:spMkLst>
            <pc:docMk/>
            <pc:sldMk cId="3975964758" sldId="2147478571"/>
            <ac:spMk id="672" creationId="{4C2D753A-B69D-A9B6-959F-ED6A9A036EDA}"/>
          </ac:spMkLst>
        </pc:spChg>
        <pc:spChg chg="add del mod">
          <ac:chgData name="Steiner Andreas 6206 ED" userId="e6377c33-a923-4f14-8587-531c474c7b48" providerId="ADAL" clId="{6ECD27E6-B224-41CD-B4E0-E297462320DD}" dt="2023-11-24T08:54:32.488" v="102537"/>
          <ac:spMkLst>
            <pc:docMk/>
            <pc:sldMk cId="3975964758" sldId="2147478571"/>
            <ac:spMk id="673" creationId="{435232B2-E312-AAB4-34C6-E0CC4DDD58ED}"/>
          </ac:spMkLst>
        </pc:spChg>
        <pc:spChg chg="add del mod">
          <ac:chgData name="Steiner Andreas 6206 ED" userId="e6377c33-a923-4f14-8587-531c474c7b48" providerId="ADAL" clId="{6ECD27E6-B224-41CD-B4E0-E297462320DD}" dt="2023-11-24T08:54:34.466" v="102692"/>
          <ac:spMkLst>
            <pc:docMk/>
            <pc:sldMk cId="3975964758" sldId="2147478571"/>
            <ac:spMk id="674" creationId="{5A0ADC6D-CFF5-9DCE-2EBA-A8ED32EDC6CA}"/>
          </ac:spMkLst>
        </pc:spChg>
        <pc:spChg chg="add del mod">
          <ac:chgData name="Steiner Andreas 6206 ED" userId="e6377c33-a923-4f14-8587-531c474c7b48" providerId="ADAL" clId="{6ECD27E6-B224-41CD-B4E0-E297462320DD}" dt="2023-11-24T08:54:36.406" v="102847"/>
          <ac:spMkLst>
            <pc:docMk/>
            <pc:sldMk cId="3975964758" sldId="2147478571"/>
            <ac:spMk id="675" creationId="{0F6B94F0-5272-D43F-35E0-B13EA44443D4}"/>
          </ac:spMkLst>
        </pc:spChg>
        <pc:spChg chg="add del mod">
          <ac:chgData name="Steiner Andreas 6206 ED" userId="e6377c33-a923-4f14-8587-531c474c7b48" providerId="ADAL" clId="{6ECD27E6-B224-41CD-B4E0-E297462320DD}" dt="2023-11-24T08:54:38.601" v="103002"/>
          <ac:spMkLst>
            <pc:docMk/>
            <pc:sldMk cId="3975964758" sldId="2147478571"/>
            <ac:spMk id="676" creationId="{24AA978F-6AC4-68F6-9AB3-0D8701BDC509}"/>
          </ac:spMkLst>
        </pc:spChg>
        <pc:spChg chg="add del mod">
          <ac:chgData name="Steiner Andreas 6206 ED" userId="e6377c33-a923-4f14-8587-531c474c7b48" providerId="ADAL" clId="{6ECD27E6-B224-41CD-B4E0-E297462320DD}" dt="2023-11-24T08:54:40.773" v="103157"/>
          <ac:spMkLst>
            <pc:docMk/>
            <pc:sldMk cId="3975964758" sldId="2147478571"/>
            <ac:spMk id="677" creationId="{2BCD676B-7CCA-6ACF-8C58-43B41E00C753}"/>
          </ac:spMkLst>
        </pc:spChg>
        <pc:spChg chg="add del mod">
          <ac:chgData name="Steiner Andreas 6206 ED" userId="e6377c33-a923-4f14-8587-531c474c7b48" providerId="ADAL" clId="{6ECD27E6-B224-41CD-B4E0-E297462320DD}" dt="2023-11-24T08:54:42.682" v="103312"/>
          <ac:spMkLst>
            <pc:docMk/>
            <pc:sldMk cId="3975964758" sldId="2147478571"/>
            <ac:spMk id="678" creationId="{8CADF4B2-A258-AB69-F61B-C21A654E1790}"/>
          </ac:spMkLst>
        </pc:spChg>
        <pc:spChg chg="add del mod">
          <ac:chgData name="Steiner Andreas 6206 ED" userId="e6377c33-a923-4f14-8587-531c474c7b48" providerId="ADAL" clId="{6ECD27E6-B224-41CD-B4E0-E297462320DD}" dt="2023-11-24T08:54:44.948" v="103467"/>
          <ac:spMkLst>
            <pc:docMk/>
            <pc:sldMk cId="3975964758" sldId="2147478571"/>
            <ac:spMk id="679" creationId="{EED325E0-B258-9DE7-DB28-17B98FDFED20}"/>
          </ac:spMkLst>
        </pc:spChg>
        <pc:spChg chg="add del mod">
          <ac:chgData name="Steiner Andreas 6206 ED" userId="e6377c33-a923-4f14-8587-531c474c7b48" providerId="ADAL" clId="{6ECD27E6-B224-41CD-B4E0-E297462320DD}" dt="2023-11-24T08:54:47.185" v="103622"/>
          <ac:spMkLst>
            <pc:docMk/>
            <pc:sldMk cId="3975964758" sldId="2147478571"/>
            <ac:spMk id="680" creationId="{E9C9E766-EFE7-E454-6237-F4A55DC8E01F}"/>
          </ac:spMkLst>
        </pc:spChg>
        <pc:spChg chg="add del mod">
          <ac:chgData name="Steiner Andreas 6206 ED" userId="e6377c33-a923-4f14-8587-531c474c7b48" providerId="ADAL" clId="{6ECD27E6-B224-41CD-B4E0-E297462320DD}" dt="2023-11-24T08:54:49.305" v="103777"/>
          <ac:spMkLst>
            <pc:docMk/>
            <pc:sldMk cId="3975964758" sldId="2147478571"/>
            <ac:spMk id="681" creationId="{A48E08C3-366A-A8D2-87CC-BEAB20D45275}"/>
          </ac:spMkLst>
        </pc:spChg>
        <pc:spChg chg="add del mod">
          <ac:chgData name="Steiner Andreas 6206 ED" userId="e6377c33-a923-4f14-8587-531c474c7b48" providerId="ADAL" clId="{6ECD27E6-B224-41CD-B4E0-E297462320DD}" dt="2023-11-24T08:54:51.669" v="103932"/>
          <ac:spMkLst>
            <pc:docMk/>
            <pc:sldMk cId="3975964758" sldId="2147478571"/>
            <ac:spMk id="682" creationId="{522241F7-AFD7-FAB3-DD7E-89598558529E}"/>
          </ac:spMkLst>
        </pc:spChg>
        <pc:spChg chg="add del mod">
          <ac:chgData name="Steiner Andreas 6206 ED" userId="e6377c33-a923-4f14-8587-531c474c7b48" providerId="ADAL" clId="{6ECD27E6-B224-41CD-B4E0-E297462320DD}" dt="2023-11-24T08:54:53.738" v="104087"/>
          <ac:spMkLst>
            <pc:docMk/>
            <pc:sldMk cId="3975964758" sldId="2147478571"/>
            <ac:spMk id="683" creationId="{4A341F3B-6658-B7AE-2199-0D1F27E4C02B}"/>
          </ac:spMkLst>
        </pc:spChg>
        <pc:spChg chg="add del mod">
          <ac:chgData name="Steiner Andreas 6206 ED" userId="e6377c33-a923-4f14-8587-531c474c7b48" providerId="ADAL" clId="{6ECD27E6-B224-41CD-B4E0-E297462320DD}" dt="2023-11-24T08:54:55.862" v="104242"/>
          <ac:spMkLst>
            <pc:docMk/>
            <pc:sldMk cId="3975964758" sldId="2147478571"/>
            <ac:spMk id="684" creationId="{81B532AA-5BF8-7F08-04F4-B9B188A73E87}"/>
          </ac:spMkLst>
        </pc:spChg>
        <pc:spChg chg="add del mod">
          <ac:chgData name="Steiner Andreas 6206 ED" userId="e6377c33-a923-4f14-8587-531c474c7b48" providerId="ADAL" clId="{6ECD27E6-B224-41CD-B4E0-E297462320DD}" dt="2023-11-24T08:54:57.930" v="104397"/>
          <ac:spMkLst>
            <pc:docMk/>
            <pc:sldMk cId="3975964758" sldId="2147478571"/>
            <ac:spMk id="685" creationId="{EB037AE3-49DE-083D-E622-DEDCB13D3DE7}"/>
          </ac:spMkLst>
        </pc:spChg>
        <pc:spChg chg="add del mod">
          <ac:chgData name="Steiner Andreas 6206 ED" userId="e6377c33-a923-4f14-8587-531c474c7b48" providerId="ADAL" clId="{6ECD27E6-B224-41CD-B4E0-E297462320DD}" dt="2023-11-24T08:54:59.948" v="104552"/>
          <ac:spMkLst>
            <pc:docMk/>
            <pc:sldMk cId="3975964758" sldId="2147478571"/>
            <ac:spMk id="686" creationId="{A7A56EF1-41B9-1E1E-B5EF-EB5C589B8761}"/>
          </ac:spMkLst>
        </pc:spChg>
        <pc:spChg chg="add del mod">
          <ac:chgData name="Steiner Andreas 6206 ED" userId="e6377c33-a923-4f14-8587-531c474c7b48" providerId="ADAL" clId="{6ECD27E6-B224-41CD-B4E0-E297462320DD}" dt="2023-11-24T08:55:01.896" v="104707"/>
          <ac:spMkLst>
            <pc:docMk/>
            <pc:sldMk cId="3975964758" sldId="2147478571"/>
            <ac:spMk id="687" creationId="{769D9E10-0FEC-4A06-40AD-0CB612FCED59}"/>
          </ac:spMkLst>
        </pc:spChg>
        <pc:spChg chg="add del mod">
          <ac:chgData name="Steiner Andreas 6206 ED" userId="e6377c33-a923-4f14-8587-531c474c7b48" providerId="ADAL" clId="{6ECD27E6-B224-41CD-B4E0-E297462320DD}" dt="2023-11-24T08:55:03.850" v="104862"/>
          <ac:spMkLst>
            <pc:docMk/>
            <pc:sldMk cId="3975964758" sldId="2147478571"/>
            <ac:spMk id="688" creationId="{5D389381-BDB8-5F16-BA02-0534B9310E42}"/>
          </ac:spMkLst>
        </pc:spChg>
        <pc:spChg chg="add del mod">
          <ac:chgData name="Steiner Andreas 6206 ED" userId="e6377c33-a923-4f14-8587-531c474c7b48" providerId="ADAL" clId="{6ECD27E6-B224-41CD-B4E0-E297462320DD}" dt="2023-11-24T08:55:05.972" v="105017"/>
          <ac:spMkLst>
            <pc:docMk/>
            <pc:sldMk cId="3975964758" sldId="2147478571"/>
            <ac:spMk id="689" creationId="{11AC4BDE-8F46-58C4-FA63-FF7B9AF9D4EB}"/>
          </ac:spMkLst>
        </pc:spChg>
        <pc:spChg chg="add del mod">
          <ac:chgData name="Steiner Andreas 6206 ED" userId="e6377c33-a923-4f14-8587-531c474c7b48" providerId="ADAL" clId="{6ECD27E6-B224-41CD-B4E0-E297462320DD}" dt="2023-11-24T08:55:08.077" v="105172"/>
          <ac:spMkLst>
            <pc:docMk/>
            <pc:sldMk cId="3975964758" sldId="2147478571"/>
            <ac:spMk id="690" creationId="{0DF609C2-74CC-77F9-E4C1-A16DB695C2B2}"/>
          </ac:spMkLst>
        </pc:spChg>
        <pc:spChg chg="add del mod">
          <ac:chgData name="Steiner Andreas 6206 ED" userId="e6377c33-a923-4f14-8587-531c474c7b48" providerId="ADAL" clId="{6ECD27E6-B224-41CD-B4E0-E297462320DD}" dt="2023-11-24T08:55:10.058" v="105327"/>
          <ac:spMkLst>
            <pc:docMk/>
            <pc:sldMk cId="3975964758" sldId="2147478571"/>
            <ac:spMk id="691" creationId="{0F019D1E-E6B5-0F2E-D844-902673767B3C}"/>
          </ac:spMkLst>
        </pc:spChg>
        <pc:spChg chg="add del mod">
          <ac:chgData name="Steiner Andreas 6206 ED" userId="e6377c33-a923-4f14-8587-531c474c7b48" providerId="ADAL" clId="{6ECD27E6-B224-41CD-B4E0-E297462320DD}" dt="2023-11-24T08:55:12.052" v="105482"/>
          <ac:spMkLst>
            <pc:docMk/>
            <pc:sldMk cId="3975964758" sldId="2147478571"/>
            <ac:spMk id="692" creationId="{489ED47F-9BE6-59C3-EB2B-0BCCC2FA4955}"/>
          </ac:spMkLst>
        </pc:spChg>
        <pc:spChg chg="add del mod">
          <ac:chgData name="Steiner Andreas 6206 ED" userId="e6377c33-a923-4f14-8587-531c474c7b48" providerId="ADAL" clId="{6ECD27E6-B224-41CD-B4E0-E297462320DD}" dt="2023-11-24T08:55:14.083" v="105637"/>
          <ac:spMkLst>
            <pc:docMk/>
            <pc:sldMk cId="3975964758" sldId="2147478571"/>
            <ac:spMk id="693" creationId="{0161B7C7-B5B6-F2C0-FC47-BD1745BC256E}"/>
          </ac:spMkLst>
        </pc:spChg>
        <pc:spChg chg="add del mod">
          <ac:chgData name="Steiner Andreas 6206 ED" userId="e6377c33-a923-4f14-8587-531c474c7b48" providerId="ADAL" clId="{6ECD27E6-B224-41CD-B4E0-E297462320DD}" dt="2023-11-24T08:55:16.172" v="105792"/>
          <ac:spMkLst>
            <pc:docMk/>
            <pc:sldMk cId="3975964758" sldId="2147478571"/>
            <ac:spMk id="694" creationId="{01F9C545-C4D7-A10F-77F3-FF50D50D2607}"/>
          </ac:spMkLst>
        </pc:spChg>
        <pc:spChg chg="add del mod">
          <ac:chgData name="Steiner Andreas 6206 ED" userId="e6377c33-a923-4f14-8587-531c474c7b48" providerId="ADAL" clId="{6ECD27E6-B224-41CD-B4E0-E297462320DD}" dt="2023-11-24T08:55:18.214" v="105947"/>
          <ac:spMkLst>
            <pc:docMk/>
            <pc:sldMk cId="3975964758" sldId="2147478571"/>
            <ac:spMk id="695" creationId="{8551D865-0D01-6973-F432-B1B92A8E0179}"/>
          </ac:spMkLst>
        </pc:spChg>
        <pc:spChg chg="add del mod">
          <ac:chgData name="Steiner Andreas 6206 ED" userId="e6377c33-a923-4f14-8587-531c474c7b48" providerId="ADAL" clId="{6ECD27E6-B224-41CD-B4E0-E297462320DD}" dt="2023-11-24T08:55:20.233" v="106102"/>
          <ac:spMkLst>
            <pc:docMk/>
            <pc:sldMk cId="3975964758" sldId="2147478571"/>
            <ac:spMk id="696" creationId="{BDBE7D89-6DC8-456F-D006-811FDB9C47CF}"/>
          </ac:spMkLst>
        </pc:spChg>
        <pc:spChg chg="add del mod">
          <ac:chgData name="Steiner Andreas 6206 ED" userId="e6377c33-a923-4f14-8587-531c474c7b48" providerId="ADAL" clId="{6ECD27E6-B224-41CD-B4E0-E297462320DD}" dt="2023-11-24T08:55:22.168" v="106257"/>
          <ac:spMkLst>
            <pc:docMk/>
            <pc:sldMk cId="3975964758" sldId="2147478571"/>
            <ac:spMk id="697" creationId="{27A5D3F1-A0EE-E10C-4949-C174794E5763}"/>
          </ac:spMkLst>
        </pc:spChg>
        <pc:spChg chg="add del mod">
          <ac:chgData name="Steiner Andreas 6206 ED" userId="e6377c33-a923-4f14-8587-531c474c7b48" providerId="ADAL" clId="{6ECD27E6-B224-41CD-B4E0-E297462320DD}" dt="2023-11-24T08:55:24.182" v="106412"/>
          <ac:spMkLst>
            <pc:docMk/>
            <pc:sldMk cId="3975964758" sldId="2147478571"/>
            <ac:spMk id="698" creationId="{85512F83-4880-3F52-B064-401EB55A01F8}"/>
          </ac:spMkLst>
        </pc:spChg>
        <pc:spChg chg="add del mod">
          <ac:chgData name="Steiner Andreas 6206 ED" userId="e6377c33-a923-4f14-8587-531c474c7b48" providerId="ADAL" clId="{6ECD27E6-B224-41CD-B4E0-E297462320DD}" dt="2023-11-24T08:55:26.146" v="106567"/>
          <ac:spMkLst>
            <pc:docMk/>
            <pc:sldMk cId="3975964758" sldId="2147478571"/>
            <ac:spMk id="699" creationId="{A12024E1-7D01-426A-CF43-9B77CB0B4FED}"/>
          </ac:spMkLst>
        </pc:spChg>
        <pc:spChg chg="add del mod">
          <ac:chgData name="Steiner Andreas 6206 ED" userId="e6377c33-a923-4f14-8587-531c474c7b48" providerId="ADAL" clId="{6ECD27E6-B224-41CD-B4E0-E297462320DD}" dt="2023-11-24T08:55:28.306" v="106722"/>
          <ac:spMkLst>
            <pc:docMk/>
            <pc:sldMk cId="3975964758" sldId="2147478571"/>
            <ac:spMk id="700" creationId="{D6800F95-463B-9AF1-7525-B4BB829CA0D0}"/>
          </ac:spMkLst>
        </pc:spChg>
        <pc:spChg chg="add del mod">
          <ac:chgData name="Steiner Andreas 6206 ED" userId="e6377c33-a923-4f14-8587-531c474c7b48" providerId="ADAL" clId="{6ECD27E6-B224-41CD-B4E0-E297462320DD}" dt="2023-11-24T08:55:30.274" v="106877"/>
          <ac:spMkLst>
            <pc:docMk/>
            <pc:sldMk cId="3975964758" sldId="2147478571"/>
            <ac:spMk id="701" creationId="{D5B8517D-44A6-FE34-17FE-DB5A877372CC}"/>
          </ac:spMkLst>
        </pc:spChg>
        <pc:spChg chg="add del mod">
          <ac:chgData name="Steiner Andreas 6206 ED" userId="e6377c33-a923-4f14-8587-531c474c7b48" providerId="ADAL" clId="{6ECD27E6-B224-41CD-B4E0-E297462320DD}" dt="2023-11-24T08:55:32.474" v="107032"/>
          <ac:spMkLst>
            <pc:docMk/>
            <pc:sldMk cId="3975964758" sldId="2147478571"/>
            <ac:spMk id="702" creationId="{0689EA2B-B25D-6E60-6C23-48B17497280E}"/>
          </ac:spMkLst>
        </pc:spChg>
        <pc:spChg chg="add del mod">
          <ac:chgData name="Steiner Andreas 6206 ED" userId="e6377c33-a923-4f14-8587-531c474c7b48" providerId="ADAL" clId="{6ECD27E6-B224-41CD-B4E0-E297462320DD}" dt="2023-11-24T08:55:34.374" v="107187"/>
          <ac:spMkLst>
            <pc:docMk/>
            <pc:sldMk cId="3975964758" sldId="2147478571"/>
            <ac:spMk id="703" creationId="{E0AB7F42-BBF9-DED1-804D-7A599CC3826C}"/>
          </ac:spMkLst>
        </pc:spChg>
        <pc:spChg chg="add del mod">
          <ac:chgData name="Steiner Andreas 6206 ED" userId="e6377c33-a923-4f14-8587-531c474c7b48" providerId="ADAL" clId="{6ECD27E6-B224-41CD-B4E0-E297462320DD}" dt="2023-11-24T08:55:36.302" v="107342"/>
          <ac:spMkLst>
            <pc:docMk/>
            <pc:sldMk cId="3975964758" sldId="2147478571"/>
            <ac:spMk id="704" creationId="{C1EA88E1-5F59-DB0F-3214-B8FDCB2371B8}"/>
          </ac:spMkLst>
        </pc:spChg>
        <pc:spChg chg="add del mod">
          <ac:chgData name="Steiner Andreas 6206 ED" userId="e6377c33-a923-4f14-8587-531c474c7b48" providerId="ADAL" clId="{6ECD27E6-B224-41CD-B4E0-E297462320DD}" dt="2023-11-24T08:55:38.324" v="107497"/>
          <ac:spMkLst>
            <pc:docMk/>
            <pc:sldMk cId="3975964758" sldId="2147478571"/>
            <ac:spMk id="705" creationId="{8A20345D-5DE7-3D8A-D5E9-8C32A3913B0B}"/>
          </ac:spMkLst>
        </pc:spChg>
        <pc:spChg chg="add del mod">
          <ac:chgData name="Steiner Andreas 6206 ED" userId="e6377c33-a923-4f14-8587-531c474c7b48" providerId="ADAL" clId="{6ECD27E6-B224-41CD-B4E0-E297462320DD}" dt="2023-11-24T08:55:40.372" v="107652"/>
          <ac:spMkLst>
            <pc:docMk/>
            <pc:sldMk cId="3975964758" sldId="2147478571"/>
            <ac:spMk id="706" creationId="{C00572A5-A9E6-3803-794C-7D957B115D73}"/>
          </ac:spMkLst>
        </pc:spChg>
        <pc:spChg chg="add del mod">
          <ac:chgData name="Steiner Andreas 6206 ED" userId="e6377c33-a923-4f14-8587-531c474c7b48" providerId="ADAL" clId="{6ECD27E6-B224-41CD-B4E0-E297462320DD}" dt="2023-11-24T08:55:42.263" v="107807"/>
          <ac:spMkLst>
            <pc:docMk/>
            <pc:sldMk cId="3975964758" sldId="2147478571"/>
            <ac:spMk id="707" creationId="{5B282E2E-17D7-722D-ECB5-A5261C447104}"/>
          </ac:spMkLst>
        </pc:spChg>
        <pc:spChg chg="add del mod">
          <ac:chgData name="Steiner Andreas 6206 ED" userId="e6377c33-a923-4f14-8587-531c474c7b48" providerId="ADAL" clId="{6ECD27E6-B224-41CD-B4E0-E297462320DD}" dt="2023-11-24T08:55:44.237" v="107962"/>
          <ac:spMkLst>
            <pc:docMk/>
            <pc:sldMk cId="3975964758" sldId="2147478571"/>
            <ac:spMk id="708" creationId="{D3FC4CDF-2494-24DB-6653-EC6BD98794D1}"/>
          </ac:spMkLst>
        </pc:spChg>
        <pc:spChg chg="add del mod">
          <ac:chgData name="Steiner Andreas 6206 ED" userId="e6377c33-a923-4f14-8587-531c474c7b48" providerId="ADAL" clId="{6ECD27E6-B224-41CD-B4E0-E297462320DD}" dt="2023-11-24T08:55:46.516" v="108117"/>
          <ac:spMkLst>
            <pc:docMk/>
            <pc:sldMk cId="3975964758" sldId="2147478571"/>
            <ac:spMk id="709" creationId="{03251BA6-A9DE-DA76-D57A-159BFFB38C97}"/>
          </ac:spMkLst>
        </pc:spChg>
        <pc:spChg chg="add del mod">
          <ac:chgData name="Steiner Andreas 6206 ED" userId="e6377c33-a923-4f14-8587-531c474c7b48" providerId="ADAL" clId="{6ECD27E6-B224-41CD-B4E0-E297462320DD}" dt="2023-11-24T08:55:48.750" v="108272"/>
          <ac:spMkLst>
            <pc:docMk/>
            <pc:sldMk cId="3975964758" sldId="2147478571"/>
            <ac:spMk id="710" creationId="{DD68A9AF-9462-FFFE-F9FD-DF519D152887}"/>
          </ac:spMkLst>
        </pc:spChg>
        <pc:spChg chg="add del mod">
          <ac:chgData name="Steiner Andreas 6206 ED" userId="e6377c33-a923-4f14-8587-531c474c7b48" providerId="ADAL" clId="{6ECD27E6-B224-41CD-B4E0-E297462320DD}" dt="2023-11-24T08:55:51.186" v="108427"/>
          <ac:spMkLst>
            <pc:docMk/>
            <pc:sldMk cId="3975964758" sldId="2147478571"/>
            <ac:spMk id="711" creationId="{65DA1454-2E52-4D74-7B6C-A46B37D5016A}"/>
          </ac:spMkLst>
        </pc:spChg>
        <pc:spChg chg="add del mod">
          <ac:chgData name="Steiner Andreas 6206 ED" userId="e6377c33-a923-4f14-8587-531c474c7b48" providerId="ADAL" clId="{6ECD27E6-B224-41CD-B4E0-E297462320DD}" dt="2023-11-24T08:55:53.224" v="108582"/>
          <ac:spMkLst>
            <pc:docMk/>
            <pc:sldMk cId="3975964758" sldId="2147478571"/>
            <ac:spMk id="712" creationId="{FBF81798-1072-5130-C98C-9837A25454E2}"/>
          </ac:spMkLst>
        </pc:spChg>
        <pc:spChg chg="add del mod">
          <ac:chgData name="Steiner Andreas 6206 ED" userId="e6377c33-a923-4f14-8587-531c474c7b48" providerId="ADAL" clId="{6ECD27E6-B224-41CD-B4E0-E297462320DD}" dt="2023-11-24T08:55:55.368" v="108737"/>
          <ac:spMkLst>
            <pc:docMk/>
            <pc:sldMk cId="3975964758" sldId="2147478571"/>
            <ac:spMk id="713" creationId="{23DD8F57-6595-A06B-E038-AC7D9AD50766}"/>
          </ac:spMkLst>
        </pc:spChg>
        <pc:spChg chg="add del mod">
          <ac:chgData name="Steiner Andreas 6206 ED" userId="e6377c33-a923-4f14-8587-531c474c7b48" providerId="ADAL" clId="{6ECD27E6-B224-41CD-B4E0-E297462320DD}" dt="2023-11-24T08:55:57.376" v="108892"/>
          <ac:spMkLst>
            <pc:docMk/>
            <pc:sldMk cId="3975964758" sldId="2147478571"/>
            <ac:spMk id="714" creationId="{96F197A6-50D8-ECF0-D4D1-BFC661E8815B}"/>
          </ac:spMkLst>
        </pc:spChg>
        <pc:spChg chg="add del mod">
          <ac:chgData name="Steiner Andreas 6206 ED" userId="e6377c33-a923-4f14-8587-531c474c7b48" providerId="ADAL" clId="{6ECD27E6-B224-41CD-B4E0-E297462320DD}" dt="2023-11-24T08:55:59.474" v="109047"/>
          <ac:spMkLst>
            <pc:docMk/>
            <pc:sldMk cId="3975964758" sldId="2147478571"/>
            <ac:spMk id="715" creationId="{C1670906-122C-9383-8593-20BD65C2A772}"/>
          </ac:spMkLst>
        </pc:spChg>
        <pc:spChg chg="add del mod">
          <ac:chgData name="Steiner Andreas 6206 ED" userId="e6377c33-a923-4f14-8587-531c474c7b48" providerId="ADAL" clId="{6ECD27E6-B224-41CD-B4E0-E297462320DD}" dt="2023-11-24T08:56:01.816" v="109202"/>
          <ac:spMkLst>
            <pc:docMk/>
            <pc:sldMk cId="3975964758" sldId="2147478571"/>
            <ac:spMk id="716" creationId="{A7008FBC-EE89-58CC-3A3A-B61FF329B85B}"/>
          </ac:spMkLst>
        </pc:spChg>
        <pc:spChg chg="add del mod">
          <ac:chgData name="Steiner Andreas 6206 ED" userId="e6377c33-a923-4f14-8587-531c474c7b48" providerId="ADAL" clId="{6ECD27E6-B224-41CD-B4E0-E297462320DD}" dt="2023-11-24T08:56:04.088" v="109357"/>
          <ac:spMkLst>
            <pc:docMk/>
            <pc:sldMk cId="3975964758" sldId="2147478571"/>
            <ac:spMk id="717" creationId="{209131A2-2A60-8CCC-B937-238E40148A31}"/>
          </ac:spMkLst>
        </pc:spChg>
        <pc:spChg chg="add del mod">
          <ac:chgData name="Steiner Andreas 6206 ED" userId="e6377c33-a923-4f14-8587-531c474c7b48" providerId="ADAL" clId="{6ECD27E6-B224-41CD-B4E0-E297462320DD}" dt="2023-11-24T08:56:06.381" v="109512"/>
          <ac:spMkLst>
            <pc:docMk/>
            <pc:sldMk cId="3975964758" sldId="2147478571"/>
            <ac:spMk id="718" creationId="{A6C7D89A-76EC-8802-0ECA-1BD7F17805AA}"/>
          </ac:spMkLst>
        </pc:spChg>
        <pc:spChg chg="add del mod">
          <ac:chgData name="Steiner Andreas 6206 ED" userId="e6377c33-a923-4f14-8587-531c474c7b48" providerId="ADAL" clId="{6ECD27E6-B224-41CD-B4E0-E297462320DD}" dt="2023-11-24T08:56:08.679" v="109667"/>
          <ac:spMkLst>
            <pc:docMk/>
            <pc:sldMk cId="3975964758" sldId="2147478571"/>
            <ac:spMk id="719" creationId="{FAEF5C3C-591A-E786-DE8F-BD0A9A3753A7}"/>
          </ac:spMkLst>
        </pc:spChg>
        <pc:spChg chg="add del mod">
          <ac:chgData name="Steiner Andreas 6206 ED" userId="e6377c33-a923-4f14-8587-531c474c7b48" providerId="ADAL" clId="{6ECD27E6-B224-41CD-B4E0-E297462320DD}" dt="2023-11-24T08:56:10.723" v="109822"/>
          <ac:spMkLst>
            <pc:docMk/>
            <pc:sldMk cId="3975964758" sldId="2147478571"/>
            <ac:spMk id="720" creationId="{79B33DC9-3068-58BB-3509-7F20AAD69EA6}"/>
          </ac:spMkLst>
        </pc:spChg>
        <pc:spChg chg="add del mod">
          <ac:chgData name="Steiner Andreas 6206 ED" userId="e6377c33-a923-4f14-8587-531c474c7b48" providerId="ADAL" clId="{6ECD27E6-B224-41CD-B4E0-E297462320DD}" dt="2023-11-24T08:56:12.828" v="109977"/>
          <ac:spMkLst>
            <pc:docMk/>
            <pc:sldMk cId="3975964758" sldId="2147478571"/>
            <ac:spMk id="721" creationId="{FCA8C34B-6357-8C4D-D8C0-A57706E9FA64}"/>
          </ac:spMkLst>
        </pc:spChg>
        <pc:spChg chg="add del mod">
          <ac:chgData name="Steiner Andreas 6206 ED" userId="e6377c33-a923-4f14-8587-531c474c7b48" providerId="ADAL" clId="{6ECD27E6-B224-41CD-B4E0-E297462320DD}" dt="2023-11-24T08:56:14.964" v="110132"/>
          <ac:spMkLst>
            <pc:docMk/>
            <pc:sldMk cId="3975964758" sldId="2147478571"/>
            <ac:spMk id="722" creationId="{559DEE8F-E2AE-51B8-E113-8E5208ECDDE6}"/>
          </ac:spMkLst>
        </pc:spChg>
        <pc:spChg chg="add del mod">
          <ac:chgData name="Steiner Andreas 6206 ED" userId="e6377c33-a923-4f14-8587-531c474c7b48" providerId="ADAL" clId="{6ECD27E6-B224-41CD-B4E0-E297462320DD}" dt="2023-11-24T08:56:16.949" v="110287"/>
          <ac:spMkLst>
            <pc:docMk/>
            <pc:sldMk cId="3975964758" sldId="2147478571"/>
            <ac:spMk id="723" creationId="{F943A005-20B4-F3A5-FB9A-29764AD1CC45}"/>
          </ac:spMkLst>
        </pc:spChg>
        <pc:spChg chg="add del mod">
          <ac:chgData name="Steiner Andreas 6206 ED" userId="e6377c33-a923-4f14-8587-531c474c7b48" providerId="ADAL" clId="{6ECD27E6-B224-41CD-B4E0-E297462320DD}" dt="2023-11-24T08:56:18.926" v="110442"/>
          <ac:spMkLst>
            <pc:docMk/>
            <pc:sldMk cId="3975964758" sldId="2147478571"/>
            <ac:spMk id="724" creationId="{B5AE46AE-AD68-C5FF-78C7-CEF69E0BBDCD}"/>
          </ac:spMkLst>
        </pc:spChg>
        <pc:spChg chg="add del mod">
          <ac:chgData name="Steiner Andreas 6206 ED" userId="e6377c33-a923-4f14-8587-531c474c7b48" providerId="ADAL" clId="{6ECD27E6-B224-41CD-B4E0-E297462320DD}" dt="2023-11-24T08:56:20.870" v="110597"/>
          <ac:spMkLst>
            <pc:docMk/>
            <pc:sldMk cId="3975964758" sldId="2147478571"/>
            <ac:spMk id="725" creationId="{3F3868CE-BAFB-B9EF-F5BA-AF957B87F595}"/>
          </ac:spMkLst>
        </pc:spChg>
        <pc:spChg chg="add del mod">
          <ac:chgData name="Steiner Andreas 6206 ED" userId="e6377c33-a923-4f14-8587-531c474c7b48" providerId="ADAL" clId="{6ECD27E6-B224-41CD-B4E0-E297462320DD}" dt="2023-11-24T08:56:22.992" v="110752"/>
          <ac:spMkLst>
            <pc:docMk/>
            <pc:sldMk cId="3975964758" sldId="2147478571"/>
            <ac:spMk id="726" creationId="{3FC9AE1B-DF46-7B89-28FE-4241AA3B27C2}"/>
          </ac:spMkLst>
        </pc:spChg>
        <pc:spChg chg="add del mod">
          <ac:chgData name="Steiner Andreas 6206 ED" userId="e6377c33-a923-4f14-8587-531c474c7b48" providerId="ADAL" clId="{6ECD27E6-B224-41CD-B4E0-E297462320DD}" dt="2023-11-24T08:56:25.208" v="110907"/>
          <ac:spMkLst>
            <pc:docMk/>
            <pc:sldMk cId="3975964758" sldId="2147478571"/>
            <ac:spMk id="727" creationId="{D34BE49E-D1E6-17F4-9A28-1DB4DD3B410B}"/>
          </ac:spMkLst>
        </pc:spChg>
        <pc:spChg chg="add del mod">
          <ac:chgData name="Steiner Andreas 6206 ED" userId="e6377c33-a923-4f14-8587-531c474c7b48" providerId="ADAL" clId="{6ECD27E6-B224-41CD-B4E0-E297462320DD}" dt="2023-11-24T08:56:27.232" v="111062"/>
          <ac:spMkLst>
            <pc:docMk/>
            <pc:sldMk cId="3975964758" sldId="2147478571"/>
            <ac:spMk id="728" creationId="{B2F758E4-8984-D4D9-532A-CA89C5C0D2C3}"/>
          </ac:spMkLst>
        </pc:spChg>
        <pc:spChg chg="add del mod">
          <ac:chgData name="Steiner Andreas 6206 ED" userId="e6377c33-a923-4f14-8587-531c474c7b48" providerId="ADAL" clId="{6ECD27E6-B224-41CD-B4E0-E297462320DD}" dt="2023-11-24T08:56:29.258" v="111217"/>
          <ac:spMkLst>
            <pc:docMk/>
            <pc:sldMk cId="3975964758" sldId="2147478571"/>
            <ac:spMk id="729" creationId="{8963ADFA-A139-9E83-026A-8FE40EE35829}"/>
          </ac:spMkLst>
        </pc:spChg>
        <pc:spChg chg="add del mod">
          <ac:chgData name="Steiner Andreas 6206 ED" userId="e6377c33-a923-4f14-8587-531c474c7b48" providerId="ADAL" clId="{6ECD27E6-B224-41CD-B4E0-E297462320DD}" dt="2023-11-24T08:56:31.372" v="111372"/>
          <ac:spMkLst>
            <pc:docMk/>
            <pc:sldMk cId="3975964758" sldId="2147478571"/>
            <ac:spMk id="730" creationId="{7C53A785-5EE9-1027-B4B3-2D93F73CF93F}"/>
          </ac:spMkLst>
        </pc:spChg>
        <pc:spChg chg="add del mod">
          <ac:chgData name="Steiner Andreas 6206 ED" userId="e6377c33-a923-4f14-8587-531c474c7b48" providerId="ADAL" clId="{6ECD27E6-B224-41CD-B4E0-E297462320DD}" dt="2023-11-24T08:56:33.593" v="111527"/>
          <ac:spMkLst>
            <pc:docMk/>
            <pc:sldMk cId="3975964758" sldId="2147478571"/>
            <ac:spMk id="731" creationId="{28226E47-24A6-F85D-14DE-F22835C8DE84}"/>
          </ac:spMkLst>
        </pc:spChg>
        <pc:spChg chg="add del mod">
          <ac:chgData name="Steiner Andreas 6206 ED" userId="e6377c33-a923-4f14-8587-531c474c7b48" providerId="ADAL" clId="{6ECD27E6-B224-41CD-B4E0-E297462320DD}" dt="2023-11-24T08:56:35.773" v="111682"/>
          <ac:spMkLst>
            <pc:docMk/>
            <pc:sldMk cId="3975964758" sldId="2147478571"/>
            <ac:spMk id="732" creationId="{87BA7E51-3D0C-6F20-1E3B-C1BAACEED521}"/>
          </ac:spMkLst>
        </pc:spChg>
        <pc:spChg chg="add del mod">
          <ac:chgData name="Steiner Andreas 6206 ED" userId="e6377c33-a923-4f14-8587-531c474c7b48" providerId="ADAL" clId="{6ECD27E6-B224-41CD-B4E0-E297462320DD}" dt="2023-11-24T08:56:37.847" v="111837"/>
          <ac:spMkLst>
            <pc:docMk/>
            <pc:sldMk cId="3975964758" sldId="2147478571"/>
            <ac:spMk id="733" creationId="{CC360784-046E-164C-B321-98AE80526CCA}"/>
          </ac:spMkLst>
        </pc:spChg>
        <pc:spChg chg="add del mod">
          <ac:chgData name="Steiner Andreas 6206 ED" userId="e6377c33-a923-4f14-8587-531c474c7b48" providerId="ADAL" clId="{6ECD27E6-B224-41CD-B4E0-E297462320DD}" dt="2023-11-24T08:56:40.006" v="111992"/>
          <ac:spMkLst>
            <pc:docMk/>
            <pc:sldMk cId="3975964758" sldId="2147478571"/>
            <ac:spMk id="734" creationId="{428F067B-BF08-6676-C23C-840A937E4227}"/>
          </ac:spMkLst>
        </pc:spChg>
        <pc:spChg chg="add del mod">
          <ac:chgData name="Steiner Andreas 6206 ED" userId="e6377c33-a923-4f14-8587-531c474c7b48" providerId="ADAL" clId="{6ECD27E6-B224-41CD-B4E0-E297462320DD}" dt="2023-11-24T08:56:41.958" v="112147"/>
          <ac:spMkLst>
            <pc:docMk/>
            <pc:sldMk cId="3975964758" sldId="2147478571"/>
            <ac:spMk id="735" creationId="{B216E88A-CEA5-5D22-780A-7AE42E7F50B7}"/>
          </ac:spMkLst>
        </pc:spChg>
        <pc:spChg chg="add del mod">
          <ac:chgData name="Steiner Andreas 6206 ED" userId="e6377c33-a923-4f14-8587-531c474c7b48" providerId="ADAL" clId="{6ECD27E6-B224-41CD-B4E0-E297462320DD}" dt="2023-11-24T08:56:43.948" v="112302"/>
          <ac:spMkLst>
            <pc:docMk/>
            <pc:sldMk cId="3975964758" sldId="2147478571"/>
            <ac:spMk id="736" creationId="{2CBB7FFE-5FBA-E2D7-BF0D-E6FD654D5338}"/>
          </ac:spMkLst>
        </pc:spChg>
        <pc:spChg chg="add del mod">
          <ac:chgData name="Steiner Andreas 6206 ED" userId="e6377c33-a923-4f14-8587-531c474c7b48" providerId="ADAL" clId="{6ECD27E6-B224-41CD-B4E0-E297462320DD}" dt="2023-11-24T08:56:45.982" v="112457"/>
          <ac:spMkLst>
            <pc:docMk/>
            <pc:sldMk cId="3975964758" sldId="2147478571"/>
            <ac:spMk id="737" creationId="{77079B48-FE98-7BF7-69D3-C762E0EBB40C}"/>
          </ac:spMkLst>
        </pc:spChg>
        <pc:spChg chg="add del mod">
          <ac:chgData name="Steiner Andreas 6206 ED" userId="e6377c33-a923-4f14-8587-531c474c7b48" providerId="ADAL" clId="{6ECD27E6-B224-41CD-B4E0-E297462320DD}" dt="2023-11-24T08:56:48.195" v="112612"/>
          <ac:spMkLst>
            <pc:docMk/>
            <pc:sldMk cId="3975964758" sldId="2147478571"/>
            <ac:spMk id="738" creationId="{A71DF409-C902-3E2E-F8B4-460461AC14D2}"/>
          </ac:spMkLst>
        </pc:spChg>
        <pc:spChg chg="add del mod">
          <ac:chgData name="Steiner Andreas 6206 ED" userId="e6377c33-a923-4f14-8587-531c474c7b48" providerId="ADAL" clId="{6ECD27E6-B224-41CD-B4E0-E297462320DD}" dt="2023-11-24T08:56:50.249" v="112767"/>
          <ac:spMkLst>
            <pc:docMk/>
            <pc:sldMk cId="3975964758" sldId="2147478571"/>
            <ac:spMk id="739" creationId="{F92AFD8C-AAC8-1D1B-80F2-DB856956610A}"/>
          </ac:spMkLst>
        </pc:spChg>
        <pc:spChg chg="add del mod">
          <ac:chgData name="Steiner Andreas 6206 ED" userId="e6377c33-a923-4f14-8587-531c474c7b48" providerId="ADAL" clId="{6ECD27E6-B224-41CD-B4E0-E297462320DD}" dt="2023-11-24T08:56:52.181" v="112922"/>
          <ac:spMkLst>
            <pc:docMk/>
            <pc:sldMk cId="3975964758" sldId="2147478571"/>
            <ac:spMk id="740" creationId="{085CFCA4-670D-DA8F-C15C-0B82C29B61D8}"/>
          </ac:spMkLst>
        </pc:spChg>
        <pc:spChg chg="add del mod">
          <ac:chgData name="Steiner Andreas 6206 ED" userId="e6377c33-a923-4f14-8587-531c474c7b48" providerId="ADAL" clId="{6ECD27E6-B224-41CD-B4E0-E297462320DD}" dt="2023-11-24T08:56:54.306" v="113077"/>
          <ac:spMkLst>
            <pc:docMk/>
            <pc:sldMk cId="3975964758" sldId="2147478571"/>
            <ac:spMk id="741" creationId="{FD384BD0-BB4B-05B5-CB4A-54E4445F949D}"/>
          </ac:spMkLst>
        </pc:spChg>
        <pc:spChg chg="add del mod">
          <ac:chgData name="Steiner Andreas 6206 ED" userId="e6377c33-a923-4f14-8587-531c474c7b48" providerId="ADAL" clId="{6ECD27E6-B224-41CD-B4E0-E297462320DD}" dt="2023-11-24T08:56:56.260" v="113232"/>
          <ac:spMkLst>
            <pc:docMk/>
            <pc:sldMk cId="3975964758" sldId="2147478571"/>
            <ac:spMk id="742" creationId="{6ED3E56A-8659-E1E0-0BAD-0A574F44A1B3}"/>
          </ac:spMkLst>
        </pc:spChg>
        <pc:spChg chg="add del mod">
          <ac:chgData name="Steiner Andreas 6206 ED" userId="e6377c33-a923-4f14-8587-531c474c7b48" providerId="ADAL" clId="{6ECD27E6-B224-41CD-B4E0-E297462320DD}" dt="2023-11-24T08:56:58.364" v="113387"/>
          <ac:spMkLst>
            <pc:docMk/>
            <pc:sldMk cId="3975964758" sldId="2147478571"/>
            <ac:spMk id="743" creationId="{DBA11A17-50F0-0663-0127-3C1B6031B0B2}"/>
          </ac:spMkLst>
        </pc:spChg>
        <pc:spChg chg="add del mod">
          <ac:chgData name="Steiner Andreas 6206 ED" userId="e6377c33-a923-4f14-8587-531c474c7b48" providerId="ADAL" clId="{6ECD27E6-B224-41CD-B4E0-E297462320DD}" dt="2023-11-24T08:57:00.680" v="113542"/>
          <ac:spMkLst>
            <pc:docMk/>
            <pc:sldMk cId="3975964758" sldId="2147478571"/>
            <ac:spMk id="744" creationId="{5C695A64-4442-D115-3106-3BFB5D2CE0EB}"/>
          </ac:spMkLst>
        </pc:spChg>
        <pc:spChg chg="add del mod">
          <ac:chgData name="Steiner Andreas 6206 ED" userId="e6377c33-a923-4f14-8587-531c474c7b48" providerId="ADAL" clId="{6ECD27E6-B224-41CD-B4E0-E297462320DD}" dt="2023-11-24T08:57:03.033" v="113697"/>
          <ac:spMkLst>
            <pc:docMk/>
            <pc:sldMk cId="3975964758" sldId="2147478571"/>
            <ac:spMk id="745" creationId="{44A8961D-39FF-578B-9381-3B90AD493072}"/>
          </ac:spMkLst>
        </pc:spChg>
        <pc:spChg chg="add del mod">
          <ac:chgData name="Steiner Andreas 6206 ED" userId="e6377c33-a923-4f14-8587-531c474c7b48" providerId="ADAL" clId="{6ECD27E6-B224-41CD-B4E0-E297462320DD}" dt="2023-11-24T09:02:21.511" v="113852"/>
          <ac:spMkLst>
            <pc:docMk/>
            <pc:sldMk cId="3975964758" sldId="2147478571"/>
            <ac:spMk id="746" creationId="{4F67FB36-9ED6-7C1D-230D-420F65058374}"/>
          </ac:spMkLst>
        </pc:spChg>
        <pc:spChg chg="add del mod">
          <ac:chgData name="Steiner Andreas 6206 ED" userId="e6377c33-a923-4f14-8587-531c474c7b48" providerId="ADAL" clId="{6ECD27E6-B224-41CD-B4E0-E297462320DD}" dt="2023-11-24T09:02:27.437" v="114007"/>
          <ac:spMkLst>
            <pc:docMk/>
            <pc:sldMk cId="3975964758" sldId="2147478571"/>
            <ac:spMk id="747" creationId="{8DC3E6BA-4676-DC41-3222-9D3AF2964BE9}"/>
          </ac:spMkLst>
        </pc:spChg>
        <pc:spChg chg="add del mod">
          <ac:chgData name="Steiner Andreas 6206 ED" userId="e6377c33-a923-4f14-8587-531c474c7b48" providerId="ADAL" clId="{6ECD27E6-B224-41CD-B4E0-E297462320DD}" dt="2023-11-24T09:02:29.979" v="114162"/>
          <ac:spMkLst>
            <pc:docMk/>
            <pc:sldMk cId="3975964758" sldId="2147478571"/>
            <ac:spMk id="748" creationId="{42583CDF-FAE7-E869-1CBD-78FA37E7683E}"/>
          </ac:spMkLst>
        </pc:spChg>
        <pc:spChg chg="add del mod">
          <ac:chgData name="Steiner Andreas 6206 ED" userId="e6377c33-a923-4f14-8587-531c474c7b48" providerId="ADAL" clId="{6ECD27E6-B224-41CD-B4E0-E297462320DD}" dt="2023-11-24T09:02:33.133" v="114317"/>
          <ac:spMkLst>
            <pc:docMk/>
            <pc:sldMk cId="3975964758" sldId="2147478571"/>
            <ac:spMk id="749" creationId="{3F08B46D-CC5D-2860-B7CA-A8005A792627}"/>
          </ac:spMkLst>
        </pc:spChg>
        <pc:spChg chg="add del mod">
          <ac:chgData name="Steiner Andreas 6206 ED" userId="e6377c33-a923-4f14-8587-531c474c7b48" providerId="ADAL" clId="{6ECD27E6-B224-41CD-B4E0-E297462320DD}" dt="2023-11-24T09:02:36.653" v="114472"/>
          <ac:spMkLst>
            <pc:docMk/>
            <pc:sldMk cId="3975964758" sldId="2147478571"/>
            <ac:spMk id="750" creationId="{B7D90FFD-5D7E-B3E2-C857-524CFFCBFCDF}"/>
          </ac:spMkLst>
        </pc:spChg>
        <pc:spChg chg="add del mod">
          <ac:chgData name="Steiner Andreas 6206 ED" userId="e6377c33-a923-4f14-8587-531c474c7b48" providerId="ADAL" clId="{6ECD27E6-B224-41CD-B4E0-E297462320DD}" dt="2023-11-24T11:31:22.455" v="114627"/>
          <ac:spMkLst>
            <pc:docMk/>
            <pc:sldMk cId="3975964758" sldId="2147478571"/>
            <ac:spMk id="751" creationId="{2A7D48EA-F6BA-B12E-47AB-158DC65BEFBA}"/>
          </ac:spMkLst>
        </pc:spChg>
        <pc:spChg chg="add del mod">
          <ac:chgData name="Steiner Andreas 6206 ED" userId="e6377c33-a923-4f14-8587-531c474c7b48" providerId="ADAL" clId="{6ECD27E6-B224-41CD-B4E0-E297462320DD}" dt="2023-11-24T11:33:29.772" v="114782"/>
          <ac:spMkLst>
            <pc:docMk/>
            <pc:sldMk cId="3975964758" sldId="2147478571"/>
            <ac:spMk id="752" creationId="{E08BABB3-C769-02D4-9984-55F871075258}"/>
          </ac:spMkLst>
        </pc:spChg>
        <pc:spChg chg="add del mod">
          <ac:chgData name="Steiner Andreas 6206 ED" userId="e6377c33-a923-4f14-8587-531c474c7b48" providerId="ADAL" clId="{6ECD27E6-B224-41CD-B4E0-E297462320DD}" dt="2023-11-24T11:33:36.271" v="114937"/>
          <ac:spMkLst>
            <pc:docMk/>
            <pc:sldMk cId="3975964758" sldId="2147478571"/>
            <ac:spMk id="753" creationId="{C6479AA5-AA5E-468E-AF2C-457425F40E4A}"/>
          </ac:spMkLst>
        </pc:spChg>
        <pc:spChg chg="add del mod">
          <ac:chgData name="Steiner Andreas 6206 ED" userId="e6377c33-a923-4f14-8587-531c474c7b48" providerId="ADAL" clId="{6ECD27E6-B224-41CD-B4E0-E297462320DD}" dt="2023-11-24T11:33:39.362" v="115092"/>
          <ac:spMkLst>
            <pc:docMk/>
            <pc:sldMk cId="3975964758" sldId="2147478571"/>
            <ac:spMk id="754" creationId="{28E9D451-DBD8-F280-21A0-C52E06BD0C58}"/>
          </ac:spMkLst>
        </pc:spChg>
        <pc:spChg chg="add del mod">
          <ac:chgData name="Steiner Andreas 6206 ED" userId="e6377c33-a923-4f14-8587-531c474c7b48" providerId="ADAL" clId="{6ECD27E6-B224-41CD-B4E0-E297462320DD}" dt="2023-11-24T11:33:42.946" v="115247"/>
          <ac:spMkLst>
            <pc:docMk/>
            <pc:sldMk cId="3975964758" sldId="2147478571"/>
            <ac:spMk id="755" creationId="{CAF74066-A73A-E5CB-925F-38D3757E424C}"/>
          </ac:spMkLst>
        </pc:spChg>
        <pc:spChg chg="add del mod">
          <ac:chgData name="Steiner Andreas 6206 ED" userId="e6377c33-a923-4f14-8587-531c474c7b48" providerId="ADAL" clId="{6ECD27E6-B224-41CD-B4E0-E297462320DD}" dt="2023-11-24T11:33:46.128" v="115402"/>
          <ac:spMkLst>
            <pc:docMk/>
            <pc:sldMk cId="3975964758" sldId="2147478571"/>
            <ac:spMk id="756" creationId="{ECDB0837-1A62-CF77-6E1D-CD519B10D032}"/>
          </ac:spMkLst>
        </pc:spChg>
        <pc:spChg chg="add del mod">
          <ac:chgData name="Steiner Andreas 6206 ED" userId="e6377c33-a923-4f14-8587-531c474c7b48" providerId="ADAL" clId="{6ECD27E6-B224-41CD-B4E0-E297462320DD}" dt="2023-11-24T11:33:49.255" v="115557"/>
          <ac:spMkLst>
            <pc:docMk/>
            <pc:sldMk cId="3975964758" sldId="2147478571"/>
            <ac:spMk id="757" creationId="{8F801EE1-82D4-B061-FEF1-E97229E10862}"/>
          </ac:spMkLst>
        </pc:spChg>
        <pc:spChg chg="add del mod">
          <ac:chgData name="Steiner Andreas 6206 ED" userId="e6377c33-a923-4f14-8587-531c474c7b48" providerId="ADAL" clId="{6ECD27E6-B224-41CD-B4E0-E297462320DD}" dt="2023-11-24T11:33:51.932" v="115712"/>
          <ac:spMkLst>
            <pc:docMk/>
            <pc:sldMk cId="3975964758" sldId="2147478571"/>
            <ac:spMk id="758" creationId="{A0CEFB1D-DA3E-A82C-4C5C-9729C246F5B7}"/>
          </ac:spMkLst>
        </pc:spChg>
        <pc:spChg chg="add del mod">
          <ac:chgData name="Steiner Andreas 6206 ED" userId="e6377c33-a923-4f14-8587-531c474c7b48" providerId="ADAL" clId="{6ECD27E6-B224-41CD-B4E0-E297462320DD}" dt="2023-11-24T11:33:54.780" v="115867"/>
          <ac:spMkLst>
            <pc:docMk/>
            <pc:sldMk cId="3975964758" sldId="2147478571"/>
            <ac:spMk id="759" creationId="{799FB346-5182-7FFC-7490-21B28F6A40DA}"/>
          </ac:spMkLst>
        </pc:spChg>
        <pc:spChg chg="add del mod">
          <ac:chgData name="Steiner Andreas 6206 ED" userId="e6377c33-a923-4f14-8587-531c474c7b48" providerId="ADAL" clId="{6ECD27E6-B224-41CD-B4E0-E297462320DD}" dt="2023-11-24T11:33:57.293" v="116022"/>
          <ac:spMkLst>
            <pc:docMk/>
            <pc:sldMk cId="3975964758" sldId="2147478571"/>
            <ac:spMk id="760" creationId="{69CA4954-ACA8-CA27-CD22-CFC37EA3F392}"/>
          </ac:spMkLst>
        </pc:spChg>
        <pc:spChg chg="add del mod">
          <ac:chgData name="Steiner Andreas 6206 ED" userId="e6377c33-a923-4f14-8587-531c474c7b48" providerId="ADAL" clId="{6ECD27E6-B224-41CD-B4E0-E297462320DD}" dt="2023-11-24T11:33:59.635" v="116177"/>
          <ac:spMkLst>
            <pc:docMk/>
            <pc:sldMk cId="3975964758" sldId="2147478571"/>
            <ac:spMk id="761" creationId="{45397E49-6655-4EBF-032D-5A43A97517EC}"/>
          </ac:spMkLst>
        </pc:spChg>
        <pc:spChg chg="add del mod">
          <ac:chgData name="Steiner Andreas 6206 ED" userId="e6377c33-a923-4f14-8587-531c474c7b48" providerId="ADAL" clId="{6ECD27E6-B224-41CD-B4E0-E297462320DD}" dt="2023-11-24T11:34:02.003" v="116332"/>
          <ac:spMkLst>
            <pc:docMk/>
            <pc:sldMk cId="3975964758" sldId="2147478571"/>
            <ac:spMk id="762" creationId="{E68BC3B2-C3FA-9523-AFAE-8AA83D3517B2}"/>
          </ac:spMkLst>
        </pc:spChg>
        <pc:spChg chg="add del mod">
          <ac:chgData name="Steiner Andreas 6206 ED" userId="e6377c33-a923-4f14-8587-531c474c7b48" providerId="ADAL" clId="{6ECD27E6-B224-41CD-B4E0-E297462320DD}" dt="2023-11-24T11:34:04.306" v="116487"/>
          <ac:spMkLst>
            <pc:docMk/>
            <pc:sldMk cId="3975964758" sldId="2147478571"/>
            <ac:spMk id="763" creationId="{58B4D3A5-18B9-7DB2-97B1-28087BDEBC30}"/>
          </ac:spMkLst>
        </pc:spChg>
        <pc:spChg chg="add del mod">
          <ac:chgData name="Steiner Andreas 6206 ED" userId="e6377c33-a923-4f14-8587-531c474c7b48" providerId="ADAL" clId="{6ECD27E6-B224-41CD-B4E0-E297462320DD}" dt="2023-11-24T11:34:06.790" v="116642"/>
          <ac:spMkLst>
            <pc:docMk/>
            <pc:sldMk cId="3975964758" sldId="2147478571"/>
            <ac:spMk id="764" creationId="{39EE71C9-2C24-005C-FB69-B566E86C4535}"/>
          </ac:spMkLst>
        </pc:spChg>
        <pc:spChg chg="add del mod">
          <ac:chgData name="Steiner Andreas 6206 ED" userId="e6377c33-a923-4f14-8587-531c474c7b48" providerId="ADAL" clId="{6ECD27E6-B224-41CD-B4E0-E297462320DD}" dt="2023-11-24T11:34:09.399" v="116797"/>
          <ac:spMkLst>
            <pc:docMk/>
            <pc:sldMk cId="3975964758" sldId="2147478571"/>
            <ac:spMk id="765" creationId="{9A5F0823-6A42-E5F3-3BA0-13ED4B544F92}"/>
          </ac:spMkLst>
        </pc:spChg>
        <pc:spChg chg="add del mod">
          <ac:chgData name="Steiner Andreas 6206 ED" userId="e6377c33-a923-4f14-8587-531c474c7b48" providerId="ADAL" clId="{6ECD27E6-B224-41CD-B4E0-E297462320DD}" dt="2023-11-24T11:34:11.399" v="116952"/>
          <ac:spMkLst>
            <pc:docMk/>
            <pc:sldMk cId="3975964758" sldId="2147478571"/>
            <ac:spMk id="766" creationId="{E0CA9E19-A0C9-6599-4DC9-10744874B5B9}"/>
          </ac:spMkLst>
        </pc:spChg>
        <pc:spChg chg="add del mod">
          <ac:chgData name="Steiner Andreas 6206 ED" userId="e6377c33-a923-4f14-8587-531c474c7b48" providerId="ADAL" clId="{6ECD27E6-B224-41CD-B4E0-E297462320DD}" dt="2023-11-24T11:34:13.149" v="117107"/>
          <ac:spMkLst>
            <pc:docMk/>
            <pc:sldMk cId="3975964758" sldId="2147478571"/>
            <ac:spMk id="767" creationId="{E5E4FB93-7AB8-6FD3-D799-F19C0546D579}"/>
          </ac:spMkLst>
        </pc:spChg>
        <pc:spChg chg="add del mod">
          <ac:chgData name="Steiner Andreas 6206 ED" userId="e6377c33-a923-4f14-8587-531c474c7b48" providerId="ADAL" clId="{6ECD27E6-B224-41CD-B4E0-E297462320DD}" dt="2023-11-24T11:34:14.946" v="117262"/>
          <ac:spMkLst>
            <pc:docMk/>
            <pc:sldMk cId="3975964758" sldId="2147478571"/>
            <ac:spMk id="768" creationId="{37D8878D-5C54-3764-2539-0DB56DA4FD2F}"/>
          </ac:spMkLst>
        </pc:spChg>
        <pc:spChg chg="add del mod">
          <ac:chgData name="Steiner Andreas 6206 ED" userId="e6377c33-a923-4f14-8587-531c474c7b48" providerId="ADAL" clId="{6ECD27E6-B224-41CD-B4E0-E297462320DD}" dt="2023-11-24T11:34:16.722" v="117417"/>
          <ac:spMkLst>
            <pc:docMk/>
            <pc:sldMk cId="3975964758" sldId="2147478571"/>
            <ac:spMk id="769" creationId="{3E61D8A8-4E4B-6D8B-C2BC-217FEE1848F1}"/>
          </ac:spMkLst>
        </pc:spChg>
        <pc:spChg chg="add del mod">
          <ac:chgData name="Steiner Andreas 6206 ED" userId="e6377c33-a923-4f14-8587-531c474c7b48" providerId="ADAL" clId="{6ECD27E6-B224-41CD-B4E0-E297462320DD}" dt="2023-11-24T11:34:18.550" v="117572"/>
          <ac:spMkLst>
            <pc:docMk/>
            <pc:sldMk cId="3975964758" sldId="2147478571"/>
            <ac:spMk id="770" creationId="{DA063214-AE4B-8177-A20F-2F5FD08A6AEE}"/>
          </ac:spMkLst>
        </pc:spChg>
        <pc:spChg chg="add del mod">
          <ac:chgData name="Steiner Andreas 6206 ED" userId="e6377c33-a923-4f14-8587-531c474c7b48" providerId="ADAL" clId="{6ECD27E6-B224-41CD-B4E0-E297462320DD}" dt="2023-11-24T11:34:20.628" v="117727"/>
          <ac:spMkLst>
            <pc:docMk/>
            <pc:sldMk cId="3975964758" sldId="2147478571"/>
            <ac:spMk id="771" creationId="{DA727152-EB5C-DEDB-7BE0-F5E085B36A0D}"/>
          </ac:spMkLst>
        </pc:spChg>
        <pc:spChg chg="add del mod">
          <ac:chgData name="Steiner Andreas 6206 ED" userId="e6377c33-a923-4f14-8587-531c474c7b48" providerId="ADAL" clId="{6ECD27E6-B224-41CD-B4E0-E297462320DD}" dt="2023-11-24T11:34:22.584" v="117882"/>
          <ac:spMkLst>
            <pc:docMk/>
            <pc:sldMk cId="3975964758" sldId="2147478571"/>
            <ac:spMk id="772" creationId="{0C6FBC70-D47F-D823-EAB9-6E0220068259}"/>
          </ac:spMkLst>
        </pc:spChg>
        <pc:spChg chg="add del mod">
          <ac:chgData name="Steiner Andreas 6206 ED" userId="e6377c33-a923-4f14-8587-531c474c7b48" providerId="ADAL" clId="{6ECD27E6-B224-41CD-B4E0-E297462320DD}" dt="2023-11-24T11:34:24.698" v="118037"/>
          <ac:spMkLst>
            <pc:docMk/>
            <pc:sldMk cId="3975964758" sldId="2147478571"/>
            <ac:spMk id="773" creationId="{E81557BF-B168-67D7-8AD2-545B301534AB}"/>
          </ac:spMkLst>
        </pc:spChg>
        <pc:spChg chg="add del mod">
          <ac:chgData name="Steiner Andreas 6206 ED" userId="e6377c33-a923-4f14-8587-531c474c7b48" providerId="ADAL" clId="{6ECD27E6-B224-41CD-B4E0-E297462320DD}" dt="2023-11-24T11:34:27.193" v="118192"/>
          <ac:spMkLst>
            <pc:docMk/>
            <pc:sldMk cId="3975964758" sldId="2147478571"/>
            <ac:spMk id="774" creationId="{E0E58188-AC0E-FD17-9F4E-91A877C5B3E2}"/>
          </ac:spMkLst>
        </pc:spChg>
        <pc:spChg chg="add del mod">
          <ac:chgData name="Steiner Andreas 6206 ED" userId="e6377c33-a923-4f14-8587-531c474c7b48" providerId="ADAL" clId="{6ECD27E6-B224-41CD-B4E0-E297462320DD}" dt="2023-11-24T11:34:29.297" v="118347"/>
          <ac:spMkLst>
            <pc:docMk/>
            <pc:sldMk cId="3975964758" sldId="2147478571"/>
            <ac:spMk id="775" creationId="{132D7BB2-4EFD-4DA5-7EE7-BB670B5BC212}"/>
          </ac:spMkLst>
        </pc:spChg>
        <pc:spChg chg="add del mod">
          <ac:chgData name="Steiner Andreas 6206 ED" userId="e6377c33-a923-4f14-8587-531c474c7b48" providerId="ADAL" clId="{6ECD27E6-B224-41CD-B4E0-E297462320DD}" dt="2023-11-24T11:34:31.561" v="118502"/>
          <ac:spMkLst>
            <pc:docMk/>
            <pc:sldMk cId="3975964758" sldId="2147478571"/>
            <ac:spMk id="776" creationId="{333A7A89-335B-D87E-E4E4-1243213DD30C}"/>
          </ac:spMkLst>
        </pc:spChg>
        <pc:spChg chg="add del mod">
          <ac:chgData name="Steiner Andreas 6206 ED" userId="e6377c33-a923-4f14-8587-531c474c7b48" providerId="ADAL" clId="{6ECD27E6-B224-41CD-B4E0-E297462320DD}" dt="2023-11-24T11:34:33.550" v="118657"/>
          <ac:spMkLst>
            <pc:docMk/>
            <pc:sldMk cId="3975964758" sldId="2147478571"/>
            <ac:spMk id="777" creationId="{C9318B9E-5081-1B7A-AB92-0CF5F3C70C24}"/>
          </ac:spMkLst>
        </pc:spChg>
        <pc:spChg chg="add del mod">
          <ac:chgData name="Steiner Andreas 6206 ED" userId="e6377c33-a923-4f14-8587-531c474c7b48" providerId="ADAL" clId="{6ECD27E6-B224-41CD-B4E0-E297462320DD}" dt="2023-11-24T11:34:35.520" v="118812"/>
          <ac:spMkLst>
            <pc:docMk/>
            <pc:sldMk cId="3975964758" sldId="2147478571"/>
            <ac:spMk id="778" creationId="{48BE63C6-06F9-93E9-CAF8-EB2C28DA29A0}"/>
          </ac:spMkLst>
        </pc:spChg>
        <pc:spChg chg="add del mod">
          <ac:chgData name="Steiner Andreas 6206 ED" userId="e6377c33-a923-4f14-8587-531c474c7b48" providerId="ADAL" clId="{6ECD27E6-B224-41CD-B4E0-E297462320DD}" dt="2023-11-24T11:34:37.625" v="118967"/>
          <ac:spMkLst>
            <pc:docMk/>
            <pc:sldMk cId="3975964758" sldId="2147478571"/>
            <ac:spMk id="779" creationId="{9E180819-8E4B-4B2A-567E-2C4EA255368B}"/>
          </ac:spMkLst>
        </pc:spChg>
        <pc:spChg chg="add del mod">
          <ac:chgData name="Steiner Andreas 6206 ED" userId="e6377c33-a923-4f14-8587-531c474c7b48" providerId="ADAL" clId="{6ECD27E6-B224-41CD-B4E0-E297462320DD}" dt="2023-11-24T11:34:39.563" v="119122"/>
          <ac:spMkLst>
            <pc:docMk/>
            <pc:sldMk cId="3975964758" sldId="2147478571"/>
            <ac:spMk id="780" creationId="{19A3055B-CEB9-DBD8-C05C-2F63E7A7CF40}"/>
          </ac:spMkLst>
        </pc:spChg>
        <pc:spChg chg="add del mod">
          <ac:chgData name="Steiner Andreas 6206 ED" userId="e6377c33-a923-4f14-8587-531c474c7b48" providerId="ADAL" clId="{6ECD27E6-B224-41CD-B4E0-E297462320DD}" dt="2023-11-24T11:34:41.697" v="119277"/>
          <ac:spMkLst>
            <pc:docMk/>
            <pc:sldMk cId="3975964758" sldId="2147478571"/>
            <ac:spMk id="781" creationId="{7C5450E2-261E-D888-FD44-5E1CF03F0683}"/>
          </ac:spMkLst>
        </pc:spChg>
        <pc:spChg chg="add del mod">
          <ac:chgData name="Steiner Andreas 6206 ED" userId="e6377c33-a923-4f14-8587-531c474c7b48" providerId="ADAL" clId="{6ECD27E6-B224-41CD-B4E0-E297462320DD}" dt="2023-11-24T11:34:43.890" v="119432"/>
          <ac:spMkLst>
            <pc:docMk/>
            <pc:sldMk cId="3975964758" sldId="2147478571"/>
            <ac:spMk id="782" creationId="{0E4939EC-C998-6113-846D-146FA53E39CA}"/>
          </ac:spMkLst>
        </pc:spChg>
        <pc:spChg chg="add del mod">
          <ac:chgData name="Steiner Andreas 6206 ED" userId="e6377c33-a923-4f14-8587-531c474c7b48" providerId="ADAL" clId="{6ECD27E6-B224-41CD-B4E0-E297462320DD}" dt="2023-11-24T11:34:45.901" v="119587"/>
          <ac:spMkLst>
            <pc:docMk/>
            <pc:sldMk cId="3975964758" sldId="2147478571"/>
            <ac:spMk id="783" creationId="{03930594-3ACE-94E3-79F6-A90CD4AA0EF7}"/>
          </ac:spMkLst>
        </pc:spChg>
        <pc:spChg chg="add del mod">
          <ac:chgData name="Steiner Andreas 6206 ED" userId="e6377c33-a923-4f14-8587-531c474c7b48" providerId="ADAL" clId="{6ECD27E6-B224-41CD-B4E0-E297462320DD}" dt="2023-11-24T11:34:47.832" v="119742"/>
          <ac:spMkLst>
            <pc:docMk/>
            <pc:sldMk cId="3975964758" sldId="2147478571"/>
            <ac:spMk id="784" creationId="{336AF326-2C77-C697-98E8-43E6676B9B17}"/>
          </ac:spMkLst>
        </pc:spChg>
        <pc:spChg chg="add del mod">
          <ac:chgData name="Steiner Andreas 6206 ED" userId="e6377c33-a923-4f14-8587-531c474c7b48" providerId="ADAL" clId="{6ECD27E6-B224-41CD-B4E0-E297462320DD}" dt="2023-11-24T11:34:50.011" v="119897"/>
          <ac:spMkLst>
            <pc:docMk/>
            <pc:sldMk cId="3975964758" sldId="2147478571"/>
            <ac:spMk id="785" creationId="{DDFC568D-D7D5-AB03-A507-3127A2E08984}"/>
          </ac:spMkLst>
        </pc:spChg>
        <pc:spChg chg="add del mod">
          <ac:chgData name="Steiner Andreas 6206 ED" userId="e6377c33-a923-4f14-8587-531c474c7b48" providerId="ADAL" clId="{6ECD27E6-B224-41CD-B4E0-E297462320DD}" dt="2023-11-24T11:34:52.083" v="120052"/>
          <ac:spMkLst>
            <pc:docMk/>
            <pc:sldMk cId="3975964758" sldId="2147478571"/>
            <ac:spMk id="786" creationId="{E7E74EC7-4D07-F881-207F-9B2D23826900}"/>
          </ac:spMkLst>
        </pc:spChg>
        <pc:spChg chg="add del mod">
          <ac:chgData name="Steiner Andreas 6206 ED" userId="e6377c33-a923-4f14-8587-531c474c7b48" providerId="ADAL" clId="{6ECD27E6-B224-41CD-B4E0-E297462320DD}" dt="2023-11-24T11:34:54.075" v="120207"/>
          <ac:spMkLst>
            <pc:docMk/>
            <pc:sldMk cId="3975964758" sldId="2147478571"/>
            <ac:spMk id="787" creationId="{D59D840D-A66D-40E2-C10D-6B6BCFF8A6C4}"/>
          </ac:spMkLst>
        </pc:spChg>
        <pc:spChg chg="add del mod">
          <ac:chgData name="Steiner Andreas 6206 ED" userId="e6377c33-a923-4f14-8587-531c474c7b48" providerId="ADAL" clId="{6ECD27E6-B224-41CD-B4E0-E297462320DD}" dt="2023-11-24T11:34:55.941" v="120362"/>
          <ac:spMkLst>
            <pc:docMk/>
            <pc:sldMk cId="3975964758" sldId="2147478571"/>
            <ac:spMk id="788" creationId="{CD357865-2263-AD9E-675E-16C692A33F5E}"/>
          </ac:spMkLst>
        </pc:spChg>
        <pc:spChg chg="add del mod">
          <ac:chgData name="Steiner Andreas 6206 ED" userId="e6377c33-a923-4f14-8587-531c474c7b48" providerId="ADAL" clId="{6ECD27E6-B224-41CD-B4E0-E297462320DD}" dt="2023-11-24T11:34:57.756" v="120517"/>
          <ac:spMkLst>
            <pc:docMk/>
            <pc:sldMk cId="3975964758" sldId="2147478571"/>
            <ac:spMk id="789" creationId="{BA22EFBD-6442-DA5A-0AEB-486F064E260A}"/>
          </ac:spMkLst>
        </pc:spChg>
        <pc:spChg chg="add del mod">
          <ac:chgData name="Steiner Andreas 6206 ED" userId="e6377c33-a923-4f14-8587-531c474c7b48" providerId="ADAL" clId="{6ECD27E6-B224-41CD-B4E0-E297462320DD}" dt="2023-11-24T11:34:59.628" v="120672"/>
          <ac:spMkLst>
            <pc:docMk/>
            <pc:sldMk cId="3975964758" sldId="2147478571"/>
            <ac:spMk id="790" creationId="{34472EBB-BA40-0D83-D4E0-64D98A5EC69F}"/>
          </ac:spMkLst>
        </pc:spChg>
        <pc:spChg chg="add del mod">
          <ac:chgData name="Steiner Andreas 6206 ED" userId="e6377c33-a923-4f14-8587-531c474c7b48" providerId="ADAL" clId="{6ECD27E6-B224-41CD-B4E0-E297462320DD}" dt="2023-11-24T11:35:01.467" v="120827"/>
          <ac:spMkLst>
            <pc:docMk/>
            <pc:sldMk cId="3975964758" sldId="2147478571"/>
            <ac:spMk id="791" creationId="{153DA823-0C9D-BEC9-9992-153CE33ED90A}"/>
          </ac:spMkLst>
        </pc:spChg>
        <pc:spChg chg="add del mod">
          <ac:chgData name="Steiner Andreas 6206 ED" userId="e6377c33-a923-4f14-8587-531c474c7b48" providerId="ADAL" clId="{6ECD27E6-B224-41CD-B4E0-E297462320DD}" dt="2023-11-24T11:35:03.352" v="120982"/>
          <ac:spMkLst>
            <pc:docMk/>
            <pc:sldMk cId="3975964758" sldId="2147478571"/>
            <ac:spMk id="792" creationId="{7C65DF0C-BEAF-3658-C5C0-D6A80EFC38BB}"/>
          </ac:spMkLst>
        </pc:spChg>
        <pc:spChg chg="add del mod">
          <ac:chgData name="Steiner Andreas 6206 ED" userId="e6377c33-a923-4f14-8587-531c474c7b48" providerId="ADAL" clId="{6ECD27E6-B224-41CD-B4E0-E297462320DD}" dt="2023-11-24T11:35:05.236" v="121137"/>
          <ac:spMkLst>
            <pc:docMk/>
            <pc:sldMk cId="3975964758" sldId="2147478571"/>
            <ac:spMk id="793" creationId="{008B401E-631A-BF5D-EFCE-45676CC59508}"/>
          </ac:spMkLst>
        </pc:spChg>
        <pc:spChg chg="add del mod">
          <ac:chgData name="Steiner Andreas 6206 ED" userId="e6377c33-a923-4f14-8587-531c474c7b48" providerId="ADAL" clId="{6ECD27E6-B224-41CD-B4E0-E297462320DD}" dt="2023-11-24T11:35:07.345" v="121292"/>
          <ac:spMkLst>
            <pc:docMk/>
            <pc:sldMk cId="3975964758" sldId="2147478571"/>
            <ac:spMk id="794" creationId="{6824F3D3-592D-C64D-82CC-8EE9F734309D}"/>
          </ac:spMkLst>
        </pc:spChg>
        <pc:spChg chg="add del mod">
          <ac:chgData name="Steiner Andreas 6206 ED" userId="e6377c33-a923-4f14-8587-531c474c7b48" providerId="ADAL" clId="{6ECD27E6-B224-41CD-B4E0-E297462320DD}" dt="2023-11-24T11:35:09.405" v="121447"/>
          <ac:spMkLst>
            <pc:docMk/>
            <pc:sldMk cId="3975964758" sldId="2147478571"/>
            <ac:spMk id="795" creationId="{071CF723-B021-4DB0-38E1-32E308D66128}"/>
          </ac:spMkLst>
        </pc:spChg>
        <pc:spChg chg="add del mod">
          <ac:chgData name="Steiner Andreas 6206 ED" userId="e6377c33-a923-4f14-8587-531c474c7b48" providerId="ADAL" clId="{6ECD27E6-B224-41CD-B4E0-E297462320DD}" dt="2023-11-24T11:35:11.347" v="121602"/>
          <ac:spMkLst>
            <pc:docMk/>
            <pc:sldMk cId="3975964758" sldId="2147478571"/>
            <ac:spMk id="796" creationId="{98EDE52F-E72A-434D-8825-FE7308CC70DA}"/>
          </ac:spMkLst>
        </pc:spChg>
        <pc:spChg chg="add del mod">
          <ac:chgData name="Steiner Andreas 6206 ED" userId="e6377c33-a923-4f14-8587-531c474c7b48" providerId="ADAL" clId="{6ECD27E6-B224-41CD-B4E0-E297462320DD}" dt="2023-11-24T11:35:13.100" v="121757"/>
          <ac:spMkLst>
            <pc:docMk/>
            <pc:sldMk cId="3975964758" sldId="2147478571"/>
            <ac:spMk id="797" creationId="{2E1D8491-C792-0EBB-1B3C-1D6BED12C523}"/>
          </ac:spMkLst>
        </pc:spChg>
        <pc:spChg chg="add del mod">
          <ac:chgData name="Steiner Andreas 6206 ED" userId="e6377c33-a923-4f14-8587-531c474c7b48" providerId="ADAL" clId="{6ECD27E6-B224-41CD-B4E0-E297462320DD}" dt="2023-11-24T11:35:15.044" v="121912"/>
          <ac:spMkLst>
            <pc:docMk/>
            <pc:sldMk cId="3975964758" sldId="2147478571"/>
            <ac:spMk id="798" creationId="{46ED7927-740F-4461-69E7-04A5E06F51D3}"/>
          </ac:spMkLst>
        </pc:spChg>
        <pc:spChg chg="add del mod">
          <ac:chgData name="Steiner Andreas 6206 ED" userId="e6377c33-a923-4f14-8587-531c474c7b48" providerId="ADAL" clId="{6ECD27E6-B224-41CD-B4E0-E297462320DD}" dt="2023-11-24T11:35:16.726" v="122067"/>
          <ac:spMkLst>
            <pc:docMk/>
            <pc:sldMk cId="3975964758" sldId="2147478571"/>
            <ac:spMk id="799" creationId="{EE181845-1FF3-7B7D-3B74-7E5134AC1F66}"/>
          </ac:spMkLst>
        </pc:spChg>
        <pc:spChg chg="add del mod">
          <ac:chgData name="Steiner Andreas 6206 ED" userId="e6377c33-a923-4f14-8587-531c474c7b48" providerId="ADAL" clId="{6ECD27E6-B224-41CD-B4E0-E297462320DD}" dt="2023-11-24T11:35:18.429" v="122222"/>
          <ac:spMkLst>
            <pc:docMk/>
            <pc:sldMk cId="3975964758" sldId="2147478571"/>
            <ac:spMk id="800" creationId="{F37A91D9-248A-C35E-0853-CB21E6C9303C}"/>
          </ac:spMkLst>
        </pc:spChg>
        <pc:spChg chg="add del mod">
          <ac:chgData name="Steiner Andreas 6206 ED" userId="e6377c33-a923-4f14-8587-531c474c7b48" providerId="ADAL" clId="{6ECD27E6-B224-41CD-B4E0-E297462320DD}" dt="2023-11-24T11:35:20.064" v="122377"/>
          <ac:spMkLst>
            <pc:docMk/>
            <pc:sldMk cId="3975964758" sldId="2147478571"/>
            <ac:spMk id="801" creationId="{4F3F4891-3B1B-C213-0B87-F8D17EA3443A}"/>
          </ac:spMkLst>
        </pc:spChg>
        <pc:spChg chg="add del mod">
          <ac:chgData name="Steiner Andreas 6206 ED" userId="e6377c33-a923-4f14-8587-531c474c7b48" providerId="ADAL" clId="{6ECD27E6-B224-41CD-B4E0-E297462320DD}" dt="2023-11-24T11:35:21.698" v="122532"/>
          <ac:spMkLst>
            <pc:docMk/>
            <pc:sldMk cId="3975964758" sldId="2147478571"/>
            <ac:spMk id="802" creationId="{E54BC14A-6194-6334-B5BF-2E2E59580AB2}"/>
          </ac:spMkLst>
        </pc:spChg>
        <pc:spChg chg="add del mod">
          <ac:chgData name="Steiner Andreas 6206 ED" userId="e6377c33-a923-4f14-8587-531c474c7b48" providerId="ADAL" clId="{6ECD27E6-B224-41CD-B4E0-E297462320DD}" dt="2023-11-24T11:35:23.405" v="122687"/>
          <ac:spMkLst>
            <pc:docMk/>
            <pc:sldMk cId="3975964758" sldId="2147478571"/>
            <ac:spMk id="803" creationId="{F6272BE0-254F-DFBB-AE0A-A8314ED55819}"/>
          </ac:spMkLst>
        </pc:spChg>
        <pc:spChg chg="add del mod">
          <ac:chgData name="Steiner Andreas 6206 ED" userId="e6377c33-a923-4f14-8587-531c474c7b48" providerId="ADAL" clId="{6ECD27E6-B224-41CD-B4E0-E297462320DD}" dt="2023-11-24T11:35:25.419" v="122842"/>
          <ac:spMkLst>
            <pc:docMk/>
            <pc:sldMk cId="3975964758" sldId="2147478571"/>
            <ac:spMk id="804" creationId="{ACC2DA4A-0352-AEB3-39F9-CF94A74EAA0D}"/>
          </ac:spMkLst>
        </pc:spChg>
        <pc:spChg chg="add del mod">
          <ac:chgData name="Steiner Andreas 6206 ED" userId="e6377c33-a923-4f14-8587-531c474c7b48" providerId="ADAL" clId="{6ECD27E6-B224-41CD-B4E0-E297462320DD}" dt="2023-11-24T11:35:27.450" v="122997"/>
          <ac:spMkLst>
            <pc:docMk/>
            <pc:sldMk cId="3975964758" sldId="2147478571"/>
            <ac:spMk id="805" creationId="{D419CE24-A563-77D6-31D1-ECF206D18D31}"/>
          </ac:spMkLst>
        </pc:spChg>
        <pc:spChg chg="add del mod">
          <ac:chgData name="Steiner Andreas 6206 ED" userId="e6377c33-a923-4f14-8587-531c474c7b48" providerId="ADAL" clId="{6ECD27E6-B224-41CD-B4E0-E297462320DD}" dt="2023-11-24T11:35:29.329" v="123152"/>
          <ac:spMkLst>
            <pc:docMk/>
            <pc:sldMk cId="3975964758" sldId="2147478571"/>
            <ac:spMk id="806" creationId="{0730E9CD-4A9E-E10B-FB51-239C0B990EC5}"/>
          </ac:spMkLst>
        </pc:spChg>
        <pc:spChg chg="add del mod">
          <ac:chgData name="Steiner Andreas 6206 ED" userId="e6377c33-a923-4f14-8587-531c474c7b48" providerId="ADAL" clId="{6ECD27E6-B224-41CD-B4E0-E297462320DD}" dt="2023-11-24T11:35:31.077" v="123307"/>
          <ac:spMkLst>
            <pc:docMk/>
            <pc:sldMk cId="3975964758" sldId="2147478571"/>
            <ac:spMk id="807" creationId="{02E5A3E6-1733-F915-4EE6-4115D8FD7C93}"/>
          </ac:spMkLst>
        </pc:spChg>
        <pc:spChg chg="add del mod">
          <ac:chgData name="Steiner Andreas 6206 ED" userId="e6377c33-a923-4f14-8587-531c474c7b48" providerId="ADAL" clId="{6ECD27E6-B224-41CD-B4E0-E297462320DD}" dt="2023-11-24T11:35:33.956" v="123462"/>
          <ac:spMkLst>
            <pc:docMk/>
            <pc:sldMk cId="3975964758" sldId="2147478571"/>
            <ac:spMk id="808" creationId="{9B4B1F0A-E0DC-E29C-CD2A-D1E660B6823E}"/>
          </ac:spMkLst>
        </pc:spChg>
        <pc:spChg chg="add del mod">
          <ac:chgData name="Steiner Andreas 6206 ED" userId="e6377c33-a923-4f14-8587-531c474c7b48" providerId="ADAL" clId="{6ECD27E6-B224-41CD-B4E0-E297462320DD}" dt="2023-11-24T11:35:35.819" v="123617"/>
          <ac:spMkLst>
            <pc:docMk/>
            <pc:sldMk cId="3975964758" sldId="2147478571"/>
            <ac:spMk id="809" creationId="{76CAAB8E-32BB-E5D7-57E4-A55A4ECF0CA8}"/>
          </ac:spMkLst>
        </pc:spChg>
        <pc:spChg chg="add del mod">
          <ac:chgData name="Steiner Andreas 6206 ED" userId="e6377c33-a923-4f14-8587-531c474c7b48" providerId="ADAL" clId="{6ECD27E6-B224-41CD-B4E0-E297462320DD}" dt="2023-11-24T11:35:37.499" v="123772"/>
          <ac:spMkLst>
            <pc:docMk/>
            <pc:sldMk cId="3975964758" sldId="2147478571"/>
            <ac:spMk id="810" creationId="{66624C0D-63B2-8695-B971-57160AAA8187}"/>
          </ac:spMkLst>
        </pc:spChg>
        <pc:spChg chg="add del mod">
          <ac:chgData name="Steiner Andreas 6206 ED" userId="e6377c33-a923-4f14-8587-531c474c7b48" providerId="ADAL" clId="{6ECD27E6-B224-41CD-B4E0-E297462320DD}" dt="2023-11-24T11:35:39.134" v="123927"/>
          <ac:spMkLst>
            <pc:docMk/>
            <pc:sldMk cId="3975964758" sldId="2147478571"/>
            <ac:spMk id="811" creationId="{505F5BF7-FE01-1F6E-CFDF-5BB0D784F133}"/>
          </ac:spMkLst>
        </pc:spChg>
        <pc:spChg chg="add del mod">
          <ac:chgData name="Steiner Andreas 6206 ED" userId="e6377c33-a923-4f14-8587-531c474c7b48" providerId="ADAL" clId="{6ECD27E6-B224-41CD-B4E0-E297462320DD}" dt="2023-11-24T11:35:40.845" v="124082"/>
          <ac:spMkLst>
            <pc:docMk/>
            <pc:sldMk cId="3975964758" sldId="2147478571"/>
            <ac:spMk id="812" creationId="{FA5B2D3A-31DE-87B4-AE62-D0C40C48EDCF}"/>
          </ac:spMkLst>
        </pc:spChg>
        <pc:spChg chg="add del mod">
          <ac:chgData name="Steiner Andreas 6206 ED" userId="e6377c33-a923-4f14-8587-531c474c7b48" providerId="ADAL" clId="{6ECD27E6-B224-41CD-B4E0-E297462320DD}" dt="2023-11-24T11:35:42.438" v="124237"/>
          <ac:spMkLst>
            <pc:docMk/>
            <pc:sldMk cId="3975964758" sldId="2147478571"/>
            <ac:spMk id="813" creationId="{5FCA32EB-25A9-B148-9084-3010FD01CDB1}"/>
          </ac:spMkLst>
        </pc:spChg>
        <pc:spChg chg="add del mod">
          <ac:chgData name="Steiner Andreas 6206 ED" userId="e6377c33-a923-4f14-8587-531c474c7b48" providerId="ADAL" clId="{6ECD27E6-B224-41CD-B4E0-E297462320DD}" dt="2023-11-24T11:35:44.116" v="124392"/>
          <ac:spMkLst>
            <pc:docMk/>
            <pc:sldMk cId="3975964758" sldId="2147478571"/>
            <ac:spMk id="814" creationId="{942B388D-E44B-1CD9-73A0-DA9856D8F48C}"/>
          </ac:spMkLst>
        </pc:spChg>
        <pc:spChg chg="add del mod">
          <ac:chgData name="Steiner Andreas 6206 ED" userId="e6377c33-a923-4f14-8587-531c474c7b48" providerId="ADAL" clId="{6ECD27E6-B224-41CD-B4E0-E297462320DD}" dt="2023-11-24T11:35:45.770" v="124547"/>
          <ac:spMkLst>
            <pc:docMk/>
            <pc:sldMk cId="3975964758" sldId="2147478571"/>
            <ac:spMk id="815" creationId="{94B5C5ED-6CCB-FDC9-62C9-D0E70FE141E4}"/>
          </ac:spMkLst>
        </pc:spChg>
        <pc:spChg chg="add del mod">
          <ac:chgData name="Steiner Andreas 6206 ED" userId="e6377c33-a923-4f14-8587-531c474c7b48" providerId="ADAL" clId="{6ECD27E6-B224-41CD-B4E0-E297462320DD}" dt="2023-11-24T11:35:47.477" v="124702"/>
          <ac:spMkLst>
            <pc:docMk/>
            <pc:sldMk cId="3975964758" sldId="2147478571"/>
            <ac:spMk id="816" creationId="{80C6C80C-178A-D386-5A24-56CAF061F227}"/>
          </ac:spMkLst>
        </pc:spChg>
        <pc:spChg chg="add del mod">
          <ac:chgData name="Steiner Andreas 6206 ED" userId="e6377c33-a923-4f14-8587-531c474c7b48" providerId="ADAL" clId="{6ECD27E6-B224-41CD-B4E0-E297462320DD}" dt="2023-11-24T11:35:49.250" v="124857"/>
          <ac:spMkLst>
            <pc:docMk/>
            <pc:sldMk cId="3975964758" sldId="2147478571"/>
            <ac:spMk id="817" creationId="{5563C598-FAD4-16B9-36AC-072B0B4CD274}"/>
          </ac:spMkLst>
        </pc:spChg>
        <pc:spChg chg="add del mod">
          <ac:chgData name="Steiner Andreas 6206 ED" userId="e6377c33-a923-4f14-8587-531c474c7b48" providerId="ADAL" clId="{6ECD27E6-B224-41CD-B4E0-E297462320DD}" dt="2023-11-24T11:35:51.162" v="125012"/>
          <ac:spMkLst>
            <pc:docMk/>
            <pc:sldMk cId="3975964758" sldId="2147478571"/>
            <ac:spMk id="818" creationId="{9317D58F-CBCC-41B5-DF15-BAB61AD9DFEA}"/>
          </ac:spMkLst>
        </pc:spChg>
        <pc:spChg chg="add del mod">
          <ac:chgData name="Steiner Andreas 6206 ED" userId="e6377c33-a923-4f14-8587-531c474c7b48" providerId="ADAL" clId="{6ECD27E6-B224-41CD-B4E0-E297462320DD}" dt="2023-11-24T11:35:52.891" v="125167"/>
          <ac:spMkLst>
            <pc:docMk/>
            <pc:sldMk cId="3975964758" sldId="2147478571"/>
            <ac:spMk id="819" creationId="{C4DBAAF8-F189-C706-1D47-42A5AE7168D8}"/>
          </ac:spMkLst>
        </pc:spChg>
        <pc:spChg chg="add del mod">
          <ac:chgData name="Steiner Andreas 6206 ED" userId="e6377c33-a923-4f14-8587-531c474c7b48" providerId="ADAL" clId="{6ECD27E6-B224-41CD-B4E0-E297462320DD}" dt="2023-11-24T11:35:54.900" v="125322"/>
          <ac:spMkLst>
            <pc:docMk/>
            <pc:sldMk cId="3975964758" sldId="2147478571"/>
            <ac:spMk id="820" creationId="{8261261A-D2A2-1317-BAAD-BCA06C3F44D1}"/>
          </ac:spMkLst>
        </pc:spChg>
        <pc:spChg chg="add del mod">
          <ac:chgData name="Steiner Andreas 6206 ED" userId="e6377c33-a923-4f14-8587-531c474c7b48" providerId="ADAL" clId="{6ECD27E6-B224-41CD-B4E0-E297462320DD}" dt="2023-11-24T11:35:57.072" v="125477"/>
          <ac:spMkLst>
            <pc:docMk/>
            <pc:sldMk cId="3975964758" sldId="2147478571"/>
            <ac:spMk id="821" creationId="{9AFF341F-8D14-C0CC-2F82-52081D5B351B}"/>
          </ac:spMkLst>
        </pc:spChg>
        <pc:spChg chg="add del mod">
          <ac:chgData name="Steiner Andreas 6206 ED" userId="e6377c33-a923-4f14-8587-531c474c7b48" providerId="ADAL" clId="{6ECD27E6-B224-41CD-B4E0-E297462320DD}" dt="2023-11-24T11:35:58.865" v="125632"/>
          <ac:spMkLst>
            <pc:docMk/>
            <pc:sldMk cId="3975964758" sldId="2147478571"/>
            <ac:spMk id="822" creationId="{23130047-F446-C6E8-8370-3ED2E285A5B8}"/>
          </ac:spMkLst>
        </pc:spChg>
        <pc:spChg chg="add del mod">
          <ac:chgData name="Steiner Andreas 6206 ED" userId="e6377c33-a923-4f14-8587-531c474c7b48" providerId="ADAL" clId="{6ECD27E6-B224-41CD-B4E0-E297462320DD}" dt="2023-11-24T11:36:00.601" v="125787"/>
          <ac:spMkLst>
            <pc:docMk/>
            <pc:sldMk cId="3975964758" sldId="2147478571"/>
            <ac:spMk id="823" creationId="{CF9A0776-83F7-49D2-4A02-98328CFC509D}"/>
          </ac:spMkLst>
        </pc:spChg>
        <pc:spChg chg="add del mod">
          <ac:chgData name="Steiner Andreas 6206 ED" userId="e6377c33-a923-4f14-8587-531c474c7b48" providerId="ADAL" clId="{6ECD27E6-B224-41CD-B4E0-E297462320DD}" dt="2023-11-24T11:36:02.332" v="125942"/>
          <ac:spMkLst>
            <pc:docMk/>
            <pc:sldMk cId="3975964758" sldId="2147478571"/>
            <ac:spMk id="824" creationId="{A5617F9E-F97A-1C89-0AA6-783334E2DC6D}"/>
          </ac:spMkLst>
        </pc:spChg>
        <pc:spChg chg="add del mod">
          <ac:chgData name="Steiner Andreas 6206 ED" userId="e6377c33-a923-4f14-8587-531c474c7b48" providerId="ADAL" clId="{6ECD27E6-B224-41CD-B4E0-E297462320DD}" dt="2023-11-24T11:36:04.081" v="126097"/>
          <ac:spMkLst>
            <pc:docMk/>
            <pc:sldMk cId="3975964758" sldId="2147478571"/>
            <ac:spMk id="825" creationId="{2AB349FE-CCC0-D9C9-805D-0D4B41B7DA1C}"/>
          </ac:spMkLst>
        </pc:spChg>
        <pc:spChg chg="add del mod">
          <ac:chgData name="Steiner Andreas 6206 ED" userId="e6377c33-a923-4f14-8587-531c474c7b48" providerId="ADAL" clId="{6ECD27E6-B224-41CD-B4E0-E297462320DD}" dt="2023-11-24T11:36:05.857" v="126252"/>
          <ac:spMkLst>
            <pc:docMk/>
            <pc:sldMk cId="3975964758" sldId="2147478571"/>
            <ac:spMk id="826" creationId="{2C9DDFE3-8761-B19F-8366-099A636725A3}"/>
          </ac:spMkLst>
        </pc:spChg>
        <pc:spChg chg="add del mod">
          <ac:chgData name="Steiner Andreas 6206 ED" userId="e6377c33-a923-4f14-8587-531c474c7b48" providerId="ADAL" clId="{6ECD27E6-B224-41CD-B4E0-E297462320DD}" dt="2023-11-24T11:36:07.542" v="126407"/>
          <ac:spMkLst>
            <pc:docMk/>
            <pc:sldMk cId="3975964758" sldId="2147478571"/>
            <ac:spMk id="827" creationId="{A60854CC-F519-0FCA-B4BE-8552B51A7D0A}"/>
          </ac:spMkLst>
        </pc:spChg>
        <pc:spChg chg="add del mod">
          <ac:chgData name="Steiner Andreas 6206 ED" userId="e6377c33-a923-4f14-8587-531c474c7b48" providerId="ADAL" clId="{6ECD27E6-B224-41CD-B4E0-E297462320DD}" dt="2023-11-24T11:36:09.389" v="126562"/>
          <ac:spMkLst>
            <pc:docMk/>
            <pc:sldMk cId="3975964758" sldId="2147478571"/>
            <ac:spMk id="828" creationId="{45EF0154-DE3F-FD28-7863-91528EAB7BDA}"/>
          </ac:spMkLst>
        </pc:spChg>
        <pc:spChg chg="add del mod">
          <ac:chgData name="Steiner Andreas 6206 ED" userId="e6377c33-a923-4f14-8587-531c474c7b48" providerId="ADAL" clId="{6ECD27E6-B224-41CD-B4E0-E297462320DD}" dt="2023-11-24T11:36:11.185" v="126717"/>
          <ac:spMkLst>
            <pc:docMk/>
            <pc:sldMk cId="3975964758" sldId="2147478571"/>
            <ac:spMk id="829" creationId="{0C00341D-38FD-ABE2-EE1F-FE5CA925DA45}"/>
          </ac:spMkLst>
        </pc:spChg>
        <pc:spChg chg="add del mod">
          <ac:chgData name="Steiner Andreas 6206 ED" userId="e6377c33-a923-4f14-8587-531c474c7b48" providerId="ADAL" clId="{6ECD27E6-B224-41CD-B4E0-E297462320DD}" dt="2023-11-24T11:36:13.103" v="126872"/>
          <ac:spMkLst>
            <pc:docMk/>
            <pc:sldMk cId="3975964758" sldId="2147478571"/>
            <ac:spMk id="830" creationId="{F2E5F7A5-8593-4056-12A1-2E9F3C7DB366}"/>
          </ac:spMkLst>
        </pc:spChg>
        <pc:spChg chg="add del mod">
          <ac:chgData name="Steiner Andreas 6206 ED" userId="e6377c33-a923-4f14-8587-531c474c7b48" providerId="ADAL" clId="{6ECD27E6-B224-41CD-B4E0-E297462320DD}" dt="2023-11-24T11:36:14.980" v="127027"/>
          <ac:spMkLst>
            <pc:docMk/>
            <pc:sldMk cId="3975964758" sldId="2147478571"/>
            <ac:spMk id="831" creationId="{6EA9C518-9EC5-4B7E-5411-562EBE8F6373}"/>
          </ac:spMkLst>
        </pc:spChg>
        <pc:spChg chg="add del mod">
          <ac:chgData name="Steiner Andreas 6206 ED" userId="e6377c33-a923-4f14-8587-531c474c7b48" providerId="ADAL" clId="{6ECD27E6-B224-41CD-B4E0-E297462320DD}" dt="2023-11-24T11:36:17.493" v="127182"/>
          <ac:spMkLst>
            <pc:docMk/>
            <pc:sldMk cId="3975964758" sldId="2147478571"/>
            <ac:spMk id="832" creationId="{91BB91A4-089E-21E9-A832-C83AE31D2D72}"/>
          </ac:spMkLst>
        </pc:spChg>
        <pc:spChg chg="add del mod">
          <ac:chgData name="Steiner Andreas 6206 ED" userId="e6377c33-a923-4f14-8587-531c474c7b48" providerId="ADAL" clId="{6ECD27E6-B224-41CD-B4E0-E297462320DD}" dt="2023-11-24T11:36:20.104" v="127337"/>
          <ac:spMkLst>
            <pc:docMk/>
            <pc:sldMk cId="3975964758" sldId="2147478571"/>
            <ac:spMk id="833" creationId="{57014D06-AC86-A0AA-FD54-29D3A3A4B840}"/>
          </ac:spMkLst>
        </pc:spChg>
        <pc:spChg chg="add del mod">
          <ac:chgData name="Steiner Andreas 6206 ED" userId="e6377c33-a923-4f14-8587-531c474c7b48" providerId="ADAL" clId="{6ECD27E6-B224-41CD-B4E0-E297462320DD}" dt="2023-11-24T11:36:22.446" v="127492"/>
          <ac:spMkLst>
            <pc:docMk/>
            <pc:sldMk cId="3975964758" sldId="2147478571"/>
            <ac:spMk id="834" creationId="{C06C44CA-389B-6DE3-F348-34B2A821E544}"/>
          </ac:spMkLst>
        </pc:spChg>
        <pc:spChg chg="add del mod">
          <ac:chgData name="Steiner Andreas 6206 ED" userId="e6377c33-a923-4f14-8587-531c474c7b48" providerId="ADAL" clId="{6ECD27E6-B224-41CD-B4E0-E297462320DD}" dt="2023-11-24T11:36:25.557" v="127647"/>
          <ac:spMkLst>
            <pc:docMk/>
            <pc:sldMk cId="3975964758" sldId="2147478571"/>
            <ac:spMk id="835" creationId="{06D07195-0589-3FDF-0145-20F527802C10}"/>
          </ac:spMkLst>
        </pc:spChg>
        <pc:spChg chg="add del mod">
          <ac:chgData name="Steiner Andreas 6206 ED" userId="e6377c33-a923-4f14-8587-531c474c7b48" providerId="ADAL" clId="{6ECD27E6-B224-41CD-B4E0-E297462320DD}" dt="2023-11-24T11:36:28.420" v="127802"/>
          <ac:spMkLst>
            <pc:docMk/>
            <pc:sldMk cId="3975964758" sldId="2147478571"/>
            <ac:spMk id="836" creationId="{70F20F2F-6476-449D-75EE-5A27AAE918C9}"/>
          </ac:spMkLst>
        </pc:spChg>
        <pc:spChg chg="add del mod">
          <ac:chgData name="Steiner Andreas 6206 ED" userId="e6377c33-a923-4f14-8587-531c474c7b48" providerId="ADAL" clId="{6ECD27E6-B224-41CD-B4E0-E297462320DD}" dt="2023-11-24T11:36:31.081" v="127957"/>
          <ac:spMkLst>
            <pc:docMk/>
            <pc:sldMk cId="3975964758" sldId="2147478571"/>
            <ac:spMk id="837" creationId="{F9261BD6-CF0E-D3CB-BD84-AB1764855ED6}"/>
          </ac:spMkLst>
        </pc:spChg>
        <pc:spChg chg="add del mod">
          <ac:chgData name="Steiner Andreas 6206 ED" userId="e6377c33-a923-4f14-8587-531c474c7b48" providerId="ADAL" clId="{6ECD27E6-B224-41CD-B4E0-E297462320DD}" dt="2023-11-24T11:36:33.350" v="128112"/>
          <ac:spMkLst>
            <pc:docMk/>
            <pc:sldMk cId="3975964758" sldId="2147478571"/>
            <ac:spMk id="838" creationId="{A7F4D9C1-9254-E49D-838E-0B7D85397D84}"/>
          </ac:spMkLst>
        </pc:spChg>
        <pc:spChg chg="add del mod">
          <ac:chgData name="Steiner Andreas 6206 ED" userId="e6377c33-a923-4f14-8587-531c474c7b48" providerId="ADAL" clId="{6ECD27E6-B224-41CD-B4E0-E297462320DD}" dt="2023-11-24T11:36:35.408" v="128267"/>
          <ac:spMkLst>
            <pc:docMk/>
            <pc:sldMk cId="3975964758" sldId="2147478571"/>
            <ac:spMk id="839" creationId="{11BBE74B-B231-82EC-98D0-68BF28206C86}"/>
          </ac:spMkLst>
        </pc:spChg>
        <pc:spChg chg="add del mod">
          <ac:chgData name="Steiner Andreas 6206 ED" userId="e6377c33-a923-4f14-8587-531c474c7b48" providerId="ADAL" clId="{6ECD27E6-B224-41CD-B4E0-E297462320DD}" dt="2023-11-24T11:36:37.504" v="128422"/>
          <ac:spMkLst>
            <pc:docMk/>
            <pc:sldMk cId="3975964758" sldId="2147478571"/>
            <ac:spMk id="840" creationId="{840A10A8-2279-DA36-7C99-A740696CECA9}"/>
          </ac:spMkLst>
        </pc:spChg>
        <pc:spChg chg="add del mod">
          <ac:chgData name="Steiner Andreas 6206 ED" userId="e6377c33-a923-4f14-8587-531c474c7b48" providerId="ADAL" clId="{6ECD27E6-B224-41CD-B4E0-E297462320DD}" dt="2023-11-24T11:36:39.722" v="128577"/>
          <ac:spMkLst>
            <pc:docMk/>
            <pc:sldMk cId="3975964758" sldId="2147478571"/>
            <ac:spMk id="841" creationId="{65919B18-1962-E9B9-64B5-1ACF58D7E2EE}"/>
          </ac:spMkLst>
        </pc:spChg>
        <pc:spChg chg="add del mod">
          <ac:chgData name="Steiner Andreas 6206 ED" userId="e6377c33-a923-4f14-8587-531c474c7b48" providerId="ADAL" clId="{6ECD27E6-B224-41CD-B4E0-E297462320DD}" dt="2023-11-24T11:36:42.278" v="128732"/>
          <ac:spMkLst>
            <pc:docMk/>
            <pc:sldMk cId="3975964758" sldId="2147478571"/>
            <ac:spMk id="842" creationId="{FF181B58-3738-2FBC-4908-A70EA0F8D5AF}"/>
          </ac:spMkLst>
        </pc:spChg>
        <pc:spChg chg="add del mod">
          <ac:chgData name="Steiner Andreas 6206 ED" userId="e6377c33-a923-4f14-8587-531c474c7b48" providerId="ADAL" clId="{6ECD27E6-B224-41CD-B4E0-E297462320DD}" dt="2023-11-24T11:36:44.586" v="128887"/>
          <ac:spMkLst>
            <pc:docMk/>
            <pc:sldMk cId="3975964758" sldId="2147478571"/>
            <ac:spMk id="843" creationId="{A3068CA9-3BBD-B6D7-082C-8B9AA4815DB1}"/>
          </ac:spMkLst>
        </pc:spChg>
        <pc:spChg chg="add del mod">
          <ac:chgData name="Steiner Andreas 6206 ED" userId="e6377c33-a923-4f14-8587-531c474c7b48" providerId="ADAL" clId="{6ECD27E6-B224-41CD-B4E0-E297462320DD}" dt="2023-11-24T11:36:46.565" v="129042"/>
          <ac:spMkLst>
            <pc:docMk/>
            <pc:sldMk cId="3975964758" sldId="2147478571"/>
            <ac:spMk id="844" creationId="{253535BD-8CE6-D4D8-0417-B14DCF735B83}"/>
          </ac:spMkLst>
        </pc:spChg>
        <pc:spChg chg="add del mod">
          <ac:chgData name="Steiner Andreas 6206 ED" userId="e6377c33-a923-4f14-8587-531c474c7b48" providerId="ADAL" clId="{6ECD27E6-B224-41CD-B4E0-E297462320DD}" dt="2023-11-24T11:36:48.528" v="129197"/>
          <ac:spMkLst>
            <pc:docMk/>
            <pc:sldMk cId="3975964758" sldId="2147478571"/>
            <ac:spMk id="845" creationId="{A21C3215-D0C5-D647-FBAD-5FEEBB9650CD}"/>
          </ac:spMkLst>
        </pc:spChg>
        <pc:spChg chg="add del mod">
          <ac:chgData name="Steiner Andreas 6206 ED" userId="e6377c33-a923-4f14-8587-531c474c7b48" providerId="ADAL" clId="{6ECD27E6-B224-41CD-B4E0-E297462320DD}" dt="2023-11-24T11:36:50.502" v="129352"/>
          <ac:spMkLst>
            <pc:docMk/>
            <pc:sldMk cId="3975964758" sldId="2147478571"/>
            <ac:spMk id="846" creationId="{DA1166AD-5DBE-F08F-9FF1-FA4A2020C3D7}"/>
          </ac:spMkLst>
        </pc:spChg>
        <pc:spChg chg="add del mod">
          <ac:chgData name="Steiner Andreas 6206 ED" userId="e6377c33-a923-4f14-8587-531c474c7b48" providerId="ADAL" clId="{6ECD27E6-B224-41CD-B4E0-E297462320DD}" dt="2023-11-24T11:36:52.639" v="129507"/>
          <ac:spMkLst>
            <pc:docMk/>
            <pc:sldMk cId="3975964758" sldId="2147478571"/>
            <ac:spMk id="847" creationId="{0CBB0D3A-666D-561A-2450-B6D793E48269}"/>
          </ac:spMkLst>
        </pc:spChg>
        <pc:spChg chg="add del mod">
          <ac:chgData name="Steiner Andreas 6206 ED" userId="e6377c33-a923-4f14-8587-531c474c7b48" providerId="ADAL" clId="{6ECD27E6-B224-41CD-B4E0-E297462320DD}" dt="2023-11-24T11:36:55.507" v="129662"/>
          <ac:spMkLst>
            <pc:docMk/>
            <pc:sldMk cId="3975964758" sldId="2147478571"/>
            <ac:spMk id="848" creationId="{784B077B-1330-C4BB-9513-BE781EBB5FA3}"/>
          </ac:spMkLst>
        </pc:spChg>
        <pc:spChg chg="add del mod">
          <ac:chgData name="Steiner Andreas 6206 ED" userId="e6377c33-a923-4f14-8587-531c474c7b48" providerId="ADAL" clId="{6ECD27E6-B224-41CD-B4E0-E297462320DD}" dt="2023-11-24T11:36:57.744" v="129817"/>
          <ac:spMkLst>
            <pc:docMk/>
            <pc:sldMk cId="3975964758" sldId="2147478571"/>
            <ac:spMk id="849" creationId="{FF767C18-02C8-B58D-389B-1955D97BFC27}"/>
          </ac:spMkLst>
        </pc:spChg>
        <pc:spChg chg="add del mod">
          <ac:chgData name="Steiner Andreas 6206 ED" userId="e6377c33-a923-4f14-8587-531c474c7b48" providerId="ADAL" clId="{6ECD27E6-B224-41CD-B4E0-E297462320DD}" dt="2023-11-24T11:37:00.114" v="129972"/>
          <ac:spMkLst>
            <pc:docMk/>
            <pc:sldMk cId="3975964758" sldId="2147478571"/>
            <ac:spMk id="850" creationId="{1FF169B3-2580-8A73-2C06-1B746AB62E88}"/>
          </ac:spMkLst>
        </pc:spChg>
        <pc:spChg chg="add del mod">
          <ac:chgData name="Steiner Andreas 6206 ED" userId="e6377c33-a923-4f14-8587-531c474c7b48" providerId="ADAL" clId="{6ECD27E6-B224-41CD-B4E0-E297462320DD}" dt="2023-11-24T11:37:01.945" v="130127"/>
          <ac:spMkLst>
            <pc:docMk/>
            <pc:sldMk cId="3975964758" sldId="2147478571"/>
            <ac:spMk id="851" creationId="{4876CE93-C383-19F1-655A-3F5ED6A7D3AE}"/>
          </ac:spMkLst>
        </pc:spChg>
        <pc:spChg chg="add del mod">
          <ac:chgData name="Steiner Andreas 6206 ED" userId="e6377c33-a923-4f14-8587-531c474c7b48" providerId="ADAL" clId="{6ECD27E6-B224-41CD-B4E0-E297462320DD}" dt="2023-11-24T11:37:03.682" v="130282"/>
          <ac:spMkLst>
            <pc:docMk/>
            <pc:sldMk cId="3975964758" sldId="2147478571"/>
            <ac:spMk id="852" creationId="{01AD02BE-CD8C-4477-3F90-209441E8C007}"/>
          </ac:spMkLst>
        </pc:spChg>
        <pc:spChg chg="add del mod">
          <ac:chgData name="Steiner Andreas 6206 ED" userId="e6377c33-a923-4f14-8587-531c474c7b48" providerId="ADAL" clId="{6ECD27E6-B224-41CD-B4E0-E297462320DD}" dt="2023-11-24T11:37:05.571" v="130437"/>
          <ac:spMkLst>
            <pc:docMk/>
            <pc:sldMk cId="3975964758" sldId="2147478571"/>
            <ac:spMk id="853" creationId="{92E5CA80-1AF0-0FB0-484C-6BAEAF0D2594}"/>
          </ac:spMkLst>
        </pc:spChg>
        <pc:spChg chg="add del mod">
          <ac:chgData name="Steiner Andreas 6206 ED" userId="e6377c33-a923-4f14-8587-531c474c7b48" providerId="ADAL" clId="{6ECD27E6-B224-41CD-B4E0-E297462320DD}" dt="2023-11-24T11:37:07.320" v="130592"/>
          <ac:spMkLst>
            <pc:docMk/>
            <pc:sldMk cId="3975964758" sldId="2147478571"/>
            <ac:spMk id="854" creationId="{3C76898F-9049-00B3-C902-E41830D24C8D}"/>
          </ac:spMkLst>
        </pc:spChg>
        <pc:spChg chg="add del mod">
          <ac:chgData name="Steiner Andreas 6206 ED" userId="e6377c33-a923-4f14-8587-531c474c7b48" providerId="ADAL" clId="{6ECD27E6-B224-41CD-B4E0-E297462320DD}" dt="2023-11-24T11:37:09.049" v="130747"/>
          <ac:spMkLst>
            <pc:docMk/>
            <pc:sldMk cId="3975964758" sldId="2147478571"/>
            <ac:spMk id="855" creationId="{4CDB91E1-AF84-AC29-C59C-5C59A5E9F4B1}"/>
          </ac:spMkLst>
        </pc:spChg>
        <pc:spChg chg="add del mod">
          <ac:chgData name="Steiner Andreas 6206 ED" userId="e6377c33-a923-4f14-8587-531c474c7b48" providerId="ADAL" clId="{6ECD27E6-B224-41CD-B4E0-E297462320DD}" dt="2023-11-24T11:37:10.714" v="130902"/>
          <ac:spMkLst>
            <pc:docMk/>
            <pc:sldMk cId="3975964758" sldId="2147478571"/>
            <ac:spMk id="856" creationId="{5F12980B-AB71-2C36-EB75-4C938CA4327C}"/>
          </ac:spMkLst>
        </pc:spChg>
        <pc:spChg chg="add del mod">
          <ac:chgData name="Steiner Andreas 6206 ED" userId="e6377c33-a923-4f14-8587-531c474c7b48" providerId="ADAL" clId="{6ECD27E6-B224-41CD-B4E0-E297462320DD}" dt="2023-11-24T11:37:12.409" v="131057"/>
          <ac:spMkLst>
            <pc:docMk/>
            <pc:sldMk cId="3975964758" sldId="2147478571"/>
            <ac:spMk id="857" creationId="{4DFE067F-2E26-D2F4-AD8D-D0B9BFAB1CBA}"/>
          </ac:spMkLst>
        </pc:spChg>
        <pc:spChg chg="add del mod">
          <ac:chgData name="Steiner Andreas 6206 ED" userId="e6377c33-a923-4f14-8587-531c474c7b48" providerId="ADAL" clId="{6ECD27E6-B224-41CD-B4E0-E297462320DD}" dt="2023-11-24T11:37:14.086" v="131212"/>
          <ac:spMkLst>
            <pc:docMk/>
            <pc:sldMk cId="3975964758" sldId="2147478571"/>
            <ac:spMk id="858" creationId="{2DBDA88F-63F9-F43D-2A4A-792C09060B7B}"/>
          </ac:spMkLst>
        </pc:spChg>
        <pc:spChg chg="add del mod">
          <ac:chgData name="Steiner Andreas 6206 ED" userId="e6377c33-a923-4f14-8587-531c474c7b48" providerId="ADAL" clId="{6ECD27E6-B224-41CD-B4E0-E297462320DD}" dt="2023-11-24T11:37:16.105" v="131367"/>
          <ac:spMkLst>
            <pc:docMk/>
            <pc:sldMk cId="3975964758" sldId="2147478571"/>
            <ac:spMk id="859" creationId="{6D4B1B08-667C-E2F2-B95A-14A36D24AC3F}"/>
          </ac:spMkLst>
        </pc:spChg>
        <pc:spChg chg="add del mod">
          <ac:chgData name="Steiner Andreas 6206 ED" userId="e6377c33-a923-4f14-8587-531c474c7b48" providerId="ADAL" clId="{6ECD27E6-B224-41CD-B4E0-E297462320DD}" dt="2023-11-24T11:37:18.101" v="131522"/>
          <ac:spMkLst>
            <pc:docMk/>
            <pc:sldMk cId="3975964758" sldId="2147478571"/>
            <ac:spMk id="860" creationId="{873D6BFF-2B46-DCF5-459A-33F5671CD54A}"/>
          </ac:spMkLst>
        </pc:spChg>
        <pc:spChg chg="add del mod">
          <ac:chgData name="Steiner Andreas 6206 ED" userId="e6377c33-a923-4f14-8587-531c474c7b48" providerId="ADAL" clId="{6ECD27E6-B224-41CD-B4E0-E297462320DD}" dt="2023-11-24T11:37:20" v="131677"/>
          <ac:spMkLst>
            <pc:docMk/>
            <pc:sldMk cId="3975964758" sldId="2147478571"/>
            <ac:spMk id="861" creationId="{F4E89638-858A-A26B-AA52-43ED7DDA67C7}"/>
          </ac:spMkLst>
        </pc:spChg>
        <pc:spChg chg="add del mod">
          <ac:chgData name="Steiner Andreas 6206 ED" userId="e6377c33-a923-4f14-8587-531c474c7b48" providerId="ADAL" clId="{6ECD27E6-B224-41CD-B4E0-E297462320DD}" dt="2023-11-24T11:37:21.909" v="131832"/>
          <ac:spMkLst>
            <pc:docMk/>
            <pc:sldMk cId="3975964758" sldId="2147478571"/>
            <ac:spMk id="862" creationId="{ED70F78E-8A5C-50B1-FC4A-43CA996F6399}"/>
          </ac:spMkLst>
        </pc:spChg>
        <pc:spChg chg="add del mod">
          <ac:chgData name="Steiner Andreas 6206 ED" userId="e6377c33-a923-4f14-8587-531c474c7b48" providerId="ADAL" clId="{6ECD27E6-B224-41CD-B4E0-E297462320DD}" dt="2023-11-24T11:37:23.678" v="131987"/>
          <ac:spMkLst>
            <pc:docMk/>
            <pc:sldMk cId="3975964758" sldId="2147478571"/>
            <ac:spMk id="863" creationId="{71577FE6-B71E-6012-4E8D-A8035DF487E7}"/>
          </ac:spMkLst>
        </pc:spChg>
        <pc:spChg chg="add del mod">
          <ac:chgData name="Steiner Andreas 6206 ED" userId="e6377c33-a923-4f14-8587-531c474c7b48" providerId="ADAL" clId="{6ECD27E6-B224-41CD-B4E0-E297462320DD}" dt="2023-11-24T11:37:25.402" v="132142"/>
          <ac:spMkLst>
            <pc:docMk/>
            <pc:sldMk cId="3975964758" sldId="2147478571"/>
            <ac:spMk id="864" creationId="{EE83C908-8B1B-31FF-7593-3AEE3553E8C5}"/>
          </ac:spMkLst>
        </pc:spChg>
        <pc:spChg chg="add del mod">
          <ac:chgData name="Steiner Andreas 6206 ED" userId="e6377c33-a923-4f14-8587-531c474c7b48" providerId="ADAL" clId="{6ECD27E6-B224-41CD-B4E0-E297462320DD}" dt="2023-11-24T11:37:27.345" v="132297"/>
          <ac:spMkLst>
            <pc:docMk/>
            <pc:sldMk cId="3975964758" sldId="2147478571"/>
            <ac:spMk id="865" creationId="{C8F1A586-2207-4ED5-DD44-77506C7C4BCD}"/>
          </ac:spMkLst>
        </pc:spChg>
        <pc:spChg chg="add del mod">
          <ac:chgData name="Steiner Andreas 6206 ED" userId="e6377c33-a923-4f14-8587-531c474c7b48" providerId="ADAL" clId="{6ECD27E6-B224-41CD-B4E0-E297462320DD}" dt="2023-11-24T11:37:30.025" v="132452"/>
          <ac:spMkLst>
            <pc:docMk/>
            <pc:sldMk cId="3975964758" sldId="2147478571"/>
            <ac:spMk id="866" creationId="{58D85809-78DC-1498-717C-448BC2F3C52C}"/>
          </ac:spMkLst>
        </pc:spChg>
        <pc:spChg chg="add del mod">
          <ac:chgData name="Steiner Andreas 6206 ED" userId="e6377c33-a923-4f14-8587-531c474c7b48" providerId="ADAL" clId="{6ECD27E6-B224-41CD-B4E0-E297462320DD}" dt="2023-11-24T11:37:32.638" v="132607"/>
          <ac:spMkLst>
            <pc:docMk/>
            <pc:sldMk cId="3975964758" sldId="2147478571"/>
            <ac:spMk id="867" creationId="{2A796E13-B0EE-BAC9-AEEA-A4F90CDEED77}"/>
          </ac:spMkLst>
        </pc:spChg>
        <pc:spChg chg="add del mod">
          <ac:chgData name="Steiner Andreas 6206 ED" userId="e6377c33-a923-4f14-8587-531c474c7b48" providerId="ADAL" clId="{6ECD27E6-B224-41CD-B4E0-E297462320DD}" dt="2023-11-24T11:37:35.534" v="132762"/>
          <ac:spMkLst>
            <pc:docMk/>
            <pc:sldMk cId="3975964758" sldId="2147478571"/>
            <ac:spMk id="868" creationId="{0993DE10-012B-3AB8-D2D9-FCC7951D3EE8}"/>
          </ac:spMkLst>
        </pc:spChg>
        <pc:spChg chg="add del mod">
          <ac:chgData name="Steiner Andreas 6206 ED" userId="e6377c33-a923-4f14-8587-531c474c7b48" providerId="ADAL" clId="{6ECD27E6-B224-41CD-B4E0-E297462320DD}" dt="2023-11-24T11:37:38.231" v="132917"/>
          <ac:spMkLst>
            <pc:docMk/>
            <pc:sldMk cId="3975964758" sldId="2147478571"/>
            <ac:spMk id="869" creationId="{C767DCC5-D4E1-6049-05B7-44B3204BC930}"/>
          </ac:spMkLst>
        </pc:spChg>
        <pc:spChg chg="add del mod">
          <ac:chgData name="Steiner Andreas 6206 ED" userId="e6377c33-a923-4f14-8587-531c474c7b48" providerId="ADAL" clId="{6ECD27E6-B224-41CD-B4E0-E297462320DD}" dt="2023-11-24T11:37:40.800" v="133072"/>
          <ac:spMkLst>
            <pc:docMk/>
            <pc:sldMk cId="3975964758" sldId="2147478571"/>
            <ac:spMk id="870" creationId="{BA546E28-C1E3-35AF-D8D5-F34BCC7F26F6}"/>
          </ac:spMkLst>
        </pc:spChg>
        <pc:spChg chg="add del mod">
          <ac:chgData name="Steiner Andreas 6206 ED" userId="e6377c33-a923-4f14-8587-531c474c7b48" providerId="ADAL" clId="{6ECD27E6-B224-41CD-B4E0-E297462320DD}" dt="2023-11-24T11:37:43.751" v="133227"/>
          <ac:spMkLst>
            <pc:docMk/>
            <pc:sldMk cId="3975964758" sldId="2147478571"/>
            <ac:spMk id="871" creationId="{E87EA2D3-F57F-B1AD-3500-19E9EF9E200A}"/>
          </ac:spMkLst>
        </pc:spChg>
        <pc:spChg chg="add del mod">
          <ac:chgData name="Steiner Andreas 6206 ED" userId="e6377c33-a923-4f14-8587-531c474c7b48" providerId="ADAL" clId="{6ECD27E6-B224-41CD-B4E0-E297462320DD}" dt="2023-11-24T11:37:47.862" v="133382"/>
          <ac:spMkLst>
            <pc:docMk/>
            <pc:sldMk cId="3975964758" sldId="2147478571"/>
            <ac:spMk id="872" creationId="{E0D07E6E-0EFC-C518-E7E2-948EA137737F}"/>
          </ac:spMkLst>
        </pc:spChg>
        <pc:spChg chg="add del mod">
          <ac:chgData name="Steiner Andreas 6206 ED" userId="e6377c33-a923-4f14-8587-531c474c7b48" providerId="ADAL" clId="{6ECD27E6-B224-41CD-B4E0-E297462320DD}" dt="2023-11-24T11:37:51.082" v="133537"/>
          <ac:spMkLst>
            <pc:docMk/>
            <pc:sldMk cId="3975964758" sldId="2147478571"/>
            <ac:spMk id="873" creationId="{FB86C230-2485-FCA0-ED2D-7A4F34F679FC}"/>
          </ac:spMkLst>
        </pc:spChg>
        <pc:spChg chg="add del mod">
          <ac:chgData name="Steiner Andreas 6206 ED" userId="e6377c33-a923-4f14-8587-531c474c7b48" providerId="ADAL" clId="{6ECD27E6-B224-41CD-B4E0-E297462320DD}" dt="2023-11-24T11:37:54.026" v="133692"/>
          <ac:spMkLst>
            <pc:docMk/>
            <pc:sldMk cId="3975964758" sldId="2147478571"/>
            <ac:spMk id="874" creationId="{30220B1C-5CD5-4B8F-D03B-A812C076B622}"/>
          </ac:spMkLst>
        </pc:spChg>
        <pc:spChg chg="add del mod">
          <ac:chgData name="Steiner Andreas 6206 ED" userId="e6377c33-a923-4f14-8587-531c474c7b48" providerId="ADAL" clId="{6ECD27E6-B224-41CD-B4E0-E297462320DD}" dt="2023-11-24T11:37:56.360" v="133847"/>
          <ac:spMkLst>
            <pc:docMk/>
            <pc:sldMk cId="3975964758" sldId="2147478571"/>
            <ac:spMk id="875" creationId="{7F4DA1F6-4AE3-A528-8211-C5617D68E500}"/>
          </ac:spMkLst>
        </pc:spChg>
        <pc:spChg chg="add del mod">
          <ac:chgData name="Steiner Andreas 6206 ED" userId="e6377c33-a923-4f14-8587-531c474c7b48" providerId="ADAL" clId="{6ECD27E6-B224-41CD-B4E0-E297462320DD}" dt="2023-11-24T11:37:58.971" v="134002"/>
          <ac:spMkLst>
            <pc:docMk/>
            <pc:sldMk cId="3975964758" sldId="2147478571"/>
            <ac:spMk id="876" creationId="{7445F963-AFAE-6AAF-F0DC-4BC452133C44}"/>
          </ac:spMkLst>
        </pc:spChg>
        <pc:spChg chg="add del mod">
          <ac:chgData name="Steiner Andreas 6206 ED" userId="e6377c33-a923-4f14-8587-531c474c7b48" providerId="ADAL" clId="{6ECD27E6-B224-41CD-B4E0-E297462320DD}" dt="2023-11-24T11:38:01.245" v="134157"/>
          <ac:spMkLst>
            <pc:docMk/>
            <pc:sldMk cId="3975964758" sldId="2147478571"/>
            <ac:spMk id="877" creationId="{C83DF35A-F8F5-E1D4-3108-61FB1A88F3E9}"/>
          </ac:spMkLst>
        </pc:spChg>
        <pc:spChg chg="add del mod">
          <ac:chgData name="Steiner Andreas 6206 ED" userId="e6377c33-a923-4f14-8587-531c474c7b48" providerId="ADAL" clId="{6ECD27E6-B224-41CD-B4E0-E297462320DD}" dt="2023-11-24T11:38:03.791" v="134312"/>
          <ac:spMkLst>
            <pc:docMk/>
            <pc:sldMk cId="3975964758" sldId="2147478571"/>
            <ac:spMk id="878" creationId="{2341282E-91D8-6FBD-1F06-42D80B4EE893}"/>
          </ac:spMkLst>
        </pc:spChg>
        <pc:spChg chg="add del mod">
          <ac:chgData name="Steiner Andreas 6206 ED" userId="e6377c33-a923-4f14-8587-531c474c7b48" providerId="ADAL" clId="{6ECD27E6-B224-41CD-B4E0-E297462320DD}" dt="2023-11-24T11:38:06.105" v="134467"/>
          <ac:spMkLst>
            <pc:docMk/>
            <pc:sldMk cId="3975964758" sldId="2147478571"/>
            <ac:spMk id="879" creationId="{EBA367A3-78B6-4CDF-F344-8251206D8275}"/>
          </ac:spMkLst>
        </pc:spChg>
        <pc:spChg chg="add del mod">
          <ac:chgData name="Steiner Andreas 6206 ED" userId="e6377c33-a923-4f14-8587-531c474c7b48" providerId="ADAL" clId="{6ECD27E6-B224-41CD-B4E0-E297462320DD}" dt="2023-11-24T11:38:08.889" v="134622"/>
          <ac:spMkLst>
            <pc:docMk/>
            <pc:sldMk cId="3975964758" sldId="2147478571"/>
            <ac:spMk id="880" creationId="{4490C76A-D156-F5C3-C696-E0605042EE6D}"/>
          </ac:spMkLst>
        </pc:spChg>
        <pc:spChg chg="add del mod">
          <ac:chgData name="Steiner Andreas 6206 ED" userId="e6377c33-a923-4f14-8587-531c474c7b48" providerId="ADAL" clId="{6ECD27E6-B224-41CD-B4E0-E297462320DD}" dt="2023-11-24T11:38:11.872" v="134777"/>
          <ac:spMkLst>
            <pc:docMk/>
            <pc:sldMk cId="3975964758" sldId="2147478571"/>
            <ac:spMk id="881" creationId="{DAA5E017-A4E3-A837-1116-5999A153F9A2}"/>
          </ac:spMkLst>
        </pc:spChg>
        <pc:spChg chg="add del mod">
          <ac:chgData name="Steiner Andreas 6206 ED" userId="e6377c33-a923-4f14-8587-531c474c7b48" providerId="ADAL" clId="{6ECD27E6-B224-41CD-B4E0-E297462320DD}" dt="2023-11-24T11:38:14.094" v="134932"/>
          <ac:spMkLst>
            <pc:docMk/>
            <pc:sldMk cId="3975964758" sldId="2147478571"/>
            <ac:spMk id="882" creationId="{B6D7291B-3D50-A5AC-1CD7-C58323FFEC20}"/>
          </ac:spMkLst>
        </pc:spChg>
        <pc:spChg chg="add del mod">
          <ac:chgData name="Steiner Andreas 6206 ED" userId="e6377c33-a923-4f14-8587-531c474c7b48" providerId="ADAL" clId="{6ECD27E6-B224-41CD-B4E0-E297462320DD}" dt="2023-11-24T11:38:16.592" v="135087"/>
          <ac:spMkLst>
            <pc:docMk/>
            <pc:sldMk cId="3975964758" sldId="2147478571"/>
            <ac:spMk id="883" creationId="{CA0918F2-142B-DBCF-82AE-4E545792E432}"/>
          </ac:spMkLst>
        </pc:spChg>
        <pc:spChg chg="add del mod">
          <ac:chgData name="Steiner Andreas 6206 ED" userId="e6377c33-a923-4f14-8587-531c474c7b48" providerId="ADAL" clId="{6ECD27E6-B224-41CD-B4E0-E297462320DD}" dt="2023-11-24T11:38:19.287" v="135242"/>
          <ac:spMkLst>
            <pc:docMk/>
            <pc:sldMk cId="3975964758" sldId="2147478571"/>
            <ac:spMk id="884" creationId="{39864A8E-825C-7D49-F8EC-018E56C12FE2}"/>
          </ac:spMkLst>
        </pc:spChg>
        <pc:spChg chg="add del mod">
          <ac:chgData name="Steiner Andreas 6206 ED" userId="e6377c33-a923-4f14-8587-531c474c7b48" providerId="ADAL" clId="{6ECD27E6-B224-41CD-B4E0-E297462320DD}" dt="2023-11-24T11:38:21.950" v="135397"/>
          <ac:spMkLst>
            <pc:docMk/>
            <pc:sldMk cId="3975964758" sldId="2147478571"/>
            <ac:spMk id="885" creationId="{BFFD69FF-3D98-82C2-2954-A09BFD0A3D30}"/>
          </ac:spMkLst>
        </pc:spChg>
        <pc:spChg chg="add del mod">
          <ac:chgData name="Steiner Andreas 6206 ED" userId="e6377c33-a923-4f14-8587-531c474c7b48" providerId="ADAL" clId="{6ECD27E6-B224-41CD-B4E0-E297462320DD}" dt="2023-11-24T11:38:24.804" v="135552"/>
          <ac:spMkLst>
            <pc:docMk/>
            <pc:sldMk cId="3975964758" sldId="2147478571"/>
            <ac:spMk id="886" creationId="{BD3BDF3D-45F9-6504-0AFB-82F6904F4DB5}"/>
          </ac:spMkLst>
        </pc:spChg>
        <pc:spChg chg="add del mod">
          <ac:chgData name="Steiner Andreas 6206 ED" userId="e6377c33-a923-4f14-8587-531c474c7b48" providerId="ADAL" clId="{6ECD27E6-B224-41CD-B4E0-E297462320DD}" dt="2023-11-24T11:38:27.574" v="135707"/>
          <ac:spMkLst>
            <pc:docMk/>
            <pc:sldMk cId="3975964758" sldId="2147478571"/>
            <ac:spMk id="887" creationId="{37BFE510-02C8-E7C5-296B-307BD133A586}"/>
          </ac:spMkLst>
        </pc:spChg>
        <pc:spChg chg="add del mod">
          <ac:chgData name="Steiner Andreas 6206 ED" userId="e6377c33-a923-4f14-8587-531c474c7b48" providerId="ADAL" clId="{6ECD27E6-B224-41CD-B4E0-E297462320DD}" dt="2023-11-24T11:38:30.223" v="135862"/>
          <ac:spMkLst>
            <pc:docMk/>
            <pc:sldMk cId="3975964758" sldId="2147478571"/>
            <ac:spMk id="888" creationId="{26ACFE56-76A5-E27E-41ED-513D9B753070}"/>
          </ac:spMkLst>
        </pc:spChg>
        <pc:spChg chg="add del mod">
          <ac:chgData name="Steiner Andreas 6206 ED" userId="e6377c33-a923-4f14-8587-531c474c7b48" providerId="ADAL" clId="{6ECD27E6-B224-41CD-B4E0-E297462320DD}" dt="2023-11-24T11:38:32.581" v="136017"/>
          <ac:spMkLst>
            <pc:docMk/>
            <pc:sldMk cId="3975964758" sldId="2147478571"/>
            <ac:spMk id="889" creationId="{AC97BF8A-1B9F-248E-DE56-8725242FC41D}"/>
          </ac:spMkLst>
        </pc:spChg>
        <pc:spChg chg="add del mod">
          <ac:chgData name="Steiner Andreas 6206 ED" userId="e6377c33-a923-4f14-8587-531c474c7b48" providerId="ADAL" clId="{6ECD27E6-B224-41CD-B4E0-E297462320DD}" dt="2023-11-24T11:38:35.080" v="136172"/>
          <ac:spMkLst>
            <pc:docMk/>
            <pc:sldMk cId="3975964758" sldId="2147478571"/>
            <ac:spMk id="890" creationId="{E047B747-C4FD-19CC-6470-8231E2596D16}"/>
          </ac:spMkLst>
        </pc:spChg>
        <pc:spChg chg="add del mod">
          <ac:chgData name="Steiner Andreas 6206 ED" userId="e6377c33-a923-4f14-8587-531c474c7b48" providerId="ADAL" clId="{6ECD27E6-B224-41CD-B4E0-E297462320DD}" dt="2023-11-24T11:38:37.762" v="136327"/>
          <ac:spMkLst>
            <pc:docMk/>
            <pc:sldMk cId="3975964758" sldId="2147478571"/>
            <ac:spMk id="891" creationId="{173E3368-F165-3744-9026-6CAF11ED0E35}"/>
          </ac:spMkLst>
        </pc:spChg>
        <pc:spChg chg="add del mod">
          <ac:chgData name="Steiner Andreas 6206 ED" userId="e6377c33-a923-4f14-8587-531c474c7b48" providerId="ADAL" clId="{6ECD27E6-B224-41CD-B4E0-E297462320DD}" dt="2023-11-24T11:38:40.484" v="136482"/>
          <ac:spMkLst>
            <pc:docMk/>
            <pc:sldMk cId="3975964758" sldId="2147478571"/>
            <ac:spMk id="892" creationId="{7B90E7E3-76FF-D213-37CF-802CA624DDB9}"/>
          </ac:spMkLst>
        </pc:spChg>
        <pc:spChg chg="add del mod">
          <ac:chgData name="Steiner Andreas 6206 ED" userId="e6377c33-a923-4f14-8587-531c474c7b48" providerId="ADAL" clId="{6ECD27E6-B224-41CD-B4E0-E297462320DD}" dt="2023-11-24T11:38:42.873" v="136637"/>
          <ac:spMkLst>
            <pc:docMk/>
            <pc:sldMk cId="3975964758" sldId="2147478571"/>
            <ac:spMk id="893" creationId="{46FABA2D-8873-11D5-4F73-1A8462711369}"/>
          </ac:spMkLst>
        </pc:spChg>
        <pc:spChg chg="add del mod">
          <ac:chgData name="Steiner Andreas 6206 ED" userId="e6377c33-a923-4f14-8587-531c474c7b48" providerId="ADAL" clId="{6ECD27E6-B224-41CD-B4E0-E297462320DD}" dt="2023-11-24T11:38:45.254" v="136792"/>
          <ac:spMkLst>
            <pc:docMk/>
            <pc:sldMk cId="3975964758" sldId="2147478571"/>
            <ac:spMk id="894" creationId="{C3A5A69E-4CE8-F496-7266-631468091BB5}"/>
          </ac:spMkLst>
        </pc:spChg>
        <pc:spChg chg="add del mod">
          <ac:chgData name="Steiner Andreas 6206 ED" userId="e6377c33-a923-4f14-8587-531c474c7b48" providerId="ADAL" clId="{6ECD27E6-B224-41CD-B4E0-E297462320DD}" dt="2023-11-24T11:38:47.627" v="136947"/>
          <ac:spMkLst>
            <pc:docMk/>
            <pc:sldMk cId="3975964758" sldId="2147478571"/>
            <ac:spMk id="895" creationId="{D7F3EFCA-B7F2-3515-7301-7957B7CBB6A3}"/>
          </ac:spMkLst>
        </pc:spChg>
        <pc:spChg chg="add del mod">
          <ac:chgData name="Steiner Andreas 6206 ED" userId="e6377c33-a923-4f14-8587-531c474c7b48" providerId="ADAL" clId="{6ECD27E6-B224-41CD-B4E0-E297462320DD}" dt="2023-11-24T11:38:50.628" v="137102"/>
          <ac:spMkLst>
            <pc:docMk/>
            <pc:sldMk cId="3975964758" sldId="2147478571"/>
            <ac:spMk id="896" creationId="{CCCF581B-FA9F-37F9-B4D9-B37B00A88B55}"/>
          </ac:spMkLst>
        </pc:spChg>
        <pc:spChg chg="add del mod">
          <ac:chgData name="Steiner Andreas 6206 ED" userId="e6377c33-a923-4f14-8587-531c474c7b48" providerId="ADAL" clId="{6ECD27E6-B224-41CD-B4E0-E297462320DD}" dt="2023-11-24T11:38:53.063" v="137257"/>
          <ac:spMkLst>
            <pc:docMk/>
            <pc:sldMk cId="3975964758" sldId="2147478571"/>
            <ac:spMk id="897" creationId="{14F8FF8C-9C8F-9710-04F2-7CB556DB09E4}"/>
          </ac:spMkLst>
        </pc:spChg>
        <pc:spChg chg="add del mod">
          <ac:chgData name="Steiner Andreas 6206 ED" userId="e6377c33-a923-4f14-8587-531c474c7b48" providerId="ADAL" clId="{6ECD27E6-B224-41CD-B4E0-E297462320DD}" dt="2023-11-24T11:38:55.548" v="137412"/>
          <ac:spMkLst>
            <pc:docMk/>
            <pc:sldMk cId="3975964758" sldId="2147478571"/>
            <ac:spMk id="898" creationId="{833B93A7-9184-1DD9-B2C0-4BE2EA9D56A2}"/>
          </ac:spMkLst>
        </pc:spChg>
        <pc:spChg chg="add del mod">
          <ac:chgData name="Steiner Andreas 6206 ED" userId="e6377c33-a923-4f14-8587-531c474c7b48" providerId="ADAL" clId="{6ECD27E6-B224-41CD-B4E0-E297462320DD}" dt="2023-11-24T11:38:58.157" v="137567"/>
          <ac:spMkLst>
            <pc:docMk/>
            <pc:sldMk cId="3975964758" sldId="2147478571"/>
            <ac:spMk id="899" creationId="{9F0DC9CA-D5BD-9D40-A031-5A6E105AA946}"/>
          </ac:spMkLst>
        </pc:spChg>
        <pc:spChg chg="add del mod">
          <ac:chgData name="Steiner Andreas 6206 ED" userId="e6377c33-a923-4f14-8587-531c474c7b48" providerId="ADAL" clId="{6ECD27E6-B224-41CD-B4E0-E297462320DD}" dt="2023-11-24T11:39:00.388" v="137722"/>
          <ac:spMkLst>
            <pc:docMk/>
            <pc:sldMk cId="3975964758" sldId="2147478571"/>
            <ac:spMk id="900" creationId="{A549DC85-DC25-1668-1FB8-09000EFB5FC9}"/>
          </ac:spMkLst>
        </pc:spChg>
        <pc:spChg chg="add del mod">
          <ac:chgData name="Steiner Andreas 6206 ED" userId="e6377c33-a923-4f14-8587-531c474c7b48" providerId="ADAL" clId="{6ECD27E6-B224-41CD-B4E0-E297462320DD}" dt="2023-11-24T11:39:03.381" v="137877"/>
          <ac:spMkLst>
            <pc:docMk/>
            <pc:sldMk cId="3975964758" sldId="2147478571"/>
            <ac:spMk id="901" creationId="{3E46B6B2-6EEE-9E66-98FF-B5D580AC99F5}"/>
          </ac:spMkLst>
        </pc:spChg>
        <pc:spChg chg="add del mod">
          <ac:chgData name="Steiner Andreas 6206 ED" userId="e6377c33-a923-4f14-8587-531c474c7b48" providerId="ADAL" clId="{6ECD27E6-B224-41CD-B4E0-E297462320DD}" dt="2023-11-24T11:39:06.091" v="138032"/>
          <ac:spMkLst>
            <pc:docMk/>
            <pc:sldMk cId="3975964758" sldId="2147478571"/>
            <ac:spMk id="902" creationId="{8E72DE9C-DD65-1206-E4DD-08B87C3EF091}"/>
          </ac:spMkLst>
        </pc:spChg>
        <pc:spChg chg="add del mod">
          <ac:chgData name="Steiner Andreas 6206 ED" userId="e6377c33-a923-4f14-8587-531c474c7b48" providerId="ADAL" clId="{6ECD27E6-B224-41CD-B4E0-E297462320DD}" dt="2023-11-24T11:39:08.591" v="138187"/>
          <ac:spMkLst>
            <pc:docMk/>
            <pc:sldMk cId="3975964758" sldId="2147478571"/>
            <ac:spMk id="903" creationId="{A6AA68B0-72E2-1627-067C-101E58B46CC4}"/>
          </ac:spMkLst>
        </pc:spChg>
        <pc:spChg chg="add del mod">
          <ac:chgData name="Steiner Andreas 6206 ED" userId="e6377c33-a923-4f14-8587-531c474c7b48" providerId="ADAL" clId="{6ECD27E6-B224-41CD-B4E0-E297462320DD}" dt="2023-11-24T11:39:10.940" v="138342"/>
          <ac:spMkLst>
            <pc:docMk/>
            <pc:sldMk cId="3975964758" sldId="2147478571"/>
            <ac:spMk id="904" creationId="{391F53F1-B1D5-98C1-4033-E3A9D1618A67}"/>
          </ac:spMkLst>
        </pc:spChg>
        <pc:spChg chg="add del mod">
          <ac:chgData name="Steiner Andreas 6206 ED" userId="e6377c33-a923-4f14-8587-531c474c7b48" providerId="ADAL" clId="{6ECD27E6-B224-41CD-B4E0-E297462320DD}" dt="2023-11-24T11:39:13.398" v="138497"/>
          <ac:spMkLst>
            <pc:docMk/>
            <pc:sldMk cId="3975964758" sldId="2147478571"/>
            <ac:spMk id="905" creationId="{60BC469F-E4FA-ED1C-A395-D86530D8B77C}"/>
          </ac:spMkLst>
        </pc:spChg>
        <pc:spChg chg="add del mod">
          <ac:chgData name="Steiner Andreas 6206 ED" userId="e6377c33-a923-4f14-8587-531c474c7b48" providerId="ADAL" clId="{6ECD27E6-B224-41CD-B4E0-E297462320DD}" dt="2023-11-24T11:39:16.096" v="138652"/>
          <ac:spMkLst>
            <pc:docMk/>
            <pc:sldMk cId="3975964758" sldId="2147478571"/>
            <ac:spMk id="906" creationId="{A7636E1B-491F-703D-6448-78FCE999CDBE}"/>
          </ac:spMkLst>
        </pc:spChg>
        <pc:spChg chg="add del mod">
          <ac:chgData name="Steiner Andreas 6206 ED" userId="e6377c33-a923-4f14-8587-531c474c7b48" providerId="ADAL" clId="{6ECD27E6-B224-41CD-B4E0-E297462320DD}" dt="2023-11-24T11:39:18.952" v="138807"/>
          <ac:spMkLst>
            <pc:docMk/>
            <pc:sldMk cId="3975964758" sldId="2147478571"/>
            <ac:spMk id="907" creationId="{70ED2E17-A85F-76BF-3959-DF82AAAB2606}"/>
          </ac:spMkLst>
        </pc:spChg>
        <pc:spChg chg="add del mod">
          <ac:chgData name="Steiner Andreas 6206 ED" userId="e6377c33-a923-4f14-8587-531c474c7b48" providerId="ADAL" clId="{6ECD27E6-B224-41CD-B4E0-E297462320DD}" dt="2023-11-24T11:39:21.599" v="138962"/>
          <ac:spMkLst>
            <pc:docMk/>
            <pc:sldMk cId="3975964758" sldId="2147478571"/>
            <ac:spMk id="908" creationId="{1CA115B4-E4AF-E96D-4B5F-E1726153432D}"/>
          </ac:spMkLst>
        </pc:spChg>
        <pc:spChg chg="add del mod">
          <ac:chgData name="Steiner Andreas 6206 ED" userId="e6377c33-a923-4f14-8587-531c474c7b48" providerId="ADAL" clId="{6ECD27E6-B224-41CD-B4E0-E297462320DD}" dt="2023-11-24T11:39:24.169" v="139117"/>
          <ac:spMkLst>
            <pc:docMk/>
            <pc:sldMk cId="3975964758" sldId="2147478571"/>
            <ac:spMk id="909" creationId="{BBC5FAEC-2D18-0D94-B1A4-0330F53E57AB}"/>
          </ac:spMkLst>
        </pc:spChg>
        <pc:spChg chg="add del mod">
          <ac:chgData name="Steiner Andreas 6206 ED" userId="e6377c33-a923-4f14-8587-531c474c7b48" providerId="ADAL" clId="{6ECD27E6-B224-41CD-B4E0-E297462320DD}" dt="2023-11-24T11:39:26.916" v="139272"/>
          <ac:spMkLst>
            <pc:docMk/>
            <pc:sldMk cId="3975964758" sldId="2147478571"/>
            <ac:spMk id="910" creationId="{B47F30A9-1B4E-7581-9357-97ECB1FD775D}"/>
          </ac:spMkLst>
        </pc:spChg>
        <pc:spChg chg="add del mod">
          <ac:chgData name="Steiner Andreas 6206 ED" userId="e6377c33-a923-4f14-8587-531c474c7b48" providerId="ADAL" clId="{6ECD27E6-B224-41CD-B4E0-E297462320DD}" dt="2023-11-24T11:39:29.570" v="139427"/>
          <ac:spMkLst>
            <pc:docMk/>
            <pc:sldMk cId="3975964758" sldId="2147478571"/>
            <ac:spMk id="911" creationId="{BEBE185C-80BD-F285-0A44-760FF2423C23}"/>
          </ac:spMkLst>
        </pc:spChg>
        <pc:spChg chg="add del mod">
          <ac:chgData name="Steiner Andreas 6206 ED" userId="e6377c33-a923-4f14-8587-531c474c7b48" providerId="ADAL" clId="{6ECD27E6-B224-41CD-B4E0-E297462320DD}" dt="2023-11-24T11:39:32.574" v="139582"/>
          <ac:spMkLst>
            <pc:docMk/>
            <pc:sldMk cId="3975964758" sldId="2147478571"/>
            <ac:spMk id="912" creationId="{CE82CA8B-3AC5-2D25-B73B-BCFF4C54B835}"/>
          </ac:spMkLst>
        </pc:spChg>
        <pc:spChg chg="add del mod">
          <ac:chgData name="Steiner Andreas 6206 ED" userId="e6377c33-a923-4f14-8587-531c474c7b48" providerId="ADAL" clId="{6ECD27E6-B224-41CD-B4E0-E297462320DD}" dt="2023-11-24T11:39:35.289" v="139737"/>
          <ac:spMkLst>
            <pc:docMk/>
            <pc:sldMk cId="3975964758" sldId="2147478571"/>
            <ac:spMk id="913" creationId="{5F755A39-A17F-8F69-9712-F5243B7D9AFA}"/>
          </ac:spMkLst>
        </pc:spChg>
        <pc:spChg chg="add del mod">
          <ac:chgData name="Steiner Andreas 6206 ED" userId="e6377c33-a923-4f14-8587-531c474c7b48" providerId="ADAL" clId="{6ECD27E6-B224-41CD-B4E0-E297462320DD}" dt="2023-11-24T11:39:38.228" v="139892"/>
          <ac:spMkLst>
            <pc:docMk/>
            <pc:sldMk cId="3975964758" sldId="2147478571"/>
            <ac:spMk id="914" creationId="{9DE6C713-3B0F-8AFB-5EA3-23258AAE9876}"/>
          </ac:spMkLst>
        </pc:spChg>
        <pc:spChg chg="add del mod">
          <ac:chgData name="Steiner Andreas 6206 ED" userId="e6377c33-a923-4f14-8587-531c474c7b48" providerId="ADAL" clId="{6ECD27E6-B224-41CD-B4E0-E297462320DD}" dt="2023-11-24T11:39:40.903" v="140047"/>
          <ac:spMkLst>
            <pc:docMk/>
            <pc:sldMk cId="3975964758" sldId="2147478571"/>
            <ac:spMk id="915" creationId="{FE2E1A6E-48CF-9ABC-37E8-18533BF351F0}"/>
          </ac:spMkLst>
        </pc:spChg>
        <pc:spChg chg="add del mod">
          <ac:chgData name="Steiner Andreas 6206 ED" userId="e6377c33-a923-4f14-8587-531c474c7b48" providerId="ADAL" clId="{6ECD27E6-B224-41CD-B4E0-E297462320DD}" dt="2023-11-24T11:39:43.480" v="140202"/>
          <ac:spMkLst>
            <pc:docMk/>
            <pc:sldMk cId="3975964758" sldId="2147478571"/>
            <ac:spMk id="916" creationId="{F918FE66-723D-CE0D-A0CD-FBA9AEEF5389}"/>
          </ac:spMkLst>
        </pc:spChg>
        <pc:spChg chg="add del mod">
          <ac:chgData name="Steiner Andreas 6206 ED" userId="e6377c33-a923-4f14-8587-531c474c7b48" providerId="ADAL" clId="{6ECD27E6-B224-41CD-B4E0-E297462320DD}" dt="2023-11-24T11:39:46.101" v="140357"/>
          <ac:spMkLst>
            <pc:docMk/>
            <pc:sldMk cId="3975964758" sldId="2147478571"/>
            <ac:spMk id="917" creationId="{F901023D-6116-7DB6-891B-B95A1298E7B7}"/>
          </ac:spMkLst>
        </pc:spChg>
        <pc:spChg chg="add del mod">
          <ac:chgData name="Steiner Andreas 6206 ED" userId="e6377c33-a923-4f14-8587-531c474c7b48" providerId="ADAL" clId="{6ECD27E6-B224-41CD-B4E0-E297462320DD}" dt="2023-11-24T11:39:48.529" v="140512"/>
          <ac:spMkLst>
            <pc:docMk/>
            <pc:sldMk cId="3975964758" sldId="2147478571"/>
            <ac:spMk id="918" creationId="{FD6B4D98-F2F4-CD41-58F2-39D0CA332834}"/>
          </ac:spMkLst>
        </pc:spChg>
        <pc:spChg chg="add del mod">
          <ac:chgData name="Steiner Andreas 6206 ED" userId="e6377c33-a923-4f14-8587-531c474c7b48" providerId="ADAL" clId="{6ECD27E6-B224-41CD-B4E0-E297462320DD}" dt="2023-11-24T11:39:51.532" v="140667"/>
          <ac:spMkLst>
            <pc:docMk/>
            <pc:sldMk cId="3975964758" sldId="2147478571"/>
            <ac:spMk id="919" creationId="{D536AA6F-179B-A2D8-C6E9-3344F51238CD}"/>
          </ac:spMkLst>
        </pc:spChg>
        <pc:spChg chg="add del mod">
          <ac:chgData name="Steiner Andreas 6206 ED" userId="e6377c33-a923-4f14-8587-531c474c7b48" providerId="ADAL" clId="{6ECD27E6-B224-41CD-B4E0-E297462320DD}" dt="2023-11-24T11:39:54.420" v="140822"/>
          <ac:spMkLst>
            <pc:docMk/>
            <pc:sldMk cId="3975964758" sldId="2147478571"/>
            <ac:spMk id="920" creationId="{58D6A94F-FA21-F39B-26C7-93B047CB9ABB}"/>
          </ac:spMkLst>
        </pc:spChg>
        <pc:spChg chg="add del mod">
          <ac:chgData name="Steiner Andreas 6206 ED" userId="e6377c33-a923-4f14-8587-531c474c7b48" providerId="ADAL" clId="{6ECD27E6-B224-41CD-B4E0-E297462320DD}" dt="2023-11-24T11:39:56.923" v="140977"/>
          <ac:spMkLst>
            <pc:docMk/>
            <pc:sldMk cId="3975964758" sldId="2147478571"/>
            <ac:spMk id="921" creationId="{FA4EEF36-BFB6-5874-54A7-1FC567E59915}"/>
          </ac:spMkLst>
        </pc:spChg>
        <pc:spChg chg="add del mod">
          <ac:chgData name="Steiner Andreas 6206 ED" userId="e6377c33-a923-4f14-8587-531c474c7b48" providerId="ADAL" clId="{6ECD27E6-B224-41CD-B4E0-E297462320DD}" dt="2023-11-24T11:39:59.297" v="141132"/>
          <ac:spMkLst>
            <pc:docMk/>
            <pc:sldMk cId="3975964758" sldId="2147478571"/>
            <ac:spMk id="922" creationId="{0A667DE1-9084-2E20-AD1E-49D656F43D98}"/>
          </ac:spMkLst>
        </pc:spChg>
        <pc:spChg chg="add del mod">
          <ac:chgData name="Steiner Andreas 6206 ED" userId="e6377c33-a923-4f14-8587-531c474c7b48" providerId="ADAL" clId="{6ECD27E6-B224-41CD-B4E0-E297462320DD}" dt="2023-11-24T11:40:02.013" v="141287"/>
          <ac:spMkLst>
            <pc:docMk/>
            <pc:sldMk cId="3975964758" sldId="2147478571"/>
            <ac:spMk id="923" creationId="{9E27B813-B38B-381D-7FEA-178A7D041155}"/>
          </ac:spMkLst>
        </pc:spChg>
        <pc:spChg chg="add del mod">
          <ac:chgData name="Steiner Andreas 6206 ED" userId="e6377c33-a923-4f14-8587-531c474c7b48" providerId="ADAL" clId="{6ECD27E6-B224-41CD-B4E0-E297462320DD}" dt="2023-11-24T11:40:04.891" v="141442"/>
          <ac:spMkLst>
            <pc:docMk/>
            <pc:sldMk cId="3975964758" sldId="2147478571"/>
            <ac:spMk id="924" creationId="{FDE2D197-88ED-0E07-97CF-D765D67EEAF1}"/>
          </ac:spMkLst>
        </pc:spChg>
        <pc:spChg chg="add del mod">
          <ac:chgData name="Steiner Andreas 6206 ED" userId="e6377c33-a923-4f14-8587-531c474c7b48" providerId="ADAL" clId="{6ECD27E6-B224-41CD-B4E0-E297462320DD}" dt="2023-11-24T11:40:07.666" v="141597"/>
          <ac:spMkLst>
            <pc:docMk/>
            <pc:sldMk cId="3975964758" sldId="2147478571"/>
            <ac:spMk id="925" creationId="{D60A49C7-87F9-3793-245E-FAD57AB5C5AD}"/>
          </ac:spMkLst>
        </pc:spChg>
        <pc:spChg chg="add del mod">
          <ac:chgData name="Steiner Andreas 6206 ED" userId="e6377c33-a923-4f14-8587-531c474c7b48" providerId="ADAL" clId="{6ECD27E6-B224-41CD-B4E0-E297462320DD}" dt="2023-11-24T11:40:10.089" v="141752"/>
          <ac:spMkLst>
            <pc:docMk/>
            <pc:sldMk cId="3975964758" sldId="2147478571"/>
            <ac:spMk id="926" creationId="{BE00FE91-906A-6C70-7842-3DD916B7AD0D}"/>
          </ac:spMkLst>
        </pc:spChg>
        <pc:spChg chg="add del mod">
          <ac:chgData name="Steiner Andreas 6206 ED" userId="e6377c33-a923-4f14-8587-531c474c7b48" providerId="ADAL" clId="{6ECD27E6-B224-41CD-B4E0-E297462320DD}" dt="2023-11-24T11:40:12.570" v="141907"/>
          <ac:spMkLst>
            <pc:docMk/>
            <pc:sldMk cId="3975964758" sldId="2147478571"/>
            <ac:spMk id="927" creationId="{DDB4A76B-BA1E-2FED-1037-FC552296BA8A}"/>
          </ac:spMkLst>
        </pc:spChg>
        <pc:spChg chg="add del mod">
          <ac:chgData name="Steiner Andreas 6206 ED" userId="e6377c33-a923-4f14-8587-531c474c7b48" providerId="ADAL" clId="{6ECD27E6-B224-41CD-B4E0-E297462320DD}" dt="2023-11-24T11:40:16.225" v="142062"/>
          <ac:spMkLst>
            <pc:docMk/>
            <pc:sldMk cId="3975964758" sldId="2147478571"/>
            <ac:spMk id="928" creationId="{AC150A2A-C620-81DD-4523-453107DAB4E1}"/>
          </ac:spMkLst>
        </pc:spChg>
        <pc:spChg chg="add del mod">
          <ac:chgData name="Steiner Andreas 6206 ED" userId="e6377c33-a923-4f14-8587-531c474c7b48" providerId="ADAL" clId="{6ECD27E6-B224-41CD-B4E0-E297462320DD}" dt="2023-11-24T11:40:19.640" v="142217"/>
          <ac:spMkLst>
            <pc:docMk/>
            <pc:sldMk cId="3975964758" sldId="2147478571"/>
            <ac:spMk id="929" creationId="{DDCE8FEB-8763-BBA7-DFB4-1368FBF7C5AF}"/>
          </ac:spMkLst>
        </pc:spChg>
        <pc:spChg chg="add del mod">
          <ac:chgData name="Steiner Andreas 6206 ED" userId="e6377c33-a923-4f14-8587-531c474c7b48" providerId="ADAL" clId="{6ECD27E6-B224-41CD-B4E0-E297462320DD}" dt="2023-11-24T11:40:22.469" v="142372"/>
          <ac:spMkLst>
            <pc:docMk/>
            <pc:sldMk cId="3975964758" sldId="2147478571"/>
            <ac:spMk id="930" creationId="{02813EAD-DF31-8ED9-56D3-DA867805EA14}"/>
          </ac:spMkLst>
        </pc:spChg>
        <pc:spChg chg="add del mod">
          <ac:chgData name="Steiner Andreas 6206 ED" userId="e6377c33-a923-4f14-8587-531c474c7b48" providerId="ADAL" clId="{6ECD27E6-B224-41CD-B4E0-E297462320DD}" dt="2023-11-24T11:40:25.147" v="142527"/>
          <ac:spMkLst>
            <pc:docMk/>
            <pc:sldMk cId="3975964758" sldId="2147478571"/>
            <ac:spMk id="931" creationId="{496C57AD-AB44-D479-7C63-43D8C57EDC14}"/>
          </ac:spMkLst>
        </pc:spChg>
        <pc:spChg chg="add del mod">
          <ac:chgData name="Steiner Andreas 6206 ED" userId="e6377c33-a923-4f14-8587-531c474c7b48" providerId="ADAL" clId="{6ECD27E6-B224-41CD-B4E0-E297462320DD}" dt="2023-11-24T11:40:28.243" v="142682"/>
          <ac:spMkLst>
            <pc:docMk/>
            <pc:sldMk cId="3975964758" sldId="2147478571"/>
            <ac:spMk id="932" creationId="{566EBEC6-9771-2CE5-6DD9-7CDFC267FEFF}"/>
          </ac:spMkLst>
        </pc:spChg>
        <pc:spChg chg="add del mod">
          <ac:chgData name="Steiner Andreas 6206 ED" userId="e6377c33-a923-4f14-8587-531c474c7b48" providerId="ADAL" clId="{6ECD27E6-B224-41CD-B4E0-E297462320DD}" dt="2023-11-24T11:40:30.945" v="142837"/>
          <ac:spMkLst>
            <pc:docMk/>
            <pc:sldMk cId="3975964758" sldId="2147478571"/>
            <ac:spMk id="933" creationId="{4A6CE98E-D32C-67CE-7576-EAAE025B2F43}"/>
          </ac:spMkLst>
        </pc:spChg>
        <pc:spChg chg="add del mod">
          <ac:chgData name="Steiner Andreas 6206 ED" userId="e6377c33-a923-4f14-8587-531c474c7b48" providerId="ADAL" clId="{6ECD27E6-B224-41CD-B4E0-E297462320DD}" dt="2023-11-24T11:40:33.497" v="142992"/>
          <ac:spMkLst>
            <pc:docMk/>
            <pc:sldMk cId="3975964758" sldId="2147478571"/>
            <ac:spMk id="934" creationId="{D23AC604-7DFE-CE2A-B466-5652FD2195D0}"/>
          </ac:spMkLst>
        </pc:spChg>
        <pc:spChg chg="add del mod">
          <ac:chgData name="Steiner Andreas 6206 ED" userId="e6377c33-a923-4f14-8587-531c474c7b48" providerId="ADAL" clId="{6ECD27E6-B224-41CD-B4E0-E297462320DD}" dt="2023-11-24T11:40:36.177" v="143147"/>
          <ac:spMkLst>
            <pc:docMk/>
            <pc:sldMk cId="3975964758" sldId="2147478571"/>
            <ac:spMk id="935" creationId="{5CFC0B04-69FA-8B31-977E-4DA71A89250D}"/>
          </ac:spMkLst>
        </pc:spChg>
        <pc:spChg chg="add del mod">
          <ac:chgData name="Steiner Andreas 6206 ED" userId="e6377c33-a923-4f14-8587-531c474c7b48" providerId="ADAL" clId="{6ECD27E6-B224-41CD-B4E0-E297462320DD}" dt="2023-11-24T11:40:39.219" v="143302"/>
          <ac:spMkLst>
            <pc:docMk/>
            <pc:sldMk cId="3975964758" sldId="2147478571"/>
            <ac:spMk id="936" creationId="{C3F0FD5E-9466-1D04-AAA7-70F6CEFE1242}"/>
          </ac:spMkLst>
        </pc:spChg>
        <pc:spChg chg="add del mod">
          <ac:chgData name="Steiner Andreas 6206 ED" userId="e6377c33-a923-4f14-8587-531c474c7b48" providerId="ADAL" clId="{6ECD27E6-B224-41CD-B4E0-E297462320DD}" dt="2023-11-24T11:40:42.232" v="143457"/>
          <ac:spMkLst>
            <pc:docMk/>
            <pc:sldMk cId="3975964758" sldId="2147478571"/>
            <ac:spMk id="937" creationId="{486053A8-7C41-93C8-A5EE-E73A6723A2E6}"/>
          </ac:spMkLst>
        </pc:spChg>
        <pc:spChg chg="add del mod">
          <ac:chgData name="Steiner Andreas 6206 ED" userId="e6377c33-a923-4f14-8587-531c474c7b48" providerId="ADAL" clId="{6ECD27E6-B224-41CD-B4E0-E297462320DD}" dt="2023-11-24T11:40:44.904" v="143612"/>
          <ac:spMkLst>
            <pc:docMk/>
            <pc:sldMk cId="3975964758" sldId="2147478571"/>
            <ac:spMk id="938" creationId="{DDEEAB89-A9DA-7522-39F9-E3DFCCD3AC5C}"/>
          </ac:spMkLst>
        </pc:spChg>
        <pc:spChg chg="add del mod">
          <ac:chgData name="Steiner Andreas 6206 ED" userId="e6377c33-a923-4f14-8587-531c474c7b48" providerId="ADAL" clId="{6ECD27E6-B224-41CD-B4E0-E297462320DD}" dt="2023-11-24T11:40:47.657" v="143767"/>
          <ac:spMkLst>
            <pc:docMk/>
            <pc:sldMk cId="3975964758" sldId="2147478571"/>
            <ac:spMk id="939" creationId="{FA488054-77A5-C3BE-C95C-72678D606480}"/>
          </ac:spMkLst>
        </pc:spChg>
        <pc:spChg chg="add del mod">
          <ac:chgData name="Steiner Andreas 6206 ED" userId="e6377c33-a923-4f14-8587-531c474c7b48" providerId="ADAL" clId="{6ECD27E6-B224-41CD-B4E0-E297462320DD}" dt="2023-11-24T11:40:50.415" v="143922"/>
          <ac:spMkLst>
            <pc:docMk/>
            <pc:sldMk cId="3975964758" sldId="2147478571"/>
            <ac:spMk id="940" creationId="{76F35E77-A125-D0F5-A7F5-A91D749518CD}"/>
          </ac:spMkLst>
        </pc:spChg>
        <pc:spChg chg="add del mod">
          <ac:chgData name="Steiner Andreas 6206 ED" userId="e6377c33-a923-4f14-8587-531c474c7b48" providerId="ADAL" clId="{6ECD27E6-B224-41CD-B4E0-E297462320DD}" dt="2023-11-24T11:40:53.283" v="144077"/>
          <ac:spMkLst>
            <pc:docMk/>
            <pc:sldMk cId="3975964758" sldId="2147478571"/>
            <ac:spMk id="941" creationId="{1E5A32A7-82B7-8C13-5484-76438B6E62AC}"/>
          </ac:spMkLst>
        </pc:spChg>
        <pc:spChg chg="add del mod">
          <ac:chgData name="Steiner Andreas 6206 ED" userId="e6377c33-a923-4f14-8587-531c474c7b48" providerId="ADAL" clId="{6ECD27E6-B224-41CD-B4E0-E297462320DD}" dt="2023-11-24T11:40:55.959" v="144232"/>
          <ac:spMkLst>
            <pc:docMk/>
            <pc:sldMk cId="3975964758" sldId="2147478571"/>
            <ac:spMk id="942" creationId="{CE9D23C9-FC27-3679-54EB-0CD9190B2EA6}"/>
          </ac:spMkLst>
        </pc:spChg>
        <pc:spChg chg="add del mod">
          <ac:chgData name="Steiner Andreas 6206 ED" userId="e6377c33-a923-4f14-8587-531c474c7b48" providerId="ADAL" clId="{6ECD27E6-B224-41CD-B4E0-E297462320DD}" dt="2023-11-24T11:40:58.539" v="144387"/>
          <ac:spMkLst>
            <pc:docMk/>
            <pc:sldMk cId="3975964758" sldId="2147478571"/>
            <ac:spMk id="943" creationId="{A45558B6-1C96-DA0B-8A53-491CF21F08B3}"/>
          </ac:spMkLst>
        </pc:spChg>
        <pc:spChg chg="add del mod">
          <ac:chgData name="Steiner Andreas 6206 ED" userId="e6377c33-a923-4f14-8587-531c474c7b48" providerId="ADAL" clId="{6ECD27E6-B224-41CD-B4E0-E297462320DD}" dt="2023-11-24T11:41:01.126" v="144542"/>
          <ac:spMkLst>
            <pc:docMk/>
            <pc:sldMk cId="3975964758" sldId="2147478571"/>
            <ac:spMk id="944" creationId="{C24880EE-A827-7B76-5D06-7050DA48A64C}"/>
          </ac:spMkLst>
        </pc:spChg>
        <pc:spChg chg="add del mod">
          <ac:chgData name="Steiner Andreas 6206 ED" userId="e6377c33-a923-4f14-8587-531c474c7b48" providerId="ADAL" clId="{6ECD27E6-B224-41CD-B4E0-E297462320DD}" dt="2023-11-24T11:41:03.755" v="144697"/>
          <ac:spMkLst>
            <pc:docMk/>
            <pc:sldMk cId="3975964758" sldId="2147478571"/>
            <ac:spMk id="945" creationId="{85A487E3-D407-82F8-C2FF-8CD708FE3111}"/>
          </ac:spMkLst>
        </pc:spChg>
        <pc:spChg chg="add del mod">
          <ac:chgData name="Steiner Andreas 6206 ED" userId="e6377c33-a923-4f14-8587-531c474c7b48" providerId="ADAL" clId="{6ECD27E6-B224-41CD-B4E0-E297462320DD}" dt="2023-11-24T11:41:06.911" v="144852"/>
          <ac:spMkLst>
            <pc:docMk/>
            <pc:sldMk cId="3975964758" sldId="2147478571"/>
            <ac:spMk id="946" creationId="{BD7738B5-F5E4-E662-C583-A13578E41822}"/>
          </ac:spMkLst>
        </pc:spChg>
        <pc:spChg chg="add del mod">
          <ac:chgData name="Steiner Andreas 6206 ED" userId="e6377c33-a923-4f14-8587-531c474c7b48" providerId="ADAL" clId="{6ECD27E6-B224-41CD-B4E0-E297462320DD}" dt="2023-11-24T11:41:10.041" v="145007"/>
          <ac:spMkLst>
            <pc:docMk/>
            <pc:sldMk cId="3975964758" sldId="2147478571"/>
            <ac:spMk id="947" creationId="{09A564C7-22C3-ABA5-B453-B8AD5CF16C96}"/>
          </ac:spMkLst>
        </pc:spChg>
        <pc:spChg chg="add del mod">
          <ac:chgData name="Steiner Andreas 6206 ED" userId="e6377c33-a923-4f14-8587-531c474c7b48" providerId="ADAL" clId="{6ECD27E6-B224-41CD-B4E0-E297462320DD}" dt="2023-11-24T11:41:12.885" v="145162"/>
          <ac:spMkLst>
            <pc:docMk/>
            <pc:sldMk cId="3975964758" sldId="2147478571"/>
            <ac:spMk id="948" creationId="{3DF7C71B-9F2F-988F-2E95-CFD9C928CC5F}"/>
          </ac:spMkLst>
        </pc:spChg>
        <pc:spChg chg="add del mod">
          <ac:chgData name="Steiner Andreas 6206 ED" userId="e6377c33-a923-4f14-8587-531c474c7b48" providerId="ADAL" clId="{6ECD27E6-B224-41CD-B4E0-E297462320DD}" dt="2023-11-24T11:41:15.881" v="145317"/>
          <ac:spMkLst>
            <pc:docMk/>
            <pc:sldMk cId="3975964758" sldId="2147478571"/>
            <ac:spMk id="949" creationId="{4A1DA2C1-2E5E-8A32-F381-C79FF12A1E64}"/>
          </ac:spMkLst>
        </pc:spChg>
        <pc:spChg chg="add del mod">
          <ac:chgData name="Steiner Andreas 6206 ED" userId="e6377c33-a923-4f14-8587-531c474c7b48" providerId="ADAL" clId="{6ECD27E6-B224-41CD-B4E0-E297462320DD}" dt="2023-11-24T11:41:19.143" v="145472"/>
          <ac:spMkLst>
            <pc:docMk/>
            <pc:sldMk cId="3975964758" sldId="2147478571"/>
            <ac:spMk id="950" creationId="{A8ED24C0-127C-B05D-F10C-049F9B852BEA}"/>
          </ac:spMkLst>
        </pc:spChg>
        <pc:spChg chg="add del mod">
          <ac:chgData name="Steiner Andreas 6206 ED" userId="e6377c33-a923-4f14-8587-531c474c7b48" providerId="ADAL" clId="{6ECD27E6-B224-41CD-B4E0-E297462320DD}" dt="2023-11-24T11:41:21.683" v="145627"/>
          <ac:spMkLst>
            <pc:docMk/>
            <pc:sldMk cId="3975964758" sldId="2147478571"/>
            <ac:spMk id="951" creationId="{8DE9BE63-4024-F486-DF3E-93646084D2D0}"/>
          </ac:spMkLst>
        </pc:spChg>
        <pc:spChg chg="add del mod">
          <ac:chgData name="Steiner Andreas 6206 ED" userId="e6377c33-a923-4f14-8587-531c474c7b48" providerId="ADAL" clId="{6ECD27E6-B224-41CD-B4E0-E297462320DD}" dt="2023-11-24T11:41:25.570" v="145782"/>
          <ac:spMkLst>
            <pc:docMk/>
            <pc:sldMk cId="3975964758" sldId="2147478571"/>
            <ac:spMk id="952" creationId="{A1120ADE-AB38-787D-A1CD-04ED76108C72}"/>
          </ac:spMkLst>
        </pc:spChg>
        <pc:spChg chg="add del mod">
          <ac:chgData name="Steiner Andreas 6206 ED" userId="e6377c33-a923-4f14-8587-531c474c7b48" providerId="ADAL" clId="{6ECD27E6-B224-41CD-B4E0-E297462320DD}" dt="2023-11-24T11:41:28.542" v="145937"/>
          <ac:spMkLst>
            <pc:docMk/>
            <pc:sldMk cId="3975964758" sldId="2147478571"/>
            <ac:spMk id="953" creationId="{C813FBBF-E61E-E021-4BE6-0686A172E0F0}"/>
          </ac:spMkLst>
        </pc:spChg>
        <pc:spChg chg="add del mod">
          <ac:chgData name="Steiner Andreas 6206 ED" userId="e6377c33-a923-4f14-8587-531c474c7b48" providerId="ADAL" clId="{6ECD27E6-B224-41CD-B4E0-E297462320DD}" dt="2023-11-24T11:41:31.295" v="146092"/>
          <ac:spMkLst>
            <pc:docMk/>
            <pc:sldMk cId="3975964758" sldId="2147478571"/>
            <ac:spMk id="954" creationId="{D8660849-7AA5-796B-CE15-34C4C43E0A64}"/>
          </ac:spMkLst>
        </pc:spChg>
        <pc:spChg chg="add del mod">
          <ac:chgData name="Steiner Andreas 6206 ED" userId="e6377c33-a923-4f14-8587-531c474c7b48" providerId="ADAL" clId="{6ECD27E6-B224-41CD-B4E0-E297462320DD}" dt="2023-11-24T11:41:33.483" v="146247"/>
          <ac:spMkLst>
            <pc:docMk/>
            <pc:sldMk cId="3975964758" sldId="2147478571"/>
            <ac:spMk id="955" creationId="{0BB36B8D-3C0A-7154-B1F8-2D0D5FD1DF94}"/>
          </ac:spMkLst>
        </pc:spChg>
        <pc:spChg chg="add del mod">
          <ac:chgData name="Steiner Andreas 6206 ED" userId="e6377c33-a923-4f14-8587-531c474c7b48" providerId="ADAL" clId="{6ECD27E6-B224-41CD-B4E0-E297462320DD}" dt="2023-11-24T11:41:35.603" v="146402"/>
          <ac:spMkLst>
            <pc:docMk/>
            <pc:sldMk cId="3975964758" sldId="2147478571"/>
            <ac:spMk id="956" creationId="{A4ECF8DF-FD7B-A2E2-9A73-A0356F80CB90}"/>
          </ac:spMkLst>
        </pc:spChg>
        <pc:spChg chg="add del mod">
          <ac:chgData name="Steiner Andreas 6206 ED" userId="e6377c33-a923-4f14-8587-531c474c7b48" providerId="ADAL" clId="{6ECD27E6-B224-41CD-B4E0-E297462320DD}" dt="2023-11-24T11:41:37.812" v="146557"/>
          <ac:spMkLst>
            <pc:docMk/>
            <pc:sldMk cId="3975964758" sldId="2147478571"/>
            <ac:spMk id="957" creationId="{7ED269F5-7979-1927-D50F-A6AA05ED1FF1}"/>
          </ac:spMkLst>
        </pc:spChg>
        <pc:spChg chg="add del mod">
          <ac:chgData name="Steiner Andreas 6206 ED" userId="e6377c33-a923-4f14-8587-531c474c7b48" providerId="ADAL" clId="{6ECD27E6-B224-41CD-B4E0-E297462320DD}" dt="2023-11-24T11:41:40.548" v="146712"/>
          <ac:spMkLst>
            <pc:docMk/>
            <pc:sldMk cId="3975964758" sldId="2147478571"/>
            <ac:spMk id="958" creationId="{68A913F5-AD49-B95D-C595-157C37725413}"/>
          </ac:spMkLst>
        </pc:spChg>
        <pc:spChg chg="add del mod">
          <ac:chgData name="Steiner Andreas 6206 ED" userId="e6377c33-a923-4f14-8587-531c474c7b48" providerId="ADAL" clId="{6ECD27E6-B224-41CD-B4E0-E297462320DD}" dt="2023-11-24T11:41:42.749" v="146867"/>
          <ac:spMkLst>
            <pc:docMk/>
            <pc:sldMk cId="3975964758" sldId="2147478571"/>
            <ac:spMk id="959" creationId="{8F689B24-F9CC-4CF2-AA3E-D2FFB7C64E72}"/>
          </ac:spMkLst>
        </pc:spChg>
        <pc:spChg chg="add del mod">
          <ac:chgData name="Steiner Andreas 6206 ED" userId="e6377c33-a923-4f14-8587-531c474c7b48" providerId="ADAL" clId="{6ECD27E6-B224-41CD-B4E0-E297462320DD}" dt="2023-11-24T11:41:44.821" v="147022"/>
          <ac:spMkLst>
            <pc:docMk/>
            <pc:sldMk cId="3975964758" sldId="2147478571"/>
            <ac:spMk id="960" creationId="{651179E1-3F0D-F3B1-5023-EFFF1B6CE37F}"/>
          </ac:spMkLst>
        </pc:spChg>
        <pc:spChg chg="add del mod">
          <ac:chgData name="Steiner Andreas 6206 ED" userId="e6377c33-a923-4f14-8587-531c474c7b48" providerId="ADAL" clId="{6ECD27E6-B224-41CD-B4E0-E297462320DD}" dt="2023-11-24T11:41:47.307" v="147177"/>
          <ac:spMkLst>
            <pc:docMk/>
            <pc:sldMk cId="3975964758" sldId="2147478571"/>
            <ac:spMk id="961" creationId="{F67A8CD7-8576-1259-610E-47946670743D}"/>
          </ac:spMkLst>
        </pc:spChg>
        <pc:spChg chg="add del mod">
          <ac:chgData name="Steiner Andreas 6206 ED" userId="e6377c33-a923-4f14-8587-531c474c7b48" providerId="ADAL" clId="{6ECD27E6-B224-41CD-B4E0-E297462320DD}" dt="2023-11-24T11:41:49.426" v="147332"/>
          <ac:spMkLst>
            <pc:docMk/>
            <pc:sldMk cId="3975964758" sldId="2147478571"/>
            <ac:spMk id="962" creationId="{B71F87A7-2697-2FCA-C177-DE502014B2C1}"/>
          </ac:spMkLst>
        </pc:spChg>
        <pc:spChg chg="add del mod">
          <ac:chgData name="Steiner Andreas 6206 ED" userId="e6377c33-a923-4f14-8587-531c474c7b48" providerId="ADAL" clId="{6ECD27E6-B224-41CD-B4E0-E297462320DD}" dt="2023-11-24T11:41:51.745" v="147487"/>
          <ac:spMkLst>
            <pc:docMk/>
            <pc:sldMk cId="3975964758" sldId="2147478571"/>
            <ac:spMk id="963" creationId="{F611C7F9-E4E2-CA5D-7C89-7FC2AD82C2B5}"/>
          </ac:spMkLst>
        </pc:spChg>
        <pc:spChg chg="add del mod">
          <ac:chgData name="Steiner Andreas 6206 ED" userId="e6377c33-a923-4f14-8587-531c474c7b48" providerId="ADAL" clId="{6ECD27E6-B224-41CD-B4E0-E297462320DD}" dt="2023-11-24T11:41:54.194" v="147642"/>
          <ac:spMkLst>
            <pc:docMk/>
            <pc:sldMk cId="3975964758" sldId="2147478571"/>
            <ac:spMk id="964" creationId="{5E6CC8CC-4441-5028-28F0-D489A20FBA22}"/>
          </ac:spMkLst>
        </pc:spChg>
        <pc:spChg chg="add del mod">
          <ac:chgData name="Steiner Andreas 6206 ED" userId="e6377c33-a923-4f14-8587-531c474c7b48" providerId="ADAL" clId="{6ECD27E6-B224-41CD-B4E0-E297462320DD}" dt="2023-11-24T11:41:57.249" v="147797"/>
          <ac:spMkLst>
            <pc:docMk/>
            <pc:sldMk cId="3975964758" sldId="2147478571"/>
            <ac:spMk id="965" creationId="{23416971-1C59-E949-2013-AC52AD68C1A6}"/>
          </ac:spMkLst>
        </pc:spChg>
        <pc:spChg chg="add del mod">
          <ac:chgData name="Steiner Andreas 6206 ED" userId="e6377c33-a923-4f14-8587-531c474c7b48" providerId="ADAL" clId="{6ECD27E6-B224-41CD-B4E0-E297462320DD}" dt="2023-11-24T11:42:00.599" v="147952"/>
          <ac:spMkLst>
            <pc:docMk/>
            <pc:sldMk cId="3975964758" sldId="2147478571"/>
            <ac:spMk id="966" creationId="{9CEB504F-C736-AF1C-6999-49DEC994B3F8}"/>
          </ac:spMkLst>
        </pc:spChg>
        <pc:spChg chg="add del mod">
          <ac:chgData name="Steiner Andreas 6206 ED" userId="e6377c33-a923-4f14-8587-531c474c7b48" providerId="ADAL" clId="{6ECD27E6-B224-41CD-B4E0-E297462320DD}" dt="2023-11-24T11:42:03.956" v="148107"/>
          <ac:spMkLst>
            <pc:docMk/>
            <pc:sldMk cId="3975964758" sldId="2147478571"/>
            <ac:spMk id="967" creationId="{0D078EED-8521-D292-FD76-A0A4BE37DC6E}"/>
          </ac:spMkLst>
        </pc:spChg>
        <pc:spChg chg="add del mod">
          <ac:chgData name="Steiner Andreas 6206 ED" userId="e6377c33-a923-4f14-8587-531c474c7b48" providerId="ADAL" clId="{6ECD27E6-B224-41CD-B4E0-E297462320DD}" dt="2023-11-24T11:42:06.455" v="148262"/>
          <ac:spMkLst>
            <pc:docMk/>
            <pc:sldMk cId="3975964758" sldId="2147478571"/>
            <ac:spMk id="968" creationId="{752A960D-5F6C-CA8D-B945-222C71928FAF}"/>
          </ac:spMkLst>
        </pc:spChg>
        <pc:spChg chg="add del mod">
          <ac:chgData name="Steiner Andreas 6206 ED" userId="e6377c33-a923-4f14-8587-531c474c7b48" providerId="ADAL" clId="{6ECD27E6-B224-41CD-B4E0-E297462320DD}" dt="2023-11-24T11:42:08.724" v="148417"/>
          <ac:spMkLst>
            <pc:docMk/>
            <pc:sldMk cId="3975964758" sldId="2147478571"/>
            <ac:spMk id="969" creationId="{651F68FA-9423-400F-584B-D54567F9E64E}"/>
          </ac:spMkLst>
        </pc:spChg>
        <pc:spChg chg="add del mod">
          <ac:chgData name="Steiner Andreas 6206 ED" userId="e6377c33-a923-4f14-8587-531c474c7b48" providerId="ADAL" clId="{6ECD27E6-B224-41CD-B4E0-E297462320DD}" dt="2023-11-24T11:42:11.312" v="148572"/>
          <ac:spMkLst>
            <pc:docMk/>
            <pc:sldMk cId="3975964758" sldId="2147478571"/>
            <ac:spMk id="970" creationId="{D42247CC-F9E5-D863-B724-B98405567FEE}"/>
          </ac:spMkLst>
        </pc:spChg>
        <pc:spChg chg="add del mod">
          <ac:chgData name="Steiner Andreas 6206 ED" userId="e6377c33-a923-4f14-8587-531c474c7b48" providerId="ADAL" clId="{6ECD27E6-B224-41CD-B4E0-E297462320DD}" dt="2023-11-24T11:42:13.906" v="148727"/>
          <ac:spMkLst>
            <pc:docMk/>
            <pc:sldMk cId="3975964758" sldId="2147478571"/>
            <ac:spMk id="971" creationId="{8755A6D7-FAA8-C5D9-5E30-925B8972DF6B}"/>
          </ac:spMkLst>
        </pc:spChg>
        <pc:spChg chg="add del mod">
          <ac:chgData name="Steiner Andreas 6206 ED" userId="e6377c33-a923-4f14-8587-531c474c7b48" providerId="ADAL" clId="{6ECD27E6-B224-41CD-B4E0-E297462320DD}" dt="2023-11-24T11:42:16.232" v="148882"/>
          <ac:spMkLst>
            <pc:docMk/>
            <pc:sldMk cId="3975964758" sldId="2147478571"/>
            <ac:spMk id="972" creationId="{39614BE7-279F-64E6-EFDC-98A8CB6F5A47}"/>
          </ac:spMkLst>
        </pc:spChg>
        <pc:spChg chg="add del mod">
          <ac:chgData name="Steiner Andreas 6206 ED" userId="e6377c33-a923-4f14-8587-531c474c7b48" providerId="ADAL" clId="{6ECD27E6-B224-41CD-B4E0-E297462320DD}" dt="2023-11-24T11:42:18.328" v="149037"/>
          <ac:spMkLst>
            <pc:docMk/>
            <pc:sldMk cId="3975964758" sldId="2147478571"/>
            <ac:spMk id="973" creationId="{C9CB8444-7F5D-98DF-E471-7C4B38957D3D}"/>
          </ac:spMkLst>
        </pc:spChg>
        <pc:spChg chg="add del mod">
          <ac:chgData name="Steiner Andreas 6206 ED" userId="e6377c33-a923-4f14-8587-531c474c7b48" providerId="ADAL" clId="{6ECD27E6-B224-41CD-B4E0-E297462320DD}" dt="2023-11-24T11:42:20.391" v="149192"/>
          <ac:spMkLst>
            <pc:docMk/>
            <pc:sldMk cId="3975964758" sldId="2147478571"/>
            <ac:spMk id="974" creationId="{2032C22B-192D-264C-4C7E-D556E6F8BE72}"/>
          </ac:spMkLst>
        </pc:spChg>
        <pc:spChg chg="add del mod">
          <ac:chgData name="Steiner Andreas 6206 ED" userId="e6377c33-a923-4f14-8587-531c474c7b48" providerId="ADAL" clId="{6ECD27E6-B224-41CD-B4E0-E297462320DD}" dt="2023-11-24T11:42:22.473" v="149347"/>
          <ac:spMkLst>
            <pc:docMk/>
            <pc:sldMk cId="3975964758" sldId="2147478571"/>
            <ac:spMk id="975" creationId="{364F84A2-E289-6675-D519-B82481F5BA48}"/>
          </ac:spMkLst>
        </pc:spChg>
        <pc:spChg chg="add del mod">
          <ac:chgData name="Steiner Andreas 6206 ED" userId="e6377c33-a923-4f14-8587-531c474c7b48" providerId="ADAL" clId="{6ECD27E6-B224-41CD-B4E0-E297462320DD}" dt="2023-11-24T11:42:24.396" v="149502"/>
          <ac:spMkLst>
            <pc:docMk/>
            <pc:sldMk cId="3975964758" sldId="2147478571"/>
            <ac:spMk id="976" creationId="{32F08E0E-C8D4-49E4-3852-F2206CE45C5A}"/>
          </ac:spMkLst>
        </pc:spChg>
        <pc:spChg chg="add del mod">
          <ac:chgData name="Steiner Andreas 6206 ED" userId="e6377c33-a923-4f14-8587-531c474c7b48" providerId="ADAL" clId="{6ECD27E6-B224-41CD-B4E0-E297462320DD}" dt="2023-11-24T11:42:26.345" v="149657"/>
          <ac:spMkLst>
            <pc:docMk/>
            <pc:sldMk cId="3975964758" sldId="2147478571"/>
            <ac:spMk id="977" creationId="{B8019E21-8301-D4C9-5C34-4DECDC030B58}"/>
          </ac:spMkLst>
        </pc:spChg>
        <pc:spChg chg="add del mod">
          <ac:chgData name="Steiner Andreas 6206 ED" userId="e6377c33-a923-4f14-8587-531c474c7b48" providerId="ADAL" clId="{6ECD27E6-B224-41CD-B4E0-E297462320DD}" dt="2023-11-24T11:42:29.421" v="149812"/>
          <ac:spMkLst>
            <pc:docMk/>
            <pc:sldMk cId="3975964758" sldId="2147478571"/>
            <ac:spMk id="978" creationId="{A9F3CF2A-418E-0B0C-CF0E-E72D11DBEA30}"/>
          </ac:spMkLst>
        </pc:spChg>
        <pc:spChg chg="add del mod">
          <ac:chgData name="Steiner Andreas 6206 ED" userId="e6377c33-a923-4f14-8587-531c474c7b48" providerId="ADAL" clId="{6ECD27E6-B224-41CD-B4E0-E297462320DD}" dt="2023-11-24T11:42:32.378" v="149967"/>
          <ac:spMkLst>
            <pc:docMk/>
            <pc:sldMk cId="3975964758" sldId="2147478571"/>
            <ac:spMk id="979" creationId="{36B826BF-70A8-B271-7579-B49A41E07A0F}"/>
          </ac:spMkLst>
        </pc:spChg>
        <pc:spChg chg="add del mod">
          <ac:chgData name="Steiner Andreas 6206 ED" userId="e6377c33-a923-4f14-8587-531c474c7b48" providerId="ADAL" clId="{6ECD27E6-B224-41CD-B4E0-E297462320DD}" dt="2023-11-24T11:42:35.676" v="150122"/>
          <ac:spMkLst>
            <pc:docMk/>
            <pc:sldMk cId="3975964758" sldId="2147478571"/>
            <ac:spMk id="980" creationId="{7641124A-1403-EB1D-F52B-E120125C0E6C}"/>
          </ac:spMkLst>
        </pc:spChg>
        <pc:spChg chg="add del mod">
          <ac:chgData name="Steiner Andreas 6206 ED" userId="e6377c33-a923-4f14-8587-531c474c7b48" providerId="ADAL" clId="{6ECD27E6-B224-41CD-B4E0-E297462320DD}" dt="2023-11-24T11:42:38.001" v="150277"/>
          <ac:spMkLst>
            <pc:docMk/>
            <pc:sldMk cId="3975964758" sldId="2147478571"/>
            <ac:spMk id="981" creationId="{3F4B0D27-3745-1B2F-2800-952828B69F7F}"/>
          </ac:spMkLst>
        </pc:spChg>
        <pc:spChg chg="add del mod">
          <ac:chgData name="Steiner Andreas 6206 ED" userId="e6377c33-a923-4f14-8587-531c474c7b48" providerId="ADAL" clId="{6ECD27E6-B224-41CD-B4E0-E297462320DD}" dt="2023-11-24T11:42:40.087" v="150432"/>
          <ac:spMkLst>
            <pc:docMk/>
            <pc:sldMk cId="3975964758" sldId="2147478571"/>
            <ac:spMk id="982" creationId="{D5FE0796-A180-32D4-D83C-963D2D90AB00}"/>
          </ac:spMkLst>
        </pc:spChg>
        <pc:spChg chg="add del mod">
          <ac:chgData name="Steiner Andreas 6206 ED" userId="e6377c33-a923-4f14-8587-531c474c7b48" providerId="ADAL" clId="{6ECD27E6-B224-41CD-B4E0-E297462320DD}" dt="2023-11-24T11:42:42.160" v="150587"/>
          <ac:spMkLst>
            <pc:docMk/>
            <pc:sldMk cId="3975964758" sldId="2147478571"/>
            <ac:spMk id="983" creationId="{E663D2F5-3107-99EC-34C7-ED8F22CB59AF}"/>
          </ac:spMkLst>
        </pc:spChg>
        <pc:spChg chg="add del mod">
          <ac:chgData name="Steiner Andreas 6206 ED" userId="e6377c33-a923-4f14-8587-531c474c7b48" providerId="ADAL" clId="{6ECD27E6-B224-41CD-B4E0-E297462320DD}" dt="2023-11-24T11:42:44.257" v="150742"/>
          <ac:spMkLst>
            <pc:docMk/>
            <pc:sldMk cId="3975964758" sldId="2147478571"/>
            <ac:spMk id="984" creationId="{63077F26-1A04-FC9B-5D70-4A95D9CFD742}"/>
          </ac:spMkLst>
        </pc:spChg>
        <pc:spChg chg="add del mod">
          <ac:chgData name="Steiner Andreas 6206 ED" userId="e6377c33-a923-4f14-8587-531c474c7b48" providerId="ADAL" clId="{6ECD27E6-B224-41CD-B4E0-E297462320DD}" dt="2023-11-24T11:42:46.483" v="150897"/>
          <ac:spMkLst>
            <pc:docMk/>
            <pc:sldMk cId="3975964758" sldId="2147478571"/>
            <ac:spMk id="985" creationId="{1F1DDE9A-8977-7C7C-D9B7-05C33B031FF6}"/>
          </ac:spMkLst>
        </pc:spChg>
        <pc:spChg chg="add del mod">
          <ac:chgData name="Steiner Andreas 6206 ED" userId="e6377c33-a923-4f14-8587-531c474c7b48" providerId="ADAL" clId="{6ECD27E6-B224-41CD-B4E0-E297462320DD}" dt="2023-11-24T11:42:48.745" v="151052"/>
          <ac:spMkLst>
            <pc:docMk/>
            <pc:sldMk cId="3975964758" sldId="2147478571"/>
            <ac:spMk id="986" creationId="{C052C70E-0C5E-46D6-E267-1FDC41DE727D}"/>
          </ac:spMkLst>
        </pc:spChg>
        <pc:spChg chg="add del mod">
          <ac:chgData name="Steiner Andreas 6206 ED" userId="e6377c33-a923-4f14-8587-531c474c7b48" providerId="ADAL" clId="{6ECD27E6-B224-41CD-B4E0-E297462320DD}" dt="2023-11-24T11:42:50.967" v="151207"/>
          <ac:spMkLst>
            <pc:docMk/>
            <pc:sldMk cId="3975964758" sldId="2147478571"/>
            <ac:spMk id="987" creationId="{4AFC22EC-B5ED-4698-1E84-A48367F0BA4C}"/>
          </ac:spMkLst>
        </pc:spChg>
        <pc:spChg chg="add del mod">
          <ac:chgData name="Steiner Andreas 6206 ED" userId="e6377c33-a923-4f14-8587-531c474c7b48" providerId="ADAL" clId="{6ECD27E6-B224-41CD-B4E0-E297462320DD}" dt="2023-11-24T11:42:53.310" v="151362"/>
          <ac:spMkLst>
            <pc:docMk/>
            <pc:sldMk cId="3975964758" sldId="2147478571"/>
            <ac:spMk id="988" creationId="{89EEECDD-1A9D-73BF-F67C-F0C6839AD816}"/>
          </ac:spMkLst>
        </pc:spChg>
        <pc:spChg chg="add del mod">
          <ac:chgData name="Steiner Andreas 6206 ED" userId="e6377c33-a923-4f14-8587-531c474c7b48" providerId="ADAL" clId="{6ECD27E6-B224-41CD-B4E0-E297462320DD}" dt="2023-11-24T11:42:55.568" v="151517"/>
          <ac:spMkLst>
            <pc:docMk/>
            <pc:sldMk cId="3975964758" sldId="2147478571"/>
            <ac:spMk id="989" creationId="{5BD2B723-CB2D-591F-9F25-703245596D0B}"/>
          </ac:spMkLst>
        </pc:spChg>
        <pc:spChg chg="add del mod">
          <ac:chgData name="Steiner Andreas 6206 ED" userId="e6377c33-a923-4f14-8587-531c474c7b48" providerId="ADAL" clId="{6ECD27E6-B224-41CD-B4E0-E297462320DD}" dt="2023-11-24T11:42:58.008" v="151672"/>
          <ac:spMkLst>
            <pc:docMk/>
            <pc:sldMk cId="3975964758" sldId="2147478571"/>
            <ac:spMk id="990" creationId="{82D07B40-60DB-9F5E-4D60-3F3B66F0B328}"/>
          </ac:spMkLst>
        </pc:spChg>
        <pc:spChg chg="add del mod">
          <ac:chgData name="Steiner Andreas 6206 ED" userId="e6377c33-a923-4f14-8587-531c474c7b48" providerId="ADAL" clId="{6ECD27E6-B224-41CD-B4E0-E297462320DD}" dt="2023-11-24T11:43:01.739" v="151827"/>
          <ac:spMkLst>
            <pc:docMk/>
            <pc:sldMk cId="3975964758" sldId="2147478571"/>
            <ac:spMk id="991" creationId="{828EBED6-9476-C3F2-B60B-E659AD7884C6}"/>
          </ac:spMkLst>
        </pc:spChg>
        <pc:spChg chg="add del mod">
          <ac:chgData name="Steiner Andreas 6206 ED" userId="e6377c33-a923-4f14-8587-531c474c7b48" providerId="ADAL" clId="{6ECD27E6-B224-41CD-B4E0-E297462320DD}" dt="2023-11-24T11:43:04.038" v="151982"/>
          <ac:spMkLst>
            <pc:docMk/>
            <pc:sldMk cId="3975964758" sldId="2147478571"/>
            <ac:spMk id="992" creationId="{2E41935C-95A0-EDE8-5904-82AF6B920B94}"/>
          </ac:spMkLst>
        </pc:spChg>
        <pc:spChg chg="add del mod">
          <ac:chgData name="Steiner Andreas 6206 ED" userId="e6377c33-a923-4f14-8587-531c474c7b48" providerId="ADAL" clId="{6ECD27E6-B224-41CD-B4E0-E297462320DD}" dt="2023-11-24T11:43:06.261" v="152137"/>
          <ac:spMkLst>
            <pc:docMk/>
            <pc:sldMk cId="3975964758" sldId="2147478571"/>
            <ac:spMk id="993" creationId="{2077C001-779D-C992-A623-3A11056342B1}"/>
          </ac:spMkLst>
        </pc:spChg>
        <pc:spChg chg="add del mod">
          <ac:chgData name="Steiner Andreas 6206 ED" userId="e6377c33-a923-4f14-8587-531c474c7b48" providerId="ADAL" clId="{6ECD27E6-B224-41CD-B4E0-E297462320DD}" dt="2023-11-24T11:43:08.364" v="152292"/>
          <ac:spMkLst>
            <pc:docMk/>
            <pc:sldMk cId="3975964758" sldId="2147478571"/>
            <ac:spMk id="994" creationId="{1B53D82F-CF89-C728-CE1A-81236D557C34}"/>
          </ac:spMkLst>
        </pc:spChg>
        <pc:spChg chg="add del mod">
          <ac:chgData name="Steiner Andreas 6206 ED" userId="e6377c33-a923-4f14-8587-531c474c7b48" providerId="ADAL" clId="{6ECD27E6-B224-41CD-B4E0-E297462320DD}" dt="2023-11-24T11:43:10.528" v="152447"/>
          <ac:spMkLst>
            <pc:docMk/>
            <pc:sldMk cId="3975964758" sldId="2147478571"/>
            <ac:spMk id="995" creationId="{B9A5A4D9-9EB1-7F22-14BA-54894436244F}"/>
          </ac:spMkLst>
        </pc:spChg>
        <pc:spChg chg="add del mod">
          <ac:chgData name="Steiner Andreas 6206 ED" userId="e6377c33-a923-4f14-8587-531c474c7b48" providerId="ADAL" clId="{6ECD27E6-B224-41CD-B4E0-E297462320DD}" dt="2023-11-24T11:43:12.743" v="152602"/>
          <ac:spMkLst>
            <pc:docMk/>
            <pc:sldMk cId="3975964758" sldId="2147478571"/>
            <ac:spMk id="996" creationId="{CFBE2C34-2C59-93BE-0DEC-8730C827ADBB}"/>
          </ac:spMkLst>
        </pc:spChg>
        <pc:spChg chg="add del mod">
          <ac:chgData name="Steiner Andreas 6206 ED" userId="e6377c33-a923-4f14-8587-531c474c7b48" providerId="ADAL" clId="{6ECD27E6-B224-41CD-B4E0-E297462320DD}" dt="2023-11-24T11:43:15.059" v="152757"/>
          <ac:spMkLst>
            <pc:docMk/>
            <pc:sldMk cId="3975964758" sldId="2147478571"/>
            <ac:spMk id="997" creationId="{719AE704-4E55-CF60-A1D1-1017E6B48DD8}"/>
          </ac:spMkLst>
        </pc:spChg>
        <pc:spChg chg="add del mod">
          <ac:chgData name="Steiner Andreas 6206 ED" userId="e6377c33-a923-4f14-8587-531c474c7b48" providerId="ADAL" clId="{6ECD27E6-B224-41CD-B4E0-E297462320DD}" dt="2023-11-24T11:43:18.086" v="152912"/>
          <ac:spMkLst>
            <pc:docMk/>
            <pc:sldMk cId="3975964758" sldId="2147478571"/>
            <ac:spMk id="998" creationId="{7788CE0E-A5BF-5A89-0CA7-3A0EEC673FF9}"/>
          </ac:spMkLst>
        </pc:spChg>
        <pc:spChg chg="add del mod">
          <ac:chgData name="Steiner Andreas 6206 ED" userId="e6377c33-a923-4f14-8587-531c474c7b48" providerId="ADAL" clId="{6ECD27E6-B224-41CD-B4E0-E297462320DD}" dt="2023-11-24T11:43:22.267" v="153067"/>
          <ac:spMkLst>
            <pc:docMk/>
            <pc:sldMk cId="3975964758" sldId="2147478571"/>
            <ac:spMk id="999" creationId="{ED11F981-E7C4-8F58-EFD3-90991BFCB5BE}"/>
          </ac:spMkLst>
        </pc:spChg>
        <pc:spChg chg="add del mod">
          <ac:chgData name="Steiner Andreas 6206 ED" userId="e6377c33-a923-4f14-8587-531c474c7b48" providerId="ADAL" clId="{6ECD27E6-B224-41CD-B4E0-E297462320DD}" dt="2023-11-24T11:43:24.761" v="153222"/>
          <ac:spMkLst>
            <pc:docMk/>
            <pc:sldMk cId="3975964758" sldId="2147478571"/>
            <ac:spMk id="1000" creationId="{2B0D69AF-5C6A-FF69-5958-6653671ABB7C}"/>
          </ac:spMkLst>
        </pc:spChg>
        <pc:spChg chg="add del mod">
          <ac:chgData name="Steiner Andreas 6206 ED" userId="e6377c33-a923-4f14-8587-531c474c7b48" providerId="ADAL" clId="{6ECD27E6-B224-41CD-B4E0-E297462320DD}" dt="2023-11-24T11:43:27.041" v="153377"/>
          <ac:spMkLst>
            <pc:docMk/>
            <pc:sldMk cId="3975964758" sldId="2147478571"/>
            <ac:spMk id="1001" creationId="{B63D1058-9C19-33E5-3876-08D49DC5A586}"/>
          </ac:spMkLst>
        </pc:spChg>
        <pc:spChg chg="add del mod">
          <ac:chgData name="Steiner Andreas 6206 ED" userId="e6377c33-a923-4f14-8587-531c474c7b48" providerId="ADAL" clId="{6ECD27E6-B224-41CD-B4E0-E297462320DD}" dt="2023-11-24T11:43:29.304" v="153532"/>
          <ac:spMkLst>
            <pc:docMk/>
            <pc:sldMk cId="3975964758" sldId="2147478571"/>
            <ac:spMk id="1002" creationId="{4CC59BB7-0D4F-CAC5-75E6-4B65371ADBA3}"/>
          </ac:spMkLst>
        </pc:spChg>
        <pc:spChg chg="add del mod">
          <ac:chgData name="Steiner Andreas 6206 ED" userId="e6377c33-a923-4f14-8587-531c474c7b48" providerId="ADAL" clId="{6ECD27E6-B224-41CD-B4E0-E297462320DD}" dt="2023-11-24T11:43:31.552" v="153687"/>
          <ac:spMkLst>
            <pc:docMk/>
            <pc:sldMk cId="3975964758" sldId="2147478571"/>
            <ac:spMk id="1003" creationId="{6B87ADED-0A53-02FA-4ACA-D128BE1EA210}"/>
          </ac:spMkLst>
        </pc:spChg>
        <pc:spChg chg="add del mod">
          <ac:chgData name="Steiner Andreas 6206 ED" userId="e6377c33-a923-4f14-8587-531c474c7b48" providerId="ADAL" clId="{6ECD27E6-B224-41CD-B4E0-E297462320DD}" dt="2023-11-24T11:43:34.244" v="153842"/>
          <ac:spMkLst>
            <pc:docMk/>
            <pc:sldMk cId="3975964758" sldId="2147478571"/>
            <ac:spMk id="1004" creationId="{99385574-87B5-EF2B-C633-40EAB5FEFEA9}"/>
          </ac:spMkLst>
        </pc:spChg>
        <pc:spChg chg="add del mod">
          <ac:chgData name="Steiner Andreas 6206 ED" userId="e6377c33-a923-4f14-8587-531c474c7b48" providerId="ADAL" clId="{6ECD27E6-B224-41CD-B4E0-E297462320DD}" dt="2023-11-24T11:43:36.438" v="153997"/>
          <ac:spMkLst>
            <pc:docMk/>
            <pc:sldMk cId="3975964758" sldId="2147478571"/>
            <ac:spMk id="1005" creationId="{0A439FF1-C5C0-7929-E805-95D642DE1B4D}"/>
          </ac:spMkLst>
        </pc:spChg>
        <pc:spChg chg="add del mod">
          <ac:chgData name="Steiner Andreas 6206 ED" userId="e6377c33-a923-4f14-8587-531c474c7b48" providerId="ADAL" clId="{6ECD27E6-B224-41CD-B4E0-E297462320DD}" dt="2023-11-24T11:43:38.630" v="154152"/>
          <ac:spMkLst>
            <pc:docMk/>
            <pc:sldMk cId="3975964758" sldId="2147478571"/>
            <ac:spMk id="1006" creationId="{DAA33FF6-5E5B-5E0A-5890-72AC3CEFABB9}"/>
          </ac:spMkLst>
        </pc:spChg>
        <pc:spChg chg="add del mod">
          <ac:chgData name="Steiner Andreas 6206 ED" userId="e6377c33-a923-4f14-8587-531c474c7b48" providerId="ADAL" clId="{6ECD27E6-B224-41CD-B4E0-E297462320DD}" dt="2023-11-24T11:43:40.927" v="154307"/>
          <ac:spMkLst>
            <pc:docMk/>
            <pc:sldMk cId="3975964758" sldId="2147478571"/>
            <ac:spMk id="1007" creationId="{EA81B7C3-218B-17C1-4A15-0C58ED08687D}"/>
          </ac:spMkLst>
        </pc:spChg>
        <pc:spChg chg="add del mod">
          <ac:chgData name="Steiner Andreas 6206 ED" userId="e6377c33-a923-4f14-8587-531c474c7b48" providerId="ADAL" clId="{6ECD27E6-B224-41CD-B4E0-E297462320DD}" dt="2023-11-24T11:43:43.919" v="154462"/>
          <ac:spMkLst>
            <pc:docMk/>
            <pc:sldMk cId="3975964758" sldId="2147478571"/>
            <ac:spMk id="1008" creationId="{240CB0D6-A2D6-C6F0-5213-433E5FC87A7D}"/>
          </ac:spMkLst>
        </pc:spChg>
        <pc:spChg chg="add del mod">
          <ac:chgData name="Steiner Andreas 6206 ED" userId="e6377c33-a923-4f14-8587-531c474c7b48" providerId="ADAL" clId="{6ECD27E6-B224-41CD-B4E0-E297462320DD}" dt="2023-11-24T11:43:46.263" v="154617"/>
          <ac:spMkLst>
            <pc:docMk/>
            <pc:sldMk cId="3975964758" sldId="2147478571"/>
            <ac:spMk id="1009" creationId="{6A628878-BD79-E52B-8188-318AC91137A7}"/>
          </ac:spMkLst>
        </pc:spChg>
        <pc:spChg chg="add del mod">
          <ac:chgData name="Steiner Andreas 6206 ED" userId="e6377c33-a923-4f14-8587-531c474c7b48" providerId="ADAL" clId="{6ECD27E6-B224-41CD-B4E0-E297462320DD}" dt="2023-11-24T11:43:48.564" v="154772"/>
          <ac:spMkLst>
            <pc:docMk/>
            <pc:sldMk cId="3975964758" sldId="2147478571"/>
            <ac:spMk id="1010" creationId="{F425CB19-36AC-1E8A-2360-ACC5F67726D9}"/>
          </ac:spMkLst>
        </pc:spChg>
        <pc:spChg chg="add del mod">
          <ac:chgData name="Steiner Andreas 6206 ED" userId="e6377c33-a923-4f14-8587-531c474c7b48" providerId="ADAL" clId="{6ECD27E6-B224-41CD-B4E0-E297462320DD}" dt="2023-11-24T11:43:50.625" v="154927"/>
          <ac:spMkLst>
            <pc:docMk/>
            <pc:sldMk cId="3975964758" sldId="2147478571"/>
            <ac:spMk id="1011" creationId="{BB3BE53B-3A39-223F-F487-E7779093C1B9}"/>
          </ac:spMkLst>
        </pc:spChg>
        <pc:spChg chg="add del mod">
          <ac:chgData name="Steiner Andreas 6206 ED" userId="e6377c33-a923-4f14-8587-531c474c7b48" providerId="ADAL" clId="{6ECD27E6-B224-41CD-B4E0-E297462320DD}" dt="2023-11-24T11:43:52.815" v="155082"/>
          <ac:spMkLst>
            <pc:docMk/>
            <pc:sldMk cId="3975964758" sldId="2147478571"/>
            <ac:spMk id="1012" creationId="{DB09F78F-55D3-B516-6BAA-6A03EFBB6182}"/>
          </ac:spMkLst>
        </pc:spChg>
        <pc:spChg chg="add del mod">
          <ac:chgData name="Steiner Andreas 6206 ED" userId="e6377c33-a923-4f14-8587-531c474c7b48" providerId="ADAL" clId="{6ECD27E6-B224-41CD-B4E0-E297462320DD}" dt="2023-11-24T11:43:55.792" v="155237"/>
          <ac:spMkLst>
            <pc:docMk/>
            <pc:sldMk cId="3975964758" sldId="2147478571"/>
            <ac:spMk id="1013" creationId="{B44F7399-DF7A-7275-FE21-86158251125B}"/>
          </ac:spMkLst>
        </pc:spChg>
        <pc:spChg chg="add del mod">
          <ac:chgData name="Steiner Andreas 6206 ED" userId="e6377c33-a923-4f14-8587-531c474c7b48" providerId="ADAL" clId="{6ECD27E6-B224-41CD-B4E0-E297462320DD}" dt="2023-11-24T11:43:58.148" v="155392"/>
          <ac:spMkLst>
            <pc:docMk/>
            <pc:sldMk cId="3975964758" sldId="2147478571"/>
            <ac:spMk id="1014" creationId="{57384427-9047-5620-F4F2-83CF320F81F9}"/>
          </ac:spMkLst>
        </pc:spChg>
        <pc:spChg chg="add del mod">
          <ac:chgData name="Steiner Andreas 6206 ED" userId="e6377c33-a923-4f14-8587-531c474c7b48" providerId="ADAL" clId="{6ECD27E6-B224-41CD-B4E0-E297462320DD}" dt="2023-11-24T11:44:00.265" v="155547"/>
          <ac:spMkLst>
            <pc:docMk/>
            <pc:sldMk cId="3975964758" sldId="2147478571"/>
            <ac:spMk id="1015" creationId="{96A3EA88-4362-E880-6AD2-1235AAC262A2}"/>
          </ac:spMkLst>
        </pc:spChg>
        <pc:spChg chg="add del mod">
          <ac:chgData name="Steiner Andreas 6206 ED" userId="e6377c33-a923-4f14-8587-531c474c7b48" providerId="ADAL" clId="{6ECD27E6-B224-41CD-B4E0-E297462320DD}" dt="2023-11-24T11:44:02.265" v="155702"/>
          <ac:spMkLst>
            <pc:docMk/>
            <pc:sldMk cId="3975964758" sldId="2147478571"/>
            <ac:spMk id="1016" creationId="{07882C51-3198-5F25-8271-A3A20D4F4FAC}"/>
          </ac:spMkLst>
        </pc:spChg>
        <pc:spChg chg="add del mod">
          <ac:chgData name="Steiner Andreas 6206 ED" userId="e6377c33-a923-4f14-8587-531c474c7b48" providerId="ADAL" clId="{6ECD27E6-B224-41CD-B4E0-E297462320DD}" dt="2023-11-24T11:44:04.322" v="155857"/>
          <ac:spMkLst>
            <pc:docMk/>
            <pc:sldMk cId="3975964758" sldId="2147478571"/>
            <ac:spMk id="1017" creationId="{0FE9425B-BAD6-688D-102F-4DC8258DDD58}"/>
          </ac:spMkLst>
        </pc:spChg>
        <pc:spChg chg="add del mod">
          <ac:chgData name="Steiner Andreas 6206 ED" userId="e6377c33-a923-4f14-8587-531c474c7b48" providerId="ADAL" clId="{6ECD27E6-B224-41CD-B4E0-E297462320DD}" dt="2023-11-24T11:44:06.316" v="156012"/>
          <ac:spMkLst>
            <pc:docMk/>
            <pc:sldMk cId="3975964758" sldId="2147478571"/>
            <ac:spMk id="1018" creationId="{D54E2FC4-C279-0930-3FED-AE8CDCC9B4D4}"/>
          </ac:spMkLst>
        </pc:spChg>
        <pc:spChg chg="add del mod">
          <ac:chgData name="Steiner Andreas 6206 ED" userId="e6377c33-a923-4f14-8587-531c474c7b48" providerId="ADAL" clId="{6ECD27E6-B224-41CD-B4E0-E297462320DD}" dt="2023-11-24T11:44:08.512" v="156167"/>
          <ac:spMkLst>
            <pc:docMk/>
            <pc:sldMk cId="3975964758" sldId="2147478571"/>
            <ac:spMk id="1019" creationId="{B38BC5F4-7E4F-A4F6-C87E-4874618AC793}"/>
          </ac:spMkLst>
        </pc:spChg>
        <pc:spChg chg="add del mod">
          <ac:chgData name="Steiner Andreas 6206 ED" userId="e6377c33-a923-4f14-8587-531c474c7b48" providerId="ADAL" clId="{6ECD27E6-B224-41CD-B4E0-E297462320DD}" dt="2023-11-24T11:44:10.571" v="156322"/>
          <ac:spMkLst>
            <pc:docMk/>
            <pc:sldMk cId="3975964758" sldId="2147478571"/>
            <ac:spMk id="1020" creationId="{D1CE7CC9-7230-B071-2B54-82F194442955}"/>
          </ac:spMkLst>
        </pc:spChg>
        <pc:spChg chg="add del mod">
          <ac:chgData name="Steiner Andreas 6206 ED" userId="e6377c33-a923-4f14-8587-531c474c7b48" providerId="ADAL" clId="{6ECD27E6-B224-41CD-B4E0-E297462320DD}" dt="2023-11-24T11:44:12.561" v="156477"/>
          <ac:spMkLst>
            <pc:docMk/>
            <pc:sldMk cId="3975964758" sldId="2147478571"/>
            <ac:spMk id="1021" creationId="{8C4F8685-BC83-94AC-23C2-0FB6C05075BF}"/>
          </ac:spMkLst>
        </pc:spChg>
        <pc:spChg chg="add del mod">
          <ac:chgData name="Steiner Andreas 6206 ED" userId="e6377c33-a923-4f14-8587-531c474c7b48" providerId="ADAL" clId="{6ECD27E6-B224-41CD-B4E0-E297462320DD}" dt="2023-11-24T11:44:14.565" v="156632"/>
          <ac:spMkLst>
            <pc:docMk/>
            <pc:sldMk cId="3975964758" sldId="2147478571"/>
            <ac:spMk id="1022" creationId="{9FC5D19E-8E43-2D99-EA9F-E13A04A508E9}"/>
          </ac:spMkLst>
        </pc:spChg>
        <pc:spChg chg="add del mod">
          <ac:chgData name="Steiner Andreas 6206 ED" userId="e6377c33-a923-4f14-8587-531c474c7b48" providerId="ADAL" clId="{6ECD27E6-B224-41CD-B4E0-E297462320DD}" dt="2023-11-24T11:44:16.547" v="156787"/>
          <ac:spMkLst>
            <pc:docMk/>
            <pc:sldMk cId="3975964758" sldId="2147478571"/>
            <ac:spMk id="1023" creationId="{6979CB17-F920-5551-5310-4E0DB972A5F3}"/>
          </ac:spMkLst>
        </pc:spChg>
        <pc:spChg chg="add del mod">
          <ac:chgData name="Steiner Andreas 6206 ED" userId="e6377c33-a923-4f14-8587-531c474c7b48" providerId="ADAL" clId="{6ECD27E6-B224-41CD-B4E0-E297462320DD}" dt="2023-11-24T11:44:18.646" v="156942"/>
          <ac:spMkLst>
            <pc:docMk/>
            <pc:sldMk cId="3975964758" sldId="2147478571"/>
            <ac:spMk id="1024" creationId="{BC2E0EB2-8719-882C-6E22-22034F87ED5F}"/>
          </ac:spMkLst>
        </pc:spChg>
        <pc:spChg chg="add del mod">
          <ac:chgData name="Steiner Andreas 6206 ED" userId="e6377c33-a923-4f14-8587-531c474c7b48" providerId="ADAL" clId="{6ECD27E6-B224-41CD-B4E0-E297462320DD}" dt="2023-11-24T11:44:20.771" v="157097"/>
          <ac:spMkLst>
            <pc:docMk/>
            <pc:sldMk cId="3975964758" sldId="2147478571"/>
            <ac:spMk id="1025" creationId="{79B1F287-A91D-F7B1-18D1-C3BB5F506314}"/>
          </ac:spMkLst>
        </pc:spChg>
        <pc:spChg chg="add del mod">
          <ac:chgData name="Steiner Andreas 6206 ED" userId="e6377c33-a923-4f14-8587-531c474c7b48" providerId="ADAL" clId="{6ECD27E6-B224-41CD-B4E0-E297462320DD}" dt="2023-11-24T11:44:23.093" v="157252"/>
          <ac:spMkLst>
            <pc:docMk/>
            <pc:sldMk cId="3975964758" sldId="2147478571"/>
            <ac:spMk id="1026" creationId="{865E0FC2-8904-3BC2-9CEC-734401CEEDF1}"/>
          </ac:spMkLst>
        </pc:spChg>
        <pc:spChg chg="add del mod">
          <ac:chgData name="Steiner Andreas 6206 ED" userId="e6377c33-a923-4f14-8587-531c474c7b48" providerId="ADAL" clId="{6ECD27E6-B224-41CD-B4E0-E297462320DD}" dt="2023-11-24T11:44:25.259" v="157407"/>
          <ac:spMkLst>
            <pc:docMk/>
            <pc:sldMk cId="3975964758" sldId="2147478571"/>
            <ac:spMk id="1027" creationId="{84E83DC4-AC44-869E-34B7-05C31A13B3A9}"/>
          </ac:spMkLst>
        </pc:spChg>
        <pc:spChg chg="add del mod">
          <ac:chgData name="Steiner Andreas 6206 ED" userId="e6377c33-a923-4f14-8587-531c474c7b48" providerId="ADAL" clId="{6ECD27E6-B224-41CD-B4E0-E297462320DD}" dt="2023-11-24T11:44:30.661" v="157562"/>
          <ac:spMkLst>
            <pc:docMk/>
            <pc:sldMk cId="3975964758" sldId="2147478571"/>
            <ac:spMk id="1028" creationId="{9A895B6B-0587-D002-9D17-67A28D4A4D72}"/>
          </ac:spMkLst>
        </pc:spChg>
        <pc:spChg chg="add mod">
          <ac:chgData name="Steiner Andreas 6206 ED" userId="e6377c33-a923-4f14-8587-531c474c7b48" providerId="ADAL" clId="{6ECD27E6-B224-41CD-B4E0-E297462320DD}" dt="2023-11-24T11:44:30.662" v="157563"/>
          <ac:spMkLst>
            <pc:docMk/>
            <pc:sldMk cId="3975964758" sldId="2147478571"/>
            <ac:spMk id="1029" creationId="{467D0BF6-DB3E-932F-A7EF-91409702FFBF}"/>
          </ac:spMkLst>
        </pc:spChg>
      </pc:sldChg>
      <pc:sldChg chg="addSp delSp modSp mod">
        <pc:chgData name="Steiner Andreas 6206 ED" userId="e6377c33-a923-4f14-8587-531c474c7b48" providerId="ADAL" clId="{6ECD27E6-B224-41CD-B4E0-E297462320DD}" dt="2023-11-24T11:44:30.453" v="157528"/>
        <pc:sldMkLst>
          <pc:docMk/>
          <pc:sldMk cId="1033770688" sldId="2147478572"/>
        </pc:sldMkLst>
        <pc:spChg chg="mod">
          <ac:chgData name="Steiner Andreas 6206 ED" userId="e6377c33-a923-4f14-8587-531c474c7b48" providerId="ADAL" clId="{6ECD27E6-B224-41CD-B4E0-E297462320DD}" dt="2023-11-24T11:44:30.437" v="157524" actId="20577"/>
          <ac:spMkLst>
            <pc:docMk/>
            <pc:sldMk cId="1033770688" sldId="2147478572"/>
            <ac:spMk id="3" creationId="{395DC4DF-F772-E3DD-09E2-FAC2C1156DCB}"/>
          </ac:spMkLst>
        </pc:spChg>
        <pc:spChg chg="del">
          <ac:chgData name="Steiner Andreas 6206 ED" userId="e6377c33-a923-4f14-8587-531c474c7b48" providerId="ADAL" clId="{6ECD27E6-B224-41CD-B4E0-E297462320DD}" dt="2023-11-23T19:49:53.379" v="7"/>
          <ac:spMkLst>
            <pc:docMk/>
            <pc:sldMk cId="1033770688" sldId="2147478572"/>
            <ac:spMk id="5" creationId="{630B821C-A7EE-F3A1-7B2B-BA27900218ED}"/>
          </ac:spMkLst>
        </pc:spChg>
        <pc:spChg chg="add del mod">
          <ac:chgData name="Steiner Andreas 6206 ED" userId="e6377c33-a923-4f14-8587-531c474c7b48" providerId="ADAL" clId="{6ECD27E6-B224-41CD-B4E0-E297462320DD}" dt="2023-11-23T19:49:53.380" v="10"/>
          <ac:spMkLst>
            <pc:docMk/>
            <pc:sldMk cId="1033770688" sldId="2147478572"/>
            <ac:spMk id="8" creationId="{C8A24381-F2A2-850A-4547-90183BDE1097}"/>
          </ac:spMkLst>
        </pc:spChg>
        <pc:spChg chg="add del mod">
          <ac:chgData name="Steiner Andreas 6206 ED" userId="e6377c33-a923-4f14-8587-531c474c7b48" providerId="ADAL" clId="{6ECD27E6-B224-41CD-B4E0-E297462320DD}" dt="2023-11-23T19:49:54.316" v="202"/>
          <ac:spMkLst>
            <pc:docMk/>
            <pc:sldMk cId="1033770688" sldId="2147478572"/>
            <ac:spMk id="10" creationId="{8784A231-D496-65E1-9E0C-6933EC3A3304}"/>
          </ac:spMkLst>
        </pc:spChg>
        <pc:spChg chg="add del mod">
          <ac:chgData name="Steiner Andreas 6206 ED" userId="e6377c33-a923-4f14-8587-531c474c7b48" providerId="ADAL" clId="{6ECD27E6-B224-41CD-B4E0-E297462320DD}" dt="2023-11-23T19:50:25.019" v="357"/>
          <ac:spMkLst>
            <pc:docMk/>
            <pc:sldMk cId="1033770688" sldId="2147478572"/>
            <ac:spMk id="11" creationId="{365EFF28-5CC1-DD1B-AD49-97BFA0CC80B1}"/>
          </ac:spMkLst>
        </pc:spChg>
        <pc:spChg chg="add del mod">
          <ac:chgData name="Steiner Andreas 6206 ED" userId="e6377c33-a923-4f14-8587-531c474c7b48" providerId="ADAL" clId="{6ECD27E6-B224-41CD-B4E0-E297462320DD}" dt="2023-11-23T19:50:34.834" v="512"/>
          <ac:spMkLst>
            <pc:docMk/>
            <pc:sldMk cId="1033770688" sldId="2147478572"/>
            <ac:spMk id="12" creationId="{FF03C110-1963-1E3D-2E98-38A12A8963DE}"/>
          </ac:spMkLst>
        </pc:spChg>
        <pc:spChg chg="add del mod">
          <ac:chgData name="Steiner Andreas 6206 ED" userId="e6377c33-a923-4f14-8587-531c474c7b48" providerId="ADAL" clId="{6ECD27E6-B224-41CD-B4E0-E297462320DD}" dt="2023-11-23T19:50:46.504" v="667"/>
          <ac:spMkLst>
            <pc:docMk/>
            <pc:sldMk cId="1033770688" sldId="2147478572"/>
            <ac:spMk id="13" creationId="{5B4B089C-D091-CA23-9B34-67BA7F112E03}"/>
          </ac:spMkLst>
        </pc:spChg>
        <pc:spChg chg="add del mod">
          <ac:chgData name="Steiner Andreas 6206 ED" userId="e6377c33-a923-4f14-8587-531c474c7b48" providerId="ADAL" clId="{6ECD27E6-B224-41CD-B4E0-E297462320DD}" dt="2023-11-23T19:50:58.206" v="822"/>
          <ac:spMkLst>
            <pc:docMk/>
            <pc:sldMk cId="1033770688" sldId="2147478572"/>
            <ac:spMk id="14" creationId="{90C946AB-8AFF-5690-3D2F-8A9043B772C5}"/>
          </ac:spMkLst>
        </pc:spChg>
        <pc:spChg chg="add del mod">
          <ac:chgData name="Steiner Andreas 6206 ED" userId="e6377c33-a923-4f14-8587-531c474c7b48" providerId="ADAL" clId="{6ECD27E6-B224-41CD-B4E0-E297462320DD}" dt="2023-11-23T19:51:08.890" v="977"/>
          <ac:spMkLst>
            <pc:docMk/>
            <pc:sldMk cId="1033770688" sldId="2147478572"/>
            <ac:spMk id="15" creationId="{ED6AC624-DA8E-11EF-0B6C-FB6D05E7BF8F}"/>
          </ac:spMkLst>
        </pc:spChg>
        <pc:spChg chg="add del mod">
          <ac:chgData name="Steiner Andreas 6206 ED" userId="e6377c33-a923-4f14-8587-531c474c7b48" providerId="ADAL" clId="{6ECD27E6-B224-41CD-B4E0-E297462320DD}" dt="2023-11-23T19:51:19.867" v="1132"/>
          <ac:spMkLst>
            <pc:docMk/>
            <pc:sldMk cId="1033770688" sldId="2147478572"/>
            <ac:spMk id="16" creationId="{C68363B7-39AC-E596-06C5-3E82F2C0C810}"/>
          </ac:spMkLst>
        </pc:spChg>
        <pc:spChg chg="add del mod">
          <ac:chgData name="Steiner Andreas 6206 ED" userId="e6377c33-a923-4f14-8587-531c474c7b48" providerId="ADAL" clId="{6ECD27E6-B224-41CD-B4E0-E297462320DD}" dt="2023-11-23T19:51:31.419" v="1287"/>
          <ac:spMkLst>
            <pc:docMk/>
            <pc:sldMk cId="1033770688" sldId="2147478572"/>
            <ac:spMk id="17" creationId="{19C49543-C6BA-14B0-07A2-7DADF06BB886}"/>
          </ac:spMkLst>
        </pc:spChg>
        <pc:spChg chg="add del mod">
          <ac:chgData name="Steiner Andreas 6206 ED" userId="e6377c33-a923-4f14-8587-531c474c7b48" providerId="ADAL" clId="{6ECD27E6-B224-41CD-B4E0-E297462320DD}" dt="2023-11-23T19:51:42.007" v="1442"/>
          <ac:spMkLst>
            <pc:docMk/>
            <pc:sldMk cId="1033770688" sldId="2147478572"/>
            <ac:spMk id="18" creationId="{EBF5C721-B0D5-C39C-3A18-BA79000DDFD6}"/>
          </ac:spMkLst>
        </pc:spChg>
        <pc:spChg chg="add del mod">
          <ac:chgData name="Steiner Andreas 6206 ED" userId="e6377c33-a923-4f14-8587-531c474c7b48" providerId="ADAL" clId="{6ECD27E6-B224-41CD-B4E0-E297462320DD}" dt="2023-11-23T19:51:53.454" v="1597"/>
          <ac:spMkLst>
            <pc:docMk/>
            <pc:sldMk cId="1033770688" sldId="2147478572"/>
            <ac:spMk id="19" creationId="{35AB27C9-6694-BB50-AAEE-DAF9E391FBD4}"/>
          </ac:spMkLst>
        </pc:spChg>
        <pc:spChg chg="add del mod">
          <ac:chgData name="Steiner Andreas 6206 ED" userId="e6377c33-a923-4f14-8587-531c474c7b48" providerId="ADAL" clId="{6ECD27E6-B224-41CD-B4E0-E297462320DD}" dt="2023-11-23T19:52:05.007" v="1752"/>
          <ac:spMkLst>
            <pc:docMk/>
            <pc:sldMk cId="1033770688" sldId="2147478572"/>
            <ac:spMk id="20" creationId="{12D8DDD1-F617-B122-E41B-E0AE4D932AD2}"/>
          </ac:spMkLst>
        </pc:spChg>
        <pc:spChg chg="add del mod">
          <ac:chgData name="Steiner Andreas 6206 ED" userId="e6377c33-a923-4f14-8587-531c474c7b48" providerId="ADAL" clId="{6ECD27E6-B224-41CD-B4E0-E297462320DD}" dt="2023-11-23T19:52:16.688" v="1907"/>
          <ac:spMkLst>
            <pc:docMk/>
            <pc:sldMk cId="1033770688" sldId="2147478572"/>
            <ac:spMk id="21" creationId="{ED1E4398-6493-5D9B-4583-3A64E806284E}"/>
          </ac:spMkLst>
        </pc:spChg>
        <pc:spChg chg="add del mod">
          <ac:chgData name="Steiner Andreas 6206 ED" userId="e6377c33-a923-4f14-8587-531c474c7b48" providerId="ADAL" clId="{6ECD27E6-B224-41CD-B4E0-E297462320DD}" dt="2023-11-23T19:52:28.401" v="2062"/>
          <ac:spMkLst>
            <pc:docMk/>
            <pc:sldMk cId="1033770688" sldId="2147478572"/>
            <ac:spMk id="22" creationId="{61447F58-A92B-B40F-C3ED-517421C5E533}"/>
          </ac:spMkLst>
        </pc:spChg>
        <pc:spChg chg="add del mod">
          <ac:chgData name="Steiner Andreas 6206 ED" userId="e6377c33-a923-4f14-8587-531c474c7b48" providerId="ADAL" clId="{6ECD27E6-B224-41CD-B4E0-E297462320DD}" dt="2023-11-23T19:52:40.077" v="2217"/>
          <ac:spMkLst>
            <pc:docMk/>
            <pc:sldMk cId="1033770688" sldId="2147478572"/>
            <ac:spMk id="23" creationId="{CDCA9506-7379-1D45-7A89-14BEBD326E5A}"/>
          </ac:spMkLst>
        </pc:spChg>
        <pc:spChg chg="add del mod">
          <ac:chgData name="Steiner Andreas 6206 ED" userId="e6377c33-a923-4f14-8587-531c474c7b48" providerId="ADAL" clId="{6ECD27E6-B224-41CD-B4E0-E297462320DD}" dt="2023-11-23T19:52:51.562" v="2372"/>
          <ac:spMkLst>
            <pc:docMk/>
            <pc:sldMk cId="1033770688" sldId="2147478572"/>
            <ac:spMk id="24" creationId="{247F284D-570F-C7D6-CB70-AFFF10CD109F}"/>
          </ac:spMkLst>
        </pc:spChg>
        <pc:spChg chg="add del mod">
          <ac:chgData name="Steiner Andreas 6206 ED" userId="e6377c33-a923-4f14-8587-531c474c7b48" providerId="ADAL" clId="{6ECD27E6-B224-41CD-B4E0-E297462320DD}" dt="2023-11-23T19:53:03.137" v="2527"/>
          <ac:spMkLst>
            <pc:docMk/>
            <pc:sldMk cId="1033770688" sldId="2147478572"/>
            <ac:spMk id="25" creationId="{60C1BDE3-E67B-3413-FAF6-EB0992F46847}"/>
          </ac:spMkLst>
        </pc:spChg>
        <pc:spChg chg="add del mod">
          <ac:chgData name="Steiner Andreas 6206 ED" userId="e6377c33-a923-4f14-8587-531c474c7b48" providerId="ADAL" clId="{6ECD27E6-B224-41CD-B4E0-E297462320DD}" dt="2023-11-23T19:53:14.890" v="2682"/>
          <ac:spMkLst>
            <pc:docMk/>
            <pc:sldMk cId="1033770688" sldId="2147478572"/>
            <ac:spMk id="26" creationId="{756B6459-5468-BD1E-7304-5DC6FF65DF36}"/>
          </ac:spMkLst>
        </pc:spChg>
        <pc:spChg chg="add del mod">
          <ac:chgData name="Steiner Andreas 6206 ED" userId="e6377c33-a923-4f14-8587-531c474c7b48" providerId="ADAL" clId="{6ECD27E6-B224-41CD-B4E0-E297462320DD}" dt="2023-11-23T19:53:26.569" v="2837"/>
          <ac:spMkLst>
            <pc:docMk/>
            <pc:sldMk cId="1033770688" sldId="2147478572"/>
            <ac:spMk id="27" creationId="{AED6D00B-0EB0-C7B1-05F9-66217C269D02}"/>
          </ac:spMkLst>
        </pc:spChg>
        <pc:spChg chg="add del mod">
          <ac:chgData name="Steiner Andreas 6206 ED" userId="e6377c33-a923-4f14-8587-531c474c7b48" providerId="ADAL" clId="{6ECD27E6-B224-41CD-B4E0-E297462320DD}" dt="2023-11-23T19:53:38.218" v="2992"/>
          <ac:spMkLst>
            <pc:docMk/>
            <pc:sldMk cId="1033770688" sldId="2147478572"/>
            <ac:spMk id="28" creationId="{0C865F17-7CE2-53B6-3A64-236866B414F9}"/>
          </ac:spMkLst>
        </pc:spChg>
        <pc:spChg chg="add del mod">
          <ac:chgData name="Steiner Andreas 6206 ED" userId="e6377c33-a923-4f14-8587-531c474c7b48" providerId="ADAL" clId="{6ECD27E6-B224-41CD-B4E0-E297462320DD}" dt="2023-11-23T19:53:49.886" v="3147"/>
          <ac:spMkLst>
            <pc:docMk/>
            <pc:sldMk cId="1033770688" sldId="2147478572"/>
            <ac:spMk id="29" creationId="{4AF62345-B45E-0BFE-8082-85E35711339D}"/>
          </ac:spMkLst>
        </pc:spChg>
        <pc:spChg chg="add del mod">
          <ac:chgData name="Steiner Andreas 6206 ED" userId="e6377c33-a923-4f14-8587-531c474c7b48" providerId="ADAL" clId="{6ECD27E6-B224-41CD-B4E0-E297462320DD}" dt="2023-11-23T19:54:01.568" v="3302"/>
          <ac:spMkLst>
            <pc:docMk/>
            <pc:sldMk cId="1033770688" sldId="2147478572"/>
            <ac:spMk id="30" creationId="{9BD69A9E-0183-59FE-F031-131AB0E1F326}"/>
          </ac:spMkLst>
        </pc:spChg>
        <pc:spChg chg="add del mod">
          <ac:chgData name="Steiner Andreas 6206 ED" userId="e6377c33-a923-4f14-8587-531c474c7b48" providerId="ADAL" clId="{6ECD27E6-B224-41CD-B4E0-E297462320DD}" dt="2023-11-23T19:54:13.257" v="3457"/>
          <ac:spMkLst>
            <pc:docMk/>
            <pc:sldMk cId="1033770688" sldId="2147478572"/>
            <ac:spMk id="31" creationId="{E15E5052-D741-A796-4B61-A65F33A4AC32}"/>
          </ac:spMkLst>
        </pc:spChg>
        <pc:spChg chg="add del mod">
          <ac:chgData name="Steiner Andreas 6206 ED" userId="e6377c33-a923-4f14-8587-531c474c7b48" providerId="ADAL" clId="{6ECD27E6-B224-41CD-B4E0-E297462320DD}" dt="2023-11-23T19:54:24.918" v="3612"/>
          <ac:spMkLst>
            <pc:docMk/>
            <pc:sldMk cId="1033770688" sldId="2147478572"/>
            <ac:spMk id="32" creationId="{7B2FA722-833F-EEB4-2049-834F21153087}"/>
          </ac:spMkLst>
        </pc:spChg>
        <pc:spChg chg="add del mod">
          <ac:chgData name="Steiner Andreas 6206 ED" userId="e6377c33-a923-4f14-8587-531c474c7b48" providerId="ADAL" clId="{6ECD27E6-B224-41CD-B4E0-E297462320DD}" dt="2023-11-23T19:54:36.621" v="3767"/>
          <ac:spMkLst>
            <pc:docMk/>
            <pc:sldMk cId="1033770688" sldId="2147478572"/>
            <ac:spMk id="33" creationId="{DA49B37B-7F1D-D89F-7BAE-5E07DD37DD21}"/>
          </ac:spMkLst>
        </pc:spChg>
        <pc:spChg chg="add del mod">
          <ac:chgData name="Steiner Andreas 6206 ED" userId="e6377c33-a923-4f14-8587-531c474c7b48" providerId="ADAL" clId="{6ECD27E6-B224-41CD-B4E0-E297462320DD}" dt="2023-11-23T19:54:48.050" v="3922"/>
          <ac:spMkLst>
            <pc:docMk/>
            <pc:sldMk cId="1033770688" sldId="2147478572"/>
            <ac:spMk id="34" creationId="{37CA82CD-0908-4D6E-79F9-EB39D988D97A}"/>
          </ac:spMkLst>
        </pc:spChg>
        <pc:spChg chg="add del mod">
          <ac:chgData name="Steiner Andreas 6206 ED" userId="e6377c33-a923-4f14-8587-531c474c7b48" providerId="ADAL" clId="{6ECD27E6-B224-41CD-B4E0-E297462320DD}" dt="2023-11-23T19:54:59.591" v="4077"/>
          <ac:spMkLst>
            <pc:docMk/>
            <pc:sldMk cId="1033770688" sldId="2147478572"/>
            <ac:spMk id="35" creationId="{A76B2505-A729-D9F8-17A5-76C7D6EC1D91}"/>
          </ac:spMkLst>
        </pc:spChg>
        <pc:spChg chg="add del mod">
          <ac:chgData name="Steiner Andreas 6206 ED" userId="e6377c33-a923-4f14-8587-531c474c7b48" providerId="ADAL" clId="{6ECD27E6-B224-41CD-B4E0-E297462320DD}" dt="2023-11-23T19:55:11.338" v="4232"/>
          <ac:spMkLst>
            <pc:docMk/>
            <pc:sldMk cId="1033770688" sldId="2147478572"/>
            <ac:spMk id="36" creationId="{16AC188B-B235-EACE-69B6-7990CE71A6D9}"/>
          </ac:spMkLst>
        </pc:spChg>
        <pc:spChg chg="add del mod">
          <ac:chgData name="Steiner Andreas 6206 ED" userId="e6377c33-a923-4f14-8587-531c474c7b48" providerId="ADAL" clId="{6ECD27E6-B224-41CD-B4E0-E297462320DD}" dt="2023-11-23T19:55:23.023" v="4387"/>
          <ac:spMkLst>
            <pc:docMk/>
            <pc:sldMk cId="1033770688" sldId="2147478572"/>
            <ac:spMk id="37" creationId="{069C248D-C3BA-5C91-D187-54618851C0C0}"/>
          </ac:spMkLst>
        </pc:spChg>
        <pc:spChg chg="add del mod">
          <ac:chgData name="Steiner Andreas 6206 ED" userId="e6377c33-a923-4f14-8587-531c474c7b48" providerId="ADAL" clId="{6ECD27E6-B224-41CD-B4E0-E297462320DD}" dt="2023-11-23T19:55:34.662" v="4542"/>
          <ac:spMkLst>
            <pc:docMk/>
            <pc:sldMk cId="1033770688" sldId="2147478572"/>
            <ac:spMk id="38" creationId="{591BD35F-B1CC-61F2-41C3-0222B3442BD8}"/>
          </ac:spMkLst>
        </pc:spChg>
        <pc:spChg chg="add del mod">
          <ac:chgData name="Steiner Andreas 6206 ED" userId="e6377c33-a923-4f14-8587-531c474c7b48" providerId="ADAL" clId="{6ECD27E6-B224-41CD-B4E0-E297462320DD}" dt="2023-11-23T19:55:46.095" v="4697"/>
          <ac:spMkLst>
            <pc:docMk/>
            <pc:sldMk cId="1033770688" sldId="2147478572"/>
            <ac:spMk id="39" creationId="{D670033F-CA3F-47AA-CD3C-44F4CA9FE61A}"/>
          </ac:spMkLst>
        </pc:spChg>
        <pc:spChg chg="add del mod">
          <ac:chgData name="Steiner Andreas 6206 ED" userId="e6377c33-a923-4f14-8587-531c474c7b48" providerId="ADAL" clId="{6ECD27E6-B224-41CD-B4E0-E297462320DD}" dt="2023-11-23T19:55:57.661" v="4852"/>
          <ac:spMkLst>
            <pc:docMk/>
            <pc:sldMk cId="1033770688" sldId="2147478572"/>
            <ac:spMk id="40" creationId="{73E23F23-F537-7E27-E5A2-FECC812FDFEC}"/>
          </ac:spMkLst>
        </pc:spChg>
        <pc:spChg chg="add del mod">
          <ac:chgData name="Steiner Andreas 6206 ED" userId="e6377c33-a923-4f14-8587-531c474c7b48" providerId="ADAL" clId="{6ECD27E6-B224-41CD-B4E0-E297462320DD}" dt="2023-11-23T19:56:09.336" v="5007"/>
          <ac:spMkLst>
            <pc:docMk/>
            <pc:sldMk cId="1033770688" sldId="2147478572"/>
            <ac:spMk id="41" creationId="{6D0D7B65-F967-619C-6AF5-C27E703D398C}"/>
          </ac:spMkLst>
        </pc:spChg>
        <pc:spChg chg="add del mod">
          <ac:chgData name="Steiner Andreas 6206 ED" userId="e6377c33-a923-4f14-8587-531c474c7b48" providerId="ADAL" clId="{6ECD27E6-B224-41CD-B4E0-E297462320DD}" dt="2023-11-23T19:56:21.031" v="5162"/>
          <ac:spMkLst>
            <pc:docMk/>
            <pc:sldMk cId="1033770688" sldId="2147478572"/>
            <ac:spMk id="42" creationId="{BB49AAA7-1C2A-6263-FA8A-40B8D0F86702}"/>
          </ac:spMkLst>
        </pc:spChg>
        <pc:spChg chg="add del mod">
          <ac:chgData name="Steiner Andreas 6206 ED" userId="e6377c33-a923-4f14-8587-531c474c7b48" providerId="ADAL" clId="{6ECD27E6-B224-41CD-B4E0-E297462320DD}" dt="2023-11-23T19:56:32.726" v="5317"/>
          <ac:spMkLst>
            <pc:docMk/>
            <pc:sldMk cId="1033770688" sldId="2147478572"/>
            <ac:spMk id="43" creationId="{76F1C99C-D796-04CB-3F7C-C1D9D1040638}"/>
          </ac:spMkLst>
        </pc:spChg>
        <pc:spChg chg="add del mod">
          <ac:chgData name="Steiner Andreas 6206 ED" userId="e6377c33-a923-4f14-8587-531c474c7b48" providerId="ADAL" clId="{6ECD27E6-B224-41CD-B4E0-E297462320DD}" dt="2023-11-23T19:56:44.170" v="5472"/>
          <ac:spMkLst>
            <pc:docMk/>
            <pc:sldMk cId="1033770688" sldId="2147478572"/>
            <ac:spMk id="44" creationId="{A84F8FEF-FDC5-2C35-AD54-6CDB5CEE184B}"/>
          </ac:spMkLst>
        </pc:spChg>
        <pc:spChg chg="add del mod">
          <ac:chgData name="Steiner Andreas 6206 ED" userId="e6377c33-a923-4f14-8587-531c474c7b48" providerId="ADAL" clId="{6ECD27E6-B224-41CD-B4E0-E297462320DD}" dt="2023-11-23T19:56:54.450" v="5627"/>
          <ac:spMkLst>
            <pc:docMk/>
            <pc:sldMk cId="1033770688" sldId="2147478572"/>
            <ac:spMk id="45" creationId="{F495B020-263D-2046-C4FD-EEE8052B424E}"/>
          </ac:spMkLst>
        </pc:spChg>
        <pc:spChg chg="add del mod">
          <ac:chgData name="Steiner Andreas 6206 ED" userId="e6377c33-a923-4f14-8587-531c474c7b48" providerId="ADAL" clId="{6ECD27E6-B224-41CD-B4E0-E297462320DD}" dt="2023-11-23T19:57:05.912" v="5782"/>
          <ac:spMkLst>
            <pc:docMk/>
            <pc:sldMk cId="1033770688" sldId="2147478572"/>
            <ac:spMk id="46" creationId="{A16F1E4B-2464-F02C-5172-150CCC56C472}"/>
          </ac:spMkLst>
        </pc:spChg>
        <pc:spChg chg="add del mod">
          <ac:chgData name="Steiner Andreas 6206 ED" userId="e6377c33-a923-4f14-8587-531c474c7b48" providerId="ADAL" clId="{6ECD27E6-B224-41CD-B4E0-E297462320DD}" dt="2023-11-23T19:57:17.567" v="5937"/>
          <ac:spMkLst>
            <pc:docMk/>
            <pc:sldMk cId="1033770688" sldId="2147478572"/>
            <ac:spMk id="47" creationId="{076E46B8-4718-B059-936F-E1006BCBC3A3}"/>
          </ac:spMkLst>
        </pc:spChg>
        <pc:spChg chg="add del mod">
          <ac:chgData name="Steiner Andreas 6206 ED" userId="e6377c33-a923-4f14-8587-531c474c7b48" providerId="ADAL" clId="{6ECD27E6-B224-41CD-B4E0-E297462320DD}" dt="2023-11-23T19:57:29.127" v="6092"/>
          <ac:spMkLst>
            <pc:docMk/>
            <pc:sldMk cId="1033770688" sldId="2147478572"/>
            <ac:spMk id="48" creationId="{EB6185D4-EA13-5091-858B-653F25C1D571}"/>
          </ac:spMkLst>
        </pc:spChg>
        <pc:spChg chg="add del mod">
          <ac:chgData name="Steiner Andreas 6206 ED" userId="e6377c33-a923-4f14-8587-531c474c7b48" providerId="ADAL" clId="{6ECD27E6-B224-41CD-B4E0-E297462320DD}" dt="2023-11-23T19:57:40.686" v="6247"/>
          <ac:spMkLst>
            <pc:docMk/>
            <pc:sldMk cId="1033770688" sldId="2147478572"/>
            <ac:spMk id="49" creationId="{7136DFBE-0D7A-C5D4-6B66-671558F5ED88}"/>
          </ac:spMkLst>
        </pc:spChg>
        <pc:spChg chg="add del mod">
          <ac:chgData name="Steiner Andreas 6206 ED" userId="e6377c33-a923-4f14-8587-531c474c7b48" providerId="ADAL" clId="{6ECD27E6-B224-41CD-B4E0-E297462320DD}" dt="2023-11-23T19:57:52.360" v="6402"/>
          <ac:spMkLst>
            <pc:docMk/>
            <pc:sldMk cId="1033770688" sldId="2147478572"/>
            <ac:spMk id="50" creationId="{963F36FC-68C9-FD2C-D1FC-039197005F1C}"/>
          </ac:spMkLst>
        </pc:spChg>
        <pc:spChg chg="add del mod">
          <ac:chgData name="Steiner Andreas 6206 ED" userId="e6377c33-a923-4f14-8587-531c474c7b48" providerId="ADAL" clId="{6ECD27E6-B224-41CD-B4E0-E297462320DD}" dt="2023-11-23T19:58:04.044" v="6557"/>
          <ac:spMkLst>
            <pc:docMk/>
            <pc:sldMk cId="1033770688" sldId="2147478572"/>
            <ac:spMk id="51" creationId="{FAE55DD0-39D3-19DF-2258-0457F28F4D9B}"/>
          </ac:spMkLst>
        </pc:spChg>
        <pc:spChg chg="add del mod">
          <ac:chgData name="Steiner Andreas 6206 ED" userId="e6377c33-a923-4f14-8587-531c474c7b48" providerId="ADAL" clId="{6ECD27E6-B224-41CD-B4E0-E297462320DD}" dt="2023-11-23T19:58:15.515" v="6712"/>
          <ac:spMkLst>
            <pc:docMk/>
            <pc:sldMk cId="1033770688" sldId="2147478572"/>
            <ac:spMk id="52" creationId="{60639098-7E8F-74F7-8A7A-9041917C90E0}"/>
          </ac:spMkLst>
        </pc:spChg>
        <pc:spChg chg="add del mod">
          <ac:chgData name="Steiner Andreas 6206 ED" userId="e6377c33-a923-4f14-8587-531c474c7b48" providerId="ADAL" clId="{6ECD27E6-B224-41CD-B4E0-E297462320DD}" dt="2023-11-23T19:58:27.581" v="6867"/>
          <ac:spMkLst>
            <pc:docMk/>
            <pc:sldMk cId="1033770688" sldId="2147478572"/>
            <ac:spMk id="53" creationId="{5A2A2593-5422-3F40-1478-99707B9826DE}"/>
          </ac:spMkLst>
        </pc:spChg>
        <pc:spChg chg="add del mod">
          <ac:chgData name="Steiner Andreas 6206 ED" userId="e6377c33-a923-4f14-8587-531c474c7b48" providerId="ADAL" clId="{6ECD27E6-B224-41CD-B4E0-E297462320DD}" dt="2023-11-23T19:58:39.282" v="7022"/>
          <ac:spMkLst>
            <pc:docMk/>
            <pc:sldMk cId="1033770688" sldId="2147478572"/>
            <ac:spMk id="54" creationId="{BD7737CB-D905-9378-0F53-365A18742BCB}"/>
          </ac:spMkLst>
        </pc:spChg>
        <pc:spChg chg="add del mod">
          <ac:chgData name="Steiner Andreas 6206 ED" userId="e6377c33-a923-4f14-8587-531c474c7b48" providerId="ADAL" clId="{6ECD27E6-B224-41CD-B4E0-E297462320DD}" dt="2023-11-23T19:58:51.004" v="7177"/>
          <ac:spMkLst>
            <pc:docMk/>
            <pc:sldMk cId="1033770688" sldId="2147478572"/>
            <ac:spMk id="55" creationId="{DE101DE6-1EF4-AA14-6BC0-CF3450C5B617}"/>
          </ac:spMkLst>
        </pc:spChg>
        <pc:spChg chg="add del mod">
          <ac:chgData name="Steiner Andreas 6206 ED" userId="e6377c33-a923-4f14-8587-531c474c7b48" providerId="ADAL" clId="{6ECD27E6-B224-41CD-B4E0-E297462320DD}" dt="2023-11-23T19:59:02.456" v="7332"/>
          <ac:spMkLst>
            <pc:docMk/>
            <pc:sldMk cId="1033770688" sldId="2147478572"/>
            <ac:spMk id="56" creationId="{A6E392C8-1413-C7D2-176A-B516915EC47C}"/>
          </ac:spMkLst>
        </pc:spChg>
        <pc:spChg chg="add del mod">
          <ac:chgData name="Steiner Andreas 6206 ED" userId="e6377c33-a923-4f14-8587-531c474c7b48" providerId="ADAL" clId="{6ECD27E6-B224-41CD-B4E0-E297462320DD}" dt="2023-11-24T08:31:41.150" v="7487"/>
          <ac:spMkLst>
            <pc:docMk/>
            <pc:sldMk cId="1033770688" sldId="2147478572"/>
            <ac:spMk id="57" creationId="{AC5A141F-BA5F-8F5C-3E1C-0D9163F4670E}"/>
          </ac:spMkLst>
        </pc:spChg>
        <pc:spChg chg="add del mod">
          <ac:chgData name="Steiner Andreas 6206 ED" userId="e6377c33-a923-4f14-8587-531c474c7b48" providerId="ADAL" clId="{6ECD27E6-B224-41CD-B4E0-E297462320DD}" dt="2023-11-24T08:31:45.012" v="7642"/>
          <ac:spMkLst>
            <pc:docMk/>
            <pc:sldMk cId="1033770688" sldId="2147478572"/>
            <ac:spMk id="58" creationId="{3C5AAEF4-9673-C5C5-BC91-8153DB2C82B1}"/>
          </ac:spMkLst>
        </pc:spChg>
        <pc:spChg chg="add del mod">
          <ac:chgData name="Steiner Andreas 6206 ED" userId="e6377c33-a923-4f14-8587-531c474c7b48" providerId="ADAL" clId="{6ECD27E6-B224-41CD-B4E0-E297462320DD}" dt="2023-11-24T08:31:46.853" v="7797"/>
          <ac:spMkLst>
            <pc:docMk/>
            <pc:sldMk cId="1033770688" sldId="2147478572"/>
            <ac:spMk id="59" creationId="{71C076C2-A369-E08F-983C-F5F906D74146}"/>
          </ac:spMkLst>
        </pc:spChg>
        <pc:spChg chg="add del mod">
          <ac:chgData name="Steiner Andreas 6206 ED" userId="e6377c33-a923-4f14-8587-531c474c7b48" providerId="ADAL" clId="{6ECD27E6-B224-41CD-B4E0-E297462320DD}" dt="2023-11-24T08:31:48.686" v="7952"/>
          <ac:spMkLst>
            <pc:docMk/>
            <pc:sldMk cId="1033770688" sldId="2147478572"/>
            <ac:spMk id="60" creationId="{1F85BDA7-84F4-C43E-37EF-0EA621F72DF2}"/>
          </ac:spMkLst>
        </pc:spChg>
        <pc:spChg chg="add del mod">
          <ac:chgData name="Steiner Andreas 6206 ED" userId="e6377c33-a923-4f14-8587-531c474c7b48" providerId="ADAL" clId="{6ECD27E6-B224-41CD-B4E0-E297462320DD}" dt="2023-11-24T08:31:50.577" v="8107"/>
          <ac:spMkLst>
            <pc:docMk/>
            <pc:sldMk cId="1033770688" sldId="2147478572"/>
            <ac:spMk id="61" creationId="{EAD682CD-8333-CF1A-25A2-E034A55EA21C}"/>
          </ac:spMkLst>
        </pc:spChg>
        <pc:spChg chg="add del mod">
          <ac:chgData name="Steiner Andreas 6206 ED" userId="e6377c33-a923-4f14-8587-531c474c7b48" providerId="ADAL" clId="{6ECD27E6-B224-41CD-B4E0-E297462320DD}" dt="2023-11-24T08:31:52.351" v="8262"/>
          <ac:spMkLst>
            <pc:docMk/>
            <pc:sldMk cId="1033770688" sldId="2147478572"/>
            <ac:spMk id="62" creationId="{AE01E985-1827-76F7-EF3E-BC4AD4653DFE}"/>
          </ac:spMkLst>
        </pc:spChg>
        <pc:spChg chg="add del mod">
          <ac:chgData name="Steiner Andreas 6206 ED" userId="e6377c33-a923-4f14-8587-531c474c7b48" providerId="ADAL" clId="{6ECD27E6-B224-41CD-B4E0-E297462320DD}" dt="2023-11-24T08:31:54.184" v="8417"/>
          <ac:spMkLst>
            <pc:docMk/>
            <pc:sldMk cId="1033770688" sldId="2147478572"/>
            <ac:spMk id="63" creationId="{30E7CF5F-A644-A8AC-9DFC-740AE3F3A950}"/>
          </ac:spMkLst>
        </pc:spChg>
        <pc:spChg chg="add del mod">
          <ac:chgData name="Steiner Andreas 6206 ED" userId="e6377c33-a923-4f14-8587-531c474c7b48" providerId="ADAL" clId="{6ECD27E6-B224-41CD-B4E0-E297462320DD}" dt="2023-11-24T08:31:56.024" v="8572"/>
          <ac:spMkLst>
            <pc:docMk/>
            <pc:sldMk cId="1033770688" sldId="2147478572"/>
            <ac:spMk id="64" creationId="{57A912C1-9436-2481-7BEB-F9A43B88D2B2}"/>
          </ac:spMkLst>
        </pc:spChg>
        <pc:spChg chg="add del mod">
          <ac:chgData name="Steiner Andreas 6206 ED" userId="e6377c33-a923-4f14-8587-531c474c7b48" providerId="ADAL" clId="{6ECD27E6-B224-41CD-B4E0-E297462320DD}" dt="2023-11-24T08:31:57.860" v="8727"/>
          <ac:spMkLst>
            <pc:docMk/>
            <pc:sldMk cId="1033770688" sldId="2147478572"/>
            <ac:spMk id="65" creationId="{9997BFB9-7845-D01A-6A96-54D8FC8242F6}"/>
          </ac:spMkLst>
        </pc:spChg>
        <pc:spChg chg="add del mod">
          <ac:chgData name="Steiner Andreas 6206 ED" userId="e6377c33-a923-4f14-8587-531c474c7b48" providerId="ADAL" clId="{6ECD27E6-B224-41CD-B4E0-E297462320DD}" dt="2023-11-24T08:32:00.372" v="8882"/>
          <ac:spMkLst>
            <pc:docMk/>
            <pc:sldMk cId="1033770688" sldId="2147478572"/>
            <ac:spMk id="66" creationId="{905A8F5D-71ED-B8F2-217C-11FEA38BF24D}"/>
          </ac:spMkLst>
        </pc:spChg>
        <pc:spChg chg="add del mod">
          <ac:chgData name="Steiner Andreas 6206 ED" userId="e6377c33-a923-4f14-8587-531c474c7b48" providerId="ADAL" clId="{6ECD27E6-B224-41CD-B4E0-E297462320DD}" dt="2023-11-24T08:32:02.832" v="9037"/>
          <ac:spMkLst>
            <pc:docMk/>
            <pc:sldMk cId="1033770688" sldId="2147478572"/>
            <ac:spMk id="67" creationId="{4F0AEF5D-8F95-94E0-EB0A-A4E82E096E0B}"/>
          </ac:spMkLst>
        </pc:spChg>
        <pc:spChg chg="add del mod">
          <ac:chgData name="Steiner Andreas 6206 ED" userId="e6377c33-a923-4f14-8587-531c474c7b48" providerId="ADAL" clId="{6ECD27E6-B224-41CD-B4E0-E297462320DD}" dt="2023-11-24T08:32:04.937" v="9192"/>
          <ac:spMkLst>
            <pc:docMk/>
            <pc:sldMk cId="1033770688" sldId="2147478572"/>
            <ac:spMk id="68" creationId="{6901FB25-B753-5D88-4AD6-93350FCC6BB3}"/>
          </ac:spMkLst>
        </pc:spChg>
        <pc:spChg chg="add del mod">
          <ac:chgData name="Steiner Andreas 6206 ED" userId="e6377c33-a923-4f14-8587-531c474c7b48" providerId="ADAL" clId="{6ECD27E6-B224-41CD-B4E0-E297462320DD}" dt="2023-11-24T08:32:06.834" v="9347"/>
          <ac:spMkLst>
            <pc:docMk/>
            <pc:sldMk cId="1033770688" sldId="2147478572"/>
            <ac:spMk id="69" creationId="{E84DC910-127F-902F-B3D3-748EDD2516EE}"/>
          </ac:spMkLst>
        </pc:spChg>
        <pc:spChg chg="add del mod">
          <ac:chgData name="Steiner Andreas 6206 ED" userId="e6377c33-a923-4f14-8587-531c474c7b48" providerId="ADAL" clId="{6ECD27E6-B224-41CD-B4E0-E297462320DD}" dt="2023-11-24T08:32:09.157" v="9502"/>
          <ac:spMkLst>
            <pc:docMk/>
            <pc:sldMk cId="1033770688" sldId="2147478572"/>
            <ac:spMk id="70" creationId="{FF27CECE-6BE7-B5A1-37EC-81077F4FD05A}"/>
          </ac:spMkLst>
        </pc:spChg>
        <pc:spChg chg="add del mod">
          <ac:chgData name="Steiner Andreas 6206 ED" userId="e6377c33-a923-4f14-8587-531c474c7b48" providerId="ADAL" clId="{6ECD27E6-B224-41CD-B4E0-E297462320DD}" dt="2023-11-24T08:32:11.403" v="9657"/>
          <ac:spMkLst>
            <pc:docMk/>
            <pc:sldMk cId="1033770688" sldId="2147478572"/>
            <ac:spMk id="71" creationId="{71AA4DE2-ED37-2C0A-7773-88A943343396}"/>
          </ac:spMkLst>
        </pc:spChg>
        <pc:spChg chg="add del mod">
          <ac:chgData name="Steiner Andreas 6206 ED" userId="e6377c33-a923-4f14-8587-531c474c7b48" providerId="ADAL" clId="{6ECD27E6-B224-41CD-B4E0-E297462320DD}" dt="2023-11-24T08:32:13.689" v="9812"/>
          <ac:spMkLst>
            <pc:docMk/>
            <pc:sldMk cId="1033770688" sldId="2147478572"/>
            <ac:spMk id="72" creationId="{8F9704B4-8D5D-BBAF-593F-D5EA16AFEA83}"/>
          </ac:spMkLst>
        </pc:spChg>
        <pc:spChg chg="add del mod">
          <ac:chgData name="Steiner Andreas 6206 ED" userId="e6377c33-a923-4f14-8587-531c474c7b48" providerId="ADAL" clId="{6ECD27E6-B224-41CD-B4E0-E297462320DD}" dt="2023-11-24T08:32:15.575" v="9967"/>
          <ac:spMkLst>
            <pc:docMk/>
            <pc:sldMk cId="1033770688" sldId="2147478572"/>
            <ac:spMk id="73" creationId="{07333B7F-4442-7623-19D9-BF520A498A00}"/>
          </ac:spMkLst>
        </pc:spChg>
        <pc:spChg chg="add del mod">
          <ac:chgData name="Steiner Andreas 6206 ED" userId="e6377c33-a923-4f14-8587-531c474c7b48" providerId="ADAL" clId="{6ECD27E6-B224-41CD-B4E0-E297462320DD}" dt="2023-11-24T08:32:17.639" v="10122"/>
          <ac:spMkLst>
            <pc:docMk/>
            <pc:sldMk cId="1033770688" sldId="2147478572"/>
            <ac:spMk id="74" creationId="{472559A1-4F68-7E51-53A4-B89988B353AA}"/>
          </ac:spMkLst>
        </pc:spChg>
        <pc:spChg chg="add del mod">
          <ac:chgData name="Steiner Andreas 6206 ED" userId="e6377c33-a923-4f14-8587-531c474c7b48" providerId="ADAL" clId="{6ECD27E6-B224-41CD-B4E0-E297462320DD}" dt="2023-11-24T08:32:19.598" v="10277"/>
          <ac:spMkLst>
            <pc:docMk/>
            <pc:sldMk cId="1033770688" sldId="2147478572"/>
            <ac:spMk id="75" creationId="{33052FEC-6E9D-7CDD-18FE-B3203CE6F107}"/>
          </ac:spMkLst>
        </pc:spChg>
        <pc:spChg chg="add del mod">
          <ac:chgData name="Steiner Andreas 6206 ED" userId="e6377c33-a923-4f14-8587-531c474c7b48" providerId="ADAL" clId="{6ECD27E6-B224-41CD-B4E0-E297462320DD}" dt="2023-11-24T08:32:21.553" v="10432"/>
          <ac:spMkLst>
            <pc:docMk/>
            <pc:sldMk cId="1033770688" sldId="2147478572"/>
            <ac:spMk id="76" creationId="{68AD8734-3B4A-F83E-2F3C-9784B6F0D9B9}"/>
          </ac:spMkLst>
        </pc:spChg>
        <pc:spChg chg="add del mod">
          <ac:chgData name="Steiner Andreas 6206 ED" userId="e6377c33-a923-4f14-8587-531c474c7b48" providerId="ADAL" clId="{6ECD27E6-B224-41CD-B4E0-E297462320DD}" dt="2023-11-24T08:32:23.616" v="10587"/>
          <ac:spMkLst>
            <pc:docMk/>
            <pc:sldMk cId="1033770688" sldId="2147478572"/>
            <ac:spMk id="77" creationId="{ED395B80-5A0E-6408-B074-7A9AF817DC01}"/>
          </ac:spMkLst>
        </pc:spChg>
        <pc:spChg chg="add del mod">
          <ac:chgData name="Steiner Andreas 6206 ED" userId="e6377c33-a923-4f14-8587-531c474c7b48" providerId="ADAL" clId="{6ECD27E6-B224-41CD-B4E0-E297462320DD}" dt="2023-11-24T08:32:25.682" v="10742"/>
          <ac:spMkLst>
            <pc:docMk/>
            <pc:sldMk cId="1033770688" sldId="2147478572"/>
            <ac:spMk id="78" creationId="{CFCC5E9F-7042-7560-D7A7-AF238011697D}"/>
          </ac:spMkLst>
        </pc:spChg>
        <pc:spChg chg="add del mod">
          <ac:chgData name="Steiner Andreas 6206 ED" userId="e6377c33-a923-4f14-8587-531c474c7b48" providerId="ADAL" clId="{6ECD27E6-B224-41CD-B4E0-E297462320DD}" dt="2023-11-24T08:32:27.657" v="10897"/>
          <ac:spMkLst>
            <pc:docMk/>
            <pc:sldMk cId="1033770688" sldId="2147478572"/>
            <ac:spMk id="79" creationId="{8FA8E6E3-68E2-DD80-1989-E591B7CB8D0E}"/>
          </ac:spMkLst>
        </pc:spChg>
        <pc:spChg chg="add del mod">
          <ac:chgData name="Steiner Andreas 6206 ED" userId="e6377c33-a923-4f14-8587-531c474c7b48" providerId="ADAL" clId="{6ECD27E6-B224-41CD-B4E0-E297462320DD}" dt="2023-11-24T08:32:29.604" v="11052"/>
          <ac:spMkLst>
            <pc:docMk/>
            <pc:sldMk cId="1033770688" sldId="2147478572"/>
            <ac:spMk id="80" creationId="{443D9A83-9AE6-890D-FD79-A15C73BB1F0A}"/>
          </ac:spMkLst>
        </pc:spChg>
        <pc:spChg chg="add del mod">
          <ac:chgData name="Steiner Andreas 6206 ED" userId="e6377c33-a923-4f14-8587-531c474c7b48" providerId="ADAL" clId="{6ECD27E6-B224-41CD-B4E0-E297462320DD}" dt="2023-11-24T08:32:31.534" v="11207"/>
          <ac:spMkLst>
            <pc:docMk/>
            <pc:sldMk cId="1033770688" sldId="2147478572"/>
            <ac:spMk id="81" creationId="{66E97E49-855E-F46F-CC22-7CA7BC46B0F7}"/>
          </ac:spMkLst>
        </pc:spChg>
        <pc:spChg chg="add del mod">
          <ac:chgData name="Steiner Andreas 6206 ED" userId="e6377c33-a923-4f14-8587-531c474c7b48" providerId="ADAL" clId="{6ECD27E6-B224-41CD-B4E0-E297462320DD}" dt="2023-11-24T08:32:33.876" v="11362"/>
          <ac:spMkLst>
            <pc:docMk/>
            <pc:sldMk cId="1033770688" sldId="2147478572"/>
            <ac:spMk id="82" creationId="{C3B0E2B6-2DE1-AF5F-F70A-7F25B0D604D4}"/>
          </ac:spMkLst>
        </pc:spChg>
        <pc:spChg chg="add del mod">
          <ac:chgData name="Steiner Andreas 6206 ED" userId="e6377c33-a923-4f14-8587-531c474c7b48" providerId="ADAL" clId="{6ECD27E6-B224-41CD-B4E0-E297462320DD}" dt="2023-11-24T08:32:36.372" v="11517"/>
          <ac:spMkLst>
            <pc:docMk/>
            <pc:sldMk cId="1033770688" sldId="2147478572"/>
            <ac:spMk id="83" creationId="{02E805BE-D54D-5686-A838-BC83D7E24D99}"/>
          </ac:spMkLst>
        </pc:spChg>
        <pc:spChg chg="add del mod">
          <ac:chgData name="Steiner Andreas 6206 ED" userId="e6377c33-a923-4f14-8587-531c474c7b48" providerId="ADAL" clId="{6ECD27E6-B224-41CD-B4E0-E297462320DD}" dt="2023-11-24T08:32:38.316" v="11672"/>
          <ac:spMkLst>
            <pc:docMk/>
            <pc:sldMk cId="1033770688" sldId="2147478572"/>
            <ac:spMk id="84" creationId="{D08726E0-BCD8-8940-6742-2DDA789CDBC8}"/>
          </ac:spMkLst>
        </pc:spChg>
        <pc:spChg chg="add del mod">
          <ac:chgData name="Steiner Andreas 6206 ED" userId="e6377c33-a923-4f14-8587-531c474c7b48" providerId="ADAL" clId="{6ECD27E6-B224-41CD-B4E0-E297462320DD}" dt="2023-11-24T08:32:40.386" v="11827"/>
          <ac:spMkLst>
            <pc:docMk/>
            <pc:sldMk cId="1033770688" sldId="2147478572"/>
            <ac:spMk id="85" creationId="{AD576BBB-2B10-23E9-6E98-5F1DCA3EC349}"/>
          </ac:spMkLst>
        </pc:spChg>
        <pc:spChg chg="add del mod">
          <ac:chgData name="Steiner Andreas 6206 ED" userId="e6377c33-a923-4f14-8587-531c474c7b48" providerId="ADAL" clId="{6ECD27E6-B224-41CD-B4E0-E297462320DD}" dt="2023-11-24T08:32:42.595" v="11982"/>
          <ac:spMkLst>
            <pc:docMk/>
            <pc:sldMk cId="1033770688" sldId="2147478572"/>
            <ac:spMk id="86" creationId="{3FF012E8-33F4-E9C2-DC65-0163F58ADE9E}"/>
          </ac:spMkLst>
        </pc:spChg>
        <pc:spChg chg="add del mod">
          <ac:chgData name="Steiner Andreas 6206 ED" userId="e6377c33-a923-4f14-8587-531c474c7b48" providerId="ADAL" clId="{6ECD27E6-B224-41CD-B4E0-E297462320DD}" dt="2023-11-24T08:32:44.710" v="12137"/>
          <ac:spMkLst>
            <pc:docMk/>
            <pc:sldMk cId="1033770688" sldId="2147478572"/>
            <ac:spMk id="87" creationId="{76DCD8AB-A29E-EA2F-EFCB-F15346164D2C}"/>
          </ac:spMkLst>
        </pc:spChg>
        <pc:spChg chg="add del mod">
          <ac:chgData name="Steiner Andreas 6206 ED" userId="e6377c33-a923-4f14-8587-531c474c7b48" providerId="ADAL" clId="{6ECD27E6-B224-41CD-B4E0-E297462320DD}" dt="2023-11-24T08:32:46.823" v="12292"/>
          <ac:spMkLst>
            <pc:docMk/>
            <pc:sldMk cId="1033770688" sldId="2147478572"/>
            <ac:spMk id="88" creationId="{FA640F32-D1FD-7666-1E4E-EC989C132CB4}"/>
          </ac:spMkLst>
        </pc:spChg>
        <pc:spChg chg="add del mod">
          <ac:chgData name="Steiner Andreas 6206 ED" userId="e6377c33-a923-4f14-8587-531c474c7b48" providerId="ADAL" clId="{6ECD27E6-B224-41CD-B4E0-E297462320DD}" dt="2023-11-24T08:32:48.986" v="12447"/>
          <ac:spMkLst>
            <pc:docMk/>
            <pc:sldMk cId="1033770688" sldId="2147478572"/>
            <ac:spMk id="89" creationId="{921C141B-0730-8B8E-2027-CD01DD672039}"/>
          </ac:spMkLst>
        </pc:spChg>
        <pc:spChg chg="add del mod">
          <ac:chgData name="Steiner Andreas 6206 ED" userId="e6377c33-a923-4f14-8587-531c474c7b48" providerId="ADAL" clId="{6ECD27E6-B224-41CD-B4E0-E297462320DD}" dt="2023-11-24T08:32:50.947" v="12602"/>
          <ac:spMkLst>
            <pc:docMk/>
            <pc:sldMk cId="1033770688" sldId="2147478572"/>
            <ac:spMk id="90" creationId="{EACBE563-6F7D-F556-1AFC-B970B1B6014D}"/>
          </ac:spMkLst>
        </pc:spChg>
        <pc:spChg chg="add del mod">
          <ac:chgData name="Steiner Andreas 6206 ED" userId="e6377c33-a923-4f14-8587-531c474c7b48" providerId="ADAL" clId="{6ECD27E6-B224-41CD-B4E0-E297462320DD}" dt="2023-11-24T08:32:52.942" v="12757"/>
          <ac:spMkLst>
            <pc:docMk/>
            <pc:sldMk cId="1033770688" sldId="2147478572"/>
            <ac:spMk id="91" creationId="{817C8E0E-1EA6-B6EF-DC63-62E7FDCD5569}"/>
          </ac:spMkLst>
        </pc:spChg>
        <pc:spChg chg="add del mod">
          <ac:chgData name="Steiner Andreas 6206 ED" userId="e6377c33-a923-4f14-8587-531c474c7b48" providerId="ADAL" clId="{6ECD27E6-B224-41CD-B4E0-E297462320DD}" dt="2023-11-24T08:32:54.929" v="12912"/>
          <ac:spMkLst>
            <pc:docMk/>
            <pc:sldMk cId="1033770688" sldId="2147478572"/>
            <ac:spMk id="92" creationId="{288A2643-25A7-D0EF-42C0-3C81D20BD4AD}"/>
          </ac:spMkLst>
        </pc:spChg>
        <pc:spChg chg="add del mod">
          <ac:chgData name="Steiner Andreas 6206 ED" userId="e6377c33-a923-4f14-8587-531c474c7b48" providerId="ADAL" clId="{6ECD27E6-B224-41CD-B4E0-E297462320DD}" dt="2023-11-24T08:32:56.873" v="13067"/>
          <ac:spMkLst>
            <pc:docMk/>
            <pc:sldMk cId="1033770688" sldId="2147478572"/>
            <ac:spMk id="93" creationId="{429F2BB2-86CD-73A9-6F0E-3647E5EF0ADF}"/>
          </ac:spMkLst>
        </pc:spChg>
        <pc:spChg chg="add del mod">
          <ac:chgData name="Steiner Andreas 6206 ED" userId="e6377c33-a923-4f14-8587-531c474c7b48" providerId="ADAL" clId="{6ECD27E6-B224-41CD-B4E0-E297462320DD}" dt="2023-11-24T08:32:58.935" v="13222"/>
          <ac:spMkLst>
            <pc:docMk/>
            <pc:sldMk cId="1033770688" sldId="2147478572"/>
            <ac:spMk id="94" creationId="{162C9DDD-19C5-0D6B-8C09-0593E3FD1455}"/>
          </ac:spMkLst>
        </pc:spChg>
        <pc:spChg chg="add del mod">
          <ac:chgData name="Steiner Andreas 6206 ED" userId="e6377c33-a923-4f14-8587-531c474c7b48" providerId="ADAL" clId="{6ECD27E6-B224-41CD-B4E0-E297462320DD}" dt="2023-11-24T08:33:01.032" v="13377"/>
          <ac:spMkLst>
            <pc:docMk/>
            <pc:sldMk cId="1033770688" sldId="2147478572"/>
            <ac:spMk id="95" creationId="{770D6292-2B25-BCFC-35AE-EE6B03A93334}"/>
          </ac:spMkLst>
        </pc:spChg>
        <pc:spChg chg="add del mod">
          <ac:chgData name="Steiner Andreas 6206 ED" userId="e6377c33-a923-4f14-8587-531c474c7b48" providerId="ADAL" clId="{6ECD27E6-B224-41CD-B4E0-E297462320DD}" dt="2023-11-24T08:33:03.334" v="13532"/>
          <ac:spMkLst>
            <pc:docMk/>
            <pc:sldMk cId="1033770688" sldId="2147478572"/>
            <ac:spMk id="96" creationId="{074125F7-FC9C-1FB0-BBAF-54095C1F715E}"/>
          </ac:spMkLst>
        </pc:spChg>
        <pc:spChg chg="add del mod">
          <ac:chgData name="Steiner Andreas 6206 ED" userId="e6377c33-a923-4f14-8587-531c474c7b48" providerId="ADAL" clId="{6ECD27E6-B224-41CD-B4E0-E297462320DD}" dt="2023-11-24T08:33:05.724" v="13687"/>
          <ac:spMkLst>
            <pc:docMk/>
            <pc:sldMk cId="1033770688" sldId="2147478572"/>
            <ac:spMk id="97" creationId="{111C05DC-E8B2-C76B-15D9-0256DDA4922F}"/>
          </ac:spMkLst>
        </pc:spChg>
        <pc:spChg chg="add del mod">
          <ac:chgData name="Steiner Andreas 6206 ED" userId="e6377c33-a923-4f14-8587-531c474c7b48" providerId="ADAL" clId="{6ECD27E6-B224-41CD-B4E0-E297462320DD}" dt="2023-11-24T08:33:07.961" v="13842"/>
          <ac:spMkLst>
            <pc:docMk/>
            <pc:sldMk cId="1033770688" sldId="2147478572"/>
            <ac:spMk id="98" creationId="{5D8D5E16-130A-8015-B1CB-C62073727AFD}"/>
          </ac:spMkLst>
        </pc:spChg>
        <pc:spChg chg="add del mod">
          <ac:chgData name="Steiner Andreas 6206 ED" userId="e6377c33-a923-4f14-8587-531c474c7b48" providerId="ADAL" clId="{6ECD27E6-B224-41CD-B4E0-E297462320DD}" dt="2023-11-24T08:33:10.411" v="13997"/>
          <ac:spMkLst>
            <pc:docMk/>
            <pc:sldMk cId="1033770688" sldId="2147478572"/>
            <ac:spMk id="99" creationId="{55AB8934-CAA7-762F-2B15-7972C838E534}"/>
          </ac:spMkLst>
        </pc:spChg>
        <pc:spChg chg="add del mod">
          <ac:chgData name="Steiner Andreas 6206 ED" userId="e6377c33-a923-4f14-8587-531c474c7b48" providerId="ADAL" clId="{6ECD27E6-B224-41CD-B4E0-E297462320DD}" dt="2023-11-24T08:33:12.423" v="14152"/>
          <ac:spMkLst>
            <pc:docMk/>
            <pc:sldMk cId="1033770688" sldId="2147478572"/>
            <ac:spMk id="100" creationId="{F0C7DDE7-C9B8-A693-CE61-6EE126DFACAD}"/>
          </ac:spMkLst>
        </pc:spChg>
        <pc:spChg chg="add del mod">
          <ac:chgData name="Steiner Andreas 6206 ED" userId="e6377c33-a923-4f14-8587-531c474c7b48" providerId="ADAL" clId="{6ECD27E6-B224-41CD-B4E0-E297462320DD}" dt="2023-11-24T08:33:14.331" v="14307"/>
          <ac:spMkLst>
            <pc:docMk/>
            <pc:sldMk cId="1033770688" sldId="2147478572"/>
            <ac:spMk id="101" creationId="{5DA4BC44-99AA-4BDD-CCB5-07DCB60AF962}"/>
          </ac:spMkLst>
        </pc:spChg>
        <pc:spChg chg="add del mod">
          <ac:chgData name="Steiner Andreas 6206 ED" userId="e6377c33-a923-4f14-8587-531c474c7b48" providerId="ADAL" clId="{6ECD27E6-B224-41CD-B4E0-E297462320DD}" dt="2023-11-24T08:33:16.316" v="14462"/>
          <ac:spMkLst>
            <pc:docMk/>
            <pc:sldMk cId="1033770688" sldId="2147478572"/>
            <ac:spMk id="102" creationId="{43F7EE08-0D49-84AA-4323-58166114419E}"/>
          </ac:spMkLst>
        </pc:spChg>
        <pc:spChg chg="add del mod">
          <ac:chgData name="Steiner Andreas 6206 ED" userId="e6377c33-a923-4f14-8587-531c474c7b48" providerId="ADAL" clId="{6ECD27E6-B224-41CD-B4E0-E297462320DD}" dt="2023-11-24T08:33:18.551" v="14617"/>
          <ac:spMkLst>
            <pc:docMk/>
            <pc:sldMk cId="1033770688" sldId="2147478572"/>
            <ac:spMk id="103" creationId="{CB579919-3E0F-28D2-06D8-ABE8E895A72B}"/>
          </ac:spMkLst>
        </pc:spChg>
        <pc:spChg chg="add del mod">
          <ac:chgData name="Steiner Andreas 6206 ED" userId="e6377c33-a923-4f14-8587-531c474c7b48" providerId="ADAL" clId="{6ECD27E6-B224-41CD-B4E0-E297462320DD}" dt="2023-11-24T08:33:20.751" v="14772"/>
          <ac:spMkLst>
            <pc:docMk/>
            <pc:sldMk cId="1033770688" sldId="2147478572"/>
            <ac:spMk id="104" creationId="{E64C574A-29F4-1F56-24FE-7E3F145FBEAF}"/>
          </ac:spMkLst>
        </pc:spChg>
        <pc:spChg chg="add del mod">
          <ac:chgData name="Steiner Andreas 6206 ED" userId="e6377c33-a923-4f14-8587-531c474c7b48" providerId="ADAL" clId="{6ECD27E6-B224-41CD-B4E0-E297462320DD}" dt="2023-11-24T08:33:23.267" v="14927"/>
          <ac:spMkLst>
            <pc:docMk/>
            <pc:sldMk cId="1033770688" sldId="2147478572"/>
            <ac:spMk id="105" creationId="{FFA1B159-CA60-4211-EBE2-403224F40030}"/>
          </ac:spMkLst>
        </pc:spChg>
        <pc:spChg chg="add del mod">
          <ac:chgData name="Steiner Andreas 6206 ED" userId="e6377c33-a923-4f14-8587-531c474c7b48" providerId="ADAL" clId="{6ECD27E6-B224-41CD-B4E0-E297462320DD}" dt="2023-11-24T08:33:25.690" v="15082"/>
          <ac:spMkLst>
            <pc:docMk/>
            <pc:sldMk cId="1033770688" sldId="2147478572"/>
            <ac:spMk id="106" creationId="{11DE73F5-C6A8-3897-7533-42E0F2767882}"/>
          </ac:spMkLst>
        </pc:spChg>
        <pc:spChg chg="add del mod">
          <ac:chgData name="Steiner Andreas 6206 ED" userId="e6377c33-a923-4f14-8587-531c474c7b48" providerId="ADAL" clId="{6ECD27E6-B224-41CD-B4E0-E297462320DD}" dt="2023-11-24T08:33:27.881" v="15237"/>
          <ac:spMkLst>
            <pc:docMk/>
            <pc:sldMk cId="1033770688" sldId="2147478572"/>
            <ac:spMk id="107" creationId="{447A69BB-4A64-335E-A997-215DBE93DBD9}"/>
          </ac:spMkLst>
        </pc:spChg>
        <pc:spChg chg="add del mod">
          <ac:chgData name="Steiner Andreas 6206 ED" userId="e6377c33-a923-4f14-8587-531c474c7b48" providerId="ADAL" clId="{6ECD27E6-B224-41CD-B4E0-E297462320DD}" dt="2023-11-24T08:33:30.384" v="15392"/>
          <ac:spMkLst>
            <pc:docMk/>
            <pc:sldMk cId="1033770688" sldId="2147478572"/>
            <ac:spMk id="108" creationId="{39D3C968-1F79-F838-8DB0-FB191A838515}"/>
          </ac:spMkLst>
        </pc:spChg>
        <pc:spChg chg="add del mod">
          <ac:chgData name="Steiner Andreas 6206 ED" userId="e6377c33-a923-4f14-8587-531c474c7b48" providerId="ADAL" clId="{6ECD27E6-B224-41CD-B4E0-E297462320DD}" dt="2023-11-24T08:33:33.072" v="15547"/>
          <ac:spMkLst>
            <pc:docMk/>
            <pc:sldMk cId="1033770688" sldId="2147478572"/>
            <ac:spMk id="109" creationId="{47096722-8F2B-9A30-A1E1-267C4DD4D92E}"/>
          </ac:spMkLst>
        </pc:spChg>
        <pc:spChg chg="add del mod">
          <ac:chgData name="Steiner Andreas 6206 ED" userId="e6377c33-a923-4f14-8587-531c474c7b48" providerId="ADAL" clId="{6ECD27E6-B224-41CD-B4E0-E297462320DD}" dt="2023-11-24T08:33:35.556" v="15702"/>
          <ac:spMkLst>
            <pc:docMk/>
            <pc:sldMk cId="1033770688" sldId="2147478572"/>
            <ac:spMk id="110" creationId="{3DD7CDAC-655F-2BD2-3A82-DEAF7505DD31}"/>
          </ac:spMkLst>
        </pc:spChg>
        <pc:spChg chg="add del mod">
          <ac:chgData name="Steiner Andreas 6206 ED" userId="e6377c33-a923-4f14-8587-531c474c7b48" providerId="ADAL" clId="{6ECD27E6-B224-41CD-B4E0-E297462320DD}" dt="2023-11-24T08:33:37.723" v="15857"/>
          <ac:spMkLst>
            <pc:docMk/>
            <pc:sldMk cId="1033770688" sldId="2147478572"/>
            <ac:spMk id="111" creationId="{66ACBEFA-2D7D-4C6F-8802-144F93181532}"/>
          </ac:spMkLst>
        </pc:spChg>
        <pc:spChg chg="add del mod">
          <ac:chgData name="Steiner Andreas 6206 ED" userId="e6377c33-a923-4f14-8587-531c474c7b48" providerId="ADAL" clId="{6ECD27E6-B224-41CD-B4E0-E297462320DD}" dt="2023-11-24T08:33:40.003" v="16012"/>
          <ac:spMkLst>
            <pc:docMk/>
            <pc:sldMk cId="1033770688" sldId="2147478572"/>
            <ac:spMk id="112" creationId="{30BC6741-BC29-41F9-A4B1-E42159C0E5AD}"/>
          </ac:spMkLst>
        </pc:spChg>
        <pc:spChg chg="add del mod">
          <ac:chgData name="Steiner Andreas 6206 ED" userId="e6377c33-a923-4f14-8587-531c474c7b48" providerId="ADAL" clId="{6ECD27E6-B224-41CD-B4E0-E297462320DD}" dt="2023-11-24T08:33:42.476" v="16167"/>
          <ac:spMkLst>
            <pc:docMk/>
            <pc:sldMk cId="1033770688" sldId="2147478572"/>
            <ac:spMk id="113" creationId="{027F3A6C-F403-FA72-34FD-5D84DE590E0D}"/>
          </ac:spMkLst>
        </pc:spChg>
        <pc:spChg chg="add del mod">
          <ac:chgData name="Steiner Andreas 6206 ED" userId="e6377c33-a923-4f14-8587-531c474c7b48" providerId="ADAL" clId="{6ECD27E6-B224-41CD-B4E0-E297462320DD}" dt="2023-11-24T08:33:45.193" v="16322"/>
          <ac:spMkLst>
            <pc:docMk/>
            <pc:sldMk cId="1033770688" sldId="2147478572"/>
            <ac:spMk id="114" creationId="{7BCC0173-8455-3657-B839-2F34EBC00C0B}"/>
          </ac:spMkLst>
        </pc:spChg>
        <pc:spChg chg="add del mod">
          <ac:chgData name="Steiner Andreas 6206 ED" userId="e6377c33-a923-4f14-8587-531c474c7b48" providerId="ADAL" clId="{6ECD27E6-B224-41CD-B4E0-E297462320DD}" dt="2023-11-24T08:33:47.380" v="16477"/>
          <ac:spMkLst>
            <pc:docMk/>
            <pc:sldMk cId="1033770688" sldId="2147478572"/>
            <ac:spMk id="115" creationId="{A772590A-1730-9EF2-349E-518AF6C49EA3}"/>
          </ac:spMkLst>
        </pc:spChg>
        <pc:spChg chg="add del mod">
          <ac:chgData name="Steiner Andreas 6206 ED" userId="e6377c33-a923-4f14-8587-531c474c7b48" providerId="ADAL" clId="{6ECD27E6-B224-41CD-B4E0-E297462320DD}" dt="2023-11-24T08:33:49.967" v="16632"/>
          <ac:spMkLst>
            <pc:docMk/>
            <pc:sldMk cId="1033770688" sldId="2147478572"/>
            <ac:spMk id="116" creationId="{B525581A-4EBC-6C4E-E348-DF16EFFF77C9}"/>
          </ac:spMkLst>
        </pc:spChg>
        <pc:spChg chg="add del mod">
          <ac:chgData name="Steiner Andreas 6206 ED" userId="e6377c33-a923-4f14-8587-531c474c7b48" providerId="ADAL" clId="{6ECD27E6-B224-41CD-B4E0-E297462320DD}" dt="2023-11-24T08:33:52.541" v="16787"/>
          <ac:spMkLst>
            <pc:docMk/>
            <pc:sldMk cId="1033770688" sldId="2147478572"/>
            <ac:spMk id="117" creationId="{DF107F79-5B26-0A76-2311-7F5CA5073ED3}"/>
          </ac:spMkLst>
        </pc:spChg>
        <pc:spChg chg="add del mod">
          <ac:chgData name="Steiner Andreas 6206 ED" userId="e6377c33-a923-4f14-8587-531c474c7b48" providerId="ADAL" clId="{6ECD27E6-B224-41CD-B4E0-E297462320DD}" dt="2023-11-24T08:33:54.701" v="16942"/>
          <ac:spMkLst>
            <pc:docMk/>
            <pc:sldMk cId="1033770688" sldId="2147478572"/>
            <ac:spMk id="118" creationId="{C78E84FB-E851-3116-8FB0-27C9589EC4BC}"/>
          </ac:spMkLst>
        </pc:spChg>
        <pc:spChg chg="add del mod">
          <ac:chgData name="Steiner Andreas 6206 ED" userId="e6377c33-a923-4f14-8587-531c474c7b48" providerId="ADAL" clId="{6ECD27E6-B224-41CD-B4E0-E297462320DD}" dt="2023-11-24T08:33:57.019" v="17097"/>
          <ac:spMkLst>
            <pc:docMk/>
            <pc:sldMk cId="1033770688" sldId="2147478572"/>
            <ac:spMk id="119" creationId="{FB3266BE-5EB1-3A9E-3EAE-E1BF70792C94}"/>
          </ac:spMkLst>
        </pc:spChg>
        <pc:spChg chg="add del mod">
          <ac:chgData name="Steiner Andreas 6206 ED" userId="e6377c33-a923-4f14-8587-531c474c7b48" providerId="ADAL" clId="{6ECD27E6-B224-41CD-B4E0-E297462320DD}" dt="2023-11-24T08:33:59.516" v="17252"/>
          <ac:spMkLst>
            <pc:docMk/>
            <pc:sldMk cId="1033770688" sldId="2147478572"/>
            <ac:spMk id="120" creationId="{F7F548FC-90F2-31CB-E390-054D117E6B26}"/>
          </ac:spMkLst>
        </pc:spChg>
        <pc:spChg chg="add del mod">
          <ac:chgData name="Steiner Andreas 6206 ED" userId="e6377c33-a923-4f14-8587-531c474c7b48" providerId="ADAL" clId="{6ECD27E6-B224-41CD-B4E0-E297462320DD}" dt="2023-11-24T08:34:01.482" v="17407"/>
          <ac:spMkLst>
            <pc:docMk/>
            <pc:sldMk cId="1033770688" sldId="2147478572"/>
            <ac:spMk id="121" creationId="{088E08D3-FE98-09CB-23D0-CEF72E3A7821}"/>
          </ac:spMkLst>
        </pc:spChg>
        <pc:spChg chg="add del mod">
          <ac:chgData name="Steiner Andreas 6206 ED" userId="e6377c33-a923-4f14-8587-531c474c7b48" providerId="ADAL" clId="{6ECD27E6-B224-41CD-B4E0-E297462320DD}" dt="2023-11-24T08:34:03.862" v="17562"/>
          <ac:spMkLst>
            <pc:docMk/>
            <pc:sldMk cId="1033770688" sldId="2147478572"/>
            <ac:spMk id="122" creationId="{3B0D29EB-BFCF-0E35-A4D0-C800FF80BDBA}"/>
          </ac:spMkLst>
        </pc:spChg>
        <pc:spChg chg="add del mod">
          <ac:chgData name="Steiner Andreas 6206 ED" userId="e6377c33-a923-4f14-8587-531c474c7b48" providerId="ADAL" clId="{6ECD27E6-B224-41CD-B4E0-E297462320DD}" dt="2023-11-24T08:34:05.807" v="17717"/>
          <ac:spMkLst>
            <pc:docMk/>
            <pc:sldMk cId="1033770688" sldId="2147478572"/>
            <ac:spMk id="123" creationId="{8668DE48-C5FE-294D-852C-0E86D8A9A155}"/>
          </ac:spMkLst>
        </pc:spChg>
        <pc:spChg chg="add del mod">
          <ac:chgData name="Steiner Andreas 6206 ED" userId="e6377c33-a923-4f14-8587-531c474c7b48" providerId="ADAL" clId="{6ECD27E6-B224-41CD-B4E0-E297462320DD}" dt="2023-11-24T08:34:07.895" v="17872"/>
          <ac:spMkLst>
            <pc:docMk/>
            <pc:sldMk cId="1033770688" sldId="2147478572"/>
            <ac:spMk id="124" creationId="{AD7A72F4-676D-467A-D436-78037873B8F3}"/>
          </ac:spMkLst>
        </pc:spChg>
        <pc:spChg chg="add del mod">
          <ac:chgData name="Steiner Andreas 6206 ED" userId="e6377c33-a923-4f14-8587-531c474c7b48" providerId="ADAL" clId="{6ECD27E6-B224-41CD-B4E0-E297462320DD}" dt="2023-11-24T08:34:09.849" v="18027"/>
          <ac:spMkLst>
            <pc:docMk/>
            <pc:sldMk cId="1033770688" sldId="2147478572"/>
            <ac:spMk id="125" creationId="{C9A78023-DB46-BCA0-EE73-26419A8BA6D7}"/>
          </ac:spMkLst>
        </pc:spChg>
        <pc:spChg chg="add del mod">
          <ac:chgData name="Steiner Andreas 6206 ED" userId="e6377c33-a923-4f14-8587-531c474c7b48" providerId="ADAL" clId="{6ECD27E6-B224-41CD-B4E0-E297462320DD}" dt="2023-11-24T08:34:11.896" v="18182"/>
          <ac:spMkLst>
            <pc:docMk/>
            <pc:sldMk cId="1033770688" sldId="2147478572"/>
            <ac:spMk id="126" creationId="{B8F3F04E-E098-52CD-A7F0-D69FA2DC59D8}"/>
          </ac:spMkLst>
        </pc:spChg>
        <pc:spChg chg="add del mod">
          <ac:chgData name="Steiner Andreas 6206 ED" userId="e6377c33-a923-4f14-8587-531c474c7b48" providerId="ADAL" clId="{6ECD27E6-B224-41CD-B4E0-E297462320DD}" dt="2023-11-24T08:34:14.166" v="18337"/>
          <ac:spMkLst>
            <pc:docMk/>
            <pc:sldMk cId="1033770688" sldId="2147478572"/>
            <ac:spMk id="127" creationId="{4E4F4E6A-1151-6473-2B05-C4084C1DCA68}"/>
          </ac:spMkLst>
        </pc:spChg>
        <pc:spChg chg="add del mod">
          <ac:chgData name="Steiner Andreas 6206 ED" userId="e6377c33-a923-4f14-8587-531c474c7b48" providerId="ADAL" clId="{6ECD27E6-B224-41CD-B4E0-E297462320DD}" dt="2023-11-24T08:34:16.284" v="18492"/>
          <ac:spMkLst>
            <pc:docMk/>
            <pc:sldMk cId="1033770688" sldId="2147478572"/>
            <ac:spMk id="128" creationId="{34DBFA63-6F29-485E-CA3B-F984D0193A13}"/>
          </ac:spMkLst>
        </pc:spChg>
        <pc:spChg chg="add del mod">
          <ac:chgData name="Steiner Andreas 6206 ED" userId="e6377c33-a923-4f14-8587-531c474c7b48" providerId="ADAL" clId="{6ECD27E6-B224-41CD-B4E0-E297462320DD}" dt="2023-11-24T08:34:18.411" v="18647"/>
          <ac:spMkLst>
            <pc:docMk/>
            <pc:sldMk cId="1033770688" sldId="2147478572"/>
            <ac:spMk id="129" creationId="{7A88CF3B-D869-35C6-F364-225A184C81EA}"/>
          </ac:spMkLst>
        </pc:spChg>
        <pc:spChg chg="add del mod">
          <ac:chgData name="Steiner Andreas 6206 ED" userId="e6377c33-a923-4f14-8587-531c474c7b48" providerId="ADAL" clId="{6ECD27E6-B224-41CD-B4E0-E297462320DD}" dt="2023-11-24T08:34:20.598" v="18802"/>
          <ac:spMkLst>
            <pc:docMk/>
            <pc:sldMk cId="1033770688" sldId="2147478572"/>
            <ac:spMk id="130" creationId="{89F987D4-81B2-FC00-4188-3388D0D11962}"/>
          </ac:spMkLst>
        </pc:spChg>
        <pc:spChg chg="add del mod">
          <ac:chgData name="Steiner Andreas 6206 ED" userId="e6377c33-a923-4f14-8587-531c474c7b48" providerId="ADAL" clId="{6ECD27E6-B224-41CD-B4E0-E297462320DD}" dt="2023-11-24T08:34:22.543" v="18957"/>
          <ac:spMkLst>
            <pc:docMk/>
            <pc:sldMk cId="1033770688" sldId="2147478572"/>
            <ac:spMk id="131" creationId="{EF328C75-8E8E-7217-9A7B-A694BF24F826}"/>
          </ac:spMkLst>
        </pc:spChg>
        <pc:spChg chg="add del mod">
          <ac:chgData name="Steiner Andreas 6206 ED" userId="e6377c33-a923-4f14-8587-531c474c7b48" providerId="ADAL" clId="{6ECD27E6-B224-41CD-B4E0-E297462320DD}" dt="2023-11-24T08:34:25.781" v="19112"/>
          <ac:spMkLst>
            <pc:docMk/>
            <pc:sldMk cId="1033770688" sldId="2147478572"/>
            <ac:spMk id="132" creationId="{ACE33AB4-021E-1528-D6DC-DB080F9F6F0C}"/>
          </ac:spMkLst>
        </pc:spChg>
        <pc:spChg chg="add del mod">
          <ac:chgData name="Steiner Andreas 6206 ED" userId="e6377c33-a923-4f14-8587-531c474c7b48" providerId="ADAL" clId="{6ECD27E6-B224-41CD-B4E0-E297462320DD}" dt="2023-11-24T08:34:28.556" v="19267"/>
          <ac:spMkLst>
            <pc:docMk/>
            <pc:sldMk cId="1033770688" sldId="2147478572"/>
            <ac:spMk id="133" creationId="{7F4334F4-B143-EA82-E507-976B2044AC5F}"/>
          </ac:spMkLst>
        </pc:spChg>
        <pc:spChg chg="add del mod">
          <ac:chgData name="Steiner Andreas 6206 ED" userId="e6377c33-a923-4f14-8587-531c474c7b48" providerId="ADAL" clId="{6ECD27E6-B224-41CD-B4E0-E297462320DD}" dt="2023-11-24T08:34:31.214" v="19422"/>
          <ac:spMkLst>
            <pc:docMk/>
            <pc:sldMk cId="1033770688" sldId="2147478572"/>
            <ac:spMk id="134" creationId="{9FAA1421-F92F-E246-139E-77BCB38C6992}"/>
          </ac:spMkLst>
        </pc:spChg>
        <pc:spChg chg="add del mod">
          <ac:chgData name="Steiner Andreas 6206 ED" userId="e6377c33-a923-4f14-8587-531c474c7b48" providerId="ADAL" clId="{6ECD27E6-B224-41CD-B4E0-E297462320DD}" dt="2023-11-24T08:34:33.416" v="19577"/>
          <ac:spMkLst>
            <pc:docMk/>
            <pc:sldMk cId="1033770688" sldId="2147478572"/>
            <ac:spMk id="135" creationId="{1914A2F2-B5FC-D2A5-2261-BFD8D89BED7F}"/>
          </ac:spMkLst>
        </pc:spChg>
        <pc:spChg chg="add del mod">
          <ac:chgData name="Steiner Andreas 6206 ED" userId="e6377c33-a923-4f14-8587-531c474c7b48" providerId="ADAL" clId="{6ECD27E6-B224-41CD-B4E0-E297462320DD}" dt="2023-11-24T08:34:35.630" v="19732"/>
          <ac:spMkLst>
            <pc:docMk/>
            <pc:sldMk cId="1033770688" sldId="2147478572"/>
            <ac:spMk id="136" creationId="{8219C109-0A1F-BB41-42A5-CC47DF6E84FD}"/>
          </ac:spMkLst>
        </pc:spChg>
        <pc:spChg chg="add del mod">
          <ac:chgData name="Steiner Andreas 6206 ED" userId="e6377c33-a923-4f14-8587-531c474c7b48" providerId="ADAL" clId="{6ECD27E6-B224-41CD-B4E0-E297462320DD}" dt="2023-11-24T08:34:37.911" v="19887"/>
          <ac:spMkLst>
            <pc:docMk/>
            <pc:sldMk cId="1033770688" sldId="2147478572"/>
            <ac:spMk id="137" creationId="{E46A94A8-7E2B-E197-4A3E-B3509C68B222}"/>
          </ac:spMkLst>
        </pc:spChg>
        <pc:spChg chg="add del mod">
          <ac:chgData name="Steiner Andreas 6206 ED" userId="e6377c33-a923-4f14-8587-531c474c7b48" providerId="ADAL" clId="{6ECD27E6-B224-41CD-B4E0-E297462320DD}" dt="2023-11-24T08:34:40.204" v="20042"/>
          <ac:spMkLst>
            <pc:docMk/>
            <pc:sldMk cId="1033770688" sldId="2147478572"/>
            <ac:spMk id="138" creationId="{A0535290-7627-1F50-9A45-E88B9C578905}"/>
          </ac:spMkLst>
        </pc:spChg>
        <pc:spChg chg="add del mod">
          <ac:chgData name="Steiner Andreas 6206 ED" userId="e6377c33-a923-4f14-8587-531c474c7b48" providerId="ADAL" clId="{6ECD27E6-B224-41CD-B4E0-E297462320DD}" dt="2023-11-24T08:34:42.860" v="20197"/>
          <ac:spMkLst>
            <pc:docMk/>
            <pc:sldMk cId="1033770688" sldId="2147478572"/>
            <ac:spMk id="139" creationId="{485D83B8-5AAE-2D45-E28B-F19E93D24893}"/>
          </ac:spMkLst>
        </pc:spChg>
        <pc:spChg chg="add del mod">
          <ac:chgData name="Steiner Andreas 6206 ED" userId="e6377c33-a923-4f14-8587-531c474c7b48" providerId="ADAL" clId="{6ECD27E6-B224-41CD-B4E0-E297462320DD}" dt="2023-11-24T08:34:45.295" v="20352"/>
          <ac:spMkLst>
            <pc:docMk/>
            <pc:sldMk cId="1033770688" sldId="2147478572"/>
            <ac:spMk id="140" creationId="{754FC07D-3A76-C0B6-04FD-525D7035CD3D}"/>
          </ac:spMkLst>
        </pc:spChg>
        <pc:spChg chg="add del mod">
          <ac:chgData name="Steiner Andreas 6206 ED" userId="e6377c33-a923-4f14-8587-531c474c7b48" providerId="ADAL" clId="{6ECD27E6-B224-41CD-B4E0-E297462320DD}" dt="2023-11-24T08:34:47.528" v="20507"/>
          <ac:spMkLst>
            <pc:docMk/>
            <pc:sldMk cId="1033770688" sldId="2147478572"/>
            <ac:spMk id="141" creationId="{D6EAA0D0-2FD1-78CA-7ED7-88124112AD86}"/>
          </ac:spMkLst>
        </pc:spChg>
        <pc:spChg chg="add del mod">
          <ac:chgData name="Steiner Andreas 6206 ED" userId="e6377c33-a923-4f14-8587-531c474c7b48" providerId="ADAL" clId="{6ECD27E6-B224-41CD-B4E0-E297462320DD}" dt="2023-11-24T08:34:49.826" v="20662"/>
          <ac:spMkLst>
            <pc:docMk/>
            <pc:sldMk cId="1033770688" sldId="2147478572"/>
            <ac:spMk id="142" creationId="{40CEEC54-9A29-B68B-594B-9640CEDC1D20}"/>
          </ac:spMkLst>
        </pc:spChg>
        <pc:spChg chg="add del mod">
          <ac:chgData name="Steiner Andreas 6206 ED" userId="e6377c33-a923-4f14-8587-531c474c7b48" providerId="ADAL" clId="{6ECD27E6-B224-41CD-B4E0-E297462320DD}" dt="2023-11-24T08:34:52.452" v="20817"/>
          <ac:spMkLst>
            <pc:docMk/>
            <pc:sldMk cId="1033770688" sldId="2147478572"/>
            <ac:spMk id="143" creationId="{2A5DEBA8-EA3D-2D98-78DF-86B7EEA08C0F}"/>
          </ac:spMkLst>
        </pc:spChg>
        <pc:spChg chg="add del mod">
          <ac:chgData name="Steiner Andreas 6206 ED" userId="e6377c33-a923-4f14-8587-531c474c7b48" providerId="ADAL" clId="{6ECD27E6-B224-41CD-B4E0-E297462320DD}" dt="2023-11-24T08:34:54.978" v="20972"/>
          <ac:spMkLst>
            <pc:docMk/>
            <pc:sldMk cId="1033770688" sldId="2147478572"/>
            <ac:spMk id="144" creationId="{7C78244F-3F77-D374-D00D-66F3E88D224C}"/>
          </ac:spMkLst>
        </pc:spChg>
        <pc:spChg chg="add del mod">
          <ac:chgData name="Steiner Andreas 6206 ED" userId="e6377c33-a923-4f14-8587-531c474c7b48" providerId="ADAL" clId="{6ECD27E6-B224-41CD-B4E0-E297462320DD}" dt="2023-11-24T08:34:57.295" v="21127"/>
          <ac:spMkLst>
            <pc:docMk/>
            <pc:sldMk cId="1033770688" sldId="2147478572"/>
            <ac:spMk id="145" creationId="{25089020-A500-F15F-3344-2659951443AF}"/>
          </ac:spMkLst>
        </pc:spChg>
        <pc:spChg chg="add del mod">
          <ac:chgData name="Steiner Andreas 6206 ED" userId="e6377c33-a923-4f14-8587-531c474c7b48" providerId="ADAL" clId="{6ECD27E6-B224-41CD-B4E0-E297462320DD}" dt="2023-11-24T08:34:59.771" v="21282"/>
          <ac:spMkLst>
            <pc:docMk/>
            <pc:sldMk cId="1033770688" sldId="2147478572"/>
            <ac:spMk id="146" creationId="{E4CE3D8C-6EB3-D5B8-9614-4448295900D9}"/>
          </ac:spMkLst>
        </pc:spChg>
        <pc:spChg chg="add del mod">
          <ac:chgData name="Steiner Andreas 6206 ED" userId="e6377c33-a923-4f14-8587-531c474c7b48" providerId="ADAL" clId="{6ECD27E6-B224-41CD-B4E0-E297462320DD}" dt="2023-11-24T08:35:02.364" v="21437"/>
          <ac:spMkLst>
            <pc:docMk/>
            <pc:sldMk cId="1033770688" sldId="2147478572"/>
            <ac:spMk id="147" creationId="{6CFC0E1A-D33E-2BAB-552E-3A3C86EA7F4C}"/>
          </ac:spMkLst>
        </pc:spChg>
        <pc:spChg chg="add del mod">
          <ac:chgData name="Steiner Andreas 6206 ED" userId="e6377c33-a923-4f14-8587-531c474c7b48" providerId="ADAL" clId="{6ECD27E6-B224-41CD-B4E0-E297462320DD}" dt="2023-11-24T08:35:04.833" v="21592"/>
          <ac:spMkLst>
            <pc:docMk/>
            <pc:sldMk cId="1033770688" sldId="2147478572"/>
            <ac:spMk id="148" creationId="{7F9FC019-C48B-E39F-D68E-5A336307197B}"/>
          </ac:spMkLst>
        </pc:spChg>
        <pc:spChg chg="add del mod">
          <ac:chgData name="Steiner Andreas 6206 ED" userId="e6377c33-a923-4f14-8587-531c474c7b48" providerId="ADAL" clId="{6ECD27E6-B224-41CD-B4E0-E297462320DD}" dt="2023-11-24T08:35:07.377" v="21747"/>
          <ac:spMkLst>
            <pc:docMk/>
            <pc:sldMk cId="1033770688" sldId="2147478572"/>
            <ac:spMk id="149" creationId="{27CE1D5F-D2F6-A2B2-293B-247833AE203E}"/>
          </ac:spMkLst>
        </pc:spChg>
        <pc:spChg chg="add del mod">
          <ac:chgData name="Steiner Andreas 6206 ED" userId="e6377c33-a923-4f14-8587-531c474c7b48" providerId="ADAL" clId="{6ECD27E6-B224-41CD-B4E0-E297462320DD}" dt="2023-11-24T08:35:09.995" v="21902"/>
          <ac:spMkLst>
            <pc:docMk/>
            <pc:sldMk cId="1033770688" sldId="2147478572"/>
            <ac:spMk id="150" creationId="{C45112B1-8E87-0A4B-689B-A4CFD35AFE98}"/>
          </ac:spMkLst>
        </pc:spChg>
        <pc:spChg chg="add del mod">
          <ac:chgData name="Steiner Andreas 6206 ED" userId="e6377c33-a923-4f14-8587-531c474c7b48" providerId="ADAL" clId="{6ECD27E6-B224-41CD-B4E0-E297462320DD}" dt="2023-11-24T08:35:12.435" v="22057"/>
          <ac:spMkLst>
            <pc:docMk/>
            <pc:sldMk cId="1033770688" sldId="2147478572"/>
            <ac:spMk id="151" creationId="{16E2D65C-C511-B362-D968-3FCB5308958C}"/>
          </ac:spMkLst>
        </pc:spChg>
        <pc:spChg chg="add del mod">
          <ac:chgData name="Steiner Andreas 6206 ED" userId="e6377c33-a923-4f14-8587-531c474c7b48" providerId="ADAL" clId="{6ECD27E6-B224-41CD-B4E0-E297462320DD}" dt="2023-11-24T08:35:14.570" v="22212"/>
          <ac:spMkLst>
            <pc:docMk/>
            <pc:sldMk cId="1033770688" sldId="2147478572"/>
            <ac:spMk id="152" creationId="{F1D7A3FC-F5E0-534C-0612-CE20400C36E8}"/>
          </ac:spMkLst>
        </pc:spChg>
        <pc:spChg chg="add del mod">
          <ac:chgData name="Steiner Andreas 6206 ED" userId="e6377c33-a923-4f14-8587-531c474c7b48" providerId="ADAL" clId="{6ECD27E6-B224-41CD-B4E0-E297462320DD}" dt="2023-11-24T08:35:16.876" v="22367"/>
          <ac:spMkLst>
            <pc:docMk/>
            <pc:sldMk cId="1033770688" sldId="2147478572"/>
            <ac:spMk id="153" creationId="{70D49111-7676-BD3D-F87B-7387B084D0D0}"/>
          </ac:spMkLst>
        </pc:spChg>
        <pc:spChg chg="add del mod">
          <ac:chgData name="Steiner Andreas 6206 ED" userId="e6377c33-a923-4f14-8587-531c474c7b48" providerId="ADAL" clId="{6ECD27E6-B224-41CD-B4E0-E297462320DD}" dt="2023-11-24T08:35:19.319" v="22522"/>
          <ac:spMkLst>
            <pc:docMk/>
            <pc:sldMk cId="1033770688" sldId="2147478572"/>
            <ac:spMk id="154" creationId="{FECB2D9C-EFA7-11A0-940B-DB04E12EE51C}"/>
          </ac:spMkLst>
        </pc:spChg>
        <pc:spChg chg="add del mod">
          <ac:chgData name="Steiner Andreas 6206 ED" userId="e6377c33-a923-4f14-8587-531c474c7b48" providerId="ADAL" clId="{6ECD27E6-B224-41CD-B4E0-E297462320DD}" dt="2023-11-24T08:35:21.778" v="22677"/>
          <ac:spMkLst>
            <pc:docMk/>
            <pc:sldMk cId="1033770688" sldId="2147478572"/>
            <ac:spMk id="155" creationId="{FA462AE0-D496-DA83-FA57-BBB55F5C45F4}"/>
          </ac:spMkLst>
        </pc:spChg>
        <pc:spChg chg="add del mod">
          <ac:chgData name="Steiner Andreas 6206 ED" userId="e6377c33-a923-4f14-8587-531c474c7b48" providerId="ADAL" clId="{6ECD27E6-B224-41CD-B4E0-E297462320DD}" dt="2023-11-24T08:35:24.107" v="22832"/>
          <ac:spMkLst>
            <pc:docMk/>
            <pc:sldMk cId="1033770688" sldId="2147478572"/>
            <ac:spMk id="156" creationId="{5DE57F1D-6BDA-578C-72CC-C58AD5A61E29}"/>
          </ac:spMkLst>
        </pc:spChg>
        <pc:spChg chg="add del mod">
          <ac:chgData name="Steiner Andreas 6206 ED" userId="e6377c33-a923-4f14-8587-531c474c7b48" providerId="ADAL" clId="{6ECD27E6-B224-41CD-B4E0-E297462320DD}" dt="2023-11-24T08:35:26.722" v="22987"/>
          <ac:spMkLst>
            <pc:docMk/>
            <pc:sldMk cId="1033770688" sldId="2147478572"/>
            <ac:spMk id="157" creationId="{9CC0EB7F-3558-0D0C-E740-4589A065FCBD}"/>
          </ac:spMkLst>
        </pc:spChg>
        <pc:spChg chg="add del mod">
          <ac:chgData name="Steiner Andreas 6206 ED" userId="e6377c33-a923-4f14-8587-531c474c7b48" providerId="ADAL" clId="{6ECD27E6-B224-41CD-B4E0-E297462320DD}" dt="2023-11-24T08:35:29.292" v="23142"/>
          <ac:spMkLst>
            <pc:docMk/>
            <pc:sldMk cId="1033770688" sldId="2147478572"/>
            <ac:spMk id="158" creationId="{60B3294C-2728-E607-8A95-77106B88B518}"/>
          </ac:spMkLst>
        </pc:spChg>
        <pc:spChg chg="add del mod">
          <ac:chgData name="Steiner Andreas 6206 ED" userId="e6377c33-a923-4f14-8587-531c474c7b48" providerId="ADAL" clId="{6ECD27E6-B224-41CD-B4E0-E297462320DD}" dt="2023-11-24T08:35:31.790" v="23297"/>
          <ac:spMkLst>
            <pc:docMk/>
            <pc:sldMk cId="1033770688" sldId="2147478572"/>
            <ac:spMk id="159" creationId="{AC1F106E-869A-3751-C627-EE86354EAA11}"/>
          </ac:spMkLst>
        </pc:spChg>
        <pc:spChg chg="add del mod">
          <ac:chgData name="Steiner Andreas 6206 ED" userId="e6377c33-a923-4f14-8587-531c474c7b48" providerId="ADAL" clId="{6ECD27E6-B224-41CD-B4E0-E297462320DD}" dt="2023-11-24T08:35:34.206" v="23452"/>
          <ac:spMkLst>
            <pc:docMk/>
            <pc:sldMk cId="1033770688" sldId="2147478572"/>
            <ac:spMk id="160" creationId="{92DBBC02-8BDA-22CF-97BB-927E399D97CC}"/>
          </ac:spMkLst>
        </pc:spChg>
        <pc:spChg chg="add del mod">
          <ac:chgData name="Steiner Andreas 6206 ED" userId="e6377c33-a923-4f14-8587-531c474c7b48" providerId="ADAL" clId="{6ECD27E6-B224-41CD-B4E0-E297462320DD}" dt="2023-11-24T08:35:36.526" v="23607"/>
          <ac:spMkLst>
            <pc:docMk/>
            <pc:sldMk cId="1033770688" sldId="2147478572"/>
            <ac:spMk id="161" creationId="{7B49756D-653F-256B-288F-E882AFDE4265}"/>
          </ac:spMkLst>
        </pc:spChg>
        <pc:spChg chg="add del mod">
          <ac:chgData name="Steiner Andreas 6206 ED" userId="e6377c33-a923-4f14-8587-531c474c7b48" providerId="ADAL" clId="{6ECD27E6-B224-41CD-B4E0-E297462320DD}" dt="2023-11-24T08:35:38.880" v="23762"/>
          <ac:spMkLst>
            <pc:docMk/>
            <pc:sldMk cId="1033770688" sldId="2147478572"/>
            <ac:spMk id="162" creationId="{356EB4BC-559D-9E8A-9658-9C6C22881FDD}"/>
          </ac:spMkLst>
        </pc:spChg>
        <pc:spChg chg="add del mod">
          <ac:chgData name="Steiner Andreas 6206 ED" userId="e6377c33-a923-4f14-8587-531c474c7b48" providerId="ADAL" clId="{6ECD27E6-B224-41CD-B4E0-E297462320DD}" dt="2023-11-24T08:35:41.590" v="23917"/>
          <ac:spMkLst>
            <pc:docMk/>
            <pc:sldMk cId="1033770688" sldId="2147478572"/>
            <ac:spMk id="163" creationId="{0D8FC76B-B453-E25A-374E-E9537C61EB39}"/>
          </ac:spMkLst>
        </pc:spChg>
        <pc:spChg chg="add del mod">
          <ac:chgData name="Steiner Andreas 6206 ED" userId="e6377c33-a923-4f14-8587-531c474c7b48" providerId="ADAL" clId="{6ECD27E6-B224-41CD-B4E0-E297462320DD}" dt="2023-11-24T08:35:43.991" v="24072"/>
          <ac:spMkLst>
            <pc:docMk/>
            <pc:sldMk cId="1033770688" sldId="2147478572"/>
            <ac:spMk id="164" creationId="{4F1F17ED-A522-FA71-BE2C-A1F651A3C388}"/>
          </ac:spMkLst>
        </pc:spChg>
        <pc:spChg chg="add del mod">
          <ac:chgData name="Steiner Andreas 6206 ED" userId="e6377c33-a923-4f14-8587-531c474c7b48" providerId="ADAL" clId="{6ECD27E6-B224-41CD-B4E0-E297462320DD}" dt="2023-11-24T08:35:46.374" v="24227"/>
          <ac:spMkLst>
            <pc:docMk/>
            <pc:sldMk cId="1033770688" sldId="2147478572"/>
            <ac:spMk id="165" creationId="{9621DA00-C193-5752-AA46-52006CAE1B33}"/>
          </ac:spMkLst>
        </pc:spChg>
        <pc:spChg chg="add del mod">
          <ac:chgData name="Steiner Andreas 6206 ED" userId="e6377c33-a923-4f14-8587-531c474c7b48" providerId="ADAL" clId="{6ECD27E6-B224-41CD-B4E0-E297462320DD}" dt="2023-11-24T08:35:48.567" v="24382"/>
          <ac:spMkLst>
            <pc:docMk/>
            <pc:sldMk cId="1033770688" sldId="2147478572"/>
            <ac:spMk id="166" creationId="{4AAD2056-ACC1-9583-B95F-A2B47B75F062}"/>
          </ac:spMkLst>
        </pc:spChg>
        <pc:spChg chg="add del mod">
          <ac:chgData name="Steiner Andreas 6206 ED" userId="e6377c33-a923-4f14-8587-531c474c7b48" providerId="ADAL" clId="{6ECD27E6-B224-41CD-B4E0-E297462320DD}" dt="2023-11-24T08:35:50.869" v="24537"/>
          <ac:spMkLst>
            <pc:docMk/>
            <pc:sldMk cId="1033770688" sldId="2147478572"/>
            <ac:spMk id="167" creationId="{6257C7B7-CA03-E338-A9EF-1F8A015AAAC7}"/>
          </ac:spMkLst>
        </pc:spChg>
        <pc:spChg chg="add del mod">
          <ac:chgData name="Steiner Andreas 6206 ED" userId="e6377c33-a923-4f14-8587-531c474c7b48" providerId="ADAL" clId="{6ECD27E6-B224-41CD-B4E0-E297462320DD}" dt="2023-11-24T08:35:53.720" v="24692"/>
          <ac:spMkLst>
            <pc:docMk/>
            <pc:sldMk cId="1033770688" sldId="2147478572"/>
            <ac:spMk id="168" creationId="{4AA5010A-90C2-961D-ED43-5AD0E311FDC4}"/>
          </ac:spMkLst>
        </pc:spChg>
        <pc:spChg chg="add del mod">
          <ac:chgData name="Steiner Andreas 6206 ED" userId="e6377c33-a923-4f14-8587-531c474c7b48" providerId="ADAL" clId="{6ECD27E6-B224-41CD-B4E0-E297462320DD}" dt="2023-11-24T08:35:56.298" v="24847"/>
          <ac:spMkLst>
            <pc:docMk/>
            <pc:sldMk cId="1033770688" sldId="2147478572"/>
            <ac:spMk id="169" creationId="{E47BB09E-7F47-B296-EE0E-FDC55DE67DC0}"/>
          </ac:spMkLst>
        </pc:spChg>
        <pc:spChg chg="add del mod">
          <ac:chgData name="Steiner Andreas 6206 ED" userId="e6377c33-a923-4f14-8587-531c474c7b48" providerId="ADAL" clId="{6ECD27E6-B224-41CD-B4E0-E297462320DD}" dt="2023-11-24T08:35:58.775" v="25002"/>
          <ac:spMkLst>
            <pc:docMk/>
            <pc:sldMk cId="1033770688" sldId="2147478572"/>
            <ac:spMk id="170" creationId="{FD792B6D-2FEB-588C-C4DB-BB63EF31A202}"/>
          </ac:spMkLst>
        </pc:spChg>
        <pc:spChg chg="add del mod">
          <ac:chgData name="Steiner Andreas 6206 ED" userId="e6377c33-a923-4f14-8587-531c474c7b48" providerId="ADAL" clId="{6ECD27E6-B224-41CD-B4E0-E297462320DD}" dt="2023-11-24T08:36:01.229" v="25157"/>
          <ac:spMkLst>
            <pc:docMk/>
            <pc:sldMk cId="1033770688" sldId="2147478572"/>
            <ac:spMk id="171" creationId="{32A0D62F-25EF-C843-3B35-AA6E18CCC117}"/>
          </ac:spMkLst>
        </pc:spChg>
        <pc:spChg chg="add del mod">
          <ac:chgData name="Steiner Andreas 6206 ED" userId="e6377c33-a923-4f14-8587-531c474c7b48" providerId="ADAL" clId="{6ECD27E6-B224-41CD-B4E0-E297462320DD}" dt="2023-11-24T08:36:03.723" v="25312"/>
          <ac:spMkLst>
            <pc:docMk/>
            <pc:sldMk cId="1033770688" sldId="2147478572"/>
            <ac:spMk id="172" creationId="{B0F5A10F-81A5-BEB3-BD0C-649D1C8991A5}"/>
          </ac:spMkLst>
        </pc:spChg>
        <pc:spChg chg="add del mod">
          <ac:chgData name="Steiner Andreas 6206 ED" userId="e6377c33-a923-4f14-8587-531c474c7b48" providerId="ADAL" clId="{6ECD27E6-B224-41CD-B4E0-E297462320DD}" dt="2023-11-24T08:36:06.383" v="25467"/>
          <ac:spMkLst>
            <pc:docMk/>
            <pc:sldMk cId="1033770688" sldId="2147478572"/>
            <ac:spMk id="173" creationId="{175B4E9B-E5D5-C5A1-A325-A26DF11D7625}"/>
          </ac:spMkLst>
        </pc:spChg>
        <pc:spChg chg="add del mod">
          <ac:chgData name="Steiner Andreas 6206 ED" userId="e6377c33-a923-4f14-8587-531c474c7b48" providerId="ADAL" clId="{6ECD27E6-B224-41CD-B4E0-E297462320DD}" dt="2023-11-24T08:36:08.920" v="25622"/>
          <ac:spMkLst>
            <pc:docMk/>
            <pc:sldMk cId="1033770688" sldId="2147478572"/>
            <ac:spMk id="174" creationId="{B096B832-40B3-F959-729A-2B5C6F5D4457}"/>
          </ac:spMkLst>
        </pc:spChg>
        <pc:spChg chg="add del mod">
          <ac:chgData name="Steiner Andreas 6206 ED" userId="e6377c33-a923-4f14-8587-531c474c7b48" providerId="ADAL" clId="{6ECD27E6-B224-41CD-B4E0-E297462320DD}" dt="2023-11-24T08:36:11.361" v="25777"/>
          <ac:spMkLst>
            <pc:docMk/>
            <pc:sldMk cId="1033770688" sldId="2147478572"/>
            <ac:spMk id="175" creationId="{CA3EB759-2743-89A2-AA09-7642ADA4B524}"/>
          </ac:spMkLst>
        </pc:spChg>
        <pc:spChg chg="add del mod">
          <ac:chgData name="Steiner Andreas 6206 ED" userId="e6377c33-a923-4f14-8587-531c474c7b48" providerId="ADAL" clId="{6ECD27E6-B224-41CD-B4E0-E297462320DD}" dt="2023-11-24T08:36:13.817" v="25932"/>
          <ac:spMkLst>
            <pc:docMk/>
            <pc:sldMk cId="1033770688" sldId="2147478572"/>
            <ac:spMk id="176" creationId="{065C158B-E950-3A5F-F0E3-4AC7A0116C4C}"/>
          </ac:spMkLst>
        </pc:spChg>
        <pc:spChg chg="add del mod">
          <ac:chgData name="Steiner Andreas 6206 ED" userId="e6377c33-a923-4f14-8587-531c474c7b48" providerId="ADAL" clId="{6ECD27E6-B224-41CD-B4E0-E297462320DD}" dt="2023-11-24T08:36:16.448" v="26087"/>
          <ac:spMkLst>
            <pc:docMk/>
            <pc:sldMk cId="1033770688" sldId="2147478572"/>
            <ac:spMk id="177" creationId="{B88CC314-991D-B897-AF71-C28DF7DBD7FA}"/>
          </ac:spMkLst>
        </pc:spChg>
        <pc:spChg chg="add del mod">
          <ac:chgData name="Steiner Andreas 6206 ED" userId="e6377c33-a923-4f14-8587-531c474c7b48" providerId="ADAL" clId="{6ECD27E6-B224-41CD-B4E0-E297462320DD}" dt="2023-11-24T08:36:19.040" v="26242"/>
          <ac:spMkLst>
            <pc:docMk/>
            <pc:sldMk cId="1033770688" sldId="2147478572"/>
            <ac:spMk id="178" creationId="{FDFD4B66-F8D9-1FA1-6783-70895FA0711B}"/>
          </ac:spMkLst>
        </pc:spChg>
        <pc:spChg chg="add del mod">
          <ac:chgData name="Steiner Andreas 6206 ED" userId="e6377c33-a923-4f14-8587-531c474c7b48" providerId="ADAL" clId="{6ECD27E6-B224-41CD-B4E0-E297462320DD}" dt="2023-11-24T08:36:21.360" v="26397"/>
          <ac:spMkLst>
            <pc:docMk/>
            <pc:sldMk cId="1033770688" sldId="2147478572"/>
            <ac:spMk id="179" creationId="{0B7B1CAC-19A1-77D4-8AC9-BB19742406B3}"/>
          </ac:spMkLst>
        </pc:spChg>
        <pc:spChg chg="add del mod">
          <ac:chgData name="Steiner Andreas 6206 ED" userId="e6377c33-a923-4f14-8587-531c474c7b48" providerId="ADAL" clId="{6ECD27E6-B224-41CD-B4E0-E297462320DD}" dt="2023-11-24T08:36:23.786" v="26552"/>
          <ac:spMkLst>
            <pc:docMk/>
            <pc:sldMk cId="1033770688" sldId="2147478572"/>
            <ac:spMk id="180" creationId="{8F1BB3E5-0C12-4290-CA60-2A33C42A01A0}"/>
          </ac:spMkLst>
        </pc:spChg>
        <pc:spChg chg="add del mod">
          <ac:chgData name="Steiner Andreas 6206 ED" userId="e6377c33-a923-4f14-8587-531c474c7b48" providerId="ADAL" clId="{6ECD27E6-B224-41CD-B4E0-E297462320DD}" dt="2023-11-24T08:36:26.340" v="26707"/>
          <ac:spMkLst>
            <pc:docMk/>
            <pc:sldMk cId="1033770688" sldId="2147478572"/>
            <ac:spMk id="181" creationId="{BA94476A-10E9-4E00-2550-1C551C2CB716}"/>
          </ac:spMkLst>
        </pc:spChg>
        <pc:spChg chg="add del mod">
          <ac:chgData name="Steiner Andreas 6206 ED" userId="e6377c33-a923-4f14-8587-531c474c7b48" providerId="ADAL" clId="{6ECD27E6-B224-41CD-B4E0-E297462320DD}" dt="2023-11-24T08:36:29.104" v="26862"/>
          <ac:spMkLst>
            <pc:docMk/>
            <pc:sldMk cId="1033770688" sldId="2147478572"/>
            <ac:spMk id="182" creationId="{B534BCEF-DEA9-81E8-E4C2-343FFA155FF1}"/>
          </ac:spMkLst>
        </pc:spChg>
        <pc:spChg chg="add del mod">
          <ac:chgData name="Steiner Andreas 6206 ED" userId="e6377c33-a923-4f14-8587-531c474c7b48" providerId="ADAL" clId="{6ECD27E6-B224-41CD-B4E0-E297462320DD}" dt="2023-11-24T08:36:31.803" v="27017"/>
          <ac:spMkLst>
            <pc:docMk/>
            <pc:sldMk cId="1033770688" sldId="2147478572"/>
            <ac:spMk id="183" creationId="{58A45517-C66A-2CD8-B4E6-A1C05EE27A75}"/>
          </ac:spMkLst>
        </pc:spChg>
        <pc:spChg chg="add del mod">
          <ac:chgData name="Steiner Andreas 6206 ED" userId="e6377c33-a923-4f14-8587-531c474c7b48" providerId="ADAL" clId="{6ECD27E6-B224-41CD-B4E0-E297462320DD}" dt="2023-11-24T08:36:34.490" v="27172"/>
          <ac:spMkLst>
            <pc:docMk/>
            <pc:sldMk cId="1033770688" sldId="2147478572"/>
            <ac:spMk id="184" creationId="{77D790D4-9C8F-823A-9B33-AC3714B63F8C}"/>
          </ac:spMkLst>
        </pc:spChg>
        <pc:spChg chg="add del mod">
          <ac:chgData name="Steiner Andreas 6206 ED" userId="e6377c33-a923-4f14-8587-531c474c7b48" providerId="ADAL" clId="{6ECD27E6-B224-41CD-B4E0-E297462320DD}" dt="2023-11-24T08:36:37.018" v="27327"/>
          <ac:spMkLst>
            <pc:docMk/>
            <pc:sldMk cId="1033770688" sldId="2147478572"/>
            <ac:spMk id="185" creationId="{EA5EE668-2F35-AD5E-5A1B-314AD314034A}"/>
          </ac:spMkLst>
        </pc:spChg>
        <pc:spChg chg="add del mod">
          <ac:chgData name="Steiner Andreas 6206 ED" userId="e6377c33-a923-4f14-8587-531c474c7b48" providerId="ADAL" clId="{6ECD27E6-B224-41CD-B4E0-E297462320DD}" dt="2023-11-24T08:36:39.539" v="27482"/>
          <ac:spMkLst>
            <pc:docMk/>
            <pc:sldMk cId="1033770688" sldId="2147478572"/>
            <ac:spMk id="186" creationId="{DB51093C-DB1F-76AF-C9E4-AE19F1613B64}"/>
          </ac:spMkLst>
        </pc:spChg>
        <pc:spChg chg="add del mod">
          <ac:chgData name="Steiner Andreas 6206 ED" userId="e6377c33-a923-4f14-8587-531c474c7b48" providerId="ADAL" clId="{6ECD27E6-B224-41CD-B4E0-E297462320DD}" dt="2023-11-24T08:36:42.364" v="27637"/>
          <ac:spMkLst>
            <pc:docMk/>
            <pc:sldMk cId="1033770688" sldId="2147478572"/>
            <ac:spMk id="187" creationId="{D3F9C88D-9007-60BA-942F-B53C0C525DB2}"/>
          </ac:spMkLst>
        </pc:spChg>
        <pc:spChg chg="add del mod">
          <ac:chgData name="Steiner Andreas 6206 ED" userId="e6377c33-a923-4f14-8587-531c474c7b48" providerId="ADAL" clId="{6ECD27E6-B224-41CD-B4E0-E297462320DD}" dt="2023-11-24T08:36:44.884" v="27792"/>
          <ac:spMkLst>
            <pc:docMk/>
            <pc:sldMk cId="1033770688" sldId="2147478572"/>
            <ac:spMk id="188" creationId="{C75B627F-028A-2F2B-901B-1F43AB2BCF4C}"/>
          </ac:spMkLst>
        </pc:spChg>
        <pc:spChg chg="add del mod">
          <ac:chgData name="Steiner Andreas 6206 ED" userId="e6377c33-a923-4f14-8587-531c474c7b48" providerId="ADAL" clId="{6ECD27E6-B224-41CD-B4E0-E297462320DD}" dt="2023-11-24T08:36:47.239" v="27947"/>
          <ac:spMkLst>
            <pc:docMk/>
            <pc:sldMk cId="1033770688" sldId="2147478572"/>
            <ac:spMk id="189" creationId="{B4BECB0C-6395-AB4E-513B-9ADA1D290D68}"/>
          </ac:spMkLst>
        </pc:spChg>
        <pc:spChg chg="add del mod">
          <ac:chgData name="Steiner Andreas 6206 ED" userId="e6377c33-a923-4f14-8587-531c474c7b48" providerId="ADAL" clId="{6ECD27E6-B224-41CD-B4E0-E297462320DD}" dt="2023-11-24T08:36:49.692" v="28102"/>
          <ac:spMkLst>
            <pc:docMk/>
            <pc:sldMk cId="1033770688" sldId="2147478572"/>
            <ac:spMk id="190" creationId="{7375ED57-418C-0F4A-4277-B10A43A5814C}"/>
          </ac:spMkLst>
        </pc:spChg>
        <pc:spChg chg="add del mod">
          <ac:chgData name="Steiner Andreas 6206 ED" userId="e6377c33-a923-4f14-8587-531c474c7b48" providerId="ADAL" clId="{6ECD27E6-B224-41CD-B4E0-E297462320DD}" dt="2023-11-24T08:36:52.585" v="28257"/>
          <ac:spMkLst>
            <pc:docMk/>
            <pc:sldMk cId="1033770688" sldId="2147478572"/>
            <ac:spMk id="191" creationId="{5E19ABC0-8499-89E8-80BC-72F9A10F5DF4}"/>
          </ac:spMkLst>
        </pc:spChg>
        <pc:spChg chg="add del mod">
          <ac:chgData name="Steiner Andreas 6206 ED" userId="e6377c33-a923-4f14-8587-531c474c7b48" providerId="ADAL" clId="{6ECD27E6-B224-41CD-B4E0-E297462320DD}" dt="2023-11-24T08:36:55.794" v="28412"/>
          <ac:spMkLst>
            <pc:docMk/>
            <pc:sldMk cId="1033770688" sldId="2147478572"/>
            <ac:spMk id="192" creationId="{5135321F-9374-9BE2-E7BB-761E79899A07}"/>
          </ac:spMkLst>
        </pc:spChg>
        <pc:spChg chg="add del mod">
          <ac:chgData name="Steiner Andreas 6206 ED" userId="e6377c33-a923-4f14-8587-531c474c7b48" providerId="ADAL" clId="{6ECD27E6-B224-41CD-B4E0-E297462320DD}" dt="2023-11-24T08:36:58.549" v="28567"/>
          <ac:spMkLst>
            <pc:docMk/>
            <pc:sldMk cId="1033770688" sldId="2147478572"/>
            <ac:spMk id="193" creationId="{5D5C638B-2A39-E94A-6E07-6433667E0F57}"/>
          </ac:spMkLst>
        </pc:spChg>
        <pc:spChg chg="add del mod">
          <ac:chgData name="Steiner Andreas 6206 ED" userId="e6377c33-a923-4f14-8587-531c474c7b48" providerId="ADAL" clId="{6ECD27E6-B224-41CD-B4E0-E297462320DD}" dt="2023-11-24T08:37:01.389" v="28722"/>
          <ac:spMkLst>
            <pc:docMk/>
            <pc:sldMk cId="1033770688" sldId="2147478572"/>
            <ac:spMk id="194" creationId="{E41CEC48-D57F-AF99-25D2-D388D3F1E002}"/>
          </ac:spMkLst>
        </pc:spChg>
        <pc:spChg chg="add del mod">
          <ac:chgData name="Steiner Andreas 6206 ED" userId="e6377c33-a923-4f14-8587-531c474c7b48" providerId="ADAL" clId="{6ECD27E6-B224-41CD-B4E0-E297462320DD}" dt="2023-11-24T08:37:03.994" v="28877"/>
          <ac:spMkLst>
            <pc:docMk/>
            <pc:sldMk cId="1033770688" sldId="2147478572"/>
            <ac:spMk id="195" creationId="{4B265F18-C453-83CD-69AB-80972DBD7F1F}"/>
          </ac:spMkLst>
        </pc:spChg>
        <pc:spChg chg="add del mod">
          <ac:chgData name="Steiner Andreas 6206 ED" userId="e6377c33-a923-4f14-8587-531c474c7b48" providerId="ADAL" clId="{6ECD27E6-B224-41CD-B4E0-E297462320DD}" dt="2023-11-24T08:37:06.906" v="29032"/>
          <ac:spMkLst>
            <pc:docMk/>
            <pc:sldMk cId="1033770688" sldId="2147478572"/>
            <ac:spMk id="196" creationId="{F5809BB2-B1C4-7685-BB75-97D837A8F6C7}"/>
          </ac:spMkLst>
        </pc:spChg>
        <pc:spChg chg="add del mod">
          <ac:chgData name="Steiner Andreas 6206 ED" userId="e6377c33-a923-4f14-8587-531c474c7b48" providerId="ADAL" clId="{6ECD27E6-B224-41CD-B4E0-E297462320DD}" dt="2023-11-24T08:37:09.517" v="29187"/>
          <ac:spMkLst>
            <pc:docMk/>
            <pc:sldMk cId="1033770688" sldId="2147478572"/>
            <ac:spMk id="197" creationId="{3DE2B0DF-B355-25D1-7458-5C8C227D1223}"/>
          </ac:spMkLst>
        </pc:spChg>
        <pc:spChg chg="add del mod">
          <ac:chgData name="Steiner Andreas 6206 ED" userId="e6377c33-a923-4f14-8587-531c474c7b48" providerId="ADAL" clId="{6ECD27E6-B224-41CD-B4E0-E297462320DD}" dt="2023-11-24T08:37:12.281" v="29342"/>
          <ac:spMkLst>
            <pc:docMk/>
            <pc:sldMk cId="1033770688" sldId="2147478572"/>
            <ac:spMk id="198" creationId="{EBE907F5-0882-B318-6972-D5E0308825CF}"/>
          </ac:spMkLst>
        </pc:spChg>
        <pc:spChg chg="add del mod">
          <ac:chgData name="Steiner Andreas 6206 ED" userId="e6377c33-a923-4f14-8587-531c474c7b48" providerId="ADAL" clId="{6ECD27E6-B224-41CD-B4E0-E297462320DD}" dt="2023-11-24T08:37:15.336" v="29497"/>
          <ac:spMkLst>
            <pc:docMk/>
            <pc:sldMk cId="1033770688" sldId="2147478572"/>
            <ac:spMk id="199" creationId="{14704C0B-8D2B-D451-C9AE-FC5EC392D9BA}"/>
          </ac:spMkLst>
        </pc:spChg>
        <pc:spChg chg="add del mod">
          <ac:chgData name="Steiner Andreas 6206 ED" userId="e6377c33-a923-4f14-8587-531c474c7b48" providerId="ADAL" clId="{6ECD27E6-B224-41CD-B4E0-E297462320DD}" dt="2023-11-24T08:37:18.380" v="29652"/>
          <ac:spMkLst>
            <pc:docMk/>
            <pc:sldMk cId="1033770688" sldId="2147478572"/>
            <ac:spMk id="200" creationId="{4F27A21C-75BC-92B6-DDC7-430F75375A1D}"/>
          </ac:spMkLst>
        </pc:spChg>
        <pc:spChg chg="add del mod">
          <ac:chgData name="Steiner Andreas 6206 ED" userId="e6377c33-a923-4f14-8587-531c474c7b48" providerId="ADAL" clId="{6ECD27E6-B224-41CD-B4E0-E297462320DD}" dt="2023-11-24T08:37:20.856" v="29807"/>
          <ac:spMkLst>
            <pc:docMk/>
            <pc:sldMk cId="1033770688" sldId="2147478572"/>
            <ac:spMk id="201" creationId="{56C8B0A4-B25B-F420-0577-31FDC4C948D6}"/>
          </ac:spMkLst>
        </pc:spChg>
        <pc:spChg chg="add del mod">
          <ac:chgData name="Steiner Andreas 6206 ED" userId="e6377c33-a923-4f14-8587-531c474c7b48" providerId="ADAL" clId="{6ECD27E6-B224-41CD-B4E0-E297462320DD}" dt="2023-11-24T08:37:23.654" v="29962"/>
          <ac:spMkLst>
            <pc:docMk/>
            <pc:sldMk cId="1033770688" sldId="2147478572"/>
            <ac:spMk id="202" creationId="{E5CDDB04-3680-5713-3BBA-B066DBF5597A}"/>
          </ac:spMkLst>
        </pc:spChg>
        <pc:spChg chg="add del mod">
          <ac:chgData name="Steiner Andreas 6206 ED" userId="e6377c33-a923-4f14-8587-531c474c7b48" providerId="ADAL" clId="{6ECD27E6-B224-41CD-B4E0-E297462320DD}" dt="2023-11-24T08:37:26.231" v="30117"/>
          <ac:spMkLst>
            <pc:docMk/>
            <pc:sldMk cId="1033770688" sldId="2147478572"/>
            <ac:spMk id="203" creationId="{BE969B94-E31C-1362-6F37-F0150B6AAE4F}"/>
          </ac:spMkLst>
        </pc:spChg>
        <pc:spChg chg="add del mod">
          <ac:chgData name="Steiner Andreas 6206 ED" userId="e6377c33-a923-4f14-8587-531c474c7b48" providerId="ADAL" clId="{6ECD27E6-B224-41CD-B4E0-E297462320DD}" dt="2023-11-24T08:37:29.293" v="30272"/>
          <ac:spMkLst>
            <pc:docMk/>
            <pc:sldMk cId="1033770688" sldId="2147478572"/>
            <ac:spMk id="204" creationId="{EC2D6854-251F-9F69-91AE-473CC8412637}"/>
          </ac:spMkLst>
        </pc:spChg>
        <pc:spChg chg="add del mod">
          <ac:chgData name="Steiner Andreas 6206 ED" userId="e6377c33-a923-4f14-8587-531c474c7b48" providerId="ADAL" clId="{6ECD27E6-B224-41CD-B4E0-E297462320DD}" dt="2023-11-24T08:37:32.403" v="30427"/>
          <ac:spMkLst>
            <pc:docMk/>
            <pc:sldMk cId="1033770688" sldId="2147478572"/>
            <ac:spMk id="205" creationId="{E9C77BFE-1B54-9E01-22D7-E46D02A76D51}"/>
          </ac:spMkLst>
        </pc:spChg>
        <pc:spChg chg="add del mod">
          <ac:chgData name="Steiner Andreas 6206 ED" userId="e6377c33-a923-4f14-8587-531c474c7b48" providerId="ADAL" clId="{6ECD27E6-B224-41CD-B4E0-E297462320DD}" dt="2023-11-24T08:37:35.002" v="30582"/>
          <ac:spMkLst>
            <pc:docMk/>
            <pc:sldMk cId="1033770688" sldId="2147478572"/>
            <ac:spMk id="206" creationId="{084C65D8-97CA-CBBA-D9D2-AC88099530E4}"/>
          </ac:spMkLst>
        </pc:spChg>
        <pc:spChg chg="add del mod">
          <ac:chgData name="Steiner Andreas 6206 ED" userId="e6377c33-a923-4f14-8587-531c474c7b48" providerId="ADAL" clId="{6ECD27E6-B224-41CD-B4E0-E297462320DD}" dt="2023-11-24T08:37:37.690" v="30737"/>
          <ac:spMkLst>
            <pc:docMk/>
            <pc:sldMk cId="1033770688" sldId="2147478572"/>
            <ac:spMk id="207" creationId="{BA5DE536-24E9-B952-5F28-EE9E3B198711}"/>
          </ac:spMkLst>
        </pc:spChg>
        <pc:spChg chg="add del mod">
          <ac:chgData name="Steiner Andreas 6206 ED" userId="e6377c33-a923-4f14-8587-531c474c7b48" providerId="ADAL" clId="{6ECD27E6-B224-41CD-B4E0-E297462320DD}" dt="2023-11-24T08:37:40.866" v="30892"/>
          <ac:spMkLst>
            <pc:docMk/>
            <pc:sldMk cId="1033770688" sldId="2147478572"/>
            <ac:spMk id="208" creationId="{0060A3A4-7479-8098-2465-0C0A74F64524}"/>
          </ac:spMkLst>
        </pc:spChg>
        <pc:spChg chg="add del mod">
          <ac:chgData name="Steiner Andreas 6206 ED" userId="e6377c33-a923-4f14-8587-531c474c7b48" providerId="ADAL" clId="{6ECD27E6-B224-41CD-B4E0-E297462320DD}" dt="2023-11-24T08:37:44.495" v="31047"/>
          <ac:spMkLst>
            <pc:docMk/>
            <pc:sldMk cId="1033770688" sldId="2147478572"/>
            <ac:spMk id="209" creationId="{83F12CA8-9B0F-EA02-38FC-EFA880B0B312}"/>
          </ac:spMkLst>
        </pc:spChg>
        <pc:spChg chg="add del mod">
          <ac:chgData name="Steiner Andreas 6206 ED" userId="e6377c33-a923-4f14-8587-531c474c7b48" providerId="ADAL" clId="{6ECD27E6-B224-41CD-B4E0-E297462320DD}" dt="2023-11-24T08:37:47.365" v="31202"/>
          <ac:spMkLst>
            <pc:docMk/>
            <pc:sldMk cId="1033770688" sldId="2147478572"/>
            <ac:spMk id="210" creationId="{37F5E710-969A-2A4F-07E6-B91B4A6D6CD5}"/>
          </ac:spMkLst>
        </pc:spChg>
        <pc:spChg chg="add del mod">
          <ac:chgData name="Steiner Andreas 6206 ED" userId="e6377c33-a923-4f14-8587-531c474c7b48" providerId="ADAL" clId="{6ECD27E6-B224-41CD-B4E0-E297462320DD}" dt="2023-11-24T08:37:50.143" v="31357"/>
          <ac:spMkLst>
            <pc:docMk/>
            <pc:sldMk cId="1033770688" sldId="2147478572"/>
            <ac:spMk id="211" creationId="{621BA0E0-4369-E003-011A-B07F06095964}"/>
          </ac:spMkLst>
        </pc:spChg>
        <pc:spChg chg="add del mod">
          <ac:chgData name="Steiner Andreas 6206 ED" userId="e6377c33-a923-4f14-8587-531c474c7b48" providerId="ADAL" clId="{6ECD27E6-B224-41CD-B4E0-E297462320DD}" dt="2023-11-24T08:37:52.790" v="31512"/>
          <ac:spMkLst>
            <pc:docMk/>
            <pc:sldMk cId="1033770688" sldId="2147478572"/>
            <ac:spMk id="212" creationId="{93E58D6B-3DAD-D1D3-E2D5-CC1A786E7279}"/>
          </ac:spMkLst>
        </pc:spChg>
        <pc:spChg chg="add del mod">
          <ac:chgData name="Steiner Andreas 6206 ED" userId="e6377c33-a923-4f14-8587-531c474c7b48" providerId="ADAL" clId="{6ECD27E6-B224-41CD-B4E0-E297462320DD}" dt="2023-11-24T08:37:56.653" v="31667"/>
          <ac:spMkLst>
            <pc:docMk/>
            <pc:sldMk cId="1033770688" sldId="2147478572"/>
            <ac:spMk id="213" creationId="{3BFD175A-FABF-B5F7-6B19-DCD83210031D}"/>
          </ac:spMkLst>
        </pc:spChg>
        <pc:spChg chg="add del mod">
          <ac:chgData name="Steiner Andreas 6206 ED" userId="e6377c33-a923-4f14-8587-531c474c7b48" providerId="ADAL" clId="{6ECD27E6-B224-41CD-B4E0-E297462320DD}" dt="2023-11-24T08:37:59.565" v="31822"/>
          <ac:spMkLst>
            <pc:docMk/>
            <pc:sldMk cId="1033770688" sldId="2147478572"/>
            <ac:spMk id="214" creationId="{B6138D4C-1BD8-4D55-7211-23A75BCBD972}"/>
          </ac:spMkLst>
        </pc:spChg>
        <pc:spChg chg="add del mod">
          <ac:chgData name="Steiner Andreas 6206 ED" userId="e6377c33-a923-4f14-8587-531c474c7b48" providerId="ADAL" clId="{6ECD27E6-B224-41CD-B4E0-E297462320DD}" dt="2023-11-24T08:38:02.587" v="31977"/>
          <ac:spMkLst>
            <pc:docMk/>
            <pc:sldMk cId="1033770688" sldId="2147478572"/>
            <ac:spMk id="215" creationId="{AFE95907-1CFC-91E0-FBDC-974E4DCD1AEC}"/>
          </ac:spMkLst>
        </pc:spChg>
        <pc:spChg chg="add del mod">
          <ac:chgData name="Steiner Andreas 6206 ED" userId="e6377c33-a923-4f14-8587-531c474c7b48" providerId="ADAL" clId="{6ECD27E6-B224-41CD-B4E0-E297462320DD}" dt="2023-11-24T08:38:05.481" v="32132"/>
          <ac:spMkLst>
            <pc:docMk/>
            <pc:sldMk cId="1033770688" sldId="2147478572"/>
            <ac:spMk id="216" creationId="{626C0B46-077E-C5E1-67C2-A750D30935EC}"/>
          </ac:spMkLst>
        </pc:spChg>
        <pc:spChg chg="add del mod">
          <ac:chgData name="Steiner Andreas 6206 ED" userId="e6377c33-a923-4f14-8587-531c474c7b48" providerId="ADAL" clId="{6ECD27E6-B224-41CD-B4E0-E297462320DD}" dt="2023-11-24T08:38:08.523" v="32287"/>
          <ac:spMkLst>
            <pc:docMk/>
            <pc:sldMk cId="1033770688" sldId="2147478572"/>
            <ac:spMk id="217" creationId="{D85FB535-3F59-D068-0712-0352CC0EA123}"/>
          </ac:spMkLst>
        </pc:spChg>
        <pc:spChg chg="add del mod">
          <ac:chgData name="Steiner Andreas 6206 ED" userId="e6377c33-a923-4f14-8587-531c474c7b48" providerId="ADAL" clId="{6ECD27E6-B224-41CD-B4E0-E297462320DD}" dt="2023-11-24T08:38:11.336" v="32442"/>
          <ac:spMkLst>
            <pc:docMk/>
            <pc:sldMk cId="1033770688" sldId="2147478572"/>
            <ac:spMk id="218" creationId="{DD7E3215-77F6-6901-C702-C0CB35F9908A}"/>
          </ac:spMkLst>
        </pc:spChg>
        <pc:spChg chg="add del mod">
          <ac:chgData name="Steiner Andreas 6206 ED" userId="e6377c33-a923-4f14-8587-531c474c7b48" providerId="ADAL" clId="{6ECD27E6-B224-41CD-B4E0-E297462320DD}" dt="2023-11-24T08:38:14.001" v="32597"/>
          <ac:spMkLst>
            <pc:docMk/>
            <pc:sldMk cId="1033770688" sldId="2147478572"/>
            <ac:spMk id="219" creationId="{6B568B5A-FCF3-AFA1-E80E-D03F1D0664FD}"/>
          </ac:spMkLst>
        </pc:spChg>
        <pc:spChg chg="add del mod">
          <ac:chgData name="Steiner Andreas 6206 ED" userId="e6377c33-a923-4f14-8587-531c474c7b48" providerId="ADAL" clId="{6ECD27E6-B224-41CD-B4E0-E297462320DD}" dt="2023-11-24T08:38:16.700" v="32752"/>
          <ac:spMkLst>
            <pc:docMk/>
            <pc:sldMk cId="1033770688" sldId="2147478572"/>
            <ac:spMk id="220" creationId="{020B6324-56FC-145C-D848-ACAD6E30CB5C}"/>
          </ac:spMkLst>
        </pc:spChg>
        <pc:spChg chg="add del mod">
          <ac:chgData name="Steiner Andreas 6206 ED" userId="e6377c33-a923-4f14-8587-531c474c7b48" providerId="ADAL" clId="{6ECD27E6-B224-41CD-B4E0-E297462320DD}" dt="2023-11-24T08:38:19.507" v="32907"/>
          <ac:spMkLst>
            <pc:docMk/>
            <pc:sldMk cId="1033770688" sldId="2147478572"/>
            <ac:spMk id="221" creationId="{50E6520C-C67B-1FB0-69E5-C8CDADE9D17C}"/>
          </ac:spMkLst>
        </pc:spChg>
        <pc:spChg chg="add del mod">
          <ac:chgData name="Steiner Andreas 6206 ED" userId="e6377c33-a923-4f14-8587-531c474c7b48" providerId="ADAL" clId="{6ECD27E6-B224-41CD-B4E0-E297462320DD}" dt="2023-11-24T08:38:22.434" v="33062"/>
          <ac:spMkLst>
            <pc:docMk/>
            <pc:sldMk cId="1033770688" sldId="2147478572"/>
            <ac:spMk id="222" creationId="{5A717B16-12FB-F307-A1EA-0D72AE2EB16D}"/>
          </ac:spMkLst>
        </pc:spChg>
        <pc:spChg chg="add del mod">
          <ac:chgData name="Steiner Andreas 6206 ED" userId="e6377c33-a923-4f14-8587-531c474c7b48" providerId="ADAL" clId="{6ECD27E6-B224-41CD-B4E0-E297462320DD}" dt="2023-11-24T08:38:25.291" v="33217"/>
          <ac:spMkLst>
            <pc:docMk/>
            <pc:sldMk cId="1033770688" sldId="2147478572"/>
            <ac:spMk id="223" creationId="{8643D716-F779-3AAB-5C2C-BFAFE7A5B085}"/>
          </ac:spMkLst>
        </pc:spChg>
        <pc:spChg chg="add del mod">
          <ac:chgData name="Steiner Andreas 6206 ED" userId="e6377c33-a923-4f14-8587-531c474c7b48" providerId="ADAL" clId="{6ECD27E6-B224-41CD-B4E0-E297462320DD}" dt="2023-11-24T08:38:28.854" v="33372"/>
          <ac:spMkLst>
            <pc:docMk/>
            <pc:sldMk cId="1033770688" sldId="2147478572"/>
            <ac:spMk id="224" creationId="{1F04FADC-1757-ECE7-0E53-75AA010B2D3C}"/>
          </ac:spMkLst>
        </pc:spChg>
        <pc:spChg chg="add del mod">
          <ac:chgData name="Steiner Andreas 6206 ED" userId="e6377c33-a923-4f14-8587-531c474c7b48" providerId="ADAL" clId="{6ECD27E6-B224-41CD-B4E0-E297462320DD}" dt="2023-11-24T08:38:31.981" v="33527"/>
          <ac:spMkLst>
            <pc:docMk/>
            <pc:sldMk cId="1033770688" sldId="2147478572"/>
            <ac:spMk id="225" creationId="{D7323F3A-8F1F-1898-677C-A41E9F1D9612}"/>
          </ac:spMkLst>
        </pc:spChg>
        <pc:spChg chg="add del mod">
          <ac:chgData name="Steiner Andreas 6206 ED" userId="e6377c33-a923-4f14-8587-531c474c7b48" providerId="ADAL" clId="{6ECD27E6-B224-41CD-B4E0-E297462320DD}" dt="2023-11-24T08:38:34.787" v="33682"/>
          <ac:spMkLst>
            <pc:docMk/>
            <pc:sldMk cId="1033770688" sldId="2147478572"/>
            <ac:spMk id="226" creationId="{FF8DDE8A-E39C-0F5F-9960-62E255C6A2BB}"/>
          </ac:spMkLst>
        </pc:spChg>
        <pc:spChg chg="add del mod">
          <ac:chgData name="Steiner Andreas 6206 ED" userId="e6377c33-a923-4f14-8587-531c474c7b48" providerId="ADAL" clId="{6ECD27E6-B224-41CD-B4E0-E297462320DD}" dt="2023-11-24T08:38:37.440" v="33837"/>
          <ac:spMkLst>
            <pc:docMk/>
            <pc:sldMk cId="1033770688" sldId="2147478572"/>
            <ac:spMk id="227" creationId="{08CD85F4-E5D9-B536-8ADB-0FE385285580}"/>
          </ac:spMkLst>
        </pc:spChg>
        <pc:spChg chg="add del mod">
          <ac:chgData name="Steiner Andreas 6206 ED" userId="e6377c33-a923-4f14-8587-531c474c7b48" providerId="ADAL" clId="{6ECD27E6-B224-41CD-B4E0-E297462320DD}" dt="2023-11-24T08:38:39.927" v="33992"/>
          <ac:spMkLst>
            <pc:docMk/>
            <pc:sldMk cId="1033770688" sldId="2147478572"/>
            <ac:spMk id="228" creationId="{E7C742EE-385A-EA96-CADE-C2D570D0769D}"/>
          </ac:spMkLst>
        </pc:spChg>
        <pc:spChg chg="add del mod">
          <ac:chgData name="Steiner Andreas 6206 ED" userId="e6377c33-a923-4f14-8587-531c474c7b48" providerId="ADAL" clId="{6ECD27E6-B224-41CD-B4E0-E297462320DD}" dt="2023-11-24T08:38:42.486" v="34147"/>
          <ac:spMkLst>
            <pc:docMk/>
            <pc:sldMk cId="1033770688" sldId="2147478572"/>
            <ac:spMk id="229" creationId="{45CB6318-59E5-0269-A872-802E23D6DD18}"/>
          </ac:spMkLst>
        </pc:spChg>
        <pc:spChg chg="add del mod">
          <ac:chgData name="Steiner Andreas 6206 ED" userId="e6377c33-a923-4f14-8587-531c474c7b48" providerId="ADAL" clId="{6ECD27E6-B224-41CD-B4E0-E297462320DD}" dt="2023-11-24T08:38:46.465" v="34302"/>
          <ac:spMkLst>
            <pc:docMk/>
            <pc:sldMk cId="1033770688" sldId="2147478572"/>
            <ac:spMk id="230" creationId="{42547A24-6E82-3C96-E764-5BC237717FAA}"/>
          </ac:spMkLst>
        </pc:spChg>
        <pc:spChg chg="add del mod">
          <ac:chgData name="Steiner Andreas 6206 ED" userId="e6377c33-a923-4f14-8587-531c474c7b48" providerId="ADAL" clId="{6ECD27E6-B224-41CD-B4E0-E297462320DD}" dt="2023-11-24T08:38:49.214" v="34457"/>
          <ac:spMkLst>
            <pc:docMk/>
            <pc:sldMk cId="1033770688" sldId="2147478572"/>
            <ac:spMk id="231" creationId="{0EE591D2-2893-2FE0-E850-D79F0C7AA498}"/>
          </ac:spMkLst>
        </pc:spChg>
        <pc:spChg chg="add del mod">
          <ac:chgData name="Steiner Andreas 6206 ED" userId="e6377c33-a923-4f14-8587-531c474c7b48" providerId="ADAL" clId="{6ECD27E6-B224-41CD-B4E0-E297462320DD}" dt="2023-11-24T08:38:51.979" v="34612"/>
          <ac:spMkLst>
            <pc:docMk/>
            <pc:sldMk cId="1033770688" sldId="2147478572"/>
            <ac:spMk id="232" creationId="{71FB9A58-5301-95C9-D249-4B4B6C20B057}"/>
          </ac:spMkLst>
        </pc:spChg>
        <pc:spChg chg="add del mod">
          <ac:chgData name="Steiner Andreas 6206 ED" userId="e6377c33-a923-4f14-8587-531c474c7b48" providerId="ADAL" clId="{6ECD27E6-B224-41CD-B4E0-E297462320DD}" dt="2023-11-24T08:38:54.863" v="34767"/>
          <ac:spMkLst>
            <pc:docMk/>
            <pc:sldMk cId="1033770688" sldId="2147478572"/>
            <ac:spMk id="233" creationId="{E60F217A-DDA5-A39B-4167-8AB58E3722FD}"/>
          </ac:spMkLst>
        </pc:spChg>
        <pc:spChg chg="add del mod">
          <ac:chgData name="Steiner Andreas 6206 ED" userId="e6377c33-a923-4f14-8587-531c474c7b48" providerId="ADAL" clId="{6ECD27E6-B224-41CD-B4E0-E297462320DD}" dt="2023-11-24T08:38:57.960" v="34922"/>
          <ac:spMkLst>
            <pc:docMk/>
            <pc:sldMk cId="1033770688" sldId="2147478572"/>
            <ac:spMk id="234" creationId="{82C6F833-B2BD-9A52-7778-AA61234E4556}"/>
          </ac:spMkLst>
        </pc:spChg>
        <pc:spChg chg="add del mod">
          <ac:chgData name="Steiner Andreas 6206 ED" userId="e6377c33-a923-4f14-8587-531c474c7b48" providerId="ADAL" clId="{6ECD27E6-B224-41CD-B4E0-E297462320DD}" dt="2023-11-24T08:39:01.347" v="35077"/>
          <ac:spMkLst>
            <pc:docMk/>
            <pc:sldMk cId="1033770688" sldId="2147478572"/>
            <ac:spMk id="235" creationId="{0A5BB007-31B7-DC78-B1C4-4417E35B5F99}"/>
          </ac:spMkLst>
        </pc:spChg>
        <pc:spChg chg="add del mod">
          <ac:chgData name="Steiner Andreas 6206 ED" userId="e6377c33-a923-4f14-8587-531c474c7b48" providerId="ADAL" clId="{6ECD27E6-B224-41CD-B4E0-E297462320DD}" dt="2023-11-24T08:39:04.768" v="35232"/>
          <ac:spMkLst>
            <pc:docMk/>
            <pc:sldMk cId="1033770688" sldId="2147478572"/>
            <ac:spMk id="236" creationId="{D5F48307-2275-BB60-78D8-70732FC2653D}"/>
          </ac:spMkLst>
        </pc:spChg>
        <pc:spChg chg="add del mod">
          <ac:chgData name="Steiner Andreas 6206 ED" userId="e6377c33-a923-4f14-8587-531c474c7b48" providerId="ADAL" clId="{6ECD27E6-B224-41CD-B4E0-E297462320DD}" dt="2023-11-24T08:39:07.618" v="35387"/>
          <ac:spMkLst>
            <pc:docMk/>
            <pc:sldMk cId="1033770688" sldId="2147478572"/>
            <ac:spMk id="237" creationId="{A75652E9-859C-92EF-3854-EA7F0A16731D}"/>
          </ac:spMkLst>
        </pc:spChg>
        <pc:spChg chg="add del mod">
          <ac:chgData name="Steiner Andreas 6206 ED" userId="e6377c33-a923-4f14-8587-531c474c7b48" providerId="ADAL" clId="{6ECD27E6-B224-41CD-B4E0-E297462320DD}" dt="2023-11-24T08:39:12.162" v="35542"/>
          <ac:spMkLst>
            <pc:docMk/>
            <pc:sldMk cId="1033770688" sldId="2147478572"/>
            <ac:spMk id="238" creationId="{A303396C-0300-19C3-7DF8-F0AF5D737CFB}"/>
          </ac:spMkLst>
        </pc:spChg>
        <pc:spChg chg="add del mod">
          <ac:chgData name="Steiner Andreas 6206 ED" userId="e6377c33-a923-4f14-8587-531c474c7b48" providerId="ADAL" clId="{6ECD27E6-B224-41CD-B4E0-E297462320DD}" dt="2023-11-24T08:39:15.058" v="35697"/>
          <ac:spMkLst>
            <pc:docMk/>
            <pc:sldMk cId="1033770688" sldId="2147478572"/>
            <ac:spMk id="239" creationId="{A9258D7D-319B-AD23-2688-E3BBF464DBE8}"/>
          </ac:spMkLst>
        </pc:spChg>
        <pc:spChg chg="add del mod">
          <ac:chgData name="Steiner Andreas 6206 ED" userId="e6377c33-a923-4f14-8587-531c474c7b48" providerId="ADAL" clId="{6ECD27E6-B224-41CD-B4E0-E297462320DD}" dt="2023-11-24T08:39:17.623" v="35852"/>
          <ac:spMkLst>
            <pc:docMk/>
            <pc:sldMk cId="1033770688" sldId="2147478572"/>
            <ac:spMk id="240" creationId="{1C1361B8-9008-3212-C460-4F8FEC6F3441}"/>
          </ac:spMkLst>
        </pc:spChg>
        <pc:spChg chg="add del mod">
          <ac:chgData name="Steiner Andreas 6206 ED" userId="e6377c33-a923-4f14-8587-531c474c7b48" providerId="ADAL" clId="{6ECD27E6-B224-41CD-B4E0-E297462320DD}" dt="2023-11-24T08:39:20.316" v="36007"/>
          <ac:spMkLst>
            <pc:docMk/>
            <pc:sldMk cId="1033770688" sldId="2147478572"/>
            <ac:spMk id="241" creationId="{E5EECA24-5FC1-335B-4593-2125977AA2A4}"/>
          </ac:spMkLst>
        </pc:spChg>
        <pc:spChg chg="add del mod">
          <ac:chgData name="Steiner Andreas 6206 ED" userId="e6377c33-a923-4f14-8587-531c474c7b48" providerId="ADAL" clId="{6ECD27E6-B224-41CD-B4E0-E297462320DD}" dt="2023-11-24T08:39:23.298" v="36162"/>
          <ac:spMkLst>
            <pc:docMk/>
            <pc:sldMk cId="1033770688" sldId="2147478572"/>
            <ac:spMk id="242" creationId="{6822FBB2-EE54-093C-5CA8-251BA6342E10}"/>
          </ac:spMkLst>
        </pc:spChg>
        <pc:spChg chg="add del mod">
          <ac:chgData name="Steiner Andreas 6206 ED" userId="e6377c33-a923-4f14-8587-531c474c7b48" providerId="ADAL" clId="{6ECD27E6-B224-41CD-B4E0-E297462320DD}" dt="2023-11-24T08:39:26.208" v="36317"/>
          <ac:spMkLst>
            <pc:docMk/>
            <pc:sldMk cId="1033770688" sldId="2147478572"/>
            <ac:spMk id="243" creationId="{A9D1725C-64E9-D222-D660-C9A5DE3C5C39}"/>
          </ac:spMkLst>
        </pc:spChg>
        <pc:spChg chg="add del mod">
          <ac:chgData name="Steiner Andreas 6206 ED" userId="e6377c33-a923-4f14-8587-531c474c7b48" providerId="ADAL" clId="{6ECD27E6-B224-41CD-B4E0-E297462320DD}" dt="2023-11-24T08:39:28.933" v="36472"/>
          <ac:spMkLst>
            <pc:docMk/>
            <pc:sldMk cId="1033770688" sldId="2147478572"/>
            <ac:spMk id="244" creationId="{4A059776-A0BB-8B6D-F599-60FFFB2AAD96}"/>
          </ac:spMkLst>
        </pc:spChg>
        <pc:spChg chg="add del mod">
          <ac:chgData name="Steiner Andreas 6206 ED" userId="e6377c33-a923-4f14-8587-531c474c7b48" providerId="ADAL" clId="{6ECD27E6-B224-41CD-B4E0-E297462320DD}" dt="2023-11-24T08:39:31.530" v="36627"/>
          <ac:spMkLst>
            <pc:docMk/>
            <pc:sldMk cId="1033770688" sldId="2147478572"/>
            <ac:spMk id="245" creationId="{439E5E66-AFD5-FDE2-0F2A-5B3E152B2CCC}"/>
          </ac:spMkLst>
        </pc:spChg>
        <pc:spChg chg="add del mod">
          <ac:chgData name="Steiner Andreas 6206 ED" userId="e6377c33-a923-4f14-8587-531c474c7b48" providerId="ADAL" clId="{6ECD27E6-B224-41CD-B4E0-E297462320DD}" dt="2023-11-24T08:39:34.070" v="36782"/>
          <ac:spMkLst>
            <pc:docMk/>
            <pc:sldMk cId="1033770688" sldId="2147478572"/>
            <ac:spMk id="246" creationId="{F8A4B652-6718-E46D-624C-3C7D0D492413}"/>
          </ac:spMkLst>
        </pc:spChg>
        <pc:spChg chg="add del mod">
          <ac:chgData name="Steiner Andreas 6206 ED" userId="e6377c33-a923-4f14-8587-531c474c7b48" providerId="ADAL" clId="{6ECD27E6-B224-41CD-B4E0-E297462320DD}" dt="2023-11-24T08:39:36.949" v="36937"/>
          <ac:spMkLst>
            <pc:docMk/>
            <pc:sldMk cId="1033770688" sldId="2147478572"/>
            <ac:spMk id="247" creationId="{8A46D93D-F44D-A383-443A-7B7EC1702CF7}"/>
          </ac:spMkLst>
        </pc:spChg>
        <pc:spChg chg="add del mod">
          <ac:chgData name="Steiner Andreas 6206 ED" userId="e6377c33-a923-4f14-8587-531c474c7b48" providerId="ADAL" clId="{6ECD27E6-B224-41CD-B4E0-E297462320DD}" dt="2023-11-24T08:39:39.609" v="37092"/>
          <ac:spMkLst>
            <pc:docMk/>
            <pc:sldMk cId="1033770688" sldId="2147478572"/>
            <ac:spMk id="248" creationId="{40E0AD46-1D70-8C64-9723-1D8366A3B7BA}"/>
          </ac:spMkLst>
        </pc:spChg>
        <pc:spChg chg="add del mod">
          <ac:chgData name="Steiner Andreas 6206 ED" userId="e6377c33-a923-4f14-8587-531c474c7b48" providerId="ADAL" clId="{6ECD27E6-B224-41CD-B4E0-E297462320DD}" dt="2023-11-24T08:39:42.090" v="37247"/>
          <ac:spMkLst>
            <pc:docMk/>
            <pc:sldMk cId="1033770688" sldId="2147478572"/>
            <ac:spMk id="249" creationId="{1234061E-8D52-DD31-1A0E-8C39021491F0}"/>
          </ac:spMkLst>
        </pc:spChg>
        <pc:spChg chg="add del mod">
          <ac:chgData name="Steiner Andreas 6206 ED" userId="e6377c33-a923-4f14-8587-531c474c7b48" providerId="ADAL" clId="{6ECD27E6-B224-41CD-B4E0-E297462320DD}" dt="2023-11-24T08:39:44.631" v="37402"/>
          <ac:spMkLst>
            <pc:docMk/>
            <pc:sldMk cId="1033770688" sldId="2147478572"/>
            <ac:spMk id="250" creationId="{AD272CC2-795F-099D-684D-5DE62B42C585}"/>
          </ac:spMkLst>
        </pc:spChg>
        <pc:spChg chg="add del mod">
          <ac:chgData name="Steiner Andreas 6206 ED" userId="e6377c33-a923-4f14-8587-531c474c7b48" providerId="ADAL" clId="{6ECD27E6-B224-41CD-B4E0-E297462320DD}" dt="2023-11-24T08:39:47.462" v="37557"/>
          <ac:spMkLst>
            <pc:docMk/>
            <pc:sldMk cId="1033770688" sldId="2147478572"/>
            <ac:spMk id="251" creationId="{C649047C-71B2-1006-E0F9-763A3BE64E7D}"/>
          </ac:spMkLst>
        </pc:spChg>
        <pc:spChg chg="add del mod">
          <ac:chgData name="Steiner Andreas 6206 ED" userId="e6377c33-a923-4f14-8587-531c474c7b48" providerId="ADAL" clId="{6ECD27E6-B224-41CD-B4E0-E297462320DD}" dt="2023-11-24T08:39:50.347" v="37712"/>
          <ac:spMkLst>
            <pc:docMk/>
            <pc:sldMk cId="1033770688" sldId="2147478572"/>
            <ac:spMk id="252" creationId="{36B84B1E-D8C1-D867-7388-50F51517CEA2}"/>
          </ac:spMkLst>
        </pc:spChg>
        <pc:spChg chg="add del mod">
          <ac:chgData name="Steiner Andreas 6206 ED" userId="e6377c33-a923-4f14-8587-531c474c7b48" providerId="ADAL" clId="{6ECD27E6-B224-41CD-B4E0-E297462320DD}" dt="2023-11-24T08:39:52.888" v="37867"/>
          <ac:spMkLst>
            <pc:docMk/>
            <pc:sldMk cId="1033770688" sldId="2147478572"/>
            <ac:spMk id="253" creationId="{42BBBFBB-E114-1D57-562B-5FBAA80DADC7}"/>
          </ac:spMkLst>
        </pc:spChg>
        <pc:spChg chg="add del mod">
          <ac:chgData name="Steiner Andreas 6206 ED" userId="e6377c33-a923-4f14-8587-531c474c7b48" providerId="ADAL" clId="{6ECD27E6-B224-41CD-B4E0-E297462320DD}" dt="2023-11-24T08:39:55.887" v="38022"/>
          <ac:spMkLst>
            <pc:docMk/>
            <pc:sldMk cId="1033770688" sldId="2147478572"/>
            <ac:spMk id="254" creationId="{23A6A869-6F07-D459-2283-CE278D721481}"/>
          </ac:spMkLst>
        </pc:spChg>
        <pc:spChg chg="add del mod">
          <ac:chgData name="Steiner Andreas 6206 ED" userId="e6377c33-a923-4f14-8587-531c474c7b48" providerId="ADAL" clId="{6ECD27E6-B224-41CD-B4E0-E297462320DD}" dt="2023-11-24T08:39:58.832" v="38177"/>
          <ac:spMkLst>
            <pc:docMk/>
            <pc:sldMk cId="1033770688" sldId="2147478572"/>
            <ac:spMk id="255" creationId="{C32E6F1D-2570-20D2-4DF8-278362083735}"/>
          </ac:spMkLst>
        </pc:spChg>
        <pc:spChg chg="add del mod">
          <ac:chgData name="Steiner Andreas 6206 ED" userId="e6377c33-a923-4f14-8587-531c474c7b48" providerId="ADAL" clId="{6ECD27E6-B224-41CD-B4E0-E297462320DD}" dt="2023-11-24T08:40:02.434" v="38332"/>
          <ac:spMkLst>
            <pc:docMk/>
            <pc:sldMk cId="1033770688" sldId="2147478572"/>
            <ac:spMk id="256" creationId="{8F9A723E-4356-E7E8-FA30-EE772B191D4F}"/>
          </ac:spMkLst>
        </pc:spChg>
        <pc:spChg chg="add del mod">
          <ac:chgData name="Steiner Andreas 6206 ED" userId="e6377c33-a923-4f14-8587-531c474c7b48" providerId="ADAL" clId="{6ECD27E6-B224-41CD-B4E0-E297462320DD}" dt="2023-11-24T08:40:05.129" v="38487"/>
          <ac:spMkLst>
            <pc:docMk/>
            <pc:sldMk cId="1033770688" sldId="2147478572"/>
            <ac:spMk id="257" creationId="{7FA448D1-956D-672A-41BA-B8B4D6B0AD22}"/>
          </ac:spMkLst>
        </pc:spChg>
        <pc:spChg chg="add del mod">
          <ac:chgData name="Steiner Andreas 6206 ED" userId="e6377c33-a923-4f14-8587-531c474c7b48" providerId="ADAL" clId="{6ECD27E6-B224-41CD-B4E0-E297462320DD}" dt="2023-11-24T08:40:07.678" v="38642"/>
          <ac:spMkLst>
            <pc:docMk/>
            <pc:sldMk cId="1033770688" sldId="2147478572"/>
            <ac:spMk id="258" creationId="{5FDC6CD3-AAD9-BA0F-FC8D-D35F916AA612}"/>
          </ac:spMkLst>
        </pc:spChg>
        <pc:spChg chg="add del mod">
          <ac:chgData name="Steiner Andreas 6206 ED" userId="e6377c33-a923-4f14-8587-531c474c7b48" providerId="ADAL" clId="{6ECD27E6-B224-41CD-B4E0-E297462320DD}" dt="2023-11-24T08:40:10.369" v="38797"/>
          <ac:spMkLst>
            <pc:docMk/>
            <pc:sldMk cId="1033770688" sldId="2147478572"/>
            <ac:spMk id="259" creationId="{DC1F1C38-A85F-225C-859E-2418B1D9F223}"/>
          </ac:spMkLst>
        </pc:spChg>
        <pc:spChg chg="add del mod">
          <ac:chgData name="Steiner Andreas 6206 ED" userId="e6377c33-a923-4f14-8587-531c474c7b48" providerId="ADAL" clId="{6ECD27E6-B224-41CD-B4E0-E297462320DD}" dt="2023-11-24T08:40:13.443" v="38952"/>
          <ac:spMkLst>
            <pc:docMk/>
            <pc:sldMk cId="1033770688" sldId="2147478572"/>
            <ac:spMk id="260" creationId="{B69E0A66-ED03-8F02-9787-AF670C60E461}"/>
          </ac:spMkLst>
        </pc:spChg>
        <pc:spChg chg="add del mod">
          <ac:chgData name="Steiner Andreas 6206 ED" userId="e6377c33-a923-4f14-8587-531c474c7b48" providerId="ADAL" clId="{6ECD27E6-B224-41CD-B4E0-E297462320DD}" dt="2023-11-24T08:40:16.258" v="39107"/>
          <ac:spMkLst>
            <pc:docMk/>
            <pc:sldMk cId="1033770688" sldId="2147478572"/>
            <ac:spMk id="261" creationId="{AF266975-ABF9-DF58-A846-C40F91966765}"/>
          </ac:spMkLst>
        </pc:spChg>
        <pc:spChg chg="add del mod">
          <ac:chgData name="Steiner Andreas 6206 ED" userId="e6377c33-a923-4f14-8587-531c474c7b48" providerId="ADAL" clId="{6ECD27E6-B224-41CD-B4E0-E297462320DD}" dt="2023-11-24T08:40:18.801" v="39262"/>
          <ac:spMkLst>
            <pc:docMk/>
            <pc:sldMk cId="1033770688" sldId="2147478572"/>
            <ac:spMk id="262" creationId="{2EB39635-9780-877A-52A9-08F6BBD89322}"/>
          </ac:spMkLst>
        </pc:spChg>
        <pc:spChg chg="add del mod">
          <ac:chgData name="Steiner Andreas 6206 ED" userId="e6377c33-a923-4f14-8587-531c474c7b48" providerId="ADAL" clId="{6ECD27E6-B224-41CD-B4E0-E297462320DD}" dt="2023-11-24T08:40:21.226" v="39417"/>
          <ac:spMkLst>
            <pc:docMk/>
            <pc:sldMk cId="1033770688" sldId="2147478572"/>
            <ac:spMk id="263" creationId="{961869B6-A24C-569F-C0F5-DC5D62C53080}"/>
          </ac:spMkLst>
        </pc:spChg>
        <pc:spChg chg="add del mod">
          <ac:chgData name="Steiner Andreas 6206 ED" userId="e6377c33-a923-4f14-8587-531c474c7b48" providerId="ADAL" clId="{6ECD27E6-B224-41CD-B4E0-E297462320DD}" dt="2023-11-24T08:40:23.739" v="39572"/>
          <ac:spMkLst>
            <pc:docMk/>
            <pc:sldMk cId="1033770688" sldId="2147478572"/>
            <ac:spMk id="264" creationId="{55048532-74A2-E8BC-5C39-68711A28872E}"/>
          </ac:spMkLst>
        </pc:spChg>
        <pc:spChg chg="add del mod">
          <ac:chgData name="Steiner Andreas 6206 ED" userId="e6377c33-a923-4f14-8587-531c474c7b48" providerId="ADAL" clId="{6ECD27E6-B224-41CD-B4E0-E297462320DD}" dt="2023-11-24T08:40:26.800" v="39727"/>
          <ac:spMkLst>
            <pc:docMk/>
            <pc:sldMk cId="1033770688" sldId="2147478572"/>
            <ac:spMk id="265" creationId="{6A7D6734-E83B-F15C-AEDA-6DB8E1A156B2}"/>
          </ac:spMkLst>
        </pc:spChg>
        <pc:spChg chg="add del mod">
          <ac:chgData name="Steiner Andreas 6206 ED" userId="e6377c33-a923-4f14-8587-531c474c7b48" providerId="ADAL" clId="{6ECD27E6-B224-41CD-B4E0-E297462320DD}" dt="2023-11-24T08:40:29.444" v="39882"/>
          <ac:spMkLst>
            <pc:docMk/>
            <pc:sldMk cId="1033770688" sldId="2147478572"/>
            <ac:spMk id="266" creationId="{DC00E90F-B05B-3E58-D2DB-03D2DB0F27F6}"/>
          </ac:spMkLst>
        </pc:spChg>
        <pc:spChg chg="add del mod">
          <ac:chgData name="Steiner Andreas 6206 ED" userId="e6377c33-a923-4f14-8587-531c474c7b48" providerId="ADAL" clId="{6ECD27E6-B224-41CD-B4E0-E297462320DD}" dt="2023-11-24T08:40:32.003" v="40037"/>
          <ac:spMkLst>
            <pc:docMk/>
            <pc:sldMk cId="1033770688" sldId="2147478572"/>
            <ac:spMk id="267" creationId="{A5F3E734-05A2-50AA-3A7C-F57FAEEE0567}"/>
          </ac:spMkLst>
        </pc:spChg>
        <pc:spChg chg="add del mod">
          <ac:chgData name="Steiner Andreas 6206 ED" userId="e6377c33-a923-4f14-8587-531c474c7b48" providerId="ADAL" clId="{6ECD27E6-B224-41CD-B4E0-E297462320DD}" dt="2023-11-24T08:40:34.592" v="40192"/>
          <ac:spMkLst>
            <pc:docMk/>
            <pc:sldMk cId="1033770688" sldId="2147478572"/>
            <ac:spMk id="268" creationId="{9F8B17A6-53EA-290D-654C-2393A02D435E}"/>
          </ac:spMkLst>
        </pc:spChg>
        <pc:spChg chg="add del mod">
          <ac:chgData name="Steiner Andreas 6206 ED" userId="e6377c33-a923-4f14-8587-531c474c7b48" providerId="ADAL" clId="{6ECD27E6-B224-41CD-B4E0-E297462320DD}" dt="2023-11-24T08:40:37.772" v="40347"/>
          <ac:spMkLst>
            <pc:docMk/>
            <pc:sldMk cId="1033770688" sldId="2147478572"/>
            <ac:spMk id="269" creationId="{50E990E6-C5BB-BD2C-FEB5-B4268F23A64B}"/>
          </ac:spMkLst>
        </pc:spChg>
        <pc:spChg chg="add del mod">
          <ac:chgData name="Steiner Andreas 6206 ED" userId="e6377c33-a923-4f14-8587-531c474c7b48" providerId="ADAL" clId="{6ECD27E6-B224-41CD-B4E0-E297462320DD}" dt="2023-11-24T08:40:40.594" v="40502"/>
          <ac:spMkLst>
            <pc:docMk/>
            <pc:sldMk cId="1033770688" sldId="2147478572"/>
            <ac:spMk id="270" creationId="{5390A973-4057-EEB7-15C6-BF1433F38FA1}"/>
          </ac:spMkLst>
        </pc:spChg>
        <pc:spChg chg="add del mod">
          <ac:chgData name="Steiner Andreas 6206 ED" userId="e6377c33-a923-4f14-8587-531c474c7b48" providerId="ADAL" clId="{6ECD27E6-B224-41CD-B4E0-E297462320DD}" dt="2023-11-24T08:40:43.521" v="40657"/>
          <ac:spMkLst>
            <pc:docMk/>
            <pc:sldMk cId="1033770688" sldId="2147478572"/>
            <ac:spMk id="271" creationId="{AE0AA031-D138-EBD9-A26D-2EEBD1F413B3}"/>
          </ac:spMkLst>
        </pc:spChg>
        <pc:spChg chg="add del mod">
          <ac:chgData name="Steiner Andreas 6206 ED" userId="e6377c33-a923-4f14-8587-531c474c7b48" providerId="ADAL" clId="{6ECD27E6-B224-41CD-B4E0-E297462320DD}" dt="2023-11-24T08:40:45.974" v="40812"/>
          <ac:spMkLst>
            <pc:docMk/>
            <pc:sldMk cId="1033770688" sldId="2147478572"/>
            <ac:spMk id="272" creationId="{B3606F3F-AD4A-0C7F-8A06-5F39D54EF4E1}"/>
          </ac:spMkLst>
        </pc:spChg>
        <pc:spChg chg="add del mod">
          <ac:chgData name="Steiner Andreas 6206 ED" userId="e6377c33-a923-4f14-8587-531c474c7b48" providerId="ADAL" clId="{6ECD27E6-B224-41CD-B4E0-E297462320DD}" dt="2023-11-24T08:40:48.631" v="40967"/>
          <ac:spMkLst>
            <pc:docMk/>
            <pc:sldMk cId="1033770688" sldId="2147478572"/>
            <ac:spMk id="273" creationId="{30B22BFE-604C-62A8-0F9F-D36B5DB3B4D1}"/>
          </ac:spMkLst>
        </pc:spChg>
        <pc:spChg chg="add del mod">
          <ac:chgData name="Steiner Andreas 6206 ED" userId="e6377c33-a923-4f14-8587-531c474c7b48" providerId="ADAL" clId="{6ECD27E6-B224-41CD-B4E0-E297462320DD}" dt="2023-11-24T08:40:51.610" v="41122"/>
          <ac:spMkLst>
            <pc:docMk/>
            <pc:sldMk cId="1033770688" sldId="2147478572"/>
            <ac:spMk id="274" creationId="{4B214601-800E-B292-D932-8F3488F3EBA2}"/>
          </ac:spMkLst>
        </pc:spChg>
        <pc:spChg chg="add del mod">
          <ac:chgData name="Steiner Andreas 6206 ED" userId="e6377c33-a923-4f14-8587-531c474c7b48" providerId="ADAL" clId="{6ECD27E6-B224-41CD-B4E0-E297462320DD}" dt="2023-11-24T08:40:54.123" v="41277"/>
          <ac:spMkLst>
            <pc:docMk/>
            <pc:sldMk cId="1033770688" sldId="2147478572"/>
            <ac:spMk id="275" creationId="{D9BDCD26-EB4E-B4DA-E915-B67415076C6D}"/>
          </ac:spMkLst>
        </pc:spChg>
        <pc:spChg chg="add del mod">
          <ac:chgData name="Steiner Andreas 6206 ED" userId="e6377c33-a923-4f14-8587-531c474c7b48" providerId="ADAL" clId="{6ECD27E6-B224-41CD-B4E0-E297462320DD}" dt="2023-11-24T08:40:56.575" v="41432"/>
          <ac:spMkLst>
            <pc:docMk/>
            <pc:sldMk cId="1033770688" sldId="2147478572"/>
            <ac:spMk id="276" creationId="{0ED81959-390E-5825-C0A9-F65AD5530073}"/>
          </ac:spMkLst>
        </pc:spChg>
        <pc:spChg chg="add del mod">
          <ac:chgData name="Steiner Andreas 6206 ED" userId="e6377c33-a923-4f14-8587-531c474c7b48" providerId="ADAL" clId="{6ECD27E6-B224-41CD-B4E0-E297462320DD}" dt="2023-11-24T08:40:59.286" v="41587"/>
          <ac:spMkLst>
            <pc:docMk/>
            <pc:sldMk cId="1033770688" sldId="2147478572"/>
            <ac:spMk id="277" creationId="{661F492F-3934-0CD4-86E3-B22BBDCF8900}"/>
          </ac:spMkLst>
        </pc:spChg>
        <pc:spChg chg="add del mod">
          <ac:chgData name="Steiner Andreas 6206 ED" userId="e6377c33-a923-4f14-8587-531c474c7b48" providerId="ADAL" clId="{6ECD27E6-B224-41CD-B4E0-E297462320DD}" dt="2023-11-24T08:41:02.189" v="41742"/>
          <ac:spMkLst>
            <pc:docMk/>
            <pc:sldMk cId="1033770688" sldId="2147478572"/>
            <ac:spMk id="278" creationId="{150A326C-C79A-0E0C-8DB2-9363061A0F5F}"/>
          </ac:spMkLst>
        </pc:spChg>
        <pc:spChg chg="add del mod">
          <ac:chgData name="Steiner Andreas 6206 ED" userId="e6377c33-a923-4f14-8587-531c474c7b48" providerId="ADAL" clId="{6ECD27E6-B224-41CD-B4E0-E297462320DD}" dt="2023-11-24T08:41:04.988" v="41897"/>
          <ac:spMkLst>
            <pc:docMk/>
            <pc:sldMk cId="1033770688" sldId="2147478572"/>
            <ac:spMk id="279" creationId="{2547CA80-E532-E399-DDAB-DFA5D9D2CB3E}"/>
          </ac:spMkLst>
        </pc:spChg>
        <pc:spChg chg="add del mod">
          <ac:chgData name="Steiner Andreas 6206 ED" userId="e6377c33-a923-4f14-8587-531c474c7b48" providerId="ADAL" clId="{6ECD27E6-B224-41CD-B4E0-E297462320DD}" dt="2023-11-24T08:41:07.852" v="42052"/>
          <ac:spMkLst>
            <pc:docMk/>
            <pc:sldMk cId="1033770688" sldId="2147478572"/>
            <ac:spMk id="280" creationId="{3B9E4B22-B0DE-936F-7B23-BD5E07125EE3}"/>
          </ac:spMkLst>
        </pc:spChg>
        <pc:spChg chg="add del mod">
          <ac:chgData name="Steiner Andreas 6206 ED" userId="e6377c33-a923-4f14-8587-531c474c7b48" providerId="ADAL" clId="{6ECD27E6-B224-41CD-B4E0-E297462320DD}" dt="2023-11-24T08:41:12.017" v="42207"/>
          <ac:spMkLst>
            <pc:docMk/>
            <pc:sldMk cId="1033770688" sldId="2147478572"/>
            <ac:spMk id="281" creationId="{4BA8BBC8-6ACD-88FD-B17A-5DE07C8CC53D}"/>
          </ac:spMkLst>
        </pc:spChg>
        <pc:spChg chg="add del mod">
          <ac:chgData name="Steiner Andreas 6206 ED" userId="e6377c33-a923-4f14-8587-531c474c7b48" providerId="ADAL" clId="{6ECD27E6-B224-41CD-B4E0-E297462320DD}" dt="2023-11-24T08:41:15.020" v="42362"/>
          <ac:spMkLst>
            <pc:docMk/>
            <pc:sldMk cId="1033770688" sldId="2147478572"/>
            <ac:spMk id="282" creationId="{EA3A8E67-1600-9667-CBA3-09E7C91738FC}"/>
          </ac:spMkLst>
        </pc:spChg>
        <pc:spChg chg="add del mod">
          <ac:chgData name="Steiner Andreas 6206 ED" userId="e6377c33-a923-4f14-8587-531c474c7b48" providerId="ADAL" clId="{6ECD27E6-B224-41CD-B4E0-E297462320DD}" dt="2023-11-24T08:41:17.201" v="42517"/>
          <ac:spMkLst>
            <pc:docMk/>
            <pc:sldMk cId="1033770688" sldId="2147478572"/>
            <ac:spMk id="283" creationId="{85B9A7EE-F930-FAEC-8F06-9872CE78AB37}"/>
          </ac:spMkLst>
        </pc:spChg>
        <pc:spChg chg="add del mod">
          <ac:chgData name="Steiner Andreas 6206 ED" userId="e6377c33-a923-4f14-8587-531c474c7b48" providerId="ADAL" clId="{6ECD27E6-B224-41CD-B4E0-E297462320DD}" dt="2023-11-24T08:41:19.612" v="42672"/>
          <ac:spMkLst>
            <pc:docMk/>
            <pc:sldMk cId="1033770688" sldId="2147478572"/>
            <ac:spMk id="284" creationId="{859C18BE-4062-FCD9-CCD7-39E28328A89A}"/>
          </ac:spMkLst>
        </pc:spChg>
        <pc:spChg chg="add del mod">
          <ac:chgData name="Steiner Andreas 6206 ED" userId="e6377c33-a923-4f14-8587-531c474c7b48" providerId="ADAL" clId="{6ECD27E6-B224-41CD-B4E0-E297462320DD}" dt="2023-11-24T08:41:21.954" v="42827"/>
          <ac:spMkLst>
            <pc:docMk/>
            <pc:sldMk cId="1033770688" sldId="2147478572"/>
            <ac:spMk id="285" creationId="{784B0F4F-0C65-F02A-68A3-DE58FE726BFA}"/>
          </ac:spMkLst>
        </pc:spChg>
        <pc:spChg chg="add del mod">
          <ac:chgData name="Steiner Andreas 6206 ED" userId="e6377c33-a923-4f14-8587-531c474c7b48" providerId="ADAL" clId="{6ECD27E6-B224-41CD-B4E0-E297462320DD}" dt="2023-11-24T08:41:24.086" v="42982"/>
          <ac:spMkLst>
            <pc:docMk/>
            <pc:sldMk cId="1033770688" sldId="2147478572"/>
            <ac:spMk id="286" creationId="{EBFBC194-EED2-C3DC-0BC5-0083BB436F3C}"/>
          </ac:spMkLst>
        </pc:spChg>
        <pc:spChg chg="add del mod">
          <ac:chgData name="Steiner Andreas 6206 ED" userId="e6377c33-a923-4f14-8587-531c474c7b48" providerId="ADAL" clId="{6ECD27E6-B224-41CD-B4E0-E297462320DD}" dt="2023-11-24T08:41:26.466" v="43137"/>
          <ac:spMkLst>
            <pc:docMk/>
            <pc:sldMk cId="1033770688" sldId="2147478572"/>
            <ac:spMk id="287" creationId="{E149CFA2-E4FB-ED34-A893-BBE2913D7485}"/>
          </ac:spMkLst>
        </pc:spChg>
        <pc:spChg chg="add del mod">
          <ac:chgData name="Steiner Andreas 6206 ED" userId="e6377c33-a923-4f14-8587-531c474c7b48" providerId="ADAL" clId="{6ECD27E6-B224-41CD-B4E0-E297462320DD}" dt="2023-11-24T08:41:28.776" v="43292"/>
          <ac:spMkLst>
            <pc:docMk/>
            <pc:sldMk cId="1033770688" sldId="2147478572"/>
            <ac:spMk id="288" creationId="{C7889642-6C59-E561-4BFF-1669B61C0E52}"/>
          </ac:spMkLst>
        </pc:spChg>
        <pc:spChg chg="add del mod">
          <ac:chgData name="Steiner Andreas 6206 ED" userId="e6377c33-a923-4f14-8587-531c474c7b48" providerId="ADAL" clId="{6ECD27E6-B224-41CD-B4E0-E297462320DD}" dt="2023-11-24T08:41:30.929" v="43447"/>
          <ac:spMkLst>
            <pc:docMk/>
            <pc:sldMk cId="1033770688" sldId="2147478572"/>
            <ac:spMk id="289" creationId="{463EE453-B79E-3A61-883B-23B560670D8F}"/>
          </ac:spMkLst>
        </pc:spChg>
        <pc:spChg chg="add del mod">
          <ac:chgData name="Steiner Andreas 6206 ED" userId="e6377c33-a923-4f14-8587-531c474c7b48" providerId="ADAL" clId="{6ECD27E6-B224-41CD-B4E0-E297462320DD}" dt="2023-11-24T08:41:34.982" v="43602"/>
          <ac:spMkLst>
            <pc:docMk/>
            <pc:sldMk cId="1033770688" sldId="2147478572"/>
            <ac:spMk id="290" creationId="{5953F440-C17E-A5CB-D557-698F7B0755FB}"/>
          </ac:spMkLst>
        </pc:spChg>
        <pc:spChg chg="add del mod">
          <ac:chgData name="Steiner Andreas 6206 ED" userId="e6377c33-a923-4f14-8587-531c474c7b48" providerId="ADAL" clId="{6ECD27E6-B224-41CD-B4E0-E297462320DD}" dt="2023-11-24T08:41:38.059" v="43757"/>
          <ac:spMkLst>
            <pc:docMk/>
            <pc:sldMk cId="1033770688" sldId="2147478572"/>
            <ac:spMk id="291" creationId="{015F0799-98A7-97B0-4B67-D342E03D4064}"/>
          </ac:spMkLst>
        </pc:spChg>
        <pc:spChg chg="add del mod">
          <ac:chgData name="Steiner Andreas 6206 ED" userId="e6377c33-a923-4f14-8587-531c474c7b48" providerId="ADAL" clId="{6ECD27E6-B224-41CD-B4E0-E297462320DD}" dt="2023-11-24T08:41:40.637" v="43912"/>
          <ac:spMkLst>
            <pc:docMk/>
            <pc:sldMk cId="1033770688" sldId="2147478572"/>
            <ac:spMk id="292" creationId="{3BD0DCA6-F7D6-675A-4BE2-BCFFD03B3E7D}"/>
          </ac:spMkLst>
        </pc:spChg>
        <pc:spChg chg="add del mod">
          <ac:chgData name="Steiner Andreas 6206 ED" userId="e6377c33-a923-4f14-8587-531c474c7b48" providerId="ADAL" clId="{6ECD27E6-B224-41CD-B4E0-E297462320DD}" dt="2023-11-24T08:41:43.013" v="44067"/>
          <ac:spMkLst>
            <pc:docMk/>
            <pc:sldMk cId="1033770688" sldId="2147478572"/>
            <ac:spMk id="293" creationId="{CC4DB372-26A1-6664-1550-0C02A2B97B48}"/>
          </ac:spMkLst>
        </pc:spChg>
        <pc:spChg chg="add del mod">
          <ac:chgData name="Steiner Andreas 6206 ED" userId="e6377c33-a923-4f14-8587-531c474c7b48" providerId="ADAL" clId="{6ECD27E6-B224-41CD-B4E0-E297462320DD}" dt="2023-11-24T08:41:44.953" v="44222"/>
          <ac:spMkLst>
            <pc:docMk/>
            <pc:sldMk cId="1033770688" sldId="2147478572"/>
            <ac:spMk id="294" creationId="{A57CF73D-29BE-F08C-7E5F-AD19BC03D795}"/>
          </ac:spMkLst>
        </pc:spChg>
        <pc:spChg chg="add del mod">
          <ac:chgData name="Steiner Andreas 6206 ED" userId="e6377c33-a923-4f14-8587-531c474c7b48" providerId="ADAL" clId="{6ECD27E6-B224-41CD-B4E0-E297462320DD}" dt="2023-11-24T08:41:46.866" v="44377"/>
          <ac:spMkLst>
            <pc:docMk/>
            <pc:sldMk cId="1033770688" sldId="2147478572"/>
            <ac:spMk id="295" creationId="{D9A94454-6AFE-C46A-6BC3-CE4165CAE65E}"/>
          </ac:spMkLst>
        </pc:spChg>
        <pc:spChg chg="add del mod">
          <ac:chgData name="Steiner Andreas 6206 ED" userId="e6377c33-a923-4f14-8587-531c474c7b48" providerId="ADAL" clId="{6ECD27E6-B224-41CD-B4E0-E297462320DD}" dt="2023-11-24T08:41:48.864" v="44532"/>
          <ac:spMkLst>
            <pc:docMk/>
            <pc:sldMk cId="1033770688" sldId="2147478572"/>
            <ac:spMk id="296" creationId="{C07883E5-2FEB-9636-86C2-7473D6BAE2E1}"/>
          </ac:spMkLst>
        </pc:spChg>
        <pc:spChg chg="add del mod">
          <ac:chgData name="Steiner Andreas 6206 ED" userId="e6377c33-a923-4f14-8587-531c474c7b48" providerId="ADAL" clId="{6ECD27E6-B224-41CD-B4E0-E297462320DD}" dt="2023-11-24T08:41:50.762" v="44687"/>
          <ac:spMkLst>
            <pc:docMk/>
            <pc:sldMk cId="1033770688" sldId="2147478572"/>
            <ac:spMk id="297" creationId="{000E86D5-F8CE-E1D2-73D6-3C0F8385BF90}"/>
          </ac:spMkLst>
        </pc:spChg>
        <pc:spChg chg="add del mod">
          <ac:chgData name="Steiner Andreas 6206 ED" userId="e6377c33-a923-4f14-8587-531c474c7b48" providerId="ADAL" clId="{6ECD27E6-B224-41CD-B4E0-E297462320DD}" dt="2023-11-24T08:41:53.058" v="44842"/>
          <ac:spMkLst>
            <pc:docMk/>
            <pc:sldMk cId="1033770688" sldId="2147478572"/>
            <ac:spMk id="298" creationId="{5DC6E04B-403C-965B-D4D1-B925F91AF84E}"/>
          </ac:spMkLst>
        </pc:spChg>
        <pc:spChg chg="add del mod">
          <ac:chgData name="Steiner Andreas 6206 ED" userId="e6377c33-a923-4f14-8587-531c474c7b48" providerId="ADAL" clId="{6ECD27E6-B224-41CD-B4E0-E297462320DD}" dt="2023-11-24T08:41:55.005" v="44997"/>
          <ac:spMkLst>
            <pc:docMk/>
            <pc:sldMk cId="1033770688" sldId="2147478572"/>
            <ac:spMk id="299" creationId="{E41EA8B1-6E4C-DB1A-8570-6FA919BAC7D5}"/>
          </ac:spMkLst>
        </pc:spChg>
        <pc:spChg chg="add del mod">
          <ac:chgData name="Steiner Andreas 6206 ED" userId="e6377c33-a923-4f14-8587-531c474c7b48" providerId="ADAL" clId="{6ECD27E6-B224-41CD-B4E0-E297462320DD}" dt="2023-11-24T08:41:57.266" v="45152"/>
          <ac:spMkLst>
            <pc:docMk/>
            <pc:sldMk cId="1033770688" sldId="2147478572"/>
            <ac:spMk id="300" creationId="{3F35BD65-ACE8-E1AB-BF8E-D93CFA4AFFB9}"/>
          </ac:spMkLst>
        </pc:spChg>
        <pc:spChg chg="add del mod">
          <ac:chgData name="Steiner Andreas 6206 ED" userId="e6377c33-a923-4f14-8587-531c474c7b48" providerId="ADAL" clId="{6ECD27E6-B224-41CD-B4E0-E297462320DD}" dt="2023-11-24T08:41:59.338" v="45307"/>
          <ac:spMkLst>
            <pc:docMk/>
            <pc:sldMk cId="1033770688" sldId="2147478572"/>
            <ac:spMk id="301" creationId="{EA18866C-1C30-972B-3467-D362285C7394}"/>
          </ac:spMkLst>
        </pc:spChg>
        <pc:spChg chg="add del mod">
          <ac:chgData name="Steiner Andreas 6206 ED" userId="e6377c33-a923-4f14-8587-531c474c7b48" providerId="ADAL" clId="{6ECD27E6-B224-41CD-B4E0-E297462320DD}" dt="2023-11-24T08:42:01.685" v="45462"/>
          <ac:spMkLst>
            <pc:docMk/>
            <pc:sldMk cId="1033770688" sldId="2147478572"/>
            <ac:spMk id="302" creationId="{C61684FD-0279-C5D4-AAC6-54D516EE5385}"/>
          </ac:spMkLst>
        </pc:spChg>
        <pc:spChg chg="add del mod">
          <ac:chgData name="Steiner Andreas 6206 ED" userId="e6377c33-a923-4f14-8587-531c474c7b48" providerId="ADAL" clId="{6ECD27E6-B224-41CD-B4E0-E297462320DD}" dt="2023-11-24T08:42:03.687" v="45617"/>
          <ac:spMkLst>
            <pc:docMk/>
            <pc:sldMk cId="1033770688" sldId="2147478572"/>
            <ac:spMk id="303" creationId="{17B56F13-D5A9-10A0-9D91-52DBB4182D5F}"/>
          </ac:spMkLst>
        </pc:spChg>
        <pc:spChg chg="add del mod">
          <ac:chgData name="Steiner Andreas 6206 ED" userId="e6377c33-a923-4f14-8587-531c474c7b48" providerId="ADAL" clId="{6ECD27E6-B224-41CD-B4E0-E297462320DD}" dt="2023-11-24T08:42:05.660" v="45772"/>
          <ac:spMkLst>
            <pc:docMk/>
            <pc:sldMk cId="1033770688" sldId="2147478572"/>
            <ac:spMk id="304" creationId="{F4FF5DD6-3270-9C36-1FC8-013326772FA8}"/>
          </ac:spMkLst>
        </pc:spChg>
        <pc:spChg chg="add del mod">
          <ac:chgData name="Steiner Andreas 6206 ED" userId="e6377c33-a923-4f14-8587-531c474c7b48" providerId="ADAL" clId="{6ECD27E6-B224-41CD-B4E0-E297462320DD}" dt="2023-11-24T08:42:07.558" v="45927"/>
          <ac:spMkLst>
            <pc:docMk/>
            <pc:sldMk cId="1033770688" sldId="2147478572"/>
            <ac:spMk id="305" creationId="{7749720C-4F40-2731-C1A9-4DDBD651B264}"/>
          </ac:spMkLst>
        </pc:spChg>
        <pc:spChg chg="add del mod">
          <ac:chgData name="Steiner Andreas 6206 ED" userId="e6377c33-a923-4f14-8587-531c474c7b48" providerId="ADAL" clId="{6ECD27E6-B224-41CD-B4E0-E297462320DD}" dt="2023-11-24T08:42:09.460" v="46082"/>
          <ac:spMkLst>
            <pc:docMk/>
            <pc:sldMk cId="1033770688" sldId="2147478572"/>
            <ac:spMk id="306" creationId="{FFF10112-2AC6-6FA8-065B-963B1D06267F}"/>
          </ac:spMkLst>
        </pc:spChg>
        <pc:spChg chg="add del mod">
          <ac:chgData name="Steiner Andreas 6206 ED" userId="e6377c33-a923-4f14-8587-531c474c7b48" providerId="ADAL" clId="{6ECD27E6-B224-41CD-B4E0-E297462320DD}" dt="2023-11-24T08:42:11.710" v="46237"/>
          <ac:spMkLst>
            <pc:docMk/>
            <pc:sldMk cId="1033770688" sldId="2147478572"/>
            <ac:spMk id="307" creationId="{126A33DC-F94E-4EDB-4576-90D0040F56AD}"/>
          </ac:spMkLst>
        </pc:spChg>
        <pc:spChg chg="add del mod">
          <ac:chgData name="Steiner Andreas 6206 ED" userId="e6377c33-a923-4f14-8587-531c474c7b48" providerId="ADAL" clId="{6ECD27E6-B224-41CD-B4E0-E297462320DD}" dt="2023-11-24T08:42:14.019" v="46392"/>
          <ac:spMkLst>
            <pc:docMk/>
            <pc:sldMk cId="1033770688" sldId="2147478572"/>
            <ac:spMk id="308" creationId="{84BF1BC5-BAD1-F5E5-E0F9-ECFF88EBB708}"/>
          </ac:spMkLst>
        </pc:spChg>
        <pc:spChg chg="add del mod">
          <ac:chgData name="Steiner Andreas 6206 ED" userId="e6377c33-a923-4f14-8587-531c474c7b48" providerId="ADAL" clId="{6ECD27E6-B224-41CD-B4E0-E297462320DD}" dt="2023-11-24T08:42:16.728" v="46547"/>
          <ac:spMkLst>
            <pc:docMk/>
            <pc:sldMk cId="1033770688" sldId="2147478572"/>
            <ac:spMk id="309" creationId="{4AEB8776-6415-1041-5458-99334B2F904F}"/>
          </ac:spMkLst>
        </pc:spChg>
        <pc:spChg chg="add del mod">
          <ac:chgData name="Steiner Andreas 6206 ED" userId="e6377c33-a923-4f14-8587-531c474c7b48" providerId="ADAL" clId="{6ECD27E6-B224-41CD-B4E0-E297462320DD}" dt="2023-11-24T08:42:18.809" v="46702"/>
          <ac:spMkLst>
            <pc:docMk/>
            <pc:sldMk cId="1033770688" sldId="2147478572"/>
            <ac:spMk id="310" creationId="{A0004DBE-27D6-3563-E7C4-907ED48B8C2C}"/>
          </ac:spMkLst>
        </pc:spChg>
        <pc:spChg chg="add del mod">
          <ac:chgData name="Steiner Andreas 6206 ED" userId="e6377c33-a923-4f14-8587-531c474c7b48" providerId="ADAL" clId="{6ECD27E6-B224-41CD-B4E0-E297462320DD}" dt="2023-11-24T08:42:21.079" v="46857"/>
          <ac:spMkLst>
            <pc:docMk/>
            <pc:sldMk cId="1033770688" sldId="2147478572"/>
            <ac:spMk id="311" creationId="{D4DF980C-9CB6-A1A7-11DD-70BC2552BFAA}"/>
          </ac:spMkLst>
        </pc:spChg>
        <pc:spChg chg="add del mod">
          <ac:chgData name="Steiner Andreas 6206 ED" userId="e6377c33-a923-4f14-8587-531c474c7b48" providerId="ADAL" clId="{6ECD27E6-B224-41CD-B4E0-E297462320DD}" dt="2023-11-24T08:42:23.700" v="47012"/>
          <ac:spMkLst>
            <pc:docMk/>
            <pc:sldMk cId="1033770688" sldId="2147478572"/>
            <ac:spMk id="312" creationId="{94BC7524-8AA1-B6D6-39A2-810B96593892}"/>
          </ac:spMkLst>
        </pc:spChg>
        <pc:spChg chg="add del mod">
          <ac:chgData name="Steiner Andreas 6206 ED" userId="e6377c33-a923-4f14-8587-531c474c7b48" providerId="ADAL" clId="{6ECD27E6-B224-41CD-B4E0-E297462320DD}" dt="2023-11-24T08:42:25.811" v="47167"/>
          <ac:spMkLst>
            <pc:docMk/>
            <pc:sldMk cId="1033770688" sldId="2147478572"/>
            <ac:spMk id="313" creationId="{D22E95B3-0D58-8835-80DA-8A307A210ED0}"/>
          </ac:spMkLst>
        </pc:spChg>
        <pc:spChg chg="add del mod">
          <ac:chgData name="Steiner Andreas 6206 ED" userId="e6377c33-a923-4f14-8587-531c474c7b48" providerId="ADAL" clId="{6ECD27E6-B224-41CD-B4E0-E297462320DD}" dt="2023-11-24T08:42:27.700" v="47322"/>
          <ac:spMkLst>
            <pc:docMk/>
            <pc:sldMk cId="1033770688" sldId="2147478572"/>
            <ac:spMk id="314" creationId="{86D83F12-0AC6-5831-095B-445DE61BD588}"/>
          </ac:spMkLst>
        </pc:spChg>
        <pc:spChg chg="add del mod">
          <ac:chgData name="Steiner Andreas 6206 ED" userId="e6377c33-a923-4f14-8587-531c474c7b48" providerId="ADAL" clId="{6ECD27E6-B224-41CD-B4E0-E297462320DD}" dt="2023-11-24T08:42:29.432" v="47477"/>
          <ac:spMkLst>
            <pc:docMk/>
            <pc:sldMk cId="1033770688" sldId="2147478572"/>
            <ac:spMk id="315" creationId="{4CDA1A9E-4F3F-B1A7-DA54-449CDEBC79F8}"/>
          </ac:spMkLst>
        </pc:spChg>
        <pc:spChg chg="add del mod">
          <ac:chgData name="Steiner Andreas 6206 ED" userId="e6377c33-a923-4f14-8587-531c474c7b48" providerId="ADAL" clId="{6ECD27E6-B224-41CD-B4E0-E297462320DD}" dt="2023-11-24T08:42:31.341" v="47632"/>
          <ac:spMkLst>
            <pc:docMk/>
            <pc:sldMk cId="1033770688" sldId="2147478572"/>
            <ac:spMk id="316" creationId="{AF3E656D-1C17-4B12-D934-6815F02D1FB4}"/>
          </ac:spMkLst>
        </pc:spChg>
        <pc:spChg chg="add del mod">
          <ac:chgData name="Steiner Andreas 6206 ED" userId="e6377c33-a923-4f14-8587-531c474c7b48" providerId="ADAL" clId="{6ECD27E6-B224-41CD-B4E0-E297462320DD}" dt="2023-11-24T08:42:33.318" v="47787"/>
          <ac:spMkLst>
            <pc:docMk/>
            <pc:sldMk cId="1033770688" sldId="2147478572"/>
            <ac:spMk id="317" creationId="{C171F4F1-5869-C7A9-ADE1-8989AA65385B}"/>
          </ac:spMkLst>
        </pc:spChg>
        <pc:spChg chg="add del mod">
          <ac:chgData name="Steiner Andreas 6206 ED" userId="e6377c33-a923-4f14-8587-531c474c7b48" providerId="ADAL" clId="{6ECD27E6-B224-41CD-B4E0-E297462320DD}" dt="2023-11-24T08:42:35.411" v="47942"/>
          <ac:spMkLst>
            <pc:docMk/>
            <pc:sldMk cId="1033770688" sldId="2147478572"/>
            <ac:spMk id="318" creationId="{81F3280A-A6F1-FC8B-892A-7FFAEC4A869F}"/>
          </ac:spMkLst>
        </pc:spChg>
        <pc:spChg chg="add del mod">
          <ac:chgData name="Steiner Andreas 6206 ED" userId="e6377c33-a923-4f14-8587-531c474c7b48" providerId="ADAL" clId="{6ECD27E6-B224-41CD-B4E0-E297462320DD}" dt="2023-11-24T08:42:37.301" v="48097"/>
          <ac:spMkLst>
            <pc:docMk/>
            <pc:sldMk cId="1033770688" sldId="2147478572"/>
            <ac:spMk id="319" creationId="{8B025E3E-D2CF-C7A7-C7B6-240F0E6D2DE9}"/>
          </ac:spMkLst>
        </pc:spChg>
        <pc:spChg chg="add del mod">
          <ac:chgData name="Steiner Andreas 6206 ED" userId="e6377c33-a923-4f14-8587-531c474c7b48" providerId="ADAL" clId="{6ECD27E6-B224-41CD-B4E0-E297462320DD}" dt="2023-11-24T08:42:39.164" v="48252"/>
          <ac:spMkLst>
            <pc:docMk/>
            <pc:sldMk cId="1033770688" sldId="2147478572"/>
            <ac:spMk id="320" creationId="{966DBC1E-CD5F-E460-1EC6-42AF1C2B5257}"/>
          </ac:spMkLst>
        </pc:spChg>
        <pc:spChg chg="add del mod">
          <ac:chgData name="Steiner Andreas 6206 ED" userId="e6377c33-a923-4f14-8587-531c474c7b48" providerId="ADAL" clId="{6ECD27E6-B224-41CD-B4E0-E297462320DD}" dt="2023-11-24T08:42:41.245" v="48407"/>
          <ac:spMkLst>
            <pc:docMk/>
            <pc:sldMk cId="1033770688" sldId="2147478572"/>
            <ac:spMk id="321" creationId="{AD3A039D-520A-F7CE-0F88-18E30F3066B0}"/>
          </ac:spMkLst>
        </pc:spChg>
        <pc:spChg chg="add del mod">
          <ac:chgData name="Steiner Andreas 6206 ED" userId="e6377c33-a923-4f14-8587-531c474c7b48" providerId="ADAL" clId="{6ECD27E6-B224-41CD-B4E0-E297462320DD}" dt="2023-11-24T08:42:43.353" v="48562"/>
          <ac:spMkLst>
            <pc:docMk/>
            <pc:sldMk cId="1033770688" sldId="2147478572"/>
            <ac:spMk id="322" creationId="{3B73FBB2-FEAA-6103-69A3-730D4A95B06E}"/>
          </ac:spMkLst>
        </pc:spChg>
        <pc:spChg chg="add del mod">
          <ac:chgData name="Steiner Andreas 6206 ED" userId="e6377c33-a923-4f14-8587-531c474c7b48" providerId="ADAL" clId="{6ECD27E6-B224-41CD-B4E0-E297462320DD}" dt="2023-11-24T08:42:45.349" v="48717"/>
          <ac:spMkLst>
            <pc:docMk/>
            <pc:sldMk cId="1033770688" sldId="2147478572"/>
            <ac:spMk id="323" creationId="{710DB829-E8DF-A419-DCB9-060827EAC0AF}"/>
          </ac:spMkLst>
        </pc:spChg>
        <pc:spChg chg="add del mod">
          <ac:chgData name="Steiner Andreas 6206 ED" userId="e6377c33-a923-4f14-8587-531c474c7b48" providerId="ADAL" clId="{6ECD27E6-B224-41CD-B4E0-E297462320DD}" dt="2023-11-24T08:42:47.294" v="48872"/>
          <ac:spMkLst>
            <pc:docMk/>
            <pc:sldMk cId="1033770688" sldId="2147478572"/>
            <ac:spMk id="324" creationId="{CC02061D-743F-60AC-BE21-7A45FE356C1D}"/>
          </ac:spMkLst>
        </pc:spChg>
        <pc:spChg chg="add del mod">
          <ac:chgData name="Steiner Andreas 6206 ED" userId="e6377c33-a923-4f14-8587-531c474c7b48" providerId="ADAL" clId="{6ECD27E6-B224-41CD-B4E0-E297462320DD}" dt="2023-11-24T08:42:49.132" v="49027"/>
          <ac:spMkLst>
            <pc:docMk/>
            <pc:sldMk cId="1033770688" sldId="2147478572"/>
            <ac:spMk id="325" creationId="{1EE597C2-3DAC-0D3E-752B-09F27D042CBD}"/>
          </ac:spMkLst>
        </pc:spChg>
        <pc:spChg chg="add del mod">
          <ac:chgData name="Steiner Andreas 6206 ED" userId="e6377c33-a923-4f14-8587-531c474c7b48" providerId="ADAL" clId="{6ECD27E6-B224-41CD-B4E0-E297462320DD}" dt="2023-11-24T08:42:50.975" v="49182"/>
          <ac:spMkLst>
            <pc:docMk/>
            <pc:sldMk cId="1033770688" sldId="2147478572"/>
            <ac:spMk id="326" creationId="{21743FB3-2B89-F2CB-995C-CB9047E82D2A}"/>
          </ac:spMkLst>
        </pc:spChg>
        <pc:spChg chg="add del mod">
          <ac:chgData name="Steiner Andreas 6206 ED" userId="e6377c33-a923-4f14-8587-531c474c7b48" providerId="ADAL" clId="{6ECD27E6-B224-41CD-B4E0-E297462320DD}" dt="2023-11-24T08:42:53.042" v="49337"/>
          <ac:spMkLst>
            <pc:docMk/>
            <pc:sldMk cId="1033770688" sldId="2147478572"/>
            <ac:spMk id="327" creationId="{AE80C2FB-F989-DA5B-9355-1B97788F0C4E}"/>
          </ac:spMkLst>
        </pc:spChg>
        <pc:spChg chg="add del mod">
          <ac:chgData name="Steiner Andreas 6206 ED" userId="e6377c33-a923-4f14-8587-531c474c7b48" providerId="ADAL" clId="{6ECD27E6-B224-41CD-B4E0-E297462320DD}" dt="2023-11-24T08:42:55.598" v="49492"/>
          <ac:spMkLst>
            <pc:docMk/>
            <pc:sldMk cId="1033770688" sldId="2147478572"/>
            <ac:spMk id="328" creationId="{F10718C0-B8FB-8A54-8415-C0847387D788}"/>
          </ac:spMkLst>
        </pc:spChg>
        <pc:spChg chg="add del mod">
          <ac:chgData name="Steiner Andreas 6206 ED" userId="e6377c33-a923-4f14-8587-531c474c7b48" providerId="ADAL" clId="{6ECD27E6-B224-41CD-B4E0-E297462320DD}" dt="2023-11-24T08:42:57.748" v="49647"/>
          <ac:spMkLst>
            <pc:docMk/>
            <pc:sldMk cId="1033770688" sldId="2147478572"/>
            <ac:spMk id="329" creationId="{B7DAA2CB-7528-39D9-E6FD-7B3E7271BB46}"/>
          </ac:spMkLst>
        </pc:spChg>
        <pc:spChg chg="add del mod">
          <ac:chgData name="Steiner Andreas 6206 ED" userId="e6377c33-a923-4f14-8587-531c474c7b48" providerId="ADAL" clId="{6ECD27E6-B224-41CD-B4E0-E297462320DD}" dt="2023-11-24T08:42:59.704" v="49802"/>
          <ac:spMkLst>
            <pc:docMk/>
            <pc:sldMk cId="1033770688" sldId="2147478572"/>
            <ac:spMk id="330" creationId="{325DA677-FCEF-1BFD-60AB-519998B84E82}"/>
          </ac:spMkLst>
        </pc:spChg>
        <pc:spChg chg="add del mod">
          <ac:chgData name="Steiner Andreas 6206 ED" userId="e6377c33-a923-4f14-8587-531c474c7b48" providerId="ADAL" clId="{6ECD27E6-B224-41CD-B4E0-E297462320DD}" dt="2023-11-24T08:43:01.683" v="49957"/>
          <ac:spMkLst>
            <pc:docMk/>
            <pc:sldMk cId="1033770688" sldId="2147478572"/>
            <ac:spMk id="331" creationId="{98F0CFBC-8184-DC25-EA57-C6287517FB29}"/>
          </ac:spMkLst>
        </pc:spChg>
        <pc:spChg chg="add del mod">
          <ac:chgData name="Steiner Andreas 6206 ED" userId="e6377c33-a923-4f14-8587-531c474c7b48" providerId="ADAL" clId="{6ECD27E6-B224-41CD-B4E0-E297462320DD}" dt="2023-11-24T08:43:03.681" v="50112"/>
          <ac:spMkLst>
            <pc:docMk/>
            <pc:sldMk cId="1033770688" sldId="2147478572"/>
            <ac:spMk id="332" creationId="{CE8A40F4-9A0B-0647-EDB6-E95FCCCA8B78}"/>
          </ac:spMkLst>
        </pc:spChg>
        <pc:spChg chg="add del mod">
          <ac:chgData name="Steiner Andreas 6206 ED" userId="e6377c33-a923-4f14-8587-531c474c7b48" providerId="ADAL" clId="{6ECD27E6-B224-41CD-B4E0-E297462320DD}" dt="2023-11-24T08:43:05.541" v="50267"/>
          <ac:spMkLst>
            <pc:docMk/>
            <pc:sldMk cId="1033770688" sldId="2147478572"/>
            <ac:spMk id="333" creationId="{51DE17F6-942B-5D5F-4820-0FE642B841DF}"/>
          </ac:spMkLst>
        </pc:spChg>
        <pc:spChg chg="add del mod">
          <ac:chgData name="Steiner Andreas 6206 ED" userId="e6377c33-a923-4f14-8587-531c474c7b48" providerId="ADAL" clId="{6ECD27E6-B224-41CD-B4E0-E297462320DD}" dt="2023-11-24T08:43:07.672" v="50422"/>
          <ac:spMkLst>
            <pc:docMk/>
            <pc:sldMk cId="1033770688" sldId="2147478572"/>
            <ac:spMk id="334" creationId="{40BD275F-E5F5-4837-A9C9-E8A2D7704190}"/>
          </ac:spMkLst>
        </pc:spChg>
        <pc:spChg chg="add del mod">
          <ac:chgData name="Steiner Andreas 6206 ED" userId="e6377c33-a923-4f14-8587-531c474c7b48" providerId="ADAL" clId="{6ECD27E6-B224-41CD-B4E0-E297462320DD}" dt="2023-11-24T08:43:09.846" v="50577"/>
          <ac:spMkLst>
            <pc:docMk/>
            <pc:sldMk cId="1033770688" sldId="2147478572"/>
            <ac:spMk id="335" creationId="{38086E82-1D42-17DA-807C-505A4AEA8B40}"/>
          </ac:spMkLst>
        </pc:spChg>
        <pc:spChg chg="add del mod">
          <ac:chgData name="Steiner Andreas 6206 ED" userId="e6377c33-a923-4f14-8587-531c474c7b48" providerId="ADAL" clId="{6ECD27E6-B224-41CD-B4E0-E297462320DD}" dt="2023-11-24T08:43:11.665" v="50732"/>
          <ac:spMkLst>
            <pc:docMk/>
            <pc:sldMk cId="1033770688" sldId="2147478572"/>
            <ac:spMk id="336" creationId="{B0CA40A2-A7A2-5F69-81B6-440CC77EEDD1}"/>
          </ac:spMkLst>
        </pc:spChg>
        <pc:spChg chg="add del mod">
          <ac:chgData name="Steiner Andreas 6206 ED" userId="e6377c33-a923-4f14-8587-531c474c7b48" providerId="ADAL" clId="{6ECD27E6-B224-41CD-B4E0-E297462320DD}" dt="2023-11-24T08:43:13.707" v="50887"/>
          <ac:spMkLst>
            <pc:docMk/>
            <pc:sldMk cId="1033770688" sldId="2147478572"/>
            <ac:spMk id="337" creationId="{242C0580-E365-FA7A-3BA8-ABD92AE43FC7}"/>
          </ac:spMkLst>
        </pc:spChg>
        <pc:spChg chg="add del mod">
          <ac:chgData name="Steiner Andreas 6206 ED" userId="e6377c33-a923-4f14-8587-531c474c7b48" providerId="ADAL" clId="{6ECD27E6-B224-41CD-B4E0-E297462320DD}" dt="2023-11-24T08:43:15.648" v="51042"/>
          <ac:spMkLst>
            <pc:docMk/>
            <pc:sldMk cId="1033770688" sldId="2147478572"/>
            <ac:spMk id="338" creationId="{9A2082FF-BA13-4915-1979-8A3881A73FCD}"/>
          </ac:spMkLst>
        </pc:spChg>
        <pc:spChg chg="add del mod">
          <ac:chgData name="Steiner Andreas 6206 ED" userId="e6377c33-a923-4f14-8587-531c474c7b48" providerId="ADAL" clId="{6ECD27E6-B224-41CD-B4E0-E297462320DD}" dt="2023-11-24T08:43:17.785" v="51197"/>
          <ac:spMkLst>
            <pc:docMk/>
            <pc:sldMk cId="1033770688" sldId="2147478572"/>
            <ac:spMk id="339" creationId="{3256BFB7-9801-9776-DFAB-43595704449E}"/>
          </ac:spMkLst>
        </pc:spChg>
        <pc:spChg chg="add del mod">
          <ac:chgData name="Steiner Andreas 6206 ED" userId="e6377c33-a923-4f14-8587-531c474c7b48" providerId="ADAL" clId="{6ECD27E6-B224-41CD-B4E0-E297462320DD}" dt="2023-11-24T08:43:19.741" v="51352"/>
          <ac:spMkLst>
            <pc:docMk/>
            <pc:sldMk cId="1033770688" sldId="2147478572"/>
            <ac:spMk id="340" creationId="{D31D2757-D98E-0AD0-E9F4-CF5D2717AAC5}"/>
          </ac:spMkLst>
        </pc:spChg>
        <pc:spChg chg="add del mod">
          <ac:chgData name="Steiner Andreas 6206 ED" userId="e6377c33-a923-4f14-8587-531c474c7b48" providerId="ADAL" clId="{6ECD27E6-B224-41CD-B4E0-E297462320DD}" dt="2023-11-24T08:43:21.680" v="51507"/>
          <ac:spMkLst>
            <pc:docMk/>
            <pc:sldMk cId="1033770688" sldId="2147478572"/>
            <ac:spMk id="341" creationId="{145FBC8F-5FB0-9BA3-0F0C-B1A10890BBDD}"/>
          </ac:spMkLst>
        </pc:spChg>
        <pc:spChg chg="add del mod">
          <ac:chgData name="Steiner Andreas 6206 ED" userId="e6377c33-a923-4f14-8587-531c474c7b48" providerId="ADAL" clId="{6ECD27E6-B224-41CD-B4E0-E297462320DD}" dt="2023-11-24T08:43:23.608" v="51662"/>
          <ac:spMkLst>
            <pc:docMk/>
            <pc:sldMk cId="1033770688" sldId="2147478572"/>
            <ac:spMk id="342" creationId="{B1F04045-50CF-7929-222D-B78E2D489AD4}"/>
          </ac:spMkLst>
        </pc:spChg>
        <pc:spChg chg="add del mod">
          <ac:chgData name="Steiner Andreas 6206 ED" userId="e6377c33-a923-4f14-8587-531c474c7b48" providerId="ADAL" clId="{6ECD27E6-B224-41CD-B4E0-E297462320DD}" dt="2023-11-24T08:43:25.498" v="51817"/>
          <ac:spMkLst>
            <pc:docMk/>
            <pc:sldMk cId="1033770688" sldId="2147478572"/>
            <ac:spMk id="343" creationId="{E718AB50-89F1-16DD-E031-F0ED3A02611E}"/>
          </ac:spMkLst>
        </pc:spChg>
        <pc:spChg chg="add del mod">
          <ac:chgData name="Steiner Andreas 6206 ED" userId="e6377c33-a923-4f14-8587-531c474c7b48" providerId="ADAL" clId="{6ECD27E6-B224-41CD-B4E0-E297462320DD}" dt="2023-11-24T08:43:27.332" v="51972"/>
          <ac:spMkLst>
            <pc:docMk/>
            <pc:sldMk cId="1033770688" sldId="2147478572"/>
            <ac:spMk id="344" creationId="{A4998752-8A17-433A-66CB-E9562C879126}"/>
          </ac:spMkLst>
        </pc:spChg>
        <pc:spChg chg="add del mod">
          <ac:chgData name="Steiner Andreas 6206 ED" userId="e6377c33-a923-4f14-8587-531c474c7b48" providerId="ADAL" clId="{6ECD27E6-B224-41CD-B4E0-E297462320DD}" dt="2023-11-24T08:43:29.155" v="52127"/>
          <ac:spMkLst>
            <pc:docMk/>
            <pc:sldMk cId="1033770688" sldId="2147478572"/>
            <ac:spMk id="345" creationId="{38C53DCC-AF6F-1B55-2C46-8E9E3B00B3A2}"/>
          </ac:spMkLst>
        </pc:spChg>
        <pc:spChg chg="add del mod">
          <ac:chgData name="Steiner Andreas 6206 ED" userId="e6377c33-a923-4f14-8587-531c474c7b48" providerId="ADAL" clId="{6ECD27E6-B224-41CD-B4E0-E297462320DD}" dt="2023-11-24T08:43:31.578" v="52282"/>
          <ac:spMkLst>
            <pc:docMk/>
            <pc:sldMk cId="1033770688" sldId="2147478572"/>
            <ac:spMk id="346" creationId="{839B11A5-0847-238A-514E-16F338BF3CC9}"/>
          </ac:spMkLst>
        </pc:spChg>
        <pc:spChg chg="add del mod">
          <ac:chgData name="Steiner Andreas 6206 ED" userId="e6377c33-a923-4f14-8587-531c474c7b48" providerId="ADAL" clId="{6ECD27E6-B224-41CD-B4E0-E297462320DD}" dt="2023-11-24T08:43:34.267" v="52437"/>
          <ac:spMkLst>
            <pc:docMk/>
            <pc:sldMk cId="1033770688" sldId="2147478572"/>
            <ac:spMk id="347" creationId="{A5303A37-BE32-567D-7589-1E357FBA1F17}"/>
          </ac:spMkLst>
        </pc:spChg>
        <pc:spChg chg="add del mod">
          <ac:chgData name="Steiner Andreas 6206 ED" userId="e6377c33-a923-4f14-8587-531c474c7b48" providerId="ADAL" clId="{6ECD27E6-B224-41CD-B4E0-E297462320DD}" dt="2023-11-24T08:43:36.395" v="52592"/>
          <ac:spMkLst>
            <pc:docMk/>
            <pc:sldMk cId="1033770688" sldId="2147478572"/>
            <ac:spMk id="348" creationId="{A589E5D1-20E1-1EF2-C874-A104115F8EBD}"/>
          </ac:spMkLst>
        </pc:spChg>
        <pc:spChg chg="add del mod">
          <ac:chgData name="Steiner Andreas 6206 ED" userId="e6377c33-a923-4f14-8587-531c474c7b48" providerId="ADAL" clId="{6ECD27E6-B224-41CD-B4E0-E297462320DD}" dt="2023-11-24T08:43:38.333" v="52747"/>
          <ac:spMkLst>
            <pc:docMk/>
            <pc:sldMk cId="1033770688" sldId="2147478572"/>
            <ac:spMk id="349" creationId="{63F3D9B7-F924-C5FC-2DFE-984FF3D840CE}"/>
          </ac:spMkLst>
        </pc:spChg>
        <pc:spChg chg="add del mod">
          <ac:chgData name="Steiner Andreas 6206 ED" userId="e6377c33-a923-4f14-8587-531c474c7b48" providerId="ADAL" clId="{6ECD27E6-B224-41CD-B4E0-E297462320DD}" dt="2023-11-24T08:43:40.618" v="52902"/>
          <ac:spMkLst>
            <pc:docMk/>
            <pc:sldMk cId="1033770688" sldId="2147478572"/>
            <ac:spMk id="350" creationId="{927130BF-B4C0-3AF6-22B6-88027A593C59}"/>
          </ac:spMkLst>
        </pc:spChg>
        <pc:spChg chg="add del mod">
          <ac:chgData name="Steiner Andreas 6206 ED" userId="e6377c33-a923-4f14-8587-531c474c7b48" providerId="ADAL" clId="{6ECD27E6-B224-41CD-B4E0-E297462320DD}" dt="2023-11-24T08:43:42.620" v="53057"/>
          <ac:spMkLst>
            <pc:docMk/>
            <pc:sldMk cId="1033770688" sldId="2147478572"/>
            <ac:spMk id="351" creationId="{11DCEA66-0F04-D21E-A101-3DF87C067F3F}"/>
          </ac:spMkLst>
        </pc:spChg>
        <pc:spChg chg="add del mod">
          <ac:chgData name="Steiner Andreas 6206 ED" userId="e6377c33-a923-4f14-8587-531c474c7b48" providerId="ADAL" clId="{6ECD27E6-B224-41CD-B4E0-E297462320DD}" dt="2023-11-24T08:43:44.465" v="53212"/>
          <ac:spMkLst>
            <pc:docMk/>
            <pc:sldMk cId="1033770688" sldId="2147478572"/>
            <ac:spMk id="352" creationId="{CA90B50C-10B3-1CAD-4EDA-ACEE31CA18BF}"/>
          </ac:spMkLst>
        </pc:spChg>
        <pc:spChg chg="add del mod">
          <ac:chgData name="Steiner Andreas 6206 ED" userId="e6377c33-a923-4f14-8587-531c474c7b48" providerId="ADAL" clId="{6ECD27E6-B224-41CD-B4E0-E297462320DD}" dt="2023-11-24T08:43:46.203" v="53367"/>
          <ac:spMkLst>
            <pc:docMk/>
            <pc:sldMk cId="1033770688" sldId="2147478572"/>
            <ac:spMk id="353" creationId="{B76A2BA5-1EEB-0989-B1CC-8DDAA977D646}"/>
          </ac:spMkLst>
        </pc:spChg>
        <pc:spChg chg="add del mod">
          <ac:chgData name="Steiner Andreas 6206 ED" userId="e6377c33-a923-4f14-8587-531c474c7b48" providerId="ADAL" clId="{6ECD27E6-B224-41CD-B4E0-E297462320DD}" dt="2023-11-24T08:43:48.153" v="53522"/>
          <ac:spMkLst>
            <pc:docMk/>
            <pc:sldMk cId="1033770688" sldId="2147478572"/>
            <ac:spMk id="354" creationId="{C2B89700-F600-CF37-74D1-1C04613C4F7D}"/>
          </ac:spMkLst>
        </pc:spChg>
        <pc:spChg chg="add del mod">
          <ac:chgData name="Steiner Andreas 6206 ED" userId="e6377c33-a923-4f14-8587-531c474c7b48" providerId="ADAL" clId="{6ECD27E6-B224-41CD-B4E0-E297462320DD}" dt="2023-11-24T08:43:50.141" v="53677"/>
          <ac:spMkLst>
            <pc:docMk/>
            <pc:sldMk cId="1033770688" sldId="2147478572"/>
            <ac:spMk id="355" creationId="{546E7564-CD36-9CEA-2431-41A34F4B0B45}"/>
          </ac:spMkLst>
        </pc:spChg>
        <pc:spChg chg="add del mod">
          <ac:chgData name="Steiner Andreas 6206 ED" userId="e6377c33-a923-4f14-8587-531c474c7b48" providerId="ADAL" clId="{6ECD27E6-B224-41CD-B4E0-E297462320DD}" dt="2023-11-24T08:43:52.100" v="53832"/>
          <ac:spMkLst>
            <pc:docMk/>
            <pc:sldMk cId="1033770688" sldId="2147478572"/>
            <ac:spMk id="356" creationId="{82557755-78E4-4214-0D49-5B60594599D1}"/>
          </ac:spMkLst>
        </pc:spChg>
        <pc:spChg chg="add del mod">
          <ac:chgData name="Steiner Andreas 6206 ED" userId="e6377c33-a923-4f14-8587-531c474c7b48" providerId="ADAL" clId="{6ECD27E6-B224-41CD-B4E0-E297462320DD}" dt="2023-11-24T08:43:54.887" v="53987"/>
          <ac:spMkLst>
            <pc:docMk/>
            <pc:sldMk cId="1033770688" sldId="2147478572"/>
            <ac:spMk id="357" creationId="{CA69C77C-6D14-0220-B009-1A74DD2CABBD}"/>
          </ac:spMkLst>
        </pc:spChg>
        <pc:spChg chg="add del mod">
          <ac:chgData name="Steiner Andreas 6206 ED" userId="e6377c33-a923-4f14-8587-531c474c7b48" providerId="ADAL" clId="{6ECD27E6-B224-41CD-B4E0-E297462320DD}" dt="2023-11-24T08:43:56.981" v="54142"/>
          <ac:spMkLst>
            <pc:docMk/>
            <pc:sldMk cId="1033770688" sldId="2147478572"/>
            <ac:spMk id="358" creationId="{3307239E-D0CA-B056-DA7C-592FA2E7CB17}"/>
          </ac:spMkLst>
        </pc:spChg>
        <pc:spChg chg="add del mod">
          <ac:chgData name="Steiner Andreas 6206 ED" userId="e6377c33-a923-4f14-8587-531c474c7b48" providerId="ADAL" clId="{6ECD27E6-B224-41CD-B4E0-E297462320DD}" dt="2023-11-24T08:43:59.085" v="54297"/>
          <ac:spMkLst>
            <pc:docMk/>
            <pc:sldMk cId="1033770688" sldId="2147478572"/>
            <ac:spMk id="359" creationId="{C2B0F9F8-2164-A249-18F0-22A81C72C559}"/>
          </ac:spMkLst>
        </pc:spChg>
        <pc:spChg chg="add del mod">
          <ac:chgData name="Steiner Andreas 6206 ED" userId="e6377c33-a923-4f14-8587-531c474c7b48" providerId="ADAL" clId="{6ECD27E6-B224-41CD-B4E0-E297462320DD}" dt="2023-11-24T08:44:01.389" v="54452"/>
          <ac:spMkLst>
            <pc:docMk/>
            <pc:sldMk cId="1033770688" sldId="2147478572"/>
            <ac:spMk id="360" creationId="{21C656B5-6B51-7CCC-50BE-7413159466E8}"/>
          </ac:spMkLst>
        </pc:spChg>
        <pc:spChg chg="add del mod">
          <ac:chgData name="Steiner Andreas 6206 ED" userId="e6377c33-a923-4f14-8587-531c474c7b48" providerId="ADAL" clId="{6ECD27E6-B224-41CD-B4E0-E297462320DD}" dt="2023-11-24T08:44:03.513" v="54607"/>
          <ac:spMkLst>
            <pc:docMk/>
            <pc:sldMk cId="1033770688" sldId="2147478572"/>
            <ac:spMk id="361" creationId="{DBFD0250-5A8E-B3F2-2E03-1124240D2F10}"/>
          </ac:spMkLst>
        </pc:spChg>
        <pc:spChg chg="add del mod">
          <ac:chgData name="Steiner Andreas 6206 ED" userId="e6377c33-a923-4f14-8587-531c474c7b48" providerId="ADAL" clId="{6ECD27E6-B224-41CD-B4E0-E297462320DD}" dt="2023-11-24T08:44:05.647" v="54762"/>
          <ac:spMkLst>
            <pc:docMk/>
            <pc:sldMk cId="1033770688" sldId="2147478572"/>
            <ac:spMk id="362" creationId="{8CE5A251-66A4-BE23-5A09-C34BEB6FCB54}"/>
          </ac:spMkLst>
        </pc:spChg>
        <pc:spChg chg="add del mod">
          <ac:chgData name="Steiner Andreas 6206 ED" userId="e6377c33-a923-4f14-8587-531c474c7b48" providerId="ADAL" clId="{6ECD27E6-B224-41CD-B4E0-E297462320DD}" dt="2023-11-24T08:44:07.611" v="54917"/>
          <ac:spMkLst>
            <pc:docMk/>
            <pc:sldMk cId="1033770688" sldId="2147478572"/>
            <ac:spMk id="363" creationId="{52970F26-772E-5883-E026-C64462C98AAE}"/>
          </ac:spMkLst>
        </pc:spChg>
        <pc:spChg chg="add del mod">
          <ac:chgData name="Steiner Andreas 6206 ED" userId="e6377c33-a923-4f14-8587-531c474c7b48" providerId="ADAL" clId="{6ECD27E6-B224-41CD-B4E0-E297462320DD}" dt="2023-11-24T08:44:09.629" v="55072"/>
          <ac:spMkLst>
            <pc:docMk/>
            <pc:sldMk cId="1033770688" sldId="2147478572"/>
            <ac:spMk id="364" creationId="{15B59CAD-DB4E-811B-D799-85CBE0727C7F}"/>
          </ac:spMkLst>
        </pc:spChg>
        <pc:spChg chg="add del mod">
          <ac:chgData name="Steiner Andreas 6206 ED" userId="e6377c33-a923-4f14-8587-531c474c7b48" providerId="ADAL" clId="{6ECD27E6-B224-41CD-B4E0-E297462320DD}" dt="2023-11-24T08:44:11.554" v="55227"/>
          <ac:spMkLst>
            <pc:docMk/>
            <pc:sldMk cId="1033770688" sldId="2147478572"/>
            <ac:spMk id="365" creationId="{8CE21048-05E9-3DC5-DF48-B96EBBD66FF6}"/>
          </ac:spMkLst>
        </pc:spChg>
        <pc:spChg chg="add del mod">
          <ac:chgData name="Steiner Andreas 6206 ED" userId="e6377c33-a923-4f14-8587-531c474c7b48" providerId="ADAL" clId="{6ECD27E6-B224-41CD-B4E0-E297462320DD}" dt="2023-11-24T08:44:13.776" v="55382"/>
          <ac:spMkLst>
            <pc:docMk/>
            <pc:sldMk cId="1033770688" sldId="2147478572"/>
            <ac:spMk id="366" creationId="{B6F75DC3-7040-E22D-05BA-572B0E7AC334}"/>
          </ac:spMkLst>
        </pc:spChg>
        <pc:spChg chg="add del mod">
          <ac:chgData name="Steiner Andreas 6206 ED" userId="e6377c33-a923-4f14-8587-531c474c7b48" providerId="ADAL" clId="{6ECD27E6-B224-41CD-B4E0-E297462320DD}" dt="2023-11-24T08:44:15.809" v="55537"/>
          <ac:spMkLst>
            <pc:docMk/>
            <pc:sldMk cId="1033770688" sldId="2147478572"/>
            <ac:spMk id="367" creationId="{8CB22AD0-CF39-19C3-D535-DFC409C65883}"/>
          </ac:spMkLst>
        </pc:spChg>
        <pc:spChg chg="add del mod">
          <ac:chgData name="Steiner Andreas 6206 ED" userId="e6377c33-a923-4f14-8587-531c474c7b48" providerId="ADAL" clId="{6ECD27E6-B224-41CD-B4E0-E297462320DD}" dt="2023-11-24T08:44:18.289" v="55692"/>
          <ac:spMkLst>
            <pc:docMk/>
            <pc:sldMk cId="1033770688" sldId="2147478572"/>
            <ac:spMk id="368" creationId="{4117ADC5-5C7B-D1BA-A417-24C74E73FCAC}"/>
          </ac:spMkLst>
        </pc:spChg>
        <pc:spChg chg="add del mod">
          <ac:chgData name="Steiner Andreas 6206 ED" userId="e6377c33-a923-4f14-8587-531c474c7b48" providerId="ADAL" clId="{6ECD27E6-B224-41CD-B4E0-E297462320DD}" dt="2023-11-24T08:44:21.014" v="55847"/>
          <ac:spMkLst>
            <pc:docMk/>
            <pc:sldMk cId="1033770688" sldId="2147478572"/>
            <ac:spMk id="369" creationId="{2E9E373A-30E8-1A38-CAEF-681E853C6A75}"/>
          </ac:spMkLst>
        </pc:spChg>
        <pc:spChg chg="add del mod">
          <ac:chgData name="Steiner Andreas 6206 ED" userId="e6377c33-a923-4f14-8587-531c474c7b48" providerId="ADAL" clId="{6ECD27E6-B224-41CD-B4E0-E297462320DD}" dt="2023-11-24T08:44:23.567" v="56002"/>
          <ac:spMkLst>
            <pc:docMk/>
            <pc:sldMk cId="1033770688" sldId="2147478572"/>
            <ac:spMk id="370" creationId="{42F279D4-C2B5-22BD-A0F3-8705411A6B1A}"/>
          </ac:spMkLst>
        </pc:spChg>
        <pc:spChg chg="add del mod">
          <ac:chgData name="Steiner Andreas 6206 ED" userId="e6377c33-a923-4f14-8587-531c474c7b48" providerId="ADAL" clId="{6ECD27E6-B224-41CD-B4E0-E297462320DD}" dt="2023-11-24T08:44:25.483" v="56157"/>
          <ac:spMkLst>
            <pc:docMk/>
            <pc:sldMk cId="1033770688" sldId="2147478572"/>
            <ac:spMk id="371" creationId="{4E3159D3-2E7D-F63E-FAD2-5C50C0688891}"/>
          </ac:spMkLst>
        </pc:spChg>
        <pc:spChg chg="add del mod">
          <ac:chgData name="Steiner Andreas 6206 ED" userId="e6377c33-a923-4f14-8587-531c474c7b48" providerId="ADAL" clId="{6ECD27E6-B224-41CD-B4E0-E297462320DD}" dt="2023-11-24T08:44:27.691" v="56312"/>
          <ac:spMkLst>
            <pc:docMk/>
            <pc:sldMk cId="1033770688" sldId="2147478572"/>
            <ac:spMk id="372" creationId="{95DE3DC7-C7A3-E298-3689-337CAC7CA007}"/>
          </ac:spMkLst>
        </pc:spChg>
        <pc:spChg chg="add del mod">
          <ac:chgData name="Steiner Andreas 6206 ED" userId="e6377c33-a923-4f14-8587-531c474c7b48" providerId="ADAL" clId="{6ECD27E6-B224-41CD-B4E0-E297462320DD}" dt="2023-11-24T08:44:29.714" v="56467"/>
          <ac:spMkLst>
            <pc:docMk/>
            <pc:sldMk cId="1033770688" sldId="2147478572"/>
            <ac:spMk id="373" creationId="{E7280EEF-70D3-AE4C-C5DC-4B1327BFD367}"/>
          </ac:spMkLst>
        </pc:spChg>
        <pc:spChg chg="add del mod">
          <ac:chgData name="Steiner Andreas 6206 ED" userId="e6377c33-a923-4f14-8587-531c474c7b48" providerId="ADAL" clId="{6ECD27E6-B224-41CD-B4E0-E297462320DD}" dt="2023-11-24T08:44:31.682" v="56622"/>
          <ac:spMkLst>
            <pc:docMk/>
            <pc:sldMk cId="1033770688" sldId="2147478572"/>
            <ac:spMk id="374" creationId="{A8C34B30-5C9B-F600-2B63-B7B5DE94DA43}"/>
          </ac:spMkLst>
        </pc:spChg>
        <pc:spChg chg="add del mod">
          <ac:chgData name="Steiner Andreas 6206 ED" userId="e6377c33-a923-4f14-8587-531c474c7b48" providerId="ADAL" clId="{6ECD27E6-B224-41CD-B4E0-E297462320DD}" dt="2023-11-24T08:44:33.621" v="56777"/>
          <ac:spMkLst>
            <pc:docMk/>
            <pc:sldMk cId="1033770688" sldId="2147478572"/>
            <ac:spMk id="375" creationId="{BF2F3C2C-10F8-7733-3B18-7A39B906B334}"/>
          </ac:spMkLst>
        </pc:spChg>
        <pc:spChg chg="add del mod">
          <ac:chgData name="Steiner Andreas 6206 ED" userId="e6377c33-a923-4f14-8587-531c474c7b48" providerId="ADAL" clId="{6ECD27E6-B224-41CD-B4E0-E297462320DD}" dt="2023-11-24T08:44:35.878" v="56932"/>
          <ac:spMkLst>
            <pc:docMk/>
            <pc:sldMk cId="1033770688" sldId="2147478572"/>
            <ac:spMk id="376" creationId="{258B1142-B646-69C5-7608-B08A48632660}"/>
          </ac:spMkLst>
        </pc:spChg>
        <pc:spChg chg="add del mod">
          <ac:chgData name="Steiner Andreas 6206 ED" userId="e6377c33-a923-4f14-8587-531c474c7b48" providerId="ADAL" clId="{6ECD27E6-B224-41CD-B4E0-E297462320DD}" dt="2023-11-24T08:44:38.497" v="57087"/>
          <ac:spMkLst>
            <pc:docMk/>
            <pc:sldMk cId="1033770688" sldId="2147478572"/>
            <ac:spMk id="377" creationId="{C45074AC-FF23-48E9-A32A-E3F061FE171D}"/>
          </ac:spMkLst>
        </pc:spChg>
        <pc:spChg chg="add del mod">
          <ac:chgData name="Steiner Andreas 6206 ED" userId="e6377c33-a923-4f14-8587-531c474c7b48" providerId="ADAL" clId="{6ECD27E6-B224-41CD-B4E0-E297462320DD}" dt="2023-11-24T08:44:40.889" v="57242"/>
          <ac:spMkLst>
            <pc:docMk/>
            <pc:sldMk cId="1033770688" sldId="2147478572"/>
            <ac:spMk id="378" creationId="{281A60B1-28CF-1C08-F3D1-2AA3E1010A54}"/>
          </ac:spMkLst>
        </pc:spChg>
        <pc:spChg chg="add del mod">
          <ac:chgData name="Steiner Andreas 6206 ED" userId="e6377c33-a923-4f14-8587-531c474c7b48" providerId="ADAL" clId="{6ECD27E6-B224-41CD-B4E0-E297462320DD}" dt="2023-11-24T08:44:43.120" v="57397"/>
          <ac:spMkLst>
            <pc:docMk/>
            <pc:sldMk cId="1033770688" sldId="2147478572"/>
            <ac:spMk id="379" creationId="{97416A12-1921-ED52-4818-6678F1158DE2}"/>
          </ac:spMkLst>
        </pc:spChg>
        <pc:spChg chg="add del mod">
          <ac:chgData name="Steiner Andreas 6206 ED" userId="e6377c33-a923-4f14-8587-531c474c7b48" providerId="ADAL" clId="{6ECD27E6-B224-41CD-B4E0-E297462320DD}" dt="2023-11-24T08:44:45.293" v="57552"/>
          <ac:spMkLst>
            <pc:docMk/>
            <pc:sldMk cId="1033770688" sldId="2147478572"/>
            <ac:spMk id="380" creationId="{7FD5A98E-AE28-3DEE-8052-F4A60614AC55}"/>
          </ac:spMkLst>
        </pc:spChg>
        <pc:spChg chg="add del mod">
          <ac:chgData name="Steiner Andreas 6206 ED" userId="e6377c33-a923-4f14-8587-531c474c7b48" providerId="ADAL" clId="{6ECD27E6-B224-41CD-B4E0-E297462320DD}" dt="2023-11-24T08:44:47.784" v="57707"/>
          <ac:spMkLst>
            <pc:docMk/>
            <pc:sldMk cId="1033770688" sldId="2147478572"/>
            <ac:spMk id="381" creationId="{EC3A0747-551D-A245-DAC8-75C9CD1E1B9C}"/>
          </ac:spMkLst>
        </pc:spChg>
        <pc:spChg chg="add del mod">
          <ac:chgData name="Steiner Andreas 6206 ED" userId="e6377c33-a923-4f14-8587-531c474c7b48" providerId="ADAL" clId="{6ECD27E6-B224-41CD-B4E0-E297462320DD}" dt="2023-11-24T08:44:50.287" v="57862"/>
          <ac:spMkLst>
            <pc:docMk/>
            <pc:sldMk cId="1033770688" sldId="2147478572"/>
            <ac:spMk id="382" creationId="{40C39431-73AD-B748-763D-07B2BF9617C9}"/>
          </ac:spMkLst>
        </pc:spChg>
        <pc:spChg chg="add del mod">
          <ac:chgData name="Steiner Andreas 6206 ED" userId="e6377c33-a923-4f14-8587-531c474c7b48" providerId="ADAL" clId="{6ECD27E6-B224-41CD-B4E0-E297462320DD}" dt="2023-11-24T08:44:52.446" v="58017"/>
          <ac:spMkLst>
            <pc:docMk/>
            <pc:sldMk cId="1033770688" sldId="2147478572"/>
            <ac:spMk id="383" creationId="{77D543A0-7452-297E-163D-4492B6CE890C}"/>
          </ac:spMkLst>
        </pc:spChg>
        <pc:spChg chg="add del mod">
          <ac:chgData name="Steiner Andreas 6206 ED" userId="e6377c33-a923-4f14-8587-531c474c7b48" providerId="ADAL" clId="{6ECD27E6-B224-41CD-B4E0-E297462320DD}" dt="2023-11-24T08:44:54.637" v="58172"/>
          <ac:spMkLst>
            <pc:docMk/>
            <pc:sldMk cId="1033770688" sldId="2147478572"/>
            <ac:spMk id="384" creationId="{2D5A90DB-DCE9-5284-BF5B-3DA7DEBD37D5}"/>
          </ac:spMkLst>
        </pc:spChg>
        <pc:spChg chg="add del mod">
          <ac:chgData name="Steiner Andreas 6206 ED" userId="e6377c33-a923-4f14-8587-531c474c7b48" providerId="ADAL" clId="{6ECD27E6-B224-41CD-B4E0-E297462320DD}" dt="2023-11-24T08:44:56.699" v="58327"/>
          <ac:spMkLst>
            <pc:docMk/>
            <pc:sldMk cId="1033770688" sldId="2147478572"/>
            <ac:spMk id="385" creationId="{7B66704A-B928-8960-E0F2-CE7F0A0A4E12}"/>
          </ac:spMkLst>
        </pc:spChg>
        <pc:spChg chg="add del mod">
          <ac:chgData name="Steiner Andreas 6206 ED" userId="e6377c33-a923-4f14-8587-531c474c7b48" providerId="ADAL" clId="{6ECD27E6-B224-41CD-B4E0-E297462320DD}" dt="2023-11-24T08:44:58.627" v="58482"/>
          <ac:spMkLst>
            <pc:docMk/>
            <pc:sldMk cId="1033770688" sldId="2147478572"/>
            <ac:spMk id="386" creationId="{EAF84292-C443-77B7-B2A6-63AD83589124}"/>
          </ac:spMkLst>
        </pc:spChg>
        <pc:spChg chg="add del mod">
          <ac:chgData name="Steiner Andreas 6206 ED" userId="e6377c33-a923-4f14-8587-531c474c7b48" providerId="ADAL" clId="{6ECD27E6-B224-41CD-B4E0-E297462320DD}" dt="2023-11-24T08:45:00.751" v="58637"/>
          <ac:spMkLst>
            <pc:docMk/>
            <pc:sldMk cId="1033770688" sldId="2147478572"/>
            <ac:spMk id="387" creationId="{9A0447E3-6036-B7B7-0C6A-7A8421BCC3FE}"/>
          </ac:spMkLst>
        </pc:spChg>
        <pc:spChg chg="add del mod">
          <ac:chgData name="Steiner Andreas 6206 ED" userId="e6377c33-a923-4f14-8587-531c474c7b48" providerId="ADAL" clId="{6ECD27E6-B224-41CD-B4E0-E297462320DD}" dt="2023-11-24T08:45:02.718" v="58792"/>
          <ac:spMkLst>
            <pc:docMk/>
            <pc:sldMk cId="1033770688" sldId="2147478572"/>
            <ac:spMk id="388" creationId="{1DB624C2-2DCB-3F2E-727B-6C37B0711721}"/>
          </ac:spMkLst>
        </pc:spChg>
        <pc:spChg chg="add del mod">
          <ac:chgData name="Steiner Andreas 6206 ED" userId="e6377c33-a923-4f14-8587-531c474c7b48" providerId="ADAL" clId="{6ECD27E6-B224-41CD-B4E0-E297462320DD}" dt="2023-11-24T08:45:04.580" v="58947"/>
          <ac:spMkLst>
            <pc:docMk/>
            <pc:sldMk cId="1033770688" sldId="2147478572"/>
            <ac:spMk id="389" creationId="{B0F2929E-442B-87BC-B4FB-DD80A7FAC068}"/>
          </ac:spMkLst>
        </pc:spChg>
        <pc:spChg chg="add del mod">
          <ac:chgData name="Steiner Andreas 6206 ED" userId="e6377c33-a923-4f14-8587-531c474c7b48" providerId="ADAL" clId="{6ECD27E6-B224-41CD-B4E0-E297462320DD}" dt="2023-11-24T08:45:06.428" v="59102"/>
          <ac:spMkLst>
            <pc:docMk/>
            <pc:sldMk cId="1033770688" sldId="2147478572"/>
            <ac:spMk id="390" creationId="{5AAD519B-CFC2-3254-4F26-E4E9DAC0E6A6}"/>
          </ac:spMkLst>
        </pc:spChg>
        <pc:spChg chg="add del mod">
          <ac:chgData name="Steiner Andreas 6206 ED" userId="e6377c33-a923-4f14-8587-531c474c7b48" providerId="ADAL" clId="{6ECD27E6-B224-41CD-B4E0-E297462320DD}" dt="2023-11-24T08:45:08.279" v="59257"/>
          <ac:spMkLst>
            <pc:docMk/>
            <pc:sldMk cId="1033770688" sldId="2147478572"/>
            <ac:spMk id="391" creationId="{C5842419-1681-F54A-1094-8E9A64F3E60F}"/>
          </ac:spMkLst>
        </pc:spChg>
        <pc:spChg chg="add del mod">
          <ac:chgData name="Steiner Andreas 6206 ED" userId="e6377c33-a923-4f14-8587-531c474c7b48" providerId="ADAL" clId="{6ECD27E6-B224-41CD-B4E0-E297462320DD}" dt="2023-11-24T08:45:10.071" v="59412"/>
          <ac:spMkLst>
            <pc:docMk/>
            <pc:sldMk cId="1033770688" sldId="2147478572"/>
            <ac:spMk id="392" creationId="{DF5C1502-17D2-9DF3-C476-E457F50A5AAB}"/>
          </ac:spMkLst>
        </pc:spChg>
        <pc:spChg chg="add del mod">
          <ac:chgData name="Steiner Andreas 6206 ED" userId="e6377c33-a923-4f14-8587-531c474c7b48" providerId="ADAL" clId="{6ECD27E6-B224-41CD-B4E0-E297462320DD}" dt="2023-11-24T08:45:12.147" v="59567"/>
          <ac:spMkLst>
            <pc:docMk/>
            <pc:sldMk cId="1033770688" sldId="2147478572"/>
            <ac:spMk id="393" creationId="{19260D70-71C7-7370-3E43-10D4C363B819}"/>
          </ac:spMkLst>
        </pc:spChg>
        <pc:spChg chg="add del mod">
          <ac:chgData name="Steiner Andreas 6206 ED" userId="e6377c33-a923-4f14-8587-531c474c7b48" providerId="ADAL" clId="{6ECD27E6-B224-41CD-B4E0-E297462320DD}" dt="2023-11-24T08:45:14.069" v="59722"/>
          <ac:spMkLst>
            <pc:docMk/>
            <pc:sldMk cId="1033770688" sldId="2147478572"/>
            <ac:spMk id="394" creationId="{F248BED5-3DDA-709C-0E3A-7EA56264C0CB}"/>
          </ac:spMkLst>
        </pc:spChg>
        <pc:spChg chg="add del mod">
          <ac:chgData name="Steiner Andreas 6206 ED" userId="e6377c33-a923-4f14-8587-531c474c7b48" providerId="ADAL" clId="{6ECD27E6-B224-41CD-B4E0-E297462320DD}" dt="2023-11-24T08:45:16.146" v="59877"/>
          <ac:spMkLst>
            <pc:docMk/>
            <pc:sldMk cId="1033770688" sldId="2147478572"/>
            <ac:spMk id="395" creationId="{A2940DDC-EF40-5B55-3EC9-1B9A8ECF2DA9}"/>
          </ac:spMkLst>
        </pc:spChg>
        <pc:spChg chg="add del mod">
          <ac:chgData name="Steiner Andreas 6206 ED" userId="e6377c33-a923-4f14-8587-531c474c7b48" providerId="ADAL" clId="{6ECD27E6-B224-41CD-B4E0-E297462320DD}" dt="2023-11-24T08:45:18.096" v="60032"/>
          <ac:spMkLst>
            <pc:docMk/>
            <pc:sldMk cId="1033770688" sldId="2147478572"/>
            <ac:spMk id="396" creationId="{5518BD5D-BF1B-ECE3-F352-18EB9DF9ADE4}"/>
          </ac:spMkLst>
        </pc:spChg>
        <pc:spChg chg="add del mod">
          <ac:chgData name="Steiner Andreas 6206 ED" userId="e6377c33-a923-4f14-8587-531c474c7b48" providerId="ADAL" clId="{6ECD27E6-B224-41CD-B4E0-E297462320DD}" dt="2023-11-24T08:45:19.995" v="60187"/>
          <ac:spMkLst>
            <pc:docMk/>
            <pc:sldMk cId="1033770688" sldId="2147478572"/>
            <ac:spMk id="397" creationId="{D0390382-4952-24EE-A993-7CE27719020B}"/>
          </ac:spMkLst>
        </pc:spChg>
        <pc:spChg chg="add del mod">
          <ac:chgData name="Steiner Andreas 6206 ED" userId="e6377c33-a923-4f14-8587-531c474c7b48" providerId="ADAL" clId="{6ECD27E6-B224-41CD-B4E0-E297462320DD}" dt="2023-11-24T08:45:22.059" v="60342"/>
          <ac:spMkLst>
            <pc:docMk/>
            <pc:sldMk cId="1033770688" sldId="2147478572"/>
            <ac:spMk id="398" creationId="{BB20FC02-C785-D984-678E-57B70EF1A185}"/>
          </ac:spMkLst>
        </pc:spChg>
        <pc:spChg chg="add del mod">
          <ac:chgData name="Steiner Andreas 6206 ED" userId="e6377c33-a923-4f14-8587-531c474c7b48" providerId="ADAL" clId="{6ECD27E6-B224-41CD-B4E0-E297462320DD}" dt="2023-11-24T08:45:24.283" v="60497"/>
          <ac:spMkLst>
            <pc:docMk/>
            <pc:sldMk cId="1033770688" sldId="2147478572"/>
            <ac:spMk id="399" creationId="{874A05D6-1C5C-84C7-BC44-644D55DAE39E}"/>
          </ac:spMkLst>
        </pc:spChg>
        <pc:spChg chg="add del mod">
          <ac:chgData name="Steiner Andreas 6206 ED" userId="e6377c33-a923-4f14-8587-531c474c7b48" providerId="ADAL" clId="{6ECD27E6-B224-41CD-B4E0-E297462320DD}" dt="2023-11-24T08:45:26.303" v="60652"/>
          <ac:spMkLst>
            <pc:docMk/>
            <pc:sldMk cId="1033770688" sldId="2147478572"/>
            <ac:spMk id="400" creationId="{FA3BA873-5063-E961-C8D1-5ED25961BDBF}"/>
          </ac:spMkLst>
        </pc:spChg>
        <pc:spChg chg="add del mod">
          <ac:chgData name="Steiner Andreas 6206 ED" userId="e6377c33-a923-4f14-8587-531c474c7b48" providerId="ADAL" clId="{6ECD27E6-B224-41CD-B4E0-E297462320DD}" dt="2023-11-24T08:45:28.205" v="60807"/>
          <ac:spMkLst>
            <pc:docMk/>
            <pc:sldMk cId="1033770688" sldId="2147478572"/>
            <ac:spMk id="401" creationId="{04ED449C-CA8D-A820-8651-422389BF18B4}"/>
          </ac:spMkLst>
        </pc:spChg>
        <pc:spChg chg="add del mod">
          <ac:chgData name="Steiner Andreas 6206 ED" userId="e6377c33-a923-4f14-8587-531c474c7b48" providerId="ADAL" clId="{6ECD27E6-B224-41CD-B4E0-E297462320DD}" dt="2023-11-24T08:45:30.029" v="60962"/>
          <ac:spMkLst>
            <pc:docMk/>
            <pc:sldMk cId="1033770688" sldId="2147478572"/>
            <ac:spMk id="402" creationId="{EB5FFA29-21CF-80F0-C75B-92EA35FD8325}"/>
          </ac:spMkLst>
        </pc:spChg>
        <pc:spChg chg="add del mod">
          <ac:chgData name="Steiner Andreas 6206 ED" userId="e6377c33-a923-4f14-8587-531c474c7b48" providerId="ADAL" clId="{6ECD27E6-B224-41CD-B4E0-E297462320DD}" dt="2023-11-24T08:45:31.894" v="61117"/>
          <ac:spMkLst>
            <pc:docMk/>
            <pc:sldMk cId="1033770688" sldId="2147478572"/>
            <ac:spMk id="403" creationId="{AF8BBF5F-53EE-40F6-D520-5A811A74C6BB}"/>
          </ac:spMkLst>
        </pc:spChg>
        <pc:spChg chg="add del mod">
          <ac:chgData name="Steiner Andreas 6206 ED" userId="e6377c33-a923-4f14-8587-531c474c7b48" providerId="ADAL" clId="{6ECD27E6-B224-41CD-B4E0-E297462320DD}" dt="2023-11-24T08:45:33.937" v="61272"/>
          <ac:spMkLst>
            <pc:docMk/>
            <pc:sldMk cId="1033770688" sldId="2147478572"/>
            <ac:spMk id="404" creationId="{305E2470-C98E-2986-24CF-E94A425E44E6}"/>
          </ac:spMkLst>
        </pc:spChg>
        <pc:spChg chg="add del mod">
          <ac:chgData name="Steiner Andreas 6206 ED" userId="e6377c33-a923-4f14-8587-531c474c7b48" providerId="ADAL" clId="{6ECD27E6-B224-41CD-B4E0-E297462320DD}" dt="2023-11-24T08:45:36.025" v="61427"/>
          <ac:spMkLst>
            <pc:docMk/>
            <pc:sldMk cId="1033770688" sldId="2147478572"/>
            <ac:spMk id="405" creationId="{18E2CA84-87A3-CBE4-35CF-7576FC1F0E4D}"/>
          </ac:spMkLst>
        </pc:spChg>
        <pc:spChg chg="add del mod">
          <ac:chgData name="Steiner Andreas 6206 ED" userId="e6377c33-a923-4f14-8587-531c474c7b48" providerId="ADAL" clId="{6ECD27E6-B224-41CD-B4E0-E297462320DD}" dt="2023-11-24T08:45:37.974" v="61582"/>
          <ac:spMkLst>
            <pc:docMk/>
            <pc:sldMk cId="1033770688" sldId="2147478572"/>
            <ac:spMk id="406" creationId="{0F302F8B-CFEE-FEAB-B6EB-25236E865678}"/>
          </ac:spMkLst>
        </pc:spChg>
        <pc:spChg chg="add del mod">
          <ac:chgData name="Steiner Andreas 6206 ED" userId="e6377c33-a923-4f14-8587-531c474c7b48" providerId="ADAL" clId="{6ECD27E6-B224-41CD-B4E0-E297462320DD}" dt="2023-11-24T08:45:39.833" v="61737"/>
          <ac:spMkLst>
            <pc:docMk/>
            <pc:sldMk cId="1033770688" sldId="2147478572"/>
            <ac:spMk id="407" creationId="{89164F53-A502-29C5-C8EF-2C0F24136E2D}"/>
          </ac:spMkLst>
        </pc:spChg>
        <pc:spChg chg="add del mod">
          <ac:chgData name="Steiner Andreas 6206 ED" userId="e6377c33-a923-4f14-8587-531c474c7b48" providerId="ADAL" clId="{6ECD27E6-B224-41CD-B4E0-E297462320DD}" dt="2023-11-24T08:45:41.819" v="61892"/>
          <ac:spMkLst>
            <pc:docMk/>
            <pc:sldMk cId="1033770688" sldId="2147478572"/>
            <ac:spMk id="408" creationId="{9EE3ED1C-2DB3-FD3B-06D9-90337CDA3BA3}"/>
          </ac:spMkLst>
        </pc:spChg>
        <pc:spChg chg="add del mod">
          <ac:chgData name="Steiner Andreas 6206 ED" userId="e6377c33-a923-4f14-8587-531c474c7b48" providerId="ADAL" clId="{6ECD27E6-B224-41CD-B4E0-E297462320DD}" dt="2023-11-24T08:45:43.836" v="62047"/>
          <ac:spMkLst>
            <pc:docMk/>
            <pc:sldMk cId="1033770688" sldId="2147478572"/>
            <ac:spMk id="409" creationId="{65553DDD-EEC4-0E9F-02EF-B6F99B3C202B}"/>
          </ac:spMkLst>
        </pc:spChg>
        <pc:spChg chg="add del mod">
          <ac:chgData name="Steiner Andreas 6206 ED" userId="e6377c33-a923-4f14-8587-531c474c7b48" providerId="ADAL" clId="{6ECD27E6-B224-41CD-B4E0-E297462320DD}" dt="2023-11-24T08:45:45.929" v="62202"/>
          <ac:spMkLst>
            <pc:docMk/>
            <pc:sldMk cId="1033770688" sldId="2147478572"/>
            <ac:spMk id="410" creationId="{C130176D-88DE-AFD9-8CF3-6A55B01FC5DE}"/>
          </ac:spMkLst>
        </pc:spChg>
        <pc:spChg chg="add del mod">
          <ac:chgData name="Steiner Andreas 6206 ED" userId="e6377c33-a923-4f14-8587-531c474c7b48" providerId="ADAL" clId="{6ECD27E6-B224-41CD-B4E0-E297462320DD}" dt="2023-11-24T08:45:47.821" v="62357"/>
          <ac:spMkLst>
            <pc:docMk/>
            <pc:sldMk cId="1033770688" sldId="2147478572"/>
            <ac:spMk id="411" creationId="{AE2FA086-DB4C-2252-D761-FE83ADEF07FC}"/>
          </ac:spMkLst>
        </pc:spChg>
        <pc:spChg chg="add del mod">
          <ac:chgData name="Steiner Andreas 6206 ED" userId="e6377c33-a923-4f14-8587-531c474c7b48" providerId="ADAL" clId="{6ECD27E6-B224-41CD-B4E0-E297462320DD}" dt="2023-11-24T08:45:50.057" v="62512"/>
          <ac:spMkLst>
            <pc:docMk/>
            <pc:sldMk cId="1033770688" sldId="2147478572"/>
            <ac:spMk id="412" creationId="{0EE95D74-4983-8C6C-176A-D0167596030E}"/>
          </ac:spMkLst>
        </pc:spChg>
        <pc:spChg chg="add del mod">
          <ac:chgData name="Steiner Andreas 6206 ED" userId="e6377c33-a923-4f14-8587-531c474c7b48" providerId="ADAL" clId="{6ECD27E6-B224-41CD-B4E0-E297462320DD}" dt="2023-11-24T08:45:52.180" v="62667"/>
          <ac:spMkLst>
            <pc:docMk/>
            <pc:sldMk cId="1033770688" sldId="2147478572"/>
            <ac:spMk id="413" creationId="{D88BBD58-D1E1-F82F-3993-277BCF12DCD9}"/>
          </ac:spMkLst>
        </pc:spChg>
        <pc:spChg chg="add del mod">
          <ac:chgData name="Steiner Andreas 6206 ED" userId="e6377c33-a923-4f14-8587-531c474c7b48" providerId="ADAL" clId="{6ECD27E6-B224-41CD-B4E0-E297462320DD}" dt="2023-11-24T08:45:54.176" v="62822"/>
          <ac:spMkLst>
            <pc:docMk/>
            <pc:sldMk cId="1033770688" sldId="2147478572"/>
            <ac:spMk id="414" creationId="{BF6F0F57-D516-01AA-B4D4-F4786BF1498D}"/>
          </ac:spMkLst>
        </pc:spChg>
        <pc:spChg chg="add del mod">
          <ac:chgData name="Steiner Andreas 6206 ED" userId="e6377c33-a923-4f14-8587-531c474c7b48" providerId="ADAL" clId="{6ECD27E6-B224-41CD-B4E0-E297462320DD}" dt="2023-11-24T08:45:56.299" v="62977"/>
          <ac:spMkLst>
            <pc:docMk/>
            <pc:sldMk cId="1033770688" sldId="2147478572"/>
            <ac:spMk id="415" creationId="{3118EF50-D520-C614-882D-BEA93B3ABEBB}"/>
          </ac:spMkLst>
        </pc:spChg>
        <pc:spChg chg="add del mod">
          <ac:chgData name="Steiner Andreas 6206 ED" userId="e6377c33-a923-4f14-8587-531c474c7b48" providerId="ADAL" clId="{6ECD27E6-B224-41CD-B4E0-E297462320DD}" dt="2023-11-24T08:45:58.408" v="63132"/>
          <ac:spMkLst>
            <pc:docMk/>
            <pc:sldMk cId="1033770688" sldId="2147478572"/>
            <ac:spMk id="416" creationId="{35E079A9-8B7B-5D37-E365-5022886434A3}"/>
          </ac:spMkLst>
        </pc:spChg>
        <pc:spChg chg="add del mod">
          <ac:chgData name="Steiner Andreas 6206 ED" userId="e6377c33-a923-4f14-8587-531c474c7b48" providerId="ADAL" clId="{6ECD27E6-B224-41CD-B4E0-E297462320DD}" dt="2023-11-24T08:46:00.482" v="63287"/>
          <ac:spMkLst>
            <pc:docMk/>
            <pc:sldMk cId="1033770688" sldId="2147478572"/>
            <ac:spMk id="417" creationId="{109BDE3C-74D2-CEEC-BF14-C016192C2649}"/>
          </ac:spMkLst>
        </pc:spChg>
        <pc:spChg chg="add del mod">
          <ac:chgData name="Steiner Andreas 6206 ED" userId="e6377c33-a923-4f14-8587-531c474c7b48" providerId="ADAL" clId="{6ECD27E6-B224-41CD-B4E0-E297462320DD}" dt="2023-11-24T08:46:02.562" v="63442"/>
          <ac:spMkLst>
            <pc:docMk/>
            <pc:sldMk cId="1033770688" sldId="2147478572"/>
            <ac:spMk id="418" creationId="{414F41E5-C0E8-2E38-8587-7A00A5C7E02A}"/>
          </ac:spMkLst>
        </pc:spChg>
        <pc:spChg chg="add del mod">
          <ac:chgData name="Steiner Andreas 6206 ED" userId="e6377c33-a923-4f14-8587-531c474c7b48" providerId="ADAL" clId="{6ECD27E6-B224-41CD-B4E0-E297462320DD}" dt="2023-11-24T08:46:04.733" v="63597"/>
          <ac:spMkLst>
            <pc:docMk/>
            <pc:sldMk cId="1033770688" sldId="2147478572"/>
            <ac:spMk id="419" creationId="{BBCBEAC0-5096-0554-C9F8-8EDD3E960E1C}"/>
          </ac:spMkLst>
        </pc:spChg>
        <pc:spChg chg="add del mod">
          <ac:chgData name="Steiner Andreas 6206 ED" userId="e6377c33-a923-4f14-8587-531c474c7b48" providerId="ADAL" clId="{6ECD27E6-B224-41CD-B4E0-E297462320DD}" dt="2023-11-24T08:46:07.447" v="63752"/>
          <ac:spMkLst>
            <pc:docMk/>
            <pc:sldMk cId="1033770688" sldId="2147478572"/>
            <ac:spMk id="420" creationId="{20CB70CF-EFBC-CD70-6CFA-8AC73746C01D}"/>
          </ac:spMkLst>
        </pc:spChg>
        <pc:spChg chg="add del mod">
          <ac:chgData name="Steiner Andreas 6206 ED" userId="e6377c33-a923-4f14-8587-531c474c7b48" providerId="ADAL" clId="{6ECD27E6-B224-41CD-B4E0-E297462320DD}" dt="2023-11-24T08:46:09.653" v="63907"/>
          <ac:spMkLst>
            <pc:docMk/>
            <pc:sldMk cId="1033770688" sldId="2147478572"/>
            <ac:spMk id="421" creationId="{890640C9-F7D0-CAE9-DFE0-8E4A96003440}"/>
          </ac:spMkLst>
        </pc:spChg>
        <pc:spChg chg="add del mod">
          <ac:chgData name="Steiner Andreas 6206 ED" userId="e6377c33-a923-4f14-8587-531c474c7b48" providerId="ADAL" clId="{6ECD27E6-B224-41CD-B4E0-E297462320DD}" dt="2023-11-24T08:46:11.800" v="64062"/>
          <ac:spMkLst>
            <pc:docMk/>
            <pc:sldMk cId="1033770688" sldId="2147478572"/>
            <ac:spMk id="422" creationId="{67EE9CD5-5B00-CAC4-1888-962D940DEBFA}"/>
          </ac:spMkLst>
        </pc:spChg>
        <pc:spChg chg="add del mod">
          <ac:chgData name="Steiner Andreas 6206 ED" userId="e6377c33-a923-4f14-8587-531c474c7b48" providerId="ADAL" clId="{6ECD27E6-B224-41CD-B4E0-E297462320DD}" dt="2023-11-24T08:46:13.971" v="64217"/>
          <ac:spMkLst>
            <pc:docMk/>
            <pc:sldMk cId="1033770688" sldId="2147478572"/>
            <ac:spMk id="423" creationId="{18C520F3-B2DB-FA65-88F5-2B2164CFFBC4}"/>
          </ac:spMkLst>
        </pc:spChg>
        <pc:spChg chg="add del mod">
          <ac:chgData name="Steiner Andreas 6206 ED" userId="e6377c33-a923-4f14-8587-531c474c7b48" providerId="ADAL" clId="{6ECD27E6-B224-41CD-B4E0-E297462320DD}" dt="2023-11-24T08:46:16.214" v="64372"/>
          <ac:spMkLst>
            <pc:docMk/>
            <pc:sldMk cId="1033770688" sldId="2147478572"/>
            <ac:spMk id="424" creationId="{05A87339-9B93-1AB1-6054-FEF51B0C7E6E}"/>
          </ac:spMkLst>
        </pc:spChg>
        <pc:spChg chg="add del mod">
          <ac:chgData name="Steiner Andreas 6206 ED" userId="e6377c33-a923-4f14-8587-531c474c7b48" providerId="ADAL" clId="{6ECD27E6-B224-41CD-B4E0-E297462320DD}" dt="2023-11-24T08:46:18.122" v="64527"/>
          <ac:spMkLst>
            <pc:docMk/>
            <pc:sldMk cId="1033770688" sldId="2147478572"/>
            <ac:spMk id="425" creationId="{CBF34E1E-65AC-414E-991D-CCEEB36985B0}"/>
          </ac:spMkLst>
        </pc:spChg>
        <pc:spChg chg="add del mod">
          <ac:chgData name="Steiner Andreas 6206 ED" userId="e6377c33-a923-4f14-8587-531c474c7b48" providerId="ADAL" clId="{6ECD27E6-B224-41CD-B4E0-E297462320DD}" dt="2023-11-24T08:46:20.535" v="64682"/>
          <ac:spMkLst>
            <pc:docMk/>
            <pc:sldMk cId="1033770688" sldId="2147478572"/>
            <ac:spMk id="426" creationId="{8687489D-FCCD-8FE0-01AF-CC354F08A063}"/>
          </ac:spMkLst>
        </pc:spChg>
        <pc:spChg chg="add del mod">
          <ac:chgData name="Steiner Andreas 6206 ED" userId="e6377c33-a923-4f14-8587-531c474c7b48" providerId="ADAL" clId="{6ECD27E6-B224-41CD-B4E0-E297462320DD}" dt="2023-11-24T08:46:22.867" v="64837"/>
          <ac:spMkLst>
            <pc:docMk/>
            <pc:sldMk cId="1033770688" sldId="2147478572"/>
            <ac:spMk id="427" creationId="{86CC7222-83F7-7A25-6B12-FB8067CD60B8}"/>
          </ac:spMkLst>
        </pc:spChg>
        <pc:spChg chg="add del mod">
          <ac:chgData name="Steiner Andreas 6206 ED" userId="e6377c33-a923-4f14-8587-531c474c7b48" providerId="ADAL" clId="{6ECD27E6-B224-41CD-B4E0-E297462320DD}" dt="2023-11-24T08:46:25.129" v="64992"/>
          <ac:spMkLst>
            <pc:docMk/>
            <pc:sldMk cId="1033770688" sldId="2147478572"/>
            <ac:spMk id="428" creationId="{A82EB7D9-639E-E7A5-958C-EEA7E82B6106}"/>
          </ac:spMkLst>
        </pc:spChg>
        <pc:spChg chg="add del mod">
          <ac:chgData name="Steiner Andreas 6206 ED" userId="e6377c33-a923-4f14-8587-531c474c7b48" providerId="ADAL" clId="{6ECD27E6-B224-41CD-B4E0-E297462320DD}" dt="2023-11-24T08:46:27.475" v="65147"/>
          <ac:spMkLst>
            <pc:docMk/>
            <pc:sldMk cId="1033770688" sldId="2147478572"/>
            <ac:spMk id="429" creationId="{0A15AF05-A485-78FA-DC3C-9CEF0D7CDE62}"/>
          </ac:spMkLst>
        </pc:spChg>
        <pc:spChg chg="add del mod">
          <ac:chgData name="Steiner Andreas 6206 ED" userId="e6377c33-a923-4f14-8587-531c474c7b48" providerId="ADAL" clId="{6ECD27E6-B224-41CD-B4E0-E297462320DD}" dt="2023-11-24T08:46:29.471" v="65302"/>
          <ac:spMkLst>
            <pc:docMk/>
            <pc:sldMk cId="1033770688" sldId="2147478572"/>
            <ac:spMk id="430" creationId="{17134931-4F82-83BD-1E60-D69A5E455A71}"/>
          </ac:spMkLst>
        </pc:spChg>
        <pc:spChg chg="add del mod">
          <ac:chgData name="Steiner Andreas 6206 ED" userId="e6377c33-a923-4f14-8587-531c474c7b48" providerId="ADAL" clId="{6ECD27E6-B224-41CD-B4E0-E297462320DD}" dt="2023-11-24T08:46:31.918" v="65457"/>
          <ac:spMkLst>
            <pc:docMk/>
            <pc:sldMk cId="1033770688" sldId="2147478572"/>
            <ac:spMk id="431" creationId="{F28B7487-6373-6AC9-6FDE-893A1C0C5CE6}"/>
          </ac:spMkLst>
        </pc:spChg>
        <pc:spChg chg="add del mod">
          <ac:chgData name="Steiner Andreas 6206 ED" userId="e6377c33-a923-4f14-8587-531c474c7b48" providerId="ADAL" clId="{6ECD27E6-B224-41CD-B4E0-E297462320DD}" dt="2023-11-24T08:46:34.053" v="65612"/>
          <ac:spMkLst>
            <pc:docMk/>
            <pc:sldMk cId="1033770688" sldId="2147478572"/>
            <ac:spMk id="432" creationId="{64F1ED90-99A0-AE63-BACB-EAF84B73F4B7}"/>
          </ac:spMkLst>
        </pc:spChg>
        <pc:spChg chg="add del mod">
          <ac:chgData name="Steiner Andreas 6206 ED" userId="e6377c33-a923-4f14-8587-531c474c7b48" providerId="ADAL" clId="{6ECD27E6-B224-41CD-B4E0-E297462320DD}" dt="2023-11-24T08:46:35.995" v="65767"/>
          <ac:spMkLst>
            <pc:docMk/>
            <pc:sldMk cId="1033770688" sldId="2147478572"/>
            <ac:spMk id="433" creationId="{F85080CE-360E-E3CE-F981-5C070CE3F67F}"/>
          </ac:spMkLst>
        </pc:spChg>
        <pc:spChg chg="add del mod">
          <ac:chgData name="Steiner Andreas 6206 ED" userId="e6377c33-a923-4f14-8587-531c474c7b48" providerId="ADAL" clId="{6ECD27E6-B224-41CD-B4E0-E297462320DD}" dt="2023-11-24T08:46:38.049" v="65922"/>
          <ac:spMkLst>
            <pc:docMk/>
            <pc:sldMk cId="1033770688" sldId="2147478572"/>
            <ac:spMk id="434" creationId="{5E8F8816-B7C7-D167-BC56-0982EA137CC2}"/>
          </ac:spMkLst>
        </pc:spChg>
        <pc:spChg chg="add del mod">
          <ac:chgData name="Steiner Andreas 6206 ED" userId="e6377c33-a923-4f14-8587-531c474c7b48" providerId="ADAL" clId="{6ECD27E6-B224-41CD-B4E0-E297462320DD}" dt="2023-11-24T08:46:40.117" v="66077"/>
          <ac:spMkLst>
            <pc:docMk/>
            <pc:sldMk cId="1033770688" sldId="2147478572"/>
            <ac:spMk id="435" creationId="{39F60514-78F4-5AB2-9B1C-EA5D5417949B}"/>
          </ac:spMkLst>
        </pc:spChg>
        <pc:spChg chg="add del mod">
          <ac:chgData name="Steiner Andreas 6206 ED" userId="e6377c33-a923-4f14-8587-531c474c7b48" providerId="ADAL" clId="{6ECD27E6-B224-41CD-B4E0-E297462320DD}" dt="2023-11-24T08:46:42.360" v="66232"/>
          <ac:spMkLst>
            <pc:docMk/>
            <pc:sldMk cId="1033770688" sldId="2147478572"/>
            <ac:spMk id="436" creationId="{6D1DE369-ABC6-2BE2-5F5A-F66726518E3A}"/>
          </ac:spMkLst>
        </pc:spChg>
        <pc:spChg chg="add del mod">
          <ac:chgData name="Steiner Andreas 6206 ED" userId="e6377c33-a923-4f14-8587-531c474c7b48" providerId="ADAL" clId="{6ECD27E6-B224-41CD-B4E0-E297462320DD}" dt="2023-11-24T08:46:44.514" v="66387"/>
          <ac:spMkLst>
            <pc:docMk/>
            <pc:sldMk cId="1033770688" sldId="2147478572"/>
            <ac:spMk id="437" creationId="{9A4F9CBC-69A8-D0AC-9E0E-E2AD168D28A1}"/>
          </ac:spMkLst>
        </pc:spChg>
        <pc:spChg chg="add del mod">
          <ac:chgData name="Steiner Andreas 6206 ED" userId="e6377c33-a923-4f14-8587-531c474c7b48" providerId="ADAL" clId="{6ECD27E6-B224-41CD-B4E0-E297462320DD}" dt="2023-11-24T08:46:46.581" v="66542"/>
          <ac:spMkLst>
            <pc:docMk/>
            <pc:sldMk cId="1033770688" sldId="2147478572"/>
            <ac:spMk id="438" creationId="{3BB5C53C-B1F7-214E-B384-30B5BCA0B379}"/>
          </ac:spMkLst>
        </pc:spChg>
        <pc:spChg chg="add del mod">
          <ac:chgData name="Steiner Andreas 6206 ED" userId="e6377c33-a923-4f14-8587-531c474c7b48" providerId="ADAL" clId="{6ECD27E6-B224-41CD-B4E0-E297462320DD}" dt="2023-11-24T08:46:48.632" v="66697"/>
          <ac:spMkLst>
            <pc:docMk/>
            <pc:sldMk cId="1033770688" sldId="2147478572"/>
            <ac:spMk id="439" creationId="{F1AA50DE-863B-FB4D-B617-7E753546F60E}"/>
          </ac:spMkLst>
        </pc:spChg>
        <pc:spChg chg="add del mod">
          <ac:chgData name="Steiner Andreas 6206 ED" userId="e6377c33-a923-4f14-8587-531c474c7b48" providerId="ADAL" clId="{6ECD27E6-B224-41CD-B4E0-E297462320DD}" dt="2023-11-24T08:46:50.662" v="66852"/>
          <ac:spMkLst>
            <pc:docMk/>
            <pc:sldMk cId="1033770688" sldId="2147478572"/>
            <ac:spMk id="440" creationId="{3C009EB1-B9F8-1B0D-0A95-5614FAAEE2A5}"/>
          </ac:spMkLst>
        </pc:spChg>
        <pc:spChg chg="add del mod">
          <ac:chgData name="Steiner Andreas 6206 ED" userId="e6377c33-a923-4f14-8587-531c474c7b48" providerId="ADAL" clId="{6ECD27E6-B224-41CD-B4E0-E297462320DD}" dt="2023-11-24T08:46:52.864" v="67007"/>
          <ac:spMkLst>
            <pc:docMk/>
            <pc:sldMk cId="1033770688" sldId="2147478572"/>
            <ac:spMk id="441" creationId="{896322FA-FE4C-60CF-22CF-7EF1EEFE7AB3}"/>
          </ac:spMkLst>
        </pc:spChg>
        <pc:spChg chg="add del mod">
          <ac:chgData name="Steiner Andreas 6206 ED" userId="e6377c33-a923-4f14-8587-531c474c7b48" providerId="ADAL" clId="{6ECD27E6-B224-41CD-B4E0-E297462320DD}" dt="2023-11-24T08:46:54.780" v="67162"/>
          <ac:spMkLst>
            <pc:docMk/>
            <pc:sldMk cId="1033770688" sldId="2147478572"/>
            <ac:spMk id="442" creationId="{452C58D3-9B3B-ED73-AA60-C6A3007702C1}"/>
          </ac:spMkLst>
        </pc:spChg>
        <pc:spChg chg="add del mod">
          <ac:chgData name="Steiner Andreas 6206 ED" userId="e6377c33-a923-4f14-8587-531c474c7b48" providerId="ADAL" clId="{6ECD27E6-B224-41CD-B4E0-E297462320DD}" dt="2023-11-24T08:46:56.796" v="67317"/>
          <ac:spMkLst>
            <pc:docMk/>
            <pc:sldMk cId="1033770688" sldId="2147478572"/>
            <ac:spMk id="443" creationId="{789053C7-0942-1BA8-A661-23C6A308E575}"/>
          </ac:spMkLst>
        </pc:spChg>
        <pc:spChg chg="add del mod">
          <ac:chgData name="Steiner Andreas 6206 ED" userId="e6377c33-a923-4f14-8587-531c474c7b48" providerId="ADAL" clId="{6ECD27E6-B224-41CD-B4E0-E297462320DD}" dt="2023-11-24T08:46:58.671" v="67472"/>
          <ac:spMkLst>
            <pc:docMk/>
            <pc:sldMk cId="1033770688" sldId="2147478572"/>
            <ac:spMk id="444" creationId="{8116DD60-B67D-6E52-BBA1-ADD12F3C215F}"/>
          </ac:spMkLst>
        </pc:spChg>
        <pc:spChg chg="add del mod">
          <ac:chgData name="Steiner Andreas 6206 ED" userId="e6377c33-a923-4f14-8587-531c474c7b48" providerId="ADAL" clId="{6ECD27E6-B224-41CD-B4E0-E297462320DD}" dt="2023-11-24T08:47:00.743" v="67627"/>
          <ac:spMkLst>
            <pc:docMk/>
            <pc:sldMk cId="1033770688" sldId="2147478572"/>
            <ac:spMk id="445" creationId="{10AB8AEB-01B5-B620-FD33-DD37D5198F18}"/>
          </ac:spMkLst>
        </pc:spChg>
        <pc:spChg chg="add del mod">
          <ac:chgData name="Steiner Andreas 6206 ED" userId="e6377c33-a923-4f14-8587-531c474c7b48" providerId="ADAL" clId="{6ECD27E6-B224-41CD-B4E0-E297462320DD}" dt="2023-11-24T08:47:02.865" v="67782"/>
          <ac:spMkLst>
            <pc:docMk/>
            <pc:sldMk cId="1033770688" sldId="2147478572"/>
            <ac:spMk id="446" creationId="{DC50EBB6-73C2-125B-8E39-174E06BE7ED1}"/>
          </ac:spMkLst>
        </pc:spChg>
        <pc:spChg chg="add del mod">
          <ac:chgData name="Steiner Andreas 6206 ED" userId="e6377c33-a923-4f14-8587-531c474c7b48" providerId="ADAL" clId="{6ECD27E6-B224-41CD-B4E0-E297462320DD}" dt="2023-11-24T08:47:04.940" v="67937"/>
          <ac:spMkLst>
            <pc:docMk/>
            <pc:sldMk cId="1033770688" sldId="2147478572"/>
            <ac:spMk id="447" creationId="{5117D405-AA73-7DAE-B1B6-AC1CDC37C4DD}"/>
          </ac:spMkLst>
        </pc:spChg>
        <pc:spChg chg="add del mod">
          <ac:chgData name="Steiner Andreas 6206 ED" userId="e6377c33-a923-4f14-8587-531c474c7b48" providerId="ADAL" clId="{6ECD27E6-B224-41CD-B4E0-E297462320DD}" dt="2023-11-24T08:47:06.718" v="68092"/>
          <ac:spMkLst>
            <pc:docMk/>
            <pc:sldMk cId="1033770688" sldId="2147478572"/>
            <ac:spMk id="448" creationId="{ED77EA3C-5368-914F-D009-6DEF7F708FD1}"/>
          </ac:spMkLst>
        </pc:spChg>
        <pc:spChg chg="add del mod">
          <ac:chgData name="Steiner Andreas 6206 ED" userId="e6377c33-a923-4f14-8587-531c474c7b48" providerId="ADAL" clId="{6ECD27E6-B224-41CD-B4E0-E297462320DD}" dt="2023-11-24T08:47:08.583" v="68247"/>
          <ac:spMkLst>
            <pc:docMk/>
            <pc:sldMk cId="1033770688" sldId="2147478572"/>
            <ac:spMk id="449" creationId="{FBAC0611-B8B6-C9C1-076D-B14197FACDCE}"/>
          </ac:spMkLst>
        </pc:spChg>
        <pc:spChg chg="add del mod">
          <ac:chgData name="Steiner Andreas 6206 ED" userId="e6377c33-a923-4f14-8587-531c474c7b48" providerId="ADAL" clId="{6ECD27E6-B224-41CD-B4E0-E297462320DD}" dt="2023-11-24T08:47:10.451" v="68402"/>
          <ac:spMkLst>
            <pc:docMk/>
            <pc:sldMk cId="1033770688" sldId="2147478572"/>
            <ac:spMk id="450" creationId="{88D909CA-18A7-1E47-3CE3-B88F9044CFDB}"/>
          </ac:spMkLst>
        </pc:spChg>
        <pc:spChg chg="add del mod">
          <ac:chgData name="Steiner Andreas 6206 ED" userId="e6377c33-a923-4f14-8587-531c474c7b48" providerId="ADAL" clId="{6ECD27E6-B224-41CD-B4E0-E297462320DD}" dt="2023-11-24T08:47:12.354" v="68557"/>
          <ac:spMkLst>
            <pc:docMk/>
            <pc:sldMk cId="1033770688" sldId="2147478572"/>
            <ac:spMk id="451" creationId="{0463069A-4BA8-F181-90BA-3E12E3296C00}"/>
          </ac:spMkLst>
        </pc:spChg>
        <pc:spChg chg="add del mod">
          <ac:chgData name="Steiner Andreas 6206 ED" userId="e6377c33-a923-4f14-8587-531c474c7b48" providerId="ADAL" clId="{6ECD27E6-B224-41CD-B4E0-E297462320DD}" dt="2023-11-24T08:47:14.445" v="68712"/>
          <ac:spMkLst>
            <pc:docMk/>
            <pc:sldMk cId="1033770688" sldId="2147478572"/>
            <ac:spMk id="452" creationId="{7622BB00-D82E-EE71-BE44-F12D9589EC3B}"/>
          </ac:spMkLst>
        </pc:spChg>
        <pc:spChg chg="add del mod">
          <ac:chgData name="Steiner Andreas 6206 ED" userId="e6377c33-a923-4f14-8587-531c474c7b48" providerId="ADAL" clId="{6ECD27E6-B224-41CD-B4E0-E297462320DD}" dt="2023-11-24T08:47:16.488" v="68867"/>
          <ac:spMkLst>
            <pc:docMk/>
            <pc:sldMk cId="1033770688" sldId="2147478572"/>
            <ac:spMk id="453" creationId="{4661007F-EC6F-1367-DB5D-771DB4CECE83}"/>
          </ac:spMkLst>
        </pc:spChg>
        <pc:spChg chg="add del mod">
          <ac:chgData name="Steiner Andreas 6206 ED" userId="e6377c33-a923-4f14-8587-531c474c7b48" providerId="ADAL" clId="{6ECD27E6-B224-41CD-B4E0-E297462320DD}" dt="2023-11-24T08:47:18.374" v="69022"/>
          <ac:spMkLst>
            <pc:docMk/>
            <pc:sldMk cId="1033770688" sldId="2147478572"/>
            <ac:spMk id="454" creationId="{C539428D-AE33-489D-B9F2-413C7083F16F}"/>
          </ac:spMkLst>
        </pc:spChg>
        <pc:spChg chg="add del mod">
          <ac:chgData name="Steiner Andreas 6206 ED" userId="e6377c33-a923-4f14-8587-531c474c7b48" providerId="ADAL" clId="{6ECD27E6-B224-41CD-B4E0-E297462320DD}" dt="2023-11-24T08:47:20.380" v="69177"/>
          <ac:spMkLst>
            <pc:docMk/>
            <pc:sldMk cId="1033770688" sldId="2147478572"/>
            <ac:spMk id="455" creationId="{2BC9F0C4-0A15-4D89-E29A-A4861345E10F}"/>
          </ac:spMkLst>
        </pc:spChg>
        <pc:spChg chg="add del mod">
          <ac:chgData name="Steiner Andreas 6206 ED" userId="e6377c33-a923-4f14-8587-531c474c7b48" providerId="ADAL" clId="{6ECD27E6-B224-41CD-B4E0-E297462320DD}" dt="2023-11-24T08:47:22.552" v="69332"/>
          <ac:spMkLst>
            <pc:docMk/>
            <pc:sldMk cId="1033770688" sldId="2147478572"/>
            <ac:spMk id="456" creationId="{C1CF34F2-76E1-8F4D-598A-E50ECCCBC190}"/>
          </ac:spMkLst>
        </pc:spChg>
        <pc:spChg chg="add del mod">
          <ac:chgData name="Steiner Andreas 6206 ED" userId="e6377c33-a923-4f14-8587-531c474c7b48" providerId="ADAL" clId="{6ECD27E6-B224-41CD-B4E0-E297462320DD}" dt="2023-11-24T08:47:25.336" v="69487"/>
          <ac:spMkLst>
            <pc:docMk/>
            <pc:sldMk cId="1033770688" sldId="2147478572"/>
            <ac:spMk id="457" creationId="{6C1D89A8-D536-F7EE-0F08-6F30B486E7C1}"/>
          </ac:spMkLst>
        </pc:spChg>
        <pc:spChg chg="add del mod">
          <ac:chgData name="Steiner Andreas 6206 ED" userId="e6377c33-a923-4f14-8587-531c474c7b48" providerId="ADAL" clId="{6ECD27E6-B224-41CD-B4E0-E297462320DD}" dt="2023-11-24T08:47:27.600" v="69642"/>
          <ac:spMkLst>
            <pc:docMk/>
            <pc:sldMk cId="1033770688" sldId="2147478572"/>
            <ac:spMk id="458" creationId="{3628AED5-7D80-D0C9-59B5-9C299A235CAA}"/>
          </ac:spMkLst>
        </pc:spChg>
        <pc:spChg chg="add del mod">
          <ac:chgData name="Steiner Andreas 6206 ED" userId="e6377c33-a923-4f14-8587-531c474c7b48" providerId="ADAL" clId="{6ECD27E6-B224-41CD-B4E0-E297462320DD}" dt="2023-11-24T08:47:29.627" v="69797"/>
          <ac:spMkLst>
            <pc:docMk/>
            <pc:sldMk cId="1033770688" sldId="2147478572"/>
            <ac:spMk id="459" creationId="{13D27C2B-49BF-E983-3946-F515D363C482}"/>
          </ac:spMkLst>
        </pc:spChg>
        <pc:spChg chg="add del mod">
          <ac:chgData name="Steiner Andreas 6206 ED" userId="e6377c33-a923-4f14-8587-531c474c7b48" providerId="ADAL" clId="{6ECD27E6-B224-41CD-B4E0-E297462320DD}" dt="2023-11-24T08:47:31.652" v="69952"/>
          <ac:spMkLst>
            <pc:docMk/>
            <pc:sldMk cId="1033770688" sldId="2147478572"/>
            <ac:spMk id="460" creationId="{42509444-7DD3-4F84-0931-8686AFEC1A6A}"/>
          </ac:spMkLst>
        </pc:spChg>
        <pc:spChg chg="add del mod">
          <ac:chgData name="Steiner Andreas 6206 ED" userId="e6377c33-a923-4f14-8587-531c474c7b48" providerId="ADAL" clId="{6ECD27E6-B224-41CD-B4E0-E297462320DD}" dt="2023-11-24T08:47:33.657" v="70107"/>
          <ac:spMkLst>
            <pc:docMk/>
            <pc:sldMk cId="1033770688" sldId="2147478572"/>
            <ac:spMk id="461" creationId="{DA3A5FC0-757A-A962-11BA-17DAECF8E89E}"/>
          </ac:spMkLst>
        </pc:spChg>
        <pc:spChg chg="add del mod">
          <ac:chgData name="Steiner Andreas 6206 ED" userId="e6377c33-a923-4f14-8587-531c474c7b48" providerId="ADAL" clId="{6ECD27E6-B224-41CD-B4E0-E297462320DD}" dt="2023-11-24T08:47:35.800" v="70262"/>
          <ac:spMkLst>
            <pc:docMk/>
            <pc:sldMk cId="1033770688" sldId="2147478572"/>
            <ac:spMk id="462" creationId="{6E86AF30-DA86-B635-26D3-FBEA97E87E24}"/>
          </ac:spMkLst>
        </pc:spChg>
        <pc:spChg chg="add del mod">
          <ac:chgData name="Steiner Andreas 6206 ED" userId="e6377c33-a923-4f14-8587-531c474c7b48" providerId="ADAL" clId="{6ECD27E6-B224-41CD-B4E0-E297462320DD}" dt="2023-11-24T08:47:37.897" v="70417"/>
          <ac:spMkLst>
            <pc:docMk/>
            <pc:sldMk cId="1033770688" sldId="2147478572"/>
            <ac:spMk id="463" creationId="{60459EDE-2F91-BECE-7868-187C5CAC20F0}"/>
          </ac:spMkLst>
        </pc:spChg>
        <pc:spChg chg="add del mod">
          <ac:chgData name="Steiner Andreas 6206 ED" userId="e6377c33-a923-4f14-8587-531c474c7b48" providerId="ADAL" clId="{6ECD27E6-B224-41CD-B4E0-E297462320DD}" dt="2023-11-24T08:47:39.951" v="70572"/>
          <ac:spMkLst>
            <pc:docMk/>
            <pc:sldMk cId="1033770688" sldId="2147478572"/>
            <ac:spMk id="464" creationId="{9C7D6389-6741-BDE0-056C-7365742C98F8}"/>
          </ac:spMkLst>
        </pc:spChg>
        <pc:spChg chg="add del mod">
          <ac:chgData name="Steiner Andreas 6206 ED" userId="e6377c33-a923-4f14-8587-531c474c7b48" providerId="ADAL" clId="{6ECD27E6-B224-41CD-B4E0-E297462320DD}" dt="2023-11-24T08:47:41.931" v="70727"/>
          <ac:spMkLst>
            <pc:docMk/>
            <pc:sldMk cId="1033770688" sldId="2147478572"/>
            <ac:spMk id="465" creationId="{2B29D0D3-4ADA-0B9D-465C-A04451F3795C}"/>
          </ac:spMkLst>
        </pc:spChg>
        <pc:spChg chg="add del mod">
          <ac:chgData name="Steiner Andreas 6206 ED" userId="e6377c33-a923-4f14-8587-531c474c7b48" providerId="ADAL" clId="{6ECD27E6-B224-41CD-B4E0-E297462320DD}" dt="2023-11-24T08:47:43.836" v="70882"/>
          <ac:spMkLst>
            <pc:docMk/>
            <pc:sldMk cId="1033770688" sldId="2147478572"/>
            <ac:spMk id="466" creationId="{BC6A8F2E-9A5D-12D0-DCB2-F5A50BE3F02B}"/>
          </ac:spMkLst>
        </pc:spChg>
        <pc:spChg chg="add del mod">
          <ac:chgData name="Steiner Andreas 6206 ED" userId="e6377c33-a923-4f14-8587-531c474c7b48" providerId="ADAL" clId="{6ECD27E6-B224-41CD-B4E0-E297462320DD}" dt="2023-11-24T08:47:45.761" v="71037"/>
          <ac:spMkLst>
            <pc:docMk/>
            <pc:sldMk cId="1033770688" sldId="2147478572"/>
            <ac:spMk id="467" creationId="{E73FB2E5-0D5A-7D21-6C24-E57E87B05226}"/>
          </ac:spMkLst>
        </pc:spChg>
        <pc:spChg chg="add del mod">
          <ac:chgData name="Steiner Andreas 6206 ED" userId="e6377c33-a923-4f14-8587-531c474c7b48" providerId="ADAL" clId="{6ECD27E6-B224-41CD-B4E0-E297462320DD}" dt="2023-11-24T08:47:47.800" v="71192"/>
          <ac:spMkLst>
            <pc:docMk/>
            <pc:sldMk cId="1033770688" sldId="2147478572"/>
            <ac:spMk id="468" creationId="{3805423A-FFB2-F8CE-5486-44DDCA0CF7C5}"/>
          </ac:spMkLst>
        </pc:spChg>
        <pc:spChg chg="add del mod">
          <ac:chgData name="Steiner Andreas 6206 ED" userId="e6377c33-a923-4f14-8587-531c474c7b48" providerId="ADAL" clId="{6ECD27E6-B224-41CD-B4E0-E297462320DD}" dt="2023-11-24T08:47:49.909" v="71347"/>
          <ac:spMkLst>
            <pc:docMk/>
            <pc:sldMk cId="1033770688" sldId="2147478572"/>
            <ac:spMk id="469" creationId="{1D770B6D-8703-E6A1-06E0-7241941A813F}"/>
          </ac:spMkLst>
        </pc:spChg>
        <pc:spChg chg="add del mod">
          <ac:chgData name="Steiner Andreas 6206 ED" userId="e6377c33-a923-4f14-8587-531c474c7b48" providerId="ADAL" clId="{6ECD27E6-B224-41CD-B4E0-E297462320DD}" dt="2023-11-24T08:47:51.867" v="71502"/>
          <ac:spMkLst>
            <pc:docMk/>
            <pc:sldMk cId="1033770688" sldId="2147478572"/>
            <ac:spMk id="470" creationId="{F5483415-E047-B47A-31A3-6A4EF7407EDF}"/>
          </ac:spMkLst>
        </pc:spChg>
        <pc:spChg chg="add del mod">
          <ac:chgData name="Steiner Andreas 6206 ED" userId="e6377c33-a923-4f14-8587-531c474c7b48" providerId="ADAL" clId="{6ECD27E6-B224-41CD-B4E0-E297462320DD}" dt="2023-11-24T08:47:53.839" v="71657"/>
          <ac:spMkLst>
            <pc:docMk/>
            <pc:sldMk cId="1033770688" sldId="2147478572"/>
            <ac:spMk id="471" creationId="{6E9ACCB5-D0F2-0340-89AE-162E2832EF2C}"/>
          </ac:spMkLst>
        </pc:spChg>
        <pc:spChg chg="add del mod">
          <ac:chgData name="Steiner Andreas 6206 ED" userId="e6377c33-a923-4f14-8587-531c474c7b48" providerId="ADAL" clId="{6ECD27E6-B224-41CD-B4E0-E297462320DD}" dt="2023-11-24T08:47:55.650" v="71812"/>
          <ac:spMkLst>
            <pc:docMk/>
            <pc:sldMk cId="1033770688" sldId="2147478572"/>
            <ac:spMk id="472" creationId="{DD8B8299-7C44-63D4-980B-FE66C1A56EC3}"/>
          </ac:spMkLst>
        </pc:spChg>
        <pc:spChg chg="add del mod">
          <ac:chgData name="Steiner Andreas 6206 ED" userId="e6377c33-a923-4f14-8587-531c474c7b48" providerId="ADAL" clId="{6ECD27E6-B224-41CD-B4E0-E297462320DD}" dt="2023-11-24T08:47:57.613" v="71967"/>
          <ac:spMkLst>
            <pc:docMk/>
            <pc:sldMk cId="1033770688" sldId="2147478572"/>
            <ac:spMk id="473" creationId="{6121F3C8-05C6-08ED-9E69-B7567658A4BB}"/>
          </ac:spMkLst>
        </pc:spChg>
        <pc:spChg chg="add del mod">
          <ac:chgData name="Steiner Andreas 6206 ED" userId="e6377c33-a923-4f14-8587-531c474c7b48" providerId="ADAL" clId="{6ECD27E6-B224-41CD-B4E0-E297462320DD}" dt="2023-11-24T08:47:59.712" v="72122"/>
          <ac:spMkLst>
            <pc:docMk/>
            <pc:sldMk cId="1033770688" sldId="2147478572"/>
            <ac:spMk id="474" creationId="{CEC6D6BC-763F-49EF-C230-5EA803B81A90}"/>
          </ac:spMkLst>
        </pc:spChg>
        <pc:spChg chg="add del mod">
          <ac:chgData name="Steiner Andreas 6206 ED" userId="e6377c33-a923-4f14-8587-531c474c7b48" providerId="ADAL" clId="{6ECD27E6-B224-41CD-B4E0-E297462320DD}" dt="2023-11-24T08:48:01.874" v="72277"/>
          <ac:spMkLst>
            <pc:docMk/>
            <pc:sldMk cId="1033770688" sldId="2147478572"/>
            <ac:spMk id="475" creationId="{FAC6CCFC-B7F9-0740-BC51-0D907E8036F0}"/>
          </ac:spMkLst>
        </pc:spChg>
        <pc:spChg chg="add del mod">
          <ac:chgData name="Steiner Andreas 6206 ED" userId="e6377c33-a923-4f14-8587-531c474c7b48" providerId="ADAL" clId="{6ECD27E6-B224-41CD-B4E0-E297462320DD}" dt="2023-11-24T08:48:03.906" v="72432"/>
          <ac:spMkLst>
            <pc:docMk/>
            <pc:sldMk cId="1033770688" sldId="2147478572"/>
            <ac:spMk id="476" creationId="{D6F47C37-1B0D-2CE7-72B2-923C6CA4750D}"/>
          </ac:spMkLst>
        </pc:spChg>
        <pc:spChg chg="add del mod">
          <ac:chgData name="Steiner Andreas 6206 ED" userId="e6377c33-a923-4f14-8587-531c474c7b48" providerId="ADAL" clId="{6ECD27E6-B224-41CD-B4E0-E297462320DD}" dt="2023-11-24T08:48:06.035" v="72587"/>
          <ac:spMkLst>
            <pc:docMk/>
            <pc:sldMk cId="1033770688" sldId="2147478572"/>
            <ac:spMk id="477" creationId="{44A8F331-158D-C978-9BB7-CE2540B9F86B}"/>
          </ac:spMkLst>
        </pc:spChg>
        <pc:spChg chg="add del mod">
          <ac:chgData name="Steiner Andreas 6206 ED" userId="e6377c33-a923-4f14-8587-531c474c7b48" providerId="ADAL" clId="{6ECD27E6-B224-41CD-B4E0-E297462320DD}" dt="2023-11-24T08:48:08.255" v="72742"/>
          <ac:spMkLst>
            <pc:docMk/>
            <pc:sldMk cId="1033770688" sldId="2147478572"/>
            <ac:spMk id="478" creationId="{043C3FB9-B211-0C81-4B21-26A5246BB9B2}"/>
          </ac:spMkLst>
        </pc:spChg>
        <pc:spChg chg="add del mod">
          <ac:chgData name="Steiner Andreas 6206 ED" userId="e6377c33-a923-4f14-8587-531c474c7b48" providerId="ADAL" clId="{6ECD27E6-B224-41CD-B4E0-E297462320DD}" dt="2023-11-24T08:48:10.303" v="72897"/>
          <ac:spMkLst>
            <pc:docMk/>
            <pc:sldMk cId="1033770688" sldId="2147478572"/>
            <ac:spMk id="479" creationId="{26B2A863-D3CF-B833-552F-CEB8279E2247}"/>
          </ac:spMkLst>
        </pc:spChg>
        <pc:spChg chg="add del mod">
          <ac:chgData name="Steiner Andreas 6206 ED" userId="e6377c33-a923-4f14-8587-531c474c7b48" providerId="ADAL" clId="{6ECD27E6-B224-41CD-B4E0-E297462320DD}" dt="2023-11-24T08:48:12.316" v="73052"/>
          <ac:spMkLst>
            <pc:docMk/>
            <pc:sldMk cId="1033770688" sldId="2147478572"/>
            <ac:spMk id="480" creationId="{2F99028A-AF9C-AB80-B388-810EEAF20466}"/>
          </ac:spMkLst>
        </pc:spChg>
        <pc:spChg chg="add del mod">
          <ac:chgData name="Steiner Andreas 6206 ED" userId="e6377c33-a923-4f14-8587-531c474c7b48" providerId="ADAL" clId="{6ECD27E6-B224-41CD-B4E0-E297462320DD}" dt="2023-11-24T08:48:14.702" v="73207"/>
          <ac:spMkLst>
            <pc:docMk/>
            <pc:sldMk cId="1033770688" sldId="2147478572"/>
            <ac:spMk id="481" creationId="{CE47BB79-96A2-2094-3555-FD6E6619A8E1}"/>
          </ac:spMkLst>
        </pc:spChg>
        <pc:spChg chg="add del mod">
          <ac:chgData name="Steiner Andreas 6206 ED" userId="e6377c33-a923-4f14-8587-531c474c7b48" providerId="ADAL" clId="{6ECD27E6-B224-41CD-B4E0-E297462320DD}" dt="2023-11-24T08:48:17.494" v="73362"/>
          <ac:spMkLst>
            <pc:docMk/>
            <pc:sldMk cId="1033770688" sldId="2147478572"/>
            <ac:spMk id="482" creationId="{B0C3526D-8276-ACD9-BC9F-A1EE5CEAC909}"/>
          </ac:spMkLst>
        </pc:spChg>
        <pc:spChg chg="add del mod">
          <ac:chgData name="Steiner Andreas 6206 ED" userId="e6377c33-a923-4f14-8587-531c474c7b48" providerId="ADAL" clId="{6ECD27E6-B224-41CD-B4E0-E297462320DD}" dt="2023-11-24T08:48:20.074" v="73517"/>
          <ac:spMkLst>
            <pc:docMk/>
            <pc:sldMk cId="1033770688" sldId="2147478572"/>
            <ac:spMk id="483" creationId="{00E6ACE6-C462-E622-309F-3C5D7C7FBDE5}"/>
          </ac:spMkLst>
        </pc:spChg>
        <pc:spChg chg="add del mod">
          <ac:chgData name="Steiner Andreas 6206 ED" userId="e6377c33-a923-4f14-8587-531c474c7b48" providerId="ADAL" clId="{6ECD27E6-B224-41CD-B4E0-E297462320DD}" dt="2023-11-24T08:48:22.234" v="73672"/>
          <ac:spMkLst>
            <pc:docMk/>
            <pc:sldMk cId="1033770688" sldId="2147478572"/>
            <ac:spMk id="484" creationId="{8C9DEC6E-3A14-3AC6-A36F-502C0AF6622D}"/>
          </ac:spMkLst>
        </pc:spChg>
        <pc:spChg chg="add del mod">
          <ac:chgData name="Steiner Andreas 6206 ED" userId="e6377c33-a923-4f14-8587-531c474c7b48" providerId="ADAL" clId="{6ECD27E6-B224-41CD-B4E0-E297462320DD}" dt="2023-11-24T08:48:24.351" v="73827"/>
          <ac:spMkLst>
            <pc:docMk/>
            <pc:sldMk cId="1033770688" sldId="2147478572"/>
            <ac:spMk id="485" creationId="{3870F648-8FF1-F5AE-2E81-7AA9E4902B3A}"/>
          </ac:spMkLst>
        </pc:spChg>
        <pc:spChg chg="add del mod">
          <ac:chgData name="Steiner Andreas 6206 ED" userId="e6377c33-a923-4f14-8587-531c474c7b48" providerId="ADAL" clId="{6ECD27E6-B224-41CD-B4E0-E297462320DD}" dt="2023-11-24T08:48:26.454" v="73982"/>
          <ac:spMkLst>
            <pc:docMk/>
            <pc:sldMk cId="1033770688" sldId="2147478572"/>
            <ac:spMk id="486" creationId="{CDF40D13-82E8-7CD3-161F-6425A08D035D}"/>
          </ac:spMkLst>
        </pc:spChg>
        <pc:spChg chg="add del mod">
          <ac:chgData name="Steiner Andreas 6206 ED" userId="e6377c33-a923-4f14-8587-531c474c7b48" providerId="ADAL" clId="{6ECD27E6-B224-41CD-B4E0-E297462320DD}" dt="2023-11-24T08:48:28.471" v="74137"/>
          <ac:spMkLst>
            <pc:docMk/>
            <pc:sldMk cId="1033770688" sldId="2147478572"/>
            <ac:spMk id="487" creationId="{8226B2B4-B927-EE40-F6C0-907691F52335}"/>
          </ac:spMkLst>
        </pc:spChg>
        <pc:spChg chg="add del mod">
          <ac:chgData name="Steiner Andreas 6206 ED" userId="e6377c33-a923-4f14-8587-531c474c7b48" providerId="ADAL" clId="{6ECD27E6-B224-41CD-B4E0-E297462320DD}" dt="2023-11-24T08:48:30.348" v="74292"/>
          <ac:spMkLst>
            <pc:docMk/>
            <pc:sldMk cId="1033770688" sldId="2147478572"/>
            <ac:spMk id="488" creationId="{499E53FE-6581-56E6-9DB8-E939C0D6C9F9}"/>
          </ac:spMkLst>
        </pc:spChg>
        <pc:spChg chg="add del mod">
          <ac:chgData name="Steiner Andreas 6206 ED" userId="e6377c33-a923-4f14-8587-531c474c7b48" providerId="ADAL" clId="{6ECD27E6-B224-41CD-B4E0-E297462320DD}" dt="2023-11-24T08:48:32.315" v="74447"/>
          <ac:spMkLst>
            <pc:docMk/>
            <pc:sldMk cId="1033770688" sldId="2147478572"/>
            <ac:spMk id="489" creationId="{A41920E2-3772-6D79-F01F-2BEAFFFAAECE}"/>
          </ac:spMkLst>
        </pc:spChg>
        <pc:spChg chg="add del mod">
          <ac:chgData name="Steiner Andreas 6206 ED" userId="e6377c33-a923-4f14-8587-531c474c7b48" providerId="ADAL" clId="{6ECD27E6-B224-41CD-B4E0-E297462320DD}" dt="2023-11-24T08:48:34.574" v="74602"/>
          <ac:spMkLst>
            <pc:docMk/>
            <pc:sldMk cId="1033770688" sldId="2147478572"/>
            <ac:spMk id="490" creationId="{7CE6BD2C-6C8A-89C8-8503-DAF9386F8FDF}"/>
          </ac:spMkLst>
        </pc:spChg>
        <pc:spChg chg="add del mod">
          <ac:chgData name="Steiner Andreas 6206 ED" userId="e6377c33-a923-4f14-8587-531c474c7b48" providerId="ADAL" clId="{6ECD27E6-B224-41CD-B4E0-E297462320DD}" dt="2023-11-24T08:48:36.703" v="74757"/>
          <ac:spMkLst>
            <pc:docMk/>
            <pc:sldMk cId="1033770688" sldId="2147478572"/>
            <ac:spMk id="491" creationId="{34C031D8-A3D2-8FB3-F631-595256B5CA60}"/>
          </ac:spMkLst>
        </pc:spChg>
        <pc:spChg chg="add del mod">
          <ac:chgData name="Steiner Andreas 6206 ED" userId="e6377c33-a923-4f14-8587-531c474c7b48" providerId="ADAL" clId="{6ECD27E6-B224-41CD-B4E0-E297462320DD}" dt="2023-11-24T08:48:38.792" v="74912"/>
          <ac:spMkLst>
            <pc:docMk/>
            <pc:sldMk cId="1033770688" sldId="2147478572"/>
            <ac:spMk id="492" creationId="{358F157A-7616-EA87-7A8F-2C91236DD301}"/>
          </ac:spMkLst>
        </pc:spChg>
        <pc:spChg chg="add del mod">
          <ac:chgData name="Steiner Andreas 6206 ED" userId="e6377c33-a923-4f14-8587-531c474c7b48" providerId="ADAL" clId="{6ECD27E6-B224-41CD-B4E0-E297462320DD}" dt="2023-11-24T08:48:40.895" v="75067"/>
          <ac:spMkLst>
            <pc:docMk/>
            <pc:sldMk cId="1033770688" sldId="2147478572"/>
            <ac:spMk id="493" creationId="{39577DFA-4F75-D77A-541F-870C8FA83FAC}"/>
          </ac:spMkLst>
        </pc:spChg>
        <pc:spChg chg="add del mod">
          <ac:chgData name="Steiner Andreas 6206 ED" userId="e6377c33-a923-4f14-8587-531c474c7b48" providerId="ADAL" clId="{6ECD27E6-B224-41CD-B4E0-E297462320DD}" dt="2023-11-24T08:48:43.351" v="75222"/>
          <ac:spMkLst>
            <pc:docMk/>
            <pc:sldMk cId="1033770688" sldId="2147478572"/>
            <ac:spMk id="494" creationId="{430762C9-F242-CD1B-D691-91DE9C2CECE8}"/>
          </ac:spMkLst>
        </pc:spChg>
        <pc:spChg chg="add del mod">
          <ac:chgData name="Steiner Andreas 6206 ED" userId="e6377c33-a923-4f14-8587-531c474c7b48" providerId="ADAL" clId="{6ECD27E6-B224-41CD-B4E0-E297462320DD}" dt="2023-11-24T08:48:45.617" v="75377"/>
          <ac:spMkLst>
            <pc:docMk/>
            <pc:sldMk cId="1033770688" sldId="2147478572"/>
            <ac:spMk id="495" creationId="{DAB1CC45-D60E-8070-8CBC-B43A2521C2AF}"/>
          </ac:spMkLst>
        </pc:spChg>
        <pc:spChg chg="add del mod">
          <ac:chgData name="Steiner Andreas 6206 ED" userId="e6377c33-a923-4f14-8587-531c474c7b48" providerId="ADAL" clId="{6ECD27E6-B224-41CD-B4E0-E297462320DD}" dt="2023-11-24T08:48:47.743" v="75532"/>
          <ac:spMkLst>
            <pc:docMk/>
            <pc:sldMk cId="1033770688" sldId="2147478572"/>
            <ac:spMk id="496" creationId="{BBDC348B-09EA-4F79-26E8-ED0CB223054D}"/>
          </ac:spMkLst>
        </pc:spChg>
        <pc:spChg chg="add del mod">
          <ac:chgData name="Steiner Andreas 6206 ED" userId="e6377c33-a923-4f14-8587-531c474c7b48" providerId="ADAL" clId="{6ECD27E6-B224-41CD-B4E0-E297462320DD}" dt="2023-11-24T08:48:49.651" v="75687"/>
          <ac:spMkLst>
            <pc:docMk/>
            <pc:sldMk cId="1033770688" sldId="2147478572"/>
            <ac:spMk id="497" creationId="{C9B0DD14-1ED3-7EED-D2E8-286F7E2EB8DF}"/>
          </ac:spMkLst>
        </pc:spChg>
        <pc:spChg chg="add del mod">
          <ac:chgData name="Steiner Andreas 6206 ED" userId="e6377c33-a923-4f14-8587-531c474c7b48" providerId="ADAL" clId="{6ECD27E6-B224-41CD-B4E0-E297462320DD}" dt="2023-11-24T08:48:51.866" v="75842"/>
          <ac:spMkLst>
            <pc:docMk/>
            <pc:sldMk cId="1033770688" sldId="2147478572"/>
            <ac:spMk id="498" creationId="{0DCB62B3-A382-A4DF-E525-866F4CA49121}"/>
          </ac:spMkLst>
        </pc:spChg>
        <pc:spChg chg="add del mod">
          <ac:chgData name="Steiner Andreas 6206 ED" userId="e6377c33-a923-4f14-8587-531c474c7b48" providerId="ADAL" clId="{6ECD27E6-B224-41CD-B4E0-E297462320DD}" dt="2023-11-24T08:48:53.836" v="75997"/>
          <ac:spMkLst>
            <pc:docMk/>
            <pc:sldMk cId="1033770688" sldId="2147478572"/>
            <ac:spMk id="499" creationId="{10D640F9-D417-6C29-29BB-EFEC9ED139B8}"/>
          </ac:spMkLst>
        </pc:spChg>
        <pc:spChg chg="add del mod">
          <ac:chgData name="Steiner Andreas 6206 ED" userId="e6377c33-a923-4f14-8587-531c474c7b48" providerId="ADAL" clId="{6ECD27E6-B224-41CD-B4E0-E297462320DD}" dt="2023-11-24T08:48:55.782" v="76152"/>
          <ac:spMkLst>
            <pc:docMk/>
            <pc:sldMk cId="1033770688" sldId="2147478572"/>
            <ac:spMk id="500" creationId="{825141D3-15AA-EBF2-5BC3-40DDAE8D9380}"/>
          </ac:spMkLst>
        </pc:spChg>
        <pc:spChg chg="add del mod">
          <ac:chgData name="Steiner Andreas 6206 ED" userId="e6377c33-a923-4f14-8587-531c474c7b48" providerId="ADAL" clId="{6ECD27E6-B224-41CD-B4E0-E297462320DD}" dt="2023-11-24T08:48:57.766" v="76307"/>
          <ac:spMkLst>
            <pc:docMk/>
            <pc:sldMk cId="1033770688" sldId="2147478572"/>
            <ac:spMk id="501" creationId="{01E86871-E8FC-CDB9-44F6-60C598CDA0B3}"/>
          </ac:spMkLst>
        </pc:spChg>
        <pc:spChg chg="add del mod">
          <ac:chgData name="Steiner Andreas 6206 ED" userId="e6377c33-a923-4f14-8587-531c474c7b48" providerId="ADAL" clId="{6ECD27E6-B224-41CD-B4E0-E297462320DD}" dt="2023-11-24T08:48:59.813" v="76462"/>
          <ac:spMkLst>
            <pc:docMk/>
            <pc:sldMk cId="1033770688" sldId="2147478572"/>
            <ac:spMk id="502" creationId="{69975819-E6ED-CAB5-0639-51CFCEFEE3A3}"/>
          </ac:spMkLst>
        </pc:spChg>
        <pc:spChg chg="add del mod">
          <ac:chgData name="Steiner Andreas 6206 ED" userId="e6377c33-a923-4f14-8587-531c474c7b48" providerId="ADAL" clId="{6ECD27E6-B224-41CD-B4E0-E297462320DD}" dt="2023-11-24T08:49:01.783" v="76617"/>
          <ac:spMkLst>
            <pc:docMk/>
            <pc:sldMk cId="1033770688" sldId="2147478572"/>
            <ac:spMk id="503" creationId="{787AAE4B-4566-3B6A-BE0F-0A64AED08BC5}"/>
          </ac:spMkLst>
        </pc:spChg>
        <pc:spChg chg="add del mod">
          <ac:chgData name="Steiner Andreas 6206 ED" userId="e6377c33-a923-4f14-8587-531c474c7b48" providerId="ADAL" clId="{6ECD27E6-B224-41CD-B4E0-E297462320DD}" dt="2023-11-24T08:49:03.757" v="76772"/>
          <ac:spMkLst>
            <pc:docMk/>
            <pc:sldMk cId="1033770688" sldId="2147478572"/>
            <ac:spMk id="504" creationId="{6A7BA86D-096E-C7D0-4D05-B3642C2427F2}"/>
          </ac:spMkLst>
        </pc:spChg>
        <pc:spChg chg="add del mod">
          <ac:chgData name="Steiner Andreas 6206 ED" userId="e6377c33-a923-4f14-8587-531c474c7b48" providerId="ADAL" clId="{6ECD27E6-B224-41CD-B4E0-E297462320DD}" dt="2023-11-24T08:49:05.653" v="76927"/>
          <ac:spMkLst>
            <pc:docMk/>
            <pc:sldMk cId="1033770688" sldId="2147478572"/>
            <ac:spMk id="505" creationId="{B738EFB7-BDC4-FC2A-CAAF-129EF7BED66A}"/>
          </ac:spMkLst>
        </pc:spChg>
        <pc:spChg chg="add del mod">
          <ac:chgData name="Steiner Andreas 6206 ED" userId="e6377c33-a923-4f14-8587-531c474c7b48" providerId="ADAL" clId="{6ECD27E6-B224-41CD-B4E0-E297462320DD}" dt="2023-11-24T08:49:07.730" v="77082"/>
          <ac:spMkLst>
            <pc:docMk/>
            <pc:sldMk cId="1033770688" sldId="2147478572"/>
            <ac:spMk id="506" creationId="{AA4A3C03-8533-D6AA-F7C9-F15F07B9D54C}"/>
          </ac:spMkLst>
        </pc:spChg>
        <pc:spChg chg="add del mod">
          <ac:chgData name="Steiner Andreas 6206 ED" userId="e6377c33-a923-4f14-8587-531c474c7b48" providerId="ADAL" clId="{6ECD27E6-B224-41CD-B4E0-E297462320DD}" dt="2023-11-24T08:49:09.637" v="77237"/>
          <ac:spMkLst>
            <pc:docMk/>
            <pc:sldMk cId="1033770688" sldId="2147478572"/>
            <ac:spMk id="507" creationId="{BD36B7BD-B995-BB8C-065C-C52AEBB8B3E5}"/>
          </ac:spMkLst>
        </pc:spChg>
        <pc:spChg chg="add del mod">
          <ac:chgData name="Steiner Andreas 6206 ED" userId="e6377c33-a923-4f14-8587-531c474c7b48" providerId="ADAL" clId="{6ECD27E6-B224-41CD-B4E0-E297462320DD}" dt="2023-11-24T08:49:11.443" v="77392"/>
          <ac:spMkLst>
            <pc:docMk/>
            <pc:sldMk cId="1033770688" sldId="2147478572"/>
            <ac:spMk id="508" creationId="{F9C8F832-7250-A7B7-BBCF-6C063B53F810}"/>
          </ac:spMkLst>
        </pc:spChg>
        <pc:spChg chg="add del mod">
          <ac:chgData name="Steiner Andreas 6206 ED" userId="e6377c33-a923-4f14-8587-531c474c7b48" providerId="ADAL" clId="{6ECD27E6-B224-41CD-B4E0-E297462320DD}" dt="2023-11-24T08:49:13.452" v="77547"/>
          <ac:spMkLst>
            <pc:docMk/>
            <pc:sldMk cId="1033770688" sldId="2147478572"/>
            <ac:spMk id="509" creationId="{5E0E03D7-5EF3-231C-5F00-F70465E88FC2}"/>
          </ac:spMkLst>
        </pc:spChg>
        <pc:spChg chg="add del mod">
          <ac:chgData name="Steiner Andreas 6206 ED" userId="e6377c33-a923-4f14-8587-531c474c7b48" providerId="ADAL" clId="{6ECD27E6-B224-41CD-B4E0-E297462320DD}" dt="2023-11-24T08:49:15.509" v="77702"/>
          <ac:spMkLst>
            <pc:docMk/>
            <pc:sldMk cId="1033770688" sldId="2147478572"/>
            <ac:spMk id="510" creationId="{60B1F9D6-A0D0-6CEB-357C-4405B078094D}"/>
          </ac:spMkLst>
        </pc:spChg>
        <pc:spChg chg="add del mod">
          <ac:chgData name="Steiner Andreas 6206 ED" userId="e6377c33-a923-4f14-8587-531c474c7b48" providerId="ADAL" clId="{6ECD27E6-B224-41CD-B4E0-E297462320DD}" dt="2023-11-24T08:49:17.502" v="77857"/>
          <ac:spMkLst>
            <pc:docMk/>
            <pc:sldMk cId="1033770688" sldId="2147478572"/>
            <ac:spMk id="511" creationId="{21B72177-A7E9-D838-39BE-F5CF5A584A57}"/>
          </ac:spMkLst>
        </pc:spChg>
        <pc:spChg chg="add del mod">
          <ac:chgData name="Steiner Andreas 6206 ED" userId="e6377c33-a923-4f14-8587-531c474c7b48" providerId="ADAL" clId="{6ECD27E6-B224-41CD-B4E0-E297462320DD}" dt="2023-11-24T08:49:19.578" v="78012"/>
          <ac:spMkLst>
            <pc:docMk/>
            <pc:sldMk cId="1033770688" sldId="2147478572"/>
            <ac:spMk id="512" creationId="{81427543-1CEF-510B-5BC4-64EC1B461E64}"/>
          </ac:spMkLst>
        </pc:spChg>
        <pc:spChg chg="add del mod">
          <ac:chgData name="Steiner Andreas 6206 ED" userId="e6377c33-a923-4f14-8587-531c474c7b48" providerId="ADAL" clId="{6ECD27E6-B224-41CD-B4E0-E297462320DD}" dt="2023-11-24T08:49:21.521" v="78167"/>
          <ac:spMkLst>
            <pc:docMk/>
            <pc:sldMk cId="1033770688" sldId="2147478572"/>
            <ac:spMk id="513" creationId="{62984733-14AD-097D-FE39-452813CDA273}"/>
          </ac:spMkLst>
        </pc:spChg>
        <pc:spChg chg="add del mod">
          <ac:chgData name="Steiner Andreas 6206 ED" userId="e6377c33-a923-4f14-8587-531c474c7b48" providerId="ADAL" clId="{6ECD27E6-B224-41CD-B4E0-E297462320DD}" dt="2023-11-24T08:49:23.380" v="78322"/>
          <ac:spMkLst>
            <pc:docMk/>
            <pc:sldMk cId="1033770688" sldId="2147478572"/>
            <ac:spMk id="514" creationId="{0E637AA3-5267-3705-1D09-9F1F78AD3C39}"/>
          </ac:spMkLst>
        </pc:spChg>
        <pc:spChg chg="add del mod">
          <ac:chgData name="Steiner Andreas 6206 ED" userId="e6377c33-a923-4f14-8587-531c474c7b48" providerId="ADAL" clId="{6ECD27E6-B224-41CD-B4E0-E297462320DD}" dt="2023-11-24T08:49:25.295" v="78477"/>
          <ac:spMkLst>
            <pc:docMk/>
            <pc:sldMk cId="1033770688" sldId="2147478572"/>
            <ac:spMk id="515" creationId="{F109C57D-C065-6587-83AC-0558186CFDE0}"/>
          </ac:spMkLst>
        </pc:spChg>
        <pc:spChg chg="add del mod">
          <ac:chgData name="Steiner Andreas 6206 ED" userId="e6377c33-a923-4f14-8587-531c474c7b48" providerId="ADAL" clId="{6ECD27E6-B224-41CD-B4E0-E297462320DD}" dt="2023-11-24T08:49:27.291" v="78632"/>
          <ac:spMkLst>
            <pc:docMk/>
            <pc:sldMk cId="1033770688" sldId="2147478572"/>
            <ac:spMk id="516" creationId="{E123D805-8D66-E1CA-EB00-CE8D0E6F37D8}"/>
          </ac:spMkLst>
        </pc:spChg>
        <pc:spChg chg="add del mod">
          <ac:chgData name="Steiner Andreas 6206 ED" userId="e6377c33-a923-4f14-8587-531c474c7b48" providerId="ADAL" clId="{6ECD27E6-B224-41CD-B4E0-E297462320DD}" dt="2023-11-24T08:49:29.308" v="78787"/>
          <ac:spMkLst>
            <pc:docMk/>
            <pc:sldMk cId="1033770688" sldId="2147478572"/>
            <ac:spMk id="517" creationId="{2314A4F6-10E8-F8DD-99DC-3EF3216D536F}"/>
          </ac:spMkLst>
        </pc:spChg>
        <pc:spChg chg="add del mod">
          <ac:chgData name="Steiner Andreas 6206 ED" userId="e6377c33-a923-4f14-8587-531c474c7b48" providerId="ADAL" clId="{6ECD27E6-B224-41CD-B4E0-E297462320DD}" dt="2023-11-24T08:49:31.318" v="78942"/>
          <ac:spMkLst>
            <pc:docMk/>
            <pc:sldMk cId="1033770688" sldId="2147478572"/>
            <ac:spMk id="518" creationId="{BC8FBFD3-C574-D24E-9904-EA5A35703CA2}"/>
          </ac:spMkLst>
        </pc:spChg>
        <pc:spChg chg="add del mod">
          <ac:chgData name="Steiner Andreas 6206 ED" userId="e6377c33-a923-4f14-8587-531c474c7b48" providerId="ADAL" clId="{6ECD27E6-B224-41CD-B4E0-E297462320DD}" dt="2023-11-24T08:49:33.207" v="79097"/>
          <ac:spMkLst>
            <pc:docMk/>
            <pc:sldMk cId="1033770688" sldId="2147478572"/>
            <ac:spMk id="519" creationId="{EBBE9061-BF3B-D2AA-1D49-FF0839375B0F}"/>
          </ac:spMkLst>
        </pc:spChg>
        <pc:spChg chg="add del mod">
          <ac:chgData name="Steiner Andreas 6206 ED" userId="e6377c33-a923-4f14-8587-531c474c7b48" providerId="ADAL" clId="{6ECD27E6-B224-41CD-B4E0-E297462320DD}" dt="2023-11-24T08:49:35.127" v="79252"/>
          <ac:spMkLst>
            <pc:docMk/>
            <pc:sldMk cId="1033770688" sldId="2147478572"/>
            <ac:spMk id="520" creationId="{7059FABD-44A1-4A43-3B44-890640EC49FD}"/>
          </ac:spMkLst>
        </pc:spChg>
        <pc:spChg chg="add del mod">
          <ac:chgData name="Steiner Andreas 6206 ED" userId="e6377c33-a923-4f14-8587-531c474c7b48" providerId="ADAL" clId="{6ECD27E6-B224-41CD-B4E0-E297462320DD}" dt="2023-11-24T08:49:36.967" v="79407"/>
          <ac:spMkLst>
            <pc:docMk/>
            <pc:sldMk cId="1033770688" sldId="2147478572"/>
            <ac:spMk id="521" creationId="{E5AEC5C2-BEA6-565B-2629-0D8251AC43F5}"/>
          </ac:spMkLst>
        </pc:spChg>
        <pc:spChg chg="add del mod">
          <ac:chgData name="Steiner Andreas 6206 ED" userId="e6377c33-a923-4f14-8587-531c474c7b48" providerId="ADAL" clId="{6ECD27E6-B224-41CD-B4E0-E297462320DD}" dt="2023-11-24T08:49:38.914" v="79562"/>
          <ac:spMkLst>
            <pc:docMk/>
            <pc:sldMk cId="1033770688" sldId="2147478572"/>
            <ac:spMk id="522" creationId="{774F17A9-0271-AF73-E544-E3B468DEE393}"/>
          </ac:spMkLst>
        </pc:spChg>
        <pc:spChg chg="add del mod">
          <ac:chgData name="Steiner Andreas 6206 ED" userId="e6377c33-a923-4f14-8587-531c474c7b48" providerId="ADAL" clId="{6ECD27E6-B224-41CD-B4E0-E297462320DD}" dt="2023-11-24T08:49:40.948" v="79717"/>
          <ac:spMkLst>
            <pc:docMk/>
            <pc:sldMk cId="1033770688" sldId="2147478572"/>
            <ac:spMk id="523" creationId="{6FBCE0A4-6068-553A-C694-8C9B0CE4D3F3}"/>
          </ac:spMkLst>
        </pc:spChg>
        <pc:spChg chg="add del mod">
          <ac:chgData name="Steiner Andreas 6206 ED" userId="e6377c33-a923-4f14-8587-531c474c7b48" providerId="ADAL" clId="{6ECD27E6-B224-41CD-B4E0-E297462320DD}" dt="2023-11-24T08:49:42.913" v="79872"/>
          <ac:spMkLst>
            <pc:docMk/>
            <pc:sldMk cId="1033770688" sldId="2147478572"/>
            <ac:spMk id="524" creationId="{4690E908-E78A-518F-163B-9978388A81CC}"/>
          </ac:spMkLst>
        </pc:spChg>
        <pc:spChg chg="add del mod">
          <ac:chgData name="Steiner Andreas 6206 ED" userId="e6377c33-a923-4f14-8587-531c474c7b48" providerId="ADAL" clId="{6ECD27E6-B224-41CD-B4E0-E297462320DD}" dt="2023-11-24T08:49:44.851" v="80027"/>
          <ac:spMkLst>
            <pc:docMk/>
            <pc:sldMk cId="1033770688" sldId="2147478572"/>
            <ac:spMk id="525" creationId="{29E26162-22D6-B759-2E11-E48DBAC96450}"/>
          </ac:spMkLst>
        </pc:spChg>
        <pc:spChg chg="add del mod">
          <ac:chgData name="Steiner Andreas 6206 ED" userId="e6377c33-a923-4f14-8587-531c474c7b48" providerId="ADAL" clId="{6ECD27E6-B224-41CD-B4E0-E297462320DD}" dt="2023-11-24T08:49:46.761" v="80182"/>
          <ac:spMkLst>
            <pc:docMk/>
            <pc:sldMk cId="1033770688" sldId="2147478572"/>
            <ac:spMk id="526" creationId="{77424D5B-6A0D-5486-6E2C-4A59E20EDE0D}"/>
          </ac:spMkLst>
        </pc:spChg>
        <pc:spChg chg="add del mod">
          <ac:chgData name="Steiner Andreas 6206 ED" userId="e6377c33-a923-4f14-8587-531c474c7b48" providerId="ADAL" clId="{6ECD27E6-B224-41CD-B4E0-E297462320DD}" dt="2023-11-24T08:49:48.699" v="80337"/>
          <ac:spMkLst>
            <pc:docMk/>
            <pc:sldMk cId="1033770688" sldId="2147478572"/>
            <ac:spMk id="527" creationId="{2613ABC8-76E6-3A14-CC9E-7436B83BFB50}"/>
          </ac:spMkLst>
        </pc:spChg>
        <pc:spChg chg="add del mod">
          <ac:chgData name="Steiner Andreas 6206 ED" userId="e6377c33-a923-4f14-8587-531c474c7b48" providerId="ADAL" clId="{6ECD27E6-B224-41CD-B4E0-E297462320DD}" dt="2023-11-24T08:49:50.593" v="80492"/>
          <ac:spMkLst>
            <pc:docMk/>
            <pc:sldMk cId="1033770688" sldId="2147478572"/>
            <ac:spMk id="528" creationId="{08F09DF4-387A-FD19-D4DC-44DC3C815FD2}"/>
          </ac:spMkLst>
        </pc:spChg>
        <pc:spChg chg="add del mod">
          <ac:chgData name="Steiner Andreas 6206 ED" userId="e6377c33-a923-4f14-8587-531c474c7b48" providerId="ADAL" clId="{6ECD27E6-B224-41CD-B4E0-E297462320DD}" dt="2023-11-24T08:49:52.528" v="80647"/>
          <ac:spMkLst>
            <pc:docMk/>
            <pc:sldMk cId="1033770688" sldId="2147478572"/>
            <ac:spMk id="529" creationId="{B02E49D5-314E-79F2-A9CA-ABA6C7C578AD}"/>
          </ac:spMkLst>
        </pc:spChg>
        <pc:spChg chg="add del mod">
          <ac:chgData name="Steiner Andreas 6206 ED" userId="e6377c33-a923-4f14-8587-531c474c7b48" providerId="ADAL" clId="{6ECD27E6-B224-41CD-B4E0-E297462320DD}" dt="2023-11-24T08:49:54.466" v="80802"/>
          <ac:spMkLst>
            <pc:docMk/>
            <pc:sldMk cId="1033770688" sldId="2147478572"/>
            <ac:spMk id="530" creationId="{5E18B9E8-63DB-2BDB-086A-D1A4EBE955A0}"/>
          </ac:spMkLst>
        </pc:spChg>
        <pc:spChg chg="add del mod">
          <ac:chgData name="Steiner Andreas 6206 ED" userId="e6377c33-a923-4f14-8587-531c474c7b48" providerId="ADAL" clId="{6ECD27E6-B224-41CD-B4E0-E297462320DD}" dt="2023-11-24T08:49:56.335" v="80957"/>
          <ac:spMkLst>
            <pc:docMk/>
            <pc:sldMk cId="1033770688" sldId="2147478572"/>
            <ac:spMk id="531" creationId="{996B151D-9F68-BCE3-D2A0-27AEEC9F24F0}"/>
          </ac:spMkLst>
        </pc:spChg>
        <pc:spChg chg="add del mod">
          <ac:chgData name="Steiner Andreas 6206 ED" userId="e6377c33-a923-4f14-8587-531c474c7b48" providerId="ADAL" clId="{6ECD27E6-B224-41CD-B4E0-E297462320DD}" dt="2023-11-24T08:49:58.210" v="81112"/>
          <ac:spMkLst>
            <pc:docMk/>
            <pc:sldMk cId="1033770688" sldId="2147478572"/>
            <ac:spMk id="532" creationId="{2511990D-F4DE-87A3-7EA0-B4341C9F6FB3}"/>
          </ac:spMkLst>
        </pc:spChg>
        <pc:spChg chg="add del mod">
          <ac:chgData name="Steiner Andreas 6206 ED" userId="e6377c33-a923-4f14-8587-531c474c7b48" providerId="ADAL" clId="{6ECD27E6-B224-41CD-B4E0-E297462320DD}" dt="2023-11-24T08:50:00.151" v="81267"/>
          <ac:spMkLst>
            <pc:docMk/>
            <pc:sldMk cId="1033770688" sldId="2147478572"/>
            <ac:spMk id="533" creationId="{13D1C81C-C9BF-318B-E634-8B2DDAA22A86}"/>
          </ac:spMkLst>
        </pc:spChg>
        <pc:spChg chg="add del mod">
          <ac:chgData name="Steiner Andreas 6206 ED" userId="e6377c33-a923-4f14-8587-531c474c7b48" providerId="ADAL" clId="{6ECD27E6-B224-41CD-B4E0-E297462320DD}" dt="2023-11-24T08:50:02.179" v="81422"/>
          <ac:spMkLst>
            <pc:docMk/>
            <pc:sldMk cId="1033770688" sldId="2147478572"/>
            <ac:spMk id="534" creationId="{6FD5CC75-85F4-AFE0-BF15-03363A972007}"/>
          </ac:spMkLst>
        </pc:spChg>
        <pc:spChg chg="add del mod">
          <ac:chgData name="Steiner Andreas 6206 ED" userId="e6377c33-a923-4f14-8587-531c474c7b48" providerId="ADAL" clId="{6ECD27E6-B224-41CD-B4E0-E297462320DD}" dt="2023-11-24T08:50:04.221" v="81577"/>
          <ac:spMkLst>
            <pc:docMk/>
            <pc:sldMk cId="1033770688" sldId="2147478572"/>
            <ac:spMk id="535" creationId="{A7CE6642-97F4-6640-0939-0BC68A5F9935}"/>
          </ac:spMkLst>
        </pc:spChg>
        <pc:spChg chg="add del mod">
          <ac:chgData name="Steiner Andreas 6206 ED" userId="e6377c33-a923-4f14-8587-531c474c7b48" providerId="ADAL" clId="{6ECD27E6-B224-41CD-B4E0-E297462320DD}" dt="2023-11-24T08:50:06.212" v="81732"/>
          <ac:spMkLst>
            <pc:docMk/>
            <pc:sldMk cId="1033770688" sldId="2147478572"/>
            <ac:spMk id="536" creationId="{254671A0-913B-8D66-B3D0-38201801FBD7}"/>
          </ac:spMkLst>
        </pc:spChg>
        <pc:spChg chg="add del mod">
          <ac:chgData name="Steiner Andreas 6206 ED" userId="e6377c33-a923-4f14-8587-531c474c7b48" providerId="ADAL" clId="{6ECD27E6-B224-41CD-B4E0-E297462320DD}" dt="2023-11-24T08:50:08.131" v="81887"/>
          <ac:spMkLst>
            <pc:docMk/>
            <pc:sldMk cId="1033770688" sldId="2147478572"/>
            <ac:spMk id="537" creationId="{DF8520A9-78AF-C584-2942-F868B40B7F5F}"/>
          </ac:spMkLst>
        </pc:spChg>
        <pc:spChg chg="add del mod">
          <ac:chgData name="Steiner Andreas 6206 ED" userId="e6377c33-a923-4f14-8587-531c474c7b48" providerId="ADAL" clId="{6ECD27E6-B224-41CD-B4E0-E297462320DD}" dt="2023-11-24T08:50:09.996" v="82042"/>
          <ac:spMkLst>
            <pc:docMk/>
            <pc:sldMk cId="1033770688" sldId="2147478572"/>
            <ac:spMk id="538" creationId="{CB64E355-4D53-9D36-4BE5-C4CD026A127B}"/>
          </ac:spMkLst>
        </pc:spChg>
        <pc:spChg chg="add del mod">
          <ac:chgData name="Steiner Andreas 6206 ED" userId="e6377c33-a923-4f14-8587-531c474c7b48" providerId="ADAL" clId="{6ECD27E6-B224-41CD-B4E0-E297462320DD}" dt="2023-11-24T08:50:11.908" v="82197"/>
          <ac:spMkLst>
            <pc:docMk/>
            <pc:sldMk cId="1033770688" sldId="2147478572"/>
            <ac:spMk id="539" creationId="{D0F5ADB4-C9E4-591A-21BF-59D0962ABECE}"/>
          </ac:spMkLst>
        </pc:spChg>
        <pc:spChg chg="add del mod">
          <ac:chgData name="Steiner Andreas 6206 ED" userId="e6377c33-a923-4f14-8587-531c474c7b48" providerId="ADAL" clId="{6ECD27E6-B224-41CD-B4E0-E297462320DD}" dt="2023-11-24T08:50:13.954" v="82352"/>
          <ac:spMkLst>
            <pc:docMk/>
            <pc:sldMk cId="1033770688" sldId="2147478572"/>
            <ac:spMk id="540" creationId="{34F3F733-28B1-0BD7-5156-C3BBE82A1533}"/>
          </ac:spMkLst>
        </pc:spChg>
        <pc:spChg chg="add del mod">
          <ac:chgData name="Steiner Andreas 6206 ED" userId="e6377c33-a923-4f14-8587-531c474c7b48" providerId="ADAL" clId="{6ECD27E6-B224-41CD-B4E0-E297462320DD}" dt="2023-11-24T08:50:15.936" v="82507"/>
          <ac:spMkLst>
            <pc:docMk/>
            <pc:sldMk cId="1033770688" sldId="2147478572"/>
            <ac:spMk id="541" creationId="{910F741A-9DC3-9A09-5E72-C69ECF13613A}"/>
          </ac:spMkLst>
        </pc:spChg>
        <pc:spChg chg="add del mod">
          <ac:chgData name="Steiner Andreas 6206 ED" userId="e6377c33-a923-4f14-8587-531c474c7b48" providerId="ADAL" clId="{6ECD27E6-B224-41CD-B4E0-E297462320DD}" dt="2023-11-24T08:50:17.893" v="82662"/>
          <ac:spMkLst>
            <pc:docMk/>
            <pc:sldMk cId="1033770688" sldId="2147478572"/>
            <ac:spMk id="542" creationId="{F92F3ED5-EBB9-BC46-FE75-50B93F1A72CB}"/>
          </ac:spMkLst>
        </pc:spChg>
        <pc:spChg chg="add del mod">
          <ac:chgData name="Steiner Andreas 6206 ED" userId="e6377c33-a923-4f14-8587-531c474c7b48" providerId="ADAL" clId="{6ECD27E6-B224-41CD-B4E0-E297462320DD}" dt="2023-11-24T08:50:19.921" v="82817"/>
          <ac:spMkLst>
            <pc:docMk/>
            <pc:sldMk cId="1033770688" sldId="2147478572"/>
            <ac:spMk id="543" creationId="{AEB3EF28-EB7C-B6EF-8477-F9B0CCBB07D7}"/>
          </ac:spMkLst>
        </pc:spChg>
        <pc:spChg chg="add del mod">
          <ac:chgData name="Steiner Andreas 6206 ED" userId="e6377c33-a923-4f14-8587-531c474c7b48" providerId="ADAL" clId="{6ECD27E6-B224-41CD-B4E0-E297462320DD}" dt="2023-11-24T08:50:22.078" v="82972"/>
          <ac:spMkLst>
            <pc:docMk/>
            <pc:sldMk cId="1033770688" sldId="2147478572"/>
            <ac:spMk id="544" creationId="{D4116C85-A013-8FCE-0C1A-C79EAC93AA22}"/>
          </ac:spMkLst>
        </pc:spChg>
        <pc:spChg chg="add del mod">
          <ac:chgData name="Steiner Andreas 6206 ED" userId="e6377c33-a923-4f14-8587-531c474c7b48" providerId="ADAL" clId="{6ECD27E6-B224-41CD-B4E0-E297462320DD}" dt="2023-11-24T08:50:24.070" v="83127"/>
          <ac:spMkLst>
            <pc:docMk/>
            <pc:sldMk cId="1033770688" sldId="2147478572"/>
            <ac:spMk id="545" creationId="{4F6D5267-1AB1-A3F8-35ED-3B1FAF2D5161}"/>
          </ac:spMkLst>
        </pc:spChg>
        <pc:spChg chg="add del mod">
          <ac:chgData name="Steiner Andreas 6206 ED" userId="e6377c33-a923-4f14-8587-531c474c7b48" providerId="ADAL" clId="{6ECD27E6-B224-41CD-B4E0-E297462320DD}" dt="2023-11-24T08:50:26.170" v="83282"/>
          <ac:spMkLst>
            <pc:docMk/>
            <pc:sldMk cId="1033770688" sldId="2147478572"/>
            <ac:spMk id="546" creationId="{58C021D8-D968-5DAB-D8FD-59C7197E9245}"/>
          </ac:spMkLst>
        </pc:spChg>
        <pc:spChg chg="add del mod">
          <ac:chgData name="Steiner Andreas 6206 ED" userId="e6377c33-a923-4f14-8587-531c474c7b48" providerId="ADAL" clId="{6ECD27E6-B224-41CD-B4E0-E297462320DD}" dt="2023-11-24T08:50:28.082" v="83437"/>
          <ac:spMkLst>
            <pc:docMk/>
            <pc:sldMk cId="1033770688" sldId="2147478572"/>
            <ac:spMk id="547" creationId="{EBC93D22-B815-19D3-AA5C-5EFAFB56ECCE}"/>
          </ac:spMkLst>
        </pc:spChg>
        <pc:spChg chg="add del mod">
          <ac:chgData name="Steiner Andreas 6206 ED" userId="e6377c33-a923-4f14-8587-531c474c7b48" providerId="ADAL" clId="{6ECD27E6-B224-41CD-B4E0-E297462320DD}" dt="2023-11-24T08:50:29.983" v="83592"/>
          <ac:spMkLst>
            <pc:docMk/>
            <pc:sldMk cId="1033770688" sldId="2147478572"/>
            <ac:spMk id="548" creationId="{F0EC710E-01EB-CB94-A743-95455456DF7D}"/>
          </ac:spMkLst>
        </pc:spChg>
        <pc:spChg chg="add del mod">
          <ac:chgData name="Steiner Andreas 6206 ED" userId="e6377c33-a923-4f14-8587-531c474c7b48" providerId="ADAL" clId="{6ECD27E6-B224-41CD-B4E0-E297462320DD}" dt="2023-11-24T08:50:32.005" v="83747"/>
          <ac:spMkLst>
            <pc:docMk/>
            <pc:sldMk cId="1033770688" sldId="2147478572"/>
            <ac:spMk id="549" creationId="{57D6016E-ED7C-DFAB-E357-CFF4BD3096FB}"/>
          </ac:spMkLst>
        </pc:spChg>
        <pc:spChg chg="add del mod">
          <ac:chgData name="Steiner Andreas 6206 ED" userId="e6377c33-a923-4f14-8587-531c474c7b48" providerId="ADAL" clId="{6ECD27E6-B224-41CD-B4E0-E297462320DD}" dt="2023-11-24T08:50:34.064" v="83902"/>
          <ac:spMkLst>
            <pc:docMk/>
            <pc:sldMk cId="1033770688" sldId="2147478572"/>
            <ac:spMk id="550" creationId="{1267D49A-4932-9A5F-273E-349CC90C45F6}"/>
          </ac:spMkLst>
        </pc:spChg>
        <pc:spChg chg="add del mod">
          <ac:chgData name="Steiner Andreas 6206 ED" userId="e6377c33-a923-4f14-8587-531c474c7b48" providerId="ADAL" clId="{6ECD27E6-B224-41CD-B4E0-E297462320DD}" dt="2023-11-24T08:50:36.284" v="84057"/>
          <ac:spMkLst>
            <pc:docMk/>
            <pc:sldMk cId="1033770688" sldId="2147478572"/>
            <ac:spMk id="551" creationId="{13A48992-C9AA-DE57-57DB-6366A562C4F6}"/>
          </ac:spMkLst>
        </pc:spChg>
        <pc:spChg chg="add del mod">
          <ac:chgData name="Steiner Andreas 6206 ED" userId="e6377c33-a923-4f14-8587-531c474c7b48" providerId="ADAL" clId="{6ECD27E6-B224-41CD-B4E0-E297462320DD}" dt="2023-11-24T08:50:38.260" v="84212"/>
          <ac:spMkLst>
            <pc:docMk/>
            <pc:sldMk cId="1033770688" sldId="2147478572"/>
            <ac:spMk id="552" creationId="{671E64B6-B207-372B-C24F-1C2FFA09B1EE}"/>
          </ac:spMkLst>
        </pc:spChg>
        <pc:spChg chg="add del mod">
          <ac:chgData name="Steiner Andreas 6206 ED" userId="e6377c33-a923-4f14-8587-531c474c7b48" providerId="ADAL" clId="{6ECD27E6-B224-41CD-B4E0-E297462320DD}" dt="2023-11-24T08:50:40.221" v="84367"/>
          <ac:spMkLst>
            <pc:docMk/>
            <pc:sldMk cId="1033770688" sldId="2147478572"/>
            <ac:spMk id="553" creationId="{56EBF67F-79A3-A2C4-5B9E-9C3785DFBF0C}"/>
          </ac:spMkLst>
        </pc:spChg>
        <pc:spChg chg="add del mod">
          <ac:chgData name="Steiner Andreas 6206 ED" userId="e6377c33-a923-4f14-8587-531c474c7b48" providerId="ADAL" clId="{6ECD27E6-B224-41CD-B4E0-E297462320DD}" dt="2023-11-24T08:50:42.243" v="84522"/>
          <ac:spMkLst>
            <pc:docMk/>
            <pc:sldMk cId="1033770688" sldId="2147478572"/>
            <ac:spMk id="554" creationId="{E6FEF5DC-166A-D914-7222-02B799C390DA}"/>
          </ac:spMkLst>
        </pc:spChg>
        <pc:spChg chg="add del mod">
          <ac:chgData name="Steiner Andreas 6206 ED" userId="e6377c33-a923-4f14-8587-531c474c7b48" providerId="ADAL" clId="{6ECD27E6-B224-41CD-B4E0-E297462320DD}" dt="2023-11-24T08:50:44.347" v="84677"/>
          <ac:spMkLst>
            <pc:docMk/>
            <pc:sldMk cId="1033770688" sldId="2147478572"/>
            <ac:spMk id="555" creationId="{040388D2-35C6-9B1C-D717-08DCD278C3A5}"/>
          </ac:spMkLst>
        </pc:spChg>
        <pc:spChg chg="add del mod">
          <ac:chgData name="Steiner Andreas 6206 ED" userId="e6377c33-a923-4f14-8587-531c474c7b48" providerId="ADAL" clId="{6ECD27E6-B224-41CD-B4E0-E297462320DD}" dt="2023-11-24T08:50:46.463" v="84832"/>
          <ac:spMkLst>
            <pc:docMk/>
            <pc:sldMk cId="1033770688" sldId="2147478572"/>
            <ac:spMk id="556" creationId="{90C6D021-1671-0AB1-CBD7-94F89B670204}"/>
          </ac:spMkLst>
        </pc:spChg>
        <pc:spChg chg="add del mod">
          <ac:chgData name="Steiner Andreas 6206 ED" userId="e6377c33-a923-4f14-8587-531c474c7b48" providerId="ADAL" clId="{6ECD27E6-B224-41CD-B4E0-E297462320DD}" dt="2023-11-24T08:50:48.611" v="84987"/>
          <ac:spMkLst>
            <pc:docMk/>
            <pc:sldMk cId="1033770688" sldId="2147478572"/>
            <ac:spMk id="557" creationId="{845A2B55-4BE3-1EF3-3DCA-72B1875E1708}"/>
          </ac:spMkLst>
        </pc:spChg>
        <pc:spChg chg="add del mod">
          <ac:chgData name="Steiner Andreas 6206 ED" userId="e6377c33-a923-4f14-8587-531c474c7b48" providerId="ADAL" clId="{6ECD27E6-B224-41CD-B4E0-E297462320DD}" dt="2023-11-24T08:50:50.709" v="85142"/>
          <ac:spMkLst>
            <pc:docMk/>
            <pc:sldMk cId="1033770688" sldId="2147478572"/>
            <ac:spMk id="558" creationId="{CE163E9F-9702-A173-04F4-5DE55BA54B44}"/>
          </ac:spMkLst>
        </pc:spChg>
        <pc:spChg chg="add del mod">
          <ac:chgData name="Steiner Andreas 6206 ED" userId="e6377c33-a923-4f14-8587-531c474c7b48" providerId="ADAL" clId="{6ECD27E6-B224-41CD-B4E0-E297462320DD}" dt="2023-11-24T08:50:52.854" v="85297"/>
          <ac:spMkLst>
            <pc:docMk/>
            <pc:sldMk cId="1033770688" sldId="2147478572"/>
            <ac:spMk id="559" creationId="{83F1CF96-41B8-B92A-44D4-E1329FD169E8}"/>
          </ac:spMkLst>
        </pc:spChg>
        <pc:spChg chg="add del mod">
          <ac:chgData name="Steiner Andreas 6206 ED" userId="e6377c33-a923-4f14-8587-531c474c7b48" providerId="ADAL" clId="{6ECD27E6-B224-41CD-B4E0-E297462320DD}" dt="2023-11-24T08:50:54.777" v="85452"/>
          <ac:spMkLst>
            <pc:docMk/>
            <pc:sldMk cId="1033770688" sldId="2147478572"/>
            <ac:spMk id="560" creationId="{E5189A12-7ED7-A69E-48D9-57B1DDD36FA3}"/>
          </ac:spMkLst>
        </pc:spChg>
        <pc:spChg chg="add del mod">
          <ac:chgData name="Steiner Andreas 6206 ED" userId="e6377c33-a923-4f14-8587-531c474c7b48" providerId="ADAL" clId="{6ECD27E6-B224-41CD-B4E0-E297462320DD}" dt="2023-11-24T08:50:56.697" v="85607"/>
          <ac:spMkLst>
            <pc:docMk/>
            <pc:sldMk cId="1033770688" sldId="2147478572"/>
            <ac:spMk id="561" creationId="{51FF1FBC-3302-2A66-1FC6-52F8AEB17A89}"/>
          </ac:spMkLst>
        </pc:spChg>
        <pc:spChg chg="add del mod">
          <ac:chgData name="Steiner Andreas 6206 ED" userId="e6377c33-a923-4f14-8587-531c474c7b48" providerId="ADAL" clId="{6ECD27E6-B224-41CD-B4E0-E297462320DD}" dt="2023-11-24T08:50:58.824" v="85762"/>
          <ac:spMkLst>
            <pc:docMk/>
            <pc:sldMk cId="1033770688" sldId="2147478572"/>
            <ac:spMk id="562" creationId="{8BE3893B-027C-6839-C5E0-951F29272018}"/>
          </ac:spMkLst>
        </pc:spChg>
        <pc:spChg chg="add del mod">
          <ac:chgData name="Steiner Andreas 6206 ED" userId="e6377c33-a923-4f14-8587-531c474c7b48" providerId="ADAL" clId="{6ECD27E6-B224-41CD-B4E0-E297462320DD}" dt="2023-11-24T08:51:00.840" v="85917"/>
          <ac:spMkLst>
            <pc:docMk/>
            <pc:sldMk cId="1033770688" sldId="2147478572"/>
            <ac:spMk id="563" creationId="{C55DA0D6-57E3-FEE0-F1E7-3BF81B1DBDAF}"/>
          </ac:spMkLst>
        </pc:spChg>
        <pc:spChg chg="add del mod">
          <ac:chgData name="Steiner Andreas 6206 ED" userId="e6377c33-a923-4f14-8587-531c474c7b48" providerId="ADAL" clId="{6ECD27E6-B224-41CD-B4E0-E297462320DD}" dt="2023-11-24T08:51:02.811" v="86072"/>
          <ac:spMkLst>
            <pc:docMk/>
            <pc:sldMk cId="1033770688" sldId="2147478572"/>
            <ac:spMk id="564" creationId="{693A0892-BE78-948E-D26C-8D4E43AB7F1E}"/>
          </ac:spMkLst>
        </pc:spChg>
        <pc:spChg chg="add del mod">
          <ac:chgData name="Steiner Andreas 6206 ED" userId="e6377c33-a923-4f14-8587-531c474c7b48" providerId="ADAL" clId="{6ECD27E6-B224-41CD-B4E0-E297462320DD}" dt="2023-11-24T08:51:04.674" v="86227"/>
          <ac:spMkLst>
            <pc:docMk/>
            <pc:sldMk cId="1033770688" sldId="2147478572"/>
            <ac:spMk id="565" creationId="{CE87B423-7FE3-041D-75E5-3414F560E538}"/>
          </ac:spMkLst>
        </pc:spChg>
        <pc:spChg chg="add del mod">
          <ac:chgData name="Steiner Andreas 6206 ED" userId="e6377c33-a923-4f14-8587-531c474c7b48" providerId="ADAL" clId="{6ECD27E6-B224-41CD-B4E0-E297462320DD}" dt="2023-11-24T08:51:06.593" v="86382"/>
          <ac:spMkLst>
            <pc:docMk/>
            <pc:sldMk cId="1033770688" sldId="2147478572"/>
            <ac:spMk id="566" creationId="{F0325D0D-6134-9911-C56B-8C910866DC7E}"/>
          </ac:spMkLst>
        </pc:spChg>
        <pc:spChg chg="add del mod">
          <ac:chgData name="Steiner Andreas 6206 ED" userId="e6377c33-a923-4f14-8587-531c474c7b48" providerId="ADAL" clId="{6ECD27E6-B224-41CD-B4E0-E297462320DD}" dt="2023-11-24T08:51:08.567" v="86537"/>
          <ac:spMkLst>
            <pc:docMk/>
            <pc:sldMk cId="1033770688" sldId="2147478572"/>
            <ac:spMk id="567" creationId="{93C887BE-06BE-4761-C281-AD1A0C66993B}"/>
          </ac:spMkLst>
        </pc:spChg>
        <pc:spChg chg="add del mod">
          <ac:chgData name="Steiner Andreas 6206 ED" userId="e6377c33-a923-4f14-8587-531c474c7b48" providerId="ADAL" clId="{6ECD27E6-B224-41CD-B4E0-E297462320DD}" dt="2023-11-24T08:51:10.597" v="86692"/>
          <ac:spMkLst>
            <pc:docMk/>
            <pc:sldMk cId="1033770688" sldId="2147478572"/>
            <ac:spMk id="568" creationId="{D5C95A2F-B689-A0E3-3CCD-D73208AFF975}"/>
          </ac:spMkLst>
        </pc:spChg>
        <pc:spChg chg="add del mod">
          <ac:chgData name="Steiner Andreas 6206 ED" userId="e6377c33-a923-4f14-8587-531c474c7b48" providerId="ADAL" clId="{6ECD27E6-B224-41CD-B4E0-E297462320DD}" dt="2023-11-24T08:51:12.473" v="86847"/>
          <ac:spMkLst>
            <pc:docMk/>
            <pc:sldMk cId="1033770688" sldId="2147478572"/>
            <ac:spMk id="569" creationId="{F638A749-6DBD-2369-A931-9737E1E73061}"/>
          </ac:spMkLst>
        </pc:spChg>
        <pc:spChg chg="add del mod">
          <ac:chgData name="Steiner Andreas 6206 ED" userId="e6377c33-a923-4f14-8587-531c474c7b48" providerId="ADAL" clId="{6ECD27E6-B224-41CD-B4E0-E297462320DD}" dt="2023-11-24T08:51:14.615" v="87002"/>
          <ac:spMkLst>
            <pc:docMk/>
            <pc:sldMk cId="1033770688" sldId="2147478572"/>
            <ac:spMk id="570" creationId="{5948DBC1-E1C5-7610-FD6F-4D6BEB504482}"/>
          </ac:spMkLst>
        </pc:spChg>
        <pc:spChg chg="add del mod">
          <ac:chgData name="Steiner Andreas 6206 ED" userId="e6377c33-a923-4f14-8587-531c474c7b48" providerId="ADAL" clId="{6ECD27E6-B224-41CD-B4E0-E297462320DD}" dt="2023-11-24T08:51:16.777" v="87157"/>
          <ac:spMkLst>
            <pc:docMk/>
            <pc:sldMk cId="1033770688" sldId="2147478572"/>
            <ac:spMk id="571" creationId="{DBBDEC06-AD40-F245-930D-0B50E8F26615}"/>
          </ac:spMkLst>
        </pc:spChg>
        <pc:spChg chg="add del mod">
          <ac:chgData name="Steiner Andreas 6206 ED" userId="e6377c33-a923-4f14-8587-531c474c7b48" providerId="ADAL" clId="{6ECD27E6-B224-41CD-B4E0-E297462320DD}" dt="2023-11-24T08:51:18.684" v="87312"/>
          <ac:spMkLst>
            <pc:docMk/>
            <pc:sldMk cId="1033770688" sldId="2147478572"/>
            <ac:spMk id="572" creationId="{A94DA6D6-EFCA-C9B6-CDFA-DA47A0E51C8C}"/>
          </ac:spMkLst>
        </pc:spChg>
        <pc:spChg chg="add del mod">
          <ac:chgData name="Steiner Andreas 6206 ED" userId="e6377c33-a923-4f14-8587-531c474c7b48" providerId="ADAL" clId="{6ECD27E6-B224-41CD-B4E0-E297462320DD}" dt="2023-11-24T08:51:20.710" v="87467"/>
          <ac:spMkLst>
            <pc:docMk/>
            <pc:sldMk cId="1033770688" sldId="2147478572"/>
            <ac:spMk id="573" creationId="{442CB95A-616F-DE03-8376-ABA81A568397}"/>
          </ac:spMkLst>
        </pc:spChg>
        <pc:spChg chg="add del mod">
          <ac:chgData name="Steiner Andreas 6206 ED" userId="e6377c33-a923-4f14-8587-531c474c7b48" providerId="ADAL" clId="{6ECD27E6-B224-41CD-B4E0-E297462320DD}" dt="2023-11-24T08:51:22.645" v="87622"/>
          <ac:spMkLst>
            <pc:docMk/>
            <pc:sldMk cId="1033770688" sldId="2147478572"/>
            <ac:spMk id="574" creationId="{A769EEA1-EB5C-1DDB-0AA4-9045D38CAD1C}"/>
          </ac:spMkLst>
        </pc:spChg>
        <pc:spChg chg="add del mod">
          <ac:chgData name="Steiner Andreas 6206 ED" userId="e6377c33-a923-4f14-8587-531c474c7b48" providerId="ADAL" clId="{6ECD27E6-B224-41CD-B4E0-E297462320DD}" dt="2023-11-24T08:51:24.609" v="87777"/>
          <ac:spMkLst>
            <pc:docMk/>
            <pc:sldMk cId="1033770688" sldId="2147478572"/>
            <ac:spMk id="575" creationId="{30DF3B69-58B9-60BA-C756-E4EDD47D24DF}"/>
          </ac:spMkLst>
        </pc:spChg>
        <pc:spChg chg="add del mod">
          <ac:chgData name="Steiner Andreas 6206 ED" userId="e6377c33-a923-4f14-8587-531c474c7b48" providerId="ADAL" clId="{6ECD27E6-B224-41CD-B4E0-E297462320DD}" dt="2023-11-24T08:51:26.490" v="87932"/>
          <ac:spMkLst>
            <pc:docMk/>
            <pc:sldMk cId="1033770688" sldId="2147478572"/>
            <ac:spMk id="576" creationId="{8B03BBD2-3DC7-3B08-873F-0CB110353683}"/>
          </ac:spMkLst>
        </pc:spChg>
        <pc:spChg chg="add del mod">
          <ac:chgData name="Steiner Andreas 6206 ED" userId="e6377c33-a923-4f14-8587-531c474c7b48" providerId="ADAL" clId="{6ECD27E6-B224-41CD-B4E0-E297462320DD}" dt="2023-11-24T08:51:28.377" v="88087"/>
          <ac:spMkLst>
            <pc:docMk/>
            <pc:sldMk cId="1033770688" sldId="2147478572"/>
            <ac:spMk id="577" creationId="{8F1D71DD-CAA5-06CC-3E8E-8D09C122D109}"/>
          </ac:spMkLst>
        </pc:spChg>
        <pc:spChg chg="add del mod">
          <ac:chgData name="Steiner Andreas 6206 ED" userId="e6377c33-a923-4f14-8587-531c474c7b48" providerId="ADAL" clId="{6ECD27E6-B224-41CD-B4E0-E297462320DD}" dt="2023-11-24T08:51:30.308" v="88242"/>
          <ac:spMkLst>
            <pc:docMk/>
            <pc:sldMk cId="1033770688" sldId="2147478572"/>
            <ac:spMk id="578" creationId="{4BD7619E-4479-B81C-76C6-570EB537DA6B}"/>
          </ac:spMkLst>
        </pc:spChg>
        <pc:spChg chg="add del mod">
          <ac:chgData name="Steiner Andreas 6206 ED" userId="e6377c33-a923-4f14-8587-531c474c7b48" providerId="ADAL" clId="{6ECD27E6-B224-41CD-B4E0-E297462320DD}" dt="2023-11-24T08:51:32.482" v="88397"/>
          <ac:spMkLst>
            <pc:docMk/>
            <pc:sldMk cId="1033770688" sldId="2147478572"/>
            <ac:spMk id="579" creationId="{76971306-5C9F-797C-CC53-AA47BC301905}"/>
          </ac:spMkLst>
        </pc:spChg>
        <pc:spChg chg="add del mod">
          <ac:chgData name="Steiner Andreas 6206 ED" userId="e6377c33-a923-4f14-8587-531c474c7b48" providerId="ADAL" clId="{6ECD27E6-B224-41CD-B4E0-E297462320DD}" dt="2023-11-24T08:51:34.477" v="88552"/>
          <ac:spMkLst>
            <pc:docMk/>
            <pc:sldMk cId="1033770688" sldId="2147478572"/>
            <ac:spMk id="580" creationId="{648FD04F-B62A-A86C-A099-DA931AB1D1B5}"/>
          </ac:spMkLst>
        </pc:spChg>
        <pc:spChg chg="add del mod">
          <ac:chgData name="Steiner Andreas 6206 ED" userId="e6377c33-a923-4f14-8587-531c474c7b48" providerId="ADAL" clId="{6ECD27E6-B224-41CD-B4E0-E297462320DD}" dt="2023-11-24T08:51:36.357" v="88707"/>
          <ac:spMkLst>
            <pc:docMk/>
            <pc:sldMk cId="1033770688" sldId="2147478572"/>
            <ac:spMk id="581" creationId="{DB92E904-3C32-CCC1-9A57-9D27F234B0DE}"/>
          </ac:spMkLst>
        </pc:spChg>
        <pc:spChg chg="add del mod">
          <ac:chgData name="Steiner Andreas 6206 ED" userId="e6377c33-a923-4f14-8587-531c474c7b48" providerId="ADAL" clId="{6ECD27E6-B224-41CD-B4E0-E297462320DD}" dt="2023-11-24T08:51:38.301" v="88862"/>
          <ac:spMkLst>
            <pc:docMk/>
            <pc:sldMk cId="1033770688" sldId="2147478572"/>
            <ac:spMk id="582" creationId="{7BBF9C78-90D2-C327-4F90-796E6B66C7D9}"/>
          </ac:spMkLst>
        </pc:spChg>
        <pc:spChg chg="add del mod">
          <ac:chgData name="Steiner Andreas 6206 ED" userId="e6377c33-a923-4f14-8587-531c474c7b48" providerId="ADAL" clId="{6ECD27E6-B224-41CD-B4E0-E297462320DD}" dt="2023-11-24T08:51:40.233" v="89017"/>
          <ac:spMkLst>
            <pc:docMk/>
            <pc:sldMk cId="1033770688" sldId="2147478572"/>
            <ac:spMk id="583" creationId="{57B01251-867C-35F5-989B-D19CA86E6D3A}"/>
          </ac:spMkLst>
        </pc:spChg>
        <pc:spChg chg="add del mod">
          <ac:chgData name="Steiner Andreas 6206 ED" userId="e6377c33-a923-4f14-8587-531c474c7b48" providerId="ADAL" clId="{6ECD27E6-B224-41CD-B4E0-E297462320DD}" dt="2023-11-24T08:51:42.199" v="89172"/>
          <ac:spMkLst>
            <pc:docMk/>
            <pc:sldMk cId="1033770688" sldId="2147478572"/>
            <ac:spMk id="584" creationId="{A9DC79E8-788E-AEC7-CD6A-9A08265AF987}"/>
          </ac:spMkLst>
        </pc:spChg>
        <pc:spChg chg="add del mod">
          <ac:chgData name="Steiner Andreas 6206 ED" userId="e6377c33-a923-4f14-8587-531c474c7b48" providerId="ADAL" clId="{6ECD27E6-B224-41CD-B4E0-E297462320DD}" dt="2023-11-24T08:51:44.297" v="89327"/>
          <ac:spMkLst>
            <pc:docMk/>
            <pc:sldMk cId="1033770688" sldId="2147478572"/>
            <ac:spMk id="585" creationId="{BC8410C5-FC98-6440-9B2C-CF0F1A51D071}"/>
          </ac:spMkLst>
        </pc:spChg>
        <pc:spChg chg="add del mod">
          <ac:chgData name="Steiner Andreas 6206 ED" userId="e6377c33-a923-4f14-8587-531c474c7b48" providerId="ADAL" clId="{6ECD27E6-B224-41CD-B4E0-E297462320DD}" dt="2023-11-24T08:51:46.312" v="89482"/>
          <ac:spMkLst>
            <pc:docMk/>
            <pc:sldMk cId="1033770688" sldId="2147478572"/>
            <ac:spMk id="586" creationId="{2AB48B3C-3E25-64DE-D990-4E314B40A67B}"/>
          </ac:spMkLst>
        </pc:spChg>
        <pc:spChg chg="add del mod">
          <ac:chgData name="Steiner Andreas 6206 ED" userId="e6377c33-a923-4f14-8587-531c474c7b48" providerId="ADAL" clId="{6ECD27E6-B224-41CD-B4E0-E297462320DD}" dt="2023-11-24T08:51:48.211" v="89637"/>
          <ac:spMkLst>
            <pc:docMk/>
            <pc:sldMk cId="1033770688" sldId="2147478572"/>
            <ac:spMk id="587" creationId="{212AAC25-1E8D-03A1-DCD8-EFE8B666A28F}"/>
          </ac:spMkLst>
        </pc:spChg>
        <pc:spChg chg="add del mod">
          <ac:chgData name="Steiner Andreas 6206 ED" userId="e6377c33-a923-4f14-8587-531c474c7b48" providerId="ADAL" clId="{6ECD27E6-B224-41CD-B4E0-E297462320DD}" dt="2023-11-24T08:51:50.124" v="89792"/>
          <ac:spMkLst>
            <pc:docMk/>
            <pc:sldMk cId="1033770688" sldId="2147478572"/>
            <ac:spMk id="588" creationId="{407E0146-6922-FD21-B224-62EF247C0973}"/>
          </ac:spMkLst>
        </pc:spChg>
        <pc:spChg chg="add del mod">
          <ac:chgData name="Steiner Andreas 6206 ED" userId="e6377c33-a923-4f14-8587-531c474c7b48" providerId="ADAL" clId="{6ECD27E6-B224-41CD-B4E0-E297462320DD}" dt="2023-11-24T08:51:52.047" v="89947"/>
          <ac:spMkLst>
            <pc:docMk/>
            <pc:sldMk cId="1033770688" sldId="2147478572"/>
            <ac:spMk id="589" creationId="{E899D700-FDBD-3D22-BB7B-BCFD7ED7FEFE}"/>
          </ac:spMkLst>
        </pc:spChg>
        <pc:spChg chg="add del mod">
          <ac:chgData name="Steiner Andreas 6206 ED" userId="e6377c33-a923-4f14-8587-531c474c7b48" providerId="ADAL" clId="{6ECD27E6-B224-41CD-B4E0-E297462320DD}" dt="2023-11-24T08:51:53.978" v="90102"/>
          <ac:spMkLst>
            <pc:docMk/>
            <pc:sldMk cId="1033770688" sldId="2147478572"/>
            <ac:spMk id="590" creationId="{5C84D2B5-FCF6-FEB1-A286-A1FE9F783830}"/>
          </ac:spMkLst>
        </pc:spChg>
        <pc:spChg chg="add del mod">
          <ac:chgData name="Steiner Andreas 6206 ED" userId="e6377c33-a923-4f14-8587-531c474c7b48" providerId="ADAL" clId="{6ECD27E6-B224-41CD-B4E0-E297462320DD}" dt="2023-11-24T08:51:56.012" v="90257"/>
          <ac:spMkLst>
            <pc:docMk/>
            <pc:sldMk cId="1033770688" sldId="2147478572"/>
            <ac:spMk id="591" creationId="{6E87A2F9-E41A-3391-B339-11EEF91E8ECD}"/>
          </ac:spMkLst>
        </pc:spChg>
        <pc:spChg chg="add del mod">
          <ac:chgData name="Steiner Andreas 6206 ED" userId="e6377c33-a923-4f14-8587-531c474c7b48" providerId="ADAL" clId="{6ECD27E6-B224-41CD-B4E0-E297462320DD}" dt="2023-11-24T08:51:57.917" v="90412"/>
          <ac:spMkLst>
            <pc:docMk/>
            <pc:sldMk cId="1033770688" sldId="2147478572"/>
            <ac:spMk id="592" creationId="{4A640C21-A5E6-8370-BE0E-94FEE6687AB3}"/>
          </ac:spMkLst>
        </pc:spChg>
        <pc:spChg chg="add del mod">
          <ac:chgData name="Steiner Andreas 6206 ED" userId="e6377c33-a923-4f14-8587-531c474c7b48" providerId="ADAL" clId="{6ECD27E6-B224-41CD-B4E0-E297462320DD}" dt="2023-11-24T08:52:00.032" v="90567"/>
          <ac:spMkLst>
            <pc:docMk/>
            <pc:sldMk cId="1033770688" sldId="2147478572"/>
            <ac:spMk id="593" creationId="{D34F4CFB-E245-6AEF-DC53-F4C7DC3D520F}"/>
          </ac:spMkLst>
        </pc:spChg>
        <pc:spChg chg="add del mod">
          <ac:chgData name="Steiner Andreas 6206 ED" userId="e6377c33-a923-4f14-8587-531c474c7b48" providerId="ADAL" clId="{6ECD27E6-B224-41CD-B4E0-E297462320DD}" dt="2023-11-24T08:52:02.009" v="90722"/>
          <ac:spMkLst>
            <pc:docMk/>
            <pc:sldMk cId="1033770688" sldId="2147478572"/>
            <ac:spMk id="594" creationId="{FB47041D-43B0-FBCE-3486-723606E8C89B}"/>
          </ac:spMkLst>
        </pc:spChg>
        <pc:spChg chg="add del mod">
          <ac:chgData name="Steiner Andreas 6206 ED" userId="e6377c33-a923-4f14-8587-531c474c7b48" providerId="ADAL" clId="{6ECD27E6-B224-41CD-B4E0-E297462320DD}" dt="2023-11-24T08:52:03.949" v="90877"/>
          <ac:spMkLst>
            <pc:docMk/>
            <pc:sldMk cId="1033770688" sldId="2147478572"/>
            <ac:spMk id="595" creationId="{5F5F495C-CD5E-619E-3378-C14C089A5100}"/>
          </ac:spMkLst>
        </pc:spChg>
        <pc:spChg chg="add del mod">
          <ac:chgData name="Steiner Andreas 6206 ED" userId="e6377c33-a923-4f14-8587-531c474c7b48" providerId="ADAL" clId="{6ECD27E6-B224-41CD-B4E0-E297462320DD}" dt="2023-11-24T08:52:06.072" v="91032"/>
          <ac:spMkLst>
            <pc:docMk/>
            <pc:sldMk cId="1033770688" sldId="2147478572"/>
            <ac:spMk id="596" creationId="{88D293FB-9261-7C4F-DBDD-B046FC1930EA}"/>
          </ac:spMkLst>
        </pc:spChg>
        <pc:spChg chg="add del mod">
          <ac:chgData name="Steiner Andreas 6206 ED" userId="e6377c33-a923-4f14-8587-531c474c7b48" providerId="ADAL" clId="{6ECD27E6-B224-41CD-B4E0-E297462320DD}" dt="2023-11-24T08:52:08.103" v="91187"/>
          <ac:spMkLst>
            <pc:docMk/>
            <pc:sldMk cId="1033770688" sldId="2147478572"/>
            <ac:spMk id="597" creationId="{42C3F330-8AD5-8AB8-7F28-F948448CF265}"/>
          </ac:spMkLst>
        </pc:spChg>
        <pc:spChg chg="add del mod">
          <ac:chgData name="Steiner Andreas 6206 ED" userId="e6377c33-a923-4f14-8587-531c474c7b48" providerId="ADAL" clId="{6ECD27E6-B224-41CD-B4E0-E297462320DD}" dt="2023-11-24T08:52:09.984" v="91342"/>
          <ac:spMkLst>
            <pc:docMk/>
            <pc:sldMk cId="1033770688" sldId="2147478572"/>
            <ac:spMk id="598" creationId="{BF2F6545-5344-7440-CC9F-5C646D1E0974}"/>
          </ac:spMkLst>
        </pc:spChg>
        <pc:spChg chg="add del mod">
          <ac:chgData name="Steiner Andreas 6206 ED" userId="e6377c33-a923-4f14-8587-531c474c7b48" providerId="ADAL" clId="{6ECD27E6-B224-41CD-B4E0-E297462320DD}" dt="2023-11-24T08:52:11.854" v="91497"/>
          <ac:spMkLst>
            <pc:docMk/>
            <pc:sldMk cId="1033770688" sldId="2147478572"/>
            <ac:spMk id="599" creationId="{0BD4BD75-B60D-F9FC-40C8-54A15F085656}"/>
          </ac:spMkLst>
        </pc:spChg>
        <pc:spChg chg="add del mod">
          <ac:chgData name="Steiner Andreas 6206 ED" userId="e6377c33-a923-4f14-8587-531c474c7b48" providerId="ADAL" clId="{6ECD27E6-B224-41CD-B4E0-E297462320DD}" dt="2023-11-24T08:52:13.754" v="91652"/>
          <ac:spMkLst>
            <pc:docMk/>
            <pc:sldMk cId="1033770688" sldId="2147478572"/>
            <ac:spMk id="600" creationId="{34393412-15E6-5B72-3EDB-990DBFF49C13}"/>
          </ac:spMkLst>
        </pc:spChg>
        <pc:spChg chg="add del mod">
          <ac:chgData name="Steiner Andreas 6206 ED" userId="e6377c33-a923-4f14-8587-531c474c7b48" providerId="ADAL" clId="{6ECD27E6-B224-41CD-B4E0-E297462320DD}" dt="2023-11-24T08:52:15.695" v="91807"/>
          <ac:spMkLst>
            <pc:docMk/>
            <pc:sldMk cId="1033770688" sldId="2147478572"/>
            <ac:spMk id="601" creationId="{D6AE990D-4B4F-BD70-DFAA-B2B67D00F262}"/>
          </ac:spMkLst>
        </pc:spChg>
        <pc:spChg chg="add del mod">
          <ac:chgData name="Steiner Andreas 6206 ED" userId="e6377c33-a923-4f14-8587-531c474c7b48" providerId="ADAL" clId="{6ECD27E6-B224-41CD-B4E0-E297462320DD}" dt="2023-11-24T08:52:17.823" v="91962"/>
          <ac:spMkLst>
            <pc:docMk/>
            <pc:sldMk cId="1033770688" sldId="2147478572"/>
            <ac:spMk id="602" creationId="{D490E982-39BC-9395-0C97-8A48C59C5663}"/>
          </ac:spMkLst>
        </pc:spChg>
        <pc:spChg chg="add del mod">
          <ac:chgData name="Steiner Andreas 6206 ED" userId="e6377c33-a923-4f14-8587-531c474c7b48" providerId="ADAL" clId="{6ECD27E6-B224-41CD-B4E0-E297462320DD}" dt="2023-11-24T08:52:19.790" v="92117"/>
          <ac:spMkLst>
            <pc:docMk/>
            <pc:sldMk cId="1033770688" sldId="2147478572"/>
            <ac:spMk id="603" creationId="{A55337FD-12A2-6052-B03A-11411300D028}"/>
          </ac:spMkLst>
        </pc:spChg>
        <pc:spChg chg="add del mod">
          <ac:chgData name="Steiner Andreas 6206 ED" userId="e6377c33-a923-4f14-8587-531c474c7b48" providerId="ADAL" clId="{6ECD27E6-B224-41CD-B4E0-E297462320DD}" dt="2023-11-24T08:52:21.660" v="92272"/>
          <ac:spMkLst>
            <pc:docMk/>
            <pc:sldMk cId="1033770688" sldId="2147478572"/>
            <ac:spMk id="604" creationId="{9FB10F94-1788-97A7-8379-3399A8A11AC2}"/>
          </ac:spMkLst>
        </pc:spChg>
        <pc:spChg chg="add del mod">
          <ac:chgData name="Steiner Andreas 6206 ED" userId="e6377c33-a923-4f14-8587-531c474c7b48" providerId="ADAL" clId="{6ECD27E6-B224-41CD-B4E0-E297462320DD}" dt="2023-11-24T08:52:23.696" v="92427"/>
          <ac:spMkLst>
            <pc:docMk/>
            <pc:sldMk cId="1033770688" sldId="2147478572"/>
            <ac:spMk id="605" creationId="{B7CF7907-083E-DB98-C8E3-E2058B9A1E66}"/>
          </ac:spMkLst>
        </pc:spChg>
        <pc:spChg chg="add del mod">
          <ac:chgData name="Steiner Andreas 6206 ED" userId="e6377c33-a923-4f14-8587-531c474c7b48" providerId="ADAL" clId="{6ECD27E6-B224-41CD-B4E0-E297462320DD}" dt="2023-11-24T08:52:25.623" v="92582"/>
          <ac:spMkLst>
            <pc:docMk/>
            <pc:sldMk cId="1033770688" sldId="2147478572"/>
            <ac:spMk id="606" creationId="{FB462BE1-60E3-ACDD-9602-B200A45D11F9}"/>
          </ac:spMkLst>
        </pc:spChg>
        <pc:spChg chg="add del mod">
          <ac:chgData name="Steiner Andreas 6206 ED" userId="e6377c33-a923-4f14-8587-531c474c7b48" providerId="ADAL" clId="{6ECD27E6-B224-41CD-B4E0-E297462320DD}" dt="2023-11-24T08:52:27.483" v="92737"/>
          <ac:spMkLst>
            <pc:docMk/>
            <pc:sldMk cId="1033770688" sldId="2147478572"/>
            <ac:spMk id="607" creationId="{183BF90A-2CAC-8871-9581-1C713179BAEF}"/>
          </ac:spMkLst>
        </pc:spChg>
        <pc:spChg chg="add del mod">
          <ac:chgData name="Steiner Andreas 6206 ED" userId="e6377c33-a923-4f14-8587-531c474c7b48" providerId="ADAL" clId="{6ECD27E6-B224-41CD-B4E0-E297462320DD}" dt="2023-11-24T08:52:29.507" v="92892"/>
          <ac:spMkLst>
            <pc:docMk/>
            <pc:sldMk cId="1033770688" sldId="2147478572"/>
            <ac:spMk id="608" creationId="{9444529E-3051-F209-5182-8E80E45A528A}"/>
          </ac:spMkLst>
        </pc:spChg>
        <pc:spChg chg="add del mod">
          <ac:chgData name="Steiner Andreas 6206 ED" userId="e6377c33-a923-4f14-8587-531c474c7b48" providerId="ADAL" clId="{6ECD27E6-B224-41CD-B4E0-E297462320DD}" dt="2023-11-24T08:52:31.492" v="93047"/>
          <ac:spMkLst>
            <pc:docMk/>
            <pc:sldMk cId="1033770688" sldId="2147478572"/>
            <ac:spMk id="609" creationId="{D759EAC9-2E5E-94BA-AC6F-157F1CAC7E9D}"/>
          </ac:spMkLst>
        </pc:spChg>
        <pc:spChg chg="add del mod">
          <ac:chgData name="Steiner Andreas 6206 ED" userId="e6377c33-a923-4f14-8587-531c474c7b48" providerId="ADAL" clId="{6ECD27E6-B224-41CD-B4E0-E297462320DD}" dt="2023-11-24T08:52:33.425" v="93202"/>
          <ac:spMkLst>
            <pc:docMk/>
            <pc:sldMk cId="1033770688" sldId="2147478572"/>
            <ac:spMk id="610" creationId="{99CAD6DA-F13B-B2A6-40C9-78D363DAD69A}"/>
          </ac:spMkLst>
        </pc:spChg>
        <pc:spChg chg="add del mod">
          <ac:chgData name="Steiner Andreas 6206 ED" userId="e6377c33-a923-4f14-8587-531c474c7b48" providerId="ADAL" clId="{6ECD27E6-B224-41CD-B4E0-E297462320DD}" dt="2023-11-24T08:52:35.304" v="93357"/>
          <ac:spMkLst>
            <pc:docMk/>
            <pc:sldMk cId="1033770688" sldId="2147478572"/>
            <ac:spMk id="611" creationId="{8F954870-3524-C722-577F-C8DCDB0A3A91}"/>
          </ac:spMkLst>
        </pc:spChg>
        <pc:spChg chg="add del mod">
          <ac:chgData name="Steiner Andreas 6206 ED" userId="e6377c33-a923-4f14-8587-531c474c7b48" providerId="ADAL" clId="{6ECD27E6-B224-41CD-B4E0-E297462320DD}" dt="2023-11-24T08:52:37.233" v="93512"/>
          <ac:spMkLst>
            <pc:docMk/>
            <pc:sldMk cId="1033770688" sldId="2147478572"/>
            <ac:spMk id="612" creationId="{8E68C129-BD7B-59B2-8FB8-716F4B18995A}"/>
          </ac:spMkLst>
        </pc:spChg>
        <pc:spChg chg="add del mod">
          <ac:chgData name="Steiner Andreas 6206 ED" userId="e6377c33-a923-4f14-8587-531c474c7b48" providerId="ADAL" clId="{6ECD27E6-B224-41CD-B4E0-E297462320DD}" dt="2023-11-24T08:52:39.107" v="93667"/>
          <ac:spMkLst>
            <pc:docMk/>
            <pc:sldMk cId="1033770688" sldId="2147478572"/>
            <ac:spMk id="613" creationId="{A370F794-0972-E084-1964-B5B898F5D396}"/>
          </ac:spMkLst>
        </pc:spChg>
        <pc:spChg chg="add del mod">
          <ac:chgData name="Steiner Andreas 6206 ED" userId="e6377c33-a923-4f14-8587-531c474c7b48" providerId="ADAL" clId="{6ECD27E6-B224-41CD-B4E0-E297462320DD}" dt="2023-11-24T08:52:41.157" v="93822"/>
          <ac:spMkLst>
            <pc:docMk/>
            <pc:sldMk cId="1033770688" sldId="2147478572"/>
            <ac:spMk id="614" creationId="{97CC41E3-F7AD-9352-E90F-5CF6F649DCEE}"/>
          </ac:spMkLst>
        </pc:spChg>
        <pc:spChg chg="add del mod">
          <ac:chgData name="Steiner Andreas 6206 ED" userId="e6377c33-a923-4f14-8587-531c474c7b48" providerId="ADAL" clId="{6ECD27E6-B224-41CD-B4E0-E297462320DD}" dt="2023-11-24T08:52:43.138" v="93977"/>
          <ac:spMkLst>
            <pc:docMk/>
            <pc:sldMk cId="1033770688" sldId="2147478572"/>
            <ac:spMk id="615" creationId="{BB6BC37D-D4E0-CD59-C6F2-6C92DF150B94}"/>
          </ac:spMkLst>
        </pc:spChg>
        <pc:spChg chg="add del mod">
          <ac:chgData name="Steiner Andreas 6206 ED" userId="e6377c33-a923-4f14-8587-531c474c7b48" providerId="ADAL" clId="{6ECD27E6-B224-41CD-B4E0-E297462320DD}" dt="2023-11-24T08:52:45.064" v="94132"/>
          <ac:spMkLst>
            <pc:docMk/>
            <pc:sldMk cId="1033770688" sldId="2147478572"/>
            <ac:spMk id="616" creationId="{87B6C97C-2E5A-23D5-D4E9-5B4D71A81F08}"/>
          </ac:spMkLst>
        </pc:spChg>
        <pc:spChg chg="add del mod">
          <ac:chgData name="Steiner Andreas 6206 ED" userId="e6377c33-a923-4f14-8587-531c474c7b48" providerId="ADAL" clId="{6ECD27E6-B224-41CD-B4E0-E297462320DD}" dt="2023-11-24T08:52:47.020" v="94287"/>
          <ac:spMkLst>
            <pc:docMk/>
            <pc:sldMk cId="1033770688" sldId="2147478572"/>
            <ac:spMk id="617" creationId="{0B59E00E-2067-2DB0-B351-EC542715DCCF}"/>
          </ac:spMkLst>
        </pc:spChg>
        <pc:spChg chg="add del mod">
          <ac:chgData name="Steiner Andreas 6206 ED" userId="e6377c33-a923-4f14-8587-531c474c7b48" providerId="ADAL" clId="{6ECD27E6-B224-41CD-B4E0-E297462320DD}" dt="2023-11-24T08:52:49.054" v="94442"/>
          <ac:spMkLst>
            <pc:docMk/>
            <pc:sldMk cId="1033770688" sldId="2147478572"/>
            <ac:spMk id="618" creationId="{00AA1EE3-8EE5-73BC-7691-31C810A79A2C}"/>
          </ac:spMkLst>
        </pc:spChg>
        <pc:spChg chg="add del mod">
          <ac:chgData name="Steiner Andreas 6206 ED" userId="e6377c33-a923-4f14-8587-531c474c7b48" providerId="ADAL" clId="{6ECD27E6-B224-41CD-B4E0-E297462320DD}" dt="2023-11-24T08:52:51.275" v="94597"/>
          <ac:spMkLst>
            <pc:docMk/>
            <pc:sldMk cId="1033770688" sldId="2147478572"/>
            <ac:spMk id="619" creationId="{2010B87C-27E9-3502-13FE-9A27B27E4CD1}"/>
          </ac:spMkLst>
        </pc:spChg>
        <pc:spChg chg="add del mod">
          <ac:chgData name="Steiner Andreas 6206 ED" userId="e6377c33-a923-4f14-8587-531c474c7b48" providerId="ADAL" clId="{6ECD27E6-B224-41CD-B4E0-E297462320DD}" dt="2023-11-24T08:52:53.247" v="94752"/>
          <ac:spMkLst>
            <pc:docMk/>
            <pc:sldMk cId="1033770688" sldId="2147478572"/>
            <ac:spMk id="620" creationId="{1714223E-322E-2A5F-86E9-D699D1346538}"/>
          </ac:spMkLst>
        </pc:spChg>
        <pc:spChg chg="add del mod">
          <ac:chgData name="Steiner Andreas 6206 ED" userId="e6377c33-a923-4f14-8587-531c474c7b48" providerId="ADAL" clId="{6ECD27E6-B224-41CD-B4E0-E297462320DD}" dt="2023-11-24T08:52:55.191" v="94907"/>
          <ac:spMkLst>
            <pc:docMk/>
            <pc:sldMk cId="1033770688" sldId="2147478572"/>
            <ac:spMk id="621" creationId="{568718B4-42DA-8652-7646-0725F5FA513C}"/>
          </ac:spMkLst>
        </pc:spChg>
        <pc:spChg chg="add del mod">
          <ac:chgData name="Steiner Andreas 6206 ED" userId="e6377c33-a923-4f14-8587-531c474c7b48" providerId="ADAL" clId="{6ECD27E6-B224-41CD-B4E0-E297462320DD}" dt="2023-11-24T08:52:57.194" v="95062"/>
          <ac:spMkLst>
            <pc:docMk/>
            <pc:sldMk cId="1033770688" sldId="2147478572"/>
            <ac:spMk id="622" creationId="{1FB0983C-CDA0-9BF9-56F9-272B3AFFC782}"/>
          </ac:spMkLst>
        </pc:spChg>
        <pc:spChg chg="add del mod">
          <ac:chgData name="Steiner Andreas 6206 ED" userId="e6377c33-a923-4f14-8587-531c474c7b48" providerId="ADAL" clId="{6ECD27E6-B224-41CD-B4E0-E297462320DD}" dt="2023-11-24T08:52:59.177" v="95217"/>
          <ac:spMkLst>
            <pc:docMk/>
            <pc:sldMk cId="1033770688" sldId="2147478572"/>
            <ac:spMk id="623" creationId="{376CDF9C-2954-5C94-E7CD-D695452F7754}"/>
          </ac:spMkLst>
        </pc:spChg>
        <pc:spChg chg="add del mod">
          <ac:chgData name="Steiner Andreas 6206 ED" userId="e6377c33-a923-4f14-8587-531c474c7b48" providerId="ADAL" clId="{6ECD27E6-B224-41CD-B4E0-E297462320DD}" dt="2023-11-24T08:53:01.170" v="95372"/>
          <ac:spMkLst>
            <pc:docMk/>
            <pc:sldMk cId="1033770688" sldId="2147478572"/>
            <ac:spMk id="624" creationId="{558DFBC3-FE49-2EF5-09B5-EE910C52E1DA}"/>
          </ac:spMkLst>
        </pc:spChg>
        <pc:spChg chg="add del mod">
          <ac:chgData name="Steiner Andreas 6206 ED" userId="e6377c33-a923-4f14-8587-531c474c7b48" providerId="ADAL" clId="{6ECD27E6-B224-41CD-B4E0-E297462320DD}" dt="2023-11-24T08:53:03.270" v="95527"/>
          <ac:spMkLst>
            <pc:docMk/>
            <pc:sldMk cId="1033770688" sldId="2147478572"/>
            <ac:spMk id="625" creationId="{3E2CCB3E-803C-8C82-CCF8-2D5BE44E4BD2}"/>
          </ac:spMkLst>
        </pc:spChg>
        <pc:spChg chg="add del mod">
          <ac:chgData name="Steiner Andreas 6206 ED" userId="e6377c33-a923-4f14-8587-531c474c7b48" providerId="ADAL" clId="{6ECD27E6-B224-41CD-B4E0-E297462320DD}" dt="2023-11-24T08:53:05.285" v="95682"/>
          <ac:spMkLst>
            <pc:docMk/>
            <pc:sldMk cId="1033770688" sldId="2147478572"/>
            <ac:spMk id="626" creationId="{08747990-0CCD-8B13-650E-6BC46C6706E3}"/>
          </ac:spMkLst>
        </pc:spChg>
        <pc:spChg chg="add del mod">
          <ac:chgData name="Steiner Andreas 6206 ED" userId="e6377c33-a923-4f14-8587-531c474c7b48" providerId="ADAL" clId="{6ECD27E6-B224-41CD-B4E0-E297462320DD}" dt="2023-11-24T08:53:07.144" v="95837"/>
          <ac:spMkLst>
            <pc:docMk/>
            <pc:sldMk cId="1033770688" sldId="2147478572"/>
            <ac:spMk id="627" creationId="{8BEE410B-E9EB-8FCE-9CE0-DCD311AE4AD2}"/>
          </ac:spMkLst>
        </pc:spChg>
        <pc:spChg chg="add del mod">
          <ac:chgData name="Steiner Andreas 6206 ED" userId="e6377c33-a923-4f14-8587-531c474c7b48" providerId="ADAL" clId="{6ECD27E6-B224-41CD-B4E0-E297462320DD}" dt="2023-11-24T08:53:09.093" v="95992"/>
          <ac:spMkLst>
            <pc:docMk/>
            <pc:sldMk cId="1033770688" sldId="2147478572"/>
            <ac:spMk id="628" creationId="{EC2790F7-C2D7-2CA9-2B26-A4EEF02F46B1}"/>
          </ac:spMkLst>
        </pc:spChg>
        <pc:spChg chg="add del mod">
          <ac:chgData name="Steiner Andreas 6206 ED" userId="e6377c33-a923-4f14-8587-531c474c7b48" providerId="ADAL" clId="{6ECD27E6-B224-41CD-B4E0-E297462320DD}" dt="2023-11-24T08:53:11.022" v="96147"/>
          <ac:spMkLst>
            <pc:docMk/>
            <pc:sldMk cId="1033770688" sldId="2147478572"/>
            <ac:spMk id="629" creationId="{FD6EF0E1-9F1C-59FC-C0E4-017432376F36}"/>
          </ac:spMkLst>
        </pc:spChg>
        <pc:spChg chg="add del mod">
          <ac:chgData name="Steiner Andreas 6206 ED" userId="e6377c33-a923-4f14-8587-531c474c7b48" providerId="ADAL" clId="{6ECD27E6-B224-41CD-B4E0-E297462320DD}" dt="2023-11-24T08:53:12.969" v="96302"/>
          <ac:spMkLst>
            <pc:docMk/>
            <pc:sldMk cId="1033770688" sldId="2147478572"/>
            <ac:spMk id="630" creationId="{C7683E90-68A3-8618-F547-34A9B158DBA8}"/>
          </ac:spMkLst>
        </pc:spChg>
        <pc:spChg chg="add del mod">
          <ac:chgData name="Steiner Andreas 6206 ED" userId="e6377c33-a923-4f14-8587-531c474c7b48" providerId="ADAL" clId="{6ECD27E6-B224-41CD-B4E0-E297462320DD}" dt="2023-11-24T08:53:15.100" v="96457"/>
          <ac:spMkLst>
            <pc:docMk/>
            <pc:sldMk cId="1033770688" sldId="2147478572"/>
            <ac:spMk id="631" creationId="{AC69E3DA-783F-BFBF-54E7-9BCC4D5B297E}"/>
          </ac:spMkLst>
        </pc:spChg>
        <pc:spChg chg="add del mod">
          <ac:chgData name="Steiner Andreas 6206 ED" userId="e6377c33-a923-4f14-8587-531c474c7b48" providerId="ADAL" clId="{6ECD27E6-B224-41CD-B4E0-E297462320DD}" dt="2023-11-24T08:53:17.054" v="96612"/>
          <ac:spMkLst>
            <pc:docMk/>
            <pc:sldMk cId="1033770688" sldId="2147478572"/>
            <ac:spMk id="632" creationId="{D43C855B-D40C-16AD-AB5A-F83E8C3E1B26}"/>
          </ac:spMkLst>
        </pc:spChg>
        <pc:spChg chg="add del mod">
          <ac:chgData name="Steiner Andreas 6206 ED" userId="e6377c33-a923-4f14-8587-531c474c7b48" providerId="ADAL" clId="{6ECD27E6-B224-41CD-B4E0-E297462320DD}" dt="2023-11-24T08:53:18.988" v="96767"/>
          <ac:spMkLst>
            <pc:docMk/>
            <pc:sldMk cId="1033770688" sldId="2147478572"/>
            <ac:spMk id="633" creationId="{8FC34E72-EEAB-1F52-3B99-6223C1CE52B8}"/>
          </ac:spMkLst>
        </pc:spChg>
        <pc:spChg chg="add del mod">
          <ac:chgData name="Steiner Andreas 6206 ED" userId="e6377c33-a923-4f14-8587-531c474c7b48" providerId="ADAL" clId="{6ECD27E6-B224-41CD-B4E0-E297462320DD}" dt="2023-11-24T08:53:20.987" v="96922"/>
          <ac:spMkLst>
            <pc:docMk/>
            <pc:sldMk cId="1033770688" sldId="2147478572"/>
            <ac:spMk id="634" creationId="{1B2C9778-6638-C5A8-7874-BA055F0E5B34}"/>
          </ac:spMkLst>
        </pc:spChg>
        <pc:spChg chg="add del mod">
          <ac:chgData name="Steiner Andreas 6206 ED" userId="e6377c33-a923-4f14-8587-531c474c7b48" providerId="ADAL" clId="{6ECD27E6-B224-41CD-B4E0-E297462320DD}" dt="2023-11-24T08:53:22.939" v="97077"/>
          <ac:spMkLst>
            <pc:docMk/>
            <pc:sldMk cId="1033770688" sldId="2147478572"/>
            <ac:spMk id="635" creationId="{509FA343-CD7F-FFC9-469A-9910162DAEAF}"/>
          </ac:spMkLst>
        </pc:spChg>
        <pc:spChg chg="add del mod">
          <ac:chgData name="Steiner Andreas 6206 ED" userId="e6377c33-a923-4f14-8587-531c474c7b48" providerId="ADAL" clId="{6ECD27E6-B224-41CD-B4E0-E297462320DD}" dt="2023-11-24T08:53:25.026" v="97232"/>
          <ac:spMkLst>
            <pc:docMk/>
            <pc:sldMk cId="1033770688" sldId="2147478572"/>
            <ac:spMk id="636" creationId="{C71B39F6-23B0-242D-5E95-A874F164FEB7}"/>
          </ac:spMkLst>
        </pc:spChg>
        <pc:spChg chg="add del mod">
          <ac:chgData name="Steiner Andreas 6206 ED" userId="e6377c33-a923-4f14-8587-531c474c7b48" providerId="ADAL" clId="{6ECD27E6-B224-41CD-B4E0-E297462320DD}" dt="2023-11-24T08:53:27.060" v="97387"/>
          <ac:spMkLst>
            <pc:docMk/>
            <pc:sldMk cId="1033770688" sldId="2147478572"/>
            <ac:spMk id="637" creationId="{5DBDCE9A-DE81-1910-05BE-D92847C4B410}"/>
          </ac:spMkLst>
        </pc:spChg>
        <pc:spChg chg="add del mod">
          <ac:chgData name="Steiner Andreas 6206 ED" userId="e6377c33-a923-4f14-8587-531c474c7b48" providerId="ADAL" clId="{6ECD27E6-B224-41CD-B4E0-E297462320DD}" dt="2023-11-24T08:53:28.956" v="97542"/>
          <ac:spMkLst>
            <pc:docMk/>
            <pc:sldMk cId="1033770688" sldId="2147478572"/>
            <ac:spMk id="638" creationId="{16344FB1-9D4F-842F-F80C-2A2E8C4AA4F7}"/>
          </ac:spMkLst>
        </pc:spChg>
        <pc:spChg chg="add del mod">
          <ac:chgData name="Steiner Andreas 6206 ED" userId="e6377c33-a923-4f14-8587-531c474c7b48" providerId="ADAL" clId="{6ECD27E6-B224-41CD-B4E0-E297462320DD}" dt="2023-11-24T08:53:30.864" v="97697"/>
          <ac:spMkLst>
            <pc:docMk/>
            <pc:sldMk cId="1033770688" sldId="2147478572"/>
            <ac:spMk id="639" creationId="{BD261FB9-5963-3AFB-ECB4-43BBBDF55702}"/>
          </ac:spMkLst>
        </pc:spChg>
        <pc:spChg chg="add del mod">
          <ac:chgData name="Steiner Andreas 6206 ED" userId="e6377c33-a923-4f14-8587-531c474c7b48" providerId="ADAL" clId="{6ECD27E6-B224-41CD-B4E0-E297462320DD}" dt="2023-11-24T08:53:32.803" v="97852"/>
          <ac:spMkLst>
            <pc:docMk/>
            <pc:sldMk cId="1033770688" sldId="2147478572"/>
            <ac:spMk id="640" creationId="{323739D8-8962-A4DD-C9E6-1E7C5BF65F19}"/>
          </ac:spMkLst>
        </pc:spChg>
        <pc:spChg chg="add del mod">
          <ac:chgData name="Steiner Andreas 6206 ED" userId="e6377c33-a923-4f14-8587-531c474c7b48" providerId="ADAL" clId="{6ECD27E6-B224-41CD-B4E0-E297462320DD}" dt="2023-11-24T08:53:34.711" v="98007"/>
          <ac:spMkLst>
            <pc:docMk/>
            <pc:sldMk cId="1033770688" sldId="2147478572"/>
            <ac:spMk id="641" creationId="{125B78E2-2D12-7BE5-43F0-65648859D1C1}"/>
          </ac:spMkLst>
        </pc:spChg>
        <pc:spChg chg="add del mod">
          <ac:chgData name="Steiner Andreas 6206 ED" userId="e6377c33-a923-4f14-8587-531c474c7b48" providerId="ADAL" clId="{6ECD27E6-B224-41CD-B4E0-E297462320DD}" dt="2023-11-24T08:53:36.800" v="98162"/>
          <ac:spMkLst>
            <pc:docMk/>
            <pc:sldMk cId="1033770688" sldId="2147478572"/>
            <ac:spMk id="642" creationId="{57B6195A-FF87-4EDA-82A3-06877E88D039}"/>
          </ac:spMkLst>
        </pc:spChg>
        <pc:spChg chg="add del mod">
          <ac:chgData name="Steiner Andreas 6206 ED" userId="e6377c33-a923-4f14-8587-531c474c7b48" providerId="ADAL" clId="{6ECD27E6-B224-41CD-B4E0-E297462320DD}" dt="2023-11-24T08:53:38.720" v="98317"/>
          <ac:spMkLst>
            <pc:docMk/>
            <pc:sldMk cId="1033770688" sldId="2147478572"/>
            <ac:spMk id="643" creationId="{8E9A9BCD-5024-037A-0D03-2FF1F4C3E2EB}"/>
          </ac:spMkLst>
        </pc:spChg>
        <pc:spChg chg="add del mod">
          <ac:chgData name="Steiner Andreas 6206 ED" userId="e6377c33-a923-4f14-8587-531c474c7b48" providerId="ADAL" clId="{6ECD27E6-B224-41CD-B4E0-E297462320DD}" dt="2023-11-24T08:53:40.705" v="98472"/>
          <ac:spMkLst>
            <pc:docMk/>
            <pc:sldMk cId="1033770688" sldId="2147478572"/>
            <ac:spMk id="644" creationId="{0D580EFD-5B24-778E-1C59-341C39F3B38A}"/>
          </ac:spMkLst>
        </pc:spChg>
        <pc:spChg chg="add del mod">
          <ac:chgData name="Steiner Andreas 6206 ED" userId="e6377c33-a923-4f14-8587-531c474c7b48" providerId="ADAL" clId="{6ECD27E6-B224-41CD-B4E0-E297462320DD}" dt="2023-11-24T08:53:42.621" v="98627"/>
          <ac:spMkLst>
            <pc:docMk/>
            <pc:sldMk cId="1033770688" sldId="2147478572"/>
            <ac:spMk id="645" creationId="{2C7E8424-DAB1-1AE7-A422-9018256EF405}"/>
          </ac:spMkLst>
        </pc:spChg>
        <pc:spChg chg="add del mod">
          <ac:chgData name="Steiner Andreas 6206 ED" userId="e6377c33-a923-4f14-8587-531c474c7b48" providerId="ADAL" clId="{6ECD27E6-B224-41CD-B4E0-E297462320DD}" dt="2023-11-24T08:53:44.591" v="98782"/>
          <ac:spMkLst>
            <pc:docMk/>
            <pc:sldMk cId="1033770688" sldId="2147478572"/>
            <ac:spMk id="646" creationId="{951ACE8F-F436-F88A-20BF-F86038EB8048}"/>
          </ac:spMkLst>
        </pc:spChg>
        <pc:spChg chg="add del mod">
          <ac:chgData name="Steiner Andreas 6206 ED" userId="e6377c33-a923-4f14-8587-531c474c7b48" providerId="ADAL" clId="{6ECD27E6-B224-41CD-B4E0-E297462320DD}" dt="2023-11-24T08:53:46.481" v="98937"/>
          <ac:spMkLst>
            <pc:docMk/>
            <pc:sldMk cId="1033770688" sldId="2147478572"/>
            <ac:spMk id="647" creationId="{2E1DD751-6B29-8A9D-E627-42BF0C26F3EB}"/>
          </ac:spMkLst>
        </pc:spChg>
        <pc:spChg chg="add del mod">
          <ac:chgData name="Steiner Andreas 6206 ED" userId="e6377c33-a923-4f14-8587-531c474c7b48" providerId="ADAL" clId="{6ECD27E6-B224-41CD-B4E0-E297462320DD}" dt="2023-11-24T08:53:48.555" v="99092"/>
          <ac:spMkLst>
            <pc:docMk/>
            <pc:sldMk cId="1033770688" sldId="2147478572"/>
            <ac:spMk id="648" creationId="{5AA361F5-274D-644D-D0A0-96412EBFB359}"/>
          </ac:spMkLst>
        </pc:spChg>
        <pc:spChg chg="add del mod">
          <ac:chgData name="Steiner Andreas 6206 ED" userId="e6377c33-a923-4f14-8587-531c474c7b48" providerId="ADAL" clId="{6ECD27E6-B224-41CD-B4E0-E297462320DD}" dt="2023-11-24T08:53:50.531" v="99247"/>
          <ac:spMkLst>
            <pc:docMk/>
            <pc:sldMk cId="1033770688" sldId="2147478572"/>
            <ac:spMk id="649" creationId="{27EA944F-CE3D-835C-C353-FDFE174BC40A}"/>
          </ac:spMkLst>
        </pc:spChg>
        <pc:spChg chg="add del mod">
          <ac:chgData name="Steiner Andreas 6206 ED" userId="e6377c33-a923-4f14-8587-531c474c7b48" providerId="ADAL" clId="{6ECD27E6-B224-41CD-B4E0-E297462320DD}" dt="2023-11-24T08:53:52.473" v="99402"/>
          <ac:spMkLst>
            <pc:docMk/>
            <pc:sldMk cId="1033770688" sldId="2147478572"/>
            <ac:spMk id="650" creationId="{B2E3B506-6A96-8A29-516C-F7EB5705C381}"/>
          </ac:spMkLst>
        </pc:spChg>
        <pc:spChg chg="add del mod">
          <ac:chgData name="Steiner Andreas 6206 ED" userId="e6377c33-a923-4f14-8587-531c474c7b48" providerId="ADAL" clId="{6ECD27E6-B224-41CD-B4E0-E297462320DD}" dt="2023-11-24T08:53:54.426" v="99557"/>
          <ac:spMkLst>
            <pc:docMk/>
            <pc:sldMk cId="1033770688" sldId="2147478572"/>
            <ac:spMk id="651" creationId="{8CE99DE7-C187-41EE-530E-3C4C138D2B55}"/>
          </ac:spMkLst>
        </pc:spChg>
        <pc:spChg chg="add del mod">
          <ac:chgData name="Steiner Andreas 6206 ED" userId="e6377c33-a923-4f14-8587-531c474c7b48" providerId="ADAL" clId="{6ECD27E6-B224-41CD-B4E0-E297462320DD}" dt="2023-11-24T08:53:56.395" v="99712"/>
          <ac:spMkLst>
            <pc:docMk/>
            <pc:sldMk cId="1033770688" sldId="2147478572"/>
            <ac:spMk id="652" creationId="{9BDB1550-69CF-3854-CF7F-523CF7949C21}"/>
          </ac:spMkLst>
        </pc:spChg>
        <pc:spChg chg="add del mod">
          <ac:chgData name="Steiner Andreas 6206 ED" userId="e6377c33-a923-4f14-8587-531c474c7b48" providerId="ADAL" clId="{6ECD27E6-B224-41CD-B4E0-E297462320DD}" dt="2023-11-24T08:53:58.430" v="99867"/>
          <ac:spMkLst>
            <pc:docMk/>
            <pc:sldMk cId="1033770688" sldId="2147478572"/>
            <ac:spMk id="653" creationId="{41C84856-CF81-8015-3C16-5923562B7FD4}"/>
          </ac:spMkLst>
        </pc:spChg>
        <pc:spChg chg="add del mod">
          <ac:chgData name="Steiner Andreas 6206 ED" userId="e6377c33-a923-4f14-8587-531c474c7b48" providerId="ADAL" clId="{6ECD27E6-B224-41CD-B4E0-E297462320DD}" dt="2023-11-24T08:54:00.572" v="100022"/>
          <ac:spMkLst>
            <pc:docMk/>
            <pc:sldMk cId="1033770688" sldId="2147478572"/>
            <ac:spMk id="654" creationId="{A817DE7A-0CC2-3042-A499-61392DD70481}"/>
          </ac:spMkLst>
        </pc:spChg>
        <pc:spChg chg="add del mod">
          <ac:chgData name="Steiner Andreas 6206 ED" userId="e6377c33-a923-4f14-8587-531c474c7b48" providerId="ADAL" clId="{6ECD27E6-B224-41CD-B4E0-E297462320DD}" dt="2023-11-24T08:54:02.534" v="100177"/>
          <ac:spMkLst>
            <pc:docMk/>
            <pc:sldMk cId="1033770688" sldId="2147478572"/>
            <ac:spMk id="655" creationId="{67167176-5530-21B2-F986-561D8569F68E}"/>
          </ac:spMkLst>
        </pc:spChg>
        <pc:spChg chg="add del mod">
          <ac:chgData name="Steiner Andreas 6206 ED" userId="e6377c33-a923-4f14-8587-531c474c7b48" providerId="ADAL" clId="{6ECD27E6-B224-41CD-B4E0-E297462320DD}" dt="2023-11-24T08:54:04.512" v="100332"/>
          <ac:spMkLst>
            <pc:docMk/>
            <pc:sldMk cId="1033770688" sldId="2147478572"/>
            <ac:spMk id="656" creationId="{B18924A8-5FBF-292B-20D4-898D594D4A53}"/>
          </ac:spMkLst>
        </pc:spChg>
        <pc:spChg chg="add del mod">
          <ac:chgData name="Steiner Andreas 6206 ED" userId="e6377c33-a923-4f14-8587-531c474c7b48" providerId="ADAL" clId="{6ECD27E6-B224-41CD-B4E0-E297462320DD}" dt="2023-11-24T08:54:06.486" v="100487"/>
          <ac:spMkLst>
            <pc:docMk/>
            <pc:sldMk cId="1033770688" sldId="2147478572"/>
            <ac:spMk id="657" creationId="{D408B028-E0C2-5366-36DE-0BAD7D77D4FF}"/>
          </ac:spMkLst>
        </pc:spChg>
        <pc:spChg chg="add del mod">
          <ac:chgData name="Steiner Andreas 6206 ED" userId="e6377c33-a923-4f14-8587-531c474c7b48" providerId="ADAL" clId="{6ECD27E6-B224-41CD-B4E0-E297462320DD}" dt="2023-11-24T08:54:08.453" v="100642"/>
          <ac:spMkLst>
            <pc:docMk/>
            <pc:sldMk cId="1033770688" sldId="2147478572"/>
            <ac:spMk id="658" creationId="{5B985A36-DE72-75F3-E3E2-7D00EB4C193C}"/>
          </ac:spMkLst>
        </pc:spChg>
        <pc:spChg chg="add del mod">
          <ac:chgData name="Steiner Andreas 6206 ED" userId="e6377c33-a923-4f14-8587-531c474c7b48" providerId="ADAL" clId="{6ECD27E6-B224-41CD-B4E0-E297462320DD}" dt="2023-11-24T08:54:10.593" v="100797"/>
          <ac:spMkLst>
            <pc:docMk/>
            <pc:sldMk cId="1033770688" sldId="2147478572"/>
            <ac:spMk id="659" creationId="{0912609E-3F6F-ED80-EFF7-0BD83B318845}"/>
          </ac:spMkLst>
        </pc:spChg>
        <pc:spChg chg="add del mod">
          <ac:chgData name="Steiner Andreas 6206 ED" userId="e6377c33-a923-4f14-8587-531c474c7b48" providerId="ADAL" clId="{6ECD27E6-B224-41CD-B4E0-E297462320DD}" dt="2023-11-24T08:54:12.544" v="100952"/>
          <ac:spMkLst>
            <pc:docMk/>
            <pc:sldMk cId="1033770688" sldId="2147478572"/>
            <ac:spMk id="660" creationId="{A2726110-6069-80D5-EFC0-A7572A52B918}"/>
          </ac:spMkLst>
        </pc:spChg>
        <pc:spChg chg="add del mod">
          <ac:chgData name="Steiner Andreas 6206 ED" userId="e6377c33-a923-4f14-8587-531c474c7b48" providerId="ADAL" clId="{6ECD27E6-B224-41CD-B4E0-E297462320DD}" dt="2023-11-24T08:54:14.499" v="101107"/>
          <ac:spMkLst>
            <pc:docMk/>
            <pc:sldMk cId="1033770688" sldId="2147478572"/>
            <ac:spMk id="661" creationId="{409562D4-0292-79B6-003F-C794B2A3CEDC}"/>
          </ac:spMkLst>
        </pc:spChg>
        <pc:spChg chg="add del mod">
          <ac:chgData name="Steiner Andreas 6206 ED" userId="e6377c33-a923-4f14-8587-531c474c7b48" providerId="ADAL" clId="{6ECD27E6-B224-41CD-B4E0-E297462320DD}" dt="2023-11-24T08:54:16.398" v="101262"/>
          <ac:spMkLst>
            <pc:docMk/>
            <pc:sldMk cId="1033770688" sldId="2147478572"/>
            <ac:spMk id="662" creationId="{BB4AD041-231B-9A2B-C592-1A5877C2D28B}"/>
          </ac:spMkLst>
        </pc:spChg>
        <pc:spChg chg="add del mod">
          <ac:chgData name="Steiner Andreas 6206 ED" userId="e6377c33-a923-4f14-8587-531c474c7b48" providerId="ADAL" clId="{6ECD27E6-B224-41CD-B4E0-E297462320DD}" dt="2023-11-24T08:54:18.307" v="101417"/>
          <ac:spMkLst>
            <pc:docMk/>
            <pc:sldMk cId="1033770688" sldId="2147478572"/>
            <ac:spMk id="663" creationId="{09E47D03-E54D-A27D-518E-D8DE1802ACEB}"/>
          </ac:spMkLst>
        </pc:spChg>
        <pc:spChg chg="add del mod">
          <ac:chgData name="Steiner Andreas 6206 ED" userId="e6377c33-a923-4f14-8587-531c474c7b48" providerId="ADAL" clId="{6ECD27E6-B224-41CD-B4E0-E297462320DD}" dt="2023-11-24T08:54:20.247" v="101572"/>
          <ac:spMkLst>
            <pc:docMk/>
            <pc:sldMk cId="1033770688" sldId="2147478572"/>
            <ac:spMk id="664" creationId="{6E643A43-5EC2-D8D6-FD06-58F1A6CDD9F7}"/>
          </ac:spMkLst>
        </pc:spChg>
        <pc:spChg chg="add del mod">
          <ac:chgData name="Steiner Andreas 6206 ED" userId="e6377c33-a923-4f14-8587-531c474c7b48" providerId="ADAL" clId="{6ECD27E6-B224-41CD-B4E0-E297462320DD}" dt="2023-11-24T08:54:22.365" v="101727"/>
          <ac:spMkLst>
            <pc:docMk/>
            <pc:sldMk cId="1033770688" sldId="2147478572"/>
            <ac:spMk id="665" creationId="{55657186-2512-CBAE-0CDE-6FA5D1977780}"/>
          </ac:spMkLst>
        </pc:spChg>
        <pc:spChg chg="add del mod">
          <ac:chgData name="Steiner Andreas 6206 ED" userId="e6377c33-a923-4f14-8587-531c474c7b48" providerId="ADAL" clId="{6ECD27E6-B224-41CD-B4E0-E297462320DD}" dt="2023-11-24T08:54:24.315" v="101882"/>
          <ac:spMkLst>
            <pc:docMk/>
            <pc:sldMk cId="1033770688" sldId="2147478572"/>
            <ac:spMk id="666" creationId="{99635B55-B7C1-167A-89CE-546441E7FC8C}"/>
          </ac:spMkLst>
        </pc:spChg>
        <pc:spChg chg="add del mod">
          <ac:chgData name="Steiner Andreas 6206 ED" userId="e6377c33-a923-4f14-8587-531c474c7b48" providerId="ADAL" clId="{6ECD27E6-B224-41CD-B4E0-E297462320DD}" dt="2023-11-24T08:54:26.299" v="102037"/>
          <ac:spMkLst>
            <pc:docMk/>
            <pc:sldMk cId="1033770688" sldId="2147478572"/>
            <ac:spMk id="667" creationId="{70A17BB4-E11C-F583-C3CE-79281583BDF6}"/>
          </ac:spMkLst>
        </pc:spChg>
        <pc:spChg chg="add del mod">
          <ac:chgData name="Steiner Andreas 6206 ED" userId="e6377c33-a923-4f14-8587-531c474c7b48" providerId="ADAL" clId="{6ECD27E6-B224-41CD-B4E0-E297462320DD}" dt="2023-11-24T08:54:28.236" v="102192"/>
          <ac:spMkLst>
            <pc:docMk/>
            <pc:sldMk cId="1033770688" sldId="2147478572"/>
            <ac:spMk id="668" creationId="{4AAA1E5A-BBCB-CC1B-3916-D907CEE4176E}"/>
          </ac:spMkLst>
        </pc:spChg>
        <pc:spChg chg="add del mod">
          <ac:chgData name="Steiner Andreas 6206 ED" userId="e6377c33-a923-4f14-8587-531c474c7b48" providerId="ADAL" clId="{6ECD27E6-B224-41CD-B4E0-E297462320DD}" dt="2023-11-24T08:54:30.182" v="102347"/>
          <ac:spMkLst>
            <pc:docMk/>
            <pc:sldMk cId="1033770688" sldId="2147478572"/>
            <ac:spMk id="669" creationId="{C08598BC-5527-C418-6EBD-C44CADCC113B}"/>
          </ac:spMkLst>
        </pc:spChg>
        <pc:spChg chg="add del mod">
          <ac:chgData name="Steiner Andreas 6206 ED" userId="e6377c33-a923-4f14-8587-531c474c7b48" providerId="ADAL" clId="{6ECD27E6-B224-41CD-B4E0-E297462320DD}" dt="2023-11-24T08:54:32.288" v="102502"/>
          <ac:spMkLst>
            <pc:docMk/>
            <pc:sldMk cId="1033770688" sldId="2147478572"/>
            <ac:spMk id="670" creationId="{0D57BBDF-FAB5-0D63-B3EA-8EAEAC1081A4}"/>
          </ac:spMkLst>
        </pc:spChg>
        <pc:spChg chg="add del mod">
          <ac:chgData name="Steiner Andreas 6206 ED" userId="e6377c33-a923-4f14-8587-531c474c7b48" providerId="ADAL" clId="{6ECD27E6-B224-41CD-B4E0-E297462320DD}" dt="2023-11-24T08:54:34.311" v="102657"/>
          <ac:spMkLst>
            <pc:docMk/>
            <pc:sldMk cId="1033770688" sldId="2147478572"/>
            <ac:spMk id="671" creationId="{626D03C1-92C7-01C4-0992-A7BBBCB50FE8}"/>
          </ac:spMkLst>
        </pc:spChg>
        <pc:spChg chg="add del mod">
          <ac:chgData name="Steiner Andreas 6206 ED" userId="e6377c33-a923-4f14-8587-531c474c7b48" providerId="ADAL" clId="{6ECD27E6-B224-41CD-B4E0-E297462320DD}" dt="2023-11-24T08:54:36.248" v="102812"/>
          <ac:spMkLst>
            <pc:docMk/>
            <pc:sldMk cId="1033770688" sldId="2147478572"/>
            <ac:spMk id="672" creationId="{8D778A4B-4E4D-5266-21D6-305F1E606FB4}"/>
          </ac:spMkLst>
        </pc:spChg>
        <pc:spChg chg="add del mod">
          <ac:chgData name="Steiner Andreas 6206 ED" userId="e6377c33-a923-4f14-8587-531c474c7b48" providerId="ADAL" clId="{6ECD27E6-B224-41CD-B4E0-E297462320DD}" dt="2023-11-24T08:54:38.406" v="102967"/>
          <ac:spMkLst>
            <pc:docMk/>
            <pc:sldMk cId="1033770688" sldId="2147478572"/>
            <ac:spMk id="673" creationId="{44491405-D5C5-573C-3F0E-139C2DB4D7AD}"/>
          </ac:spMkLst>
        </pc:spChg>
        <pc:spChg chg="add del mod">
          <ac:chgData name="Steiner Andreas 6206 ED" userId="e6377c33-a923-4f14-8587-531c474c7b48" providerId="ADAL" clId="{6ECD27E6-B224-41CD-B4E0-E297462320DD}" dt="2023-11-24T08:54:40.613" v="103122"/>
          <ac:spMkLst>
            <pc:docMk/>
            <pc:sldMk cId="1033770688" sldId="2147478572"/>
            <ac:spMk id="674" creationId="{FC108781-C6AE-4E70-AFDF-E241282E9D29}"/>
          </ac:spMkLst>
        </pc:spChg>
        <pc:spChg chg="add del mod">
          <ac:chgData name="Steiner Andreas 6206 ED" userId="e6377c33-a923-4f14-8587-531c474c7b48" providerId="ADAL" clId="{6ECD27E6-B224-41CD-B4E0-E297462320DD}" dt="2023-11-24T08:54:42.526" v="103277"/>
          <ac:spMkLst>
            <pc:docMk/>
            <pc:sldMk cId="1033770688" sldId="2147478572"/>
            <ac:spMk id="675" creationId="{7CD25C93-304B-2D03-1EC7-8956BBA9CE7D}"/>
          </ac:spMkLst>
        </pc:spChg>
        <pc:spChg chg="add del mod">
          <ac:chgData name="Steiner Andreas 6206 ED" userId="e6377c33-a923-4f14-8587-531c474c7b48" providerId="ADAL" clId="{6ECD27E6-B224-41CD-B4E0-E297462320DD}" dt="2023-11-24T08:54:44.771" v="103432"/>
          <ac:spMkLst>
            <pc:docMk/>
            <pc:sldMk cId="1033770688" sldId="2147478572"/>
            <ac:spMk id="676" creationId="{04A74EDF-3E6C-A1F4-1E38-6B165423F823}"/>
          </ac:spMkLst>
        </pc:spChg>
        <pc:spChg chg="add del mod">
          <ac:chgData name="Steiner Andreas 6206 ED" userId="e6377c33-a923-4f14-8587-531c474c7b48" providerId="ADAL" clId="{6ECD27E6-B224-41CD-B4E0-E297462320DD}" dt="2023-11-24T08:54:47" v="103587"/>
          <ac:spMkLst>
            <pc:docMk/>
            <pc:sldMk cId="1033770688" sldId="2147478572"/>
            <ac:spMk id="677" creationId="{F39E3DAC-AA46-8209-ACA4-2564B2BB8360}"/>
          </ac:spMkLst>
        </pc:spChg>
        <pc:spChg chg="add del mod">
          <ac:chgData name="Steiner Andreas 6206 ED" userId="e6377c33-a923-4f14-8587-531c474c7b48" providerId="ADAL" clId="{6ECD27E6-B224-41CD-B4E0-E297462320DD}" dt="2023-11-24T08:54:49.129" v="103742"/>
          <ac:spMkLst>
            <pc:docMk/>
            <pc:sldMk cId="1033770688" sldId="2147478572"/>
            <ac:spMk id="678" creationId="{B7B5445D-2019-E5CC-BF8F-295F44D61A28}"/>
          </ac:spMkLst>
        </pc:spChg>
        <pc:spChg chg="add del mod">
          <ac:chgData name="Steiner Andreas 6206 ED" userId="e6377c33-a923-4f14-8587-531c474c7b48" providerId="ADAL" clId="{6ECD27E6-B224-41CD-B4E0-E297462320DD}" dt="2023-11-24T08:54:51.462" v="103897"/>
          <ac:spMkLst>
            <pc:docMk/>
            <pc:sldMk cId="1033770688" sldId="2147478572"/>
            <ac:spMk id="679" creationId="{28E2816A-A9E2-A206-473A-8EA876E2A83F}"/>
          </ac:spMkLst>
        </pc:spChg>
        <pc:spChg chg="add del mod">
          <ac:chgData name="Steiner Andreas 6206 ED" userId="e6377c33-a923-4f14-8587-531c474c7b48" providerId="ADAL" clId="{6ECD27E6-B224-41CD-B4E0-E297462320DD}" dt="2023-11-24T08:54:53.545" v="104052"/>
          <ac:spMkLst>
            <pc:docMk/>
            <pc:sldMk cId="1033770688" sldId="2147478572"/>
            <ac:spMk id="680" creationId="{40A1CD97-746F-13EE-4EC1-F1A242E8414D}"/>
          </ac:spMkLst>
        </pc:spChg>
        <pc:spChg chg="add del mod">
          <ac:chgData name="Steiner Andreas 6206 ED" userId="e6377c33-a923-4f14-8587-531c474c7b48" providerId="ADAL" clId="{6ECD27E6-B224-41CD-B4E0-E297462320DD}" dt="2023-11-24T08:54:55.696" v="104207"/>
          <ac:spMkLst>
            <pc:docMk/>
            <pc:sldMk cId="1033770688" sldId="2147478572"/>
            <ac:spMk id="681" creationId="{394759F7-69AE-29E5-556A-CFB983C7AF49}"/>
          </ac:spMkLst>
        </pc:spChg>
        <pc:spChg chg="add del mod">
          <ac:chgData name="Steiner Andreas 6206 ED" userId="e6377c33-a923-4f14-8587-531c474c7b48" providerId="ADAL" clId="{6ECD27E6-B224-41CD-B4E0-E297462320DD}" dt="2023-11-24T08:54:57.722" v="104362"/>
          <ac:spMkLst>
            <pc:docMk/>
            <pc:sldMk cId="1033770688" sldId="2147478572"/>
            <ac:spMk id="682" creationId="{D0C3D36B-4EB8-A8A5-15AC-3EB3FF459E65}"/>
          </ac:spMkLst>
        </pc:spChg>
        <pc:spChg chg="add del mod">
          <ac:chgData name="Steiner Andreas 6206 ED" userId="e6377c33-a923-4f14-8587-531c474c7b48" providerId="ADAL" clId="{6ECD27E6-B224-41CD-B4E0-E297462320DD}" dt="2023-11-24T08:54:59.796" v="104517"/>
          <ac:spMkLst>
            <pc:docMk/>
            <pc:sldMk cId="1033770688" sldId="2147478572"/>
            <ac:spMk id="683" creationId="{359EA277-956C-F38D-935D-090CDCB6A3C6}"/>
          </ac:spMkLst>
        </pc:spChg>
        <pc:spChg chg="add del mod">
          <ac:chgData name="Steiner Andreas 6206 ED" userId="e6377c33-a923-4f14-8587-531c474c7b48" providerId="ADAL" clId="{6ECD27E6-B224-41CD-B4E0-E297462320DD}" dt="2023-11-24T08:55:01.730" v="104672"/>
          <ac:spMkLst>
            <pc:docMk/>
            <pc:sldMk cId="1033770688" sldId="2147478572"/>
            <ac:spMk id="684" creationId="{3C9B96BE-122F-64DE-1960-B3F592F927EA}"/>
          </ac:spMkLst>
        </pc:spChg>
        <pc:spChg chg="add del mod">
          <ac:chgData name="Steiner Andreas 6206 ED" userId="e6377c33-a923-4f14-8587-531c474c7b48" providerId="ADAL" clId="{6ECD27E6-B224-41CD-B4E0-E297462320DD}" dt="2023-11-24T08:55:03.694" v="104827"/>
          <ac:spMkLst>
            <pc:docMk/>
            <pc:sldMk cId="1033770688" sldId="2147478572"/>
            <ac:spMk id="685" creationId="{FFE99EB9-B85D-32B1-3D3B-93A5904F59BA}"/>
          </ac:spMkLst>
        </pc:spChg>
        <pc:spChg chg="add del mod">
          <ac:chgData name="Steiner Andreas 6206 ED" userId="e6377c33-a923-4f14-8587-531c474c7b48" providerId="ADAL" clId="{6ECD27E6-B224-41CD-B4E0-E297462320DD}" dt="2023-11-24T08:55:05.772" v="104982"/>
          <ac:spMkLst>
            <pc:docMk/>
            <pc:sldMk cId="1033770688" sldId="2147478572"/>
            <ac:spMk id="686" creationId="{5D8DAB6C-4436-492D-9B09-CB4B22F39F7D}"/>
          </ac:spMkLst>
        </pc:spChg>
        <pc:spChg chg="add del mod">
          <ac:chgData name="Steiner Andreas 6206 ED" userId="e6377c33-a923-4f14-8587-531c474c7b48" providerId="ADAL" clId="{6ECD27E6-B224-41CD-B4E0-E297462320DD}" dt="2023-11-24T08:55:07.922" v="105137"/>
          <ac:spMkLst>
            <pc:docMk/>
            <pc:sldMk cId="1033770688" sldId="2147478572"/>
            <ac:spMk id="687" creationId="{4AC2D01D-2F99-A680-C306-CC1B64F24752}"/>
          </ac:spMkLst>
        </pc:spChg>
        <pc:spChg chg="add del mod">
          <ac:chgData name="Steiner Andreas 6206 ED" userId="e6377c33-a923-4f14-8587-531c474c7b48" providerId="ADAL" clId="{6ECD27E6-B224-41CD-B4E0-E297462320DD}" dt="2023-11-24T08:55:09.883" v="105292"/>
          <ac:spMkLst>
            <pc:docMk/>
            <pc:sldMk cId="1033770688" sldId="2147478572"/>
            <ac:spMk id="688" creationId="{2E46A1E9-FAE9-F156-AAE5-42727DC91CB3}"/>
          </ac:spMkLst>
        </pc:spChg>
        <pc:spChg chg="add del mod">
          <ac:chgData name="Steiner Andreas 6206 ED" userId="e6377c33-a923-4f14-8587-531c474c7b48" providerId="ADAL" clId="{6ECD27E6-B224-41CD-B4E0-E297462320DD}" dt="2023-11-24T08:55:11.868" v="105447"/>
          <ac:spMkLst>
            <pc:docMk/>
            <pc:sldMk cId="1033770688" sldId="2147478572"/>
            <ac:spMk id="689" creationId="{D58387D5-6A56-3646-600F-CA7663C5EF4A}"/>
          </ac:spMkLst>
        </pc:spChg>
        <pc:spChg chg="add del mod">
          <ac:chgData name="Steiner Andreas 6206 ED" userId="e6377c33-a923-4f14-8587-531c474c7b48" providerId="ADAL" clId="{6ECD27E6-B224-41CD-B4E0-E297462320DD}" dt="2023-11-24T08:55:13.918" v="105602"/>
          <ac:spMkLst>
            <pc:docMk/>
            <pc:sldMk cId="1033770688" sldId="2147478572"/>
            <ac:spMk id="690" creationId="{13F48520-A129-E309-F15E-8F99036E5404}"/>
          </ac:spMkLst>
        </pc:spChg>
        <pc:spChg chg="add del mod">
          <ac:chgData name="Steiner Andreas 6206 ED" userId="e6377c33-a923-4f14-8587-531c474c7b48" providerId="ADAL" clId="{6ECD27E6-B224-41CD-B4E0-E297462320DD}" dt="2023-11-24T08:55:15.995" v="105757"/>
          <ac:spMkLst>
            <pc:docMk/>
            <pc:sldMk cId="1033770688" sldId="2147478572"/>
            <ac:spMk id="691" creationId="{EE751612-CC9F-457E-16E1-0CCC16E33D99}"/>
          </ac:spMkLst>
        </pc:spChg>
        <pc:spChg chg="add del mod">
          <ac:chgData name="Steiner Andreas 6206 ED" userId="e6377c33-a923-4f14-8587-531c474c7b48" providerId="ADAL" clId="{6ECD27E6-B224-41CD-B4E0-E297462320DD}" dt="2023-11-24T08:55:18.060" v="105912"/>
          <ac:spMkLst>
            <pc:docMk/>
            <pc:sldMk cId="1033770688" sldId="2147478572"/>
            <ac:spMk id="692" creationId="{3554C65C-82DC-BB70-D89E-6C1465A0C213}"/>
          </ac:spMkLst>
        </pc:spChg>
        <pc:spChg chg="add del mod">
          <ac:chgData name="Steiner Andreas 6206 ED" userId="e6377c33-a923-4f14-8587-531c474c7b48" providerId="ADAL" clId="{6ECD27E6-B224-41CD-B4E0-E297462320DD}" dt="2023-11-24T08:55:20.091" v="106067"/>
          <ac:spMkLst>
            <pc:docMk/>
            <pc:sldMk cId="1033770688" sldId="2147478572"/>
            <ac:spMk id="693" creationId="{BAD97724-BA2B-6CC3-2A55-9E26D2765114}"/>
          </ac:spMkLst>
        </pc:spChg>
        <pc:spChg chg="add del mod">
          <ac:chgData name="Steiner Andreas 6206 ED" userId="e6377c33-a923-4f14-8587-531c474c7b48" providerId="ADAL" clId="{6ECD27E6-B224-41CD-B4E0-E297462320DD}" dt="2023-11-24T08:55:22.016" v="106222"/>
          <ac:spMkLst>
            <pc:docMk/>
            <pc:sldMk cId="1033770688" sldId="2147478572"/>
            <ac:spMk id="694" creationId="{1437A7B5-9EB6-F01D-57E5-387C471D2907}"/>
          </ac:spMkLst>
        </pc:spChg>
        <pc:spChg chg="add del mod">
          <ac:chgData name="Steiner Andreas 6206 ED" userId="e6377c33-a923-4f14-8587-531c474c7b48" providerId="ADAL" clId="{6ECD27E6-B224-41CD-B4E0-E297462320DD}" dt="2023-11-24T08:55:24.006" v="106377"/>
          <ac:spMkLst>
            <pc:docMk/>
            <pc:sldMk cId="1033770688" sldId="2147478572"/>
            <ac:spMk id="695" creationId="{BA91BC41-C2C4-B228-635F-4A0509140B7B}"/>
          </ac:spMkLst>
        </pc:spChg>
        <pc:spChg chg="add del mod">
          <ac:chgData name="Steiner Andreas 6206 ED" userId="e6377c33-a923-4f14-8587-531c474c7b48" providerId="ADAL" clId="{6ECD27E6-B224-41CD-B4E0-E297462320DD}" dt="2023-11-24T08:55:25.981" v="106532"/>
          <ac:spMkLst>
            <pc:docMk/>
            <pc:sldMk cId="1033770688" sldId="2147478572"/>
            <ac:spMk id="696" creationId="{A2A3AC8A-43E8-BF0F-7450-C521EFEABAAA}"/>
          </ac:spMkLst>
        </pc:spChg>
        <pc:spChg chg="add del mod">
          <ac:chgData name="Steiner Andreas 6206 ED" userId="e6377c33-a923-4f14-8587-531c474c7b48" providerId="ADAL" clId="{6ECD27E6-B224-41CD-B4E0-E297462320DD}" dt="2023-11-24T08:55:28.140" v="106687"/>
          <ac:spMkLst>
            <pc:docMk/>
            <pc:sldMk cId="1033770688" sldId="2147478572"/>
            <ac:spMk id="697" creationId="{6E13B174-33B3-A200-4119-6D4157C1AEBD}"/>
          </ac:spMkLst>
        </pc:spChg>
        <pc:spChg chg="add del mod">
          <ac:chgData name="Steiner Andreas 6206 ED" userId="e6377c33-a923-4f14-8587-531c474c7b48" providerId="ADAL" clId="{6ECD27E6-B224-41CD-B4E0-E297462320DD}" dt="2023-11-24T08:55:30.120" v="106842"/>
          <ac:spMkLst>
            <pc:docMk/>
            <pc:sldMk cId="1033770688" sldId="2147478572"/>
            <ac:spMk id="698" creationId="{34866EE5-C973-6D8A-CED3-D517FDADA139}"/>
          </ac:spMkLst>
        </pc:spChg>
        <pc:spChg chg="add del mod">
          <ac:chgData name="Steiner Andreas 6206 ED" userId="e6377c33-a923-4f14-8587-531c474c7b48" providerId="ADAL" clId="{6ECD27E6-B224-41CD-B4E0-E297462320DD}" dt="2023-11-24T08:55:32.261" v="106997"/>
          <ac:spMkLst>
            <pc:docMk/>
            <pc:sldMk cId="1033770688" sldId="2147478572"/>
            <ac:spMk id="699" creationId="{CFA6925B-ADBD-F0BD-31A7-C80609E61EC4}"/>
          </ac:spMkLst>
        </pc:spChg>
        <pc:spChg chg="add del mod">
          <ac:chgData name="Steiner Andreas 6206 ED" userId="e6377c33-a923-4f14-8587-531c474c7b48" providerId="ADAL" clId="{6ECD27E6-B224-41CD-B4E0-E297462320DD}" dt="2023-11-24T08:55:34.212" v="107152"/>
          <ac:spMkLst>
            <pc:docMk/>
            <pc:sldMk cId="1033770688" sldId="2147478572"/>
            <ac:spMk id="700" creationId="{DDB15962-7427-01ED-2AA0-647749C0D077}"/>
          </ac:spMkLst>
        </pc:spChg>
        <pc:spChg chg="add del mod">
          <ac:chgData name="Steiner Andreas 6206 ED" userId="e6377c33-a923-4f14-8587-531c474c7b48" providerId="ADAL" clId="{6ECD27E6-B224-41CD-B4E0-E297462320DD}" dt="2023-11-24T08:55:36.141" v="107307"/>
          <ac:spMkLst>
            <pc:docMk/>
            <pc:sldMk cId="1033770688" sldId="2147478572"/>
            <ac:spMk id="701" creationId="{5073D7E5-C6E3-1D30-1BCA-7005311F96E0}"/>
          </ac:spMkLst>
        </pc:spChg>
        <pc:spChg chg="add del mod">
          <ac:chgData name="Steiner Andreas 6206 ED" userId="e6377c33-a923-4f14-8587-531c474c7b48" providerId="ADAL" clId="{6ECD27E6-B224-41CD-B4E0-E297462320DD}" dt="2023-11-24T08:55:38.157" v="107462"/>
          <ac:spMkLst>
            <pc:docMk/>
            <pc:sldMk cId="1033770688" sldId="2147478572"/>
            <ac:spMk id="702" creationId="{9A4A7E39-DCBA-B46A-F7A6-18B8257E40E5}"/>
          </ac:spMkLst>
        </pc:spChg>
        <pc:spChg chg="add del mod">
          <ac:chgData name="Steiner Andreas 6206 ED" userId="e6377c33-a923-4f14-8587-531c474c7b48" providerId="ADAL" clId="{6ECD27E6-B224-41CD-B4E0-E297462320DD}" dt="2023-11-24T08:55:40.190" v="107617"/>
          <ac:spMkLst>
            <pc:docMk/>
            <pc:sldMk cId="1033770688" sldId="2147478572"/>
            <ac:spMk id="703" creationId="{5A6C012D-C874-2221-6AD8-A6B92A873D8F}"/>
          </ac:spMkLst>
        </pc:spChg>
        <pc:spChg chg="add del mod">
          <ac:chgData name="Steiner Andreas 6206 ED" userId="e6377c33-a923-4f14-8587-531c474c7b48" providerId="ADAL" clId="{6ECD27E6-B224-41CD-B4E0-E297462320DD}" dt="2023-11-24T08:55:42.120" v="107772"/>
          <ac:spMkLst>
            <pc:docMk/>
            <pc:sldMk cId="1033770688" sldId="2147478572"/>
            <ac:spMk id="704" creationId="{0B70E73E-55A2-D5AF-5908-7E2FA49ADBDB}"/>
          </ac:spMkLst>
        </pc:spChg>
        <pc:spChg chg="add del mod">
          <ac:chgData name="Steiner Andreas 6206 ED" userId="e6377c33-a923-4f14-8587-531c474c7b48" providerId="ADAL" clId="{6ECD27E6-B224-41CD-B4E0-E297462320DD}" dt="2023-11-24T08:55:44.092" v="107927"/>
          <ac:spMkLst>
            <pc:docMk/>
            <pc:sldMk cId="1033770688" sldId="2147478572"/>
            <ac:spMk id="705" creationId="{FBD96531-9518-E636-779E-6C87ED5E9377}"/>
          </ac:spMkLst>
        </pc:spChg>
        <pc:spChg chg="add del mod">
          <ac:chgData name="Steiner Andreas 6206 ED" userId="e6377c33-a923-4f14-8587-531c474c7b48" providerId="ADAL" clId="{6ECD27E6-B224-41CD-B4E0-E297462320DD}" dt="2023-11-24T08:55:46.291" v="108082"/>
          <ac:spMkLst>
            <pc:docMk/>
            <pc:sldMk cId="1033770688" sldId="2147478572"/>
            <ac:spMk id="706" creationId="{9806AA62-3D55-8743-00A6-741783D48ACB}"/>
          </ac:spMkLst>
        </pc:spChg>
        <pc:spChg chg="add del mod">
          <ac:chgData name="Steiner Andreas 6206 ED" userId="e6377c33-a923-4f14-8587-531c474c7b48" providerId="ADAL" clId="{6ECD27E6-B224-41CD-B4E0-E297462320DD}" dt="2023-11-24T08:55:48.543" v="108237"/>
          <ac:spMkLst>
            <pc:docMk/>
            <pc:sldMk cId="1033770688" sldId="2147478572"/>
            <ac:spMk id="707" creationId="{004FC0F2-F838-588B-CDAE-CE6E0D703AAD}"/>
          </ac:spMkLst>
        </pc:spChg>
        <pc:spChg chg="add del mod">
          <ac:chgData name="Steiner Andreas 6206 ED" userId="e6377c33-a923-4f14-8587-531c474c7b48" providerId="ADAL" clId="{6ECD27E6-B224-41CD-B4E0-E297462320DD}" dt="2023-11-24T08:55:50.966" v="108392"/>
          <ac:spMkLst>
            <pc:docMk/>
            <pc:sldMk cId="1033770688" sldId="2147478572"/>
            <ac:spMk id="708" creationId="{9F471509-F766-26EF-FEEA-980D22F9E748}"/>
          </ac:spMkLst>
        </pc:spChg>
        <pc:spChg chg="add del mod">
          <ac:chgData name="Steiner Andreas 6206 ED" userId="e6377c33-a923-4f14-8587-531c474c7b48" providerId="ADAL" clId="{6ECD27E6-B224-41CD-B4E0-E297462320DD}" dt="2023-11-24T08:55:53.022" v="108547"/>
          <ac:spMkLst>
            <pc:docMk/>
            <pc:sldMk cId="1033770688" sldId="2147478572"/>
            <ac:spMk id="709" creationId="{419F9EB7-1F48-000A-427A-8AD68F52DF0E}"/>
          </ac:spMkLst>
        </pc:spChg>
        <pc:spChg chg="add del mod">
          <ac:chgData name="Steiner Andreas 6206 ED" userId="e6377c33-a923-4f14-8587-531c474c7b48" providerId="ADAL" clId="{6ECD27E6-B224-41CD-B4E0-E297462320DD}" dt="2023-11-24T08:55:55.215" v="108702"/>
          <ac:spMkLst>
            <pc:docMk/>
            <pc:sldMk cId="1033770688" sldId="2147478572"/>
            <ac:spMk id="710" creationId="{29F1BAAB-EEE9-7223-A1CB-FE09EA163BB4}"/>
          </ac:spMkLst>
        </pc:spChg>
        <pc:spChg chg="add del mod">
          <ac:chgData name="Steiner Andreas 6206 ED" userId="e6377c33-a923-4f14-8587-531c474c7b48" providerId="ADAL" clId="{6ECD27E6-B224-41CD-B4E0-E297462320DD}" dt="2023-11-24T08:55:57.218" v="108857"/>
          <ac:spMkLst>
            <pc:docMk/>
            <pc:sldMk cId="1033770688" sldId="2147478572"/>
            <ac:spMk id="711" creationId="{7B2CA853-753F-A3EE-49A8-11A5AB176D77}"/>
          </ac:spMkLst>
        </pc:spChg>
        <pc:spChg chg="add del mod">
          <ac:chgData name="Steiner Andreas 6206 ED" userId="e6377c33-a923-4f14-8587-531c474c7b48" providerId="ADAL" clId="{6ECD27E6-B224-41CD-B4E0-E297462320DD}" dt="2023-11-24T08:55:59.305" v="109012"/>
          <ac:spMkLst>
            <pc:docMk/>
            <pc:sldMk cId="1033770688" sldId="2147478572"/>
            <ac:spMk id="712" creationId="{504A8DBF-CC8B-AB89-0024-A37CD7169D60}"/>
          </ac:spMkLst>
        </pc:spChg>
        <pc:spChg chg="add del mod">
          <ac:chgData name="Steiner Andreas 6206 ED" userId="e6377c33-a923-4f14-8587-531c474c7b48" providerId="ADAL" clId="{6ECD27E6-B224-41CD-B4E0-E297462320DD}" dt="2023-11-24T08:56:01.591" v="109167"/>
          <ac:spMkLst>
            <pc:docMk/>
            <pc:sldMk cId="1033770688" sldId="2147478572"/>
            <ac:spMk id="713" creationId="{3C9BC9DA-D9F3-D63B-898A-036D0CC12CE8}"/>
          </ac:spMkLst>
        </pc:spChg>
        <pc:spChg chg="add del mod">
          <ac:chgData name="Steiner Andreas 6206 ED" userId="e6377c33-a923-4f14-8587-531c474c7b48" providerId="ADAL" clId="{6ECD27E6-B224-41CD-B4E0-E297462320DD}" dt="2023-11-24T08:56:03.909" v="109322"/>
          <ac:spMkLst>
            <pc:docMk/>
            <pc:sldMk cId="1033770688" sldId="2147478572"/>
            <ac:spMk id="714" creationId="{61298602-203C-4278-CDE1-F473CA8B4DAC}"/>
          </ac:spMkLst>
        </pc:spChg>
        <pc:spChg chg="add del mod">
          <ac:chgData name="Steiner Andreas 6206 ED" userId="e6377c33-a923-4f14-8587-531c474c7b48" providerId="ADAL" clId="{6ECD27E6-B224-41CD-B4E0-E297462320DD}" dt="2023-11-24T08:56:06.176" v="109477"/>
          <ac:spMkLst>
            <pc:docMk/>
            <pc:sldMk cId="1033770688" sldId="2147478572"/>
            <ac:spMk id="715" creationId="{0421E283-A0CE-7C8A-5326-2B34E1478D52}"/>
          </ac:spMkLst>
        </pc:spChg>
        <pc:spChg chg="add del mod">
          <ac:chgData name="Steiner Andreas 6206 ED" userId="e6377c33-a923-4f14-8587-531c474c7b48" providerId="ADAL" clId="{6ECD27E6-B224-41CD-B4E0-E297462320DD}" dt="2023-11-24T08:56:08.512" v="109632"/>
          <ac:spMkLst>
            <pc:docMk/>
            <pc:sldMk cId="1033770688" sldId="2147478572"/>
            <ac:spMk id="716" creationId="{49D83636-E7F8-948A-A11C-CA8BE96BF845}"/>
          </ac:spMkLst>
        </pc:spChg>
        <pc:spChg chg="add del mod">
          <ac:chgData name="Steiner Andreas 6206 ED" userId="e6377c33-a923-4f14-8587-531c474c7b48" providerId="ADAL" clId="{6ECD27E6-B224-41CD-B4E0-E297462320DD}" dt="2023-11-24T08:56:10.545" v="109787"/>
          <ac:spMkLst>
            <pc:docMk/>
            <pc:sldMk cId="1033770688" sldId="2147478572"/>
            <ac:spMk id="717" creationId="{B7E1CB76-6278-DF8A-1C85-973358FE4454}"/>
          </ac:spMkLst>
        </pc:spChg>
        <pc:spChg chg="add del mod">
          <ac:chgData name="Steiner Andreas 6206 ED" userId="e6377c33-a923-4f14-8587-531c474c7b48" providerId="ADAL" clId="{6ECD27E6-B224-41CD-B4E0-E297462320DD}" dt="2023-11-24T08:56:12.645" v="109942"/>
          <ac:spMkLst>
            <pc:docMk/>
            <pc:sldMk cId="1033770688" sldId="2147478572"/>
            <ac:spMk id="718" creationId="{3923B798-8E8F-1CBB-3475-F067168599B9}"/>
          </ac:spMkLst>
        </pc:spChg>
        <pc:spChg chg="add del mod">
          <ac:chgData name="Steiner Andreas 6206 ED" userId="e6377c33-a923-4f14-8587-531c474c7b48" providerId="ADAL" clId="{6ECD27E6-B224-41CD-B4E0-E297462320DD}" dt="2023-11-24T08:56:14.800" v="110097"/>
          <ac:spMkLst>
            <pc:docMk/>
            <pc:sldMk cId="1033770688" sldId="2147478572"/>
            <ac:spMk id="719" creationId="{C4BC7B64-CDF2-11C6-9FF4-E1B0CD98DB3E}"/>
          </ac:spMkLst>
        </pc:spChg>
        <pc:spChg chg="add del mod">
          <ac:chgData name="Steiner Andreas 6206 ED" userId="e6377c33-a923-4f14-8587-531c474c7b48" providerId="ADAL" clId="{6ECD27E6-B224-41CD-B4E0-E297462320DD}" dt="2023-11-24T08:56:16.786" v="110252"/>
          <ac:spMkLst>
            <pc:docMk/>
            <pc:sldMk cId="1033770688" sldId="2147478572"/>
            <ac:spMk id="720" creationId="{A1D8D756-AF35-E665-2E45-1F8C751F5198}"/>
          </ac:spMkLst>
        </pc:spChg>
        <pc:spChg chg="add del mod">
          <ac:chgData name="Steiner Andreas 6206 ED" userId="e6377c33-a923-4f14-8587-531c474c7b48" providerId="ADAL" clId="{6ECD27E6-B224-41CD-B4E0-E297462320DD}" dt="2023-11-24T08:56:18.772" v="110407"/>
          <ac:spMkLst>
            <pc:docMk/>
            <pc:sldMk cId="1033770688" sldId="2147478572"/>
            <ac:spMk id="721" creationId="{59569068-6201-4AA1-5A34-C3006DED2DF5}"/>
          </ac:spMkLst>
        </pc:spChg>
        <pc:spChg chg="add del mod">
          <ac:chgData name="Steiner Andreas 6206 ED" userId="e6377c33-a923-4f14-8587-531c474c7b48" providerId="ADAL" clId="{6ECD27E6-B224-41CD-B4E0-E297462320DD}" dt="2023-11-24T08:56:20.722" v="110562"/>
          <ac:spMkLst>
            <pc:docMk/>
            <pc:sldMk cId="1033770688" sldId="2147478572"/>
            <ac:spMk id="722" creationId="{A0389EC4-4E89-12B2-D3E6-10BD06003078}"/>
          </ac:spMkLst>
        </pc:spChg>
        <pc:spChg chg="add del mod">
          <ac:chgData name="Steiner Andreas 6206 ED" userId="e6377c33-a923-4f14-8587-531c474c7b48" providerId="ADAL" clId="{6ECD27E6-B224-41CD-B4E0-E297462320DD}" dt="2023-11-24T08:56:22.783" v="110717"/>
          <ac:spMkLst>
            <pc:docMk/>
            <pc:sldMk cId="1033770688" sldId="2147478572"/>
            <ac:spMk id="723" creationId="{7F227B20-7906-697B-50A4-F71433D9477E}"/>
          </ac:spMkLst>
        </pc:spChg>
        <pc:spChg chg="add del mod">
          <ac:chgData name="Steiner Andreas 6206 ED" userId="e6377c33-a923-4f14-8587-531c474c7b48" providerId="ADAL" clId="{6ECD27E6-B224-41CD-B4E0-E297462320DD}" dt="2023-11-24T08:56:25.032" v="110872"/>
          <ac:spMkLst>
            <pc:docMk/>
            <pc:sldMk cId="1033770688" sldId="2147478572"/>
            <ac:spMk id="724" creationId="{CAB3ED86-5561-41EF-D689-E42C88766B03}"/>
          </ac:spMkLst>
        </pc:spChg>
        <pc:spChg chg="add del mod">
          <ac:chgData name="Steiner Andreas 6206 ED" userId="e6377c33-a923-4f14-8587-531c474c7b48" providerId="ADAL" clId="{6ECD27E6-B224-41CD-B4E0-E297462320DD}" dt="2023-11-24T08:56:27.067" v="111027"/>
          <ac:spMkLst>
            <pc:docMk/>
            <pc:sldMk cId="1033770688" sldId="2147478572"/>
            <ac:spMk id="725" creationId="{4EB2ABA7-957D-AC6B-CBD9-F1C38256CBFC}"/>
          </ac:spMkLst>
        </pc:spChg>
        <pc:spChg chg="add del mod">
          <ac:chgData name="Steiner Andreas 6206 ED" userId="e6377c33-a923-4f14-8587-531c474c7b48" providerId="ADAL" clId="{6ECD27E6-B224-41CD-B4E0-E297462320DD}" dt="2023-11-24T08:56:29.076" v="111182"/>
          <ac:spMkLst>
            <pc:docMk/>
            <pc:sldMk cId="1033770688" sldId="2147478572"/>
            <ac:spMk id="726" creationId="{1217CCFC-18F1-6D63-61F3-0D6996032FD6}"/>
          </ac:spMkLst>
        </pc:spChg>
        <pc:spChg chg="add del mod">
          <ac:chgData name="Steiner Andreas 6206 ED" userId="e6377c33-a923-4f14-8587-531c474c7b48" providerId="ADAL" clId="{6ECD27E6-B224-41CD-B4E0-E297462320DD}" dt="2023-11-24T08:56:31.205" v="111337"/>
          <ac:spMkLst>
            <pc:docMk/>
            <pc:sldMk cId="1033770688" sldId="2147478572"/>
            <ac:spMk id="727" creationId="{EA0FE705-B69D-267F-E6C1-115F1355A7FD}"/>
          </ac:spMkLst>
        </pc:spChg>
        <pc:spChg chg="add del mod">
          <ac:chgData name="Steiner Andreas 6206 ED" userId="e6377c33-a923-4f14-8587-531c474c7b48" providerId="ADAL" clId="{6ECD27E6-B224-41CD-B4E0-E297462320DD}" dt="2023-11-24T08:56:33.356" v="111492"/>
          <ac:spMkLst>
            <pc:docMk/>
            <pc:sldMk cId="1033770688" sldId="2147478572"/>
            <ac:spMk id="728" creationId="{FE8E08DD-AE77-DE4D-FAE9-A48D24FE48C3}"/>
          </ac:spMkLst>
        </pc:spChg>
        <pc:spChg chg="add del mod">
          <ac:chgData name="Steiner Andreas 6206 ED" userId="e6377c33-a923-4f14-8587-531c474c7b48" providerId="ADAL" clId="{6ECD27E6-B224-41CD-B4E0-E297462320DD}" dt="2023-11-24T08:56:35.561" v="111647"/>
          <ac:spMkLst>
            <pc:docMk/>
            <pc:sldMk cId="1033770688" sldId="2147478572"/>
            <ac:spMk id="729" creationId="{53F63FD8-863F-8D6F-9C08-CF012BFA4718}"/>
          </ac:spMkLst>
        </pc:spChg>
        <pc:spChg chg="add del mod">
          <ac:chgData name="Steiner Andreas 6206 ED" userId="e6377c33-a923-4f14-8587-531c474c7b48" providerId="ADAL" clId="{6ECD27E6-B224-41CD-B4E0-E297462320DD}" dt="2023-11-24T08:56:37.686" v="111802"/>
          <ac:spMkLst>
            <pc:docMk/>
            <pc:sldMk cId="1033770688" sldId="2147478572"/>
            <ac:spMk id="730" creationId="{678A0C3C-F999-13F8-E01C-80D65A18F874}"/>
          </ac:spMkLst>
        </pc:spChg>
        <pc:spChg chg="add del mod">
          <ac:chgData name="Steiner Andreas 6206 ED" userId="e6377c33-a923-4f14-8587-531c474c7b48" providerId="ADAL" clId="{6ECD27E6-B224-41CD-B4E0-E297462320DD}" dt="2023-11-24T08:56:39.839" v="111957"/>
          <ac:spMkLst>
            <pc:docMk/>
            <pc:sldMk cId="1033770688" sldId="2147478572"/>
            <ac:spMk id="731" creationId="{DBB0055E-9DF9-B835-08DD-3268CBDC0E62}"/>
          </ac:spMkLst>
        </pc:spChg>
        <pc:spChg chg="add del mod">
          <ac:chgData name="Steiner Andreas 6206 ED" userId="e6377c33-a923-4f14-8587-531c474c7b48" providerId="ADAL" clId="{6ECD27E6-B224-41CD-B4E0-E297462320DD}" dt="2023-11-24T08:56:41.794" v="112112"/>
          <ac:spMkLst>
            <pc:docMk/>
            <pc:sldMk cId="1033770688" sldId="2147478572"/>
            <ac:spMk id="732" creationId="{15C7944B-F8FF-2D66-7BC0-0B275A9897D1}"/>
          </ac:spMkLst>
        </pc:spChg>
        <pc:spChg chg="add del mod">
          <ac:chgData name="Steiner Andreas 6206 ED" userId="e6377c33-a923-4f14-8587-531c474c7b48" providerId="ADAL" clId="{6ECD27E6-B224-41CD-B4E0-E297462320DD}" dt="2023-11-24T08:56:43.775" v="112267"/>
          <ac:spMkLst>
            <pc:docMk/>
            <pc:sldMk cId="1033770688" sldId="2147478572"/>
            <ac:spMk id="733" creationId="{F9B987A6-25B4-3E7C-2F1B-AD53CD527BEE}"/>
          </ac:spMkLst>
        </pc:spChg>
        <pc:spChg chg="add del mod">
          <ac:chgData name="Steiner Andreas 6206 ED" userId="e6377c33-a923-4f14-8587-531c474c7b48" providerId="ADAL" clId="{6ECD27E6-B224-41CD-B4E0-E297462320DD}" dt="2023-11-24T08:56:45.815" v="112422"/>
          <ac:spMkLst>
            <pc:docMk/>
            <pc:sldMk cId="1033770688" sldId="2147478572"/>
            <ac:spMk id="734" creationId="{22D4B25E-3EB0-8305-B3FF-4CAE0C6D7F2E}"/>
          </ac:spMkLst>
        </pc:spChg>
        <pc:spChg chg="add del mod">
          <ac:chgData name="Steiner Andreas 6206 ED" userId="e6377c33-a923-4f14-8587-531c474c7b48" providerId="ADAL" clId="{6ECD27E6-B224-41CD-B4E0-E297462320DD}" dt="2023-11-24T08:56:48.030" v="112577"/>
          <ac:spMkLst>
            <pc:docMk/>
            <pc:sldMk cId="1033770688" sldId="2147478572"/>
            <ac:spMk id="735" creationId="{E6D35391-2E15-0DC1-7EFE-77BACED83723}"/>
          </ac:spMkLst>
        </pc:spChg>
        <pc:spChg chg="add del mod">
          <ac:chgData name="Steiner Andreas 6206 ED" userId="e6377c33-a923-4f14-8587-531c474c7b48" providerId="ADAL" clId="{6ECD27E6-B224-41CD-B4E0-E297462320DD}" dt="2023-11-24T08:56:50.088" v="112732"/>
          <ac:spMkLst>
            <pc:docMk/>
            <pc:sldMk cId="1033770688" sldId="2147478572"/>
            <ac:spMk id="736" creationId="{7DA03FA0-3429-BC48-D294-8FD428940EFF}"/>
          </ac:spMkLst>
        </pc:spChg>
        <pc:spChg chg="add del mod">
          <ac:chgData name="Steiner Andreas 6206 ED" userId="e6377c33-a923-4f14-8587-531c474c7b48" providerId="ADAL" clId="{6ECD27E6-B224-41CD-B4E0-E297462320DD}" dt="2023-11-24T08:56:52.006" v="112887"/>
          <ac:spMkLst>
            <pc:docMk/>
            <pc:sldMk cId="1033770688" sldId="2147478572"/>
            <ac:spMk id="737" creationId="{744CD33A-A5B0-DDBC-2691-1FECA9C871D9}"/>
          </ac:spMkLst>
        </pc:spChg>
        <pc:spChg chg="add del mod">
          <ac:chgData name="Steiner Andreas 6206 ED" userId="e6377c33-a923-4f14-8587-531c474c7b48" providerId="ADAL" clId="{6ECD27E6-B224-41CD-B4E0-E297462320DD}" dt="2023-11-24T08:56:53.973" v="113042"/>
          <ac:spMkLst>
            <pc:docMk/>
            <pc:sldMk cId="1033770688" sldId="2147478572"/>
            <ac:spMk id="738" creationId="{327FAE54-B3B7-83C0-82B9-685290316D18}"/>
          </ac:spMkLst>
        </pc:spChg>
        <pc:spChg chg="add del mod">
          <ac:chgData name="Steiner Andreas 6206 ED" userId="e6377c33-a923-4f14-8587-531c474c7b48" providerId="ADAL" clId="{6ECD27E6-B224-41CD-B4E0-E297462320DD}" dt="2023-11-24T08:56:56.109" v="113197"/>
          <ac:spMkLst>
            <pc:docMk/>
            <pc:sldMk cId="1033770688" sldId="2147478572"/>
            <ac:spMk id="739" creationId="{34FA1764-A794-5206-9F28-6638322666C0}"/>
          </ac:spMkLst>
        </pc:spChg>
        <pc:spChg chg="add del mod">
          <ac:chgData name="Steiner Andreas 6206 ED" userId="e6377c33-a923-4f14-8587-531c474c7b48" providerId="ADAL" clId="{6ECD27E6-B224-41CD-B4E0-E297462320DD}" dt="2023-11-24T08:56:58.153" v="113352"/>
          <ac:spMkLst>
            <pc:docMk/>
            <pc:sldMk cId="1033770688" sldId="2147478572"/>
            <ac:spMk id="740" creationId="{5FD7FD51-C711-137E-0F1F-8604FA41983F}"/>
          </ac:spMkLst>
        </pc:spChg>
        <pc:spChg chg="add del mod">
          <ac:chgData name="Steiner Andreas 6206 ED" userId="e6377c33-a923-4f14-8587-531c474c7b48" providerId="ADAL" clId="{6ECD27E6-B224-41CD-B4E0-E297462320DD}" dt="2023-11-24T08:57:00.516" v="113507"/>
          <ac:spMkLst>
            <pc:docMk/>
            <pc:sldMk cId="1033770688" sldId="2147478572"/>
            <ac:spMk id="741" creationId="{4917D232-E8B9-BEB5-1B23-4C9A20D6A382}"/>
          </ac:spMkLst>
        </pc:spChg>
        <pc:spChg chg="add del mod">
          <ac:chgData name="Steiner Andreas 6206 ED" userId="e6377c33-a923-4f14-8587-531c474c7b48" providerId="ADAL" clId="{6ECD27E6-B224-41CD-B4E0-E297462320DD}" dt="2023-11-24T08:57:02.712" v="113662"/>
          <ac:spMkLst>
            <pc:docMk/>
            <pc:sldMk cId="1033770688" sldId="2147478572"/>
            <ac:spMk id="742" creationId="{E38420F7-DEA8-F983-89BE-6DE01700C6B5}"/>
          </ac:spMkLst>
        </pc:spChg>
        <pc:spChg chg="add del mod">
          <ac:chgData name="Steiner Andreas 6206 ED" userId="e6377c33-a923-4f14-8587-531c474c7b48" providerId="ADAL" clId="{6ECD27E6-B224-41CD-B4E0-E297462320DD}" dt="2023-11-24T09:02:21.333" v="113817"/>
          <ac:spMkLst>
            <pc:docMk/>
            <pc:sldMk cId="1033770688" sldId="2147478572"/>
            <ac:spMk id="743" creationId="{D14737F0-B456-38AB-033A-6E9B29F8B7F3}"/>
          </ac:spMkLst>
        </pc:spChg>
        <pc:spChg chg="add del mod">
          <ac:chgData name="Steiner Andreas 6206 ED" userId="e6377c33-a923-4f14-8587-531c474c7b48" providerId="ADAL" clId="{6ECD27E6-B224-41CD-B4E0-E297462320DD}" dt="2023-11-24T09:02:27.167" v="113972"/>
          <ac:spMkLst>
            <pc:docMk/>
            <pc:sldMk cId="1033770688" sldId="2147478572"/>
            <ac:spMk id="744" creationId="{34DFDF1F-B111-20D9-720E-951F81A49CA4}"/>
          </ac:spMkLst>
        </pc:spChg>
        <pc:spChg chg="add del mod">
          <ac:chgData name="Steiner Andreas 6206 ED" userId="e6377c33-a923-4f14-8587-531c474c7b48" providerId="ADAL" clId="{6ECD27E6-B224-41CD-B4E0-E297462320DD}" dt="2023-11-24T09:02:29.568" v="114127"/>
          <ac:spMkLst>
            <pc:docMk/>
            <pc:sldMk cId="1033770688" sldId="2147478572"/>
            <ac:spMk id="745" creationId="{CD9BAEF0-BA2E-D4DE-41AC-37D7D994364C}"/>
          </ac:spMkLst>
        </pc:spChg>
        <pc:spChg chg="add del mod">
          <ac:chgData name="Steiner Andreas 6206 ED" userId="e6377c33-a923-4f14-8587-531c474c7b48" providerId="ADAL" clId="{6ECD27E6-B224-41CD-B4E0-E297462320DD}" dt="2023-11-24T09:02:32.808" v="114282"/>
          <ac:spMkLst>
            <pc:docMk/>
            <pc:sldMk cId="1033770688" sldId="2147478572"/>
            <ac:spMk id="746" creationId="{20265848-5126-0B48-1A00-8B6B86F983C9}"/>
          </ac:spMkLst>
        </pc:spChg>
        <pc:spChg chg="add del mod">
          <ac:chgData name="Steiner Andreas 6206 ED" userId="e6377c33-a923-4f14-8587-531c474c7b48" providerId="ADAL" clId="{6ECD27E6-B224-41CD-B4E0-E297462320DD}" dt="2023-11-24T09:02:36.234" v="114437"/>
          <ac:spMkLst>
            <pc:docMk/>
            <pc:sldMk cId="1033770688" sldId="2147478572"/>
            <ac:spMk id="747" creationId="{F5A10D57-849B-D036-AC97-2B1B487FDD4C}"/>
          </ac:spMkLst>
        </pc:spChg>
        <pc:spChg chg="add del mod">
          <ac:chgData name="Steiner Andreas 6206 ED" userId="e6377c33-a923-4f14-8587-531c474c7b48" providerId="ADAL" clId="{6ECD27E6-B224-41CD-B4E0-E297462320DD}" dt="2023-11-24T11:31:22.095" v="114592"/>
          <ac:spMkLst>
            <pc:docMk/>
            <pc:sldMk cId="1033770688" sldId="2147478572"/>
            <ac:spMk id="748" creationId="{76BFBCA6-0B26-6C06-0810-1CB002BA8D19}"/>
          </ac:spMkLst>
        </pc:spChg>
        <pc:spChg chg="add del mod">
          <ac:chgData name="Steiner Andreas 6206 ED" userId="e6377c33-a923-4f14-8587-531c474c7b48" providerId="ADAL" clId="{6ECD27E6-B224-41CD-B4E0-E297462320DD}" dt="2023-11-24T11:33:29.455" v="114747"/>
          <ac:spMkLst>
            <pc:docMk/>
            <pc:sldMk cId="1033770688" sldId="2147478572"/>
            <ac:spMk id="749" creationId="{DFD17339-F860-4C81-AA0C-AE1B6202CA74}"/>
          </ac:spMkLst>
        </pc:spChg>
        <pc:spChg chg="add del mod">
          <ac:chgData name="Steiner Andreas 6206 ED" userId="e6377c33-a923-4f14-8587-531c474c7b48" providerId="ADAL" clId="{6ECD27E6-B224-41CD-B4E0-E297462320DD}" dt="2023-11-24T11:33:35.925" v="114902"/>
          <ac:spMkLst>
            <pc:docMk/>
            <pc:sldMk cId="1033770688" sldId="2147478572"/>
            <ac:spMk id="750" creationId="{FBE1195D-FCB2-93D9-A65B-1DBFD30B6BC8}"/>
          </ac:spMkLst>
        </pc:spChg>
        <pc:spChg chg="add del mod">
          <ac:chgData name="Steiner Andreas 6206 ED" userId="e6377c33-a923-4f14-8587-531c474c7b48" providerId="ADAL" clId="{6ECD27E6-B224-41CD-B4E0-E297462320DD}" dt="2023-11-24T11:33:39.017" v="115057"/>
          <ac:spMkLst>
            <pc:docMk/>
            <pc:sldMk cId="1033770688" sldId="2147478572"/>
            <ac:spMk id="751" creationId="{8CA4B32A-765D-A484-F9C8-7A72F428BCD3}"/>
          </ac:spMkLst>
        </pc:spChg>
        <pc:spChg chg="add del mod">
          <ac:chgData name="Steiner Andreas 6206 ED" userId="e6377c33-a923-4f14-8587-531c474c7b48" providerId="ADAL" clId="{6ECD27E6-B224-41CD-B4E0-E297462320DD}" dt="2023-11-24T11:33:42.515" v="115212"/>
          <ac:spMkLst>
            <pc:docMk/>
            <pc:sldMk cId="1033770688" sldId="2147478572"/>
            <ac:spMk id="752" creationId="{BB67A878-1879-2F0A-22A6-F5B8D2604832}"/>
          </ac:spMkLst>
        </pc:spChg>
        <pc:spChg chg="add del mod">
          <ac:chgData name="Steiner Andreas 6206 ED" userId="e6377c33-a923-4f14-8587-531c474c7b48" providerId="ADAL" clId="{6ECD27E6-B224-41CD-B4E0-E297462320DD}" dt="2023-11-24T11:33:45.785" v="115367"/>
          <ac:spMkLst>
            <pc:docMk/>
            <pc:sldMk cId="1033770688" sldId="2147478572"/>
            <ac:spMk id="753" creationId="{980D7CAC-EE92-C8C4-1D16-8DE0DBC28F56}"/>
          </ac:spMkLst>
        </pc:spChg>
        <pc:spChg chg="add del mod">
          <ac:chgData name="Steiner Andreas 6206 ED" userId="e6377c33-a923-4f14-8587-531c474c7b48" providerId="ADAL" clId="{6ECD27E6-B224-41CD-B4E0-E297462320DD}" dt="2023-11-24T11:33:48.954" v="115522"/>
          <ac:spMkLst>
            <pc:docMk/>
            <pc:sldMk cId="1033770688" sldId="2147478572"/>
            <ac:spMk id="754" creationId="{0C3D3C1A-F8E7-36B6-AA7D-25DDBD892AD5}"/>
          </ac:spMkLst>
        </pc:spChg>
        <pc:spChg chg="add del mod">
          <ac:chgData name="Steiner Andreas 6206 ED" userId="e6377c33-a923-4f14-8587-531c474c7b48" providerId="ADAL" clId="{6ECD27E6-B224-41CD-B4E0-E297462320DD}" dt="2023-11-24T11:33:51.633" v="115677"/>
          <ac:spMkLst>
            <pc:docMk/>
            <pc:sldMk cId="1033770688" sldId="2147478572"/>
            <ac:spMk id="755" creationId="{FE02908C-A350-6BED-DD83-434DEC6A331D}"/>
          </ac:spMkLst>
        </pc:spChg>
        <pc:spChg chg="add del mod">
          <ac:chgData name="Steiner Andreas 6206 ED" userId="e6377c33-a923-4f14-8587-531c474c7b48" providerId="ADAL" clId="{6ECD27E6-B224-41CD-B4E0-E297462320DD}" dt="2023-11-24T11:33:54.481" v="115832"/>
          <ac:spMkLst>
            <pc:docMk/>
            <pc:sldMk cId="1033770688" sldId="2147478572"/>
            <ac:spMk id="756" creationId="{B6541030-2115-98CB-7071-8B0251FE3FC5}"/>
          </ac:spMkLst>
        </pc:spChg>
        <pc:spChg chg="add del mod">
          <ac:chgData name="Steiner Andreas 6206 ED" userId="e6377c33-a923-4f14-8587-531c474c7b48" providerId="ADAL" clId="{6ECD27E6-B224-41CD-B4E0-E297462320DD}" dt="2023-11-24T11:33:57.065" v="115987"/>
          <ac:spMkLst>
            <pc:docMk/>
            <pc:sldMk cId="1033770688" sldId="2147478572"/>
            <ac:spMk id="757" creationId="{DC3C9F7A-CD7C-B4A9-CE8F-2B759EB23518}"/>
          </ac:spMkLst>
        </pc:spChg>
        <pc:spChg chg="add del mod">
          <ac:chgData name="Steiner Andreas 6206 ED" userId="e6377c33-a923-4f14-8587-531c474c7b48" providerId="ADAL" clId="{6ECD27E6-B224-41CD-B4E0-E297462320DD}" dt="2023-11-24T11:33:59.403" v="116142"/>
          <ac:spMkLst>
            <pc:docMk/>
            <pc:sldMk cId="1033770688" sldId="2147478572"/>
            <ac:spMk id="758" creationId="{B5846105-B4B0-8136-799F-B70B7DB00E6C}"/>
          </ac:spMkLst>
        </pc:spChg>
        <pc:spChg chg="add del mod">
          <ac:chgData name="Steiner Andreas 6206 ED" userId="e6377c33-a923-4f14-8587-531c474c7b48" providerId="ADAL" clId="{6ECD27E6-B224-41CD-B4E0-E297462320DD}" dt="2023-11-24T11:34:01.794" v="116297"/>
          <ac:spMkLst>
            <pc:docMk/>
            <pc:sldMk cId="1033770688" sldId="2147478572"/>
            <ac:spMk id="759" creationId="{BD415584-A7FA-4F59-B604-D7EF2ECE076F}"/>
          </ac:spMkLst>
        </pc:spChg>
        <pc:spChg chg="add del mod">
          <ac:chgData name="Steiner Andreas 6206 ED" userId="e6377c33-a923-4f14-8587-531c474c7b48" providerId="ADAL" clId="{6ECD27E6-B224-41CD-B4E0-E297462320DD}" dt="2023-11-24T11:34:04.138" v="116452"/>
          <ac:spMkLst>
            <pc:docMk/>
            <pc:sldMk cId="1033770688" sldId="2147478572"/>
            <ac:spMk id="760" creationId="{ABD8FD7E-D4C1-3BC4-F496-147DC006B7D7}"/>
          </ac:spMkLst>
        </pc:spChg>
        <pc:spChg chg="add del mod">
          <ac:chgData name="Steiner Andreas 6206 ED" userId="e6377c33-a923-4f14-8587-531c474c7b48" providerId="ADAL" clId="{6ECD27E6-B224-41CD-B4E0-E297462320DD}" dt="2023-11-24T11:34:06.537" v="116607"/>
          <ac:spMkLst>
            <pc:docMk/>
            <pc:sldMk cId="1033770688" sldId="2147478572"/>
            <ac:spMk id="761" creationId="{20B271F0-9C63-E49F-AC99-06BCB2DF2201}"/>
          </ac:spMkLst>
        </pc:spChg>
        <pc:spChg chg="add del mod">
          <ac:chgData name="Steiner Andreas 6206 ED" userId="e6377c33-a923-4f14-8587-531c474c7b48" providerId="ADAL" clId="{6ECD27E6-B224-41CD-B4E0-E297462320DD}" dt="2023-11-24T11:34:09.134" v="116762"/>
          <ac:spMkLst>
            <pc:docMk/>
            <pc:sldMk cId="1033770688" sldId="2147478572"/>
            <ac:spMk id="762" creationId="{DE88A641-7BA3-66C3-F83A-305D85C74CA9}"/>
          </ac:spMkLst>
        </pc:spChg>
        <pc:spChg chg="add del mod">
          <ac:chgData name="Steiner Andreas 6206 ED" userId="e6377c33-a923-4f14-8587-531c474c7b48" providerId="ADAL" clId="{6ECD27E6-B224-41CD-B4E0-E297462320DD}" dt="2023-11-24T11:34:11.273" v="116917"/>
          <ac:spMkLst>
            <pc:docMk/>
            <pc:sldMk cId="1033770688" sldId="2147478572"/>
            <ac:spMk id="763" creationId="{3780641A-4451-8C95-FF87-9667C6EA2721}"/>
          </ac:spMkLst>
        </pc:spChg>
        <pc:spChg chg="add del mod">
          <ac:chgData name="Steiner Andreas 6206 ED" userId="e6377c33-a923-4f14-8587-531c474c7b48" providerId="ADAL" clId="{6ECD27E6-B224-41CD-B4E0-E297462320DD}" dt="2023-11-24T11:34:13.017" v="117072"/>
          <ac:spMkLst>
            <pc:docMk/>
            <pc:sldMk cId="1033770688" sldId="2147478572"/>
            <ac:spMk id="764" creationId="{4BF90C08-1F6E-2CF5-9C73-5283B03A8FB9}"/>
          </ac:spMkLst>
        </pc:spChg>
        <pc:spChg chg="add del mod">
          <ac:chgData name="Steiner Andreas 6206 ED" userId="e6377c33-a923-4f14-8587-531c474c7b48" providerId="ADAL" clId="{6ECD27E6-B224-41CD-B4E0-E297462320DD}" dt="2023-11-24T11:34:14.805" v="117227"/>
          <ac:spMkLst>
            <pc:docMk/>
            <pc:sldMk cId="1033770688" sldId="2147478572"/>
            <ac:spMk id="765" creationId="{0689AF6B-2C8A-49D9-1619-720F457CFD31}"/>
          </ac:spMkLst>
        </pc:spChg>
        <pc:spChg chg="add del mod">
          <ac:chgData name="Steiner Andreas 6206 ED" userId="e6377c33-a923-4f14-8587-531c474c7b48" providerId="ADAL" clId="{6ECD27E6-B224-41CD-B4E0-E297462320DD}" dt="2023-11-24T11:34:16.583" v="117382"/>
          <ac:spMkLst>
            <pc:docMk/>
            <pc:sldMk cId="1033770688" sldId="2147478572"/>
            <ac:spMk id="766" creationId="{1B0E637E-513B-51FB-39B1-C610811C8719}"/>
          </ac:spMkLst>
        </pc:spChg>
        <pc:spChg chg="add del mod">
          <ac:chgData name="Steiner Andreas 6206 ED" userId="e6377c33-a923-4f14-8587-531c474c7b48" providerId="ADAL" clId="{6ECD27E6-B224-41CD-B4E0-E297462320DD}" dt="2023-11-24T11:34:18.425" v="117537"/>
          <ac:spMkLst>
            <pc:docMk/>
            <pc:sldMk cId="1033770688" sldId="2147478572"/>
            <ac:spMk id="767" creationId="{B35A25CB-C53E-F90D-BD9B-BD68C264C0D5}"/>
          </ac:spMkLst>
        </pc:spChg>
        <pc:spChg chg="add del mod">
          <ac:chgData name="Steiner Andreas 6206 ED" userId="e6377c33-a923-4f14-8587-531c474c7b48" providerId="ADAL" clId="{6ECD27E6-B224-41CD-B4E0-E297462320DD}" dt="2023-11-24T11:34:20.458" v="117692"/>
          <ac:spMkLst>
            <pc:docMk/>
            <pc:sldMk cId="1033770688" sldId="2147478572"/>
            <ac:spMk id="768" creationId="{98A4112C-5BAD-8A42-6D1B-FA8E35D3556D}"/>
          </ac:spMkLst>
        </pc:spChg>
        <pc:spChg chg="add del mod">
          <ac:chgData name="Steiner Andreas 6206 ED" userId="e6377c33-a923-4f14-8587-531c474c7b48" providerId="ADAL" clId="{6ECD27E6-B224-41CD-B4E0-E297462320DD}" dt="2023-11-24T11:34:22.456" v="117847"/>
          <ac:spMkLst>
            <pc:docMk/>
            <pc:sldMk cId="1033770688" sldId="2147478572"/>
            <ac:spMk id="769" creationId="{F98888AF-4B33-406F-5232-73DBA117A2B1}"/>
          </ac:spMkLst>
        </pc:spChg>
        <pc:spChg chg="add del mod">
          <ac:chgData name="Steiner Andreas 6206 ED" userId="e6377c33-a923-4f14-8587-531c474c7b48" providerId="ADAL" clId="{6ECD27E6-B224-41CD-B4E0-E297462320DD}" dt="2023-11-24T11:34:24.561" v="118002"/>
          <ac:spMkLst>
            <pc:docMk/>
            <pc:sldMk cId="1033770688" sldId="2147478572"/>
            <ac:spMk id="770" creationId="{6857ED25-3258-C79C-658E-1CB4D105279F}"/>
          </ac:spMkLst>
        </pc:spChg>
        <pc:spChg chg="add del mod">
          <ac:chgData name="Steiner Andreas 6206 ED" userId="e6377c33-a923-4f14-8587-531c474c7b48" providerId="ADAL" clId="{6ECD27E6-B224-41CD-B4E0-E297462320DD}" dt="2023-11-24T11:34:26.931" v="118157"/>
          <ac:spMkLst>
            <pc:docMk/>
            <pc:sldMk cId="1033770688" sldId="2147478572"/>
            <ac:spMk id="771" creationId="{E4DD8CEA-CF95-6D30-6F05-8D91CE33218B}"/>
          </ac:spMkLst>
        </pc:spChg>
        <pc:spChg chg="add del mod">
          <ac:chgData name="Steiner Andreas 6206 ED" userId="e6377c33-a923-4f14-8587-531c474c7b48" providerId="ADAL" clId="{6ECD27E6-B224-41CD-B4E0-E297462320DD}" dt="2023-11-24T11:34:29.086" v="118312"/>
          <ac:spMkLst>
            <pc:docMk/>
            <pc:sldMk cId="1033770688" sldId="2147478572"/>
            <ac:spMk id="772" creationId="{A67BAB19-A09D-A776-D085-70B9AD114308}"/>
          </ac:spMkLst>
        </pc:spChg>
        <pc:spChg chg="add del mod">
          <ac:chgData name="Steiner Andreas 6206 ED" userId="e6377c33-a923-4f14-8587-531c474c7b48" providerId="ADAL" clId="{6ECD27E6-B224-41CD-B4E0-E297462320DD}" dt="2023-11-24T11:34:31.358" v="118467"/>
          <ac:spMkLst>
            <pc:docMk/>
            <pc:sldMk cId="1033770688" sldId="2147478572"/>
            <ac:spMk id="773" creationId="{E3E91120-7675-FA5C-CA74-5AD8FDBC28D3}"/>
          </ac:spMkLst>
        </pc:spChg>
        <pc:spChg chg="add del mod">
          <ac:chgData name="Steiner Andreas 6206 ED" userId="e6377c33-a923-4f14-8587-531c474c7b48" providerId="ADAL" clId="{6ECD27E6-B224-41CD-B4E0-E297462320DD}" dt="2023-11-24T11:34:33.417" v="118622"/>
          <ac:spMkLst>
            <pc:docMk/>
            <pc:sldMk cId="1033770688" sldId="2147478572"/>
            <ac:spMk id="774" creationId="{10E44790-EAC3-B915-1E0F-11F2DF35C1E7}"/>
          </ac:spMkLst>
        </pc:spChg>
        <pc:spChg chg="add del mod">
          <ac:chgData name="Steiner Andreas 6206 ED" userId="e6377c33-a923-4f14-8587-531c474c7b48" providerId="ADAL" clId="{6ECD27E6-B224-41CD-B4E0-E297462320DD}" dt="2023-11-24T11:34:35.385" v="118777"/>
          <ac:spMkLst>
            <pc:docMk/>
            <pc:sldMk cId="1033770688" sldId="2147478572"/>
            <ac:spMk id="775" creationId="{CE6E7CA1-C0E6-311C-8532-09EFB5500F44}"/>
          </ac:spMkLst>
        </pc:spChg>
        <pc:spChg chg="add del mod">
          <ac:chgData name="Steiner Andreas 6206 ED" userId="e6377c33-a923-4f14-8587-531c474c7b48" providerId="ADAL" clId="{6ECD27E6-B224-41CD-B4E0-E297462320DD}" dt="2023-11-24T11:34:37.414" v="118932"/>
          <ac:spMkLst>
            <pc:docMk/>
            <pc:sldMk cId="1033770688" sldId="2147478572"/>
            <ac:spMk id="776" creationId="{FAF9AD76-3B98-E203-F294-D2B2E974E0A6}"/>
          </ac:spMkLst>
        </pc:spChg>
        <pc:spChg chg="add del mod">
          <ac:chgData name="Steiner Andreas 6206 ED" userId="e6377c33-a923-4f14-8587-531c474c7b48" providerId="ADAL" clId="{6ECD27E6-B224-41CD-B4E0-E297462320DD}" dt="2023-11-24T11:34:39.422" v="119087"/>
          <ac:spMkLst>
            <pc:docMk/>
            <pc:sldMk cId="1033770688" sldId="2147478572"/>
            <ac:spMk id="777" creationId="{CB4C0481-A9F9-F668-50CB-FEF006E4372E}"/>
          </ac:spMkLst>
        </pc:spChg>
        <pc:spChg chg="add del mod">
          <ac:chgData name="Steiner Andreas 6206 ED" userId="e6377c33-a923-4f14-8587-531c474c7b48" providerId="ADAL" clId="{6ECD27E6-B224-41CD-B4E0-E297462320DD}" dt="2023-11-24T11:34:41.499" v="119242"/>
          <ac:spMkLst>
            <pc:docMk/>
            <pc:sldMk cId="1033770688" sldId="2147478572"/>
            <ac:spMk id="778" creationId="{FDEB3820-5D20-87EB-90FE-D455119AF9B4}"/>
          </ac:spMkLst>
        </pc:spChg>
        <pc:spChg chg="add del mod">
          <ac:chgData name="Steiner Andreas 6206 ED" userId="e6377c33-a923-4f14-8587-531c474c7b48" providerId="ADAL" clId="{6ECD27E6-B224-41CD-B4E0-E297462320DD}" dt="2023-11-24T11:34:43.700" v="119397"/>
          <ac:spMkLst>
            <pc:docMk/>
            <pc:sldMk cId="1033770688" sldId="2147478572"/>
            <ac:spMk id="779" creationId="{B708EF85-3A06-8D94-0592-90F5A6DA6213}"/>
          </ac:spMkLst>
        </pc:spChg>
        <pc:spChg chg="add del mod">
          <ac:chgData name="Steiner Andreas 6206 ED" userId="e6377c33-a923-4f14-8587-531c474c7b48" providerId="ADAL" clId="{6ECD27E6-B224-41CD-B4E0-E297462320DD}" dt="2023-11-24T11:34:45.704" v="119552"/>
          <ac:spMkLst>
            <pc:docMk/>
            <pc:sldMk cId="1033770688" sldId="2147478572"/>
            <ac:spMk id="780" creationId="{473CD914-1084-96D3-0A9D-B9F2238C2455}"/>
          </ac:spMkLst>
        </pc:spChg>
        <pc:spChg chg="add del mod">
          <ac:chgData name="Steiner Andreas 6206 ED" userId="e6377c33-a923-4f14-8587-531c474c7b48" providerId="ADAL" clId="{6ECD27E6-B224-41CD-B4E0-E297462320DD}" dt="2023-11-24T11:34:47.696" v="119707"/>
          <ac:spMkLst>
            <pc:docMk/>
            <pc:sldMk cId="1033770688" sldId="2147478572"/>
            <ac:spMk id="781" creationId="{6C966205-3567-7976-A8A4-9FBBC00A480B}"/>
          </ac:spMkLst>
        </pc:spChg>
        <pc:spChg chg="add del mod">
          <ac:chgData name="Steiner Andreas 6206 ED" userId="e6377c33-a923-4f14-8587-531c474c7b48" providerId="ADAL" clId="{6ECD27E6-B224-41CD-B4E0-E297462320DD}" dt="2023-11-24T11:34:49.779" v="119862"/>
          <ac:spMkLst>
            <pc:docMk/>
            <pc:sldMk cId="1033770688" sldId="2147478572"/>
            <ac:spMk id="782" creationId="{BCCCA4E0-7906-81C0-F78A-B7D18E84EF1A}"/>
          </ac:spMkLst>
        </pc:spChg>
        <pc:spChg chg="add del mod">
          <ac:chgData name="Steiner Andreas 6206 ED" userId="e6377c33-a923-4f14-8587-531c474c7b48" providerId="ADAL" clId="{6ECD27E6-B224-41CD-B4E0-E297462320DD}" dt="2023-11-24T11:34:51.945" v="120017"/>
          <ac:spMkLst>
            <pc:docMk/>
            <pc:sldMk cId="1033770688" sldId="2147478572"/>
            <ac:spMk id="783" creationId="{B5FB3252-C35C-E398-BF46-B9C19E5DFEA5}"/>
          </ac:spMkLst>
        </pc:spChg>
        <pc:spChg chg="add del mod">
          <ac:chgData name="Steiner Andreas 6206 ED" userId="e6377c33-a923-4f14-8587-531c474c7b48" providerId="ADAL" clId="{6ECD27E6-B224-41CD-B4E0-E297462320DD}" dt="2023-11-24T11:34:53.940" v="120172"/>
          <ac:spMkLst>
            <pc:docMk/>
            <pc:sldMk cId="1033770688" sldId="2147478572"/>
            <ac:spMk id="784" creationId="{3207DDC2-FBA0-24D8-46A6-96E07BD26C1C}"/>
          </ac:spMkLst>
        </pc:spChg>
        <pc:spChg chg="add del mod">
          <ac:chgData name="Steiner Andreas 6206 ED" userId="e6377c33-a923-4f14-8587-531c474c7b48" providerId="ADAL" clId="{6ECD27E6-B224-41CD-B4E0-E297462320DD}" dt="2023-11-24T11:34:55.772" v="120327"/>
          <ac:spMkLst>
            <pc:docMk/>
            <pc:sldMk cId="1033770688" sldId="2147478572"/>
            <ac:spMk id="785" creationId="{7DBDD13D-7BA1-FD57-319E-3B0A01E50454}"/>
          </ac:spMkLst>
        </pc:spChg>
        <pc:spChg chg="add del mod">
          <ac:chgData name="Steiner Andreas 6206 ED" userId="e6377c33-a923-4f14-8587-531c474c7b48" providerId="ADAL" clId="{6ECD27E6-B224-41CD-B4E0-E297462320DD}" dt="2023-11-24T11:34:57.624" v="120482"/>
          <ac:spMkLst>
            <pc:docMk/>
            <pc:sldMk cId="1033770688" sldId="2147478572"/>
            <ac:spMk id="786" creationId="{D06D323C-389F-E023-8B9B-DC78E56AC9B3}"/>
          </ac:spMkLst>
        </pc:spChg>
        <pc:spChg chg="add del mod">
          <ac:chgData name="Steiner Andreas 6206 ED" userId="e6377c33-a923-4f14-8587-531c474c7b48" providerId="ADAL" clId="{6ECD27E6-B224-41CD-B4E0-E297462320DD}" dt="2023-11-24T11:34:59.496" v="120637"/>
          <ac:spMkLst>
            <pc:docMk/>
            <pc:sldMk cId="1033770688" sldId="2147478572"/>
            <ac:spMk id="787" creationId="{895E4A22-FBCA-E9E7-1F7C-8E5EA7F4CE71}"/>
          </ac:spMkLst>
        </pc:spChg>
        <pc:spChg chg="add del mod">
          <ac:chgData name="Steiner Andreas 6206 ED" userId="e6377c33-a923-4f14-8587-531c474c7b48" providerId="ADAL" clId="{6ECD27E6-B224-41CD-B4E0-E297462320DD}" dt="2023-11-24T11:35:01.330" v="120792"/>
          <ac:spMkLst>
            <pc:docMk/>
            <pc:sldMk cId="1033770688" sldId="2147478572"/>
            <ac:spMk id="788" creationId="{8D42EC5F-B7E6-9674-911F-5FE97212BCBD}"/>
          </ac:spMkLst>
        </pc:spChg>
        <pc:spChg chg="add del mod">
          <ac:chgData name="Steiner Andreas 6206 ED" userId="e6377c33-a923-4f14-8587-531c474c7b48" providerId="ADAL" clId="{6ECD27E6-B224-41CD-B4E0-E297462320DD}" dt="2023-11-24T11:35:03.202" v="120947"/>
          <ac:spMkLst>
            <pc:docMk/>
            <pc:sldMk cId="1033770688" sldId="2147478572"/>
            <ac:spMk id="789" creationId="{B74577D4-3AD0-D4D3-2B62-26E6E4847BC9}"/>
          </ac:spMkLst>
        </pc:spChg>
        <pc:spChg chg="add del mod">
          <ac:chgData name="Steiner Andreas 6206 ED" userId="e6377c33-a923-4f14-8587-531c474c7b48" providerId="ADAL" clId="{6ECD27E6-B224-41CD-B4E0-E297462320DD}" dt="2023-11-24T11:35:05.094" v="121102"/>
          <ac:spMkLst>
            <pc:docMk/>
            <pc:sldMk cId="1033770688" sldId="2147478572"/>
            <ac:spMk id="790" creationId="{FC7A1750-3778-50AC-7F90-E543D8B791A0}"/>
          </ac:spMkLst>
        </pc:spChg>
        <pc:spChg chg="add del mod">
          <ac:chgData name="Steiner Andreas 6206 ED" userId="e6377c33-a923-4f14-8587-531c474c7b48" providerId="ADAL" clId="{6ECD27E6-B224-41CD-B4E0-E297462320DD}" dt="2023-11-24T11:35:07.203" v="121257"/>
          <ac:spMkLst>
            <pc:docMk/>
            <pc:sldMk cId="1033770688" sldId="2147478572"/>
            <ac:spMk id="791" creationId="{240357FA-9E3C-9F1C-4037-7B65B2F63F9F}"/>
          </ac:spMkLst>
        </pc:spChg>
        <pc:spChg chg="add del mod">
          <ac:chgData name="Steiner Andreas 6206 ED" userId="e6377c33-a923-4f14-8587-531c474c7b48" providerId="ADAL" clId="{6ECD27E6-B224-41CD-B4E0-E297462320DD}" dt="2023-11-24T11:35:09.268" v="121412"/>
          <ac:spMkLst>
            <pc:docMk/>
            <pc:sldMk cId="1033770688" sldId="2147478572"/>
            <ac:spMk id="792" creationId="{14B05799-F0B2-EC28-A662-4F49906773E0}"/>
          </ac:spMkLst>
        </pc:spChg>
        <pc:spChg chg="add del mod">
          <ac:chgData name="Steiner Andreas 6206 ED" userId="e6377c33-a923-4f14-8587-531c474c7b48" providerId="ADAL" clId="{6ECD27E6-B224-41CD-B4E0-E297462320DD}" dt="2023-11-24T11:35:11.208" v="121567"/>
          <ac:spMkLst>
            <pc:docMk/>
            <pc:sldMk cId="1033770688" sldId="2147478572"/>
            <ac:spMk id="793" creationId="{14128782-CFA1-5B11-43B1-ED2457119DE7}"/>
          </ac:spMkLst>
        </pc:spChg>
        <pc:spChg chg="add del mod">
          <ac:chgData name="Steiner Andreas 6206 ED" userId="e6377c33-a923-4f14-8587-531c474c7b48" providerId="ADAL" clId="{6ECD27E6-B224-41CD-B4E0-E297462320DD}" dt="2023-11-24T11:35:12.968" v="121722"/>
          <ac:spMkLst>
            <pc:docMk/>
            <pc:sldMk cId="1033770688" sldId="2147478572"/>
            <ac:spMk id="794" creationId="{3BC91769-2D72-8D32-26F0-E145EBE2B356}"/>
          </ac:spMkLst>
        </pc:spChg>
        <pc:spChg chg="add del mod">
          <ac:chgData name="Steiner Andreas 6206 ED" userId="e6377c33-a923-4f14-8587-531c474c7b48" providerId="ADAL" clId="{6ECD27E6-B224-41CD-B4E0-E297462320DD}" dt="2023-11-24T11:35:14.842" v="121877"/>
          <ac:spMkLst>
            <pc:docMk/>
            <pc:sldMk cId="1033770688" sldId="2147478572"/>
            <ac:spMk id="795" creationId="{62F11E48-2EC8-DB56-88EE-F770140CF602}"/>
          </ac:spMkLst>
        </pc:spChg>
        <pc:spChg chg="add del mod">
          <ac:chgData name="Steiner Andreas 6206 ED" userId="e6377c33-a923-4f14-8587-531c474c7b48" providerId="ADAL" clId="{6ECD27E6-B224-41CD-B4E0-E297462320DD}" dt="2023-11-24T11:35:16.630" v="122032"/>
          <ac:spMkLst>
            <pc:docMk/>
            <pc:sldMk cId="1033770688" sldId="2147478572"/>
            <ac:spMk id="796" creationId="{4795D1AF-C7FB-0ECE-63E4-4EA1D1D035C3}"/>
          </ac:spMkLst>
        </pc:spChg>
        <pc:spChg chg="add del mod">
          <ac:chgData name="Steiner Andreas 6206 ED" userId="e6377c33-a923-4f14-8587-531c474c7b48" providerId="ADAL" clId="{6ECD27E6-B224-41CD-B4E0-E297462320DD}" dt="2023-11-24T11:35:18.330" v="122187"/>
          <ac:spMkLst>
            <pc:docMk/>
            <pc:sldMk cId="1033770688" sldId="2147478572"/>
            <ac:spMk id="797" creationId="{7EB58219-9E24-0E31-908F-AEBEF3F7B0A6}"/>
          </ac:spMkLst>
        </pc:spChg>
        <pc:spChg chg="add del mod">
          <ac:chgData name="Steiner Andreas 6206 ED" userId="e6377c33-a923-4f14-8587-531c474c7b48" providerId="ADAL" clId="{6ECD27E6-B224-41CD-B4E0-E297462320DD}" dt="2023-11-24T11:35:19.963" v="122342"/>
          <ac:spMkLst>
            <pc:docMk/>
            <pc:sldMk cId="1033770688" sldId="2147478572"/>
            <ac:spMk id="798" creationId="{597AA63C-45D1-D36C-D586-CD61326ACA63}"/>
          </ac:spMkLst>
        </pc:spChg>
        <pc:spChg chg="add del mod">
          <ac:chgData name="Steiner Andreas 6206 ED" userId="e6377c33-a923-4f14-8587-531c474c7b48" providerId="ADAL" clId="{6ECD27E6-B224-41CD-B4E0-E297462320DD}" dt="2023-11-24T11:35:21.580" v="122497"/>
          <ac:spMkLst>
            <pc:docMk/>
            <pc:sldMk cId="1033770688" sldId="2147478572"/>
            <ac:spMk id="799" creationId="{21132950-9DCF-4C49-3F9D-EDF4323DA1AB}"/>
          </ac:spMkLst>
        </pc:spChg>
        <pc:spChg chg="add del mod">
          <ac:chgData name="Steiner Andreas 6206 ED" userId="e6377c33-a923-4f14-8587-531c474c7b48" providerId="ADAL" clId="{6ECD27E6-B224-41CD-B4E0-E297462320DD}" dt="2023-11-24T11:35:23.265" v="122652"/>
          <ac:spMkLst>
            <pc:docMk/>
            <pc:sldMk cId="1033770688" sldId="2147478572"/>
            <ac:spMk id="800" creationId="{642BD378-BA64-075A-D027-2A8F92CDE936}"/>
          </ac:spMkLst>
        </pc:spChg>
        <pc:spChg chg="add del mod">
          <ac:chgData name="Steiner Andreas 6206 ED" userId="e6377c33-a923-4f14-8587-531c474c7b48" providerId="ADAL" clId="{6ECD27E6-B224-41CD-B4E0-E297462320DD}" dt="2023-11-24T11:35:25.191" v="122807"/>
          <ac:spMkLst>
            <pc:docMk/>
            <pc:sldMk cId="1033770688" sldId="2147478572"/>
            <ac:spMk id="801" creationId="{52222630-244B-6D8A-23B5-61797250D9FF}"/>
          </ac:spMkLst>
        </pc:spChg>
        <pc:spChg chg="add del mod">
          <ac:chgData name="Steiner Andreas 6206 ED" userId="e6377c33-a923-4f14-8587-531c474c7b48" providerId="ADAL" clId="{6ECD27E6-B224-41CD-B4E0-E297462320DD}" dt="2023-11-24T11:35:27.313" v="122962"/>
          <ac:spMkLst>
            <pc:docMk/>
            <pc:sldMk cId="1033770688" sldId="2147478572"/>
            <ac:spMk id="802" creationId="{8F25D269-AC6C-8FD6-9029-0D255395C745}"/>
          </ac:spMkLst>
        </pc:spChg>
        <pc:spChg chg="add del mod">
          <ac:chgData name="Steiner Andreas 6206 ED" userId="e6377c33-a923-4f14-8587-531c474c7b48" providerId="ADAL" clId="{6ECD27E6-B224-41CD-B4E0-E297462320DD}" dt="2023-11-24T11:35:29.203" v="123117"/>
          <ac:spMkLst>
            <pc:docMk/>
            <pc:sldMk cId="1033770688" sldId="2147478572"/>
            <ac:spMk id="803" creationId="{2E7AF02E-9544-3716-5992-C39DED2DB064}"/>
          </ac:spMkLst>
        </pc:spChg>
        <pc:spChg chg="add del mod">
          <ac:chgData name="Steiner Andreas 6206 ED" userId="e6377c33-a923-4f14-8587-531c474c7b48" providerId="ADAL" clId="{6ECD27E6-B224-41CD-B4E0-E297462320DD}" dt="2023-11-24T11:35:30.974" v="123272"/>
          <ac:spMkLst>
            <pc:docMk/>
            <pc:sldMk cId="1033770688" sldId="2147478572"/>
            <ac:spMk id="804" creationId="{CB9F7FB2-84EB-DB33-3C70-E1D5645C83F0}"/>
          </ac:spMkLst>
        </pc:spChg>
        <pc:spChg chg="add del mod">
          <ac:chgData name="Steiner Andreas 6206 ED" userId="e6377c33-a923-4f14-8587-531c474c7b48" providerId="ADAL" clId="{6ECD27E6-B224-41CD-B4E0-E297462320DD}" dt="2023-11-24T11:35:33.824" v="123427"/>
          <ac:spMkLst>
            <pc:docMk/>
            <pc:sldMk cId="1033770688" sldId="2147478572"/>
            <ac:spMk id="805" creationId="{28548996-8981-76EC-41DD-5688DC5E03EA}"/>
          </ac:spMkLst>
        </pc:spChg>
        <pc:spChg chg="add del mod">
          <ac:chgData name="Steiner Andreas 6206 ED" userId="e6377c33-a923-4f14-8587-531c474c7b48" providerId="ADAL" clId="{6ECD27E6-B224-41CD-B4E0-E297462320DD}" dt="2023-11-24T11:35:35.663" v="123582"/>
          <ac:spMkLst>
            <pc:docMk/>
            <pc:sldMk cId="1033770688" sldId="2147478572"/>
            <ac:spMk id="806" creationId="{77856C80-D336-FE9A-DC9F-1F0C82231F8F}"/>
          </ac:spMkLst>
        </pc:spChg>
        <pc:spChg chg="add del mod">
          <ac:chgData name="Steiner Andreas 6206 ED" userId="e6377c33-a923-4f14-8587-531c474c7b48" providerId="ADAL" clId="{6ECD27E6-B224-41CD-B4E0-E297462320DD}" dt="2023-11-24T11:35:37.402" v="123737"/>
          <ac:spMkLst>
            <pc:docMk/>
            <pc:sldMk cId="1033770688" sldId="2147478572"/>
            <ac:spMk id="807" creationId="{000657C1-F54F-8782-859F-CC8F80D58245}"/>
          </ac:spMkLst>
        </pc:spChg>
        <pc:spChg chg="add del mod">
          <ac:chgData name="Steiner Andreas 6206 ED" userId="e6377c33-a923-4f14-8587-531c474c7b48" providerId="ADAL" clId="{6ECD27E6-B224-41CD-B4E0-E297462320DD}" dt="2023-11-24T11:35:39.028" v="123892"/>
          <ac:spMkLst>
            <pc:docMk/>
            <pc:sldMk cId="1033770688" sldId="2147478572"/>
            <ac:spMk id="808" creationId="{47F87863-5502-6C46-5BEF-1C2B85C26301}"/>
          </ac:spMkLst>
        </pc:spChg>
        <pc:spChg chg="add del mod">
          <ac:chgData name="Steiner Andreas 6206 ED" userId="e6377c33-a923-4f14-8587-531c474c7b48" providerId="ADAL" clId="{6ECD27E6-B224-41CD-B4E0-E297462320DD}" dt="2023-11-24T11:35:40.744" v="124047"/>
          <ac:spMkLst>
            <pc:docMk/>
            <pc:sldMk cId="1033770688" sldId="2147478572"/>
            <ac:spMk id="809" creationId="{2649C0A3-2779-D9A7-82A2-5FC856B6223E}"/>
          </ac:spMkLst>
        </pc:spChg>
        <pc:spChg chg="add del mod">
          <ac:chgData name="Steiner Andreas 6206 ED" userId="e6377c33-a923-4f14-8587-531c474c7b48" providerId="ADAL" clId="{6ECD27E6-B224-41CD-B4E0-E297462320DD}" dt="2023-11-24T11:35:42.339" v="124202"/>
          <ac:spMkLst>
            <pc:docMk/>
            <pc:sldMk cId="1033770688" sldId="2147478572"/>
            <ac:spMk id="810" creationId="{899D4ACE-46F9-17CC-0B89-9241B98EDC92}"/>
          </ac:spMkLst>
        </pc:spChg>
        <pc:spChg chg="add del mod">
          <ac:chgData name="Steiner Andreas 6206 ED" userId="e6377c33-a923-4f14-8587-531c474c7b48" providerId="ADAL" clId="{6ECD27E6-B224-41CD-B4E0-E297462320DD}" dt="2023-11-24T11:35:44.009" v="124357"/>
          <ac:spMkLst>
            <pc:docMk/>
            <pc:sldMk cId="1033770688" sldId="2147478572"/>
            <ac:spMk id="811" creationId="{FD1FDCB0-3D2E-4B4E-2799-7B7A0C631F98}"/>
          </ac:spMkLst>
        </pc:spChg>
        <pc:spChg chg="add del mod">
          <ac:chgData name="Steiner Andreas 6206 ED" userId="e6377c33-a923-4f14-8587-531c474c7b48" providerId="ADAL" clId="{6ECD27E6-B224-41CD-B4E0-E297462320DD}" dt="2023-11-24T11:35:45.664" v="124512"/>
          <ac:spMkLst>
            <pc:docMk/>
            <pc:sldMk cId="1033770688" sldId="2147478572"/>
            <ac:spMk id="812" creationId="{2EE2F937-5304-15E5-D732-7B99F2FE7C55}"/>
          </ac:spMkLst>
        </pc:spChg>
        <pc:spChg chg="add del mod">
          <ac:chgData name="Steiner Andreas 6206 ED" userId="e6377c33-a923-4f14-8587-531c474c7b48" providerId="ADAL" clId="{6ECD27E6-B224-41CD-B4E0-E297462320DD}" dt="2023-11-24T11:35:47.376" v="124667"/>
          <ac:spMkLst>
            <pc:docMk/>
            <pc:sldMk cId="1033770688" sldId="2147478572"/>
            <ac:spMk id="813" creationId="{A3C537EB-9E7F-683A-EEFF-0C59D84E538F}"/>
          </ac:spMkLst>
        </pc:spChg>
        <pc:spChg chg="add del mod">
          <ac:chgData name="Steiner Andreas 6206 ED" userId="e6377c33-a923-4f14-8587-531c474c7b48" providerId="ADAL" clId="{6ECD27E6-B224-41CD-B4E0-E297462320DD}" dt="2023-11-24T11:35:49.065" v="124822"/>
          <ac:spMkLst>
            <pc:docMk/>
            <pc:sldMk cId="1033770688" sldId="2147478572"/>
            <ac:spMk id="814" creationId="{5249CDB7-CEDD-E427-67B2-F282811265A2}"/>
          </ac:spMkLst>
        </pc:spChg>
        <pc:spChg chg="add del mod">
          <ac:chgData name="Steiner Andreas 6206 ED" userId="e6377c33-a923-4f14-8587-531c474c7b48" providerId="ADAL" clId="{6ECD27E6-B224-41CD-B4E0-E297462320DD}" dt="2023-11-24T11:35:51.023" v="124977"/>
          <ac:spMkLst>
            <pc:docMk/>
            <pc:sldMk cId="1033770688" sldId="2147478572"/>
            <ac:spMk id="815" creationId="{765322F4-3AB7-212F-EB9D-493C3B728D3E}"/>
          </ac:spMkLst>
        </pc:spChg>
        <pc:spChg chg="add del mod">
          <ac:chgData name="Steiner Andreas 6206 ED" userId="e6377c33-a923-4f14-8587-531c474c7b48" providerId="ADAL" clId="{6ECD27E6-B224-41CD-B4E0-E297462320DD}" dt="2023-11-24T11:35:52.781" v="125132"/>
          <ac:spMkLst>
            <pc:docMk/>
            <pc:sldMk cId="1033770688" sldId="2147478572"/>
            <ac:spMk id="816" creationId="{6C2F8893-F8B6-D5DB-2F47-7E095DB9C09B}"/>
          </ac:spMkLst>
        </pc:spChg>
        <pc:spChg chg="add del mod">
          <ac:chgData name="Steiner Andreas 6206 ED" userId="e6377c33-a923-4f14-8587-531c474c7b48" providerId="ADAL" clId="{6ECD27E6-B224-41CD-B4E0-E297462320DD}" dt="2023-11-24T11:35:54.742" v="125287"/>
          <ac:spMkLst>
            <pc:docMk/>
            <pc:sldMk cId="1033770688" sldId="2147478572"/>
            <ac:spMk id="817" creationId="{8555A0CA-0877-8ECD-E8B2-4B14238B89B7}"/>
          </ac:spMkLst>
        </pc:spChg>
        <pc:spChg chg="add del mod">
          <ac:chgData name="Steiner Andreas 6206 ED" userId="e6377c33-a923-4f14-8587-531c474c7b48" providerId="ADAL" clId="{6ECD27E6-B224-41CD-B4E0-E297462320DD}" dt="2023-11-24T11:35:56.782" v="125442"/>
          <ac:spMkLst>
            <pc:docMk/>
            <pc:sldMk cId="1033770688" sldId="2147478572"/>
            <ac:spMk id="818" creationId="{18C7EF68-0509-3E9E-0AA6-3C6ECEB403EE}"/>
          </ac:spMkLst>
        </pc:spChg>
        <pc:spChg chg="add del mod">
          <ac:chgData name="Steiner Andreas 6206 ED" userId="e6377c33-a923-4f14-8587-531c474c7b48" providerId="ADAL" clId="{6ECD27E6-B224-41CD-B4E0-E297462320DD}" dt="2023-11-24T11:35:58.754" v="125597"/>
          <ac:spMkLst>
            <pc:docMk/>
            <pc:sldMk cId="1033770688" sldId="2147478572"/>
            <ac:spMk id="819" creationId="{048BDC4F-D774-D53C-2D26-740523344176}"/>
          </ac:spMkLst>
        </pc:spChg>
        <pc:spChg chg="add del mod">
          <ac:chgData name="Steiner Andreas 6206 ED" userId="e6377c33-a923-4f14-8587-531c474c7b48" providerId="ADAL" clId="{6ECD27E6-B224-41CD-B4E0-E297462320DD}" dt="2023-11-24T11:36:00.482" v="125752"/>
          <ac:spMkLst>
            <pc:docMk/>
            <pc:sldMk cId="1033770688" sldId="2147478572"/>
            <ac:spMk id="820" creationId="{F9941D1C-22B9-83E5-CB53-089CCC587876}"/>
          </ac:spMkLst>
        </pc:spChg>
        <pc:spChg chg="add del mod">
          <ac:chgData name="Steiner Andreas 6206 ED" userId="e6377c33-a923-4f14-8587-531c474c7b48" providerId="ADAL" clId="{6ECD27E6-B224-41CD-B4E0-E297462320DD}" dt="2023-11-24T11:36:02.218" v="125907"/>
          <ac:spMkLst>
            <pc:docMk/>
            <pc:sldMk cId="1033770688" sldId="2147478572"/>
            <ac:spMk id="821" creationId="{5DAFEFE6-C0DD-760D-A7E0-89C3B948B6EA}"/>
          </ac:spMkLst>
        </pc:spChg>
        <pc:spChg chg="add del mod">
          <ac:chgData name="Steiner Andreas 6206 ED" userId="e6377c33-a923-4f14-8587-531c474c7b48" providerId="ADAL" clId="{6ECD27E6-B224-41CD-B4E0-E297462320DD}" dt="2023-11-24T11:36:03.963" v="126062"/>
          <ac:spMkLst>
            <pc:docMk/>
            <pc:sldMk cId="1033770688" sldId="2147478572"/>
            <ac:spMk id="822" creationId="{33188368-081E-9A1A-252A-F358FB36B507}"/>
          </ac:spMkLst>
        </pc:spChg>
        <pc:spChg chg="add del mod">
          <ac:chgData name="Steiner Andreas 6206 ED" userId="e6377c33-a923-4f14-8587-531c474c7b48" providerId="ADAL" clId="{6ECD27E6-B224-41CD-B4E0-E297462320DD}" dt="2023-11-24T11:36:05.736" v="126217"/>
          <ac:spMkLst>
            <pc:docMk/>
            <pc:sldMk cId="1033770688" sldId="2147478572"/>
            <ac:spMk id="823" creationId="{4EAF8430-3E33-ACC4-85DE-1F3A1F8D7C40}"/>
          </ac:spMkLst>
        </pc:spChg>
        <pc:spChg chg="add del mod">
          <ac:chgData name="Steiner Andreas 6206 ED" userId="e6377c33-a923-4f14-8587-531c474c7b48" providerId="ADAL" clId="{6ECD27E6-B224-41CD-B4E0-E297462320DD}" dt="2023-11-24T11:36:07.397" v="126372"/>
          <ac:spMkLst>
            <pc:docMk/>
            <pc:sldMk cId="1033770688" sldId="2147478572"/>
            <ac:spMk id="824" creationId="{1721852B-45C5-B21E-D273-A1608FEC3523}"/>
          </ac:spMkLst>
        </pc:spChg>
        <pc:spChg chg="add del mod">
          <ac:chgData name="Steiner Andreas 6206 ED" userId="e6377c33-a923-4f14-8587-531c474c7b48" providerId="ADAL" clId="{6ECD27E6-B224-41CD-B4E0-E297462320DD}" dt="2023-11-24T11:36:09.253" v="126527"/>
          <ac:spMkLst>
            <pc:docMk/>
            <pc:sldMk cId="1033770688" sldId="2147478572"/>
            <ac:spMk id="825" creationId="{28B2A557-BA0E-720C-8C44-9EDBC58BEF5E}"/>
          </ac:spMkLst>
        </pc:spChg>
        <pc:spChg chg="add del mod">
          <ac:chgData name="Steiner Andreas 6206 ED" userId="e6377c33-a923-4f14-8587-531c474c7b48" providerId="ADAL" clId="{6ECD27E6-B224-41CD-B4E0-E297462320DD}" dt="2023-11-24T11:36:11.049" v="126682"/>
          <ac:spMkLst>
            <pc:docMk/>
            <pc:sldMk cId="1033770688" sldId="2147478572"/>
            <ac:spMk id="826" creationId="{75FDE740-1D85-0F60-5EE7-066AC9476A91}"/>
          </ac:spMkLst>
        </pc:spChg>
        <pc:spChg chg="add del mod">
          <ac:chgData name="Steiner Andreas 6206 ED" userId="e6377c33-a923-4f14-8587-531c474c7b48" providerId="ADAL" clId="{6ECD27E6-B224-41CD-B4E0-E297462320DD}" dt="2023-11-24T11:36:12.967" v="126837"/>
          <ac:spMkLst>
            <pc:docMk/>
            <pc:sldMk cId="1033770688" sldId="2147478572"/>
            <ac:spMk id="827" creationId="{437F720E-5DA9-289E-71F3-2520C43A15E7}"/>
          </ac:spMkLst>
        </pc:spChg>
        <pc:spChg chg="add del mod">
          <ac:chgData name="Steiner Andreas 6206 ED" userId="e6377c33-a923-4f14-8587-531c474c7b48" providerId="ADAL" clId="{6ECD27E6-B224-41CD-B4E0-E297462320DD}" dt="2023-11-24T11:36:14.870" v="126992"/>
          <ac:spMkLst>
            <pc:docMk/>
            <pc:sldMk cId="1033770688" sldId="2147478572"/>
            <ac:spMk id="828" creationId="{FF5413CE-EB44-C511-5384-D1BFA93F89C1}"/>
          </ac:spMkLst>
        </pc:spChg>
        <pc:spChg chg="add del mod">
          <ac:chgData name="Steiner Andreas 6206 ED" userId="e6377c33-a923-4f14-8587-531c474c7b48" providerId="ADAL" clId="{6ECD27E6-B224-41CD-B4E0-E297462320DD}" dt="2023-11-24T11:36:17.183" v="127147"/>
          <ac:spMkLst>
            <pc:docMk/>
            <pc:sldMk cId="1033770688" sldId="2147478572"/>
            <ac:spMk id="829" creationId="{C85F6C20-C2EF-4067-851F-2D85E5B7AA4F}"/>
          </ac:spMkLst>
        </pc:spChg>
        <pc:spChg chg="add del mod">
          <ac:chgData name="Steiner Andreas 6206 ED" userId="e6377c33-a923-4f14-8587-531c474c7b48" providerId="ADAL" clId="{6ECD27E6-B224-41CD-B4E0-E297462320DD}" dt="2023-11-24T11:36:19.845" v="127302"/>
          <ac:spMkLst>
            <pc:docMk/>
            <pc:sldMk cId="1033770688" sldId="2147478572"/>
            <ac:spMk id="830" creationId="{FC622060-DC28-EAFC-052A-9F208F9A1954}"/>
          </ac:spMkLst>
        </pc:spChg>
        <pc:spChg chg="add del mod">
          <ac:chgData name="Steiner Andreas 6206 ED" userId="e6377c33-a923-4f14-8587-531c474c7b48" providerId="ADAL" clId="{6ECD27E6-B224-41CD-B4E0-E297462320DD}" dt="2023-11-24T11:36:22.215" v="127457"/>
          <ac:spMkLst>
            <pc:docMk/>
            <pc:sldMk cId="1033770688" sldId="2147478572"/>
            <ac:spMk id="831" creationId="{87482E4F-A181-848E-D1B4-83E8513EE3FA}"/>
          </ac:spMkLst>
        </pc:spChg>
        <pc:spChg chg="add del mod">
          <ac:chgData name="Steiner Andreas 6206 ED" userId="e6377c33-a923-4f14-8587-531c474c7b48" providerId="ADAL" clId="{6ECD27E6-B224-41CD-B4E0-E297462320DD}" dt="2023-11-24T11:36:25.145" v="127612"/>
          <ac:spMkLst>
            <pc:docMk/>
            <pc:sldMk cId="1033770688" sldId="2147478572"/>
            <ac:spMk id="832" creationId="{D716AC57-9492-633D-AD8B-AEF5930D7DDE}"/>
          </ac:spMkLst>
        </pc:spChg>
        <pc:spChg chg="add del mod">
          <ac:chgData name="Steiner Andreas 6206 ED" userId="e6377c33-a923-4f14-8587-531c474c7b48" providerId="ADAL" clId="{6ECD27E6-B224-41CD-B4E0-E297462320DD}" dt="2023-11-24T11:36:28.170" v="127767"/>
          <ac:spMkLst>
            <pc:docMk/>
            <pc:sldMk cId="1033770688" sldId="2147478572"/>
            <ac:spMk id="833" creationId="{898231F1-5B80-9F7B-7A8B-4B2B1075A770}"/>
          </ac:spMkLst>
        </pc:spChg>
        <pc:spChg chg="add del mod">
          <ac:chgData name="Steiner Andreas 6206 ED" userId="e6377c33-a923-4f14-8587-531c474c7b48" providerId="ADAL" clId="{6ECD27E6-B224-41CD-B4E0-E297462320DD}" dt="2023-11-24T11:36:30.845" v="127922"/>
          <ac:spMkLst>
            <pc:docMk/>
            <pc:sldMk cId="1033770688" sldId="2147478572"/>
            <ac:spMk id="834" creationId="{01063366-290B-5D59-594E-D81B026C66E0}"/>
          </ac:spMkLst>
        </pc:spChg>
        <pc:spChg chg="add del mod">
          <ac:chgData name="Steiner Andreas 6206 ED" userId="e6377c33-a923-4f14-8587-531c474c7b48" providerId="ADAL" clId="{6ECD27E6-B224-41CD-B4E0-E297462320DD}" dt="2023-11-24T11:36:33.116" v="128077"/>
          <ac:spMkLst>
            <pc:docMk/>
            <pc:sldMk cId="1033770688" sldId="2147478572"/>
            <ac:spMk id="835" creationId="{91F3D930-F04B-61A5-79B8-E0FDFD7614A2}"/>
          </ac:spMkLst>
        </pc:spChg>
        <pc:spChg chg="add del mod">
          <ac:chgData name="Steiner Andreas 6206 ED" userId="e6377c33-a923-4f14-8587-531c474c7b48" providerId="ADAL" clId="{6ECD27E6-B224-41CD-B4E0-E297462320DD}" dt="2023-11-24T11:36:35.220" v="128232"/>
          <ac:spMkLst>
            <pc:docMk/>
            <pc:sldMk cId="1033770688" sldId="2147478572"/>
            <ac:spMk id="836" creationId="{3B0EFEBC-1280-69A1-A2BC-EFDD02AB4EAF}"/>
          </ac:spMkLst>
        </pc:spChg>
        <pc:spChg chg="add del mod">
          <ac:chgData name="Steiner Andreas 6206 ED" userId="e6377c33-a923-4f14-8587-531c474c7b48" providerId="ADAL" clId="{6ECD27E6-B224-41CD-B4E0-E297462320DD}" dt="2023-11-24T11:36:37.293" v="128387"/>
          <ac:spMkLst>
            <pc:docMk/>
            <pc:sldMk cId="1033770688" sldId="2147478572"/>
            <ac:spMk id="837" creationId="{5835D572-BE5D-F0C9-6885-94F667B75617}"/>
          </ac:spMkLst>
        </pc:spChg>
        <pc:spChg chg="add del mod">
          <ac:chgData name="Steiner Andreas 6206 ED" userId="e6377c33-a923-4f14-8587-531c474c7b48" providerId="ADAL" clId="{6ECD27E6-B224-41CD-B4E0-E297462320DD}" dt="2023-11-24T11:36:39.502" v="128542"/>
          <ac:spMkLst>
            <pc:docMk/>
            <pc:sldMk cId="1033770688" sldId="2147478572"/>
            <ac:spMk id="838" creationId="{20C91E5A-E230-E4A7-81AE-17C4FFAF8411}"/>
          </ac:spMkLst>
        </pc:spChg>
        <pc:spChg chg="add del mod">
          <ac:chgData name="Steiner Andreas 6206 ED" userId="e6377c33-a923-4f14-8587-531c474c7b48" providerId="ADAL" clId="{6ECD27E6-B224-41CD-B4E0-E297462320DD}" dt="2023-11-24T11:36:42.037" v="128697"/>
          <ac:spMkLst>
            <pc:docMk/>
            <pc:sldMk cId="1033770688" sldId="2147478572"/>
            <ac:spMk id="839" creationId="{A398DA58-0444-2E29-5BA1-DD74DB9C5B66}"/>
          </ac:spMkLst>
        </pc:spChg>
        <pc:spChg chg="add del mod">
          <ac:chgData name="Steiner Andreas 6206 ED" userId="e6377c33-a923-4f14-8587-531c474c7b48" providerId="ADAL" clId="{6ECD27E6-B224-41CD-B4E0-E297462320DD}" dt="2023-11-24T11:36:44.378" v="128852"/>
          <ac:spMkLst>
            <pc:docMk/>
            <pc:sldMk cId="1033770688" sldId="2147478572"/>
            <ac:spMk id="840" creationId="{882F475F-F106-6B69-0EF4-468C51BE5E10}"/>
          </ac:spMkLst>
        </pc:spChg>
        <pc:spChg chg="add del mod">
          <ac:chgData name="Steiner Andreas 6206 ED" userId="e6377c33-a923-4f14-8587-531c474c7b48" providerId="ADAL" clId="{6ECD27E6-B224-41CD-B4E0-E297462320DD}" dt="2023-11-24T11:36:46.416" v="129007"/>
          <ac:spMkLst>
            <pc:docMk/>
            <pc:sldMk cId="1033770688" sldId="2147478572"/>
            <ac:spMk id="841" creationId="{68A9AD31-0BC3-8EB2-2C77-4DFD2513304F}"/>
          </ac:spMkLst>
        </pc:spChg>
        <pc:spChg chg="add del mod">
          <ac:chgData name="Steiner Andreas 6206 ED" userId="e6377c33-a923-4f14-8587-531c474c7b48" providerId="ADAL" clId="{6ECD27E6-B224-41CD-B4E0-E297462320DD}" dt="2023-11-24T11:36:48.370" v="129162"/>
          <ac:spMkLst>
            <pc:docMk/>
            <pc:sldMk cId="1033770688" sldId="2147478572"/>
            <ac:spMk id="842" creationId="{EEF32753-863B-DDB1-57A2-C73DCF1689FE}"/>
          </ac:spMkLst>
        </pc:spChg>
        <pc:spChg chg="add del mod">
          <ac:chgData name="Steiner Andreas 6206 ED" userId="e6377c33-a923-4f14-8587-531c474c7b48" providerId="ADAL" clId="{6ECD27E6-B224-41CD-B4E0-E297462320DD}" dt="2023-11-24T11:36:50.328" v="129317"/>
          <ac:spMkLst>
            <pc:docMk/>
            <pc:sldMk cId="1033770688" sldId="2147478572"/>
            <ac:spMk id="843" creationId="{19E9F959-7B71-3B7C-3989-7B2C4407F6AD}"/>
          </ac:spMkLst>
        </pc:spChg>
        <pc:spChg chg="add del mod">
          <ac:chgData name="Steiner Andreas 6206 ED" userId="e6377c33-a923-4f14-8587-531c474c7b48" providerId="ADAL" clId="{6ECD27E6-B224-41CD-B4E0-E297462320DD}" dt="2023-11-24T11:36:52.488" v="129472"/>
          <ac:spMkLst>
            <pc:docMk/>
            <pc:sldMk cId="1033770688" sldId="2147478572"/>
            <ac:spMk id="844" creationId="{CB05B893-9F54-7054-7FAC-4CAFEEBD5C26}"/>
          </ac:spMkLst>
        </pc:spChg>
        <pc:spChg chg="add del mod">
          <ac:chgData name="Steiner Andreas 6206 ED" userId="e6377c33-a923-4f14-8587-531c474c7b48" providerId="ADAL" clId="{6ECD27E6-B224-41CD-B4E0-E297462320DD}" dt="2023-11-24T11:36:55.188" v="129627"/>
          <ac:spMkLst>
            <pc:docMk/>
            <pc:sldMk cId="1033770688" sldId="2147478572"/>
            <ac:spMk id="845" creationId="{331F0DDE-A628-E387-2FA7-155127603679}"/>
          </ac:spMkLst>
        </pc:spChg>
        <pc:spChg chg="add del mod">
          <ac:chgData name="Steiner Andreas 6206 ED" userId="e6377c33-a923-4f14-8587-531c474c7b48" providerId="ADAL" clId="{6ECD27E6-B224-41CD-B4E0-E297462320DD}" dt="2023-11-24T11:36:57.465" v="129782"/>
          <ac:spMkLst>
            <pc:docMk/>
            <pc:sldMk cId="1033770688" sldId="2147478572"/>
            <ac:spMk id="846" creationId="{CF5A83AD-425E-18B3-58DF-F70175C4C501}"/>
          </ac:spMkLst>
        </pc:spChg>
        <pc:spChg chg="add del mod">
          <ac:chgData name="Steiner Andreas 6206 ED" userId="e6377c33-a923-4f14-8587-531c474c7b48" providerId="ADAL" clId="{6ECD27E6-B224-41CD-B4E0-E297462320DD}" dt="2023-11-24T11:36:59.920" v="129937"/>
          <ac:spMkLst>
            <pc:docMk/>
            <pc:sldMk cId="1033770688" sldId="2147478572"/>
            <ac:spMk id="847" creationId="{CA489DDE-993C-6C56-E0CB-1807B2F65487}"/>
          </ac:spMkLst>
        </pc:spChg>
        <pc:spChg chg="add del mod">
          <ac:chgData name="Steiner Andreas 6206 ED" userId="e6377c33-a923-4f14-8587-531c474c7b48" providerId="ADAL" clId="{6ECD27E6-B224-41CD-B4E0-E297462320DD}" dt="2023-11-24T11:37:01.817" v="130092"/>
          <ac:spMkLst>
            <pc:docMk/>
            <pc:sldMk cId="1033770688" sldId="2147478572"/>
            <ac:spMk id="848" creationId="{7B4F8B65-1BA4-3166-DFBA-2D6682EFFE7B}"/>
          </ac:spMkLst>
        </pc:spChg>
        <pc:spChg chg="add del mod">
          <ac:chgData name="Steiner Andreas 6206 ED" userId="e6377c33-a923-4f14-8587-531c474c7b48" providerId="ADAL" clId="{6ECD27E6-B224-41CD-B4E0-E297462320DD}" dt="2023-11-24T11:37:03.569" v="130247"/>
          <ac:spMkLst>
            <pc:docMk/>
            <pc:sldMk cId="1033770688" sldId="2147478572"/>
            <ac:spMk id="849" creationId="{48DC6EE1-62E7-BBAD-47A5-43E5D31EAFC1}"/>
          </ac:spMkLst>
        </pc:spChg>
        <pc:spChg chg="add del mod">
          <ac:chgData name="Steiner Andreas 6206 ED" userId="e6377c33-a923-4f14-8587-531c474c7b48" providerId="ADAL" clId="{6ECD27E6-B224-41CD-B4E0-E297462320DD}" dt="2023-11-24T11:37:05.436" v="130402"/>
          <ac:spMkLst>
            <pc:docMk/>
            <pc:sldMk cId="1033770688" sldId="2147478572"/>
            <ac:spMk id="850" creationId="{7A2D9278-9F1F-DC45-B54C-BEBE8D1631BB}"/>
          </ac:spMkLst>
        </pc:spChg>
        <pc:spChg chg="add del mod">
          <ac:chgData name="Steiner Andreas 6206 ED" userId="e6377c33-a923-4f14-8587-531c474c7b48" providerId="ADAL" clId="{6ECD27E6-B224-41CD-B4E0-E297462320DD}" dt="2023-11-24T11:37:07.178" v="130557"/>
          <ac:spMkLst>
            <pc:docMk/>
            <pc:sldMk cId="1033770688" sldId="2147478572"/>
            <ac:spMk id="851" creationId="{C74C0436-28CB-CAF0-9970-D6823BD58ADB}"/>
          </ac:spMkLst>
        </pc:spChg>
        <pc:spChg chg="add del mod">
          <ac:chgData name="Steiner Andreas 6206 ED" userId="e6377c33-a923-4f14-8587-531c474c7b48" providerId="ADAL" clId="{6ECD27E6-B224-41CD-B4E0-E297462320DD}" dt="2023-11-24T11:37:08.934" v="130712"/>
          <ac:spMkLst>
            <pc:docMk/>
            <pc:sldMk cId="1033770688" sldId="2147478572"/>
            <ac:spMk id="852" creationId="{469CA011-9C34-01A2-FD30-A3823C7EE2E5}"/>
          </ac:spMkLst>
        </pc:spChg>
        <pc:spChg chg="add del mod">
          <ac:chgData name="Steiner Andreas 6206 ED" userId="e6377c33-a923-4f14-8587-531c474c7b48" providerId="ADAL" clId="{6ECD27E6-B224-41CD-B4E0-E297462320DD}" dt="2023-11-24T11:37:10.598" v="130867"/>
          <ac:spMkLst>
            <pc:docMk/>
            <pc:sldMk cId="1033770688" sldId="2147478572"/>
            <ac:spMk id="853" creationId="{29D921C7-D29B-AD07-D3C1-8613F1174C7D}"/>
          </ac:spMkLst>
        </pc:spChg>
        <pc:spChg chg="add del mod">
          <ac:chgData name="Steiner Andreas 6206 ED" userId="e6377c33-a923-4f14-8587-531c474c7b48" providerId="ADAL" clId="{6ECD27E6-B224-41CD-B4E0-E297462320DD}" dt="2023-11-24T11:37:12.306" v="131022"/>
          <ac:spMkLst>
            <pc:docMk/>
            <pc:sldMk cId="1033770688" sldId="2147478572"/>
            <ac:spMk id="854" creationId="{1D4281E8-1161-40F1-AB1A-7FE725621892}"/>
          </ac:spMkLst>
        </pc:spChg>
        <pc:spChg chg="add del mod">
          <ac:chgData name="Steiner Andreas 6206 ED" userId="e6377c33-a923-4f14-8587-531c474c7b48" providerId="ADAL" clId="{6ECD27E6-B224-41CD-B4E0-E297462320DD}" dt="2023-11-24T11:37:13.986" v="131177"/>
          <ac:spMkLst>
            <pc:docMk/>
            <pc:sldMk cId="1033770688" sldId="2147478572"/>
            <ac:spMk id="855" creationId="{95862FDF-F57E-7F3E-5FB8-016CE0903345}"/>
          </ac:spMkLst>
        </pc:spChg>
        <pc:spChg chg="add del mod">
          <ac:chgData name="Steiner Andreas 6206 ED" userId="e6377c33-a923-4f14-8587-531c474c7b48" providerId="ADAL" clId="{6ECD27E6-B224-41CD-B4E0-E297462320DD}" dt="2023-11-24T11:37:15.897" v="131332"/>
          <ac:spMkLst>
            <pc:docMk/>
            <pc:sldMk cId="1033770688" sldId="2147478572"/>
            <ac:spMk id="856" creationId="{B23D0811-38FD-977B-1830-568E065964E1}"/>
          </ac:spMkLst>
        </pc:spChg>
        <pc:spChg chg="add del mod">
          <ac:chgData name="Steiner Andreas 6206 ED" userId="e6377c33-a923-4f14-8587-531c474c7b48" providerId="ADAL" clId="{6ECD27E6-B224-41CD-B4E0-E297462320DD}" dt="2023-11-24T11:37:17.924" v="131487"/>
          <ac:spMkLst>
            <pc:docMk/>
            <pc:sldMk cId="1033770688" sldId="2147478572"/>
            <ac:spMk id="857" creationId="{19E336B7-82D7-5D6D-5949-01C76355E137}"/>
          </ac:spMkLst>
        </pc:spChg>
        <pc:spChg chg="add del mod">
          <ac:chgData name="Steiner Andreas 6206 ED" userId="e6377c33-a923-4f14-8587-531c474c7b48" providerId="ADAL" clId="{6ECD27E6-B224-41CD-B4E0-E297462320DD}" dt="2023-11-24T11:37:19.864" v="131642"/>
          <ac:spMkLst>
            <pc:docMk/>
            <pc:sldMk cId="1033770688" sldId="2147478572"/>
            <ac:spMk id="858" creationId="{DE8A473F-D634-7AEF-68D6-C156F5975BB2}"/>
          </ac:spMkLst>
        </pc:spChg>
        <pc:spChg chg="add del mod">
          <ac:chgData name="Steiner Andreas 6206 ED" userId="e6377c33-a923-4f14-8587-531c474c7b48" providerId="ADAL" clId="{6ECD27E6-B224-41CD-B4E0-E297462320DD}" dt="2023-11-24T11:37:21.753" v="131797"/>
          <ac:spMkLst>
            <pc:docMk/>
            <pc:sldMk cId="1033770688" sldId="2147478572"/>
            <ac:spMk id="859" creationId="{337DF0C8-378F-B0EE-1E1E-C2A296AD2925}"/>
          </ac:spMkLst>
        </pc:spChg>
        <pc:spChg chg="add del mod">
          <ac:chgData name="Steiner Andreas 6206 ED" userId="e6377c33-a923-4f14-8587-531c474c7b48" providerId="ADAL" clId="{6ECD27E6-B224-41CD-B4E0-E297462320DD}" dt="2023-11-24T11:37:23.546" v="131952"/>
          <ac:spMkLst>
            <pc:docMk/>
            <pc:sldMk cId="1033770688" sldId="2147478572"/>
            <ac:spMk id="860" creationId="{66828647-7FB9-57D5-8FEA-C364753C4CAD}"/>
          </ac:spMkLst>
        </pc:spChg>
        <pc:spChg chg="add del mod">
          <ac:chgData name="Steiner Andreas 6206 ED" userId="e6377c33-a923-4f14-8587-531c474c7b48" providerId="ADAL" clId="{6ECD27E6-B224-41CD-B4E0-E297462320DD}" dt="2023-11-24T11:37:25.296" v="132107"/>
          <ac:spMkLst>
            <pc:docMk/>
            <pc:sldMk cId="1033770688" sldId="2147478572"/>
            <ac:spMk id="861" creationId="{C0A6AF47-EC1D-9ED0-7D7A-4E88132A5D5C}"/>
          </ac:spMkLst>
        </pc:spChg>
        <pc:spChg chg="add del mod">
          <ac:chgData name="Steiner Andreas 6206 ED" userId="e6377c33-a923-4f14-8587-531c474c7b48" providerId="ADAL" clId="{6ECD27E6-B224-41CD-B4E0-E297462320DD}" dt="2023-11-24T11:37:27.154" v="132262"/>
          <ac:spMkLst>
            <pc:docMk/>
            <pc:sldMk cId="1033770688" sldId="2147478572"/>
            <ac:spMk id="862" creationId="{69D90742-4120-032B-006D-10601C38843C}"/>
          </ac:spMkLst>
        </pc:spChg>
        <pc:spChg chg="add del mod">
          <ac:chgData name="Steiner Andreas 6206 ED" userId="e6377c33-a923-4f14-8587-531c474c7b48" providerId="ADAL" clId="{6ECD27E6-B224-41CD-B4E0-E297462320DD}" dt="2023-11-24T11:37:29.736" v="132417"/>
          <ac:spMkLst>
            <pc:docMk/>
            <pc:sldMk cId="1033770688" sldId="2147478572"/>
            <ac:spMk id="863" creationId="{8FF56C87-61B6-A929-A814-38EBD70939B1}"/>
          </ac:spMkLst>
        </pc:spChg>
        <pc:spChg chg="add del mod">
          <ac:chgData name="Steiner Andreas 6206 ED" userId="e6377c33-a923-4f14-8587-531c474c7b48" providerId="ADAL" clId="{6ECD27E6-B224-41CD-B4E0-E297462320DD}" dt="2023-11-24T11:37:32.297" v="132572"/>
          <ac:spMkLst>
            <pc:docMk/>
            <pc:sldMk cId="1033770688" sldId="2147478572"/>
            <ac:spMk id="864" creationId="{9B4A5BDB-353D-0ADC-21A4-723C49A49A3A}"/>
          </ac:spMkLst>
        </pc:spChg>
        <pc:spChg chg="add del mod">
          <ac:chgData name="Steiner Andreas 6206 ED" userId="e6377c33-a923-4f14-8587-531c474c7b48" providerId="ADAL" clId="{6ECD27E6-B224-41CD-B4E0-E297462320DD}" dt="2023-11-24T11:37:35.276" v="132727"/>
          <ac:spMkLst>
            <pc:docMk/>
            <pc:sldMk cId="1033770688" sldId="2147478572"/>
            <ac:spMk id="865" creationId="{332205FF-7D16-4C95-F6D1-561ED830DD26}"/>
          </ac:spMkLst>
        </pc:spChg>
        <pc:spChg chg="add del mod">
          <ac:chgData name="Steiner Andreas 6206 ED" userId="e6377c33-a923-4f14-8587-531c474c7b48" providerId="ADAL" clId="{6ECD27E6-B224-41CD-B4E0-E297462320DD}" dt="2023-11-24T11:37:37.976" v="132882"/>
          <ac:spMkLst>
            <pc:docMk/>
            <pc:sldMk cId="1033770688" sldId="2147478572"/>
            <ac:spMk id="866" creationId="{A0C55106-488E-C95B-7BD9-0DCCE2B9FEB5}"/>
          </ac:spMkLst>
        </pc:spChg>
        <pc:spChg chg="add del mod">
          <ac:chgData name="Steiner Andreas 6206 ED" userId="e6377c33-a923-4f14-8587-531c474c7b48" providerId="ADAL" clId="{6ECD27E6-B224-41CD-B4E0-E297462320DD}" dt="2023-11-24T11:37:40.626" v="133037"/>
          <ac:spMkLst>
            <pc:docMk/>
            <pc:sldMk cId="1033770688" sldId="2147478572"/>
            <ac:spMk id="867" creationId="{BF97D537-F960-E283-225A-22E42696B0DE}"/>
          </ac:spMkLst>
        </pc:spChg>
        <pc:spChg chg="add del mod">
          <ac:chgData name="Steiner Andreas 6206 ED" userId="e6377c33-a923-4f14-8587-531c474c7b48" providerId="ADAL" clId="{6ECD27E6-B224-41CD-B4E0-E297462320DD}" dt="2023-11-24T11:37:43.319" v="133192"/>
          <ac:spMkLst>
            <pc:docMk/>
            <pc:sldMk cId="1033770688" sldId="2147478572"/>
            <ac:spMk id="868" creationId="{65C97508-71B2-FDC1-4E62-68803F9A02EA}"/>
          </ac:spMkLst>
        </pc:spChg>
        <pc:spChg chg="add del mod">
          <ac:chgData name="Steiner Andreas 6206 ED" userId="e6377c33-a923-4f14-8587-531c474c7b48" providerId="ADAL" clId="{6ECD27E6-B224-41CD-B4E0-E297462320DD}" dt="2023-11-24T11:37:47.400" v="133347"/>
          <ac:spMkLst>
            <pc:docMk/>
            <pc:sldMk cId="1033770688" sldId="2147478572"/>
            <ac:spMk id="869" creationId="{988CBE0C-5D44-0B24-797F-0556122AADE4}"/>
          </ac:spMkLst>
        </pc:spChg>
        <pc:spChg chg="add del mod">
          <ac:chgData name="Steiner Andreas 6206 ED" userId="e6377c33-a923-4f14-8587-531c474c7b48" providerId="ADAL" clId="{6ECD27E6-B224-41CD-B4E0-E297462320DD}" dt="2023-11-24T11:37:50.509" v="133502"/>
          <ac:spMkLst>
            <pc:docMk/>
            <pc:sldMk cId="1033770688" sldId="2147478572"/>
            <ac:spMk id="870" creationId="{2B48D87D-5227-BE67-D27B-2D26F4C3282F}"/>
          </ac:spMkLst>
        </pc:spChg>
        <pc:spChg chg="add del mod">
          <ac:chgData name="Steiner Andreas 6206 ED" userId="e6377c33-a923-4f14-8587-531c474c7b48" providerId="ADAL" clId="{6ECD27E6-B224-41CD-B4E0-E297462320DD}" dt="2023-11-24T11:37:53.811" v="133657"/>
          <ac:spMkLst>
            <pc:docMk/>
            <pc:sldMk cId="1033770688" sldId="2147478572"/>
            <ac:spMk id="871" creationId="{D11AEC92-9DCB-E5BA-F0E9-735E83BFCCE0}"/>
          </ac:spMkLst>
        </pc:spChg>
        <pc:spChg chg="add del mod">
          <ac:chgData name="Steiner Andreas 6206 ED" userId="e6377c33-a923-4f14-8587-531c474c7b48" providerId="ADAL" clId="{6ECD27E6-B224-41CD-B4E0-E297462320DD}" dt="2023-11-24T11:37:56.006" v="133812"/>
          <ac:spMkLst>
            <pc:docMk/>
            <pc:sldMk cId="1033770688" sldId="2147478572"/>
            <ac:spMk id="872" creationId="{AA11ACEB-9BCF-4A81-4A5C-297637D180F9}"/>
          </ac:spMkLst>
        </pc:spChg>
        <pc:spChg chg="add del mod">
          <ac:chgData name="Steiner Andreas 6206 ED" userId="e6377c33-a923-4f14-8587-531c474c7b48" providerId="ADAL" clId="{6ECD27E6-B224-41CD-B4E0-E297462320DD}" dt="2023-11-24T11:37:58.752" v="133967"/>
          <ac:spMkLst>
            <pc:docMk/>
            <pc:sldMk cId="1033770688" sldId="2147478572"/>
            <ac:spMk id="873" creationId="{AF898322-2475-7513-F817-A3A4C3C7E9FC}"/>
          </ac:spMkLst>
        </pc:spChg>
        <pc:spChg chg="add del mod">
          <ac:chgData name="Steiner Andreas 6206 ED" userId="e6377c33-a923-4f14-8587-531c474c7b48" providerId="ADAL" clId="{6ECD27E6-B224-41CD-B4E0-E297462320DD}" dt="2023-11-24T11:38:01.028" v="134122"/>
          <ac:spMkLst>
            <pc:docMk/>
            <pc:sldMk cId="1033770688" sldId="2147478572"/>
            <ac:spMk id="874" creationId="{6B25AC8A-5018-2B65-4BE7-C8AE68E4C650}"/>
          </ac:spMkLst>
        </pc:spChg>
        <pc:spChg chg="add del mod">
          <ac:chgData name="Steiner Andreas 6206 ED" userId="e6377c33-a923-4f14-8587-531c474c7b48" providerId="ADAL" clId="{6ECD27E6-B224-41CD-B4E0-E297462320DD}" dt="2023-11-24T11:38:03.603" v="134277"/>
          <ac:spMkLst>
            <pc:docMk/>
            <pc:sldMk cId="1033770688" sldId="2147478572"/>
            <ac:spMk id="875" creationId="{D46CE2EE-BC40-256B-451F-A95B6C9EC7ED}"/>
          </ac:spMkLst>
        </pc:spChg>
        <pc:spChg chg="add del mod">
          <ac:chgData name="Steiner Andreas 6206 ED" userId="e6377c33-a923-4f14-8587-531c474c7b48" providerId="ADAL" clId="{6ECD27E6-B224-41CD-B4E0-E297462320DD}" dt="2023-11-24T11:38:05.895" v="134432"/>
          <ac:spMkLst>
            <pc:docMk/>
            <pc:sldMk cId="1033770688" sldId="2147478572"/>
            <ac:spMk id="876" creationId="{A94E4CE2-5B1B-FB06-93CE-939CC3844B9A}"/>
          </ac:spMkLst>
        </pc:spChg>
        <pc:spChg chg="add del mod">
          <ac:chgData name="Steiner Andreas 6206 ED" userId="e6377c33-a923-4f14-8587-531c474c7b48" providerId="ADAL" clId="{6ECD27E6-B224-41CD-B4E0-E297462320DD}" dt="2023-11-24T11:38:08.687" v="134587"/>
          <ac:spMkLst>
            <pc:docMk/>
            <pc:sldMk cId="1033770688" sldId="2147478572"/>
            <ac:spMk id="877" creationId="{E1552903-4B32-0EB5-4F6A-BC7D8C9E4901}"/>
          </ac:spMkLst>
        </pc:spChg>
        <pc:spChg chg="add del mod">
          <ac:chgData name="Steiner Andreas 6206 ED" userId="e6377c33-a923-4f14-8587-531c474c7b48" providerId="ADAL" clId="{6ECD27E6-B224-41CD-B4E0-E297462320DD}" dt="2023-11-24T11:38:11.638" v="134742"/>
          <ac:spMkLst>
            <pc:docMk/>
            <pc:sldMk cId="1033770688" sldId="2147478572"/>
            <ac:spMk id="878" creationId="{57747E3D-F70D-BBB4-9723-895FD5EAE8DF}"/>
          </ac:spMkLst>
        </pc:spChg>
        <pc:spChg chg="add del mod">
          <ac:chgData name="Steiner Andreas 6206 ED" userId="e6377c33-a923-4f14-8587-531c474c7b48" providerId="ADAL" clId="{6ECD27E6-B224-41CD-B4E0-E297462320DD}" dt="2023-11-24T11:38:13.851" v="134897"/>
          <ac:spMkLst>
            <pc:docMk/>
            <pc:sldMk cId="1033770688" sldId="2147478572"/>
            <ac:spMk id="879" creationId="{D23A1211-6454-08A4-02FE-2186BC2CC199}"/>
          </ac:spMkLst>
        </pc:spChg>
        <pc:spChg chg="add del mod">
          <ac:chgData name="Steiner Andreas 6206 ED" userId="e6377c33-a923-4f14-8587-531c474c7b48" providerId="ADAL" clId="{6ECD27E6-B224-41CD-B4E0-E297462320DD}" dt="2023-11-24T11:38:16.350" v="135052"/>
          <ac:spMkLst>
            <pc:docMk/>
            <pc:sldMk cId="1033770688" sldId="2147478572"/>
            <ac:spMk id="880" creationId="{083DDD51-4236-E4E3-A1BD-4D698482A35F}"/>
          </ac:spMkLst>
        </pc:spChg>
        <pc:spChg chg="add del mod">
          <ac:chgData name="Steiner Andreas 6206 ED" userId="e6377c33-a923-4f14-8587-531c474c7b48" providerId="ADAL" clId="{6ECD27E6-B224-41CD-B4E0-E297462320DD}" dt="2023-11-24T11:38:18.763" v="135207"/>
          <ac:spMkLst>
            <pc:docMk/>
            <pc:sldMk cId="1033770688" sldId="2147478572"/>
            <ac:spMk id="881" creationId="{0085F9D4-2789-7E6E-183E-6A241C2DA278}"/>
          </ac:spMkLst>
        </pc:spChg>
        <pc:spChg chg="add del mod">
          <ac:chgData name="Steiner Andreas 6206 ED" userId="e6377c33-a923-4f14-8587-531c474c7b48" providerId="ADAL" clId="{6ECD27E6-B224-41CD-B4E0-E297462320DD}" dt="2023-11-24T11:38:21.778" v="135362"/>
          <ac:spMkLst>
            <pc:docMk/>
            <pc:sldMk cId="1033770688" sldId="2147478572"/>
            <ac:spMk id="882" creationId="{8C52EA27-7076-9EB6-B012-2876B0A3B6CC}"/>
          </ac:spMkLst>
        </pc:spChg>
        <pc:spChg chg="add del mod">
          <ac:chgData name="Steiner Andreas 6206 ED" userId="e6377c33-a923-4f14-8587-531c474c7b48" providerId="ADAL" clId="{6ECD27E6-B224-41CD-B4E0-E297462320DD}" dt="2023-11-24T11:38:24.577" v="135517"/>
          <ac:spMkLst>
            <pc:docMk/>
            <pc:sldMk cId="1033770688" sldId="2147478572"/>
            <ac:spMk id="883" creationId="{B4EB42CC-E5D6-9861-3ACF-7672CF895495}"/>
          </ac:spMkLst>
        </pc:spChg>
        <pc:spChg chg="add del mod">
          <ac:chgData name="Steiner Andreas 6206 ED" userId="e6377c33-a923-4f14-8587-531c474c7b48" providerId="ADAL" clId="{6ECD27E6-B224-41CD-B4E0-E297462320DD}" dt="2023-11-24T11:38:27.322" v="135672"/>
          <ac:spMkLst>
            <pc:docMk/>
            <pc:sldMk cId="1033770688" sldId="2147478572"/>
            <ac:spMk id="884" creationId="{5E6A69F1-FF87-0301-7C45-76FA5F79FD96}"/>
          </ac:spMkLst>
        </pc:spChg>
        <pc:spChg chg="add del mod">
          <ac:chgData name="Steiner Andreas 6206 ED" userId="e6377c33-a923-4f14-8587-531c474c7b48" providerId="ADAL" clId="{6ECD27E6-B224-41CD-B4E0-E297462320DD}" dt="2023-11-24T11:38:29.898" v="135827"/>
          <ac:spMkLst>
            <pc:docMk/>
            <pc:sldMk cId="1033770688" sldId="2147478572"/>
            <ac:spMk id="885" creationId="{68C18772-0B56-5A96-BB04-F0554C757113}"/>
          </ac:spMkLst>
        </pc:spChg>
        <pc:spChg chg="add del mod">
          <ac:chgData name="Steiner Andreas 6206 ED" userId="e6377c33-a923-4f14-8587-531c474c7b48" providerId="ADAL" clId="{6ECD27E6-B224-41CD-B4E0-E297462320DD}" dt="2023-11-24T11:38:32.369" v="135982"/>
          <ac:spMkLst>
            <pc:docMk/>
            <pc:sldMk cId="1033770688" sldId="2147478572"/>
            <ac:spMk id="886" creationId="{00EDDE21-1CB4-71A8-11C3-18EEC38695AE}"/>
          </ac:spMkLst>
        </pc:spChg>
        <pc:spChg chg="add del mod">
          <ac:chgData name="Steiner Andreas 6206 ED" userId="e6377c33-a923-4f14-8587-531c474c7b48" providerId="ADAL" clId="{6ECD27E6-B224-41CD-B4E0-E297462320DD}" dt="2023-11-24T11:38:34.880" v="136137"/>
          <ac:spMkLst>
            <pc:docMk/>
            <pc:sldMk cId="1033770688" sldId="2147478572"/>
            <ac:spMk id="887" creationId="{CE368A05-6C4D-7DF9-C9A9-A444363D9503}"/>
          </ac:spMkLst>
        </pc:spChg>
        <pc:spChg chg="add del mod">
          <ac:chgData name="Steiner Andreas 6206 ED" userId="e6377c33-a923-4f14-8587-531c474c7b48" providerId="ADAL" clId="{6ECD27E6-B224-41CD-B4E0-E297462320DD}" dt="2023-11-24T11:38:37.336" v="136292"/>
          <ac:spMkLst>
            <pc:docMk/>
            <pc:sldMk cId="1033770688" sldId="2147478572"/>
            <ac:spMk id="888" creationId="{6404862F-BF28-4E08-BE22-ABC39E2A6EFF}"/>
          </ac:spMkLst>
        </pc:spChg>
        <pc:spChg chg="add del mod">
          <ac:chgData name="Steiner Andreas 6206 ED" userId="e6377c33-a923-4f14-8587-531c474c7b48" providerId="ADAL" clId="{6ECD27E6-B224-41CD-B4E0-E297462320DD}" dt="2023-11-24T11:38:40.267" v="136447"/>
          <ac:spMkLst>
            <pc:docMk/>
            <pc:sldMk cId="1033770688" sldId="2147478572"/>
            <ac:spMk id="889" creationId="{4E2122DA-B0B4-082B-8AF4-B12086AFF5B6}"/>
          </ac:spMkLst>
        </pc:spChg>
        <pc:spChg chg="add del mod">
          <ac:chgData name="Steiner Andreas 6206 ED" userId="e6377c33-a923-4f14-8587-531c474c7b48" providerId="ADAL" clId="{6ECD27E6-B224-41CD-B4E0-E297462320DD}" dt="2023-11-24T11:38:42.678" v="136602"/>
          <ac:spMkLst>
            <pc:docMk/>
            <pc:sldMk cId="1033770688" sldId="2147478572"/>
            <ac:spMk id="890" creationId="{4FAC9463-C8D9-404F-EDA3-75E0861673F1}"/>
          </ac:spMkLst>
        </pc:spChg>
        <pc:spChg chg="add del mod">
          <ac:chgData name="Steiner Andreas 6206 ED" userId="e6377c33-a923-4f14-8587-531c474c7b48" providerId="ADAL" clId="{6ECD27E6-B224-41CD-B4E0-E297462320DD}" dt="2023-11-24T11:38:45.028" v="136757"/>
          <ac:spMkLst>
            <pc:docMk/>
            <pc:sldMk cId="1033770688" sldId="2147478572"/>
            <ac:spMk id="891" creationId="{913E9EA3-BFD1-D114-ED13-E61ECC53F55A}"/>
          </ac:spMkLst>
        </pc:spChg>
        <pc:spChg chg="add del mod">
          <ac:chgData name="Steiner Andreas 6206 ED" userId="e6377c33-a923-4f14-8587-531c474c7b48" providerId="ADAL" clId="{6ECD27E6-B224-41CD-B4E0-E297462320DD}" dt="2023-11-24T11:38:47.366" v="136912"/>
          <ac:spMkLst>
            <pc:docMk/>
            <pc:sldMk cId="1033770688" sldId="2147478572"/>
            <ac:spMk id="892" creationId="{D41C6F4A-3068-D829-DD79-1C7F873BDFD5}"/>
          </ac:spMkLst>
        </pc:spChg>
        <pc:spChg chg="add del mod">
          <ac:chgData name="Steiner Andreas 6206 ED" userId="e6377c33-a923-4f14-8587-531c474c7b48" providerId="ADAL" clId="{6ECD27E6-B224-41CD-B4E0-E297462320DD}" dt="2023-11-24T11:38:50.318" v="137067"/>
          <ac:spMkLst>
            <pc:docMk/>
            <pc:sldMk cId="1033770688" sldId="2147478572"/>
            <ac:spMk id="893" creationId="{E8A1F785-5155-BBAE-5AAD-0FFE3AD16351}"/>
          </ac:spMkLst>
        </pc:spChg>
        <pc:spChg chg="add del mod">
          <ac:chgData name="Steiner Andreas 6206 ED" userId="e6377c33-a923-4f14-8587-531c474c7b48" providerId="ADAL" clId="{6ECD27E6-B224-41CD-B4E0-E297462320DD}" dt="2023-11-24T11:38:52.856" v="137222"/>
          <ac:spMkLst>
            <pc:docMk/>
            <pc:sldMk cId="1033770688" sldId="2147478572"/>
            <ac:spMk id="894" creationId="{6F57CA55-63E2-AB37-F395-DB770F48794F}"/>
          </ac:spMkLst>
        </pc:spChg>
        <pc:spChg chg="add del mod">
          <ac:chgData name="Steiner Andreas 6206 ED" userId="e6377c33-a923-4f14-8587-531c474c7b48" providerId="ADAL" clId="{6ECD27E6-B224-41CD-B4E0-E297462320DD}" dt="2023-11-24T11:38:55.288" v="137377"/>
          <ac:spMkLst>
            <pc:docMk/>
            <pc:sldMk cId="1033770688" sldId="2147478572"/>
            <ac:spMk id="895" creationId="{975097F2-DDA0-35E4-5669-4D5F6C6EAFA3}"/>
          </ac:spMkLst>
        </pc:spChg>
        <pc:spChg chg="add del mod">
          <ac:chgData name="Steiner Andreas 6206 ED" userId="e6377c33-a923-4f14-8587-531c474c7b48" providerId="ADAL" clId="{6ECD27E6-B224-41CD-B4E0-E297462320DD}" dt="2023-11-24T11:38:57.938" v="137532"/>
          <ac:spMkLst>
            <pc:docMk/>
            <pc:sldMk cId="1033770688" sldId="2147478572"/>
            <ac:spMk id="896" creationId="{A9B7261C-2871-CC4B-DE91-9ABF67A5B947}"/>
          </ac:spMkLst>
        </pc:spChg>
        <pc:spChg chg="add del mod">
          <ac:chgData name="Steiner Andreas 6206 ED" userId="e6377c33-a923-4f14-8587-531c474c7b48" providerId="ADAL" clId="{6ECD27E6-B224-41CD-B4E0-E297462320DD}" dt="2023-11-24T11:39:00.187" v="137687"/>
          <ac:spMkLst>
            <pc:docMk/>
            <pc:sldMk cId="1033770688" sldId="2147478572"/>
            <ac:spMk id="897" creationId="{1991D17B-7707-5166-2152-3F2D0F2A2C22}"/>
          </ac:spMkLst>
        </pc:spChg>
        <pc:spChg chg="add del mod">
          <ac:chgData name="Steiner Andreas 6206 ED" userId="e6377c33-a923-4f14-8587-531c474c7b48" providerId="ADAL" clId="{6ECD27E6-B224-41CD-B4E0-E297462320DD}" dt="2023-11-24T11:39:03.022" v="137842"/>
          <ac:spMkLst>
            <pc:docMk/>
            <pc:sldMk cId="1033770688" sldId="2147478572"/>
            <ac:spMk id="898" creationId="{F2D0A57E-A395-0D69-6127-A130A1E6A35F}"/>
          </ac:spMkLst>
        </pc:spChg>
        <pc:spChg chg="add del mod">
          <ac:chgData name="Steiner Andreas 6206 ED" userId="e6377c33-a923-4f14-8587-531c474c7b48" providerId="ADAL" clId="{6ECD27E6-B224-41CD-B4E0-E297462320DD}" dt="2023-11-24T11:39:05.777" v="137997"/>
          <ac:spMkLst>
            <pc:docMk/>
            <pc:sldMk cId="1033770688" sldId="2147478572"/>
            <ac:spMk id="899" creationId="{C45C5516-9FB5-0A8C-FCB6-AAFC19EBBB44}"/>
          </ac:spMkLst>
        </pc:spChg>
        <pc:spChg chg="add del mod">
          <ac:chgData name="Steiner Andreas 6206 ED" userId="e6377c33-a923-4f14-8587-531c474c7b48" providerId="ADAL" clId="{6ECD27E6-B224-41CD-B4E0-E297462320DD}" dt="2023-11-24T11:39:08.283" v="138152"/>
          <ac:spMkLst>
            <pc:docMk/>
            <pc:sldMk cId="1033770688" sldId="2147478572"/>
            <ac:spMk id="900" creationId="{3D9987C0-03CB-19A5-660D-99CE154A0D40}"/>
          </ac:spMkLst>
        </pc:spChg>
        <pc:spChg chg="add del mod">
          <ac:chgData name="Steiner Andreas 6206 ED" userId="e6377c33-a923-4f14-8587-531c474c7b48" providerId="ADAL" clId="{6ECD27E6-B224-41CD-B4E0-E297462320DD}" dt="2023-11-24T11:39:10.668" v="138307"/>
          <ac:spMkLst>
            <pc:docMk/>
            <pc:sldMk cId="1033770688" sldId="2147478572"/>
            <ac:spMk id="901" creationId="{B2B75EAE-F246-1CDC-5EA4-696D1791D1DD}"/>
          </ac:spMkLst>
        </pc:spChg>
        <pc:spChg chg="add del mod">
          <ac:chgData name="Steiner Andreas 6206 ED" userId="e6377c33-a923-4f14-8587-531c474c7b48" providerId="ADAL" clId="{6ECD27E6-B224-41CD-B4E0-E297462320DD}" dt="2023-11-24T11:39:13.158" v="138462"/>
          <ac:spMkLst>
            <pc:docMk/>
            <pc:sldMk cId="1033770688" sldId="2147478572"/>
            <ac:spMk id="902" creationId="{B4BCCF32-A46E-B731-10AA-A85C2999A3F0}"/>
          </ac:spMkLst>
        </pc:spChg>
        <pc:spChg chg="add del mod">
          <ac:chgData name="Steiner Andreas 6206 ED" userId="e6377c33-a923-4f14-8587-531c474c7b48" providerId="ADAL" clId="{6ECD27E6-B224-41CD-B4E0-E297462320DD}" dt="2023-11-24T11:39:15.856" v="138617"/>
          <ac:spMkLst>
            <pc:docMk/>
            <pc:sldMk cId="1033770688" sldId="2147478572"/>
            <ac:spMk id="903" creationId="{62767B9F-3BF7-89AA-0726-71982CDD92CF}"/>
          </ac:spMkLst>
        </pc:spChg>
        <pc:spChg chg="add del mod">
          <ac:chgData name="Steiner Andreas 6206 ED" userId="e6377c33-a923-4f14-8587-531c474c7b48" providerId="ADAL" clId="{6ECD27E6-B224-41CD-B4E0-E297462320DD}" dt="2023-11-24T11:39:18.694" v="138772"/>
          <ac:spMkLst>
            <pc:docMk/>
            <pc:sldMk cId="1033770688" sldId="2147478572"/>
            <ac:spMk id="904" creationId="{59639B99-6211-E353-64A3-39461E71643B}"/>
          </ac:spMkLst>
        </pc:spChg>
        <pc:spChg chg="add del mod">
          <ac:chgData name="Steiner Andreas 6206 ED" userId="e6377c33-a923-4f14-8587-531c474c7b48" providerId="ADAL" clId="{6ECD27E6-B224-41CD-B4E0-E297462320DD}" dt="2023-11-24T11:39:21.322" v="138927"/>
          <ac:spMkLst>
            <pc:docMk/>
            <pc:sldMk cId="1033770688" sldId="2147478572"/>
            <ac:spMk id="905" creationId="{063C985D-9CAE-DF10-877E-E04503595245}"/>
          </ac:spMkLst>
        </pc:spChg>
        <pc:spChg chg="add del mod">
          <ac:chgData name="Steiner Andreas 6206 ED" userId="e6377c33-a923-4f14-8587-531c474c7b48" providerId="ADAL" clId="{6ECD27E6-B224-41CD-B4E0-E297462320DD}" dt="2023-11-24T11:39:23.907" v="139082"/>
          <ac:spMkLst>
            <pc:docMk/>
            <pc:sldMk cId="1033770688" sldId="2147478572"/>
            <ac:spMk id="906" creationId="{D85594FA-386C-7A92-B106-344AEF57CADE}"/>
          </ac:spMkLst>
        </pc:spChg>
        <pc:spChg chg="add del mod">
          <ac:chgData name="Steiner Andreas 6206 ED" userId="e6377c33-a923-4f14-8587-531c474c7b48" providerId="ADAL" clId="{6ECD27E6-B224-41CD-B4E0-E297462320DD}" dt="2023-11-24T11:39:26.611" v="139237"/>
          <ac:spMkLst>
            <pc:docMk/>
            <pc:sldMk cId="1033770688" sldId="2147478572"/>
            <ac:spMk id="907" creationId="{E2B6E1DE-65DF-2CDE-E36E-2D89DCBE2792}"/>
          </ac:spMkLst>
        </pc:spChg>
        <pc:spChg chg="add del mod">
          <ac:chgData name="Steiner Andreas 6206 ED" userId="e6377c33-a923-4f14-8587-531c474c7b48" providerId="ADAL" clId="{6ECD27E6-B224-41CD-B4E0-E297462320DD}" dt="2023-11-24T11:39:29.289" v="139392"/>
          <ac:spMkLst>
            <pc:docMk/>
            <pc:sldMk cId="1033770688" sldId="2147478572"/>
            <ac:spMk id="908" creationId="{600513F5-EA86-979A-EF99-5DE7CF8EFF22}"/>
          </ac:spMkLst>
        </pc:spChg>
        <pc:spChg chg="add del mod">
          <ac:chgData name="Steiner Andreas 6206 ED" userId="e6377c33-a923-4f14-8587-531c474c7b48" providerId="ADAL" clId="{6ECD27E6-B224-41CD-B4E0-E297462320DD}" dt="2023-11-24T11:39:32.307" v="139547"/>
          <ac:spMkLst>
            <pc:docMk/>
            <pc:sldMk cId="1033770688" sldId="2147478572"/>
            <ac:spMk id="909" creationId="{C2A18347-F8E9-002B-5257-979488C0FFDB}"/>
          </ac:spMkLst>
        </pc:spChg>
        <pc:spChg chg="add del mod">
          <ac:chgData name="Steiner Andreas 6206 ED" userId="e6377c33-a923-4f14-8587-531c474c7b48" providerId="ADAL" clId="{6ECD27E6-B224-41CD-B4E0-E297462320DD}" dt="2023-11-24T11:39:35.020" v="139702"/>
          <ac:spMkLst>
            <pc:docMk/>
            <pc:sldMk cId="1033770688" sldId="2147478572"/>
            <ac:spMk id="910" creationId="{807FAF5B-0F8D-ECC1-E51B-2F7BEBA7B270}"/>
          </ac:spMkLst>
        </pc:spChg>
        <pc:spChg chg="add del mod">
          <ac:chgData name="Steiner Andreas 6206 ED" userId="e6377c33-a923-4f14-8587-531c474c7b48" providerId="ADAL" clId="{6ECD27E6-B224-41CD-B4E0-E297462320DD}" dt="2023-11-24T11:39:37.818" v="139857"/>
          <ac:spMkLst>
            <pc:docMk/>
            <pc:sldMk cId="1033770688" sldId="2147478572"/>
            <ac:spMk id="911" creationId="{217CB13A-88AB-AFA3-29DA-09A1436E63CA}"/>
          </ac:spMkLst>
        </pc:spChg>
        <pc:spChg chg="add del mod">
          <ac:chgData name="Steiner Andreas 6206 ED" userId="e6377c33-a923-4f14-8587-531c474c7b48" providerId="ADAL" clId="{6ECD27E6-B224-41CD-B4E0-E297462320DD}" dt="2023-11-24T11:39:40.639" v="140012"/>
          <ac:spMkLst>
            <pc:docMk/>
            <pc:sldMk cId="1033770688" sldId="2147478572"/>
            <ac:spMk id="912" creationId="{672C12C8-ACB8-9FC5-E986-C3A3CBB0BD63}"/>
          </ac:spMkLst>
        </pc:spChg>
        <pc:spChg chg="add del mod">
          <ac:chgData name="Steiner Andreas 6206 ED" userId="e6377c33-a923-4f14-8587-531c474c7b48" providerId="ADAL" clId="{6ECD27E6-B224-41CD-B4E0-E297462320DD}" dt="2023-11-24T11:39:43.190" v="140167"/>
          <ac:spMkLst>
            <pc:docMk/>
            <pc:sldMk cId="1033770688" sldId="2147478572"/>
            <ac:spMk id="913" creationId="{C6F45E56-30C0-24E2-C5B3-CA7080FC512A}"/>
          </ac:spMkLst>
        </pc:spChg>
        <pc:spChg chg="add del mod">
          <ac:chgData name="Steiner Andreas 6206 ED" userId="e6377c33-a923-4f14-8587-531c474c7b48" providerId="ADAL" clId="{6ECD27E6-B224-41CD-B4E0-E297462320DD}" dt="2023-11-24T11:39:45.894" v="140322"/>
          <ac:spMkLst>
            <pc:docMk/>
            <pc:sldMk cId="1033770688" sldId="2147478572"/>
            <ac:spMk id="914" creationId="{05775765-7458-FBD5-8ADE-201C6F7A1673}"/>
          </ac:spMkLst>
        </pc:spChg>
        <pc:spChg chg="add del mod">
          <ac:chgData name="Steiner Andreas 6206 ED" userId="e6377c33-a923-4f14-8587-531c474c7b48" providerId="ADAL" clId="{6ECD27E6-B224-41CD-B4E0-E297462320DD}" dt="2023-11-24T11:39:48.292" v="140477"/>
          <ac:spMkLst>
            <pc:docMk/>
            <pc:sldMk cId="1033770688" sldId="2147478572"/>
            <ac:spMk id="915" creationId="{D0FF9E12-2DED-01CE-914B-F34596058F29}"/>
          </ac:spMkLst>
        </pc:spChg>
        <pc:spChg chg="add del mod">
          <ac:chgData name="Steiner Andreas 6206 ED" userId="e6377c33-a923-4f14-8587-531c474c7b48" providerId="ADAL" clId="{6ECD27E6-B224-41CD-B4E0-E297462320DD}" dt="2023-11-24T11:39:51.259" v="140632"/>
          <ac:spMkLst>
            <pc:docMk/>
            <pc:sldMk cId="1033770688" sldId="2147478572"/>
            <ac:spMk id="916" creationId="{D3B0F033-3F8E-FD8A-712D-9730CCAA335B}"/>
          </ac:spMkLst>
        </pc:spChg>
        <pc:spChg chg="add del mod">
          <ac:chgData name="Steiner Andreas 6206 ED" userId="e6377c33-a923-4f14-8587-531c474c7b48" providerId="ADAL" clId="{6ECD27E6-B224-41CD-B4E0-E297462320DD}" dt="2023-11-24T11:39:54.191" v="140787"/>
          <ac:spMkLst>
            <pc:docMk/>
            <pc:sldMk cId="1033770688" sldId="2147478572"/>
            <ac:spMk id="917" creationId="{660D978A-D520-21DC-4A91-5794D4C2D0F1}"/>
          </ac:spMkLst>
        </pc:spChg>
        <pc:spChg chg="add del mod">
          <ac:chgData name="Steiner Andreas 6206 ED" userId="e6377c33-a923-4f14-8587-531c474c7b48" providerId="ADAL" clId="{6ECD27E6-B224-41CD-B4E0-E297462320DD}" dt="2023-11-24T11:39:56.717" v="140942"/>
          <ac:spMkLst>
            <pc:docMk/>
            <pc:sldMk cId="1033770688" sldId="2147478572"/>
            <ac:spMk id="918" creationId="{392D6160-04D8-E194-017F-41198395E966}"/>
          </ac:spMkLst>
        </pc:spChg>
        <pc:spChg chg="add del mod">
          <ac:chgData name="Steiner Andreas 6206 ED" userId="e6377c33-a923-4f14-8587-531c474c7b48" providerId="ADAL" clId="{6ECD27E6-B224-41CD-B4E0-E297462320DD}" dt="2023-11-24T11:39:59.076" v="141097"/>
          <ac:spMkLst>
            <pc:docMk/>
            <pc:sldMk cId="1033770688" sldId="2147478572"/>
            <ac:spMk id="919" creationId="{DCFB297C-683D-43DC-5CA7-6A0BFE1131BB}"/>
          </ac:spMkLst>
        </pc:spChg>
        <pc:spChg chg="add del mod">
          <ac:chgData name="Steiner Andreas 6206 ED" userId="e6377c33-a923-4f14-8587-531c474c7b48" providerId="ADAL" clId="{6ECD27E6-B224-41CD-B4E0-E297462320DD}" dt="2023-11-24T11:40:01.684" v="141252"/>
          <ac:spMkLst>
            <pc:docMk/>
            <pc:sldMk cId="1033770688" sldId="2147478572"/>
            <ac:spMk id="920" creationId="{719A9CED-A8B3-12C3-0F0A-DDFE9E6AC5FF}"/>
          </ac:spMkLst>
        </pc:spChg>
        <pc:spChg chg="add del mod">
          <ac:chgData name="Steiner Andreas 6206 ED" userId="e6377c33-a923-4f14-8587-531c474c7b48" providerId="ADAL" clId="{6ECD27E6-B224-41CD-B4E0-E297462320DD}" dt="2023-11-24T11:40:04.647" v="141407"/>
          <ac:spMkLst>
            <pc:docMk/>
            <pc:sldMk cId="1033770688" sldId="2147478572"/>
            <ac:spMk id="921" creationId="{D863D46E-8E2A-7573-3ABF-6115166801C4}"/>
          </ac:spMkLst>
        </pc:spChg>
        <pc:spChg chg="add del mod">
          <ac:chgData name="Steiner Andreas 6206 ED" userId="e6377c33-a923-4f14-8587-531c474c7b48" providerId="ADAL" clId="{6ECD27E6-B224-41CD-B4E0-E297462320DD}" dt="2023-11-24T11:40:07.401" v="141562"/>
          <ac:spMkLst>
            <pc:docMk/>
            <pc:sldMk cId="1033770688" sldId="2147478572"/>
            <ac:spMk id="922" creationId="{2DBBFCA4-4FC2-70B9-7DAE-68ED491A83E2}"/>
          </ac:spMkLst>
        </pc:spChg>
        <pc:spChg chg="add del mod">
          <ac:chgData name="Steiner Andreas 6206 ED" userId="e6377c33-a923-4f14-8587-531c474c7b48" providerId="ADAL" clId="{6ECD27E6-B224-41CD-B4E0-E297462320DD}" dt="2023-11-24T11:40:09.868" v="141717"/>
          <ac:spMkLst>
            <pc:docMk/>
            <pc:sldMk cId="1033770688" sldId="2147478572"/>
            <ac:spMk id="923" creationId="{1E57DD67-9C70-C656-6752-613818FA42FB}"/>
          </ac:spMkLst>
        </pc:spChg>
        <pc:spChg chg="add del mod">
          <ac:chgData name="Steiner Andreas 6206 ED" userId="e6377c33-a923-4f14-8587-531c474c7b48" providerId="ADAL" clId="{6ECD27E6-B224-41CD-B4E0-E297462320DD}" dt="2023-11-24T11:40:12.326" v="141872"/>
          <ac:spMkLst>
            <pc:docMk/>
            <pc:sldMk cId="1033770688" sldId="2147478572"/>
            <ac:spMk id="924" creationId="{DE745BE6-8E6F-AFB0-BF85-9C3B24D625DF}"/>
          </ac:spMkLst>
        </pc:spChg>
        <pc:spChg chg="add del mod">
          <ac:chgData name="Steiner Andreas 6206 ED" userId="e6377c33-a923-4f14-8587-531c474c7b48" providerId="ADAL" clId="{6ECD27E6-B224-41CD-B4E0-E297462320DD}" dt="2023-11-24T11:40:15.634" v="142027"/>
          <ac:spMkLst>
            <pc:docMk/>
            <pc:sldMk cId="1033770688" sldId="2147478572"/>
            <ac:spMk id="925" creationId="{359D9C2F-54D4-B3E0-35C3-0B23A301B485}"/>
          </ac:spMkLst>
        </pc:spChg>
        <pc:spChg chg="add del mod">
          <ac:chgData name="Steiner Andreas 6206 ED" userId="e6377c33-a923-4f14-8587-531c474c7b48" providerId="ADAL" clId="{6ECD27E6-B224-41CD-B4E0-E297462320DD}" dt="2023-11-24T11:40:19.230" v="142182"/>
          <ac:spMkLst>
            <pc:docMk/>
            <pc:sldMk cId="1033770688" sldId="2147478572"/>
            <ac:spMk id="926" creationId="{BF7366E3-6320-4E63-40DC-BEA8B9000486}"/>
          </ac:spMkLst>
        </pc:spChg>
        <pc:spChg chg="add del mod">
          <ac:chgData name="Steiner Andreas 6206 ED" userId="e6377c33-a923-4f14-8587-531c474c7b48" providerId="ADAL" clId="{6ECD27E6-B224-41CD-B4E0-E297462320DD}" dt="2023-11-24T11:40:22.192" v="142337"/>
          <ac:spMkLst>
            <pc:docMk/>
            <pc:sldMk cId="1033770688" sldId="2147478572"/>
            <ac:spMk id="927" creationId="{1F5D9E50-CF2F-BE18-1CD9-4274DBECCC4B}"/>
          </ac:spMkLst>
        </pc:spChg>
        <pc:spChg chg="add del mod">
          <ac:chgData name="Steiner Andreas 6206 ED" userId="e6377c33-a923-4f14-8587-531c474c7b48" providerId="ADAL" clId="{6ECD27E6-B224-41CD-B4E0-E297462320DD}" dt="2023-11-24T11:40:24.878" v="142492"/>
          <ac:spMkLst>
            <pc:docMk/>
            <pc:sldMk cId="1033770688" sldId="2147478572"/>
            <ac:spMk id="928" creationId="{D90ADF88-8DAB-6EB7-6F26-AD4E99009BD2}"/>
          </ac:spMkLst>
        </pc:spChg>
        <pc:spChg chg="add del mod">
          <ac:chgData name="Steiner Andreas 6206 ED" userId="e6377c33-a923-4f14-8587-531c474c7b48" providerId="ADAL" clId="{6ECD27E6-B224-41CD-B4E0-E297462320DD}" dt="2023-11-24T11:40:27.877" v="142647"/>
          <ac:spMkLst>
            <pc:docMk/>
            <pc:sldMk cId="1033770688" sldId="2147478572"/>
            <ac:spMk id="929" creationId="{A696E11E-3963-4DD0-1625-0FF53DFDF6E8}"/>
          </ac:spMkLst>
        </pc:spChg>
        <pc:spChg chg="add del mod">
          <ac:chgData name="Steiner Andreas 6206 ED" userId="e6377c33-a923-4f14-8587-531c474c7b48" providerId="ADAL" clId="{6ECD27E6-B224-41CD-B4E0-E297462320DD}" dt="2023-11-24T11:40:30.710" v="142802"/>
          <ac:spMkLst>
            <pc:docMk/>
            <pc:sldMk cId="1033770688" sldId="2147478572"/>
            <ac:spMk id="930" creationId="{8DCE9F6E-A788-8195-1A65-DB78DE6D3433}"/>
          </ac:spMkLst>
        </pc:spChg>
        <pc:spChg chg="add del mod">
          <ac:chgData name="Steiner Andreas 6206 ED" userId="e6377c33-a923-4f14-8587-531c474c7b48" providerId="ADAL" clId="{6ECD27E6-B224-41CD-B4E0-E297462320DD}" dt="2023-11-24T11:40:33.214" v="142957"/>
          <ac:spMkLst>
            <pc:docMk/>
            <pc:sldMk cId="1033770688" sldId="2147478572"/>
            <ac:spMk id="931" creationId="{4E5CA796-067A-2F59-418B-8567E96A16A1}"/>
          </ac:spMkLst>
        </pc:spChg>
        <pc:spChg chg="add del mod">
          <ac:chgData name="Steiner Andreas 6206 ED" userId="e6377c33-a923-4f14-8587-531c474c7b48" providerId="ADAL" clId="{6ECD27E6-B224-41CD-B4E0-E297462320DD}" dt="2023-11-24T11:40:35.774" v="143112"/>
          <ac:spMkLst>
            <pc:docMk/>
            <pc:sldMk cId="1033770688" sldId="2147478572"/>
            <ac:spMk id="932" creationId="{0BE64364-E21C-C694-A8C1-A456E9BFD443}"/>
          </ac:spMkLst>
        </pc:spChg>
        <pc:spChg chg="add del mod">
          <ac:chgData name="Steiner Andreas 6206 ED" userId="e6377c33-a923-4f14-8587-531c474c7b48" providerId="ADAL" clId="{6ECD27E6-B224-41CD-B4E0-E297462320DD}" dt="2023-11-24T11:40:38.890" v="143267"/>
          <ac:spMkLst>
            <pc:docMk/>
            <pc:sldMk cId="1033770688" sldId="2147478572"/>
            <ac:spMk id="933" creationId="{6B9EAB57-21AC-588A-2ADD-DC5C65DD96F5}"/>
          </ac:spMkLst>
        </pc:spChg>
        <pc:spChg chg="add del mod">
          <ac:chgData name="Steiner Andreas 6206 ED" userId="e6377c33-a923-4f14-8587-531c474c7b48" providerId="ADAL" clId="{6ECD27E6-B224-41CD-B4E0-E297462320DD}" dt="2023-11-24T11:40:41.912" v="143422"/>
          <ac:spMkLst>
            <pc:docMk/>
            <pc:sldMk cId="1033770688" sldId="2147478572"/>
            <ac:spMk id="934" creationId="{33BDC1F9-0061-7FB5-A263-FDB5DB0EB446}"/>
          </ac:spMkLst>
        </pc:spChg>
        <pc:spChg chg="add del mod">
          <ac:chgData name="Steiner Andreas 6206 ED" userId="e6377c33-a923-4f14-8587-531c474c7b48" providerId="ADAL" clId="{6ECD27E6-B224-41CD-B4E0-E297462320DD}" dt="2023-11-24T11:40:44.624" v="143577"/>
          <ac:spMkLst>
            <pc:docMk/>
            <pc:sldMk cId="1033770688" sldId="2147478572"/>
            <ac:spMk id="935" creationId="{548D28A2-58BF-D84B-6C76-1DDB3B0051D5}"/>
          </ac:spMkLst>
        </pc:spChg>
        <pc:spChg chg="add del mod">
          <ac:chgData name="Steiner Andreas 6206 ED" userId="e6377c33-a923-4f14-8587-531c474c7b48" providerId="ADAL" clId="{6ECD27E6-B224-41CD-B4E0-E297462320DD}" dt="2023-11-24T11:40:47.394" v="143732"/>
          <ac:spMkLst>
            <pc:docMk/>
            <pc:sldMk cId="1033770688" sldId="2147478572"/>
            <ac:spMk id="936" creationId="{E2802155-59F0-E271-A5DD-352C786D438D}"/>
          </ac:spMkLst>
        </pc:spChg>
        <pc:spChg chg="add del mod">
          <ac:chgData name="Steiner Andreas 6206 ED" userId="e6377c33-a923-4f14-8587-531c474c7b48" providerId="ADAL" clId="{6ECD27E6-B224-41CD-B4E0-E297462320DD}" dt="2023-11-24T11:40:50.184" v="143887"/>
          <ac:spMkLst>
            <pc:docMk/>
            <pc:sldMk cId="1033770688" sldId="2147478572"/>
            <ac:spMk id="937" creationId="{538D0C18-E075-C372-E946-AF5B8CB851D5}"/>
          </ac:spMkLst>
        </pc:spChg>
        <pc:spChg chg="add del mod">
          <ac:chgData name="Steiner Andreas 6206 ED" userId="e6377c33-a923-4f14-8587-531c474c7b48" providerId="ADAL" clId="{6ECD27E6-B224-41CD-B4E0-E297462320DD}" dt="2023-11-24T11:40:53.001" v="144042"/>
          <ac:spMkLst>
            <pc:docMk/>
            <pc:sldMk cId="1033770688" sldId="2147478572"/>
            <ac:spMk id="938" creationId="{21BED612-CB74-4AE6-8504-3C3AC9206465}"/>
          </ac:spMkLst>
        </pc:spChg>
        <pc:spChg chg="add del mod">
          <ac:chgData name="Steiner Andreas 6206 ED" userId="e6377c33-a923-4f14-8587-531c474c7b48" providerId="ADAL" clId="{6ECD27E6-B224-41CD-B4E0-E297462320DD}" dt="2023-11-24T11:40:55.611" v="144197"/>
          <ac:spMkLst>
            <pc:docMk/>
            <pc:sldMk cId="1033770688" sldId="2147478572"/>
            <ac:spMk id="939" creationId="{D9A28678-2DAF-8E29-3449-0BD242BC7E6A}"/>
          </ac:spMkLst>
        </pc:spChg>
        <pc:spChg chg="add del mod">
          <ac:chgData name="Steiner Andreas 6206 ED" userId="e6377c33-a923-4f14-8587-531c474c7b48" providerId="ADAL" clId="{6ECD27E6-B224-41CD-B4E0-E297462320DD}" dt="2023-11-24T11:40:58.276" v="144352"/>
          <ac:spMkLst>
            <pc:docMk/>
            <pc:sldMk cId="1033770688" sldId="2147478572"/>
            <ac:spMk id="940" creationId="{4F4219D2-45FB-B734-1C6C-980E871FC19C}"/>
          </ac:spMkLst>
        </pc:spChg>
        <pc:spChg chg="add del mod">
          <ac:chgData name="Steiner Andreas 6206 ED" userId="e6377c33-a923-4f14-8587-531c474c7b48" providerId="ADAL" clId="{6ECD27E6-B224-41CD-B4E0-E297462320DD}" dt="2023-11-24T11:41:00.908" v="144507"/>
          <ac:spMkLst>
            <pc:docMk/>
            <pc:sldMk cId="1033770688" sldId="2147478572"/>
            <ac:spMk id="941" creationId="{87ECD43B-0D87-18EA-1A9C-31688722BC07}"/>
          </ac:spMkLst>
        </pc:spChg>
        <pc:spChg chg="add del mod">
          <ac:chgData name="Steiner Andreas 6206 ED" userId="e6377c33-a923-4f14-8587-531c474c7b48" providerId="ADAL" clId="{6ECD27E6-B224-41CD-B4E0-E297462320DD}" dt="2023-11-24T11:41:03.388" v="144662"/>
          <ac:spMkLst>
            <pc:docMk/>
            <pc:sldMk cId="1033770688" sldId="2147478572"/>
            <ac:spMk id="942" creationId="{225DF381-D357-13D6-E792-E20771AE4A08}"/>
          </ac:spMkLst>
        </pc:spChg>
        <pc:spChg chg="add del mod">
          <ac:chgData name="Steiner Andreas 6206 ED" userId="e6377c33-a923-4f14-8587-531c474c7b48" providerId="ADAL" clId="{6ECD27E6-B224-41CD-B4E0-E297462320DD}" dt="2023-11-24T11:41:06.665" v="144817"/>
          <ac:spMkLst>
            <pc:docMk/>
            <pc:sldMk cId="1033770688" sldId="2147478572"/>
            <ac:spMk id="943" creationId="{8914A7A5-7A67-3A84-110B-B67B67D46BD2}"/>
          </ac:spMkLst>
        </pc:spChg>
        <pc:spChg chg="add del mod">
          <ac:chgData name="Steiner Andreas 6206 ED" userId="e6377c33-a923-4f14-8587-531c474c7b48" providerId="ADAL" clId="{6ECD27E6-B224-41CD-B4E0-E297462320DD}" dt="2023-11-24T11:41:09.705" v="144972"/>
          <ac:spMkLst>
            <pc:docMk/>
            <pc:sldMk cId="1033770688" sldId="2147478572"/>
            <ac:spMk id="944" creationId="{ACCB0672-C49B-D3AE-D330-3AE772DADF7B}"/>
          </ac:spMkLst>
        </pc:spChg>
        <pc:spChg chg="add del mod">
          <ac:chgData name="Steiner Andreas 6206 ED" userId="e6377c33-a923-4f14-8587-531c474c7b48" providerId="ADAL" clId="{6ECD27E6-B224-41CD-B4E0-E297462320DD}" dt="2023-11-24T11:41:12.530" v="145127"/>
          <ac:spMkLst>
            <pc:docMk/>
            <pc:sldMk cId="1033770688" sldId="2147478572"/>
            <ac:spMk id="945" creationId="{EB6A625F-ABBD-81BB-1AF1-90F8E40D5371}"/>
          </ac:spMkLst>
        </pc:spChg>
        <pc:spChg chg="add del mod">
          <ac:chgData name="Steiner Andreas 6206 ED" userId="e6377c33-a923-4f14-8587-531c474c7b48" providerId="ADAL" clId="{6ECD27E6-B224-41CD-B4E0-E297462320DD}" dt="2023-11-24T11:41:15.502" v="145282"/>
          <ac:spMkLst>
            <pc:docMk/>
            <pc:sldMk cId="1033770688" sldId="2147478572"/>
            <ac:spMk id="946" creationId="{688C1965-DF82-C2B8-98F5-A18CDEB1E0CA}"/>
          </ac:spMkLst>
        </pc:spChg>
        <pc:spChg chg="add del mod">
          <ac:chgData name="Steiner Andreas 6206 ED" userId="e6377c33-a923-4f14-8587-531c474c7b48" providerId="ADAL" clId="{6ECD27E6-B224-41CD-B4E0-E297462320DD}" dt="2023-11-24T11:41:18.761" v="145437"/>
          <ac:spMkLst>
            <pc:docMk/>
            <pc:sldMk cId="1033770688" sldId="2147478572"/>
            <ac:spMk id="947" creationId="{FF0BD94E-B325-BC78-6257-7F0CCB66BAC7}"/>
          </ac:spMkLst>
        </pc:spChg>
        <pc:spChg chg="add del mod">
          <ac:chgData name="Steiner Andreas 6206 ED" userId="e6377c33-a923-4f14-8587-531c474c7b48" providerId="ADAL" clId="{6ECD27E6-B224-41CD-B4E0-E297462320DD}" dt="2023-11-24T11:41:21.453" v="145592"/>
          <ac:spMkLst>
            <pc:docMk/>
            <pc:sldMk cId="1033770688" sldId="2147478572"/>
            <ac:spMk id="948" creationId="{2E306347-2F26-EB0B-CCE0-C56D969690EB}"/>
          </ac:spMkLst>
        </pc:spChg>
        <pc:spChg chg="add del mod">
          <ac:chgData name="Steiner Andreas 6206 ED" userId="e6377c33-a923-4f14-8587-531c474c7b48" providerId="ADAL" clId="{6ECD27E6-B224-41CD-B4E0-E297462320DD}" dt="2023-11-24T11:41:25.228" v="145747"/>
          <ac:spMkLst>
            <pc:docMk/>
            <pc:sldMk cId="1033770688" sldId="2147478572"/>
            <ac:spMk id="949" creationId="{96FD922E-219E-2077-4351-DEB95BDEF00D}"/>
          </ac:spMkLst>
        </pc:spChg>
        <pc:spChg chg="add del mod">
          <ac:chgData name="Steiner Andreas 6206 ED" userId="e6377c33-a923-4f14-8587-531c474c7b48" providerId="ADAL" clId="{6ECD27E6-B224-41CD-B4E0-E297462320DD}" dt="2023-11-24T11:41:28.172" v="145902"/>
          <ac:spMkLst>
            <pc:docMk/>
            <pc:sldMk cId="1033770688" sldId="2147478572"/>
            <ac:spMk id="950" creationId="{E9A301A6-BFDE-ADF3-ABAE-1FCF9AAD4D20}"/>
          </ac:spMkLst>
        </pc:spChg>
        <pc:spChg chg="add del mod">
          <ac:chgData name="Steiner Andreas 6206 ED" userId="e6377c33-a923-4f14-8587-531c474c7b48" providerId="ADAL" clId="{6ECD27E6-B224-41CD-B4E0-E297462320DD}" dt="2023-11-24T11:41:31.094" v="146057"/>
          <ac:spMkLst>
            <pc:docMk/>
            <pc:sldMk cId="1033770688" sldId="2147478572"/>
            <ac:spMk id="951" creationId="{38297704-92DC-8EC8-84DF-EC03D28AE699}"/>
          </ac:spMkLst>
        </pc:spChg>
        <pc:spChg chg="add del mod">
          <ac:chgData name="Steiner Andreas 6206 ED" userId="e6377c33-a923-4f14-8587-531c474c7b48" providerId="ADAL" clId="{6ECD27E6-B224-41CD-B4E0-E297462320DD}" dt="2023-11-24T11:41:33.315" v="146212"/>
          <ac:spMkLst>
            <pc:docMk/>
            <pc:sldMk cId="1033770688" sldId="2147478572"/>
            <ac:spMk id="952" creationId="{3F4FEA6D-4B6E-34C6-0B83-E6313B5CD0AA}"/>
          </ac:spMkLst>
        </pc:spChg>
        <pc:spChg chg="add del mod">
          <ac:chgData name="Steiner Andreas 6206 ED" userId="e6377c33-a923-4f14-8587-531c474c7b48" providerId="ADAL" clId="{6ECD27E6-B224-41CD-B4E0-E297462320DD}" dt="2023-11-24T11:41:35.434" v="146367"/>
          <ac:spMkLst>
            <pc:docMk/>
            <pc:sldMk cId="1033770688" sldId="2147478572"/>
            <ac:spMk id="953" creationId="{309C049B-B21C-9114-683F-5E58F3235A80}"/>
          </ac:spMkLst>
        </pc:spChg>
        <pc:spChg chg="add del mod">
          <ac:chgData name="Steiner Andreas 6206 ED" userId="e6377c33-a923-4f14-8587-531c474c7b48" providerId="ADAL" clId="{6ECD27E6-B224-41CD-B4E0-E297462320DD}" dt="2023-11-24T11:41:37.613" v="146522"/>
          <ac:spMkLst>
            <pc:docMk/>
            <pc:sldMk cId="1033770688" sldId="2147478572"/>
            <ac:spMk id="954" creationId="{138CF0DF-1608-67F5-56A1-44345392237C}"/>
          </ac:spMkLst>
        </pc:spChg>
        <pc:spChg chg="add del mod">
          <ac:chgData name="Steiner Andreas 6206 ED" userId="e6377c33-a923-4f14-8587-531c474c7b48" providerId="ADAL" clId="{6ECD27E6-B224-41CD-B4E0-E297462320DD}" dt="2023-11-24T11:41:40.129" v="146677"/>
          <ac:spMkLst>
            <pc:docMk/>
            <pc:sldMk cId="1033770688" sldId="2147478572"/>
            <ac:spMk id="955" creationId="{82329BE6-177C-22CB-FEF1-3AED0A4ECD9A}"/>
          </ac:spMkLst>
        </pc:spChg>
        <pc:spChg chg="add del mod">
          <ac:chgData name="Steiner Andreas 6206 ED" userId="e6377c33-a923-4f14-8587-531c474c7b48" providerId="ADAL" clId="{6ECD27E6-B224-41CD-B4E0-E297462320DD}" dt="2023-11-24T11:41:42.587" v="146832"/>
          <ac:spMkLst>
            <pc:docMk/>
            <pc:sldMk cId="1033770688" sldId="2147478572"/>
            <ac:spMk id="956" creationId="{CB887757-58D1-2553-99CD-ECB897333B47}"/>
          </ac:spMkLst>
        </pc:spChg>
        <pc:spChg chg="add del mod">
          <ac:chgData name="Steiner Andreas 6206 ED" userId="e6377c33-a923-4f14-8587-531c474c7b48" providerId="ADAL" clId="{6ECD27E6-B224-41CD-B4E0-E297462320DD}" dt="2023-11-24T11:41:44.671" v="146987"/>
          <ac:spMkLst>
            <pc:docMk/>
            <pc:sldMk cId="1033770688" sldId="2147478572"/>
            <ac:spMk id="957" creationId="{9A4E89FB-6F8C-BF5A-8EA0-1C009C83EA00}"/>
          </ac:spMkLst>
        </pc:spChg>
        <pc:spChg chg="add del mod">
          <ac:chgData name="Steiner Andreas 6206 ED" userId="e6377c33-a923-4f14-8587-531c474c7b48" providerId="ADAL" clId="{6ECD27E6-B224-41CD-B4E0-E297462320DD}" dt="2023-11-24T11:41:47.034" v="147142"/>
          <ac:spMkLst>
            <pc:docMk/>
            <pc:sldMk cId="1033770688" sldId="2147478572"/>
            <ac:spMk id="958" creationId="{1AB4A6CC-219F-5DA0-4CE3-F16043ED6963}"/>
          </ac:spMkLst>
        </pc:spChg>
        <pc:spChg chg="add del mod">
          <ac:chgData name="Steiner Andreas 6206 ED" userId="e6377c33-a923-4f14-8587-531c474c7b48" providerId="ADAL" clId="{6ECD27E6-B224-41CD-B4E0-E297462320DD}" dt="2023-11-24T11:41:49.174" v="147297"/>
          <ac:spMkLst>
            <pc:docMk/>
            <pc:sldMk cId="1033770688" sldId="2147478572"/>
            <ac:spMk id="959" creationId="{50699BB2-39EA-0DB3-742A-593DF6EF5718}"/>
          </ac:spMkLst>
        </pc:spChg>
        <pc:spChg chg="add del mod">
          <ac:chgData name="Steiner Andreas 6206 ED" userId="e6377c33-a923-4f14-8587-531c474c7b48" providerId="ADAL" clId="{6ECD27E6-B224-41CD-B4E0-E297462320DD}" dt="2023-11-24T11:41:51.556" v="147452"/>
          <ac:spMkLst>
            <pc:docMk/>
            <pc:sldMk cId="1033770688" sldId="2147478572"/>
            <ac:spMk id="960" creationId="{950A9D42-EB2C-ACF0-7797-A279B400086C}"/>
          </ac:spMkLst>
        </pc:spChg>
        <pc:spChg chg="add del mod">
          <ac:chgData name="Steiner Andreas 6206 ED" userId="e6377c33-a923-4f14-8587-531c474c7b48" providerId="ADAL" clId="{6ECD27E6-B224-41CD-B4E0-E297462320DD}" dt="2023-11-24T11:41:53.993" v="147607"/>
          <ac:spMkLst>
            <pc:docMk/>
            <pc:sldMk cId="1033770688" sldId="2147478572"/>
            <ac:spMk id="961" creationId="{6EFA2070-2417-39C3-1BDA-E675EF050CBB}"/>
          </ac:spMkLst>
        </pc:spChg>
        <pc:spChg chg="add del mod">
          <ac:chgData name="Steiner Andreas 6206 ED" userId="e6377c33-a923-4f14-8587-531c474c7b48" providerId="ADAL" clId="{6ECD27E6-B224-41CD-B4E0-E297462320DD}" dt="2023-11-24T11:41:56.767" v="147762"/>
          <ac:spMkLst>
            <pc:docMk/>
            <pc:sldMk cId="1033770688" sldId="2147478572"/>
            <ac:spMk id="962" creationId="{50EAB5D8-9A94-E287-504D-837E3362555F}"/>
          </ac:spMkLst>
        </pc:spChg>
        <pc:spChg chg="add del mod">
          <ac:chgData name="Steiner Andreas 6206 ED" userId="e6377c33-a923-4f14-8587-531c474c7b48" providerId="ADAL" clId="{6ECD27E6-B224-41CD-B4E0-E297462320DD}" dt="2023-11-24T11:42:00.228" v="147917"/>
          <ac:spMkLst>
            <pc:docMk/>
            <pc:sldMk cId="1033770688" sldId="2147478572"/>
            <ac:spMk id="963" creationId="{712E6614-5B6E-70C4-C8DA-3F3A8FE1C093}"/>
          </ac:spMkLst>
        </pc:spChg>
        <pc:spChg chg="add del mod">
          <ac:chgData name="Steiner Andreas 6206 ED" userId="e6377c33-a923-4f14-8587-531c474c7b48" providerId="ADAL" clId="{6ECD27E6-B224-41CD-B4E0-E297462320DD}" dt="2023-11-24T11:42:03.692" v="148072"/>
          <ac:spMkLst>
            <pc:docMk/>
            <pc:sldMk cId="1033770688" sldId="2147478572"/>
            <ac:spMk id="964" creationId="{B574A852-1542-322F-BE3C-AA8179BBA293}"/>
          </ac:spMkLst>
        </pc:spChg>
        <pc:spChg chg="add del mod">
          <ac:chgData name="Steiner Andreas 6206 ED" userId="e6377c33-a923-4f14-8587-531c474c7b48" providerId="ADAL" clId="{6ECD27E6-B224-41CD-B4E0-E297462320DD}" dt="2023-11-24T11:42:06.172" v="148227"/>
          <ac:spMkLst>
            <pc:docMk/>
            <pc:sldMk cId="1033770688" sldId="2147478572"/>
            <ac:spMk id="965" creationId="{0B59BACB-9FD0-6F2F-D49F-66D0E66A1386}"/>
          </ac:spMkLst>
        </pc:spChg>
        <pc:spChg chg="add del mod">
          <ac:chgData name="Steiner Andreas 6206 ED" userId="e6377c33-a923-4f14-8587-531c474c7b48" providerId="ADAL" clId="{6ECD27E6-B224-41CD-B4E0-E297462320DD}" dt="2023-11-24T11:42:08.531" v="148382"/>
          <ac:spMkLst>
            <pc:docMk/>
            <pc:sldMk cId="1033770688" sldId="2147478572"/>
            <ac:spMk id="966" creationId="{137505A7-2C2D-5E56-3D1F-77D58B5EAD66}"/>
          </ac:spMkLst>
        </pc:spChg>
        <pc:spChg chg="add del mod">
          <ac:chgData name="Steiner Andreas 6206 ED" userId="e6377c33-a923-4f14-8587-531c474c7b48" providerId="ADAL" clId="{6ECD27E6-B224-41CD-B4E0-E297462320DD}" dt="2023-11-24T11:42:11.076" v="148537"/>
          <ac:spMkLst>
            <pc:docMk/>
            <pc:sldMk cId="1033770688" sldId="2147478572"/>
            <ac:spMk id="967" creationId="{B77B83D0-11ED-8E87-1160-DF8F266D4F56}"/>
          </ac:spMkLst>
        </pc:spChg>
        <pc:spChg chg="add del mod">
          <ac:chgData name="Steiner Andreas 6206 ED" userId="e6377c33-a923-4f14-8587-531c474c7b48" providerId="ADAL" clId="{6ECD27E6-B224-41CD-B4E0-E297462320DD}" dt="2023-11-24T11:42:13.573" v="148692"/>
          <ac:spMkLst>
            <pc:docMk/>
            <pc:sldMk cId="1033770688" sldId="2147478572"/>
            <ac:spMk id="968" creationId="{414546C5-B638-F84F-96DE-37AB79A3DF69}"/>
          </ac:spMkLst>
        </pc:spChg>
        <pc:spChg chg="add del mod">
          <ac:chgData name="Steiner Andreas 6206 ED" userId="e6377c33-a923-4f14-8587-531c474c7b48" providerId="ADAL" clId="{6ECD27E6-B224-41CD-B4E0-E297462320DD}" dt="2023-11-24T11:42:16.063" v="148847"/>
          <ac:spMkLst>
            <pc:docMk/>
            <pc:sldMk cId="1033770688" sldId="2147478572"/>
            <ac:spMk id="969" creationId="{EEB1BB11-B1F8-F3AE-DEC6-5E17E2C7D78E}"/>
          </ac:spMkLst>
        </pc:spChg>
        <pc:spChg chg="add del mod">
          <ac:chgData name="Steiner Andreas 6206 ED" userId="e6377c33-a923-4f14-8587-531c474c7b48" providerId="ADAL" clId="{6ECD27E6-B224-41CD-B4E0-E297462320DD}" dt="2023-11-24T11:42:18.150" v="149002"/>
          <ac:spMkLst>
            <pc:docMk/>
            <pc:sldMk cId="1033770688" sldId="2147478572"/>
            <ac:spMk id="970" creationId="{50692DF8-B3A6-6D16-5B5C-623DBDE4FB11}"/>
          </ac:spMkLst>
        </pc:spChg>
        <pc:spChg chg="add del mod">
          <ac:chgData name="Steiner Andreas 6206 ED" userId="e6377c33-a923-4f14-8587-531c474c7b48" providerId="ADAL" clId="{6ECD27E6-B224-41CD-B4E0-E297462320DD}" dt="2023-11-24T11:42:20.229" v="149157"/>
          <ac:spMkLst>
            <pc:docMk/>
            <pc:sldMk cId="1033770688" sldId="2147478572"/>
            <ac:spMk id="971" creationId="{17EEE740-5FC7-5FA9-2848-35B40321D9DD}"/>
          </ac:spMkLst>
        </pc:spChg>
        <pc:spChg chg="add del mod">
          <ac:chgData name="Steiner Andreas 6206 ED" userId="e6377c33-a923-4f14-8587-531c474c7b48" providerId="ADAL" clId="{6ECD27E6-B224-41CD-B4E0-E297462320DD}" dt="2023-11-24T11:42:22.306" v="149312"/>
          <ac:spMkLst>
            <pc:docMk/>
            <pc:sldMk cId="1033770688" sldId="2147478572"/>
            <ac:spMk id="972" creationId="{EB7A6288-5F51-88C1-82AF-2E3B79F0B1EA}"/>
          </ac:spMkLst>
        </pc:spChg>
        <pc:spChg chg="add del mod">
          <ac:chgData name="Steiner Andreas 6206 ED" userId="e6377c33-a923-4f14-8587-531c474c7b48" providerId="ADAL" clId="{6ECD27E6-B224-41CD-B4E0-E297462320DD}" dt="2023-11-24T11:42:24.254" v="149467"/>
          <ac:spMkLst>
            <pc:docMk/>
            <pc:sldMk cId="1033770688" sldId="2147478572"/>
            <ac:spMk id="973" creationId="{2E83E2E8-487D-38B8-89AE-44060577F970}"/>
          </ac:spMkLst>
        </pc:spChg>
        <pc:spChg chg="add del mod">
          <ac:chgData name="Steiner Andreas 6206 ED" userId="e6377c33-a923-4f14-8587-531c474c7b48" providerId="ADAL" clId="{6ECD27E6-B224-41CD-B4E0-E297462320DD}" dt="2023-11-24T11:42:26.201" v="149622"/>
          <ac:spMkLst>
            <pc:docMk/>
            <pc:sldMk cId="1033770688" sldId="2147478572"/>
            <ac:spMk id="974" creationId="{6668CD9B-921D-DA51-5A04-87E96E060DDA}"/>
          </ac:spMkLst>
        </pc:spChg>
        <pc:spChg chg="add del mod">
          <ac:chgData name="Steiner Andreas 6206 ED" userId="e6377c33-a923-4f14-8587-531c474c7b48" providerId="ADAL" clId="{6ECD27E6-B224-41CD-B4E0-E297462320DD}" dt="2023-11-24T11:42:29.106" v="149777"/>
          <ac:spMkLst>
            <pc:docMk/>
            <pc:sldMk cId="1033770688" sldId="2147478572"/>
            <ac:spMk id="975" creationId="{D788904E-B701-3928-E59E-41225A052D61}"/>
          </ac:spMkLst>
        </pc:spChg>
        <pc:spChg chg="add del mod">
          <ac:chgData name="Steiner Andreas 6206 ED" userId="e6377c33-a923-4f14-8587-531c474c7b48" providerId="ADAL" clId="{6ECD27E6-B224-41CD-B4E0-E297462320DD}" dt="2023-11-24T11:42:32.086" v="149932"/>
          <ac:spMkLst>
            <pc:docMk/>
            <pc:sldMk cId="1033770688" sldId="2147478572"/>
            <ac:spMk id="976" creationId="{531E120A-4012-9B21-DE66-1CB2DE97F206}"/>
          </ac:spMkLst>
        </pc:spChg>
        <pc:spChg chg="add del mod">
          <ac:chgData name="Steiner Andreas 6206 ED" userId="e6377c33-a923-4f14-8587-531c474c7b48" providerId="ADAL" clId="{6ECD27E6-B224-41CD-B4E0-E297462320DD}" dt="2023-11-24T11:42:35.398" v="150087"/>
          <ac:spMkLst>
            <pc:docMk/>
            <pc:sldMk cId="1033770688" sldId="2147478572"/>
            <ac:spMk id="977" creationId="{0FA0548C-3821-563D-F16C-73900E84265C}"/>
          </ac:spMkLst>
        </pc:spChg>
        <pc:spChg chg="add del mod">
          <ac:chgData name="Steiner Andreas 6206 ED" userId="e6377c33-a923-4f14-8587-531c474c7b48" providerId="ADAL" clId="{6ECD27E6-B224-41CD-B4E0-E297462320DD}" dt="2023-11-24T11:42:37.815" v="150242"/>
          <ac:spMkLst>
            <pc:docMk/>
            <pc:sldMk cId="1033770688" sldId="2147478572"/>
            <ac:spMk id="978" creationId="{B384EB5A-960A-7F89-64FD-4AEAD346899C}"/>
          </ac:spMkLst>
        </pc:spChg>
        <pc:spChg chg="add del mod">
          <ac:chgData name="Steiner Andreas 6206 ED" userId="e6377c33-a923-4f14-8587-531c474c7b48" providerId="ADAL" clId="{6ECD27E6-B224-41CD-B4E0-E297462320DD}" dt="2023-11-24T11:42:39.902" v="150397"/>
          <ac:spMkLst>
            <pc:docMk/>
            <pc:sldMk cId="1033770688" sldId="2147478572"/>
            <ac:spMk id="979" creationId="{AAB4F81E-9DFB-0EB6-4428-2E3657207772}"/>
          </ac:spMkLst>
        </pc:spChg>
        <pc:spChg chg="add del mod">
          <ac:chgData name="Steiner Andreas 6206 ED" userId="e6377c33-a923-4f14-8587-531c474c7b48" providerId="ADAL" clId="{6ECD27E6-B224-41CD-B4E0-E297462320DD}" dt="2023-11-24T11:42:41.971" v="150552"/>
          <ac:spMkLst>
            <pc:docMk/>
            <pc:sldMk cId="1033770688" sldId="2147478572"/>
            <ac:spMk id="980" creationId="{73238964-5749-B255-72F9-47074D23BE2A}"/>
          </ac:spMkLst>
        </pc:spChg>
        <pc:spChg chg="add del mod">
          <ac:chgData name="Steiner Andreas 6206 ED" userId="e6377c33-a923-4f14-8587-531c474c7b48" providerId="ADAL" clId="{6ECD27E6-B224-41CD-B4E0-E297462320DD}" dt="2023-11-24T11:42:44.076" v="150707"/>
          <ac:spMkLst>
            <pc:docMk/>
            <pc:sldMk cId="1033770688" sldId="2147478572"/>
            <ac:spMk id="981" creationId="{8C151B3A-58DB-EED6-519E-692F1249BBFE}"/>
          </ac:spMkLst>
        </pc:spChg>
        <pc:spChg chg="add del mod">
          <ac:chgData name="Steiner Andreas 6206 ED" userId="e6377c33-a923-4f14-8587-531c474c7b48" providerId="ADAL" clId="{6ECD27E6-B224-41CD-B4E0-E297462320DD}" dt="2023-11-24T11:42:46.287" v="150862"/>
          <ac:spMkLst>
            <pc:docMk/>
            <pc:sldMk cId="1033770688" sldId="2147478572"/>
            <ac:spMk id="982" creationId="{C464C2FF-FA1D-8F0F-EABE-702F0D982C2E}"/>
          </ac:spMkLst>
        </pc:spChg>
        <pc:spChg chg="add del mod">
          <ac:chgData name="Steiner Andreas 6206 ED" userId="e6377c33-a923-4f14-8587-531c474c7b48" providerId="ADAL" clId="{6ECD27E6-B224-41CD-B4E0-E297462320DD}" dt="2023-11-24T11:42:48.572" v="151017"/>
          <ac:spMkLst>
            <pc:docMk/>
            <pc:sldMk cId="1033770688" sldId="2147478572"/>
            <ac:spMk id="983" creationId="{7E4E7D1B-7CD8-13DC-7563-5915DF36455C}"/>
          </ac:spMkLst>
        </pc:spChg>
        <pc:spChg chg="add del mod">
          <ac:chgData name="Steiner Andreas 6206 ED" userId="e6377c33-a923-4f14-8587-531c474c7b48" providerId="ADAL" clId="{6ECD27E6-B224-41CD-B4E0-E297462320DD}" dt="2023-11-24T11:42:50.734" v="151172"/>
          <ac:spMkLst>
            <pc:docMk/>
            <pc:sldMk cId="1033770688" sldId="2147478572"/>
            <ac:spMk id="984" creationId="{63264207-F89F-3BD1-5D95-9798F0CE6CCE}"/>
          </ac:spMkLst>
        </pc:spChg>
        <pc:spChg chg="add del mod">
          <ac:chgData name="Steiner Andreas 6206 ED" userId="e6377c33-a923-4f14-8587-531c474c7b48" providerId="ADAL" clId="{6ECD27E6-B224-41CD-B4E0-E297462320DD}" dt="2023-11-24T11:42:53.132" v="151327"/>
          <ac:spMkLst>
            <pc:docMk/>
            <pc:sldMk cId="1033770688" sldId="2147478572"/>
            <ac:spMk id="985" creationId="{67DEB44E-03B7-60BA-2561-87E4796AD092}"/>
          </ac:spMkLst>
        </pc:spChg>
        <pc:spChg chg="add del mod">
          <ac:chgData name="Steiner Andreas 6206 ED" userId="e6377c33-a923-4f14-8587-531c474c7b48" providerId="ADAL" clId="{6ECD27E6-B224-41CD-B4E0-E297462320DD}" dt="2023-11-24T11:42:55.380" v="151482"/>
          <ac:spMkLst>
            <pc:docMk/>
            <pc:sldMk cId="1033770688" sldId="2147478572"/>
            <ac:spMk id="986" creationId="{ED028471-279E-EFF3-CB6D-801118708BD7}"/>
          </ac:spMkLst>
        </pc:spChg>
        <pc:spChg chg="add del mod">
          <ac:chgData name="Steiner Andreas 6206 ED" userId="e6377c33-a923-4f14-8587-531c474c7b48" providerId="ADAL" clId="{6ECD27E6-B224-41CD-B4E0-E297462320DD}" dt="2023-11-24T11:42:57.696" v="151637"/>
          <ac:spMkLst>
            <pc:docMk/>
            <pc:sldMk cId="1033770688" sldId="2147478572"/>
            <ac:spMk id="987" creationId="{23FDEC31-CE04-121A-F5BA-428A9C339E1E}"/>
          </ac:spMkLst>
        </pc:spChg>
        <pc:spChg chg="add del mod">
          <ac:chgData name="Steiner Andreas 6206 ED" userId="e6377c33-a923-4f14-8587-531c474c7b48" providerId="ADAL" clId="{6ECD27E6-B224-41CD-B4E0-E297462320DD}" dt="2023-11-24T11:43:01.392" v="151792"/>
          <ac:spMkLst>
            <pc:docMk/>
            <pc:sldMk cId="1033770688" sldId="2147478572"/>
            <ac:spMk id="988" creationId="{7294F797-FF99-BF02-A3DD-4D9EF6089E6A}"/>
          </ac:spMkLst>
        </pc:spChg>
        <pc:spChg chg="add del mod">
          <ac:chgData name="Steiner Andreas 6206 ED" userId="e6377c33-a923-4f14-8587-531c474c7b48" providerId="ADAL" clId="{6ECD27E6-B224-41CD-B4E0-E297462320DD}" dt="2023-11-24T11:43:03.817" v="151947"/>
          <ac:spMkLst>
            <pc:docMk/>
            <pc:sldMk cId="1033770688" sldId="2147478572"/>
            <ac:spMk id="989" creationId="{0F0686BB-9A70-088A-A8EA-023E5D5E4249}"/>
          </ac:spMkLst>
        </pc:spChg>
        <pc:spChg chg="add del mod">
          <ac:chgData name="Steiner Andreas 6206 ED" userId="e6377c33-a923-4f14-8587-531c474c7b48" providerId="ADAL" clId="{6ECD27E6-B224-41CD-B4E0-E297462320DD}" dt="2023-11-24T11:43:06.103" v="152102"/>
          <ac:spMkLst>
            <pc:docMk/>
            <pc:sldMk cId="1033770688" sldId="2147478572"/>
            <ac:spMk id="990" creationId="{4D1C7910-D48F-E876-5A67-E6B914089246}"/>
          </ac:spMkLst>
        </pc:spChg>
        <pc:spChg chg="add del mod">
          <ac:chgData name="Steiner Andreas 6206 ED" userId="e6377c33-a923-4f14-8587-531c474c7b48" providerId="ADAL" clId="{6ECD27E6-B224-41CD-B4E0-E297462320DD}" dt="2023-11-24T11:43:08.138" v="152257"/>
          <ac:spMkLst>
            <pc:docMk/>
            <pc:sldMk cId="1033770688" sldId="2147478572"/>
            <ac:spMk id="991" creationId="{0DE09E2E-53A3-7679-23AE-333FDA915FF2}"/>
          </ac:spMkLst>
        </pc:spChg>
        <pc:spChg chg="add del mod">
          <ac:chgData name="Steiner Andreas 6206 ED" userId="e6377c33-a923-4f14-8587-531c474c7b48" providerId="ADAL" clId="{6ECD27E6-B224-41CD-B4E0-E297462320DD}" dt="2023-11-24T11:43:10.354" v="152412"/>
          <ac:spMkLst>
            <pc:docMk/>
            <pc:sldMk cId="1033770688" sldId="2147478572"/>
            <ac:spMk id="992" creationId="{1C6EA5C9-EC1F-3BCA-583A-65CC51DE680E}"/>
          </ac:spMkLst>
        </pc:spChg>
        <pc:spChg chg="add del mod">
          <ac:chgData name="Steiner Andreas 6206 ED" userId="e6377c33-a923-4f14-8587-531c474c7b48" providerId="ADAL" clId="{6ECD27E6-B224-41CD-B4E0-E297462320DD}" dt="2023-11-24T11:43:12.448" v="152567"/>
          <ac:spMkLst>
            <pc:docMk/>
            <pc:sldMk cId="1033770688" sldId="2147478572"/>
            <ac:spMk id="993" creationId="{15BF255C-1FB7-7215-F192-81CCCC1D0989}"/>
          </ac:spMkLst>
        </pc:spChg>
        <pc:spChg chg="add del mod">
          <ac:chgData name="Steiner Andreas 6206 ED" userId="e6377c33-a923-4f14-8587-531c474c7b48" providerId="ADAL" clId="{6ECD27E6-B224-41CD-B4E0-E297462320DD}" dt="2023-11-24T11:43:14.762" v="152722"/>
          <ac:spMkLst>
            <pc:docMk/>
            <pc:sldMk cId="1033770688" sldId="2147478572"/>
            <ac:spMk id="994" creationId="{6D6863D0-D48A-1FDA-EF37-17EC8E0B1A78}"/>
          </ac:spMkLst>
        </pc:spChg>
        <pc:spChg chg="add del mod">
          <ac:chgData name="Steiner Andreas 6206 ED" userId="e6377c33-a923-4f14-8587-531c474c7b48" providerId="ADAL" clId="{6ECD27E6-B224-41CD-B4E0-E297462320DD}" dt="2023-11-24T11:43:17.607" v="152877"/>
          <ac:spMkLst>
            <pc:docMk/>
            <pc:sldMk cId="1033770688" sldId="2147478572"/>
            <ac:spMk id="995" creationId="{3A3AD9DE-F83F-A344-FB1E-5D1181F0C955}"/>
          </ac:spMkLst>
        </pc:spChg>
        <pc:spChg chg="add del mod">
          <ac:chgData name="Steiner Andreas 6206 ED" userId="e6377c33-a923-4f14-8587-531c474c7b48" providerId="ADAL" clId="{6ECD27E6-B224-41CD-B4E0-E297462320DD}" dt="2023-11-24T11:43:21.859" v="153032"/>
          <ac:spMkLst>
            <pc:docMk/>
            <pc:sldMk cId="1033770688" sldId="2147478572"/>
            <ac:spMk id="996" creationId="{7262AD3D-53E3-4239-FC91-5803C9C023C4}"/>
          </ac:spMkLst>
        </pc:spChg>
        <pc:spChg chg="add del mod">
          <ac:chgData name="Steiner Andreas 6206 ED" userId="e6377c33-a923-4f14-8587-531c474c7b48" providerId="ADAL" clId="{6ECD27E6-B224-41CD-B4E0-E297462320DD}" dt="2023-11-24T11:43:24.505" v="153187"/>
          <ac:spMkLst>
            <pc:docMk/>
            <pc:sldMk cId="1033770688" sldId="2147478572"/>
            <ac:spMk id="997" creationId="{274D90DB-5EDA-E209-EACC-DA14502437B2}"/>
          </ac:spMkLst>
        </pc:spChg>
        <pc:spChg chg="add del mod">
          <ac:chgData name="Steiner Andreas 6206 ED" userId="e6377c33-a923-4f14-8587-531c474c7b48" providerId="ADAL" clId="{6ECD27E6-B224-41CD-B4E0-E297462320DD}" dt="2023-11-24T11:43:26.835" v="153342"/>
          <ac:spMkLst>
            <pc:docMk/>
            <pc:sldMk cId="1033770688" sldId="2147478572"/>
            <ac:spMk id="998" creationId="{D50F12F2-4E4D-C9D6-B84B-C562503D3901}"/>
          </ac:spMkLst>
        </pc:spChg>
        <pc:spChg chg="add del mod">
          <ac:chgData name="Steiner Andreas 6206 ED" userId="e6377c33-a923-4f14-8587-531c474c7b48" providerId="ADAL" clId="{6ECD27E6-B224-41CD-B4E0-E297462320DD}" dt="2023-11-24T11:43:29.129" v="153497"/>
          <ac:spMkLst>
            <pc:docMk/>
            <pc:sldMk cId="1033770688" sldId="2147478572"/>
            <ac:spMk id="999" creationId="{2DEFA408-27D6-BEFD-6FFD-72A14F90C866}"/>
          </ac:spMkLst>
        </pc:spChg>
        <pc:spChg chg="add del mod">
          <ac:chgData name="Steiner Andreas 6206 ED" userId="e6377c33-a923-4f14-8587-531c474c7b48" providerId="ADAL" clId="{6ECD27E6-B224-41CD-B4E0-E297462320DD}" dt="2023-11-24T11:43:31.376" v="153652"/>
          <ac:spMkLst>
            <pc:docMk/>
            <pc:sldMk cId="1033770688" sldId="2147478572"/>
            <ac:spMk id="1000" creationId="{A00BB71E-4488-944E-BEC0-8EF5B1C51B71}"/>
          </ac:spMkLst>
        </pc:spChg>
        <pc:spChg chg="add del mod">
          <ac:chgData name="Steiner Andreas 6206 ED" userId="e6377c33-a923-4f14-8587-531c474c7b48" providerId="ADAL" clId="{6ECD27E6-B224-41CD-B4E0-E297462320DD}" dt="2023-11-24T11:43:34.014" v="153807"/>
          <ac:spMkLst>
            <pc:docMk/>
            <pc:sldMk cId="1033770688" sldId="2147478572"/>
            <ac:spMk id="1001" creationId="{E9FF8423-B072-61C7-BB92-7245461ED220}"/>
          </ac:spMkLst>
        </pc:spChg>
        <pc:spChg chg="add del mod">
          <ac:chgData name="Steiner Andreas 6206 ED" userId="e6377c33-a923-4f14-8587-531c474c7b48" providerId="ADAL" clId="{6ECD27E6-B224-41CD-B4E0-E297462320DD}" dt="2023-11-24T11:43:36.274" v="153962"/>
          <ac:spMkLst>
            <pc:docMk/>
            <pc:sldMk cId="1033770688" sldId="2147478572"/>
            <ac:spMk id="1002" creationId="{6E690DB2-AD35-4C3C-BACA-C47EE848BC54}"/>
          </ac:spMkLst>
        </pc:spChg>
        <pc:spChg chg="add del mod">
          <ac:chgData name="Steiner Andreas 6206 ED" userId="e6377c33-a923-4f14-8587-531c474c7b48" providerId="ADAL" clId="{6ECD27E6-B224-41CD-B4E0-E297462320DD}" dt="2023-11-24T11:43:38.461" v="154117"/>
          <ac:spMkLst>
            <pc:docMk/>
            <pc:sldMk cId="1033770688" sldId="2147478572"/>
            <ac:spMk id="1003" creationId="{241003E0-9004-0582-43F4-DC7B2E57E90A}"/>
          </ac:spMkLst>
        </pc:spChg>
        <pc:spChg chg="add del mod">
          <ac:chgData name="Steiner Andreas 6206 ED" userId="e6377c33-a923-4f14-8587-531c474c7b48" providerId="ADAL" clId="{6ECD27E6-B224-41CD-B4E0-E297462320DD}" dt="2023-11-24T11:43:40.724" v="154272"/>
          <ac:spMkLst>
            <pc:docMk/>
            <pc:sldMk cId="1033770688" sldId="2147478572"/>
            <ac:spMk id="1004" creationId="{2260672C-5B9F-B445-AC53-207F3C6DBC40}"/>
          </ac:spMkLst>
        </pc:spChg>
        <pc:spChg chg="add del mod">
          <ac:chgData name="Steiner Andreas 6206 ED" userId="e6377c33-a923-4f14-8587-531c474c7b48" providerId="ADAL" clId="{6ECD27E6-B224-41CD-B4E0-E297462320DD}" dt="2023-11-24T11:43:43.664" v="154427"/>
          <ac:spMkLst>
            <pc:docMk/>
            <pc:sldMk cId="1033770688" sldId="2147478572"/>
            <ac:spMk id="1005" creationId="{90C36ABF-0691-0C3C-F829-747AA862B7A2}"/>
          </ac:spMkLst>
        </pc:spChg>
        <pc:spChg chg="add del mod">
          <ac:chgData name="Steiner Andreas 6206 ED" userId="e6377c33-a923-4f14-8587-531c474c7b48" providerId="ADAL" clId="{6ECD27E6-B224-41CD-B4E0-E297462320DD}" dt="2023-11-24T11:43:46.024" v="154582"/>
          <ac:spMkLst>
            <pc:docMk/>
            <pc:sldMk cId="1033770688" sldId="2147478572"/>
            <ac:spMk id="1006" creationId="{CB380840-2901-462C-724E-D3A8B2880685}"/>
          </ac:spMkLst>
        </pc:spChg>
        <pc:spChg chg="add del mod">
          <ac:chgData name="Steiner Andreas 6206 ED" userId="e6377c33-a923-4f14-8587-531c474c7b48" providerId="ADAL" clId="{6ECD27E6-B224-41CD-B4E0-E297462320DD}" dt="2023-11-24T11:43:48.351" v="154737"/>
          <ac:spMkLst>
            <pc:docMk/>
            <pc:sldMk cId="1033770688" sldId="2147478572"/>
            <ac:spMk id="1007" creationId="{B970F217-F69F-F956-BB38-85CFC5BFC1BD}"/>
          </ac:spMkLst>
        </pc:spChg>
        <pc:spChg chg="add del mod">
          <ac:chgData name="Steiner Andreas 6206 ED" userId="e6377c33-a923-4f14-8587-531c474c7b48" providerId="ADAL" clId="{6ECD27E6-B224-41CD-B4E0-E297462320DD}" dt="2023-11-24T11:43:50.455" v="154892"/>
          <ac:spMkLst>
            <pc:docMk/>
            <pc:sldMk cId="1033770688" sldId="2147478572"/>
            <ac:spMk id="1008" creationId="{0B467834-4D68-F311-3C65-6B7345FB35CA}"/>
          </ac:spMkLst>
        </pc:spChg>
        <pc:spChg chg="add del mod">
          <ac:chgData name="Steiner Andreas 6206 ED" userId="e6377c33-a923-4f14-8587-531c474c7b48" providerId="ADAL" clId="{6ECD27E6-B224-41CD-B4E0-E297462320DD}" dt="2023-11-24T11:43:52.609" v="155047"/>
          <ac:spMkLst>
            <pc:docMk/>
            <pc:sldMk cId="1033770688" sldId="2147478572"/>
            <ac:spMk id="1009" creationId="{D78DE29A-1896-FC0C-1351-0B34D6CCC958}"/>
          </ac:spMkLst>
        </pc:spChg>
        <pc:spChg chg="add del mod">
          <ac:chgData name="Steiner Andreas 6206 ED" userId="e6377c33-a923-4f14-8587-531c474c7b48" providerId="ADAL" clId="{6ECD27E6-B224-41CD-B4E0-E297462320DD}" dt="2023-11-24T11:43:55.469" v="155202"/>
          <ac:spMkLst>
            <pc:docMk/>
            <pc:sldMk cId="1033770688" sldId="2147478572"/>
            <ac:spMk id="1010" creationId="{BF05478C-2DE4-7F5C-3335-307C1D9F5DE2}"/>
          </ac:spMkLst>
        </pc:spChg>
        <pc:spChg chg="add del mod">
          <ac:chgData name="Steiner Andreas 6206 ED" userId="e6377c33-a923-4f14-8587-531c474c7b48" providerId="ADAL" clId="{6ECD27E6-B224-41CD-B4E0-E297462320DD}" dt="2023-11-24T11:43:57.948" v="155357"/>
          <ac:spMkLst>
            <pc:docMk/>
            <pc:sldMk cId="1033770688" sldId="2147478572"/>
            <ac:spMk id="1011" creationId="{BE67AFEA-EA41-300B-52F5-4AF1B34C311D}"/>
          </ac:spMkLst>
        </pc:spChg>
        <pc:spChg chg="add del mod">
          <ac:chgData name="Steiner Andreas 6206 ED" userId="e6377c33-a923-4f14-8587-531c474c7b48" providerId="ADAL" clId="{6ECD27E6-B224-41CD-B4E0-E297462320DD}" dt="2023-11-24T11:44:00.098" v="155512"/>
          <ac:spMkLst>
            <pc:docMk/>
            <pc:sldMk cId="1033770688" sldId="2147478572"/>
            <ac:spMk id="1012" creationId="{FBE04FD4-9840-FA9E-EAAF-0312A344FFAF}"/>
          </ac:spMkLst>
        </pc:spChg>
        <pc:spChg chg="add del mod">
          <ac:chgData name="Steiner Andreas 6206 ED" userId="e6377c33-a923-4f14-8587-531c474c7b48" providerId="ADAL" clId="{6ECD27E6-B224-41CD-B4E0-E297462320DD}" dt="2023-11-24T11:44:02.120" v="155667"/>
          <ac:spMkLst>
            <pc:docMk/>
            <pc:sldMk cId="1033770688" sldId="2147478572"/>
            <ac:spMk id="1013" creationId="{54B44D1C-36D1-497A-626E-FFD1BDE5874A}"/>
          </ac:spMkLst>
        </pc:spChg>
        <pc:spChg chg="add del mod">
          <ac:chgData name="Steiner Andreas 6206 ED" userId="e6377c33-a923-4f14-8587-531c474c7b48" providerId="ADAL" clId="{6ECD27E6-B224-41CD-B4E0-E297462320DD}" dt="2023-11-24T11:44:04.142" v="155822"/>
          <ac:spMkLst>
            <pc:docMk/>
            <pc:sldMk cId="1033770688" sldId="2147478572"/>
            <ac:spMk id="1014" creationId="{78587C1C-0095-722E-BF1B-45936FC5132D}"/>
          </ac:spMkLst>
        </pc:spChg>
        <pc:spChg chg="add del mod">
          <ac:chgData name="Steiner Andreas 6206 ED" userId="e6377c33-a923-4f14-8587-531c474c7b48" providerId="ADAL" clId="{6ECD27E6-B224-41CD-B4E0-E297462320DD}" dt="2023-11-24T11:44:06.164" v="155977"/>
          <ac:spMkLst>
            <pc:docMk/>
            <pc:sldMk cId="1033770688" sldId="2147478572"/>
            <ac:spMk id="1015" creationId="{3687DB3A-B830-8F06-0CB6-E2EAE6AC9F09}"/>
          </ac:spMkLst>
        </pc:spChg>
        <pc:spChg chg="add del mod">
          <ac:chgData name="Steiner Andreas 6206 ED" userId="e6377c33-a923-4f14-8587-531c474c7b48" providerId="ADAL" clId="{6ECD27E6-B224-41CD-B4E0-E297462320DD}" dt="2023-11-24T11:44:08.307" v="156132"/>
          <ac:spMkLst>
            <pc:docMk/>
            <pc:sldMk cId="1033770688" sldId="2147478572"/>
            <ac:spMk id="1016" creationId="{A7AB58EA-4FD0-A5A9-D19B-43600046ED59}"/>
          </ac:spMkLst>
        </pc:spChg>
        <pc:spChg chg="add del mod">
          <ac:chgData name="Steiner Andreas 6206 ED" userId="e6377c33-a923-4f14-8587-531c474c7b48" providerId="ADAL" clId="{6ECD27E6-B224-41CD-B4E0-E297462320DD}" dt="2023-11-24T11:44:10.402" v="156287"/>
          <ac:spMkLst>
            <pc:docMk/>
            <pc:sldMk cId="1033770688" sldId="2147478572"/>
            <ac:spMk id="1017" creationId="{EA669E7D-0B17-31CD-A5FD-F38F767B2095}"/>
          </ac:spMkLst>
        </pc:spChg>
        <pc:spChg chg="add del mod">
          <ac:chgData name="Steiner Andreas 6206 ED" userId="e6377c33-a923-4f14-8587-531c474c7b48" providerId="ADAL" clId="{6ECD27E6-B224-41CD-B4E0-E297462320DD}" dt="2023-11-24T11:44:12.420" v="156442"/>
          <ac:spMkLst>
            <pc:docMk/>
            <pc:sldMk cId="1033770688" sldId="2147478572"/>
            <ac:spMk id="1018" creationId="{079D4925-6722-F3B3-A1B1-84F6979E19C6}"/>
          </ac:spMkLst>
        </pc:spChg>
        <pc:spChg chg="add del mod">
          <ac:chgData name="Steiner Andreas 6206 ED" userId="e6377c33-a923-4f14-8587-531c474c7b48" providerId="ADAL" clId="{6ECD27E6-B224-41CD-B4E0-E297462320DD}" dt="2023-11-24T11:44:14.391" v="156597"/>
          <ac:spMkLst>
            <pc:docMk/>
            <pc:sldMk cId="1033770688" sldId="2147478572"/>
            <ac:spMk id="1019" creationId="{8AFE7EB3-7AA8-289F-D64B-EF058A306410}"/>
          </ac:spMkLst>
        </pc:spChg>
        <pc:spChg chg="add del mod">
          <ac:chgData name="Steiner Andreas 6206 ED" userId="e6377c33-a923-4f14-8587-531c474c7b48" providerId="ADAL" clId="{6ECD27E6-B224-41CD-B4E0-E297462320DD}" dt="2023-11-24T11:44:16.380" v="156752"/>
          <ac:spMkLst>
            <pc:docMk/>
            <pc:sldMk cId="1033770688" sldId="2147478572"/>
            <ac:spMk id="1020" creationId="{F2ABF76C-43E7-8FDB-551C-7AD2C4138650}"/>
          </ac:spMkLst>
        </pc:spChg>
        <pc:spChg chg="add del mod">
          <ac:chgData name="Steiner Andreas 6206 ED" userId="e6377c33-a923-4f14-8587-531c474c7b48" providerId="ADAL" clId="{6ECD27E6-B224-41CD-B4E0-E297462320DD}" dt="2023-11-24T11:44:18.429" v="156907"/>
          <ac:spMkLst>
            <pc:docMk/>
            <pc:sldMk cId="1033770688" sldId="2147478572"/>
            <ac:spMk id="1021" creationId="{BEAF2F49-DD9D-0EFE-EFB8-37FB824977ED}"/>
          </ac:spMkLst>
        </pc:spChg>
        <pc:spChg chg="add del mod">
          <ac:chgData name="Steiner Andreas 6206 ED" userId="e6377c33-a923-4f14-8587-531c474c7b48" providerId="ADAL" clId="{6ECD27E6-B224-41CD-B4E0-E297462320DD}" dt="2023-11-24T11:44:20.615" v="157062"/>
          <ac:spMkLst>
            <pc:docMk/>
            <pc:sldMk cId="1033770688" sldId="2147478572"/>
            <ac:spMk id="1022" creationId="{1CFFB305-58E6-9E97-9FE3-76681D5A9A5D}"/>
          </ac:spMkLst>
        </pc:spChg>
        <pc:spChg chg="add del mod">
          <ac:chgData name="Steiner Andreas 6206 ED" userId="e6377c33-a923-4f14-8587-531c474c7b48" providerId="ADAL" clId="{6ECD27E6-B224-41CD-B4E0-E297462320DD}" dt="2023-11-24T11:44:22.873" v="157217"/>
          <ac:spMkLst>
            <pc:docMk/>
            <pc:sldMk cId="1033770688" sldId="2147478572"/>
            <ac:spMk id="1023" creationId="{854D86AC-2CE9-C66E-E8C4-0DFBCF42BA05}"/>
          </ac:spMkLst>
        </pc:spChg>
        <pc:spChg chg="add del mod">
          <ac:chgData name="Steiner Andreas 6206 ED" userId="e6377c33-a923-4f14-8587-531c474c7b48" providerId="ADAL" clId="{6ECD27E6-B224-41CD-B4E0-E297462320DD}" dt="2023-11-24T11:44:25.075" v="157372"/>
          <ac:spMkLst>
            <pc:docMk/>
            <pc:sldMk cId="1033770688" sldId="2147478572"/>
            <ac:spMk id="1024" creationId="{6C9EDC4B-8263-2966-7C39-1FC9242072AB}"/>
          </ac:spMkLst>
        </pc:spChg>
        <pc:spChg chg="add del mod">
          <ac:chgData name="Steiner Andreas 6206 ED" userId="e6377c33-a923-4f14-8587-531c474c7b48" providerId="ADAL" clId="{6ECD27E6-B224-41CD-B4E0-E297462320DD}" dt="2023-11-24T11:44:30.437" v="157527"/>
          <ac:spMkLst>
            <pc:docMk/>
            <pc:sldMk cId="1033770688" sldId="2147478572"/>
            <ac:spMk id="1025" creationId="{40686AEE-BBC7-C750-6B84-CE8CC235F8D7}"/>
          </ac:spMkLst>
        </pc:spChg>
        <pc:spChg chg="add mod">
          <ac:chgData name="Steiner Andreas 6206 ED" userId="e6377c33-a923-4f14-8587-531c474c7b48" providerId="ADAL" clId="{6ECD27E6-B224-41CD-B4E0-E297462320DD}" dt="2023-11-24T11:44:30.453" v="157528"/>
          <ac:spMkLst>
            <pc:docMk/>
            <pc:sldMk cId="1033770688" sldId="2147478572"/>
            <ac:spMk id="1026" creationId="{1D99AED9-C234-36DE-F83A-072318E61F3C}"/>
          </ac:spMkLst>
        </pc:spChg>
      </pc:sldChg>
      <pc:sldChg chg="addSp delSp modSp mod">
        <pc:chgData name="Steiner Andreas 6206 ED" userId="e6377c33-a923-4f14-8587-531c474c7b48" providerId="ADAL" clId="{6ECD27E6-B224-41CD-B4E0-E297462320DD}" dt="2023-11-24T11:44:30.635" v="157558"/>
        <pc:sldMkLst>
          <pc:docMk/>
          <pc:sldMk cId="1942033937" sldId="2147478573"/>
        </pc:sldMkLst>
        <pc:spChg chg="mod">
          <ac:chgData name="Steiner Andreas 6206 ED" userId="e6377c33-a923-4f14-8587-531c474c7b48" providerId="ADAL" clId="{6ECD27E6-B224-41CD-B4E0-E297462320DD}" dt="2023-11-24T11:44:30.635" v="157554" actId="20577"/>
          <ac:spMkLst>
            <pc:docMk/>
            <pc:sldMk cId="1942033937" sldId="2147478573"/>
            <ac:spMk id="3" creationId="{4E8CC9C0-365F-2AE2-45F2-482F3CE5F5BC}"/>
          </ac:spMkLst>
        </pc:spChg>
        <pc:spChg chg="del">
          <ac:chgData name="Steiner Andreas 6206 ED" userId="e6377c33-a923-4f14-8587-531c474c7b48" providerId="ADAL" clId="{6ECD27E6-B224-41CD-B4E0-E297462320DD}" dt="2023-11-23T19:49:53.492" v="55"/>
          <ac:spMkLst>
            <pc:docMk/>
            <pc:sldMk cId="1942033937" sldId="2147478573"/>
            <ac:spMk id="5" creationId="{64E93222-32B7-20A4-715C-D9A68AE48A8A}"/>
          </ac:spMkLst>
        </pc:spChg>
        <pc:spChg chg="add del mod">
          <ac:chgData name="Steiner Andreas 6206 ED" userId="e6377c33-a923-4f14-8587-531c474c7b48" providerId="ADAL" clId="{6ECD27E6-B224-41CD-B4E0-E297462320DD}" dt="2023-11-23T19:49:53.493" v="58"/>
          <ac:spMkLst>
            <pc:docMk/>
            <pc:sldMk cId="1942033937" sldId="2147478573"/>
            <ac:spMk id="7" creationId="{F93289B7-44F7-7F9E-D86B-9FE9F342F3C9}"/>
          </ac:spMkLst>
        </pc:spChg>
        <pc:spChg chg="add del mod">
          <ac:chgData name="Steiner Andreas 6206 ED" userId="e6377c33-a923-4f14-8587-531c474c7b48" providerId="ADAL" clId="{6ECD27E6-B224-41CD-B4E0-E297462320DD}" dt="2023-11-23T19:49:54.422" v="232"/>
          <ac:spMkLst>
            <pc:docMk/>
            <pc:sldMk cId="1942033937" sldId="2147478573"/>
            <ac:spMk id="8" creationId="{F178F699-5383-247F-A623-C3022DB0CE51}"/>
          </ac:spMkLst>
        </pc:spChg>
        <pc:spChg chg="add del mod">
          <ac:chgData name="Steiner Andreas 6206 ED" userId="e6377c33-a923-4f14-8587-531c474c7b48" providerId="ADAL" clId="{6ECD27E6-B224-41CD-B4E0-E297462320DD}" dt="2023-11-23T19:50:25.211" v="387"/>
          <ac:spMkLst>
            <pc:docMk/>
            <pc:sldMk cId="1942033937" sldId="2147478573"/>
            <ac:spMk id="14" creationId="{ADEE48D3-02E4-6951-D7E8-244692A25398}"/>
          </ac:spMkLst>
        </pc:spChg>
        <pc:spChg chg="add del mod">
          <ac:chgData name="Steiner Andreas 6206 ED" userId="e6377c33-a923-4f14-8587-531c474c7b48" providerId="ADAL" clId="{6ECD27E6-B224-41CD-B4E0-E297462320DD}" dt="2023-11-23T19:50:35.019" v="542"/>
          <ac:spMkLst>
            <pc:docMk/>
            <pc:sldMk cId="1942033937" sldId="2147478573"/>
            <ac:spMk id="15" creationId="{44E1974B-1806-7A0B-9D2A-70518DE87BEE}"/>
          </ac:spMkLst>
        </pc:spChg>
        <pc:spChg chg="add del mod">
          <ac:chgData name="Steiner Andreas 6206 ED" userId="e6377c33-a923-4f14-8587-531c474c7b48" providerId="ADAL" clId="{6ECD27E6-B224-41CD-B4E0-E297462320DD}" dt="2023-11-23T19:50:46.687" v="697"/>
          <ac:spMkLst>
            <pc:docMk/>
            <pc:sldMk cId="1942033937" sldId="2147478573"/>
            <ac:spMk id="16" creationId="{5BED3BCB-F89C-F20F-CCF8-38F80A4CFF3C}"/>
          </ac:spMkLst>
        </pc:spChg>
        <pc:spChg chg="add del mod">
          <ac:chgData name="Steiner Andreas 6206 ED" userId="e6377c33-a923-4f14-8587-531c474c7b48" providerId="ADAL" clId="{6ECD27E6-B224-41CD-B4E0-E297462320DD}" dt="2023-11-23T19:50:58.394" v="852"/>
          <ac:spMkLst>
            <pc:docMk/>
            <pc:sldMk cId="1942033937" sldId="2147478573"/>
            <ac:spMk id="17" creationId="{296E2701-174F-DE42-5A4F-A7627AFAC965}"/>
          </ac:spMkLst>
        </pc:spChg>
        <pc:spChg chg="add del mod">
          <ac:chgData name="Steiner Andreas 6206 ED" userId="e6377c33-a923-4f14-8587-531c474c7b48" providerId="ADAL" clId="{6ECD27E6-B224-41CD-B4E0-E297462320DD}" dt="2023-11-23T19:51:09.074" v="1007"/>
          <ac:spMkLst>
            <pc:docMk/>
            <pc:sldMk cId="1942033937" sldId="2147478573"/>
            <ac:spMk id="18" creationId="{102184EA-7C29-F729-D561-A42D2263433B}"/>
          </ac:spMkLst>
        </pc:spChg>
        <pc:spChg chg="add del mod">
          <ac:chgData name="Steiner Andreas 6206 ED" userId="e6377c33-a923-4f14-8587-531c474c7b48" providerId="ADAL" clId="{6ECD27E6-B224-41CD-B4E0-E297462320DD}" dt="2023-11-23T19:51:20.060" v="1162"/>
          <ac:spMkLst>
            <pc:docMk/>
            <pc:sldMk cId="1942033937" sldId="2147478573"/>
            <ac:spMk id="19" creationId="{D908F835-1BCB-3405-E07B-60B53BDDF08D}"/>
          </ac:spMkLst>
        </pc:spChg>
        <pc:spChg chg="add del mod">
          <ac:chgData name="Steiner Andreas 6206 ED" userId="e6377c33-a923-4f14-8587-531c474c7b48" providerId="ADAL" clId="{6ECD27E6-B224-41CD-B4E0-E297462320DD}" dt="2023-11-23T19:51:31.549" v="1317"/>
          <ac:spMkLst>
            <pc:docMk/>
            <pc:sldMk cId="1942033937" sldId="2147478573"/>
            <ac:spMk id="20" creationId="{92DAAEE6-8AD6-FF0A-8AF2-DC7D6B893A66}"/>
          </ac:spMkLst>
        </pc:spChg>
        <pc:spChg chg="add del mod">
          <ac:chgData name="Steiner Andreas 6206 ED" userId="e6377c33-a923-4f14-8587-531c474c7b48" providerId="ADAL" clId="{6ECD27E6-B224-41CD-B4E0-E297462320DD}" dt="2023-11-23T19:51:42.202" v="1472"/>
          <ac:spMkLst>
            <pc:docMk/>
            <pc:sldMk cId="1942033937" sldId="2147478573"/>
            <ac:spMk id="21" creationId="{19616367-0727-DC30-8CBD-533FC3EC770D}"/>
          </ac:spMkLst>
        </pc:spChg>
        <pc:spChg chg="add del mod">
          <ac:chgData name="Steiner Andreas 6206 ED" userId="e6377c33-a923-4f14-8587-531c474c7b48" providerId="ADAL" clId="{6ECD27E6-B224-41CD-B4E0-E297462320DD}" dt="2023-11-23T19:51:53.549" v="1627"/>
          <ac:spMkLst>
            <pc:docMk/>
            <pc:sldMk cId="1942033937" sldId="2147478573"/>
            <ac:spMk id="22" creationId="{7FDFC4B9-19D2-5ABE-E514-31E4BF008BA7}"/>
          </ac:spMkLst>
        </pc:spChg>
        <pc:spChg chg="add del mod">
          <ac:chgData name="Steiner Andreas 6206 ED" userId="e6377c33-a923-4f14-8587-531c474c7b48" providerId="ADAL" clId="{6ECD27E6-B224-41CD-B4E0-E297462320DD}" dt="2023-11-23T19:52:05.190" v="1782"/>
          <ac:spMkLst>
            <pc:docMk/>
            <pc:sldMk cId="1942033937" sldId="2147478573"/>
            <ac:spMk id="23" creationId="{1700C282-E9CD-BE68-D965-BF9E46E8C7CD}"/>
          </ac:spMkLst>
        </pc:spChg>
        <pc:spChg chg="add del mod">
          <ac:chgData name="Steiner Andreas 6206 ED" userId="e6377c33-a923-4f14-8587-531c474c7b48" providerId="ADAL" clId="{6ECD27E6-B224-41CD-B4E0-E297462320DD}" dt="2023-11-23T19:52:16.889" v="1937"/>
          <ac:spMkLst>
            <pc:docMk/>
            <pc:sldMk cId="1942033937" sldId="2147478573"/>
            <ac:spMk id="24" creationId="{1F704B24-D302-719C-1E66-D8A088009369}"/>
          </ac:spMkLst>
        </pc:spChg>
        <pc:spChg chg="add del mod">
          <ac:chgData name="Steiner Andreas 6206 ED" userId="e6377c33-a923-4f14-8587-531c474c7b48" providerId="ADAL" clId="{6ECD27E6-B224-41CD-B4E0-E297462320DD}" dt="2023-11-23T19:52:28.585" v="2092"/>
          <ac:spMkLst>
            <pc:docMk/>
            <pc:sldMk cId="1942033937" sldId="2147478573"/>
            <ac:spMk id="25" creationId="{A2E24C27-7FBA-D111-13B8-A33F4D2F7894}"/>
          </ac:spMkLst>
        </pc:spChg>
        <pc:spChg chg="add del mod">
          <ac:chgData name="Steiner Andreas 6206 ED" userId="e6377c33-a923-4f14-8587-531c474c7b48" providerId="ADAL" clId="{6ECD27E6-B224-41CD-B4E0-E297462320DD}" dt="2023-11-23T19:52:40.269" v="2247"/>
          <ac:spMkLst>
            <pc:docMk/>
            <pc:sldMk cId="1942033937" sldId="2147478573"/>
            <ac:spMk id="26" creationId="{E4D793A3-0980-B637-A43C-2703DA5B6F0A}"/>
          </ac:spMkLst>
        </pc:spChg>
        <pc:spChg chg="add del mod">
          <ac:chgData name="Steiner Andreas 6206 ED" userId="e6377c33-a923-4f14-8587-531c474c7b48" providerId="ADAL" clId="{6ECD27E6-B224-41CD-B4E0-E297462320DD}" dt="2023-11-23T19:52:51.670" v="2402"/>
          <ac:spMkLst>
            <pc:docMk/>
            <pc:sldMk cId="1942033937" sldId="2147478573"/>
            <ac:spMk id="27" creationId="{B39A06A3-82C3-CAAF-8658-56D53BA8653D}"/>
          </ac:spMkLst>
        </pc:spChg>
        <pc:spChg chg="add del mod">
          <ac:chgData name="Steiner Andreas 6206 ED" userId="e6377c33-a923-4f14-8587-531c474c7b48" providerId="ADAL" clId="{6ECD27E6-B224-41CD-B4E0-E297462320DD}" dt="2023-11-23T19:53:03.329" v="2557"/>
          <ac:spMkLst>
            <pc:docMk/>
            <pc:sldMk cId="1942033937" sldId="2147478573"/>
            <ac:spMk id="28" creationId="{8A5275DC-EBF1-596C-D2C5-04140D4EA687}"/>
          </ac:spMkLst>
        </pc:spChg>
        <pc:spChg chg="add del mod">
          <ac:chgData name="Steiner Andreas 6206 ED" userId="e6377c33-a923-4f14-8587-531c474c7b48" providerId="ADAL" clId="{6ECD27E6-B224-41CD-B4E0-E297462320DD}" dt="2023-11-23T19:53:15.067" v="2712"/>
          <ac:spMkLst>
            <pc:docMk/>
            <pc:sldMk cId="1942033937" sldId="2147478573"/>
            <ac:spMk id="29" creationId="{C777D918-30A0-553C-2604-2BD35A39C76B}"/>
          </ac:spMkLst>
        </pc:spChg>
        <pc:spChg chg="add del mod">
          <ac:chgData name="Steiner Andreas 6206 ED" userId="e6377c33-a923-4f14-8587-531c474c7b48" providerId="ADAL" clId="{6ECD27E6-B224-41CD-B4E0-E297462320DD}" dt="2023-11-23T19:53:26.750" v="2867"/>
          <ac:spMkLst>
            <pc:docMk/>
            <pc:sldMk cId="1942033937" sldId="2147478573"/>
            <ac:spMk id="30" creationId="{3D48017E-E5C4-1329-B218-2686F4131CB6}"/>
          </ac:spMkLst>
        </pc:spChg>
        <pc:spChg chg="add del mod">
          <ac:chgData name="Steiner Andreas 6206 ED" userId="e6377c33-a923-4f14-8587-531c474c7b48" providerId="ADAL" clId="{6ECD27E6-B224-41CD-B4E0-E297462320DD}" dt="2023-11-23T19:53:38.409" v="3022"/>
          <ac:spMkLst>
            <pc:docMk/>
            <pc:sldMk cId="1942033937" sldId="2147478573"/>
            <ac:spMk id="31" creationId="{BE9BD481-F517-B489-7B2B-6264EDA4F9CD}"/>
          </ac:spMkLst>
        </pc:spChg>
        <pc:spChg chg="add del mod">
          <ac:chgData name="Steiner Andreas 6206 ED" userId="e6377c33-a923-4f14-8587-531c474c7b48" providerId="ADAL" clId="{6ECD27E6-B224-41CD-B4E0-E297462320DD}" dt="2023-11-23T19:53:50.068" v="3177"/>
          <ac:spMkLst>
            <pc:docMk/>
            <pc:sldMk cId="1942033937" sldId="2147478573"/>
            <ac:spMk id="32" creationId="{17F4A82B-223A-EF1B-243A-25B15F069750}"/>
          </ac:spMkLst>
        </pc:spChg>
        <pc:spChg chg="add del mod">
          <ac:chgData name="Steiner Andreas 6206 ED" userId="e6377c33-a923-4f14-8587-531c474c7b48" providerId="ADAL" clId="{6ECD27E6-B224-41CD-B4E0-E297462320DD}" dt="2023-11-23T19:54:01.744" v="3332"/>
          <ac:spMkLst>
            <pc:docMk/>
            <pc:sldMk cId="1942033937" sldId="2147478573"/>
            <ac:spMk id="33" creationId="{C907002D-B84C-199A-A4E1-6B06E7D7C89A}"/>
          </ac:spMkLst>
        </pc:spChg>
        <pc:spChg chg="add del mod">
          <ac:chgData name="Steiner Andreas 6206 ED" userId="e6377c33-a923-4f14-8587-531c474c7b48" providerId="ADAL" clId="{6ECD27E6-B224-41CD-B4E0-E297462320DD}" dt="2023-11-23T19:54:13.436" v="3487"/>
          <ac:spMkLst>
            <pc:docMk/>
            <pc:sldMk cId="1942033937" sldId="2147478573"/>
            <ac:spMk id="34" creationId="{D797208B-6303-013E-A276-54D9243E814A}"/>
          </ac:spMkLst>
        </pc:spChg>
        <pc:spChg chg="add del mod">
          <ac:chgData name="Steiner Andreas 6206 ED" userId="e6377c33-a923-4f14-8587-531c474c7b48" providerId="ADAL" clId="{6ECD27E6-B224-41CD-B4E0-E297462320DD}" dt="2023-11-23T19:54:25.099" v="3642"/>
          <ac:spMkLst>
            <pc:docMk/>
            <pc:sldMk cId="1942033937" sldId="2147478573"/>
            <ac:spMk id="35" creationId="{B7EE0610-E2BC-7B6D-1BE8-D187C2BCDA52}"/>
          </ac:spMkLst>
        </pc:spChg>
        <pc:spChg chg="add del mod">
          <ac:chgData name="Steiner Andreas 6206 ED" userId="e6377c33-a923-4f14-8587-531c474c7b48" providerId="ADAL" clId="{6ECD27E6-B224-41CD-B4E0-E297462320DD}" dt="2023-11-23T19:54:36.815" v="3797"/>
          <ac:spMkLst>
            <pc:docMk/>
            <pc:sldMk cId="1942033937" sldId="2147478573"/>
            <ac:spMk id="36" creationId="{91E16E9F-EB00-A568-E11D-0840882AB11A}"/>
          </ac:spMkLst>
        </pc:spChg>
        <pc:spChg chg="add del mod">
          <ac:chgData name="Steiner Andreas 6206 ED" userId="e6377c33-a923-4f14-8587-531c474c7b48" providerId="ADAL" clId="{6ECD27E6-B224-41CD-B4E0-E297462320DD}" dt="2023-11-23T19:54:48.156" v="3952"/>
          <ac:spMkLst>
            <pc:docMk/>
            <pc:sldMk cId="1942033937" sldId="2147478573"/>
            <ac:spMk id="37" creationId="{45AB2E85-E020-03F1-970B-3AB2B8533A9A}"/>
          </ac:spMkLst>
        </pc:spChg>
        <pc:spChg chg="add del mod">
          <ac:chgData name="Steiner Andreas 6206 ED" userId="e6377c33-a923-4f14-8587-531c474c7b48" providerId="ADAL" clId="{6ECD27E6-B224-41CD-B4E0-E297462320DD}" dt="2023-11-23T19:54:59.785" v="4107"/>
          <ac:spMkLst>
            <pc:docMk/>
            <pc:sldMk cId="1942033937" sldId="2147478573"/>
            <ac:spMk id="38" creationId="{CCDA99F1-275B-1D43-177C-135B5AA0C775}"/>
          </ac:spMkLst>
        </pc:spChg>
        <pc:spChg chg="add del mod">
          <ac:chgData name="Steiner Andreas 6206 ED" userId="e6377c33-a923-4f14-8587-531c474c7b48" providerId="ADAL" clId="{6ECD27E6-B224-41CD-B4E0-E297462320DD}" dt="2023-11-23T19:55:11.523" v="4262"/>
          <ac:spMkLst>
            <pc:docMk/>
            <pc:sldMk cId="1942033937" sldId="2147478573"/>
            <ac:spMk id="39" creationId="{99E1B803-01B9-8C08-23BC-A4CACFC4B452}"/>
          </ac:spMkLst>
        </pc:spChg>
        <pc:spChg chg="add del mod">
          <ac:chgData name="Steiner Andreas 6206 ED" userId="e6377c33-a923-4f14-8587-531c474c7b48" providerId="ADAL" clId="{6ECD27E6-B224-41CD-B4E0-E297462320DD}" dt="2023-11-23T19:55:23.201" v="4417"/>
          <ac:spMkLst>
            <pc:docMk/>
            <pc:sldMk cId="1942033937" sldId="2147478573"/>
            <ac:spMk id="40" creationId="{F2153F76-9376-E990-E55F-EEDAB949C348}"/>
          </ac:spMkLst>
        </pc:spChg>
        <pc:spChg chg="add del mod">
          <ac:chgData name="Steiner Andreas 6206 ED" userId="e6377c33-a923-4f14-8587-531c474c7b48" providerId="ADAL" clId="{6ECD27E6-B224-41CD-B4E0-E297462320DD}" dt="2023-11-23T19:55:34.845" v="4572"/>
          <ac:spMkLst>
            <pc:docMk/>
            <pc:sldMk cId="1942033937" sldId="2147478573"/>
            <ac:spMk id="41" creationId="{463A1104-1A68-D2E2-8ECD-267AD7871230}"/>
          </ac:spMkLst>
        </pc:spChg>
        <pc:spChg chg="add del mod">
          <ac:chgData name="Steiner Andreas 6206 ED" userId="e6377c33-a923-4f14-8587-531c474c7b48" providerId="ADAL" clId="{6ECD27E6-B224-41CD-B4E0-E297462320DD}" dt="2023-11-23T19:55:46.186" v="4727"/>
          <ac:spMkLst>
            <pc:docMk/>
            <pc:sldMk cId="1942033937" sldId="2147478573"/>
            <ac:spMk id="42" creationId="{40E6131C-8EDE-F724-8AE6-14B2998E0B9D}"/>
          </ac:spMkLst>
        </pc:spChg>
        <pc:spChg chg="add del mod">
          <ac:chgData name="Steiner Andreas 6206 ED" userId="e6377c33-a923-4f14-8587-531c474c7b48" providerId="ADAL" clId="{6ECD27E6-B224-41CD-B4E0-E297462320DD}" dt="2023-11-23T19:55:57.845" v="4882"/>
          <ac:spMkLst>
            <pc:docMk/>
            <pc:sldMk cId="1942033937" sldId="2147478573"/>
            <ac:spMk id="43" creationId="{2247E1F6-9EEB-5F80-AB46-61268796F15E}"/>
          </ac:spMkLst>
        </pc:spChg>
        <pc:spChg chg="add del mod">
          <ac:chgData name="Steiner Andreas 6206 ED" userId="e6377c33-a923-4f14-8587-531c474c7b48" providerId="ADAL" clId="{6ECD27E6-B224-41CD-B4E0-E297462320DD}" dt="2023-11-23T19:56:09.511" v="5037"/>
          <ac:spMkLst>
            <pc:docMk/>
            <pc:sldMk cId="1942033937" sldId="2147478573"/>
            <ac:spMk id="44" creationId="{C4706006-C6FC-994E-89BE-B482904E647A}"/>
          </ac:spMkLst>
        </pc:spChg>
        <pc:spChg chg="add del mod">
          <ac:chgData name="Steiner Andreas 6206 ED" userId="e6377c33-a923-4f14-8587-531c474c7b48" providerId="ADAL" clId="{6ECD27E6-B224-41CD-B4E0-E297462320DD}" dt="2023-11-23T19:56:21.208" v="5192"/>
          <ac:spMkLst>
            <pc:docMk/>
            <pc:sldMk cId="1942033937" sldId="2147478573"/>
            <ac:spMk id="45" creationId="{F98443BE-C707-37BB-2DFE-6530A8EE0434}"/>
          </ac:spMkLst>
        </pc:spChg>
        <pc:spChg chg="add del mod">
          <ac:chgData name="Steiner Andreas 6206 ED" userId="e6377c33-a923-4f14-8587-531c474c7b48" providerId="ADAL" clId="{6ECD27E6-B224-41CD-B4E0-E297462320DD}" dt="2023-11-23T19:56:32.895" v="5347"/>
          <ac:spMkLst>
            <pc:docMk/>
            <pc:sldMk cId="1942033937" sldId="2147478573"/>
            <ac:spMk id="46" creationId="{D577D583-885F-0F9B-0EC6-E9A812ECE985}"/>
          </ac:spMkLst>
        </pc:spChg>
        <pc:spChg chg="add del mod">
          <ac:chgData name="Steiner Andreas 6206 ED" userId="e6377c33-a923-4f14-8587-531c474c7b48" providerId="ADAL" clId="{6ECD27E6-B224-41CD-B4E0-E297462320DD}" dt="2023-11-23T19:56:44.263" v="5502"/>
          <ac:spMkLst>
            <pc:docMk/>
            <pc:sldMk cId="1942033937" sldId="2147478573"/>
            <ac:spMk id="47" creationId="{794A700E-4798-BCD3-940C-548F3CC6CB97}"/>
          </ac:spMkLst>
        </pc:spChg>
        <pc:spChg chg="add del mod">
          <ac:chgData name="Steiner Andreas 6206 ED" userId="e6377c33-a923-4f14-8587-531c474c7b48" providerId="ADAL" clId="{6ECD27E6-B224-41CD-B4E0-E297462320DD}" dt="2023-11-23T19:56:54.630" v="5657"/>
          <ac:spMkLst>
            <pc:docMk/>
            <pc:sldMk cId="1942033937" sldId="2147478573"/>
            <ac:spMk id="48" creationId="{9EB816A1-B6EE-7BB7-E30D-5FEECA3F76B7}"/>
          </ac:spMkLst>
        </pc:spChg>
        <pc:spChg chg="add del mod">
          <ac:chgData name="Steiner Andreas 6206 ED" userId="e6377c33-a923-4f14-8587-531c474c7b48" providerId="ADAL" clId="{6ECD27E6-B224-41CD-B4E0-E297462320DD}" dt="2023-11-23T19:57:06.096" v="5812"/>
          <ac:spMkLst>
            <pc:docMk/>
            <pc:sldMk cId="1942033937" sldId="2147478573"/>
            <ac:spMk id="49" creationId="{133954B9-43A8-13D0-A517-52070F790453}"/>
          </ac:spMkLst>
        </pc:spChg>
        <pc:spChg chg="add del mod">
          <ac:chgData name="Steiner Andreas 6206 ED" userId="e6377c33-a923-4f14-8587-531c474c7b48" providerId="ADAL" clId="{6ECD27E6-B224-41CD-B4E0-E297462320DD}" dt="2023-11-23T19:57:17.770" v="5967"/>
          <ac:spMkLst>
            <pc:docMk/>
            <pc:sldMk cId="1942033937" sldId="2147478573"/>
            <ac:spMk id="50" creationId="{5B7AD1CF-4E36-9C67-1675-C8087D821DFC}"/>
          </ac:spMkLst>
        </pc:spChg>
        <pc:spChg chg="add del mod">
          <ac:chgData name="Steiner Andreas 6206 ED" userId="e6377c33-a923-4f14-8587-531c474c7b48" providerId="ADAL" clId="{6ECD27E6-B224-41CD-B4E0-E297462320DD}" dt="2023-11-23T19:57:29.246" v="6122"/>
          <ac:spMkLst>
            <pc:docMk/>
            <pc:sldMk cId="1942033937" sldId="2147478573"/>
            <ac:spMk id="51" creationId="{D3D2346C-C5C4-06F9-EA54-A71AF1142B75}"/>
          </ac:spMkLst>
        </pc:spChg>
        <pc:spChg chg="add del mod">
          <ac:chgData name="Steiner Andreas 6206 ED" userId="e6377c33-a923-4f14-8587-531c474c7b48" providerId="ADAL" clId="{6ECD27E6-B224-41CD-B4E0-E297462320DD}" dt="2023-11-23T19:57:40.864" v="6277"/>
          <ac:spMkLst>
            <pc:docMk/>
            <pc:sldMk cId="1942033937" sldId="2147478573"/>
            <ac:spMk id="52" creationId="{E4F4D27F-065A-9F8B-92D3-17186CEC43D9}"/>
          </ac:spMkLst>
        </pc:spChg>
        <pc:spChg chg="add del mod">
          <ac:chgData name="Steiner Andreas 6206 ED" userId="e6377c33-a923-4f14-8587-531c474c7b48" providerId="ADAL" clId="{6ECD27E6-B224-41CD-B4E0-E297462320DD}" dt="2023-11-23T19:57:52.536" v="6432"/>
          <ac:spMkLst>
            <pc:docMk/>
            <pc:sldMk cId="1942033937" sldId="2147478573"/>
            <ac:spMk id="53" creationId="{713D6D9E-1581-0EF1-34A9-8F5944D14F67}"/>
          </ac:spMkLst>
        </pc:spChg>
        <pc:spChg chg="add del mod">
          <ac:chgData name="Steiner Andreas 6206 ED" userId="e6377c33-a923-4f14-8587-531c474c7b48" providerId="ADAL" clId="{6ECD27E6-B224-41CD-B4E0-E297462320DD}" dt="2023-11-23T19:58:04.229" v="6587"/>
          <ac:spMkLst>
            <pc:docMk/>
            <pc:sldMk cId="1942033937" sldId="2147478573"/>
            <ac:spMk id="54" creationId="{D67D3A5C-E62A-C6A1-E149-A4D38EAC18CB}"/>
          </ac:spMkLst>
        </pc:spChg>
        <pc:spChg chg="add del mod">
          <ac:chgData name="Steiner Andreas 6206 ED" userId="e6377c33-a923-4f14-8587-531c474c7b48" providerId="ADAL" clId="{6ECD27E6-B224-41CD-B4E0-E297462320DD}" dt="2023-11-23T19:58:15.638" v="6742"/>
          <ac:spMkLst>
            <pc:docMk/>
            <pc:sldMk cId="1942033937" sldId="2147478573"/>
            <ac:spMk id="55" creationId="{117E8D9A-1AC8-8890-8D24-E801CD37FED8}"/>
          </ac:spMkLst>
        </pc:spChg>
        <pc:spChg chg="add del mod">
          <ac:chgData name="Steiner Andreas 6206 ED" userId="e6377c33-a923-4f14-8587-531c474c7b48" providerId="ADAL" clId="{6ECD27E6-B224-41CD-B4E0-E297462320DD}" dt="2023-11-23T19:58:27.754" v="6897"/>
          <ac:spMkLst>
            <pc:docMk/>
            <pc:sldMk cId="1942033937" sldId="2147478573"/>
            <ac:spMk id="56" creationId="{166B1DEC-0343-6FFD-78D1-8A8BC5B08A35}"/>
          </ac:spMkLst>
        </pc:spChg>
        <pc:spChg chg="add del mod">
          <ac:chgData name="Steiner Andreas 6206 ED" userId="e6377c33-a923-4f14-8587-531c474c7b48" providerId="ADAL" clId="{6ECD27E6-B224-41CD-B4E0-E297462320DD}" dt="2023-11-23T19:58:39.496" v="7052"/>
          <ac:spMkLst>
            <pc:docMk/>
            <pc:sldMk cId="1942033937" sldId="2147478573"/>
            <ac:spMk id="57" creationId="{A6D1B133-57DC-F34B-779A-E9F6F7DF5DC2}"/>
          </ac:spMkLst>
        </pc:spChg>
        <pc:spChg chg="add del mod">
          <ac:chgData name="Steiner Andreas 6206 ED" userId="e6377c33-a923-4f14-8587-531c474c7b48" providerId="ADAL" clId="{6ECD27E6-B224-41CD-B4E0-E297462320DD}" dt="2023-11-23T19:58:51.186" v="7207"/>
          <ac:spMkLst>
            <pc:docMk/>
            <pc:sldMk cId="1942033937" sldId="2147478573"/>
            <ac:spMk id="58" creationId="{264B2C6B-B9CF-D5E3-9376-3700C6EE5150}"/>
          </ac:spMkLst>
        </pc:spChg>
        <pc:spChg chg="add del mod">
          <ac:chgData name="Steiner Andreas 6206 ED" userId="e6377c33-a923-4f14-8587-531c474c7b48" providerId="ADAL" clId="{6ECD27E6-B224-41CD-B4E0-E297462320DD}" dt="2023-11-23T19:59:02.573" v="7362"/>
          <ac:spMkLst>
            <pc:docMk/>
            <pc:sldMk cId="1942033937" sldId="2147478573"/>
            <ac:spMk id="59" creationId="{9F951138-2B5B-F269-2B75-C6E37572C9D6}"/>
          </ac:spMkLst>
        </pc:spChg>
        <pc:spChg chg="add del mod">
          <ac:chgData name="Steiner Andreas 6206 ED" userId="e6377c33-a923-4f14-8587-531c474c7b48" providerId="ADAL" clId="{6ECD27E6-B224-41CD-B4E0-E297462320DD}" dt="2023-11-24T08:31:41.416" v="7517"/>
          <ac:spMkLst>
            <pc:docMk/>
            <pc:sldMk cId="1942033937" sldId="2147478573"/>
            <ac:spMk id="60" creationId="{F896EEC0-48CC-436F-B6A7-0C35E50292C6}"/>
          </ac:spMkLst>
        </pc:spChg>
        <pc:spChg chg="add del mod">
          <ac:chgData name="Steiner Andreas 6206 ED" userId="e6377c33-a923-4f14-8587-531c474c7b48" providerId="ADAL" clId="{6ECD27E6-B224-41CD-B4E0-E297462320DD}" dt="2023-11-24T08:31:45.130" v="7672"/>
          <ac:spMkLst>
            <pc:docMk/>
            <pc:sldMk cId="1942033937" sldId="2147478573"/>
            <ac:spMk id="61" creationId="{F752695F-0B88-B8DF-6DAD-01EEBD8F7F79}"/>
          </ac:spMkLst>
        </pc:spChg>
        <pc:spChg chg="add del mod">
          <ac:chgData name="Steiner Andreas 6206 ED" userId="e6377c33-a923-4f14-8587-531c474c7b48" providerId="ADAL" clId="{6ECD27E6-B224-41CD-B4E0-E297462320DD}" dt="2023-11-24T08:31:46.976" v="7827"/>
          <ac:spMkLst>
            <pc:docMk/>
            <pc:sldMk cId="1942033937" sldId="2147478573"/>
            <ac:spMk id="62" creationId="{329BA0C0-5D0B-8CB0-70C8-929835AF75DA}"/>
          </ac:spMkLst>
        </pc:spChg>
        <pc:spChg chg="add del mod">
          <ac:chgData name="Steiner Andreas 6206 ED" userId="e6377c33-a923-4f14-8587-531c474c7b48" providerId="ADAL" clId="{6ECD27E6-B224-41CD-B4E0-E297462320DD}" dt="2023-11-24T08:31:48.827" v="7982"/>
          <ac:spMkLst>
            <pc:docMk/>
            <pc:sldMk cId="1942033937" sldId="2147478573"/>
            <ac:spMk id="63" creationId="{F64982F2-5CE8-CDE9-C5BF-A2A8FE8E3A50}"/>
          </ac:spMkLst>
        </pc:spChg>
        <pc:spChg chg="add del mod">
          <ac:chgData name="Steiner Andreas 6206 ED" userId="e6377c33-a923-4f14-8587-531c474c7b48" providerId="ADAL" clId="{6ECD27E6-B224-41CD-B4E0-E297462320DD}" dt="2023-11-24T08:31:50.712" v="8137"/>
          <ac:spMkLst>
            <pc:docMk/>
            <pc:sldMk cId="1942033937" sldId="2147478573"/>
            <ac:spMk id="64" creationId="{58CCA686-7BE2-91CC-EF4D-FDA3D85A08A0}"/>
          </ac:spMkLst>
        </pc:spChg>
        <pc:spChg chg="add del mod">
          <ac:chgData name="Steiner Andreas 6206 ED" userId="e6377c33-a923-4f14-8587-531c474c7b48" providerId="ADAL" clId="{6ECD27E6-B224-41CD-B4E0-E297462320DD}" dt="2023-11-24T08:31:52.486" v="8292"/>
          <ac:spMkLst>
            <pc:docMk/>
            <pc:sldMk cId="1942033937" sldId="2147478573"/>
            <ac:spMk id="65" creationId="{22868C5E-4B75-2D61-892E-123E62BC856D}"/>
          </ac:spMkLst>
        </pc:spChg>
        <pc:spChg chg="add del mod">
          <ac:chgData name="Steiner Andreas 6206 ED" userId="e6377c33-a923-4f14-8587-531c474c7b48" providerId="ADAL" clId="{6ECD27E6-B224-41CD-B4E0-E297462320DD}" dt="2023-11-24T08:31:54.314" v="8447"/>
          <ac:spMkLst>
            <pc:docMk/>
            <pc:sldMk cId="1942033937" sldId="2147478573"/>
            <ac:spMk id="66" creationId="{11CD4667-6158-DBFA-119F-4456425C87DF}"/>
          </ac:spMkLst>
        </pc:spChg>
        <pc:spChg chg="add del mod">
          <ac:chgData name="Steiner Andreas 6206 ED" userId="e6377c33-a923-4f14-8587-531c474c7b48" providerId="ADAL" clId="{6ECD27E6-B224-41CD-B4E0-E297462320DD}" dt="2023-11-24T08:31:56.152" v="8602"/>
          <ac:spMkLst>
            <pc:docMk/>
            <pc:sldMk cId="1942033937" sldId="2147478573"/>
            <ac:spMk id="67" creationId="{EC991FBB-B31D-5674-4712-D6D0449C4618}"/>
          </ac:spMkLst>
        </pc:spChg>
        <pc:spChg chg="add del mod">
          <ac:chgData name="Steiner Andreas 6206 ED" userId="e6377c33-a923-4f14-8587-531c474c7b48" providerId="ADAL" clId="{6ECD27E6-B224-41CD-B4E0-E297462320DD}" dt="2023-11-24T08:31:58.036" v="8757"/>
          <ac:spMkLst>
            <pc:docMk/>
            <pc:sldMk cId="1942033937" sldId="2147478573"/>
            <ac:spMk id="68" creationId="{AD9553C9-F680-9750-76BE-63B818B14A6A}"/>
          </ac:spMkLst>
        </pc:spChg>
        <pc:spChg chg="add del mod">
          <ac:chgData name="Steiner Andreas 6206 ED" userId="e6377c33-a923-4f14-8587-531c474c7b48" providerId="ADAL" clId="{6ECD27E6-B224-41CD-B4E0-E297462320DD}" dt="2023-11-24T08:32:00.731" v="8912"/>
          <ac:spMkLst>
            <pc:docMk/>
            <pc:sldMk cId="1942033937" sldId="2147478573"/>
            <ac:spMk id="69" creationId="{4C5B0C32-858B-9C21-24F3-0573D69B2D8A}"/>
          </ac:spMkLst>
        </pc:spChg>
        <pc:spChg chg="add del mod">
          <ac:chgData name="Steiner Andreas 6206 ED" userId="e6377c33-a923-4f14-8587-531c474c7b48" providerId="ADAL" clId="{6ECD27E6-B224-41CD-B4E0-E297462320DD}" dt="2023-11-24T08:32:03.028" v="9067"/>
          <ac:spMkLst>
            <pc:docMk/>
            <pc:sldMk cId="1942033937" sldId="2147478573"/>
            <ac:spMk id="70" creationId="{393939CA-3A8F-9CBB-3E3D-0F5B800C1732}"/>
          </ac:spMkLst>
        </pc:spChg>
        <pc:spChg chg="add del mod">
          <ac:chgData name="Steiner Andreas 6206 ED" userId="e6377c33-a923-4f14-8587-531c474c7b48" providerId="ADAL" clId="{6ECD27E6-B224-41CD-B4E0-E297462320DD}" dt="2023-11-24T08:32:05.111" v="9222"/>
          <ac:spMkLst>
            <pc:docMk/>
            <pc:sldMk cId="1942033937" sldId="2147478573"/>
            <ac:spMk id="71" creationId="{F10A3EC1-D63F-65BA-62C2-6C8B6A13D28C}"/>
          </ac:spMkLst>
        </pc:spChg>
        <pc:spChg chg="add del mod">
          <ac:chgData name="Steiner Andreas 6206 ED" userId="e6377c33-a923-4f14-8587-531c474c7b48" providerId="ADAL" clId="{6ECD27E6-B224-41CD-B4E0-E297462320DD}" dt="2023-11-24T08:32:07.054" v="9377"/>
          <ac:spMkLst>
            <pc:docMk/>
            <pc:sldMk cId="1942033937" sldId="2147478573"/>
            <ac:spMk id="72" creationId="{204FDB40-FBB8-6E0E-1184-1CFFD14E4A68}"/>
          </ac:spMkLst>
        </pc:spChg>
        <pc:spChg chg="add del mod">
          <ac:chgData name="Steiner Andreas 6206 ED" userId="e6377c33-a923-4f14-8587-531c474c7b48" providerId="ADAL" clId="{6ECD27E6-B224-41CD-B4E0-E297462320DD}" dt="2023-11-24T08:32:09.386" v="9532"/>
          <ac:spMkLst>
            <pc:docMk/>
            <pc:sldMk cId="1942033937" sldId="2147478573"/>
            <ac:spMk id="73" creationId="{0FE9029C-56CF-B293-224F-7A9FDF6BC90D}"/>
          </ac:spMkLst>
        </pc:spChg>
        <pc:spChg chg="add del mod">
          <ac:chgData name="Steiner Andreas 6206 ED" userId="e6377c33-a923-4f14-8587-531c474c7b48" providerId="ADAL" clId="{6ECD27E6-B224-41CD-B4E0-E297462320DD}" dt="2023-11-24T08:32:11.668" v="9687"/>
          <ac:spMkLst>
            <pc:docMk/>
            <pc:sldMk cId="1942033937" sldId="2147478573"/>
            <ac:spMk id="74" creationId="{840A2734-1ECE-A830-CD1C-A7C415384528}"/>
          </ac:spMkLst>
        </pc:spChg>
        <pc:spChg chg="add del mod">
          <ac:chgData name="Steiner Andreas 6206 ED" userId="e6377c33-a923-4f14-8587-531c474c7b48" providerId="ADAL" clId="{6ECD27E6-B224-41CD-B4E0-E297462320DD}" dt="2023-11-24T08:32:13.862" v="9842"/>
          <ac:spMkLst>
            <pc:docMk/>
            <pc:sldMk cId="1942033937" sldId="2147478573"/>
            <ac:spMk id="75" creationId="{EFA367BD-30DD-9A27-41F1-E369979F76F4}"/>
          </ac:spMkLst>
        </pc:spChg>
        <pc:spChg chg="add del mod">
          <ac:chgData name="Steiner Andreas 6206 ED" userId="e6377c33-a923-4f14-8587-531c474c7b48" providerId="ADAL" clId="{6ECD27E6-B224-41CD-B4E0-E297462320DD}" dt="2023-11-24T08:32:15.797" v="9997"/>
          <ac:spMkLst>
            <pc:docMk/>
            <pc:sldMk cId="1942033937" sldId="2147478573"/>
            <ac:spMk id="76" creationId="{7FE9F0BB-E186-8579-DC06-B4E25907B7F2}"/>
          </ac:spMkLst>
        </pc:spChg>
        <pc:spChg chg="add del mod">
          <ac:chgData name="Steiner Andreas 6206 ED" userId="e6377c33-a923-4f14-8587-531c474c7b48" providerId="ADAL" clId="{6ECD27E6-B224-41CD-B4E0-E297462320DD}" dt="2023-11-24T08:32:17.796" v="10152"/>
          <ac:spMkLst>
            <pc:docMk/>
            <pc:sldMk cId="1942033937" sldId="2147478573"/>
            <ac:spMk id="77" creationId="{F440D9E6-AB72-488F-B229-06EDF153CD7C}"/>
          </ac:spMkLst>
        </pc:spChg>
        <pc:spChg chg="add del mod">
          <ac:chgData name="Steiner Andreas 6206 ED" userId="e6377c33-a923-4f14-8587-531c474c7b48" providerId="ADAL" clId="{6ECD27E6-B224-41CD-B4E0-E297462320DD}" dt="2023-11-24T08:32:19.740" v="10307"/>
          <ac:spMkLst>
            <pc:docMk/>
            <pc:sldMk cId="1942033937" sldId="2147478573"/>
            <ac:spMk id="78" creationId="{130DF8B4-1EA3-BA94-4788-7152A9B9BD79}"/>
          </ac:spMkLst>
        </pc:spChg>
        <pc:spChg chg="add del mod">
          <ac:chgData name="Steiner Andreas 6206 ED" userId="e6377c33-a923-4f14-8587-531c474c7b48" providerId="ADAL" clId="{6ECD27E6-B224-41CD-B4E0-E297462320DD}" dt="2023-11-24T08:32:21.709" v="10462"/>
          <ac:spMkLst>
            <pc:docMk/>
            <pc:sldMk cId="1942033937" sldId="2147478573"/>
            <ac:spMk id="79" creationId="{72F90C0D-B07B-CCB3-A906-85F8F4D5EDD2}"/>
          </ac:spMkLst>
        </pc:spChg>
        <pc:spChg chg="add del mod">
          <ac:chgData name="Steiner Andreas 6206 ED" userId="e6377c33-a923-4f14-8587-531c474c7b48" providerId="ADAL" clId="{6ECD27E6-B224-41CD-B4E0-E297462320DD}" dt="2023-11-24T08:32:23.850" v="10617"/>
          <ac:spMkLst>
            <pc:docMk/>
            <pc:sldMk cId="1942033937" sldId="2147478573"/>
            <ac:spMk id="80" creationId="{9ECC1CDB-1E82-CDD8-65BC-980F0DC53940}"/>
          </ac:spMkLst>
        </pc:spChg>
        <pc:spChg chg="add del mod">
          <ac:chgData name="Steiner Andreas 6206 ED" userId="e6377c33-a923-4f14-8587-531c474c7b48" providerId="ADAL" clId="{6ECD27E6-B224-41CD-B4E0-E297462320DD}" dt="2023-11-24T08:32:25.836" v="10772"/>
          <ac:spMkLst>
            <pc:docMk/>
            <pc:sldMk cId="1942033937" sldId="2147478573"/>
            <ac:spMk id="81" creationId="{D81880BE-655C-B39E-4EDB-0FA19F7BE5C1}"/>
          </ac:spMkLst>
        </pc:spChg>
        <pc:spChg chg="add del mod">
          <ac:chgData name="Steiner Andreas 6206 ED" userId="e6377c33-a923-4f14-8587-531c474c7b48" providerId="ADAL" clId="{6ECD27E6-B224-41CD-B4E0-E297462320DD}" dt="2023-11-24T08:32:27.814" v="10927"/>
          <ac:spMkLst>
            <pc:docMk/>
            <pc:sldMk cId="1942033937" sldId="2147478573"/>
            <ac:spMk id="82" creationId="{A310A90A-C493-1838-1B67-B33492718572}"/>
          </ac:spMkLst>
        </pc:spChg>
        <pc:spChg chg="add del mod">
          <ac:chgData name="Steiner Andreas 6206 ED" userId="e6377c33-a923-4f14-8587-531c474c7b48" providerId="ADAL" clId="{6ECD27E6-B224-41CD-B4E0-E297462320DD}" dt="2023-11-24T08:32:29.734" v="11082"/>
          <ac:spMkLst>
            <pc:docMk/>
            <pc:sldMk cId="1942033937" sldId="2147478573"/>
            <ac:spMk id="83" creationId="{25CA80F2-8CCA-191B-592D-72597CA57803}"/>
          </ac:spMkLst>
        </pc:spChg>
        <pc:spChg chg="add del mod">
          <ac:chgData name="Steiner Andreas 6206 ED" userId="e6377c33-a923-4f14-8587-531c474c7b48" providerId="ADAL" clId="{6ECD27E6-B224-41CD-B4E0-E297462320DD}" dt="2023-11-24T08:32:31.840" v="11237"/>
          <ac:spMkLst>
            <pc:docMk/>
            <pc:sldMk cId="1942033937" sldId="2147478573"/>
            <ac:spMk id="84" creationId="{F23421D7-8DCB-EB3C-F599-73A1BFC24DED}"/>
          </ac:spMkLst>
        </pc:spChg>
        <pc:spChg chg="add del mod">
          <ac:chgData name="Steiner Andreas 6206 ED" userId="e6377c33-a923-4f14-8587-531c474c7b48" providerId="ADAL" clId="{6ECD27E6-B224-41CD-B4E0-E297462320DD}" dt="2023-11-24T08:32:34.142" v="11392"/>
          <ac:spMkLst>
            <pc:docMk/>
            <pc:sldMk cId="1942033937" sldId="2147478573"/>
            <ac:spMk id="85" creationId="{48B3F415-3713-B2C2-0751-2AD21B9EF231}"/>
          </ac:spMkLst>
        </pc:spChg>
        <pc:spChg chg="add del mod">
          <ac:chgData name="Steiner Andreas 6206 ED" userId="e6377c33-a923-4f14-8587-531c474c7b48" providerId="ADAL" clId="{6ECD27E6-B224-41CD-B4E0-E297462320DD}" dt="2023-11-24T08:32:36.562" v="11547"/>
          <ac:spMkLst>
            <pc:docMk/>
            <pc:sldMk cId="1942033937" sldId="2147478573"/>
            <ac:spMk id="86" creationId="{BD7E63DF-1DA9-B6DC-B65D-8CEE9BE79D45}"/>
          </ac:spMkLst>
        </pc:spChg>
        <pc:spChg chg="add del mod">
          <ac:chgData name="Steiner Andreas 6206 ED" userId="e6377c33-a923-4f14-8587-531c474c7b48" providerId="ADAL" clId="{6ECD27E6-B224-41CD-B4E0-E297462320DD}" dt="2023-11-24T08:32:38.504" v="11702"/>
          <ac:spMkLst>
            <pc:docMk/>
            <pc:sldMk cId="1942033937" sldId="2147478573"/>
            <ac:spMk id="87" creationId="{E6974D60-B4A5-C8CD-ADBA-A6CC3AB7A8B6}"/>
          </ac:spMkLst>
        </pc:spChg>
        <pc:spChg chg="add del mod">
          <ac:chgData name="Steiner Andreas 6206 ED" userId="e6377c33-a923-4f14-8587-531c474c7b48" providerId="ADAL" clId="{6ECD27E6-B224-41CD-B4E0-E297462320DD}" dt="2023-11-24T08:32:40.600" v="11857"/>
          <ac:spMkLst>
            <pc:docMk/>
            <pc:sldMk cId="1942033937" sldId="2147478573"/>
            <ac:spMk id="88" creationId="{8726322A-A9F7-1106-6A18-93A25EA5528C}"/>
          </ac:spMkLst>
        </pc:spChg>
        <pc:spChg chg="add del mod">
          <ac:chgData name="Steiner Andreas 6206 ED" userId="e6377c33-a923-4f14-8587-531c474c7b48" providerId="ADAL" clId="{6ECD27E6-B224-41CD-B4E0-E297462320DD}" dt="2023-11-24T08:32:42.759" v="12012"/>
          <ac:spMkLst>
            <pc:docMk/>
            <pc:sldMk cId="1942033937" sldId="2147478573"/>
            <ac:spMk id="89" creationId="{9B7A7E2E-7475-6E58-1D2E-D7AAD3316628}"/>
          </ac:spMkLst>
        </pc:spChg>
        <pc:spChg chg="add del mod">
          <ac:chgData name="Steiner Andreas 6206 ED" userId="e6377c33-a923-4f14-8587-531c474c7b48" providerId="ADAL" clId="{6ECD27E6-B224-41CD-B4E0-E297462320DD}" dt="2023-11-24T08:32:44.899" v="12167"/>
          <ac:spMkLst>
            <pc:docMk/>
            <pc:sldMk cId="1942033937" sldId="2147478573"/>
            <ac:spMk id="90" creationId="{200DCA9E-85E5-5331-9B70-43B98CBAEEF1}"/>
          </ac:spMkLst>
        </pc:spChg>
        <pc:spChg chg="add del mod">
          <ac:chgData name="Steiner Andreas 6206 ED" userId="e6377c33-a923-4f14-8587-531c474c7b48" providerId="ADAL" clId="{6ECD27E6-B224-41CD-B4E0-E297462320DD}" dt="2023-11-24T08:32:47.079" v="12322"/>
          <ac:spMkLst>
            <pc:docMk/>
            <pc:sldMk cId="1942033937" sldId="2147478573"/>
            <ac:spMk id="91" creationId="{3C10D93C-013E-A5C5-FEB4-36010DA69377}"/>
          </ac:spMkLst>
        </pc:spChg>
        <pc:spChg chg="add del mod">
          <ac:chgData name="Steiner Andreas 6206 ED" userId="e6377c33-a923-4f14-8587-531c474c7b48" providerId="ADAL" clId="{6ECD27E6-B224-41CD-B4E0-E297462320DD}" dt="2023-11-24T08:32:49.144" v="12477"/>
          <ac:spMkLst>
            <pc:docMk/>
            <pc:sldMk cId="1942033937" sldId="2147478573"/>
            <ac:spMk id="92" creationId="{3BB05688-20B8-D12A-E3DA-256317D18E03}"/>
          </ac:spMkLst>
        </pc:spChg>
        <pc:spChg chg="add del mod">
          <ac:chgData name="Steiner Andreas 6206 ED" userId="e6377c33-a923-4f14-8587-531c474c7b48" providerId="ADAL" clId="{6ECD27E6-B224-41CD-B4E0-E297462320DD}" dt="2023-11-24T08:32:51.086" v="12632"/>
          <ac:spMkLst>
            <pc:docMk/>
            <pc:sldMk cId="1942033937" sldId="2147478573"/>
            <ac:spMk id="93" creationId="{385CB411-29C3-3DD8-6704-E9A283DF237A}"/>
          </ac:spMkLst>
        </pc:spChg>
        <pc:spChg chg="add del mod">
          <ac:chgData name="Steiner Andreas 6206 ED" userId="e6377c33-a923-4f14-8587-531c474c7b48" providerId="ADAL" clId="{6ECD27E6-B224-41CD-B4E0-E297462320DD}" dt="2023-11-24T08:32:53.103" v="12787"/>
          <ac:spMkLst>
            <pc:docMk/>
            <pc:sldMk cId="1942033937" sldId="2147478573"/>
            <ac:spMk id="94" creationId="{B8444EFB-3BFD-9423-9F5E-782997D9A751}"/>
          </ac:spMkLst>
        </pc:spChg>
        <pc:spChg chg="add del mod">
          <ac:chgData name="Steiner Andreas 6206 ED" userId="e6377c33-a923-4f14-8587-531c474c7b48" providerId="ADAL" clId="{6ECD27E6-B224-41CD-B4E0-E297462320DD}" dt="2023-11-24T08:32:55.094" v="12942"/>
          <ac:spMkLst>
            <pc:docMk/>
            <pc:sldMk cId="1942033937" sldId="2147478573"/>
            <ac:spMk id="95" creationId="{B60360A8-EFC9-0920-9DD9-FF729793DAE0}"/>
          </ac:spMkLst>
        </pc:spChg>
        <pc:spChg chg="add del mod">
          <ac:chgData name="Steiner Andreas 6206 ED" userId="e6377c33-a923-4f14-8587-531c474c7b48" providerId="ADAL" clId="{6ECD27E6-B224-41CD-B4E0-E297462320DD}" dt="2023-11-24T08:32:57.018" v="13097"/>
          <ac:spMkLst>
            <pc:docMk/>
            <pc:sldMk cId="1942033937" sldId="2147478573"/>
            <ac:spMk id="96" creationId="{06702177-8CB1-EC97-EBD0-F762ADE39CC8}"/>
          </ac:spMkLst>
        </pc:spChg>
        <pc:spChg chg="add del mod">
          <ac:chgData name="Steiner Andreas 6206 ED" userId="e6377c33-a923-4f14-8587-531c474c7b48" providerId="ADAL" clId="{6ECD27E6-B224-41CD-B4E0-E297462320DD}" dt="2023-11-24T08:32:59.084" v="13252"/>
          <ac:spMkLst>
            <pc:docMk/>
            <pc:sldMk cId="1942033937" sldId="2147478573"/>
            <ac:spMk id="97" creationId="{E0E35655-E6B3-5295-9284-36D3B72F6114}"/>
          </ac:spMkLst>
        </pc:spChg>
        <pc:spChg chg="add del mod">
          <ac:chgData name="Steiner Andreas 6206 ED" userId="e6377c33-a923-4f14-8587-531c474c7b48" providerId="ADAL" clId="{6ECD27E6-B224-41CD-B4E0-E297462320DD}" dt="2023-11-24T08:33:01.242" v="13407"/>
          <ac:spMkLst>
            <pc:docMk/>
            <pc:sldMk cId="1942033937" sldId="2147478573"/>
            <ac:spMk id="98" creationId="{AC1768E3-285C-C446-CCE1-E7A524C6D4BD}"/>
          </ac:spMkLst>
        </pc:spChg>
        <pc:spChg chg="add del mod">
          <ac:chgData name="Steiner Andreas 6206 ED" userId="e6377c33-a923-4f14-8587-531c474c7b48" providerId="ADAL" clId="{6ECD27E6-B224-41CD-B4E0-E297462320DD}" dt="2023-11-24T08:33:03.587" v="13562"/>
          <ac:spMkLst>
            <pc:docMk/>
            <pc:sldMk cId="1942033937" sldId="2147478573"/>
            <ac:spMk id="99" creationId="{2709670D-5453-0C20-B794-564CE0F048C9}"/>
          </ac:spMkLst>
        </pc:spChg>
        <pc:spChg chg="add del mod">
          <ac:chgData name="Steiner Andreas 6206 ED" userId="e6377c33-a923-4f14-8587-531c474c7b48" providerId="ADAL" clId="{6ECD27E6-B224-41CD-B4E0-E297462320DD}" dt="2023-11-24T08:33:05.915" v="13717"/>
          <ac:spMkLst>
            <pc:docMk/>
            <pc:sldMk cId="1942033937" sldId="2147478573"/>
            <ac:spMk id="100" creationId="{5951077D-D38C-D849-905B-5E124D928839}"/>
          </ac:spMkLst>
        </pc:spChg>
        <pc:spChg chg="add del mod">
          <ac:chgData name="Steiner Andreas 6206 ED" userId="e6377c33-a923-4f14-8587-531c474c7b48" providerId="ADAL" clId="{6ECD27E6-B224-41CD-B4E0-E297462320DD}" dt="2023-11-24T08:33:08.159" v="13872"/>
          <ac:spMkLst>
            <pc:docMk/>
            <pc:sldMk cId="1942033937" sldId="2147478573"/>
            <ac:spMk id="101" creationId="{BBF4DC9F-B35B-F174-799B-24737F7C5029}"/>
          </ac:spMkLst>
        </pc:spChg>
        <pc:spChg chg="add del mod">
          <ac:chgData name="Steiner Andreas 6206 ED" userId="e6377c33-a923-4f14-8587-531c474c7b48" providerId="ADAL" clId="{6ECD27E6-B224-41CD-B4E0-E297462320DD}" dt="2023-11-24T08:33:10.577" v="14027"/>
          <ac:spMkLst>
            <pc:docMk/>
            <pc:sldMk cId="1942033937" sldId="2147478573"/>
            <ac:spMk id="102" creationId="{F0CC5097-B3C5-462E-A035-C04CA404009B}"/>
          </ac:spMkLst>
        </pc:spChg>
        <pc:spChg chg="add del mod">
          <ac:chgData name="Steiner Andreas 6206 ED" userId="e6377c33-a923-4f14-8587-531c474c7b48" providerId="ADAL" clId="{6ECD27E6-B224-41CD-B4E0-E297462320DD}" dt="2023-11-24T08:33:12.580" v="14182"/>
          <ac:spMkLst>
            <pc:docMk/>
            <pc:sldMk cId="1942033937" sldId="2147478573"/>
            <ac:spMk id="103" creationId="{07E5AB79-7323-D099-D633-0A3416AB7AF3}"/>
          </ac:spMkLst>
        </pc:spChg>
        <pc:spChg chg="add del mod">
          <ac:chgData name="Steiner Andreas 6206 ED" userId="e6377c33-a923-4f14-8587-531c474c7b48" providerId="ADAL" clId="{6ECD27E6-B224-41CD-B4E0-E297462320DD}" dt="2023-11-24T08:33:14.481" v="14337"/>
          <ac:spMkLst>
            <pc:docMk/>
            <pc:sldMk cId="1942033937" sldId="2147478573"/>
            <ac:spMk id="104" creationId="{E5430C74-9CD5-8A73-F7E0-224D31B1A8B3}"/>
          </ac:spMkLst>
        </pc:spChg>
        <pc:spChg chg="add del mod">
          <ac:chgData name="Steiner Andreas 6206 ED" userId="e6377c33-a923-4f14-8587-531c474c7b48" providerId="ADAL" clId="{6ECD27E6-B224-41CD-B4E0-E297462320DD}" dt="2023-11-24T08:33:16.470" v="14492"/>
          <ac:spMkLst>
            <pc:docMk/>
            <pc:sldMk cId="1942033937" sldId="2147478573"/>
            <ac:spMk id="105" creationId="{0711C13D-15FC-EE09-2DB7-75613F5FA436}"/>
          </ac:spMkLst>
        </pc:spChg>
        <pc:spChg chg="add del mod">
          <ac:chgData name="Steiner Andreas 6206 ED" userId="e6377c33-a923-4f14-8587-531c474c7b48" providerId="ADAL" clId="{6ECD27E6-B224-41CD-B4E0-E297462320DD}" dt="2023-11-24T08:33:18.778" v="14647"/>
          <ac:spMkLst>
            <pc:docMk/>
            <pc:sldMk cId="1942033937" sldId="2147478573"/>
            <ac:spMk id="106" creationId="{020EA6B4-F67D-86BF-A4CF-C9364FFC2377}"/>
          </ac:spMkLst>
        </pc:spChg>
        <pc:spChg chg="add del mod">
          <ac:chgData name="Steiner Andreas 6206 ED" userId="e6377c33-a923-4f14-8587-531c474c7b48" providerId="ADAL" clId="{6ECD27E6-B224-41CD-B4E0-E297462320DD}" dt="2023-11-24T08:33:21.115" v="14802"/>
          <ac:spMkLst>
            <pc:docMk/>
            <pc:sldMk cId="1942033937" sldId="2147478573"/>
            <ac:spMk id="107" creationId="{9139CE25-2403-4DB2-ADF6-8D0D1155F326}"/>
          </ac:spMkLst>
        </pc:spChg>
        <pc:spChg chg="add del mod">
          <ac:chgData name="Steiner Andreas 6206 ED" userId="e6377c33-a923-4f14-8587-531c474c7b48" providerId="ADAL" clId="{6ECD27E6-B224-41CD-B4E0-E297462320DD}" dt="2023-11-24T08:33:23.478" v="14957"/>
          <ac:spMkLst>
            <pc:docMk/>
            <pc:sldMk cId="1942033937" sldId="2147478573"/>
            <ac:spMk id="108" creationId="{DC8BCEDC-A786-7487-A7C3-40E8873E6A08}"/>
          </ac:spMkLst>
        </pc:spChg>
        <pc:spChg chg="add del mod">
          <ac:chgData name="Steiner Andreas 6206 ED" userId="e6377c33-a923-4f14-8587-531c474c7b48" providerId="ADAL" clId="{6ECD27E6-B224-41CD-B4E0-E297462320DD}" dt="2023-11-24T08:33:25.907" v="15112"/>
          <ac:spMkLst>
            <pc:docMk/>
            <pc:sldMk cId="1942033937" sldId="2147478573"/>
            <ac:spMk id="109" creationId="{3C48E28C-DFD8-AE02-6A42-141B4EA5E754}"/>
          </ac:spMkLst>
        </pc:spChg>
        <pc:spChg chg="add del mod">
          <ac:chgData name="Steiner Andreas 6206 ED" userId="e6377c33-a923-4f14-8587-531c474c7b48" providerId="ADAL" clId="{6ECD27E6-B224-41CD-B4E0-E297462320DD}" dt="2023-11-24T08:33:28.181" v="15267"/>
          <ac:spMkLst>
            <pc:docMk/>
            <pc:sldMk cId="1942033937" sldId="2147478573"/>
            <ac:spMk id="110" creationId="{B2941E3D-5A69-5974-97BD-43576C186D14}"/>
          </ac:spMkLst>
        </pc:spChg>
        <pc:spChg chg="add del mod">
          <ac:chgData name="Steiner Andreas 6206 ED" userId="e6377c33-a923-4f14-8587-531c474c7b48" providerId="ADAL" clId="{6ECD27E6-B224-41CD-B4E0-E297462320DD}" dt="2023-11-24T08:33:30.618" v="15422"/>
          <ac:spMkLst>
            <pc:docMk/>
            <pc:sldMk cId="1942033937" sldId="2147478573"/>
            <ac:spMk id="111" creationId="{C6A51704-CEFC-372D-AFF3-D3D3ED321406}"/>
          </ac:spMkLst>
        </pc:spChg>
        <pc:spChg chg="add del mod">
          <ac:chgData name="Steiner Andreas 6206 ED" userId="e6377c33-a923-4f14-8587-531c474c7b48" providerId="ADAL" clId="{6ECD27E6-B224-41CD-B4E0-E297462320DD}" dt="2023-11-24T08:33:33.435" v="15577"/>
          <ac:spMkLst>
            <pc:docMk/>
            <pc:sldMk cId="1942033937" sldId="2147478573"/>
            <ac:spMk id="112" creationId="{CF28B7B5-B6DD-72D6-F2BC-05FF796CDD7F}"/>
          </ac:spMkLst>
        </pc:spChg>
        <pc:spChg chg="add del mod">
          <ac:chgData name="Steiner Andreas 6206 ED" userId="e6377c33-a923-4f14-8587-531c474c7b48" providerId="ADAL" clId="{6ECD27E6-B224-41CD-B4E0-E297462320DD}" dt="2023-11-24T08:33:35.754" v="15732"/>
          <ac:spMkLst>
            <pc:docMk/>
            <pc:sldMk cId="1942033937" sldId="2147478573"/>
            <ac:spMk id="113" creationId="{EBAFF89A-C874-A7DE-C412-8365D8D7BAF7}"/>
          </ac:spMkLst>
        </pc:spChg>
        <pc:spChg chg="add del mod">
          <ac:chgData name="Steiner Andreas 6206 ED" userId="e6377c33-a923-4f14-8587-531c474c7b48" providerId="ADAL" clId="{6ECD27E6-B224-41CD-B4E0-E297462320DD}" dt="2023-11-24T08:33:37.881" v="15887"/>
          <ac:spMkLst>
            <pc:docMk/>
            <pc:sldMk cId="1942033937" sldId="2147478573"/>
            <ac:spMk id="114" creationId="{239AD9AD-CFD8-0701-F0DF-EFBD7C4FB93A}"/>
          </ac:spMkLst>
        </pc:spChg>
        <pc:spChg chg="add del mod">
          <ac:chgData name="Steiner Andreas 6206 ED" userId="e6377c33-a923-4f14-8587-531c474c7b48" providerId="ADAL" clId="{6ECD27E6-B224-41CD-B4E0-E297462320DD}" dt="2023-11-24T08:33:40.197" v="16042"/>
          <ac:spMkLst>
            <pc:docMk/>
            <pc:sldMk cId="1942033937" sldId="2147478573"/>
            <ac:spMk id="115" creationId="{6B84295B-22DA-573B-9B96-E2D0BBA910E5}"/>
          </ac:spMkLst>
        </pc:spChg>
        <pc:spChg chg="add del mod">
          <ac:chgData name="Steiner Andreas 6206 ED" userId="e6377c33-a923-4f14-8587-531c474c7b48" providerId="ADAL" clId="{6ECD27E6-B224-41CD-B4E0-E297462320DD}" dt="2023-11-24T08:33:42.764" v="16197"/>
          <ac:spMkLst>
            <pc:docMk/>
            <pc:sldMk cId="1942033937" sldId="2147478573"/>
            <ac:spMk id="116" creationId="{2832246B-7BA6-F272-C254-28A6F2685D02}"/>
          </ac:spMkLst>
        </pc:spChg>
        <pc:spChg chg="add del mod">
          <ac:chgData name="Steiner Andreas 6206 ED" userId="e6377c33-a923-4f14-8587-531c474c7b48" providerId="ADAL" clId="{6ECD27E6-B224-41CD-B4E0-E297462320DD}" dt="2023-11-24T08:33:45.390" v="16352"/>
          <ac:spMkLst>
            <pc:docMk/>
            <pc:sldMk cId="1942033937" sldId="2147478573"/>
            <ac:spMk id="117" creationId="{609BAE42-DF5F-F482-598D-FF3C4FE0E8DD}"/>
          </ac:spMkLst>
        </pc:spChg>
        <pc:spChg chg="add del mod">
          <ac:chgData name="Steiner Andreas 6206 ED" userId="e6377c33-a923-4f14-8587-531c474c7b48" providerId="ADAL" clId="{6ECD27E6-B224-41CD-B4E0-E297462320DD}" dt="2023-11-24T08:33:47.582" v="16507"/>
          <ac:spMkLst>
            <pc:docMk/>
            <pc:sldMk cId="1942033937" sldId="2147478573"/>
            <ac:spMk id="118" creationId="{CA5C208D-000F-C990-1D8A-92A23F1ECD39}"/>
          </ac:spMkLst>
        </pc:spChg>
        <pc:spChg chg="add del mod">
          <ac:chgData name="Steiner Andreas 6206 ED" userId="e6377c33-a923-4f14-8587-531c474c7b48" providerId="ADAL" clId="{6ECD27E6-B224-41CD-B4E0-E297462320DD}" dt="2023-11-24T08:33:50.282" v="16662"/>
          <ac:spMkLst>
            <pc:docMk/>
            <pc:sldMk cId="1942033937" sldId="2147478573"/>
            <ac:spMk id="119" creationId="{EAC2355C-F8AB-A215-8D7D-F6F6FFF2CE08}"/>
          </ac:spMkLst>
        </pc:spChg>
        <pc:spChg chg="add del mod">
          <ac:chgData name="Steiner Andreas 6206 ED" userId="e6377c33-a923-4f14-8587-531c474c7b48" providerId="ADAL" clId="{6ECD27E6-B224-41CD-B4E0-E297462320DD}" dt="2023-11-24T08:33:52.721" v="16817"/>
          <ac:spMkLst>
            <pc:docMk/>
            <pc:sldMk cId="1942033937" sldId="2147478573"/>
            <ac:spMk id="120" creationId="{4D4381F4-C5D9-AD34-1F2C-646961C773A0}"/>
          </ac:spMkLst>
        </pc:spChg>
        <pc:spChg chg="add del mod">
          <ac:chgData name="Steiner Andreas 6206 ED" userId="e6377c33-a923-4f14-8587-531c474c7b48" providerId="ADAL" clId="{6ECD27E6-B224-41CD-B4E0-E297462320DD}" dt="2023-11-24T08:33:54.879" v="16972"/>
          <ac:spMkLst>
            <pc:docMk/>
            <pc:sldMk cId="1942033937" sldId="2147478573"/>
            <ac:spMk id="121" creationId="{D26252B8-3EE3-25D0-2282-4DDCD640BB96}"/>
          </ac:spMkLst>
        </pc:spChg>
        <pc:spChg chg="add del mod">
          <ac:chgData name="Steiner Andreas 6206 ED" userId="e6377c33-a923-4f14-8587-531c474c7b48" providerId="ADAL" clId="{6ECD27E6-B224-41CD-B4E0-E297462320DD}" dt="2023-11-24T08:33:57.240" v="17127"/>
          <ac:spMkLst>
            <pc:docMk/>
            <pc:sldMk cId="1942033937" sldId="2147478573"/>
            <ac:spMk id="122" creationId="{8FDF78E3-1829-7CB7-B0A8-CF527F6B2E43}"/>
          </ac:spMkLst>
        </pc:spChg>
        <pc:spChg chg="add del mod">
          <ac:chgData name="Steiner Andreas 6206 ED" userId="e6377c33-a923-4f14-8587-531c474c7b48" providerId="ADAL" clId="{6ECD27E6-B224-41CD-B4E0-E297462320DD}" dt="2023-11-24T08:33:59.686" v="17282"/>
          <ac:spMkLst>
            <pc:docMk/>
            <pc:sldMk cId="1942033937" sldId="2147478573"/>
            <ac:spMk id="123" creationId="{767E2DA6-EE72-6437-3B6C-3DE16AF0C69F}"/>
          </ac:spMkLst>
        </pc:spChg>
        <pc:spChg chg="add del mod">
          <ac:chgData name="Steiner Andreas 6206 ED" userId="e6377c33-a923-4f14-8587-531c474c7b48" providerId="ADAL" clId="{6ECD27E6-B224-41CD-B4E0-E297462320DD}" dt="2023-11-24T08:34:01.661" v="17437"/>
          <ac:spMkLst>
            <pc:docMk/>
            <pc:sldMk cId="1942033937" sldId="2147478573"/>
            <ac:spMk id="124" creationId="{C64258C9-6EA7-4F8F-53D0-AE4178C19B53}"/>
          </ac:spMkLst>
        </pc:spChg>
        <pc:spChg chg="add del mod">
          <ac:chgData name="Steiner Andreas 6206 ED" userId="e6377c33-a923-4f14-8587-531c474c7b48" providerId="ADAL" clId="{6ECD27E6-B224-41CD-B4E0-E297462320DD}" dt="2023-11-24T08:34:04.062" v="17592"/>
          <ac:spMkLst>
            <pc:docMk/>
            <pc:sldMk cId="1942033937" sldId="2147478573"/>
            <ac:spMk id="125" creationId="{8A5356B2-99BC-CCBD-9DEA-A6086D61EC46}"/>
          </ac:spMkLst>
        </pc:spChg>
        <pc:spChg chg="add del mod">
          <ac:chgData name="Steiner Andreas 6206 ED" userId="e6377c33-a923-4f14-8587-531c474c7b48" providerId="ADAL" clId="{6ECD27E6-B224-41CD-B4E0-E297462320DD}" dt="2023-11-24T08:34:05.945" v="17747"/>
          <ac:spMkLst>
            <pc:docMk/>
            <pc:sldMk cId="1942033937" sldId="2147478573"/>
            <ac:spMk id="126" creationId="{691928C1-C11F-B988-301E-61AE4F3EC977}"/>
          </ac:spMkLst>
        </pc:spChg>
        <pc:spChg chg="add del mod">
          <ac:chgData name="Steiner Andreas 6206 ED" userId="e6377c33-a923-4f14-8587-531c474c7b48" providerId="ADAL" clId="{6ECD27E6-B224-41CD-B4E0-E297462320DD}" dt="2023-11-24T08:34:08.050" v="17902"/>
          <ac:spMkLst>
            <pc:docMk/>
            <pc:sldMk cId="1942033937" sldId="2147478573"/>
            <ac:spMk id="127" creationId="{2A85A95D-6A7D-1E6E-2E83-BA31D5ED1F93}"/>
          </ac:spMkLst>
        </pc:spChg>
        <pc:spChg chg="add del mod">
          <ac:chgData name="Steiner Andreas 6206 ED" userId="e6377c33-a923-4f14-8587-531c474c7b48" providerId="ADAL" clId="{6ECD27E6-B224-41CD-B4E0-E297462320DD}" dt="2023-11-24T08:34:09.997" v="18057"/>
          <ac:spMkLst>
            <pc:docMk/>
            <pc:sldMk cId="1942033937" sldId="2147478573"/>
            <ac:spMk id="128" creationId="{FF4E25B7-7940-E00A-3B30-2842448071A6}"/>
          </ac:spMkLst>
        </pc:spChg>
        <pc:spChg chg="add del mod">
          <ac:chgData name="Steiner Andreas 6206 ED" userId="e6377c33-a923-4f14-8587-531c474c7b48" providerId="ADAL" clId="{6ECD27E6-B224-41CD-B4E0-E297462320DD}" dt="2023-11-24T08:34:12.076" v="18212"/>
          <ac:spMkLst>
            <pc:docMk/>
            <pc:sldMk cId="1942033937" sldId="2147478573"/>
            <ac:spMk id="129" creationId="{B8A009FF-CA1B-D970-0A1A-7F6B5B2F7DC0}"/>
          </ac:spMkLst>
        </pc:spChg>
        <pc:spChg chg="add del mod">
          <ac:chgData name="Steiner Andreas 6206 ED" userId="e6377c33-a923-4f14-8587-531c474c7b48" providerId="ADAL" clId="{6ECD27E6-B224-41CD-B4E0-E297462320DD}" dt="2023-11-24T08:34:14.334" v="18367"/>
          <ac:spMkLst>
            <pc:docMk/>
            <pc:sldMk cId="1942033937" sldId="2147478573"/>
            <ac:spMk id="130" creationId="{E3FBCD13-4B3D-BE69-7B76-8F0B37F792A3}"/>
          </ac:spMkLst>
        </pc:spChg>
        <pc:spChg chg="add del mod">
          <ac:chgData name="Steiner Andreas 6206 ED" userId="e6377c33-a923-4f14-8587-531c474c7b48" providerId="ADAL" clId="{6ECD27E6-B224-41CD-B4E0-E297462320DD}" dt="2023-11-24T08:34:16.454" v="18522"/>
          <ac:spMkLst>
            <pc:docMk/>
            <pc:sldMk cId="1942033937" sldId="2147478573"/>
            <ac:spMk id="131" creationId="{44EE622A-C480-50C9-9134-3E7DEEF46FA3}"/>
          </ac:spMkLst>
        </pc:spChg>
        <pc:spChg chg="add del mod">
          <ac:chgData name="Steiner Andreas 6206 ED" userId="e6377c33-a923-4f14-8587-531c474c7b48" providerId="ADAL" clId="{6ECD27E6-B224-41CD-B4E0-E297462320DD}" dt="2023-11-24T08:34:18.634" v="18677"/>
          <ac:spMkLst>
            <pc:docMk/>
            <pc:sldMk cId="1942033937" sldId="2147478573"/>
            <ac:spMk id="132" creationId="{C9326A21-7CB5-2323-FE99-B5E0D9DF969A}"/>
          </ac:spMkLst>
        </pc:spChg>
        <pc:spChg chg="add del mod">
          <ac:chgData name="Steiner Andreas 6206 ED" userId="e6377c33-a923-4f14-8587-531c474c7b48" providerId="ADAL" clId="{6ECD27E6-B224-41CD-B4E0-E297462320DD}" dt="2023-11-24T08:34:20.747" v="18832"/>
          <ac:spMkLst>
            <pc:docMk/>
            <pc:sldMk cId="1942033937" sldId="2147478573"/>
            <ac:spMk id="133" creationId="{DE23309F-435A-DED2-DB05-E8A03FB3BBC5}"/>
          </ac:spMkLst>
        </pc:spChg>
        <pc:spChg chg="add del mod">
          <ac:chgData name="Steiner Andreas 6206 ED" userId="e6377c33-a923-4f14-8587-531c474c7b48" providerId="ADAL" clId="{6ECD27E6-B224-41CD-B4E0-E297462320DD}" dt="2023-11-24T08:34:22.857" v="18987"/>
          <ac:spMkLst>
            <pc:docMk/>
            <pc:sldMk cId="1942033937" sldId="2147478573"/>
            <ac:spMk id="134" creationId="{343FE2DA-F183-EDA2-491E-29C839769E40}"/>
          </ac:spMkLst>
        </pc:spChg>
        <pc:spChg chg="add del mod">
          <ac:chgData name="Steiner Andreas 6206 ED" userId="e6377c33-a923-4f14-8587-531c474c7b48" providerId="ADAL" clId="{6ECD27E6-B224-41CD-B4E0-E297462320DD}" dt="2023-11-24T08:34:26.133" v="19142"/>
          <ac:spMkLst>
            <pc:docMk/>
            <pc:sldMk cId="1942033937" sldId="2147478573"/>
            <ac:spMk id="135" creationId="{B363A26B-AC0E-F4DF-D50E-3ED86D4C91DD}"/>
          </ac:spMkLst>
        </pc:spChg>
        <pc:spChg chg="add del mod">
          <ac:chgData name="Steiner Andreas 6206 ED" userId="e6377c33-a923-4f14-8587-531c474c7b48" providerId="ADAL" clId="{6ECD27E6-B224-41CD-B4E0-E297462320DD}" dt="2023-11-24T08:34:28.786" v="19297"/>
          <ac:spMkLst>
            <pc:docMk/>
            <pc:sldMk cId="1942033937" sldId="2147478573"/>
            <ac:spMk id="136" creationId="{F362DEFB-9AC5-7887-499F-8CBF507CBC35}"/>
          </ac:spMkLst>
        </pc:spChg>
        <pc:spChg chg="add del mod">
          <ac:chgData name="Steiner Andreas 6206 ED" userId="e6377c33-a923-4f14-8587-531c474c7b48" providerId="ADAL" clId="{6ECD27E6-B224-41CD-B4E0-E297462320DD}" dt="2023-11-24T08:34:31.418" v="19452"/>
          <ac:spMkLst>
            <pc:docMk/>
            <pc:sldMk cId="1942033937" sldId="2147478573"/>
            <ac:spMk id="137" creationId="{0ED497E0-4A6D-BF50-28D4-3A5FC0D30E76}"/>
          </ac:spMkLst>
        </pc:spChg>
        <pc:spChg chg="add del mod">
          <ac:chgData name="Steiner Andreas 6206 ED" userId="e6377c33-a923-4f14-8587-531c474c7b48" providerId="ADAL" clId="{6ECD27E6-B224-41CD-B4E0-E297462320DD}" dt="2023-11-24T08:34:33.596" v="19607"/>
          <ac:spMkLst>
            <pc:docMk/>
            <pc:sldMk cId="1942033937" sldId="2147478573"/>
            <ac:spMk id="138" creationId="{22B27E65-6081-16EA-E602-DF11953D53CB}"/>
          </ac:spMkLst>
        </pc:spChg>
        <pc:spChg chg="add del mod">
          <ac:chgData name="Steiner Andreas 6206 ED" userId="e6377c33-a923-4f14-8587-531c474c7b48" providerId="ADAL" clId="{6ECD27E6-B224-41CD-B4E0-E297462320DD}" dt="2023-11-24T08:34:35.846" v="19762"/>
          <ac:spMkLst>
            <pc:docMk/>
            <pc:sldMk cId="1942033937" sldId="2147478573"/>
            <ac:spMk id="139" creationId="{40326E69-E572-71F2-7B06-EAD5CAEE88EA}"/>
          </ac:spMkLst>
        </pc:spChg>
        <pc:spChg chg="add del mod">
          <ac:chgData name="Steiner Andreas 6206 ED" userId="e6377c33-a923-4f14-8587-531c474c7b48" providerId="ADAL" clId="{6ECD27E6-B224-41CD-B4E0-E297462320DD}" dt="2023-11-24T08:34:38.118" v="19917"/>
          <ac:spMkLst>
            <pc:docMk/>
            <pc:sldMk cId="1942033937" sldId="2147478573"/>
            <ac:spMk id="140" creationId="{95CDD9E8-321C-413D-BFA5-D727F9D19607}"/>
          </ac:spMkLst>
        </pc:spChg>
        <pc:spChg chg="add del mod">
          <ac:chgData name="Steiner Andreas 6206 ED" userId="e6377c33-a923-4f14-8587-531c474c7b48" providerId="ADAL" clId="{6ECD27E6-B224-41CD-B4E0-E297462320DD}" dt="2023-11-24T08:34:40.385" v="20072"/>
          <ac:spMkLst>
            <pc:docMk/>
            <pc:sldMk cId="1942033937" sldId="2147478573"/>
            <ac:spMk id="141" creationId="{ED0E4627-E3B4-1EAC-0A00-3FD5F0753E0C}"/>
          </ac:spMkLst>
        </pc:spChg>
        <pc:spChg chg="add del mod">
          <ac:chgData name="Steiner Andreas 6206 ED" userId="e6377c33-a923-4f14-8587-531c474c7b48" providerId="ADAL" clId="{6ECD27E6-B224-41CD-B4E0-E297462320DD}" dt="2023-11-24T08:34:43.163" v="20227"/>
          <ac:spMkLst>
            <pc:docMk/>
            <pc:sldMk cId="1942033937" sldId="2147478573"/>
            <ac:spMk id="142" creationId="{3B8FE9C9-D382-519F-8C66-25AA54ACFC09}"/>
          </ac:spMkLst>
        </pc:spChg>
        <pc:spChg chg="add del mod">
          <ac:chgData name="Steiner Andreas 6206 ED" userId="e6377c33-a923-4f14-8587-531c474c7b48" providerId="ADAL" clId="{6ECD27E6-B224-41CD-B4E0-E297462320DD}" dt="2023-11-24T08:34:45.461" v="20382"/>
          <ac:spMkLst>
            <pc:docMk/>
            <pc:sldMk cId="1942033937" sldId="2147478573"/>
            <ac:spMk id="143" creationId="{BC420973-C0AA-171C-110F-6F2C8EF4D3F1}"/>
          </ac:spMkLst>
        </pc:spChg>
        <pc:spChg chg="add del mod">
          <ac:chgData name="Steiner Andreas 6206 ED" userId="e6377c33-a923-4f14-8587-531c474c7b48" providerId="ADAL" clId="{6ECD27E6-B224-41CD-B4E0-E297462320DD}" dt="2023-11-24T08:34:47.742" v="20537"/>
          <ac:spMkLst>
            <pc:docMk/>
            <pc:sldMk cId="1942033937" sldId="2147478573"/>
            <ac:spMk id="144" creationId="{AE0F04CD-919F-B1C1-F451-B54179E72A7F}"/>
          </ac:spMkLst>
        </pc:spChg>
        <pc:spChg chg="add del mod">
          <ac:chgData name="Steiner Andreas 6206 ED" userId="e6377c33-a923-4f14-8587-531c474c7b48" providerId="ADAL" clId="{6ECD27E6-B224-41CD-B4E0-E297462320DD}" dt="2023-11-24T08:34:50.115" v="20692"/>
          <ac:spMkLst>
            <pc:docMk/>
            <pc:sldMk cId="1942033937" sldId="2147478573"/>
            <ac:spMk id="145" creationId="{72AD34FF-3305-66D9-AE14-F1CCA2F16148}"/>
          </ac:spMkLst>
        </pc:spChg>
        <pc:spChg chg="add del mod">
          <ac:chgData name="Steiner Andreas 6206 ED" userId="e6377c33-a923-4f14-8587-531c474c7b48" providerId="ADAL" clId="{6ECD27E6-B224-41CD-B4E0-E297462320DD}" dt="2023-11-24T08:34:52.677" v="20847"/>
          <ac:spMkLst>
            <pc:docMk/>
            <pc:sldMk cId="1942033937" sldId="2147478573"/>
            <ac:spMk id="146" creationId="{1D5A2689-5C29-F1BB-6C25-25DF6EBFDE28}"/>
          </ac:spMkLst>
        </pc:spChg>
        <pc:spChg chg="add del mod">
          <ac:chgData name="Steiner Andreas 6206 ED" userId="e6377c33-a923-4f14-8587-531c474c7b48" providerId="ADAL" clId="{6ECD27E6-B224-41CD-B4E0-E297462320DD}" dt="2023-11-24T08:34:55.194" v="21002"/>
          <ac:spMkLst>
            <pc:docMk/>
            <pc:sldMk cId="1942033937" sldId="2147478573"/>
            <ac:spMk id="147" creationId="{4D6E3167-7988-6A56-74AB-0C6BDB280366}"/>
          </ac:spMkLst>
        </pc:spChg>
        <pc:spChg chg="add del mod">
          <ac:chgData name="Steiner Andreas 6206 ED" userId="e6377c33-a923-4f14-8587-531c474c7b48" providerId="ADAL" clId="{6ECD27E6-B224-41CD-B4E0-E297462320DD}" dt="2023-11-24T08:34:57.475" v="21157"/>
          <ac:spMkLst>
            <pc:docMk/>
            <pc:sldMk cId="1942033937" sldId="2147478573"/>
            <ac:spMk id="148" creationId="{19F65687-573B-8023-BF67-F8B3CA73EDB2}"/>
          </ac:spMkLst>
        </pc:spChg>
        <pc:spChg chg="add del mod">
          <ac:chgData name="Steiner Andreas 6206 ED" userId="e6377c33-a923-4f14-8587-531c474c7b48" providerId="ADAL" clId="{6ECD27E6-B224-41CD-B4E0-E297462320DD}" dt="2023-11-24T08:35:00.014" v="21312"/>
          <ac:spMkLst>
            <pc:docMk/>
            <pc:sldMk cId="1942033937" sldId="2147478573"/>
            <ac:spMk id="149" creationId="{6CC9A3BC-9462-81E1-826A-E3E8E71E6950}"/>
          </ac:spMkLst>
        </pc:spChg>
        <pc:spChg chg="add del mod">
          <ac:chgData name="Steiner Andreas 6206 ED" userId="e6377c33-a923-4f14-8587-531c474c7b48" providerId="ADAL" clId="{6ECD27E6-B224-41CD-B4E0-E297462320DD}" dt="2023-11-24T08:35:02.690" v="21467"/>
          <ac:spMkLst>
            <pc:docMk/>
            <pc:sldMk cId="1942033937" sldId="2147478573"/>
            <ac:spMk id="150" creationId="{38F1A048-73B1-EFDA-EE67-CA04BBAEBC6C}"/>
          </ac:spMkLst>
        </pc:spChg>
        <pc:spChg chg="add del mod">
          <ac:chgData name="Steiner Andreas 6206 ED" userId="e6377c33-a923-4f14-8587-531c474c7b48" providerId="ADAL" clId="{6ECD27E6-B224-41CD-B4E0-E297462320DD}" dt="2023-11-24T08:35:05.179" v="21622"/>
          <ac:spMkLst>
            <pc:docMk/>
            <pc:sldMk cId="1942033937" sldId="2147478573"/>
            <ac:spMk id="151" creationId="{9CA9FF2B-AACE-01E0-7028-62B0B12CF3B7}"/>
          </ac:spMkLst>
        </pc:spChg>
        <pc:spChg chg="add del mod">
          <ac:chgData name="Steiner Andreas 6206 ED" userId="e6377c33-a923-4f14-8587-531c474c7b48" providerId="ADAL" clId="{6ECD27E6-B224-41CD-B4E0-E297462320DD}" dt="2023-11-24T08:35:07.651" v="21777"/>
          <ac:spMkLst>
            <pc:docMk/>
            <pc:sldMk cId="1942033937" sldId="2147478573"/>
            <ac:spMk id="152" creationId="{24540CAE-DF2C-4004-33F4-94BF50041CE7}"/>
          </ac:spMkLst>
        </pc:spChg>
        <pc:spChg chg="add del mod">
          <ac:chgData name="Steiner Andreas 6206 ED" userId="e6377c33-a923-4f14-8587-531c474c7b48" providerId="ADAL" clId="{6ECD27E6-B224-41CD-B4E0-E297462320DD}" dt="2023-11-24T08:35:10.198" v="21932"/>
          <ac:spMkLst>
            <pc:docMk/>
            <pc:sldMk cId="1942033937" sldId="2147478573"/>
            <ac:spMk id="153" creationId="{1C7B0CF8-B106-37C2-5BAD-AABE480F6673}"/>
          </ac:spMkLst>
        </pc:spChg>
        <pc:spChg chg="add del mod">
          <ac:chgData name="Steiner Andreas 6206 ED" userId="e6377c33-a923-4f14-8587-531c474c7b48" providerId="ADAL" clId="{6ECD27E6-B224-41CD-B4E0-E297462320DD}" dt="2023-11-24T08:35:12.636" v="22087"/>
          <ac:spMkLst>
            <pc:docMk/>
            <pc:sldMk cId="1942033937" sldId="2147478573"/>
            <ac:spMk id="154" creationId="{2465FA13-D0FA-47AB-C1A3-4581E1D6F52E}"/>
          </ac:spMkLst>
        </pc:spChg>
        <pc:spChg chg="add del mod">
          <ac:chgData name="Steiner Andreas 6206 ED" userId="e6377c33-a923-4f14-8587-531c474c7b48" providerId="ADAL" clId="{6ECD27E6-B224-41CD-B4E0-E297462320DD}" dt="2023-11-24T08:35:14.728" v="22242"/>
          <ac:spMkLst>
            <pc:docMk/>
            <pc:sldMk cId="1942033937" sldId="2147478573"/>
            <ac:spMk id="155" creationId="{D2738FC2-ABA1-F366-772F-9A3FB175A5FA}"/>
          </ac:spMkLst>
        </pc:spChg>
        <pc:spChg chg="add del mod">
          <ac:chgData name="Steiner Andreas 6206 ED" userId="e6377c33-a923-4f14-8587-531c474c7b48" providerId="ADAL" clId="{6ECD27E6-B224-41CD-B4E0-E297462320DD}" dt="2023-11-24T08:35:17.102" v="22397"/>
          <ac:spMkLst>
            <pc:docMk/>
            <pc:sldMk cId="1942033937" sldId="2147478573"/>
            <ac:spMk id="156" creationId="{66DA7103-27B5-5596-E125-35C6B2EC9631}"/>
          </ac:spMkLst>
        </pc:spChg>
        <pc:spChg chg="add del mod">
          <ac:chgData name="Steiner Andreas 6206 ED" userId="e6377c33-a923-4f14-8587-531c474c7b48" providerId="ADAL" clId="{6ECD27E6-B224-41CD-B4E0-E297462320DD}" dt="2023-11-24T08:35:19.528" v="22552"/>
          <ac:spMkLst>
            <pc:docMk/>
            <pc:sldMk cId="1942033937" sldId="2147478573"/>
            <ac:spMk id="157" creationId="{978C5E3B-44F7-B570-4FD6-44A01688C247}"/>
          </ac:spMkLst>
        </pc:spChg>
        <pc:spChg chg="add del mod">
          <ac:chgData name="Steiner Andreas 6206 ED" userId="e6377c33-a923-4f14-8587-531c474c7b48" providerId="ADAL" clId="{6ECD27E6-B224-41CD-B4E0-E297462320DD}" dt="2023-11-24T08:35:21.975" v="22707"/>
          <ac:spMkLst>
            <pc:docMk/>
            <pc:sldMk cId="1942033937" sldId="2147478573"/>
            <ac:spMk id="158" creationId="{C4D777B8-8811-411D-9A70-C30FE7DDE17D}"/>
          </ac:spMkLst>
        </pc:spChg>
        <pc:spChg chg="add del mod">
          <ac:chgData name="Steiner Andreas 6206 ED" userId="e6377c33-a923-4f14-8587-531c474c7b48" providerId="ADAL" clId="{6ECD27E6-B224-41CD-B4E0-E297462320DD}" dt="2023-11-24T08:35:24.291" v="22862"/>
          <ac:spMkLst>
            <pc:docMk/>
            <pc:sldMk cId="1942033937" sldId="2147478573"/>
            <ac:spMk id="159" creationId="{D4D3485E-A59F-629A-8C87-6870DBF337D8}"/>
          </ac:spMkLst>
        </pc:spChg>
        <pc:spChg chg="add del mod">
          <ac:chgData name="Steiner Andreas 6206 ED" userId="e6377c33-a923-4f14-8587-531c474c7b48" providerId="ADAL" clId="{6ECD27E6-B224-41CD-B4E0-E297462320DD}" dt="2023-11-24T08:35:26.932" v="23017"/>
          <ac:spMkLst>
            <pc:docMk/>
            <pc:sldMk cId="1942033937" sldId="2147478573"/>
            <ac:spMk id="160" creationId="{AC3C3C5A-2E44-DB63-8E9A-0D5C3CB75C91}"/>
          </ac:spMkLst>
        </pc:spChg>
        <pc:spChg chg="add del mod">
          <ac:chgData name="Steiner Andreas 6206 ED" userId="e6377c33-a923-4f14-8587-531c474c7b48" providerId="ADAL" clId="{6ECD27E6-B224-41CD-B4E0-E297462320DD}" dt="2023-11-24T08:35:29.652" v="23172"/>
          <ac:spMkLst>
            <pc:docMk/>
            <pc:sldMk cId="1942033937" sldId="2147478573"/>
            <ac:spMk id="161" creationId="{C9029D47-E3DE-28F7-F351-157CD30A7388}"/>
          </ac:spMkLst>
        </pc:spChg>
        <pc:spChg chg="add del mod">
          <ac:chgData name="Steiner Andreas 6206 ED" userId="e6377c33-a923-4f14-8587-531c474c7b48" providerId="ADAL" clId="{6ECD27E6-B224-41CD-B4E0-E297462320DD}" dt="2023-11-24T08:35:32.018" v="23327"/>
          <ac:spMkLst>
            <pc:docMk/>
            <pc:sldMk cId="1942033937" sldId="2147478573"/>
            <ac:spMk id="162" creationId="{D3F796BA-D0C6-5F63-F671-D0481BEDC947}"/>
          </ac:spMkLst>
        </pc:spChg>
        <pc:spChg chg="add del mod">
          <ac:chgData name="Steiner Andreas 6206 ED" userId="e6377c33-a923-4f14-8587-531c474c7b48" providerId="ADAL" clId="{6ECD27E6-B224-41CD-B4E0-E297462320DD}" dt="2023-11-24T08:35:34.410" v="23482"/>
          <ac:spMkLst>
            <pc:docMk/>
            <pc:sldMk cId="1942033937" sldId="2147478573"/>
            <ac:spMk id="163" creationId="{847B5E15-187E-7406-1D1C-C588D34898C0}"/>
          </ac:spMkLst>
        </pc:spChg>
        <pc:spChg chg="add del mod">
          <ac:chgData name="Steiner Andreas 6206 ED" userId="e6377c33-a923-4f14-8587-531c474c7b48" providerId="ADAL" clId="{6ECD27E6-B224-41CD-B4E0-E297462320DD}" dt="2023-11-24T08:35:36.728" v="23637"/>
          <ac:spMkLst>
            <pc:docMk/>
            <pc:sldMk cId="1942033937" sldId="2147478573"/>
            <ac:spMk id="164" creationId="{D6DB11E9-1DEA-2F93-25EF-2F413184D8FC}"/>
          </ac:spMkLst>
        </pc:spChg>
        <pc:spChg chg="add del mod">
          <ac:chgData name="Steiner Andreas 6206 ED" userId="e6377c33-a923-4f14-8587-531c474c7b48" providerId="ADAL" clId="{6ECD27E6-B224-41CD-B4E0-E297462320DD}" dt="2023-11-24T08:35:39.135" v="23792"/>
          <ac:spMkLst>
            <pc:docMk/>
            <pc:sldMk cId="1942033937" sldId="2147478573"/>
            <ac:spMk id="165" creationId="{0AB9AE31-52FB-88D0-AEAA-28009DE1CB8C}"/>
          </ac:spMkLst>
        </pc:spChg>
        <pc:spChg chg="add del mod">
          <ac:chgData name="Steiner Andreas 6206 ED" userId="e6377c33-a923-4f14-8587-531c474c7b48" providerId="ADAL" clId="{6ECD27E6-B224-41CD-B4E0-E297462320DD}" dt="2023-11-24T08:35:41.821" v="23947"/>
          <ac:spMkLst>
            <pc:docMk/>
            <pc:sldMk cId="1942033937" sldId="2147478573"/>
            <ac:spMk id="166" creationId="{1FCEF0A7-BD86-3B13-A294-F77146171592}"/>
          </ac:spMkLst>
        </pc:spChg>
        <pc:spChg chg="add del mod">
          <ac:chgData name="Steiner Andreas 6206 ED" userId="e6377c33-a923-4f14-8587-531c474c7b48" providerId="ADAL" clId="{6ECD27E6-B224-41CD-B4E0-E297462320DD}" dt="2023-11-24T08:35:44.263" v="24102"/>
          <ac:spMkLst>
            <pc:docMk/>
            <pc:sldMk cId="1942033937" sldId="2147478573"/>
            <ac:spMk id="167" creationId="{8BBFE7C0-1D5D-CFC3-04F3-6C2D6BEE82B7}"/>
          </ac:spMkLst>
        </pc:spChg>
        <pc:spChg chg="add del mod">
          <ac:chgData name="Steiner Andreas 6206 ED" userId="e6377c33-a923-4f14-8587-531c474c7b48" providerId="ADAL" clId="{6ECD27E6-B224-41CD-B4E0-E297462320DD}" dt="2023-11-24T08:35:46.554" v="24257"/>
          <ac:spMkLst>
            <pc:docMk/>
            <pc:sldMk cId="1942033937" sldId="2147478573"/>
            <ac:spMk id="168" creationId="{157F2D68-9C8C-B606-5855-D8078D076D42}"/>
          </ac:spMkLst>
        </pc:spChg>
        <pc:spChg chg="add del mod">
          <ac:chgData name="Steiner Andreas 6206 ED" userId="e6377c33-a923-4f14-8587-531c474c7b48" providerId="ADAL" clId="{6ECD27E6-B224-41CD-B4E0-E297462320DD}" dt="2023-11-24T08:35:48.780" v="24412"/>
          <ac:spMkLst>
            <pc:docMk/>
            <pc:sldMk cId="1942033937" sldId="2147478573"/>
            <ac:spMk id="169" creationId="{3AC08B9E-4AAF-6038-0214-BF30DD5C1D0D}"/>
          </ac:spMkLst>
        </pc:spChg>
        <pc:spChg chg="add del mod">
          <ac:chgData name="Steiner Andreas 6206 ED" userId="e6377c33-a923-4f14-8587-531c474c7b48" providerId="ADAL" clId="{6ECD27E6-B224-41CD-B4E0-E297462320DD}" dt="2023-11-24T08:35:51.084" v="24567"/>
          <ac:spMkLst>
            <pc:docMk/>
            <pc:sldMk cId="1942033937" sldId="2147478573"/>
            <ac:spMk id="170" creationId="{C7EB2E35-7F67-92BA-8DD7-C6D1D2FC33C5}"/>
          </ac:spMkLst>
        </pc:spChg>
        <pc:spChg chg="add del mod">
          <ac:chgData name="Steiner Andreas 6206 ED" userId="e6377c33-a923-4f14-8587-531c474c7b48" providerId="ADAL" clId="{6ECD27E6-B224-41CD-B4E0-E297462320DD}" dt="2023-11-24T08:35:53.958" v="24722"/>
          <ac:spMkLst>
            <pc:docMk/>
            <pc:sldMk cId="1942033937" sldId="2147478573"/>
            <ac:spMk id="171" creationId="{AD2B8713-340A-4803-28F3-A0DA2F30CD4A}"/>
          </ac:spMkLst>
        </pc:spChg>
        <pc:spChg chg="add del mod">
          <ac:chgData name="Steiner Andreas 6206 ED" userId="e6377c33-a923-4f14-8587-531c474c7b48" providerId="ADAL" clId="{6ECD27E6-B224-41CD-B4E0-E297462320DD}" dt="2023-11-24T08:35:56.470" v="24877"/>
          <ac:spMkLst>
            <pc:docMk/>
            <pc:sldMk cId="1942033937" sldId="2147478573"/>
            <ac:spMk id="172" creationId="{7CE54C8C-4B0B-4B26-EDA0-21B018242681}"/>
          </ac:spMkLst>
        </pc:spChg>
        <pc:spChg chg="add del mod">
          <ac:chgData name="Steiner Andreas 6206 ED" userId="e6377c33-a923-4f14-8587-531c474c7b48" providerId="ADAL" clId="{6ECD27E6-B224-41CD-B4E0-E297462320DD}" dt="2023-11-24T08:35:59.008" v="25032"/>
          <ac:spMkLst>
            <pc:docMk/>
            <pc:sldMk cId="1942033937" sldId="2147478573"/>
            <ac:spMk id="173" creationId="{802C47B1-A698-C9A4-383D-9BA1B3EE54CC}"/>
          </ac:spMkLst>
        </pc:spChg>
        <pc:spChg chg="add del mod">
          <ac:chgData name="Steiner Andreas 6206 ED" userId="e6377c33-a923-4f14-8587-531c474c7b48" providerId="ADAL" clId="{6ECD27E6-B224-41CD-B4E0-E297462320DD}" dt="2023-11-24T08:36:01.464" v="25187"/>
          <ac:spMkLst>
            <pc:docMk/>
            <pc:sldMk cId="1942033937" sldId="2147478573"/>
            <ac:spMk id="174" creationId="{B117F18A-C3A1-94B2-05E3-1D66F6399807}"/>
          </ac:spMkLst>
        </pc:spChg>
        <pc:spChg chg="add del mod">
          <ac:chgData name="Steiner Andreas 6206 ED" userId="e6377c33-a923-4f14-8587-531c474c7b48" providerId="ADAL" clId="{6ECD27E6-B224-41CD-B4E0-E297462320DD}" dt="2023-11-24T08:36:04.067" v="25342"/>
          <ac:spMkLst>
            <pc:docMk/>
            <pc:sldMk cId="1942033937" sldId="2147478573"/>
            <ac:spMk id="175" creationId="{9077B4D5-C1F2-B6DD-802A-8D0312CC1B45}"/>
          </ac:spMkLst>
        </pc:spChg>
        <pc:spChg chg="add del mod">
          <ac:chgData name="Steiner Andreas 6206 ED" userId="e6377c33-a923-4f14-8587-531c474c7b48" providerId="ADAL" clId="{6ECD27E6-B224-41CD-B4E0-E297462320DD}" dt="2023-11-24T08:36:06.606" v="25497"/>
          <ac:spMkLst>
            <pc:docMk/>
            <pc:sldMk cId="1942033937" sldId="2147478573"/>
            <ac:spMk id="176" creationId="{80EF064E-9F2A-D28D-8105-B58E2F10D49C}"/>
          </ac:spMkLst>
        </pc:spChg>
        <pc:spChg chg="add del mod">
          <ac:chgData name="Steiner Andreas 6206 ED" userId="e6377c33-a923-4f14-8587-531c474c7b48" providerId="ADAL" clId="{6ECD27E6-B224-41CD-B4E0-E297462320DD}" dt="2023-11-24T08:36:09.130" v="25652"/>
          <ac:spMkLst>
            <pc:docMk/>
            <pc:sldMk cId="1942033937" sldId="2147478573"/>
            <ac:spMk id="177" creationId="{E7C3EC82-8581-4EF5-8278-57193CFBA683}"/>
          </ac:spMkLst>
        </pc:spChg>
        <pc:spChg chg="add del mod">
          <ac:chgData name="Steiner Andreas 6206 ED" userId="e6377c33-a923-4f14-8587-531c474c7b48" providerId="ADAL" clId="{6ECD27E6-B224-41CD-B4E0-E297462320DD}" dt="2023-11-24T08:36:11.667" v="25807"/>
          <ac:spMkLst>
            <pc:docMk/>
            <pc:sldMk cId="1942033937" sldId="2147478573"/>
            <ac:spMk id="178" creationId="{B14F6193-AA6E-CC69-8BF7-B79CD717E08C}"/>
          </ac:spMkLst>
        </pc:spChg>
        <pc:spChg chg="add del mod">
          <ac:chgData name="Steiner Andreas 6206 ED" userId="e6377c33-a923-4f14-8587-531c474c7b48" providerId="ADAL" clId="{6ECD27E6-B224-41CD-B4E0-E297462320DD}" dt="2023-11-24T08:36:14.055" v="25962"/>
          <ac:spMkLst>
            <pc:docMk/>
            <pc:sldMk cId="1942033937" sldId="2147478573"/>
            <ac:spMk id="179" creationId="{FAB0F63B-4865-4E35-DEE4-9FEB1AB0B5B9}"/>
          </ac:spMkLst>
        </pc:spChg>
        <pc:spChg chg="add del mod">
          <ac:chgData name="Steiner Andreas 6206 ED" userId="e6377c33-a923-4f14-8587-531c474c7b48" providerId="ADAL" clId="{6ECD27E6-B224-41CD-B4E0-E297462320DD}" dt="2023-11-24T08:36:16.793" v="26117"/>
          <ac:spMkLst>
            <pc:docMk/>
            <pc:sldMk cId="1942033937" sldId="2147478573"/>
            <ac:spMk id="180" creationId="{710F722C-20E4-3E88-1A96-6C8BC94ADF35}"/>
          </ac:spMkLst>
        </pc:spChg>
        <pc:spChg chg="add del mod">
          <ac:chgData name="Steiner Andreas 6206 ED" userId="e6377c33-a923-4f14-8587-531c474c7b48" providerId="ADAL" clId="{6ECD27E6-B224-41CD-B4E0-E297462320DD}" dt="2023-11-24T08:36:19.283" v="26272"/>
          <ac:spMkLst>
            <pc:docMk/>
            <pc:sldMk cId="1942033937" sldId="2147478573"/>
            <ac:spMk id="181" creationId="{50B31B9C-C00E-FAA0-D8E5-C7EEB2014FA4}"/>
          </ac:spMkLst>
        </pc:spChg>
        <pc:spChg chg="add del mod">
          <ac:chgData name="Steiner Andreas 6206 ED" userId="e6377c33-a923-4f14-8587-531c474c7b48" providerId="ADAL" clId="{6ECD27E6-B224-41CD-B4E0-E297462320DD}" dt="2023-11-24T08:36:21.541" v="26427"/>
          <ac:spMkLst>
            <pc:docMk/>
            <pc:sldMk cId="1942033937" sldId="2147478573"/>
            <ac:spMk id="182" creationId="{C08F79A8-6B2B-66E3-A0E3-493D8DC2AB98}"/>
          </ac:spMkLst>
        </pc:spChg>
        <pc:spChg chg="add del mod">
          <ac:chgData name="Steiner Andreas 6206 ED" userId="e6377c33-a923-4f14-8587-531c474c7b48" providerId="ADAL" clId="{6ECD27E6-B224-41CD-B4E0-E297462320DD}" dt="2023-11-24T08:36:24.037" v="26582"/>
          <ac:spMkLst>
            <pc:docMk/>
            <pc:sldMk cId="1942033937" sldId="2147478573"/>
            <ac:spMk id="183" creationId="{E725319D-0565-0418-C65A-9F8DF917502C}"/>
          </ac:spMkLst>
        </pc:spChg>
        <pc:spChg chg="add del mod">
          <ac:chgData name="Steiner Andreas 6206 ED" userId="e6377c33-a923-4f14-8587-531c474c7b48" providerId="ADAL" clId="{6ECD27E6-B224-41CD-B4E0-E297462320DD}" dt="2023-11-24T08:36:26.569" v="26737"/>
          <ac:spMkLst>
            <pc:docMk/>
            <pc:sldMk cId="1942033937" sldId="2147478573"/>
            <ac:spMk id="184" creationId="{22494A7C-B926-160B-788B-494E17F2D6AF}"/>
          </ac:spMkLst>
        </pc:spChg>
        <pc:spChg chg="add del mod">
          <ac:chgData name="Steiner Andreas 6206 ED" userId="e6377c33-a923-4f14-8587-531c474c7b48" providerId="ADAL" clId="{6ECD27E6-B224-41CD-B4E0-E297462320DD}" dt="2023-11-24T08:36:29.476" v="26892"/>
          <ac:spMkLst>
            <pc:docMk/>
            <pc:sldMk cId="1942033937" sldId="2147478573"/>
            <ac:spMk id="185" creationId="{726130E0-B0A9-B9D0-6448-7582C2D8CB0B}"/>
          </ac:spMkLst>
        </pc:spChg>
        <pc:spChg chg="add del mod">
          <ac:chgData name="Steiner Andreas 6206 ED" userId="e6377c33-a923-4f14-8587-531c474c7b48" providerId="ADAL" clId="{6ECD27E6-B224-41CD-B4E0-E297462320DD}" dt="2023-11-24T08:36:32.165" v="27047"/>
          <ac:spMkLst>
            <pc:docMk/>
            <pc:sldMk cId="1942033937" sldId="2147478573"/>
            <ac:spMk id="186" creationId="{1F87CC12-60C3-E6A1-DEC5-EF94A9F6A80D}"/>
          </ac:spMkLst>
        </pc:spChg>
        <pc:spChg chg="add del mod">
          <ac:chgData name="Steiner Andreas 6206 ED" userId="e6377c33-a923-4f14-8587-531c474c7b48" providerId="ADAL" clId="{6ECD27E6-B224-41CD-B4E0-E297462320DD}" dt="2023-11-24T08:36:34.710" v="27202"/>
          <ac:spMkLst>
            <pc:docMk/>
            <pc:sldMk cId="1942033937" sldId="2147478573"/>
            <ac:spMk id="187" creationId="{B18A0957-AAE3-ED0D-29C0-7D86B1F204EF}"/>
          </ac:spMkLst>
        </pc:spChg>
        <pc:spChg chg="add del mod">
          <ac:chgData name="Steiner Andreas 6206 ED" userId="e6377c33-a923-4f14-8587-531c474c7b48" providerId="ADAL" clId="{6ECD27E6-B224-41CD-B4E0-E297462320DD}" dt="2023-11-24T08:36:37.238" v="27357"/>
          <ac:spMkLst>
            <pc:docMk/>
            <pc:sldMk cId="1942033937" sldId="2147478573"/>
            <ac:spMk id="188" creationId="{4ED5AA92-19F3-BDD8-B2C0-DDD1F28E1DCC}"/>
          </ac:spMkLst>
        </pc:spChg>
        <pc:spChg chg="add del mod">
          <ac:chgData name="Steiner Andreas 6206 ED" userId="e6377c33-a923-4f14-8587-531c474c7b48" providerId="ADAL" clId="{6ECD27E6-B224-41CD-B4E0-E297462320DD}" dt="2023-11-24T08:36:39.789" v="27512"/>
          <ac:spMkLst>
            <pc:docMk/>
            <pc:sldMk cId="1942033937" sldId="2147478573"/>
            <ac:spMk id="189" creationId="{EC87CE8E-91E1-4F51-FDC5-BC6D32B3E535}"/>
          </ac:spMkLst>
        </pc:spChg>
        <pc:spChg chg="add del mod">
          <ac:chgData name="Steiner Andreas 6206 ED" userId="e6377c33-a923-4f14-8587-531c474c7b48" providerId="ADAL" clId="{6ECD27E6-B224-41CD-B4E0-E297462320DD}" dt="2023-11-24T08:36:42.609" v="27667"/>
          <ac:spMkLst>
            <pc:docMk/>
            <pc:sldMk cId="1942033937" sldId="2147478573"/>
            <ac:spMk id="190" creationId="{D3926D8B-0B4D-402C-BFED-ED4EFFC2DFD7}"/>
          </ac:spMkLst>
        </pc:spChg>
        <pc:spChg chg="add del mod">
          <ac:chgData name="Steiner Andreas 6206 ED" userId="e6377c33-a923-4f14-8587-531c474c7b48" providerId="ADAL" clId="{6ECD27E6-B224-41CD-B4E0-E297462320DD}" dt="2023-11-24T08:36:45.123" v="27822"/>
          <ac:spMkLst>
            <pc:docMk/>
            <pc:sldMk cId="1942033937" sldId="2147478573"/>
            <ac:spMk id="191" creationId="{B8DC2A5C-0291-7375-B494-1F2105BB3399}"/>
          </ac:spMkLst>
        </pc:spChg>
        <pc:spChg chg="add del mod">
          <ac:chgData name="Steiner Andreas 6206 ED" userId="e6377c33-a923-4f14-8587-531c474c7b48" providerId="ADAL" clId="{6ECD27E6-B224-41CD-B4E0-E297462320DD}" dt="2023-11-24T08:36:47.497" v="27977"/>
          <ac:spMkLst>
            <pc:docMk/>
            <pc:sldMk cId="1942033937" sldId="2147478573"/>
            <ac:spMk id="192" creationId="{B94A7D27-4045-1CF3-230A-3406B923F6A5}"/>
          </ac:spMkLst>
        </pc:spChg>
        <pc:spChg chg="add del mod">
          <ac:chgData name="Steiner Andreas 6206 ED" userId="e6377c33-a923-4f14-8587-531c474c7b48" providerId="ADAL" clId="{6ECD27E6-B224-41CD-B4E0-E297462320DD}" dt="2023-11-24T08:36:49.955" v="28132"/>
          <ac:spMkLst>
            <pc:docMk/>
            <pc:sldMk cId="1942033937" sldId="2147478573"/>
            <ac:spMk id="193" creationId="{13D94925-BD81-770A-1FB3-4412AB8085BB}"/>
          </ac:spMkLst>
        </pc:spChg>
        <pc:spChg chg="add del mod">
          <ac:chgData name="Steiner Andreas 6206 ED" userId="e6377c33-a923-4f14-8587-531c474c7b48" providerId="ADAL" clId="{6ECD27E6-B224-41CD-B4E0-E297462320DD}" dt="2023-11-24T08:36:52.976" v="28287"/>
          <ac:spMkLst>
            <pc:docMk/>
            <pc:sldMk cId="1942033937" sldId="2147478573"/>
            <ac:spMk id="194" creationId="{3C68E3F6-DF0D-C4A2-29E8-C59C7E7A9FE7}"/>
          </ac:spMkLst>
        </pc:spChg>
        <pc:spChg chg="add del mod">
          <ac:chgData name="Steiner Andreas 6206 ED" userId="e6377c33-a923-4f14-8587-531c474c7b48" providerId="ADAL" clId="{6ECD27E6-B224-41CD-B4E0-E297462320DD}" dt="2023-11-24T08:36:56.070" v="28442"/>
          <ac:spMkLst>
            <pc:docMk/>
            <pc:sldMk cId="1942033937" sldId="2147478573"/>
            <ac:spMk id="195" creationId="{F894025E-8E53-B9E1-DE42-A1C435C05183}"/>
          </ac:spMkLst>
        </pc:spChg>
        <pc:spChg chg="add del mod">
          <ac:chgData name="Steiner Andreas 6206 ED" userId="e6377c33-a923-4f14-8587-531c474c7b48" providerId="ADAL" clId="{6ECD27E6-B224-41CD-B4E0-E297462320DD}" dt="2023-11-24T08:36:58.873" v="28597"/>
          <ac:spMkLst>
            <pc:docMk/>
            <pc:sldMk cId="1942033937" sldId="2147478573"/>
            <ac:spMk id="196" creationId="{383B724D-5701-FA99-FC70-72E481427D5E}"/>
          </ac:spMkLst>
        </pc:spChg>
        <pc:spChg chg="add del mod">
          <ac:chgData name="Steiner Andreas 6206 ED" userId="e6377c33-a923-4f14-8587-531c474c7b48" providerId="ADAL" clId="{6ECD27E6-B224-41CD-B4E0-E297462320DD}" dt="2023-11-24T08:37:01.609" v="28752"/>
          <ac:spMkLst>
            <pc:docMk/>
            <pc:sldMk cId="1942033937" sldId="2147478573"/>
            <ac:spMk id="197" creationId="{D4526D2E-2F5E-C358-7468-C16E61FB64DE}"/>
          </ac:spMkLst>
        </pc:spChg>
        <pc:spChg chg="add del mod">
          <ac:chgData name="Steiner Andreas 6206 ED" userId="e6377c33-a923-4f14-8587-531c474c7b48" providerId="ADAL" clId="{6ECD27E6-B224-41CD-B4E0-E297462320DD}" dt="2023-11-24T08:37:04.327" v="28907"/>
          <ac:spMkLst>
            <pc:docMk/>
            <pc:sldMk cId="1942033937" sldId="2147478573"/>
            <ac:spMk id="198" creationId="{A744F408-EE18-829B-A74E-B685616D823D}"/>
          </ac:spMkLst>
        </pc:spChg>
        <pc:spChg chg="add del mod">
          <ac:chgData name="Steiner Andreas 6206 ED" userId="e6377c33-a923-4f14-8587-531c474c7b48" providerId="ADAL" clId="{6ECD27E6-B224-41CD-B4E0-E297462320DD}" dt="2023-11-24T08:37:07.211" v="29062"/>
          <ac:spMkLst>
            <pc:docMk/>
            <pc:sldMk cId="1942033937" sldId="2147478573"/>
            <ac:spMk id="199" creationId="{FF092752-44BF-4BCE-7578-E9238D2D2A8E}"/>
          </ac:spMkLst>
        </pc:spChg>
        <pc:spChg chg="add del mod">
          <ac:chgData name="Steiner Andreas 6206 ED" userId="e6377c33-a923-4f14-8587-531c474c7b48" providerId="ADAL" clId="{6ECD27E6-B224-41CD-B4E0-E297462320DD}" dt="2023-11-24T08:37:09.761" v="29217"/>
          <ac:spMkLst>
            <pc:docMk/>
            <pc:sldMk cId="1942033937" sldId="2147478573"/>
            <ac:spMk id="200" creationId="{A86241CD-13BF-9561-BC57-4D33BD6495D0}"/>
          </ac:spMkLst>
        </pc:spChg>
        <pc:spChg chg="add del mod">
          <ac:chgData name="Steiner Andreas 6206 ED" userId="e6377c33-a923-4f14-8587-531c474c7b48" providerId="ADAL" clId="{6ECD27E6-B224-41CD-B4E0-E297462320DD}" dt="2023-11-24T08:37:12.522" v="29372"/>
          <ac:spMkLst>
            <pc:docMk/>
            <pc:sldMk cId="1942033937" sldId="2147478573"/>
            <ac:spMk id="201" creationId="{726B90CB-0739-4CB9-5891-4C672035FEBD}"/>
          </ac:spMkLst>
        </pc:spChg>
        <pc:spChg chg="add del mod">
          <ac:chgData name="Steiner Andreas 6206 ED" userId="e6377c33-a923-4f14-8587-531c474c7b48" providerId="ADAL" clId="{6ECD27E6-B224-41CD-B4E0-E297462320DD}" dt="2023-11-24T08:37:15.827" v="29527"/>
          <ac:spMkLst>
            <pc:docMk/>
            <pc:sldMk cId="1942033937" sldId="2147478573"/>
            <ac:spMk id="202" creationId="{E0554BBD-6E3A-601C-6411-C9CC38D83C10}"/>
          </ac:spMkLst>
        </pc:spChg>
        <pc:spChg chg="add del mod">
          <ac:chgData name="Steiner Andreas 6206 ED" userId="e6377c33-a923-4f14-8587-531c474c7b48" providerId="ADAL" clId="{6ECD27E6-B224-41CD-B4E0-E297462320DD}" dt="2023-11-24T08:37:18.605" v="29682"/>
          <ac:spMkLst>
            <pc:docMk/>
            <pc:sldMk cId="1942033937" sldId="2147478573"/>
            <ac:spMk id="203" creationId="{F1788DBC-F91C-C8A4-1D7E-B8FDB30BFD22}"/>
          </ac:spMkLst>
        </pc:spChg>
        <pc:spChg chg="add del mod">
          <ac:chgData name="Steiner Andreas 6206 ED" userId="e6377c33-a923-4f14-8587-531c474c7b48" providerId="ADAL" clId="{6ECD27E6-B224-41CD-B4E0-E297462320DD}" dt="2023-11-24T08:37:21.086" v="29837"/>
          <ac:spMkLst>
            <pc:docMk/>
            <pc:sldMk cId="1942033937" sldId="2147478573"/>
            <ac:spMk id="204" creationId="{8F568E78-CF6A-00FB-0675-334D68265F83}"/>
          </ac:spMkLst>
        </pc:spChg>
        <pc:spChg chg="add del mod">
          <ac:chgData name="Steiner Andreas 6206 ED" userId="e6377c33-a923-4f14-8587-531c474c7b48" providerId="ADAL" clId="{6ECD27E6-B224-41CD-B4E0-E297462320DD}" dt="2023-11-24T08:37:23.934" v="29992"/>
          <ac:spMkLst>
            <pc:docMk/>
            <pc:sldMk cId="1942033937" sldId="2147478573"/>
            <ac:spMk id="205" creationId="{999C5EA0-D22F-D82B-034E-AE1A2989BCAE}"/>
          </ac:spMkLst>
        </pc:spChg>
        <pc:spChg chg="add del mod">
          <ac:chgData name="Steiner Andreas 6206 ED" userId="e6377c33-a923-4f14-8587-531c474c7b48" providerId="ADAL" clId="{6ECD27E6-B224-41CD-B4E0-E297462320DD}" dt="2023-11-24T08:37:26.461" v="30147"/>
          <ac:spMkLst>
            <pc:docMk/>
            <pc:sldMk cId="1942033937" sldId="2147478573"/>
            <ac:spMk id="206" creationId="{230EC20E-D8EA-AB0F-6BAF-90FAEA75A86A}"/>
          </ac:spMkLst>
        </pc:spChg>
        <pc:spChg chg="add del mod">
          <ac:chgData name="Steiner Andreas 6206 ED" userId="e6377c33-a923-4f14-8587-531c474c7b48" providerId="ADAL" clId="{6ECD27E6-B224-41CD-B4E0-E297462320DD}" dt="2023-11-24T08:37:29.619" v="30302"/>
          <ac:spMkLst>
            <pc:docMk/>
            <pc:sldMk cId="1942033937" sldId="2147478573"/>
            <ac:spMk id="207" creationId="{B163A407-5631-D20C-C1C2-581B6E467C93}"/>
          </ac:spMkLst>
        </pc:spChg>
        <pc:spChg chg="add del mod">
          <ac:chgData name="Steiner Andreas 6206 ED" userId="e6377c33-a923-4f14-8587-531c474c7b48" providerId="ADAL" clId="{6ECD27E6-B224-41CD-B4E0-E297462320DD}" dt="2023-11-24T08:37:32.640" v="30457"/>
          <ac:spMkLst>
            <pc:docMk/>
            <pc:sldMk cId="1942033937" sldId="2147478573"/>
            <ac:spMk id="208" creationId="{73FDCCC4-E0AD-48B5-E31E-DDA2365E307E}"/>
          </ac:spMkLst>
        </pc:spChg>
        <pc:spChg chg="add del mod">
          <ac:chgData name="Steiner Andreas 6206 ED" userId="e6377c33-a923-4f14-8587-531c474c7b48" providerId="ADAL" clId="{6ECD27E6-B224-41CD-B4E0-E297462320DD}" dt="2023-11-24T08:37:35.226" v="30612"/>
          <ac:spMkLst>
            <pc:docMk/>
            <pc:sldMk cId="1942033937" sldId="2147478573"/>
            <ac:spMk id="209" creationId="{106FDC0D-D8F9-B230-A317-BDB5AD94A920}"/>
          </ac:spMkLst>
        </pc:spChg>
        <pc:spChg chg="add del mod">
          <ac:chgData name="Steiner Andreas 6206 ED" userId="e6377c33-a923-4f14-8587-531c474c7b48" providerId="ADAL" clId="{6ECD27E6-B224-41CD-B4E0-E297462320DD}" dt="2023-11-24T08:37:37.905" v="30767"/>
          <ac:spMkLst>
            <pc:docMk/>
            <pc:sldMk cId="1942033937" sldId="2147478573"/>
            <ac:spMk id="210" creationId="{BED61DD4-FFB0-0D94-D2F3-6711BDA6FB1C}"/>
          </ac:spMkLst>
        </pc:spChg>
        <pc:spChg chg="add del mod">
          <ac:chgData name="Steiner Andreas 6206 ED" userId="e6377c33-a923-4f14-8587-531c474c7b48" providerId="ADAL" clId="{6ECD27E6-B224-41CD-B4E0-E297462320DD}" dt="2023-11-24T08:37:41.537" v="30922"/>
          <ac:spMkLst>
            <pc:docMk/>
            <pc:sldMk cId="1942033937" sldId="2147478573"/>
            <ac:spMk id="211" creationId="{F2D818C6-DB0F-6299-2DD3-52FE0770DB18}"/>
          </ac:spMkLst>
        </pc:spChg>
        <pc:spChg chg="add del mod">
          <ac:chgData name="Steiner Andreas 6206 ED" userId="e6377c33-a923-4f14-8587-531c474c7b48" providerId="ADAL" clId="{6ECD27E6-B224-41CD-B4E0-E297462320DD}" dt="2023-11-24T08:37:44.843" v="31077"/>
          <ac:spMkLst>
            <pc:docMk/>
            <pc:sldMk cId="1942033937" sldId="2147478573"/>
            <ac:spMk id="212" creationId="{7EE72461-84AA-2A4A-3A8D-A57B382890B0}"/>
          </ac:spMkLst>
        </pc:spChg>
        <pc:spChg chg="add del mod">
          <ac:chgData name="Steiner Andreas 6206 ED" userId="e6377c33-a923-4f14-8587-531c474c7b48" providerId="ADAL" clId="{6ECD27E6-B224-41CD-B4E0-E297462320DD}" dt="2023-11-24T08:37:47.609" v="31232"/>
          <ac:spMkLst>
            <pc:docMk/>
            <pc:sldMk cId="1942033937" sldId="2147478573"/>
            <ac:spMk id="213" creationId="{203D6A31-0732-1A82-0B93-01DBF3E33F18}"/>
          </ac:spMkLst>
        </pc:spChg>
        <pc:spChg chg="add del mod">
          <ac:chgData name="Steiner Andreas 6206 ED" userId="e6377c33-a923-4f14-8587-531c474c7b48" providerId="ADAL" clId="{6ECD27E6-B224-41CD-B4E0-E297462320DD}" dt="2023-11-24T08:37:50.387" v="31387"/>
          <ac:spMkLst>
            <pc:docMk/>
            <pc:sldMk cId="1942033937" sldId="2147478573"/>
            <ac:spMk id="214" creationId="{E40B1623-4D98-DAC7-CA96-A4E40C6A5485}"/>
          </ac:spMkLst>
        </pc:spChg>
        <pc:spChg chg="add del mod">
          <ac:chgData name="Steiner Andreas 6206 ED" userId="e6377c33-a923-4f14-8587-531c474c7b48" providerId="ADAL" clId="{6ECD27E6-B224-41CD-B4E0-E297462320DD}" dt="2023-11-24T08:37:53.003" v="31542"/>
          <ac:spMkLst>
            <pc:docMk/>
            <pc:sldMk cId="1942033937" sldId="2147478573"/>
            <ac:spMk id="215" creationId="{ECC7EDD1-40B2-5338-0C44-D7AE59BFC53B}"/>
          </ac:spMkLst>
        </pc:spChg>
        <pc:spChg chg="add del mod">
          <ac:chgData name="Steiner Andreas 6206 ED" userId="e6377c33-a923-4f14-8587-531c474c7b48" providerId="ADAL" clId="{6ECD27E6-B224-41CD-B4E0-E297462320DD}" dt="2023-11-24T08:37:57.020" v="31697"/>
          <ac:spMkLst>
            <pc:docMk/>
            <pc:sldMk cId="1942033937" sldId="2147478573"/>
            <ac:spMk id="216" creationId="{627D9B18-C308-C6E8-6982-3F50E76CD204}"/>
          </ac:spMkLst>
        </pc:spChg>
        <pc:spChg chg="add del mod">
          <ac:chgData name="Steiner Andreas 6206 ED" userId="e6377c33-a923-4f14-8587-531c474c7b48" providerId="ADAL" clId="{6ECD27E6-B224-41CD-B4E0-E297462320DD}" dt="2023-11-24T08:37:59.832" v="31852"/>
          <ac:spMkLst>
            <pc:docMk/>
            <pc:sldMk cId="1942033937" sldId="2147478573"/>
            <ac:spMk id="217" creationId="{56976A56-BC14-93FA-89E8-24A3D4859882}"/>
          </ac:spMkLst>
        </pc:spChg>
        <pc:spChg chg="add del mod">
          <ac:chgData name="Steiner Andreas 6206 ED" userId="e6377c33-a923-4f14-8587-531c474c7b48" providerId="ADAL" clId="{6ECD27E6-B224-41CD-B4E0-E297462320DD}" dt="2023-11-24T08:38:02.848" v="32007"/>
          <ac:spMkLst>
            <pc:docMk/>
            <pc:sldMk cId="1942033937" sldId="2147478573"/>
            <ac:spMk id="218" creationId="{AE085763-354E-547D-83A7-70461EF9E37E}"/>
          </ac:spMkLst>
        </pc:spChg>
        <pc:spChg chg="add del mod">
          <ac:chgData name="Steiner Andreas 6206 ED" userId="e6377c33-a923-4f14-8587-531c474c7b48" providerId="ADAL" clId="{6ECD27E6-B224-41CD-B4E0-E297462320DD}" dt="2023-11-24T08:38:05.720" v="32162"/>
          <ac:spMkLst>
            <pc:docMk/>
            <pc:sldMk cId="1942033937" sldId="2147478573"/>
            <ac:spMk id="219" creationId="{BBB9AD75-C947-203A-E277-F6A600C8A8B6}"/>
          </ac:spMkLst>
        </pc:spChg>
        <pc:spChg chg="add del mod">
          <ac:chgData name="Steiner Andreas 6206 ED" userId="e6377c33-a923-4f14-8587-531c474c7b48" providerId="ADAL" clId="{6ECD27E6-B224-41CD-B4E0-E297462320DD}" dt="2023-11-24T08:38:08.848" v="32317"/>
          <ac:spMkLst>
            <pc:docMk/>
            <pc:sldMk cId="1942033937" sldId="2147478573"/>
            <ac:spMk id="220" creationId="{88B9FFF3-A4C1-45FF-6AE0-0F1580231FA2}"/>
          </ac:spMkLst>
        </pc:spChg>
        <pc:spChg chg="add del mod">
          <ac:chgData name="Steiner Andreas 6206 ED" userId="e6377c33-a923-4f14-8587-531c474c7b48" providerId="ADAL" clId="{6ECD27E6-B224-41CD-B4E0-E297462320DD}" dt="2023-11-24T08:38:11.587" v="32472"/>
          <ac:spMkLst>
            <pc:docMk/>
            <pc:sldMk cId="1942033937" sldId="2147478573"/>
            <ac:spMk id="221" creationId="{C1CFC7EA-4DD4-98AF-DB4C-3C7100295860}"/>
          </ac:spMkLst>
        </pc:spChg>
        <pc:spChg chg="add del mod">
          <ac:chgData name="Steiner Andreas 6206 ED" userId="e6377c33-a923-4f14-8587-531c474c7b48" providerId="ADAL" clId="{6ECD27E6-B224-41CD-B4E0-E297462320DD}" dt="2023-11-24T08:38:14.218" v="32627"/>
          <ac:spMkLst>
            <pc:docMk/>
            <pc:sldMk cId="1942033937" sldId="2147478573"/>
            <ac:spMk id="222" creationId="{64D2874C-54DC-B488-8651-2F3747590F75}"/>
          </ac:spMkLst>
        </pc:spChg>
        <pc:spChg chg="add del mod">
          <ac:chgData name="Steiner Andreas 6206 ED" userId="e6377c33-a923-4f14-8587-531c474c7b48" providerId="ADAL" clId="{6ECD27E6-B224-41CD-B4E0-E297462320DD}" dt="2023-11-24T08:38:16.927" v="32782"/>
          <ac:spMkLst>
            <pc:docMk/>
            <pc:sldMk cId="1942033937" sldId="2147478573"/>
            <ac:spMk id="223" creationId="{3D08D678-04A8-BC57-5116-3BCD490C2082}"/>
          </ac:spMkLst>
        </pc:spChg>
        <pc:spChg chg="add del mod">
          <ac:chgData name="Steiner Andreas 6206 ED" userId="e6377c33-a923-4f14-8587-531c474c7b48" providerId="ADAL" clId="{6ECD27E6-B224-41CD-B4E0-E297462320DD}" dt="2023-11-24T08:38:19.922" v="32937"/>
          <ac:spMkLst>
            <pc:docMk/>
            <pc:sldMk cId="1942033937" sldId="2147478573"/>
            <ac:spMk id="224" creationId="{40ECFCC8-291E-72A3-2ED6-E55814941B67}"/>
          </ac:spMkLst>
        </pc:spChg>
        <pc:spChg chg="add del mod">
          <ac:chgData name="Steiner Andreas 6206 ED" userId="e6377c33-a923-4f14-8587-531c474c7b48" providerId="ADAL" clId="{6ECD27E6-B224-41CD-B4E0-E297462320DD}" dt="2023-11-24T08:38:22.738" v="33092"/>
          <ac:spMkLst>
            <pc:docMk/>
            <pc:sldMk cId="1942033937" sldId="2147478573"/>
            <ac:spMk id="225" creationId="{A0C1AAE4-ABCA-2125-90EC-87C77542DF2C}"/>
          </ac:spMkLst>
        </pc:spChg>
        <pc:spChg chg="add del mod">
          <ac:chgData name="Steiner Andreas 6206 ED" userId="e6377c33-a923-4f14-8587-531c474c7b48" providerId="ADAL" clId="{6ECD27E6-B224-41CD-B4E0-E297462320DD}" dt="2023-11-24T08:38:25.573" v="33247"/>
          <ac:spMkLst>
            <pc:docMk/>
            <pc:sldMk cId="1942033937" sldId="2147478573"/>
            <ac:spMk id="226" creationId="{6D8732E2-B626-74E4-5335-A75229539B2E}"/>
          </ac:spMkLst>
        </pc:spChg>
        <pc:spChg chg="add del mod">
          <ac:chgData name="Steiner Andreas 6206 ED" userId="e6377c33-a923-4f14-8587-531c474c7b48" providerId="ADAL" clId="{6ECD27E6-B224-41CD-B4E0-E297462320DD}" dt="2023-11-24T08:38:29.128" v="33402"/>
          <ac:spMkLst>
            <pc:docMk/>
            <pc:sldMk cId="1942033937" sldId="2147478573"/>
            <ac:spMk id="227" creationId="{BF4DCBC2-E1E0-BDA5-BC46-1766EC89D498}"/>
          </ac:spMkLst>
        </pc:spChg>
        <pc:spChg chg="add del mod">
          <ac:chgData name="Steiner Andreas 6206 ED" userId="e6377c33-a923-4f14-8587-531c474c7b48" providerId="ADAL" clId="{6ECD27E6-B224-41CD-B4E0-E297462320DD}" dt="2023-11-24T08:38:32.251" v="33557"/>
          <ac:spMkLst>
            <pc:docMk/>
            <pc:sldMk cId="1942033937" sldId="2147478573"/>
            <ac:spMk id="228" creationId="{4BEEB7DA-9E37-5DB9-6849-F3E664EB2347}"/>
          </ac:spMkLst>
        </pc:spChg>
        <pc:spChg chg="add del mod">
          <ac:chgData name="Steiner Andreas 6206 ED" userId="e6377c33-a923-4f14-8587-531c474c7b48" providerId="ADAL" clId="{6ECD27E6-B224-41CD-B4E0-E297462320DD}" dt="2023-11-24T08:38:35.030" v="33712"/>
          <ac:spMkLst>
            <pc:docMk/>
            <pc:sldMk cId="1942033937" sldId="2147478573"/>
            <ac:spMk id="229" creationId="{365CE70A-9345-5030-D16D-477BB1A6B86F}"/>
          </ac:spMkLst>
        </pc:spChg>
        <pc:spChg chg="add del mod">
          <ac:chgData name="Steiner Andreas 6206 ED" userId="e6377c33-a923-4f14-8587-531c474c7b48" providerId="ADAL" clId="{6ECD27E6-B224-41CD-B4E0-E297462320DD}" dt="2023-11-24T08:38:37.680" v="33867"/>
          <ac:spMkLst>
            <pc:docMk/>
            <pc:sldMk cId="1942033937" sldId="2147478573"/>
            <ac:spMk id="230" creationId="{02775ED7-FC04-E135-3B44-94621F1D5905}"/>
          </ac:spMkLst>
        </pc:spChg>
        <pc:spChg chg="add del mod">
          <ac:chgData name="Steiner Andreas 6206 ED" userId="e6377c33-a923-4f14-8587-531c474c7b48" providerId="ADAL" clId="{6ECD27E6-B224-41CD-B4E0-E297462320DD}" dt="2023-11-24T08:38:40.192" v="34022"/>
          <ac:spMkLst>
            <pc:docMk/>
            <pc:sldMk cId="1942033937" sldId="2147478573"/>
            <ac:spMk id="231" creationId="{D901EABC-3536-AE95-0DBA-4F9FBA389D23}"/>
          </ac:spMkLst>
        </pc:spChg>
        <pc:spChg chg="add del mod">
          <ac:chgData name="Steiner Andreas 6206 ED" userId="e6377c33-a923-4f14-8587-531c474c7b48" providerId="ADAL" clId="{6ECD27E6-B224-41CD-B4E0-E297462320DD}" dt="2023-11-24T08:38:42.696" v="34177"/>
          <ac:spMkLst>
            <pc:docMk/>
            <pc:sldMk cId="1942033937" sldId="2147478573"/>
            <ac:spMk id="232" creationId="{28891D2A-D060-D03F-BBDA-E0A4A11BC9AA}"/>
          </ac:spMkLst>
        </pc:spChg>
        <pc:spChg chg="add del mod">
          <ac:chgData name="Steiner Andreas 6206 ED" userId="e6377c33-a923-4f14-8587-531c474c7b48" providerId="ADAL" clId="{6ECD27E6-B224-41CD-B4E0-E297462320DD}" dt="2023-11-24T08:38:46.737" v="34332"/>
          <ac:spMkLst>
            <pc:docMk/>
            <pc:sldMk cId="1942033937" sldId="2147478573"/>
            <ac:spMk id="233" creationId="{2D93508D-C95C-AE8A-6868-98933CE943C1}"/>
          </ac:spMkLst>
        </pc:spChg>
        <pc:spChg chg="add del mod">
          <ac:chgData name="Steiner Andreas 6206 ED" userId="e6377c33-a923-4f14-8587-531c474c7b48" providerId="ADAL" clId="{6ECD27E6-B224-41CD-B4E0-E297462320DD}" dt="2023-11-24T08:38:49.458" v="34487"/>
          <ac:spMkLst>
            <pc:docMk/>
            <pc:sldMk cId="1942033937" sldId="2147478573"/>
            <ac:spMk id="234" creationId="{C3F3A380-966D-59A0-803C-BABDF7373A46}"/>
          </ac:spMkLst>
        </pc:spChg>
        <pc:spChg chg="add del mod">
          <ac:chgData name="Steiner Andreas 6206 ED" userId="e6377c33-a923-4f14-8587-531c474c7b48" providerId="ADAL" clId="{6ECD27E6-B224-41CD-B4E0-E297462320DD}" dt="2023-11-24T08:38:52.222" v="34642"/>
          <ac:spMkLst>
            <pc:docMk/>
            <pc:sldMk cId="1942033937" sldId="2147478573"/>
            <ac:spMk id="235" creationId="{02BAA8AE-822C-AF14-7BFA-97A8B67B2F94}"/>
          </ac:spMkLst>
        </pc:spChg>
        <pc:spChg chg="add del mod">
          <ac:chgData name="Steiner Andreas 6206 ED" userId="e6377c33-a923-4f14-8587-531c474c7b48" providerId="ADAL" clId="{6ECD27E6-B224-41CD-B4E0-E297462320DD}" dt="2023-11-24T08:38:55.205" v="34797"/>
          <ac:spMkLst>
            <pc:docMk/>
            <pc:sldMk cId="1942033937" sldId="2147478573"/>
            <ac:spMk id="236" creationId="{11B44FB0-66D0-8C1F-D4AC-948C4B48293D}"/>
          </ac:spMkLst>
        </pc:spChg>
        <pc:spChg chg="add del mod">
          <ac:chgData name="Steiner Andreas 6206 ED" userId="e6377c33-a923-4f14-8587-531c474c7b48" providerId="ADAL" clId="{6ECD27E6-B224-41CD-B4E0-E297462320DD}" dt="2023-11-24T08:38:58.371" v="34952"/>
          <ac:spMkLst>
            <pc:docMk/>
            <pc:sldMk cId="1942033937" sldId="2147478573"/>
            <ac:spMk id="237" creationId="{BEED8F70-D52D-58B7-809E-6DA34A380377}"/>
          </ac:spMkLst>
        </pc:spChg>
        <pc:spChg chg="add del mod">
          <ac:chgData name="Steiner Andreas 6206 ED" userId="e6377c33-a923-4f14-8587-531c474c7b48" providerId="ADAL" clId="{6ECD27E6-B224-41CD-B4E0-E297462320DD}" dt="2023-11-24T08:39:01.771" v="35107"/>
          <ac:spMkLst>
            <pc:docMk/>
            <pc:sldMk cId="1942033937" sldId="2147478573"/>
            <ac:spMk id="238" creationId="{5426E482-2D19-6B91-3291-A8AFFF4E704C}"/>
          </ac:spMkLst>
        </pc:spChg>
        <pc:spChg chg="add del mod">
          <ac:chgData name="Steiner Andreas 6206 ED" userId="e6377c33-a923-4f14-8587-531c474c7b48" providerId="ADAL" clId="{6ECD27E6-B224-41CD-B4E0-E297462320DD}" dt="2023-11-24T08:39:05.061" v="35262"/>
          <ac:spMkLst>
            <pc:docMk/>
            <pc:sldMk cId="1942033937" sldId="2147478573"/>
            <ac:spMk id="239" creationId="{1D43D8C3-BFE9-93B0-2768-9C1C10E3C5F0}"/>
          </ac:spMkLst>
        </pc:spChg>
        <pc:spChg chg="add del mod">
          <ac:chgData name="Steiner Andreas 6206 ED" userId="e6377c33-a923-4f14-8587-531c474c7b48" providerId="ADAL" clId="{6ECD27E6-B224-41CD-B4E0-E297462320DD}" dt="2023-11-24T08:39:07.896" v="35417"/>
          <ac:spMkLst>
            <pc:docMk/>
            <pc:sldMk cId="1942033937" sldId="2147478573"/>
            <ac:spMk id="240" creationId="{40ECD182-56E6-7E5F-A492-0AD6FC02140C}"/>
          </ac:spMkLst>
        </pc:spChg>
        <pc:spChg chg="add del mod">
          <ac:chgData name="Steiner Andreas 6206 ED" userId="e6377c33-a923-4f14-8587-531c474c7b48" providerId="ADAL" clId="{6ECD27E6-B224-41CD-B4E0-E297462320DD}" dt="2023-11-24T08:39:12.577" v="35572"/>
          <ac:spMkLst>
            <pc:docMk/>
            <pc:sldMk cId="1942033937" sldId="2147478573"/>
            <ac:spMk id="241" creationId="{CE964B69-F3F6-BC0B-8F20-B47B11579011}"/>
          </ac:spMkLst>
        </pc:spChg>
        <pc:spChg chg="add del mod">
          <ac:chgData name="Steiner Andreas 6206 ED" userId="e6377c33-a923-4f14-8587-531c474c7b48" providerId="ADAL" clId="{6ECD27E6-B224-41CD-B4E0-E297462320DD}" dt="2023-11-24T08:39:15.289" v="35727"/>
          <ac:spMkLst>
            <pc:docMk/>
            <pc:sldMk cId="1942033937" sldId="2147478573"/>
            <ac:spMk id="242" creationId="{8EF7C68E-824C-70D4-FF91-89140661197E}"/>
          </ac:spMkLst>
        </pc:spChg>
        <pc:spChg chg="add del mod">
          <ac:chgData name="Steiner Andreas 6206 ED" userId="e6377c33-a923-4f14-8587-531c474c7b48" providerId="ADAL" clId="{6ECD27E6-B224-41CD-B4E0-E297462320DD}" dt="2023-11-24T08:39:17.850" v="35882"/>
          <ac:spMkLst>
            <pc:docMk/>
            <pc:sldMk cId="1942033937" sldId="2147478573"/>
            <ac:spMk id="243" creationId="{1E185855-5D8E-DEB3-3E9D-E4E6B335A4D9}"/>
          </ac:spMkLst>
        </pc:spChg>
        <pc:spChg chg="add del mod">
          <ac:chgData name="Steiner Andreas 6206 ED" userId="e6377c33-a923-4f14-8587-531c474c7b48" providerId="ADAL" clId="{6ECD27E6-B224-41CD-B4E0-E297462320DD}" dt="2023-11-24T08:39:20.542" v="36037"/>
          <ac:spMkLst>
            <pc:docMk/>
            <pc:sldMk cId="1942033937" sldId="2147478573"/>
            <ac:spMk id="244" creationId="{B92B77AB-4F32-46E3-85C3-061BBFC147DA}"/>
          </ac:spMkLst>
        </pc:spChg>
        <pc:spChg chg="add del mod">
          <ac:chgData name="Steiner Andreas 6206 ED" userId="e6377c33-a923-4f14-8587-531c474c7b48" providerId="ADAL" clId="{6ECD27E6-B224-41CD-B4E0-E297462320DD}" dt="2023-11-24T08:39:23.669" v="36192"/>
          <ac:spMkLst>
            <pc:docMk/>
            <pc:sldMk cId="1942033937" sldId="2147478573"/>
            <ac:spMk id="245" creationId="{D06E00E7-AC62-6CD4-57B1-8C12E3944E63}"/>
          </ac:spMkLst>
        </pc:spChg>
        <pc:spChg chg="add del mod">
          <ac:chgData name="Steiner Andreas 6206 ED" userId="e6377c33-a923-4f14-8587-531c474c7b48" providerId="ADAL" clId="{6ECD27E6-B224-41CD-B4E0-E297462320DD}" dt="2023-11-24T08:39:26.455" v="36347"/>
          <ac:spMkLst>
            <pc:docMk/>
            <pc:sldMk cId="1942033937" sldId="2147478573"/>
            <ac:spMk id="246" creationId="{729E453C-D1DF-0C35-7524-C6BB1A6B5306}"/>
          </ac:spMkLst>
        </pc:spChg>
        <pc:spChg chg="add del mod">
          <ac:chgData name="Steiner Andreas 6206 ED" userId="e6377c33-a923-4f14-8587-531c474c7b48" providerId="ADAL" clId="{6ECD27E6-B224-41CD-B4E0-E297462320DD}" dt="2023-11-24T08:39:29.200" v="36502"/>
          <ac:spMkLst>
            <pc:docMk/>
            <pc:sldMk cId="1942033937" sldId="2147478573"/>
            <ac:spMk id="247" creationId="{3C7847BB-5BB8-11B6-3D19-6CE9FBD40030}"/>
          </ac:spMkLst>
        </pc:spChg>
        <pc:spChg chg="add del mod">
          <ac:chgData name="Steiner Andreas 6206 ED" userId="e6377c33-a923-4f14-8587-531c474c7b48" providerId="ADAL" clId="{6ECD27E6-B224-41CD-B4E0-E297462320DD}" dt="2023-11-24T08:39:31.749" v="36657"/>
          <ac:spMkLst>
            <pc:docMk/>
            <pc:sldMk cId="1942033937" sldId="2147478573"/>
            <ac:spMk id="248" creationId="{4693697D-6CA7-CEC7-95FF-8A2ED9CF35E1}"/>
          </ac:spMkLst>
        </pc:spChg>
        <pc:spChg chg="add del mod">
          <ac:chgData name="Steiner Andreas 6206 ED" userId="e6377c33-a923-4f14-8587-531c474c7b48" providerId="ADAL" clId="{6ECD27E6-B224-41CD-B4E0-E297462320DD}" dt="2023-11-24T08:39:34.296" v="36812"/>
          <ac:spMkLst>
            <pc:docMk/>
            <pc:sldMk cId="1942033937" sldId="2147478573"/>
            <ac:spMk id="249" creationId="{2B303218-615B-3CF1-E5EC-F56002998717}"/>
          </ac:spMkLst>
        </pc:spChg>
        <pc:spChg chg="add del mod">
          <ac:chgData name="Steiner Andreas 6206 ED" userId="e6377c33-a923-4f14-8587-531c474c7b48" providerId="ADAL" clId="{6ECD27E6-B224-41CD-B4E0-E297462320DD}" dt="2023-11-24T08:39:37.197" v="36967"/>
          <ac:spMkLst>
            <pc:docMk/>
            <pc:sldMk cId="1942033937" sldId="2147478573"/>
            <ac:spMk id="250" creationId="{1F8E4CA2-7D06-7B6B-469A-9ECBB31F1BA0}"/>
          </ac:spMkLst>
        </pc:spChg>
        <pc:spChg chg="add del mod">
          <ac:chgData name="Steiner Andreas 6206 ED" userId="e6377c33-a923-4f14-8587-531c474c7b48" providerId="ADAL" clId="{6ECD27E6-B224-41CD-B4E0-E297462320DD}" dt="2023-11-24T08:39:39.822" v="37122"/>
          <ac:spMkLst>
            <pc:docMk/>
            <pc:sldMk cId="1942033937" sldId="2147478573"/>
            <ac:spMk id="251" creationId="{8E52F6A1-69A4-1522-8409-04D75D5D08D4}"/>
          </ac:spMkLst>
        </pc:spChg>
        <pc:spChg chg="add del mod">
          <ac:chgData name="Steiner Andreas 6206 ED" userId="e6377c33-a923-4f14-8587-531c474c7b48" providerId="ADAL" clId="{6ECD27E6-B224-41CD-B4E0-E297462320DD}" dt="2023-11-24T08:39:42.324" v="37277"/>
          <ac:spMkLst>
            <pc:docMk/>
            <pc:sldMk cId="1942033937" sldId="2147478573"/>
            <ac:spMk id="252" creationId="{37F67346-9F81-5879-9BB5-36B726B24E33}"/>
          </ac:spMkLst>
        </pc:spChg>
        <pc:spChg chg="add del mod">
          <ac:chgData name="Steiner Andreas 6206 ED" userId="e6377c33-a923-4f14-8587-531c474c7b48" providerId="ADAL" clId="{6ECD27E6-B224-41CD-B4E0-E297462320DD}" dt="2023-11-24T08:39:44.841" v="37432"/>
          <ac:spMkLst>
            <pc:docMk/>
            <pc:sldMk cId="1942033937" sldId="2147478573"/>
            <ac:spMk id="253" creationId="{61563C69-0410-50A9-BBA8-A2812646524B}"/>
          </ac:spMkLst>
        </pc:spChg>
        <pc:spChg chg="add del mod">
          <ac:chgData name="Steiner Andreas 6206 ED" userId="e6377c33-a923-4f14-8587-531c474c7b48" providerId="ADAL" clId="{6ECD27E6-B224-41CD-B4E0-E297462320DD}" dt="2023-11-24T08:39:47.759" v="37587"/>
          <ac:spMkLst>
            <pc:docMk/>
            <pc:sldMk cId="1942033937" sldId="2147478573"/>
            <ac:spMk id="254" creationId="{5E551A89-B420-290A-B9A5-E22F7F6F7EDF}"/>
          </ac:spMkLst>
        </pc:spChg>
        <pc:spChg chg="add del mod">
          <ac:chgData name="Steiner Andreas 6206 ED" userId="e6377c33-a923-4f14-8587-531c474c7b48" providerId="ADAL" clId="{6ECD27E6-B224-41CD-B4E0-E297462320DD}" dt="2023-11-24T08:39:50.572" v="37742"/>
          <ac:spMkLst>
            <pc:docMk/>
            <pc:sldMk cId="1942033937" sldId="2147478573"/>
            <ac:spMk id="255" creationId="{E475AA80-975B-0996-4D15-DC8A25A748FE}"/>
          </ac:spMkLst>
        </pc:spChg>
        <pc:spChg chg="add del mod">
          <ac:chgData name="Steiner Andreas 6206 ED" userId="e6377c33-a923-4f14-8587-531c474c7b48" providerId="ADAL" clId="{6ECD27E6-B224-41CD-B4E0-E297462320DD}" dt="2023-11-24T08:39:53.176" v="37897"/>
          <ac:spMkLst>
            <pc:docMk/>
            <pc:sldMk cId="1942033937" sldId="2147478573"/>
            <ac:spMk id="256" creationId="{4D75880D-19DC-F45B-63C1-01EF290B8AEE}"/>
          </ac:spMkLst>
        </pc:spChg>
        <pc:spChg chg="add del mod">
          <ac:chgData name="Steiner Andreas 6206 ED" userId="e6377c33-a923-4f14-8587-531c474c7b48" providerId="ADAL" clId="{6ECD27E6-B224-41CD-B4E0-E297462320DD}" dt="2023-11-24T08:39:56.121" v="38052"/>
          <ac:spMkLst>
            <pc:docMk/>
            <pc:sldMk cId="1942033937" sldId="2147478573"/>
            <ac:spMk id="257" creationId="{FC16CB34-B45A-7B9A-AD66-F26B765887F1}"/>
          </ac:spMkLst>
        </pc:spChg>
        <pc:spChg chg="add del mod">
          <ac:chgData name="Steiner Andreas 6206 ED" userId="e6377c33-a923-4f14-8587-531c474c7b48" providerId="ADAL" clId="{6ECD27E6-B224-41CD-B4E0-E297462320DD}" dt="2023-11-24T08:39:59.205" v="38207"/>
          <ac:spMkLst>
            <pc:docMk/>
            <pc:sldMk cId="1942033937" sldId="2147478573"/>
            <ac:spMk id="258" creationId="{A709D332-D3AF-FE4F-2ED4-CCA2DC6CF731}"/>
          </ac:spMkLst>
        </pc:spChg>
        <pc:spChg chg="add del mod">
          <ac:chgData name="Steiner Andreas 6206 ED" userId="e6377c33-a923-4f14-8587-531c474c7b48" providerId="ADAL" clId="{6ECD27E6-B224-41CD-B4E0-E297462320DD}" dt="2023-11-24T08:40:02.640" v="38362"/>
          <ac:spMkLst>
            <pc:docMk/>
            <pc:sldMk cId="1942033937" sldId="2147478573"/>
            <ac:spMk id="259" creationId="{3B42EEAC-239A-94A4-986F-6BD504AEB1EB}"/>
          </ac:spMkLst>
        </pc:spChg>
        <pc:spChg chg="add del mod">
          <ac:chgData name="Steiner Andreas 6206 ED" userId="e6377c33-a923-4f14-8587-531c474c7b48" providerId="ADAL" clId="{6ECD27E6-B224-41CD-B4E0-E297462320DD}" dt="2023-11-24T08:40:05.399" v="38517"/>
          <ac:spMkLst>
            <pc:docMk/>
            <pc:sldMk cId="1942033937" sldId="2147478573"/>
            <ac:spMk id="260" creationId="{CF340A3D-4B6F-8360-66D4-A27B230830C0}"/>
          </ac:spMkLst>
        </pc:spChg>
        <pc:spChg chg="add del mod">
          <ac:chgData name="Steiner Andreas 6206 ED" userId="e6377c33-a923-4f14-8587-531c474c7b48" providerId="ADAL" clId="{6ECD27E6-B224-41CD-B4E0-E297462320DD}" dt="2023-11-24T08:40:07.919" v="38672"/>
          <ac:spMkLst>
            <pc:docMk/>
            <pc:sldMk cId="1942033937" sldId="2147478573"/>
            <ac:spMk id="261" creationId="{56624BD2-03CB-41A8-6748-873D660DD87B}"/>
          </ac:spMkLst>
        </pc:spChg>
        <pc:spChg chg="add del mod">
          <ac:chgData name="Steiner Andreas 6206 ED" userId="e6377c33-a923-4f14-8587-531c474c7b48" providerId="ADAL" clId="{6ECD27E6-B224-41CD-B4E0-E297462320DD}" dt="2023-11-24T08:40:10.628" v="38827"/>
          <ac:spMkLst>
            <pc:docMk/>
            <pc:sldMk cId="1942033937" sldId="2147478573"/>
            <ac:spMk id="262" creationId="{A3B3975C-53BF-894C-12E6-B12334D22813}"/>
          </ac:spMkLst>
        </pc:spChg>
        <pc:spChg chg="add del mod">
          <ac:chgData name="Steiner Andreas 6206 ED" userId="e6377c33-a923-4f14-8587-531c474c7b48" providerId="ADAL" clId="{6ECD27E6-B224-41CD-B4E0-E297462320DD}" dt="2023-11-24T08:40:13.779" v="38982"/>
          <ac:spMkLst>
            <pc:docMk/>
            <pc:sldMk cId="1942033937" sldId="2147478573"/>
            <ac:spMk id="263" creationId="{52C41527-CD85-7C66-3AB9-CD82346056D5}"/>
          </ac:spMkLst>
        </pc:spChg>
        <pc:spChg chg="add del mod">
          <ac:chgData name="Steiner Andreas 6206 ED" userId="e6377c33-a923-4f14-8587-531c474c7b48" providerId="ADAL" clId="{6ECD27E6-B224-41CD-B4E0-E297462320DD}" dt="2023-11-24T08:40:16.501" v="39137"/>
          <ac:spMkLst>
            <pc:docMk/>
            <pc:sldMk cId="1942033937" sldId="2147478573"/>
            <ac:spMk id="264" creationId="{6A97C583-B618-EF03-376C-2EC8F4652CDF}"/>
          </ac:spMkLst>
        </pc:spChg>
        <pc:spChg chg="add del mod">
          <ac:chgData name="Steiner Andreas 6206 ED" userId="e6377c33-a923-4f14-8587-531c474c7b48" providerId="ADAL" clId="{6ECD27E6-B224-41CD-B4E0-E297462320DD}" dt="2023-11-24T08:40:19.030" v="39292"/>
          <ac:spMkLst>
            <pc:docMk/>
            <pc:sldMk cId="1942033937" sldId="2147478573"/>
            <ac:spMk id="265" creationId="{5847EB58-C77D-8A0A-C432-3EE6BE684D3C}"/>
          </ac:spMkLst>
        </pc:spChg>
        <pc:spChg chg="add del mod">
          <ac:chgData name="Steiner Andreas 6206 ED" userId="e6377c33-a923-4f14-8587-531c474c7b48" providerId="ADAL" clId="{6ECD27E6-B224-41CD-B4E0-E297462320DD}" dt="2023-11-24T08:40:21.439" v="39447"/>
          <ac:spMkLst>
            <pc:docMk/>
            <pc:sldMk cId="1942033937" sldId="2147478573"/>
            <ac:spMk id="266" creationId="{F112CB3F-1CD1-43F8-88DE-D73D271F058F}"/>
          </ac:spMkLst>
        </pc:spChg>
        <pc:spChg chg="add del mod">
          <ac:chgData name="Steiner Andreas 6206 ED" userId="e6377c33-a923-4f14-8587-531c474c7b48" providerId="ADAL" clId="{6ECD27E6-B224-41CD-B4E0-E297462320DD}" dt="2023-11-24T08:40:24.058" v="39602"/>
          <ac:spMkLst>
            <pc:docMk/>
            <pc:sldMk cId="1942033937" sldId="2147478573"/>
            <ac:spMk id="267" creationId="{1007FF46-74AC-6152-1C50-4183E9DDEEC1}"/>
          </ac:spMkLst>
        </pc:spChg>
        <pc:spChg chg="add del mod">
          <ac:chgData name="Steiner Andreas 6206 ED" userId="e6377c33-a923-4f14-8587-531c474c7b48" providerId="ADAL" clId="{6ECD27E6-B224-41CD-B4E0-E297462320DD}" dt="2023-11-24T08:40:27.033" v="39757"/>
          <ac:spMkLst>
            <pc:docMk/>
            <pc:sldMk cId="1942033937" sldId="2147478573"/>
            <ac:spMk id="268" creationId="{DC360082-B9F4-CCAF-64A4-AF91DE38CB87}"/>
          </ac:spMkLst>
        </pc:spChg>
        <pc:spChg chg="add del mod">
          <ac:chgData name="Steiner Andreas 6206 ED" userId="e6377c33-a923-4f14-8587-531c474c7b48" providerId="ADAL" clId="{6ECD27E6-B224-41CD-B4E0-E297462320DD}" dt="2023-11-24T08:40:29.681" v="39912"/>
          <ac:spMkLst>
            <pc:docMk/>
            <pc:sldMk cId="1942033937" sldId="2147478573"/>
            <ac:spMk id="269" creationId="{F156B06A-E522-254F-5E89-8235C55D917D}"/>
          </ac:spMkLst>
        </pc:spChg>
        <pc:spChg chg="add del mod">
          <ac:chgData name="Steiner Andreas 6206 ED" userId="e6377c33-a923-4f14-8587-531c474c7b48" providerId="ADAL" clId="{6ECD27E6-B224-41CD-B4E0-E297462320DD}" dt="2023-11-24T08:40:32.207" v="40067"/>
          <ac:spMkLst>
            <pc:docMk/>
            <pc:sldMk cId="1942033937" sldId="2147478573"/>
            <ac:spMk id="270" creationId="{14AA1DC4-5227-43CD-71C2-F24B477AC67A}"/>
          </ac:spMkLst>
        </pc:spChg>
        <pc:spChg chg="add del mod">
          <ac:chgData name="Steiner Andreas 6206 ED" userId="e6377c33-a923-4f14-8587-531c474c7b48" providerId="ADAL" clId="{6ECD27E6-B224-41CD-B4E0-E297462320DD}" dt="2023-11-24T08:40:34.831" v="40222"/>
          <ac:spMkLst>
            <pc:docMk/>
            <pc:sldMk cId="1942033937" sldId="2147478573"/>
            <ac:spMk id="271" creationId="{9349DF52-B226-6E45-3DAA-F0E8E2911CBC}"/>
          </ac:spMkLst>
        </pc:spChg>
        <pc:spChg chg="add del mod">
          <ac:chgData name="Steiner Andreas 6206 ED" userId="e6377c33-a923-4f14-8587-531c474c7b48" providerId="ADAL" clId="{6ECD27E6-B224-41CD-B4E0-E297462320DD}" dt="2023-11-24T08:40:38.219" v="40377"/>
          <ac:spMkLst>
            <pc:docMk/>
            <pc:sldMk cId="1942033937" sldId="2147478573"/>
            <ac:spMk id="272" creationId="{B9C46664-A1BB-5F13-3BA2-9DB7F78E8141}"/>
          </ac:spMkLst>
        </pc:spChg>
        <pc:spChg chg="add del mod">
          <ac:chgData name="Steiner Andreas 6206 ED" userId="e6377c33-a923-4f14-8587-531c474c7b48" providerId="ADAL" clId="{6ECD27E6-B224-41CD-B4E0-E297462320DD}" dt="2023-11-24T08:40:40.896" v="40532"/>
          <ac:spMkLst>
            <pc:docMk/>
            <pc:sldMk cId="1942033937" sldId="2147478573"/>
            <ac:spMk id="273" creationId="{95FB61D8-5F0C-C4B6-D776-AFCDE74FF751}"/>
          </ac:spMkLst>
        </pc:spChg>
        <pc:spChg chg="add del mod">
          <ac:chgData name="Steiner Andreas 6206 ED" userId="e6377c33-a923-4f14-8587-531c474c7b48" providerId="ADAL" clId="{6ECD27E6-B224-41CD-B4E0-E297462320DD}" dt="2023-11-24T08:40:43.742" v="40687"/>
          <ac:spMkLst>
            <pc:docMk/>
            <pc:sldMk cId="1942033937" sldId="2147478573"/>
            <ac:spMk id="274" creationId="{F7D8C199-8D32-D72A-9BC2-81AE186A536A}"/>
          </ac:spMkLst>
        </pc:spChg>
        <pc:spChg chg="add del mod">
          <ac:chgData name="Steiner Andreas 6206 ED" userId="e6377c33-a923-4f14-8587-531c474c7b48" providerId="ADAL" clId="{6ECD27E6-B224-41CD-B4E0-E297462320DD}" dt="2023-11-24T08:40:46.182" v="40842"/>
          <ac:spMkLst>
            <pc:docMk/>
            <pc:sldMk cId="1942033937" sldId="2147478573"/>
            <ac:spMk id="275" creationId="{EF736741-EAE2-CE6C-FFA8-1D606FEFD62E}"/>
          </ac:spMkLst>
        </pc:spChg>
        <pc:spChg chg="add del mod">
          <ac:chgData name="Steiner Andreas 6206 ED" userId="e6377c33-a923-4f14-8587-531c474c7b48" providerId="ADAL" clId="{6ECD27E6-B224-41CD-B4E0-E297462320DD}" dt="2023-11-24T08:40:48.914" v="40997"/>
          <ac:spMkLst>
            <pc:docMk/>
            <pc:sldMk cId="1942033937" sldId="2147478573"/>
            <ac:spMk id="276" creationId="{DA0D679C-D97C-EA63-EA81-F81BA8C353D3}"/>
          </ac:spMkLst>
        </pc:spChg>
        <pc:spChg chg="add del mod">
          <ac:chgData name="Steiner Andreas 6206 ED" userId="e6377c33-a923-4f14-8587-531c474c7b48" providerId="ADAL" clId="{6ECD27E6-B224-41CD-B4E0-E297462320DD}" dt="2023-11-24T08:40:51.838" v="41152"/>
          <ac:spMkLst>
            <pc:docMk/>
            <pc:sldMk cId="1942033937" sldId="2147478573"/>
            <ac:spMk id="277" creationId="{CBBC0DB7-C5EA-89D2-1A86-399F46C64553}"/>
          </ac:spMkLst>
        </pc:spChg>
        <pc:spChg chg="add del mod">
          <ac:chgData name="Steiner Andreas 6206 ED" userId="e6377c33-a923-4f14-8587-531c474c7b48" providerId="ADAL" clId="{6ECD27E6-B224-41CD-B4E0-E297462320DD}" dt="2023-11-24T08:40:54.355" v="41307"/>
          <ac:spMkLst>
            <pc:docMk/>
            <pc:sldMk cId="1942033937" sldId="2147478573"/>
            <ac:spMk id="278" creationId="{1F900D58-C872-98D2-9316-0E6C937781D9}"/>
          </ac:spMkLst>
        </pc:spChg>
        <pc:spChg chg="add del mod">
          <ac:chgData name="Steiner Andreas 6206 ED" userId="e6377c33-a923-4f14-8587-531c474c7b48" providerId="ADAL" clId="{6ECD27E6-B224-41CD-B4E0-E297462320DD}" dt="2023-11-24T08:40:56.826" v="41462"/>
          <ac:spMkLst>
            <pc:docMk/>
            <pc:sldMk cId="1942033937" sldId="2147478573"/>
            <ac:spMk id="279" creationId="{6E14A7A0-78C9-7904-D35B-5D29C9CF4A92}"/>
          </ac:spMkLst>
        </pc:spChg>
        <pc:spChg chg="add del mod">
          <ac:chgData name="Steiner Andreas 6206 ED" userId="e6377c33-a923-4f14-8587-531c474c7b48" providerId="ADAL" clId="{6ECD27E6-B224-41CD-B4E0-E297462320DD}" dt="2023-11-24T08:40:59.531" v="41617"/>
          <ac:spMkLst>
            <pc:docMk/>
            <pc:sldMk cId="1942033937" sldId="2147478573"/>
            <ac:spMk id="280" creationId="{F09D27DA-4D50-11D4-3654-F8C94B7ADCE4}"/>
          </ac:spMkLst>
        </pc:spChg>
        <pc:spChg chg="add del mod">
          <ac:chgData name="Steiner Andreas 6206 ED" userId="e6377c33-a923-4f14-8587-531c474c7b48" providerId="ADAL" clId="{6ECD27E6-B224-41CD-B4E0-E297462320DD}" dt="2023-11-24T08:41:02.506" v="41772"/>
          <ac:spMkLst>
            <pc:docMk/>
            <pc:sldMk cId="1942033937" sldId="2147478573"/>
            <ac:spMk id="281" creationId="{1C6B0778-50F5-A9A0-548E-08C9880BAC02}"/>
          </ac:spMkLst>
        </pc:spChg>
        <pc:spChg chg="add del mod">
          <ac:chgData name="Steiner Andreas 6206 ED" userId="e6377c33-a923-4f14-8587-531c474c7b48" providerId="ADAL" clId="{6ECD27E6-B224-41CD-B4E0-E297462320DD}" dt="2023-11-24T08:41:05.228" v="41927"/>
          <ac:spMkLst>
            <pc:docMk/>
            <pc:sldMk cId="1942033937" sldId="2147478573"/>
            <ac:spMk id="282" creationId="{2CAFF2DB-70C5-0A2F-86B6-DBDF3D1A3F48}"/>
          </ac:spMkLst>
        </pc:spChg>
        <pc:spChg chg="add del mod">
          <ac:chgData name="Steiner Andreas 6206 ED" userId="e6377c33-a923-4f14-8587-531c474c7b48" providerId="ADAL" clId="{6ECD27E6-B224-41CD-B4E0-E297462320DD}" dt="2023-11-24T08:41:08.474" v="42082"/>
          <ac:spMkLst>
            <pc:docMk/>
            <pc:sldMk cId="1942033937" sldId="2147478573"/>
            <ac:spMk id="283" creationId="{2F730DDB-1C0A-4198-C7B3-4955A2620BB3}"/>
          </ac:spMkLst>
        </pc:spChg>
        <pc:spChg chg="add del mod">
          <ac:chgData name="Steiner Andreas 6206 ED" userId="e6377c33-a923-4f14-8587-531c474c7b48" providerId="ADAL" clId="{6ECD27E6-B224-41CD-B4E0-E297462320DD}" dt="2023-11-24T08:41:12.407" v="42237"/>
          <ac:spMkLst>
            <pc:docMk/>
            <pc:sldMk cId="1942033937" sldId="2147478573"/>
            <ac:spMk id="284" creationId="{527C9BFE-65BB-2B8F-0E55-684056825A4C}"/>
          </ac:spMkLst>
        </pc:spChg>
        <pc:spChg chg="add del mod">
          <ac:chgData name="Steiner Andreas 6206 ED" userId="e6377c33-a923-4f14-8587-531c474c7b48" providerId="ADAL" clId="{6ECD27E6-B224-41CD-B4E0-E297462320DD}" dt="2023-11-24T08:41:15.208" v="42392"/>
          <ac:spMkLst>
            <pc:docMk/>
            <pc:sldMk cId="1942033937" sldId="2147478573"/>
            <ac:spMk id="285" creationId="{5C385A90-729C-1722-7972-ADDFB2C07242}"/>
          </ac:spMkLst>
        </pc:spChg>
        <pc:spChg chg="add del mod">
          <ac:chgData name="Steiner Andreas 6206 ED" userId="e6377c33-a923-4f14-8587-531c474c7b48" providerId="ADAL" clId="{6ECD27E6-B224-41CD-B4E0-E297462320DD}" dt="2023-11-24T08:41:17.355" v="42547"/>
          <ac:spMkLst>
            <pc:docMk/>
            <pc:sldMk cId="1942033937" sldId="2147478573"/>
            <ac:spMk id="286" creationId="{3AD1D006-A273-4727-7B74-6E0165D7024C}"/>
          </ac:spMkLst>
        </pc:spChg>
        <pc:spChg chg="add del mod">
          <ac:chgData name="Steiner Andreas 6206 ED" userId="e6377c33-a923-4f14-8587-531c474c7b48" providerId="ADAL" clId="{6ECD27E6-B224-41CD-B4E0-E297462320DD}" dt="2023-11-24T08:41:19.797" v="42702"/>
          <ac:spMkLst>
            <pc:docMk/>
            <pc:sldMk cId="1942033937" sldId="2147478573"/>
            <ac:spMk id="287" creationId="{B0AC9BCD-6528-2619-12A5-AEB65D1A9A6E}"/>
          </ac:spMkLst>
        </pc:spChg>
        <pc:spChg chg="add del mod">
          <ac:chgData name="Steiner Andreas 6206 ED" userId="e6377c33-a923-4f14-8587-531c474c7b48" providerId="ADAL" clId="{6ECD27E6-B224-41CD-B4E0-E297462320DD}" dt="2023-11-24T08:41:22.126" v="42857"/>
          <ac:spMkLst>
            <pc:docMk/>
            <pc:sldMk cId="1942033937" sldId="2147478573"/>
            <ac:spMk id="288" creationId="{38DF06C6-CC4C-00BF-DEF3-8A0F4F3521D1}"/>
          </ac:spMkLst>
        </pc:spChg>
        <pc:spChg chg="add del mod">
          <ac:chgData name="Steiner Andreas 6206 ED" userId="e6377c33-a923-4f14-8587-531c474c7b48" providerId="ADAL" clId="{6ECD27E6-B224-41CD-B4E0-E297462320DD}" dt="2023-11-24T08:41:24.273" v="43012"/>
          <ac:spMkLst>
            <pc:docMk/>
            <pc:sldMk cId="1942033937" sldId="2147478573"/>
            <ac:spMk id="289" creationId="{66644AC9-0A7B-3C9E-E3CB-60D8D6DDD84D}"/>
          </ac:spMkLst>
        </pc:spChg>
        <pc:spChg chg="add del mod">
          <ac:chgData name="Steiner Andreas 6206 ED" userId="e6377c33-a923-4f14-8587-531c474c7b48" providerId="ADAL" clId="{6ECD27E6-B224-41CD-B4E0-E297462320DD}" dt="2023-11-24T08:41:26.766" v="43167"/>
          <ac:spMkLst>
            <pc:docMk/>
            <pc:sldMk cId="1942033937" sldId="2147478573"/>
            <ac:spMk id="290" creationId="{13932FFD-EA85-87F1-B9B3-066B0B844782}"/>
          </ac:spMkLst>
        </pc:spChg>
        <pc:spChg chg="add del mod">
          <ac:chgData name="Steiner Andreas 6206 ED" userId="e6377c33-a923-4f14-8587-531c474c7b48" providerId="ADAL" clId="{6ECD27E6-B224-41CD-B4E0-E297462320DD}" dt="2023-11-24T08:41:28.926" v="43322"/>
          <ac:spMkLst>
            <pc:docMk/>
            <pc:sldMk cId="1942033937" sldId="2147478573"/>
            <ac:spMk id="291" creationId="{99011FB4-EE8C-2D33-A077-18142854A69A}"/>
          </ac:spMkLst>
        </pc:spChg>
        <pc:spChg chg="add del mod">
          <ac:chgData name="Steiner Andreas 6206 ED" userId="e6377c33-a923-4f14-8587-531c474c7b48" providerId="ADAL" clId="{6ECD27E6-B224-41CD-B4E0-E297462320DD}" dt="2023-11-24T08:41:31.117" v="43477"/>
          <ac:spMkLst>
            <pc:docMk/>
            <pc:sldMk cId="1942033937" sldId="2147478573"/>
            <ac:spMk id="292" creationId="{71D6E973-6ACD-7B9C-0FB7-F09C59F7CEDE}"/>
          </ac:spMkLst>
        </pc:spChg>
        <pc:spChg chg="add del mod">
          <ac:chgData name="Steiner Andreas 6206 ED" userId="e6377c33-a923-4f14-8587-531c474c7b48" providerId="ADAL" clId="{6ECD27E6-B224-41CD-B4E0-E297462320DD}" dt="2023-11-24T08:41:35.514" v="43632"/>
          <ac:spMkLst>
            <pc:docMk/>
            <pc:sldMk cId="1942033937" sldId="2147478573"/>
            <ac:spMk id="293" creationId="{936482AC-64B7-1E07-55CD-7DACF77721EC}"/>
          </ac:spMkLst>
        </pc:spChg>
        <pc:spChg chg="add del mod">
          <ac:chgData name="Steiner Andreas 6206 ED" userId="e6377c33-a923-4f14-8587-531c474c7b48" providerId="ADAL" clId="{6ECD27E6-B224-41CD-B4E0-E297462320DD}" dt="2023-11-24T08:41:38.506" v="43787"/>
          <ac:spMkLst>
            <pc:docMk/>
            <pc:sldMk cId="1942033937" sldId="2147478573"/>
            <ac:spMk id="294" creationId="{C40CCC7C-8698-A614-F4CA-3F51B0F976B4}"/>
          </ac:spMkLst>
        </pc:spChg>
        <pc:spChg chg="add del mod">
          <ac:chgData name="Steiner Andreas 6206 ED" userId="e6377c33-a923-4f14-8587-531c474c7b48" providerId="ADAL" clId="{6ECD27E6-B224-41CD-B4E0-E297462320DD}" dt="2023-11-24T08:41:40.782" v="43942"/>
          <ac:spMkLst>
            <pc:docMk/>
            <pc:sldMk cId="1942033937" sldId="2147478573"/>
            <ac:spMk id="295" creationId="{AF759865-B3A8-4FBE-35D0-CFB01BEB493E}"/>
          </ac:spMkLst>
        </pc:spChg>
        <pc:spChg chg="add del mod">
          <ac:chgData name="Steiner Andreas 6206 ED" userId="e6377c33-a923-4f14-8587-531c474c7b48" providerId="ADAL" clId="{6ECD27E6-B224-41CD-B4E0-E297462320DD}" dt="2023-11-24T08:41:43.165" v="44097"/>
          <ac:spMkLst>
            <pc:docMk/>
            <pc:sldMk cId="1942033937" sldId="2147478573"/>
            <ac:spMk id="296" creationId="{C51D2E3E-0D64-AE96-50AA-807E6ADEBCE8}"/>
          </ac:spMkLst>
        </pc:spChg>
        <pc:spChg chg="add del mod">
          <ac:chgData name="Steiner Andreas 6206 ED" userId="e6377c33-a923-4f14-8587-531c474c7b48" providerId="ADAL" clId="{6ECD27E6-B224-41CD-B4E0-E297462320DD}" dt="2023-11-24T08:41:45.095" v="44252"/>
          <ac:spMkLst>
            <pc:docMk/>
            <pc:sldMk cId="1942033937" sldId="2147478573"/>
            <ac:spMk id="297" creationId="{57151B97-A5DB-3411-02EE-9B365E2DC085}"/>
          </ac:spMkLst>
        </pc:spChg>
        <pc:spChg chg="add del mod">
          <ac:chgData name="Steiner Andreas 6206 ED" userId="e6377c33-a923-4f14-8587-531c474c7b48" providerId="ADAL" clId="{6ECD27E6-B224-41CD-B4E0-E297462320DD}" dt="2023-11-24T08:41:46.998" v="44407"/>
          <ac:spMkLst>
            <pc:docMk/>
            <pc:sldMk cId="1942033937" sldId="2147478573"/>
            <ac:spMk id="298" creationId="{6F04FF8A-8D1D-3008-8162-05CD8AA506C4}"/>
          </ac:spMkLst>
        </pc:spChg>
        <pc:spChg chg="add del mod">
          <ac:chgData name="Steiner Andreas 6206 ED" userId="e6377c33-a923-4f14-8587-531c474c7b48" providerId="ADAL" clId="{6ECD27E6-B224-41CD-B4E0-E297462320DD}" dt="2023-11-24T08:41:49.025" v="44562"/>
          <ac:spMkLst>
            <pc:docMk/>
            <pc:sldMk cId="1942033937" sldId="2147478573"/>
            <ac:spMk id="299" creationId="{B1694416-8E45-D1C3-DCB1-7B90E07CAD81}"/>
          </ac:spMkLst>
        </pc:spChg>
        <pc:spChg chg="add del mod">
          <ac:chgData name="Steiner Andreas 6206 ED" userId="e6377c33-a923-4f14-8587-531c474c7b48" providerId="ADAL" clId="{6ECD27E6-B224-41CD-B4E0-E297462320DD}" dt="2023-11-24T08:41:50.904" v="44717"/>
          <ac:spMkLst>
            <pc:docMk/>
            <pc:sldMk cId="1942033937" sldId="2147478573"/>
            <ac:spMk id="300" creationId="{104FA011-06F5-C495-5777-BFA0CBB5F309}"/>
          </ac:spMkLst>
        </pc:spChg>
        <pc:spChg chg="add del mod">
          <ac:chgData name="Steiner Andreas 6206 ED" userId="e6377c33-a923-4f14-8587-531c474c7b48" providerId="ADAL" clId="{6ECD27E6-B224-41CD-B4E0-E297462320DD}" dt="2023-11-24T08:41:53.236" v="44872"/>
          <ac:spMkLst>
            <pc:docMk/>
            <pc:sldMk cId="1942033937" sldId="2147478573"/>
            <ac:spMk id="301" creationId="{6772A9D5-A9EF-DEC5-1BF3-53787EB87B4D}"/>
          </ac:spMkLst>
        </pc:spChg>
        <pc:spChg chg="add del mod">
          <ac:chgData name="Steiner Andreas 6206 ED" userId="e6377c33-a923-4f14-8587-531c474c7b48" providerId="ADAL" clId="{6ECD27E6-B224-41CD-B4E0-E297462320DD}" dt="2023-11-24T08:41:55.168" v="45027"/>
          <ac:spMkLst>
            <pc:docMk/>
            <pc:sldMk cId="1942033937" sldId="2147478573"/>
            <ac:spMk id="302" creationId="{69B489FE-3E44-68C9-CC7A-B3C67339F249}"/>
          </ac:spMkLst>
        </pc:spChg>
        <pc:spChg chg="add del mod">
          <ac:chgData name="Steiner Andreas 6206 ED" userId="e6377c33-a923-4f14-8587-531c474c7b48" providerId="ADAL" clId="{6ECD27E6-B224-41CD-B4E0-E297462320DD}" dt="2023-11-24T08:41:57.432" v="45182"/>
          <ac:spMkLst>
            <pc:docMk/>
            <pc:sldMk cId="1942033937" sldId="2147478573"/>
            <ac:spMk id="303" creationId="{785BE126-379B-C507-B2CE-8D05E9C6F13B}"/>
          </ac:spMkLst>
        </pc:spChg>
        <pc:spChg chg="add del mod">
          <ac:chgData name="Steiner Andreas 6206 ED" userId="e6377c33-a923-4f14-8587-531c474c7b48" providerId="ADAL" clId="{6ECD27E6-B224-41CD-B4E0-E297462320DD}" dt="2023-11-24T08:41:59.571" v="45337"/>
          <ac:spMkLst>
            <pc:docMk/>
            <pc:sldMk cId="1942033937" sldId="2147478573"/>
            <ac:spMk id="304" creationId="{3E3156F0-B614-9325-9E2B-D33D8CB68F5E}"/>
          </ac:spMkLst>
        </pc:spChg>
        <pc:spChg chg="add del mod">
          <ac:chgData name="Steiner Andreas 6206 ED" userId="e6377c33-a923-4f14-8587-531c474c7b48" providerId="ADAL" clId="{6ECD27E6-B224-41CD-B4E0-E297462320DD}" dt="2023-11-24T08:42:01.811" v="45492"/>
          <ac:spMkLst>
            <pc:docMk/>
            <pc:sldMk cId="1942033937" sldId="2147478573"/>
            <ac:spMk id="305" creationId="{1F587F84-A30F-A015-7A66-FC51F71FB81B}"/>
          </ac:spMkLst>
        </pc:spChg>
        <pc:spChg chg="add del mod">
          <ac:chgData name="Steiner Andreas 6206 ED" userId="e6377c33-a923-4f14-8587-531c474c7b48" providerId="ADAL" clId="{6ECD27E6-B224-41CD-B4E0-E297462320DD}" dt="2023-11-24T08:42:03.831" v="45647"/>
          <ac:spMkLst>
            <pc:docMk/>
            <pc:sldMk cId="1942033937" sldId="2147478573"/>
            <ac:spMk id="306" creationId="{F61072E4-FF80-78E4-6E75-13A9E99D0A92}"/>
          </ac:spMkLst>
        </pc:spChg>
        <pc:spChg chg="add del mod">
          <ac:chgData name="Steiner Andreas 6206 ED" userId="e6377c33-a923-4f14-8587-531c474c7b48" providerId="ADAL" clId="{6ECD27E6-B224-41CD-B4E0-E297462320DD}" dt="2023-11-24T08:42:05.789" v="45802"/>
          <ac:spMkLst>
            <pc:docMk/>
            <pc:sldMk cId="1942033937" sldId="2147478573"/>
            <ac:spMk id="307" creationId="{085DD972-D3B4-6F78-98BE-A82EB9AEF7B7}"/>
          </ac:spMkLst>
        </pc:spChg>
        <pc:spChg chg="add del mod">
          <ac:chgData name="Steiner Andreas 6206 ED" userId="e6377c33-a923-4f14-8587-531c474c7b48" providerId="ADAL" clId="{6ECD27E6-B224-41CD-B4E0-E297462320DD}" dt="2023-11-24T08:42:07.699" v="45957"/>
          <ac:spMkLst>
            <pc:docMk/>
            <pc:sldMk cId="1942033937" sldId="2147478573"/>
            <ac:spMk id="308" creationId="{4BA40FC7-CBD3-B27D-9683-9BB93CA84D9C}"/>
          </ac:spMkLst>
        </pc:spChg>
        <pc:spChg chg="add del mod">
          <ac:chgData name="Steiner Andreas 6206 ED" userId="e6377c33-a923-4f14-8587-531c474c7b48" providerId="ADAL" clId="{6ECD27E6-B224-41CD-B4E0-E297462320DD}" dt="2023-11-24T08:42:09.589" v="46112"/>
          <ac:spMkLst>
            <pc:docMk/>
            <pc:sldMk cId="1942033937" sldId="2147478573"/>
            <ac:spMk id="309" creationId="{FE38E63C-B2F6-7F37-9EB7-CD65147FD022}"/>
          </ac:spMkLst>
        </pc:spChg>
        <pc:spChg chg="add del mod">
          <ac:chgData name="Steiner Andreas 6206 ED" userId="e6377c33-a923-4f14-8587-531c474c7b48" providerId="ADAL" clId="{6ECD27E6-B224-41CD-B4E0-E297462320DD}" dt="2023-11-24T08:42:11.925" v="46267"/>
          <ac:spMkLst>
            <pc:docMk/>
            <pc:sldMk cId="1942033937" sldId="2147478573"/>
            <ac:spMk id="310" creationId="{265F8F3B-9F98-3A7A-CD6F-25FE4799E282}"/>
          </ac:spMkLst>
        </pc:spChg>
        <pc:spChg chg="add del mod">
          <ac:chgData name="Steiner Andreas 6206 ED" userId="e6377c33-a923-4f14-8587-531c474c7b48" providerId="ADAL" clId="{6ECD27E6-B224-41CD-B4E0-E297462320DD}" dt="2023-11-24T08:42:14.331" v="46422"/>
          <ac:spMkLst>
            <pc:docMk/>
            <pc:sldMk cId="1942033937" sldId="2147478573"/>
            <ac:spMk id="311" creationId="{F7B45DFE-8399-6085-5629-C28F74EAE6DB}"/>
          </ac:spMkLst>
        </pc:spChg>
        <pc:spChg chg="add del mod">
          <ac:chgData name="Steiner Andreas 6206 ED" userId="e6377c33-a923-4f14-8587-531c474c7b48" providerId="ADAL" clId="{6ECD27E6-B224-41CD-B4E0-E297462320DD}" dt="2023-11-24T08:42:16.860" v="46577"/>
          <ac:spMkLst>
            <pc:docMk/>
            <pc:sldMk cId="1942033937" sldId="2147478573"/>
            <ac:spMk id="312" creationId="{4B898B8E-C29C-E4B0-CB45-1A697B902D41}"/>
          </ac:spMkLst>
        </pc:spChg>
        <pc:spChg chg="add del mod">
          <ac:chgData name="Steiner Andreas 6206 ED" userId="e6377c33-a923-4f14-8587-531c474c7b48" providerId="ADAL" clId="{6ECD27E6-B224-41CD-B4E0-E297462320DD}" dt="2023-11-24T08:42:18.980" v="46732"/>
          <ac:spMkLst>
            <pc:docMk/>
            <pc:sldMk cId="1942033937" sldId="2147478573"/>
            <ac:spMk id="313" creationId="{93B9BDE4-B6A4-26A7-CA14-8CBD0FFD1CCA}"/>
          </ac:spMkLst>
        </pc:spChg>
        <pc:spChg chg="add del mod">
          <ac:chgData name="Steiner Andreas 6206 ED" userId="e6377c33-a923-4f14-8587-531c474c7b48" providerId="ADAL" clId="{6ECD27E6-B224-41CD-B4E0-E297462320DD}" dt="2023-11-24T08:42:21.288" v="46887"/>
          <ac:spMkLst>
            <pc:docMk/>
            <pc:sldMk cId="1942033937" sldId="2147478573"/>
            <ac:spMk id="314" creationId="{5280EC7A-577C-FF4E-ED61-D86315FF6674}"/>
          </ac:spMkLst>
        </pc:spChg>
        <pc:spChg chg="add del mod">
          <ac:chgData name="Steiner Andreas 6206 ED" userId="e6377c33-a923-4f14-8587-531c474c7b48" providerId="ADAL" clId="{6ECD27E6-B224-41CD-B4E0-E297462320DD}" dt="2023-11-24T08:42:23.929" v="47042"/>
          <ac:spMkLst>
            <pc:docMk/>
            <pc:sldMk cId="1942033937" sldId="2147478573"/>
            <ac:spMk id="315" creationId="{1180FBA6-65E5-EE80-33A5-0FE7F2D4A4D2}"/>
          </ac:spMkLst>
        </pc:spChg>
        <pc:spChg chg="add del mod">
          <ac:chgData name="Steiner Andreas 6206 ED" userId="e6377c33-a923-4f14-8587-531c474c7b48" providerId="ADAL" clId="{6ECD27E6-B224-41CD-B4E0-E297462320DD}" dt="2023-11-24T08:42:25.928" v="47197"/>
          <ac:spMkLst>
            <pc:docMk/>
            <pc:sldMk cId="1942033937" sldId="2147478573"/>
            <ac:spMk id="316" creationId="{8C5AC653-2435-8DEB-49D5-C9230AD5C5F6}"/>
          </ac:spMkLst>
        </pc:spChg>
        <pc:spChg chg="add del mod">
          <ac:chgData name="Steiner Andreas 6206 ED" userId="e6377c33-a923-4f14-8587-531c474c7b48" providerId="ADAL" clId="{6ECD27E6-B224-41CD-B4E0-E297462320DD}" dt="2023-11-24T08:42:27.829" v="47352"/>
          <ac:spMkLst>
            <pc:docMk/>
            <pc:sldMk cId="1942033937" sldId="2147478573"/>
            <ac:spMk id="317" creationId="{BABB891B-0527-C749-6089-7A5F4C55E07B}"/>
          </ac:spMkLst>
        </pc:spChg>
        <pc:spChg chg="add del mod">
          <ac:chgData name="Steiner Andreas 6206 ED" userId="e6377c33-a923-4f14-8587-531c474c7b48" providerId="ADAL" clId="{6ECD27E6-B224-41CD-B4E0-E297462320DD}" dt="2023-11-24T08:42:29.597" v="47507"/>
          <ac:spMkLst>
            <pc:docMk/>
            <pc:sldMk cId="1942033937" sldId="2147478573"/>
            <ac:spMk id="318" creationId="{871E928F-EFD2-D607-6C16-C51253F2A90B}"/>
          </ac:spMkLst>
        </pc:spChg>
        <pc:spChg chg="add del mod">
          <ac:chgData name="Steiner Andreas 6206 ED" userId="e6377c33-a923-4f14-8587-531c474c7b48" providerId="ADAL" clId="{6ECD27E6-B224-41CD-B4E0-E297462320DD}" dt="2023-11-24T08:42:31.479" v="47662"/>
          <ac:spMkLst>
            <pc:docMk/>
            <pc:sldMk cId="1942033937" sldId="2147478573"/>
            <ac:spMk id="319" creationId="{8004F599-B67C-0586-EF30-95B251D14F21}"/>
          </ac:spMkLst>
        </pc:spChg>
        <pc:spChg chg="add del mod">
          <ac:chgData name="Steiner Andreas 6206 ED" userId="e6377c33-a923-4f14-8587-531c474c7b48" providerId="ADAL" clId="{6ECD27E6-B224-41CD-B4E0-E297462320DD}" dt="2023-11-24T08:42:33.464" v="47817"/>
          <ac:spMkLst>
            <pc:docMk/>
            <pc:sldMk cId="1942033937" sldId="2147478573"/>
            <ac:spMk id="320" creationId="{B1A7C61C-0039-B493-BCDB-F9F616128B66}"/>
          </ac:spMkLst>
        </pc:spChg>
        <pc:spChg chg="add del mod">
          <ac:chgData name="Steiner Andreas 6206 ED" userId="e6377c33-a923-4f14-8587-531c474c7b48" providerId="ADAL" clId="{6ECD27E6-B224-41CD-B4E0-E297462320DD}" dt="2023-11-24T08:42:35.534" v="47972"/>
          <ac:spMkLst>
            <pc:docMk/>
            <pc:sldMk cId="1942033937" sldId="2147478573"/>
            <ac:spMk id="321" creationId="{1D16E155-B33E-276B-9848-CFCCA788778D}"/>
          </ac:spMkLst>
        </pc:spChg>
        <pc:spChg chg="add del mod">
          <ac:chgData name="Steiner Andreas 6206 ED" userId="e6377c33-a923-4f14-8587-531c474c7b48" providerId="ADAL" clId="{6ECD27E6-B224-41CD-B4E0-E297462320DD}" dt="2023-11-24T08:42:37.422" v="48127"/>
          <ac:spMkLst>
            <pc:docMk/>
            <pc:sldMk cId="1942033937" sldId="2147478573"/>
            <ac:spMk id="322" creationId="{D14D1C28-02BC-5259-47E8-355FD6A21320}"/>
          </ac:spMkLst>
        </pc:spChg>
        <pc:spChg chg="add del mod">
          <ac:chgData name="Steiner Andreas 6206 ED" userId="e6377c33-a923-4f14-8587-531c474c7b48" providerId="ADAL" clId="{6ECD27E6-B224-41CD-B4E0-E297462320DD}" dt="2023-11-24T08:42:39.287" v="48282"/>
          <ac:spMkLst>
            <pc:docMk/>
            <pc:sldMk cId="1942033937" sldId="2147478573"/>
            <ac:spMk id="323" creationId="{CBFD2724-FEFA-C64C-06E9-906C597C5C60}"/>
          </ac:spMkLst>
        </pc:spChg>
        <pc:spChg chg="add del mod">
          <ac:chgData name="Steiner Andreas 6206 ED" userId="e6377c33-a923-4f14-8587-531c474c7b48" providerId="ADAL" clId="{6ECD27E6-B224-41CD-B4E0-E297462320DD}" dt="2023-11-24T08:42:41.391" v="48437"/>
          <ac:spMkLst>
            <pc:docMk/>
            <pc:sldMk cId="1942033937" sldId="2147478573"/>
            <ac:spMk id="324" creationId="{71EAE9BE-A3A0-DF62-C70E-AB127D92C566}"/>
          </ac:spMkLst>
        </pc:spChg>
        <pc:spChg chg="add del mod">
          <ac:chgData name="Steiner Andreas 6206 ED" userId="e6377c33-a923-4f14-8587-531c474c7b48" providerId="ADAL" clId="{6ECD27E6-B224-41CD-B4E0-E297462320DD}" dt="2023-11-24T08:42:43.509" v="48592"/>
          <ac:spMkLst>
            <pc:docMk/>
            <pc:sldMk cId="1942033937" sldId="2147478573"/>
            <ac:spMk id="325" creationId="{9CBAFD5F-A7A8-083F-37E8-962B8065EC88}"/>
          </ac:spMkLst>
        </pc:spChg>
        <pc:spChg chg="add del mod">
          <ac:chgData name="Steiner Andreas 6206 ED" userId="e6377c33-a923-4f14-8587-531c474c7b48" providerId="ADAL" clId="{6ECD27E6-B224-41CD-B4E0-E297462320DD}" dt="2023-11-24T08:42:45.533" v="48747"/>
          <ac:spMkLst>
            <pc:docMk/>
            <pc:sldMk cId="1942033937" sldId="2147478573"/>
            <ac:spMk id="326" creationId="{024956FF-D3A1-321F-B9D7-D78D148544DB}"/>
          </ac:spMkLst>
        </pc:spChg>
        <pc:spChg chg="add del mod">
          <ac:chgData name="Steiner Andreas 6206 ED" userId="e6377c33-a923-4f14-8587-531c474c7b48" providerId="ADAL" clId="{6ECD27E6-B224-41CD-B4E0-E297462320DD}" dt="2023-11-24T08:42:47.429" v="48902"/>
          <ac:spMkLst>
            <pc:docMk/>
            <pc:sldMk cId="1942033937" sldId="2147478573"/>
            <ac:spMk id="327" creationId="{5DE5F54A-CE2E-0C43-5DD6-9DFE665924AA}"/>
          </ac:spMkLst>
        </pc:spChg>
        <pc:spChg chg="add del mod">
          <ac:chgData name="Steiner Andreas 6206 ED" userId="e6377c33-a923-4f14-8587-531c474c7b48" providerId="ADAL" clId="{6ECD27E6-B224-41CD-B4E0-E297462320DD}" dt="2023-11-24T08:42:49.239" v="49057"/>
          <ac:spMkLst>
            <pc:docMk/>
            <pc:sldMk cId="1942033937" sldId="2147478573"/>
            <ac:spMk id="328" creationId="{AB9641D0-441C-903B-E7BB-AD3EAD5393D2}"/>
          </ac:spMkLst>
        </pc:spChg>
        <pc:spChg chg="add del mod">
          <ac:chgData name="Steiner Andreas 6206 ED" userId="e6377c33-a923-4f14-8587-531c474c7b48" providerId="ADAL" clId="{6ECD27E6-B224-41CD-B4E0-E297462320DD}" dt="2023-11-24T08:42:51.109" v="49212"/>
          <ac:spMkLst>
            <pc:docMk/>
            <pc:sldMk cId="1942033937" sldId="2147478573"/>
            <ac:spMk id="329" creationId="{111FAF5E-96E3-A156-CB4E-C65CF4A27C43}"/>
          </ac:spMkLst>
        </pc:spChg>
        <pc:spChg chg="add del mod">
          <ac:chgData name="Steiner Andreas 6206 ED" userId="e6377c33-a923-4f14-8587-531c474c7b48" providerId="ADAL" clId="{6ECD27E6-B224-41CD-B4E0-E297462320DD}" dt="2023-11-24T08:42:53.194" v="49367"/>
          <ac:spMkLst>
            <pc:docMk/>
            <pc:sldMk cId="1942033937" sldId="2147478573"/>
            <ac:spMk id="330" creationId="{F8D5329F-60A0-2EB2-DFE1-6FBA9FC0D149}"/>
          </ac:spMkLst>
        </pc:spChg>
        <pc:spChg chg="add del mod">
          <ac:chgData name="Steiner Andreas 6206 ED" userId="e6377c33-a923-4f14-8587-531c474c7b48" providerId="ADAL" clId="{6ECD27E6-B224-41CD-B4E0-E297462320DD}" dt="2023-11-24T08:42:55.791" v="49522"/>
          <ac:spMkLst>
            <pc:docMk/>
            <pc:sldMk cId="1942033937" sldId="2147478573"/>
            <ac:spMk id="331" creationId="{09C93FD1-76C4-7995-63DC-66E83DCB5FAA}"/>
          </ac:spMkLst>
        </pc:spChg>
        <pc:spChg chg="add del mod">
          <ac:chgData name="Steiner Andreas 6206 ED" userId="e6377c33-a923-4f14-8587-531c474c7b48" providerId="ADAL" clId="{6ECD27E6-B224-41CD-B4E0-E297462320DD}" dt="2023-11-24T08:42:57.901" v="49677"/>
          <ac:spMkLst>
            <pc:docMk/>
            <pc:sldMk cId="1942033937" sldId="2147478573"/>
            <ac:spMk id="332" creationId="{9C9A2794-4BE9-E4DB-0213-B66B00057D21}"/>
          </ac:spMkLst>
        </pc:spChg>
        <pc:spChg chg="add del mod">
          <ac:chgData name="Steiner Andreas 6206 ED" userId="e6377c33-a923-4f14-8587-531c474c7b48" providerId="ADAL" clId="{6ECD27E6-B224-41CD-B4E0-E297462320DD}" dt="2023-11-24T08:42:59.833" v="49832"/>
          <ac:spMkLst>
            <pc:docMk/>
            <pc:sldMk cId="1942033937" sldId="2147478573"/>
            <ac:spMk id="333" creationId="{85C4EA73-591F-5900-683C-F2BF8B44FE2E}"/>
          </ac:spMkLst>
        </pc:spChg>
        <pc:spChg chg="add del mod">
          <ac:chgData name="Steiner Andreas 6206 ED" userId="e6377c33-a923-4f14-8587-531c474c7b48" providerId="ADAL" clId="{6ECD27E6-B224-41CD-B4E0-E297462320DD}" dt="2023-11-24T08:43:01.826" v="49987"/>
          <ac:spMkLst>
            <pc:docMk/>
            <pc:sldMk cId="1942033937" sldId="2147478573"/>
            <ac:spMk id="334" creationId="{E3F3D3EC-FBEF-8A70-E436-87A0C2AAF04D}"/>
          </ac:spMkLst>
        </pc:spChg>
        <pc:spChg chg="add del mod">
          <ac:chgData name="Steiner Andreas 6206 ED" userId="e6377c33-a923-4f14-8587-531c474c7b48" providerId="ADAL" clId="{6ECD27E6-B224-41CD-B4E0-E297462320DD}" dt="2023-11-24T08:43:03.817" v="50142"/>
          <ac:spMkLst>
            <pc:docMk/>
            <pc:sldMk cId="1942033937" sldId="2147478573"/>
            <ac:spMk id="335" creationId="{760813CC-9F2E-8A83-F42E-01FE6DFACF5A}"/>
          </ac:spMkLst>
        </pc:spChg>
        <pc:spChg chg="add del mod">
          <ac:chgData name="Steiner Andreas 6206 ED" userId="e6377c33-a923-4f14-8587-531c474c7b48" providerId="ADAL" clId="{6ECD27E6-B224-41CD-B4E0-E297462320DD}" dt="2023-11-24T08:43:05.687" v="50297"/>
          <ac:spMkLst>
            <pc:docMk/>
            <pc:sldMk cId="1942033937" sldId="2147478573"/>
            <ac:spMk id="336" creationId="{EB06739B-7B10-A881-633D-8AEBA5E30F10}"/>
          </ac:spMkLst>
        </pc:spChg>
        <pc:spChg chg="add del mod">
          <ac:chgData name="Steiner Andreas 6206 ED" userId="e6377c33-a923-4f14-8587-531c474c7b48" providerId="ADAL" clId="{6ECD27E6-B224-41CD-B4E0-E297462320DD}" dt="2023-11-24T08:43:07.875" v="50452"/>
          <ac:spMkLst>
            <pc:docMk/>
            <pc:sldMk cId="1942033937" sldId="2147478573"/>
            <ac:spMk id="337" creationId="{BBBC80C5-DE5C-3AC0-9D4C-CB4E294EE617}"/>
          </ac:spMkLst>
        </pc:spChg>
        <pc:spChg chg="add del mod">
          <ac:chgData name="Steiner Andreas 6206 ED" userId="e6377c33-a923-4f14-8587-531c474c7b48" providerId="ADAL" clId="{6ECD27E6-B224-41CD-B4E0-E297462320DD}" dt="2023-11-24T08:43:09.970" v="50607"/>
          <ac:spMkLst>
            <pc:docMk/>
            <pc:sldMk cId="1942033937" sldId="2147478573"/>
            <ac:spMk id="338" creationId="{5072E77F-4D6B-2EB8-3C75-C2E6E2975DC9}"/>
          </ac:spMkLst>
        </pc:spChg>
        <pc:spChg chg="add del mod">
          <ac:chgData name="Steiner Andreas 6206 ED" userId="e6377c33-a923-4f14-8587-531c474c7b48" providerId="ADAL" clId="{6ECD27E6-B224-41CD-B4E0-E297462320DD}" dt="2023-11-24T08:43:11.801" v="50762"/>
          <ac:spMkLst>
            <pc:docMk/>
            <pc:sldMk cId="1942033937" sldId="2147478573"/>
            <ac:spMk id="339" creationId="{997C3878-A63E-FBE3-3CDD-622C1D4E3F30}"/>
          </ac:spMkLst>
        </pc:spChg>
        <pc:spChg chg="add del mod">
          <ac:chgData name="Steiner Andreas 6206 ED" userId="e6377c33-a923-4f14-8587-531c474c7b48" providerId="ADAL" clId="{6ECD27E6-B224-41CD-B4E0-E297462320DD}" dt="2023-11-24T08:43:13.857" v="50917"/>
          <ac:spMkLst>
            <pc:docMk/>
            <pc:sldMk cId="1942033937" sldId="2147478573"/>
            <ac:spMk id="340" creationId="{B7EDCDD8-1189-D0CB-2180-F59FE03B2ADF}"/>
          </ac:spMkLst>
        </pc:spChg>
        <pc:spChg chg="add del mod">
          <ac:chgData name="Steiner Andreas 6206 ED" userId="e6377c33-a923-4f14-8587-531c474c7b48" providerId="ADAL" clId="{6ECD27E6-B224-41CD-B4E0-E297462320DD}" dt="2023-11-24T08:43:15.826" v="51072"/>
          <ac:spMkLst>
            <pc:docMk/>
            <pc:sldMk cId="1942033937" sldId="2147478573"/>
            <ac:spMk id="341" creationId="{AABBC9A7-92F5-05EF-4606-199BF44D6305}"/>
          </ac:spMkLst>
        </pc:spChg>
        <pc:spChg chg="add del mod">
          <ac:chgData name="Steiner Andreas 6206 ED" userId="e6377c33-a923-4f14-8587-531c474c7b48" providerId="ADAL" clId="{6ECD27E6-B224-41CD-B4E0-E297462320DD}" dt="2023-11-24T08:43:17.917" v="51227"/>
          <ac:spMkLst>
            <pc:docMk/>
            <pc:sldMk cId="1942033937" sldId="2147478573"/>
            <ac:spMk id="342" creationId="{358A4F16-897E-5491-9316-D42AB2B9986B}"/>
          </ac:spMkLst>
        </pc:spChg>
        <pc:spChg chg="add del mod">
          <ac:chgData name="Steiner Andreas 6206 ED" userId="e6377c33-a923-4f14-8587-531c474c7b48" providerId="ADAL" clId="{6ECD27E6-B224-41CD-B4E0-E297462320DD}" dt="2023-11-24T08:43:19.898" v="51382"/>
          <ac:spMkLst>
            <pc:docMk/>
            <pc:sldMk cId="1942033937" sldId="2147478573"/>
            <ac:spMk id="343" creationId="{CE15FB48-3C1B-0E42-C13F-CC620FAF7D50}"/>
          </ac:spMkLst>
        </pc:spChg>
        <pc:spChg chg="add del mod">
          <ac:chgData name="Steiner Andreas 6206 ED" userId="e6377c33-a923-4f14-8587-531c474c7b48" providerId="ADAL" clId="{6ECD27E6-B224-41CD-B4E0-E297462320DD}" dt="2023-11-24T08:43:21.807" v="51537"/>
          <ac:spMkLst>
            <pc:docMk/>
            <pc:sldMk cId="1942033937" sldId="2147478573"/>
            <ac:spMk id="344" creationId="{C890AC42-D305-89E1-F980-3DE84FE68B36}"/>
          </ac:spMkLst>
        </pc:spChg>
        <pc:spChg chg="add del mod">
          <ac:chgData name="Steiner Andreas 6206 ED" userId="e6377c33-a923-4f14-8587-531c474c7b48" providerId="ADAL" clId="{6ECD27E6-B224-41CD-B4E0-E297462320DD}" dt="2023-11-24T08:43:23.735" v="51692"/>
          <ac:spMkLst>
            <pc:docMk/>
            <pc:sldMk cId="1942033937" sldId="2147478573"/>
            <ac:spMk id="345" creationId="{0D755672-012B-CD29-7CE9-E4755659AC6A}"/>
          </ac:spMkLst>
        </pc:spChg>
        <pc:spChg chg="add del mod">
          <ac:chgData name="Steiner Andreas 6206 ED" userId="e6377c33-a923-4f14-8587-531c474c7b48" providerId="ADAL" clId="{6ECD27E6-B224-41CD-B4E0-E297462320DD}" dt="2023-11-24T08:43:25.635" v="51847"/>
          <ac:spMkLst>
            <pc:docMk/>
            <pc:sldMk cId="1942033937" sldId="2147478573"/>
            <ac:spMk id="346" creationId="{234E6E80-6EE4-B925-1D9B-F334BC9EF8C2}"/>
          </ac:spMkLst>
        </pc:spChg>
        <pc:spChg chg="add del mod">
          <ac:chgData name="Steiner Andreas 6206 ED" userId="e6377c33-a923-4f14-8587-531c474c7b48" providerId="ADAL" clId="{6ECD27E6-B224-41CD-B4E0-E297462320DD}" dt="2023-11-24T08:43:27.450" v="52002"/>
          <ac:spMkLst>
            <pc:docMk/>
            <pc:sldMk cId="1942033937" sldId="2147478573"/>
            <ac:spMk id="347" creationId="{6EBF5752-C3A7-8783-361A-E8D70B003738}"/>
          </ac:spMkLst>
        </pc:spChg>
        <pc:spChg chg="add del mod">
          <ac:chgData name="Steiner Andreas 6206 ED" userId="e6377c33-a923-4f14-8587-531c474c7b48" providerId="ADAL" clId="{6ECD27E6-B224-41CD-B4E0-E297462320DD}" dt="2023-11-24T08:43:29.271" v="52157"/>
          <ac:spMkLst>
            <pc:docMk/>
            <pc:sldMk cId="1942033937" sldId="2147478573"/>
            <ac:spMk id="348" creationId="{07473827-BF54-C140-0871-BE86CC487BA3}"/>
          </ac:spMkLst>
        </pc:spChg>
        <pc:spChg chg="add del mod">
          <ac:chgData name="Steiner Andreas 6206 ED" userId="e6377c33-a923-4f14-8587-531c474c7b48" providerId="ADAL" clId="{6ECD27E6-B224-41CD-B4E0-E297462320DD}" dt="2023-11-24T08:43:31.909" v="52312"/>
          <ac:spMkLst>
            <pc:docMk/>
            <pc:sldMk cId="1942033937" sldId="2147478573"/>
            <ac:spMk id="349" creationId="{CE508241-BCE8-B7DB-51B7-92071E0CAA97}"/>
          </ac:spMkLst>
        </pc:spChg>
        <pc:spChg chg="add del mod">
          <ac:chgData name="Steiner Andreas 6206 ED" userId="e6377c33-a923-4f14-8587-531c474c7b48" providerId="ADAL" clId="{6ECD27E6-B224-41CD-B4E0-E297462320DD}" dt="2023-11-24T08:43:34.452" v="52467"/>
          <ac:spMkLst>
            <pc:docMk/>
            <pc:sldMk cId="1942033937" sldId="2147478573"/>
            <ac:spMk id="350" creationId="{DEC8B199-6DC5-FA98-353F-06F045E3B559}"/>
          </ac:spMkLst>
        </pc:spChg>
        <pc:spChg chg="add del mod">
          <ac:chgData name="Steiner Andreas 6206 ED" userId="e6377c33-a923-4f14-8587-531c474c7b48" providerId="ADAL" clId="{6ECD27E6-B224-41CD-B4E0-E297462320DD}" dt="2023-11-24T08:43:36.543" v="52622"/>
          <ac:spMkLst>
            <pc:docMk/>
            <pc:sldMk cId="1942033937" sldId="2147478573"/>
            <ac:spMk id="351" creationId="{412C4427-7630-69ED-2D6E-39105E9AB8A5}"/>
          </ac:spMkLst>
        </pc:spChg>
        <pc:spChg chg="add del mod">
          <ac:chgData name="Steiner Andreas 6206 ED" userId="e6377c33-a923-4f14-8587-531c474c7b48" providerId="ADAL" clId="{6ECD27E6-B224-41CD-B4E0-E297462320DD}" dt="2023-11-24T08:43:38.643" v="52777"/>
          <ac:spMkLst>
            <pc:docMk/>
            <pc:sldMk cId="1942033937" sldId="2147478573"/>
            <ac:spMk id="352" creationId="{655165BE-9A06-2566-79DC-A467E12585E3}"/>
          </ac:spMkLst>
        </pc:spChg>
        <pc:spChg chg="add del mod">
          <ac:chgData name="Steiner Andreas 6206 ED" userId="e6377c33-a923-4f14-8587-531c474c7b48" providerId="ADAL" clId="{6ECD27E6-B224-41CD-B4E0-E297462320DD}" dt="2023-11-24T08:43:40.771" v="52932"/>
          <ac:spMkLst>
            <pc:docMk/>
            <pc:sldMk cId="1942033937" sldId="2147478573"/>
            <ac:spMk id="353" creationId="{326ACE79-B40A-97ED-5BC7-8B1532227FC2}"/>
          </ac:spMkLst>
        </pc:spChg>
        <pc:spChg chg="add del mod">
          <ac:chgData name="Steiner Andreas 6206 ED" userId="e6377c33-a923-4f14-8587-531c474c7b48" providerId="ADAL" clId="{6ECD27E6-B224-41CD-B4E0-E297462320DD}" dt="2023-11-24T08:43:42.754" v="53087"/>
          <ac:spMkLst>
            <pc:docMk/>
            <pc:sldMk cId="1942033937" sldId="2147478573"/>
            <ac:spMk id="354" creationId="{1EF829A6-AC43-80F4-F1D3-FA837308FA37}"/>
          </ac:spMkLst>
        </pc:spChg>
        <pc:spChg chg="add del mod">
          <ac:chgData name="Steiner Andreas 6206 ED" userId="e6377c33-a923-4f14-8587-531c474c7b48" providerId="ADAL" clId="{6ECD27E6-B224-41CD-B4E0-E297462320DD}" dt="2023-11-24T08:43:44.579" v="53242"/>
          <ac:spMkLst>
            <pc:docMk/>
            <pc:sldMk cId="1942033937" sldId="2147478573"/>
            <ac:spMk id="355" creationId="{D1B05EA3-CA7E-B690-12D9-1F4200499720}"/>
          </ac:spMkLst>
        </pc:spChg>
        <pc:spChg chg="add del mod">
          <ac:chgData name="Steiner Andreas 6206 ED" userId="e6377c33-a923-4f14-8587-531c474c7b48" providerId="ADAL" clId="{6ECD27E6-B224-41CD-B4E0-E297462320DD}" dt="2023-11-24T08:43:46.358" v="53397"/>
          <ac:spMkLst>
            <pc:docMk/>
            <pc:sldMk cId="1942033937" sldId="2147478573"/>
            <ac:spMk id="356" creationId="{086F69CA-1A95-0E7D-89EC-4D83207324F1}"/>
          </ac:spMkLst>
        </pc:spChg>
        <pc:spChg chg="add del mod">
          <ac:chgData name="Steiner Andreas 6206 ED" userId="e6377c33-a923-4f14-8587-531c474c7b48" providerId="ADAL" clId="{6ECD27E6-B224-41CD-B4E0-E297462320DD}" dt="2023-11-24T08:43:48.306" v="53552"/>
          <ac:spMkLst>
            <pc:docMk/>
            <pc:sldMk cId="1942033937" sldId="2147478573"/>
            <ac:spMk id="357" creationId="{59B93C81-1D22-09FB-1359-B5CDD5873647}"/>
          </ac:spMkLst>
        </pc:spChg>
        <pc:spChg chg="add del mod">
          <ac:chgData name="Steiner Andreas 6206 ED" userId="e6377c33-a923-4f14-8587-531c474c7b48" providerId="ADAL" clId="{6ECD27E6-B224-41CD-B4E0-E297462320DD}" dt="2023-11-24T08:43:50.273" v="53707"/>
          <ac:spMkLst>
            <pc:docMk/>
            <pc:sldMk cId="1942033937" sldId="2147478573"/>
            <ac:spMk id="358" creationId="{CBE19C07-1922-F904-90DD-219D2FB03C24}"/>
          </ac:spMkLst>
        </pc:spChg>
        <pc:spChg chg="add del mod">
          <ac:chgData name="Steiner Andreas 6206 ED" userId="e6377c33-a923-4f14-8587-531c474c7b48" providerId="ADAL" clId="{6ECD27E6-B224-41CD-B4E0-E297462320DD}" dt="2023-11-24T08:43:52.364" v="53862"/>
          <ac:spMkLst>
            <pc:docMk/>
            <pc:sldMk cId="1942033937" sldId="2147478573"/>
            <ac:spMk id="359" creationId="{CD03699E-D448-B702-00B7-FCC228F3A2F0}"/>
          </ac:spMkLst>
        </pc:spChg>
        <pc:spChg chg="add del mod">
          <ac:chgData name="Steiner Andreas 6206 ED" userId="e6377c33-a923-4f14-8587-531c474c7b48" providerId="ADAL" clId="{6ECD27E6-B224-41CD-B4E0-E297462320DD}" dt="2023-11-24T08:43:55.070" v="54017"/>
          <ac:spMkLst>
            <pc:docMk/>
            <pc:sldMk cId="1942033937" sldId="2147478573"/>
            <ac:spMk id="360" creationId="{FC7404DD-7319-55DD-CD8F-F1D8802A3B2A}"/>
          </ac:spMkLst>
        </pc:spChg>
        <pc:spChg chg="add del mod">
          <ac:chgData name="Steiner Andreas 6206 ED" userId="e6377c33-a923-4f14-8587-531c474c7b48" providerId="ADAL" clId="{6ECD27E6-B224-41CD-B4E0-E297462320DD}" dt="2023-11-24T08:43:57.134" v="54172"/>
          <ac:spMkLst>
            <pc:docMk/>
            <pc:sldMk cId="1942033937" sldId="2147478573"/>
            <ac:spMk id="361" creationId="{C85BB81F-DB35-1877-166F-D4D07E1B04D9}"/>
          </ac:spMkLst>
        </pc:spChg>
        <pc:spChg chg="add del mod">
          <ac:chgData name="Steiner Andreas 6206 ED" userId="e6377c33-a923-4f14-8587-531c474c7b48" providerId="ADAL" clId="{6ECD27E6-B224-41CD-B4E0-E297462320DD}" dt="2023-11-24T08:43:59.273" v="54327"/>
          <ac:spMkLst>
            <pc:docMk/>
            <pc:sldMk cId="1942033937" sldId="2147478573"/>
            <ac:spMk id="362" creationId="{40EE0F69-A811-B57B-6190-D7EEF9AB97E4}"/>
          </ac:spMkLst>
        </pc:spChg>
        <pc:spChg chg="add del mod">
          <ac:chgData name="Steiner Andreas 6206 ED" userId="e6377c33-a923-4f14-8587-531c474c7b48" providerId="ADAL" clId="{6ECD27E6-B224-41CD-B4E0-E297462320DD}" dt="2023-11-24T08:44:01.569" v="54482"/>
          <ac:spMkLst>
            <pc:docMk/>
            <pc:sldMk cId="1942033937" sldId="2147478573"/>
            <ac:spMk id="363" creationId="{B8FC4A9F-D3A2-E855-D0DF-9140D9207E66}"/>
          </ac:spMkLst>
        </pc:spChg>
        <pc:spChg chg="add del mod">
          <ac:chgData name="Steiner Andreas 6206 ED" userId="e6377c33-a923-4f14-8587-531c474c7b48" providerId="ADAL" clId="{6ECD27E6-B224-41CD-B4E0-E297462320DD}" dt="2023-11-24T08:44:03.695" v="54637"/>
          <ac:spMkLst>
            <pc:docMk/>
            <pc:sldMk cId="1942033937" sldId="2147478573"/>
            <ac:spMk id="364" creationId="{3F5BC82C-49BB-6130-2ED7-2A28ED2F7669}"/>
          </ac:spMkLst>
        </pc:spChg>
        <pc:spChg chg="add del mod">
          <ac:chgData name="Steiner Andreas 6206 ED" userId="e6377c33-a923-4f14-8587-531c474c7b48" providerId="ADAL" clId="{6ECD27E6-B224-41CD-B4E0-E297462320DD}" dt="2023-11-24T08:44:05.804" v="54792"/>
          <ac:spMkLst>
            <pc:docMk/>
            <pc:sldMk cId="1942033937" sldId="2147478573"/>
            <ac:spMk id="365" creationId="{671600FE-D953-F3C8-58CA-CFDD72955509}"/>
          </ac:spMkLst>
        </pc:spChg>
        <pc:spChg chg="add del mod">
          <ac:chgData name="Steiner Andreas 6206 ED" userId="e6377c33-a923-4f14-8587-531c474c7b48" providerId="ADAL" clId="{6ECD27E6-B224-41CD-B4E0-E297462320DD}" dt="2023-11-24T08:44:07.787" v="54947"/>
          <ac:spMkLst>
            <pc:docMk/>
            <pc:sldMk cId="1942033937" sldId="2147478573"/>
            <ac:spMk id="366" creationId="{4F493DD1-2240-6F1E-F908-1262438FF0DE}"/>
          </ac:spMkLst>
        </pc:spChg>
        <pc:spChg chg="add del mod">
          <ac:chgData name="Steiner Andreas 6206 ED" userId="e6377c33-a923-4f14-8587-531c474c7b48" providerId="ADAL" clId="{6ECD27E6-B224-41CD-B4E0-E297462320DD}" dt="2023-11-24T08:44:09.771" v="55102"/>
          <ac:spMkLst>
            <pc:docMk/>
            <pc:sldMk cId="1942033937" sldId="2147478573"/>
            <ac:spMk id="367" creationId="{1E7B0DBD-32CC-6E1B-AF32-D01CEC860357}"/>
          </ac:spMkLst>
        </pc:spChg>
        <pc:spChg chg="add del mod">
          <ac:chgData name="Steiner Andreas 6206 ED" userId="e6377c33-a923-4f14-8587-531c474c7b48" providerId="ADAL" clId="{6ECD27E6-B224-41CD-B4E0-E297462320DD}" dt="2023-11-24T08:44:11.749" v="55257"/>
          <ac:spMkLst>
            <pc:docMk/>
            <pc:sldMk cId="1942033937" sldId="2147478573"/>
            <ac:spMk id="368" creationId="{3035137A-CA71-CE77-3A80-2E9694D83A1C}"/>
          </ac:spMkLst>
        </pc:spChg>
        <pc:spChg chg="add del mod">
          <ac:chgData name="Steiner Andreas 6206 ED" userId="e6377c33-a923-4f14-8587-531c474c7b48" providerId="ADAL" clId="{6ECD27E6-B224-41CD-B4E0-E297462320DD}" dt="2023-11-24T08:44:13.923" v="55412"/>
          <ac:spMkLst>
            <pc:docMk/>
            <pc:sldMk cId="1942033937" sldId="2147478573"/>
            <ac:spMk id="369" creationId="{CA600F7C-AEC9-A2E4-9627-B954EDA5BB92}"/>
          </ac:spMkLst>
        </pc:spChg>
        <pc:spChg chg="add del mod">
          <ac:chgData name="Steiner Andreas 6206 ED" userId="e6377c33-a923-4f14-8587-531c474c7b48" providerId="ADAL" clId="{6ECD27E6-B224-41CD-B4E0-E297462320DD}" dt="2023-11-24T08:44:16.004" v="55567"/>
          <ac:spMkLst>
            <pc:docMk/>
            <pc:sldMk cId="1942033937" sldId="2147478573"/>
            <ac:spMk id="370" creationId="{9BCF5174-4543-C643-A0B2-C11C0C192601}"/>
          </ac:spMkLst>
        </pc:spChg>
        <pc:spChg chg="add del mod">
          <ac:chgData name="Steiner Andreas 6206 ED" userId="e6377c33-a923-4f14-8587-531c474c7b48" providerId="ADAL" clId="{6ECD27E6-B224-41CD-B4E0-E297462320DD}" dt="2023-11-24T08:44:18.449" v="55722"/>
          <ac:spMkLst>
            <pc:docMk/>
            <pc:sldMk cId="1942033937" sldId="2147478573"/>
            <ac:spMk id="371" creationId="{3BFA3FEB-7C35-AC07-092F-BD05AD45DD80}"/>
          </ac:spMkLst>
        </pc:spChg>
        <pc:spChg chg="add del mod">
          <ac:chgData name="Steiner Andreas 6206 ED" userId="e6377c33-a923-4f14-8587-531c474c7b48" providerId="ADAL" clId="{6ECD27E6-B224-41CD-B4E0-E297462320DD}" dt="2023-11-24T08:44:21.281" v="55877"/>
          <ac:spMkLst>
            <pc:docMk/>
            <pc:sldMk cId="1942033937" sldId="2147478573"/>
            <ac:spMk id="372" creationId="{D3553B1A-ADFD-65E7-0746-89F219EA91E0}"/>
          </ac:spMkLst>
        </pc:spChg>
        <pc:spChg chg="add del mod">
          <ac:chgData name="Steiner Andreas 6206 ED" userId="e6377c33-a923-4f14-8587-531c474c7b48" providerId="ADAL" clId="{6ECD27E6-B224-41CD-B4E0-E297462320DD}" dt="2023-11-24T08:44:23.715" v="56032"/>
          <ac:spMkLst>
            <pc:docMk/>
            <pc:sldMk cId="1942033937" sldId="2147478573"/>
            <ac:spMk id="373" creationId="{3904ECEF-F6D8-93CC-C740-2C0740877483}"/>
          </ac:spMkLst>
        </pc:spChg>
        <pc:spChg chg="add del mod">
          <ac:chgData name="Steiner Andreas 6206 ED" userId="e6377c33-a923-4f14-8587-531c474c7b48" providerId="ADAL" clId="{6ECD27E6-B224-41CD-B4E0-E297462320DD}" dt="2023-11-24T08:44:25.643" v="56187"/>
          <ac:spMkLst>
            <pc:docMk/>
            <pc:sldMk cId="1942033937" sldId="2147478573"/>
            <ac:spMk id="374" creationId="{3DFCC9C8-3B92-0A41-A23A-2279F400DD82}"/>
          </ac:spMkLst>
        </pc:spChg>
        <pc:spChg chg="add del mod">
          <ac:chgData name="Steiner Andreas 6206 ED" userId="e6377c33-a923-4f14-8587-531c474c7b48" providerId="ADAL" clId="{6ECD27E6-B224-41CD-B4E0-E297462320DD}" dt="2023-11-24T08:44:27.835" v="56342"/>
          <ac:spMkLst>
            <pc:docMk/>
            <pc:sldMk cId="1942033937" sldId="2147478573"/>
            <ac:spMk id="375" creationId="{5B26B1D5-17F7-3D35-B11A-C3AEF22664FC}"/>
          </ac:spMkLst>
        </pc:spChg>
        <pc:spChg chg="add del mod">
          <ac:chgData name="Steiner Andreas 6206 ED" userId="e6377c33-a923-4f14-8587-531c474c7b48" providerId="ADAL" clId="{6ECD27E6-B224-41CD-B4E0-E297462320DD}" dt="2023-11-24T08:44:29.845" v="56497"/>
          <ac:spMkLst>
            <pc:docMk/>
            <pc:sldMk cId="1942033937" sldId="2147478573"/>
            <ac:spMk id="376" creationId="{70579B99-D968-50AA-D7FF-C166BCE9EA7A}"/>
          </ac:spMkLst>
        </pc:spChg>
        <pc:spChg chg="add del mod">
          <ac:chgData name="Steiner Andreas 6206 ED" userId="e6377c33-a923-4f14-8587-531c474c7b48" providerId="ADAL" clId="{6ECD27E6-B224-41CD-B4E0-E297462320DD}" dt="2023-11-24T08:44:31.824" v="56652"/>
          <ac:spMkLst>
            <pc:docMk/>
            <pc:sldMk cId="1942033937" sldId="2147478573"/>
            <ac:spMk id="377" creationId="{CFDE53A9-D2F1-D3F0-2C77-55F2BACCA836}"/>
          </ac:spMkLst>
        </pc:spChg>
        <pc:spChg chg="add del mod">
          <ac:chgData name="Steiner Andreas 6206 ED" userId="e6377c33-a923-4f14-8587-531c474c7b48" providerId="ADAL" clId="{6ECD27E6-B224-41CD-B4E0-E297462320DD}" dt="2023-11-24T08:44:33.778" v="56807"/>
          <ac:spMkLst>
            <pc:docMk/>
            <pc:sldMk cId="1942033937" sldId="2147478573"/>
            <ac:spMk id="378" creationId="{3AB36B21-4E3D-B4B6-ED54-7CE82F774395}"/>
          </ac:spMkLst>
        </pc:spChg>
        <pc:spChg chg="add del mod">
          <ac:chgData name="Steiner Andreas 6206 ED" userId="e6377c33-a923-4f14-8587-531c474c7b48" providerId="ADAL" clId="{6ECD27E6-B224-41CD-B4E0-E297462320DD}" dt="2023-11-24T08:44:36.135" v="56962"/>
          <ac:spMkLst>
            <pc:docMk/>
            <pc:sldMk cId="1942033937" sldId="2147478573"/>
            <ac:spMk id="379" creationId="{C03EFE33-0D26-BE2B-A5EB-351BAF00F55A}"/>
          </ac:spMkLst>
        </pc:spChg>
        <pc:spChg chg="add del mod">
          <ac:chgData name="Steiner Andreas 6206 ED" userId="e6377c33-a923-4f14-8587-531c474c7b48" providerId="ADAL" clId="{6ECD27E6-B224-41CD-B4E0-E297462320DD}" dt="2023-11-24T08:44:38.759" v="57117"/>
          <ac:spMkLst>
            <pc:docMk/>
            <pc:sldMk cId="1942033937" sldId="2147478573"/>
            <ac:spMk id="380" creationId="{B3A4D3D1-E577-1854-A617-0DF0FCEC6581}"/>
          </ac:spMkLst>
        </pc:spChg>
        <pc:spChg chg="add del mod">
          <ac:chgData name="Steiner Andreas 6206 ED" userId="e6377c33-a923-4f14-8587-531c474c7b48" providerId="ADAL" clId="{6ECD27E6-B224-41CD-B4E0-E297462320DD}" dt="2023-11-24T08:44:41.081" v="57272"/>
          <ac:spMkLst>
            <pc:docMk/>
            <pc:sldMk cId="1942033937" sldId="2147478573"/>
            <ac:spMk id="381" creationId="{750850D0-3922-5DFF-8975-E90732E96701}"/>
          </ac:spMkLst>
        </pc:spChg>
        <pc:spChg chg="add del mod">
          <ac:chgData name="Steiner Andreas 6206 ED" userId="e6377c33-a923-4f14-8587-531c474c7b48" providerId="ADAL" clId="{6ECD27E6-B224-41CD-B4E0-E297462320DD}" dt="2023-11-24T08:44:43.309" v="57427"/>
          <ac:spMkLst>
            <pc:docMk/>
            <pc:sldMk cId="1942033937" sldId="2147478573"/>
            <ac:spMk id="382" creationId="{7720E3ED-8F1B-78A9-4019-3BAD018C0302}"/>
          </ac:spMkLst>
        </pc:spChg>
        <pc:spChg chg="add del mod">
          <ac:chgData name="Steiner Andreas 6206 ED" userId="e6377c33-a923-4f14-8587-531c474c7b48" providerId="ADAL" clId="{6ECD27E6-B224-41CD-B4E0-E297462320DD}" dt="2023-11-24T08:44:45.457" v="57582"/>
          <ac:spMkLst>
            <pc:docMk/>
            <pc:sldMk cId="1942033937" sldId="2147478573"/>
            <ac:spMk id="383" creationId="{951831B4-5D77-172A-451D-9444772C3961}"/>
          </ac:spMkLst>
        </pc:spChg>
        <pc:spChg chg="add del mod">
          <ac:chgData name="Steiner Andreas 6206 ED" userId="e6377c33-a923-4f14-8587-531c474c7b48" providerId="ADAL" clId="{6ECD27E6-B224-41CD-B4E0-E297462320DD}" dt="2023-11-24T08:44:48.176" v="57737"/>
          <ac:spMkLst>
            <pc:docMk/>
            <pc:sldMk cId="1942033937" sldId="2147478573"/>
            <ac:spMk id="384" creationId="{B947AB3C-094E-764B-4022-41B08C61107C}"/>
          </ac:spMkLst>
        </pc:spChg>
        <pc:spChg chg="add del mod">
          <ac:chgData name="Steiner Andreas 6206 ED" userId="e6377c33-a923-4f14-8587-531c474c7b48" providerId="ADAL" clId="{6ECD27E6-B224-41CD-B4E0-E297462320DD}" dt="2023-11-24T08:44:50.470" v="57892"/>
          <ac:spMkLst>
            <pc:docMk/>
            <pc:sldMk cId="1942033937" sldId="2147478573"/>
            <ac:spMk id="385" creationId="{DBF867AB-B48C-9309-E212-DB855215B282}"/>
          </ac:spMkLst>
        </pc:spChg>
        <pc:spChg chg="add del mod">
          <ac:chgData name="Steiner Andreas 6206 ED" userId="e6377c33-a923-4f14-8587-531c474c7b48" providerId="ADAL" clId="{6ECD27E6-B224-41CD-B4E0-E297462320DD}" dt="2023-11-24T08:44:52.615" v="58047"/>
          <ac:spMkLst>
            <pc:docMk/>
            <pc:sldMk cId="1942033937" sldId="2147478573"/>
            <ac:spMk id="386" creationId="{D37FA087-D13A-AE91-1184-B37E251F5F90}"/>
          </ac:spMkLst>
        </pc:spChg>
        <pc:spChg chg="add del mod">
          <ac:chgData name="Steiner Andreas 6206 ED" userId="e6377c33-a923-4f14-8587-531c474c7b48" providerId="ADAL" clId="{6ECD27E6-B224-41CD-B4E0-E297462320DD}" dt="2023-11-24T08:44:54.809" v="58202"/>
          <ac:spMkLst>
            <pc:docMk/>
            <pc:sldMk cId="1942033937" sldId="2147478573"/>
            <ac:spMk id="387" creationId="{D7B12195-219C-0924-BDF4-2559771EF812}"/>
          </ac:spMkLst>
        </pc:spChg>
        <pc:spChg chg="add del mod">
          <ac:chgData name="Steiner Andreas 6206 ED" userId="e6377c33-a923-4f14-8587-531c474c7b48" providerId="ADAL" clId="{6ECD27E6-B224-41CD-B4E0-E297462320DD}" dt="2023-11-24T08:44:56.835" v="58357"/>
          <ac:spMkLst>
            <pc:docMk/>
            <pc:sldMk cId="1942033937" sldId="2147478573"/>
            <ac:spMk id="388" creationId="{F5C38697-2A46-7DD1-AB5A-4D99308E1B74}"/>
          </ac:spMkLst>
        </pc:spChg>
        <pc:spChg chg="add del mod">
          <ac:chgData name="Steiner Andreas 6206 ED" userId="e6377c33-a923-4f14-8587-531c474c7b48" providerId="ADAL" clId="{6ECD27E6-B224-41CD-B4E0-E297462320DD}" dt="2023-11-24T08:44:58.768" v="58512"/>
          <ac:spMkLst>
            <pc:docMk/>
            <pc:sldMk cId="1942033937" sldId="2147478573"/>
            <ac:spMk id="389" creationId="{153150F6-C20F-24A8-AEC3-215B9FF4712E}"/>
          </ac:spMkLst>
        </pc:spChg>
        <pc:spChg chg="add del mod">
          <ac:chgData name="Steiner Andreas 6206 ED" userId="e6377c33-a923-4f14-8587-531c474c7b48" providerId="ADAL" clId="{6ECD27E6-B224-41CD-B4E0-E297462320DD}" dt="2023-11-24T08:45:00.925" v="58667"/>
          <ac:spMkLst>
            <pc:docMk/>
            <pc:sldMk cId="1942033937" sldId="2147478573"/>
            <ac:spMk id="390" creationId="{1E83ED4E-B591-8909-83A6-07F794184915}"/>
          </ac:spMkLst>
        </pc:spChg>
        <pc:spChg chg="add del mod">
          <ac:chgData name="Steiner Andreas 6206 ED" userId="e6377c33-a923-4f14-8587-531c474c7b48" providerId="ADAL" clId="{6ECD27E6-B224-41CD-B4E0-E297462320DD}" dt="2023-11-24T08:45:02.851" v="58822"/>
          <ac:spMkLst>
            <pc:docMk/>
            <pc:sldMk cId="1942033937" sldId="2147478573"/>
            <ac:spMk id="391" creationId="{A4EE0B49-132C-DEAF-5028-A634BD515237}"/>
          </ac:spMkLst>
        </pc:spChg>
        <pc:spChg chg="add del mod">
          <ac:chgData name="Steiner Andreas 6206 ED" userId="e6377c33-a923-4f14-8587-531c474c7b48" providerId="ADAL" clId="{6ECD27E6-B224-41CD-B4E0-E297462320DD}" dt="2023-11-24T08:45:04.703" v="58977"/>
          <ac:spMkLst>
            <pc:docMk/>
            <pc:sldMk cId="1942033937" sldId="2147478573"/>
            <ac:spMk id="392" creationId="{E55E2C28-546F-5E86-CF94-D59216E1B6DB}"/>
          </ac:spMkLst>
        </pc:spChg>
        <pc:spChg chg="add del mod">
          <ac:chgData name="Steiner Andreas 6206 ED" userId="e6377c33-a923-4f14-8587-531c474c7b48" providerId="ADAL" clId="{6ECD27E6-B224-41CD-B4E0-E297462320DD}" dt="2023-11-24T08:45:06.559" v="59132"/>
          <ac:spMkLst>
            <pc:docMk/>
            <pc:sldMk cId="1942033937" sldId="2147478573"/>
            <ac:spMk id="393" creationId="{02ADC127-6BEB-39AA-7584-691B04E8EF80}"/>
          </ac:spMkLst>
        </pc:spChg>
        <pc:spChg chg="add del mod">
          <ac:chgData name="Steiner Andreas 6206 ED" userId="e6377c33-a923-4f14-8587-531c474c7b48" providerId="ADAL" clId="{6ECD27E6-B224-41CD-B4E0-E297462320DD}" dt="2023-11-24T08:45:08.396" v="59287"/>
          <ac:spMkLst>
            <pc:docMk/>
            <pc:sldMk cId="1942033937" sldId="2147478573"/>
            <ac:spMk id="394" creationId="{D064852A-E2A8-53EA-7C86-2B81B18C67EE}"/>
          </ac:spMkLst>
        </pc:spChg>
        <pc:spChg chg="add del mod">
          <ac:chgData name="Steiner Andreas 6206 ED" userId="e6377c33-a923-4f14-8587-531c474c7b48" providerId="ADAL" clId="{6ECD27E6-B224-41CD-B4E0-E297462320DD}" dt="2023-11-24T08:45:10.205" v="59442"/>
          <ac:spMkLst>
            <pc:docMk/>
            <pc:sldMk cId="1942033937" sldId="2147478573"/>
            <ac:spMk id="395" creationId="{0E19F019-E228-F0B7-C4AB-9C91B45ECC5C}"/>
          </ac:spMkLst>
        </pc:spChg>
        <pc:spChg chg="add del mod">
          <ac:chgData name="Steiner Andreas 6206 ED" userId="e6377c33-a923-4f14-8587-531c474c7b48" providerId="ADAL" clId="{6ECD27E6-B224-41CD-B4E0-E297462320DD}" dt="2023-11-24T08:45:12.285" v="59597"/>
          <ac:spMkLst>
            <pc:docMk/>
            <pc:sldMk cId="1942033937" sldId="2147478573"/>
            <ac:spMk id="396" creationId="{056D2DA9-542C-1392-7B71-E283DA087D6A}"/>
          </ac:spMkLst>
        </pc:spChg>
        <pc:spChg chg="add del mod">
          <ac:chgData name="Steiner Andreas 6206 ED" userId="e6377c33-a923-4f14-8587-531c474c7b48" providerId="ADAL" clId="{6ECD27E6-B224-41CD-B4E0-E297462320DD}" dt="2023-11-24T08:45:14.218" v="59752"/>
          <ac:spMkLst>
            <pc:docMk/>
            <pc:sldMk cId="1942033937" sldId="2147478573"/>
            <ac:spMk id="397" creationId="{7F526E4E-0CE5-0B31-AC1B-6F602858F844}"/>
          </ac:spMkLst>
        </pc:spChg>
        <pc:spChg chg="add del mod">
          <ac:chgData name="Steiner Andreas 6206 ED" userId="e6377c33-a923-4f14-8587-531c474c7b48" providerId="ADAL" clId="{6ECD27E6-B224-41CD-B4E0-E297462320DD}" dt="2023-11-24T08:45:16.290" v="59907"/>
          <ac:spMkLst>
            <pc:docMk/>
            <pc:sldMk cId="1942033937" sldId="2147478573"/>
            <ac:spMk id="398" creationId="{6CEC74EB-E07E-5CC4-2B95-A28366BE057C}"/>
          </ac:spMkLst>
        </pc:spChg>
        <pc:spChg chg="add del mod">
          <ac:chgData name="Steiner Andreas 6206 ED" userId="e6377c33-a923-4f14-8587-531c474c7b48" providerId="ADAL" clId="{6ECD27E6-B224-41CD-B4E0-E297462320DD}" dt="2023-11-24T08:45:18.227" v="60062"/>
          <ac:spMkLst>
            <pc:docMk/>
            <pc:sldMk cId="1942033937" sldId="2147478573"/>
            <ac:spMk id="399" creationId="{6F3505C7-DAC1-9171-2640-13F3AA560A7A}"/>
          </ac:spMkLst>
        </pc:spChg>
        <pc:spChg chg="add del mod">
          <ac:chgData name="Steiner Andreas 6206 ED" userId="e6377c33-a923-4f14-8587-531c474c7b48" providerId="ADAL" clId="{6ECD27E6-B224-41CD-B4E0-E297462320DD}" dt="2023-11-24T08:45:20.127" v="60217"/>
          <ac:spMkLst>
            <pc:docMk/>
            <pc:sldMk cId="1942033937" sldId="2147478573"/>
            <ac:spMk id="400" creationId="{D16BA829-5950-CFA5-D439-00BB71C83AD8}"/>
          </ac:spMkLst>
        </pc:spChg>
        <pc:spChg chg="add del mod">
          <ac:chgData name="Steiner Andreas 6206 ED" userId="e6377c33-a923-4f14-8587-531c474c7b48" providerId="ADAL" clId="{6ECD27E6-B224-41CD-B4E0-E297462320DD}" dt="2023-11-24T08:45:22.257" v="60372"/>
          <ac:spMkLst>
            <pc:docMk/>
            <pc:sldMk cId="1942033937" sldId="2147478573"/>
            <ac:spMk id="401" creationId="{E3758950-9D53-7AA9-E60F-0D015866178D}"/>
          </ac:spMkLst>
        </pc:spChg>
        <pc:spChg chg="add del mod">
          <ac:chgData name="Steiner Andreas 6206 ED" userId="e6377c33-a923-4f14-8587-531c474c7b48" providerId="ADAL" clId="{6ECD27E6-B224-41CD-B4E0-E297462320DD}" dt="2023-11-24T08:45:24.467" v="60527"/>
          <ac:spMkLst>
            <pc:docMk/>
            <pc:sldMk cId="1942033937" sldId="2147478573"/>
            <ac:spMk id="402" creationId="{5B7843E9-8C3F-D6DB-B256-D012809835D6}"/>
          </ac:spMkLst>
        </pc:spChg>
        <pc:spChg chg="add del mod">
          <ac:chgData name="Steiner Andreas 6206 ED" userId="e6377c33-a923-4f14-8587-531c474c7b48" providerId="ADAL" clId="{6ECD27E6-B224-41CD-B4E0-E297462320DD}" dt="2023-11-24T08:45:26.437" v="60682"/>
          <ac:spMkLst>
            <pc:docMk/>
            <pc:sldMk cId="1942033937" sldId="2147478573"/>
            <ac:spMk id="403" creationId="{BBCF2659-736A-F9C7-E15C-9EBF7BED8496}"/>
          </ac:spMkLst>
        </pc:spChg>
        <pc:spChg chg="add del mod">
          <ac:chgData name="Steiner Andreas 6206 ED" userId="e6377c33-a923-4f14-8587-531c474c7b48" providerId="ADAL" clId="{6ECD27E6-B224-41CD-B4E0-E297462320DD}" dt="2023-11-24T08:45:28.331" v="60837"/>
          <ac:spMkLst>
            <pc:docMk/>
            <pc:sldMk cId="1942033937" sldId="2147478573"/>
            <ac:spMk id="404" creationId="{FE0F951D-885B-1048-0995-F0B875D89507}"/>
          </ac:spMkLst>
        </pc:spChg>
        <pc:spChg chg="add del mod">
          <ac:chgData name="Steiner Andreas 6206 ED" userId="e6377c33-a923-4f14-8587-531c474c7b48" providerId="ADAL" clId="{6ECD27E6-B224-41CD-B4E0-E297462320DD}" dt="2023-11-24T08:45:30.150" v="60992"/>
          <ac:spMkLst>
            <pc:docMk/>
            <pc:sldMk cId="1942033937" sldId="2147478573"/>
            <ac:spMk id="405" creationId="{B5248E82-8EE1-A187-F846-4B9954FCBCFF}"/>
          </ac:spMkLst>
        </pc:spChg>
        <pc:spChg chg="add del mod">
          <ac:chgData name="Steiner Andreas 6206 ED" userId="e6377c33-a923-4f14-8587-531c474c7b48" providerId="ADAL" clId="{6ECD27E6-B224-41CD-B4E0-E297462320DD}" dt="2023-11-24T08:45:32.025" v="61147"/>
          <ac:spMkLst>
            <pc:docMk/>
            <pc:sldMk cId="1942033937" sldId="2147478573"/>
            <ac:spMk id="406" creationId="{D0793B22-C52C-5C98-CE0E-79FC90CD3905}"/>
          </ac:spMkLst>
        </pc:spChg>
        <pc:spChg chg="add del mod">
          <ac:chgData name="Steiner Andreas 6206 ED" userId="e6377c33-a923-4f14-8587-531c474c7b48" providerId="ADAL" clId="{6ECD27E6-B224-41CD-B4E0-E297462320DD}" dt="2023-11-24T08:45:34.143" v="61302"/>
          <ac:spMkLst>
            <pc:docMk/>
            <pc:sldMk cId="1942033937" sldId="2147478573"/>
            <ac:spMk id="407" creationId="{3F0625A0-BD75-E9DD-71A8-80F8E7F5CC0A}"/>
          </ac:spMkLst>
        </pc:spChg>
        <pc:spChg chg="add del mod">
          <ac:chgData name="Steiner Andreas 6206 ED" userId="e6377c33-a923-4f14-8587-531c474c7b48" providerId="ADAL" clId="{6ECD27E6-B224-41CD-B4E0-E297462320DD}" dt="2023-11-24T08:45:36.200" v="61457"/>
          <ac:spMkLst>
            <pc:docMk/>
            <pc:sldMk cId="1942033937" sldId="2147478573"/>
            <ac:spMk id="408" creationId="{6149484E-3049-1A3E-2ABD-05CBBD7BC64A}"/>
          </ac:spMkLst>
        </pc:spChg>
        <pc:spChg chg="add del mod">
          <ac:chgData name="Steiner Andreas 6206 ED" userId="e6377c33-a923-4f14-8587-531c474c7b48" providerId="ADAL" clId="{6ECD27E6-B224-41CD-B4E0-E297462320DD}" dt="2023-11-24T08:45:38.097" v="61612"/>
          <ac:spMkLst>
            <pc:docMk/>
            <pc:sldMk cId="1942033937" sldId="2147478573"/>
            <ac:spMk id="409" creationId="{9FA1F029-996C-1978-24C3-C49E68F4A954}"/>
          </ac:spMkLst>
        </pc:spChg>
        <pc:spChg chg="add del mod">
          <ac:chgData name="Steiner Andreas 6206 ED" userId="e6377c33-a923-4f14-8587-531c474c7b48" providerId="ADAL" clId="{6ECD27E6-B224-41CD-B4E0-E297462320DD}" dt="2023-11-24T08:45:39.973" v="61767"/>
          <ac:spMkLst>
            <pc:docMk/>
            <pc:sldMk cId="1942033937" sldId="2147478573"/>
            <ac:spMk id="410" creationId="{4A9257B1-EAA4-D70D-A259-729D7CA52C89}"/>
          </ac:spMkLst>
        </pc:spChg>
        <pc:spChg chg="add del mod">
          <ac:chgData name="Steiner Andreas 6206 ED" userId="e6377c33-a923-4f14-8587-531c474c7b48" providerId="ADAL" clId="{6ECD27E6-B224-41CD-B4E0-E297462320DD}" dt="2023-11-24T08:45:41.977" v="61922"/>
          <ac:spMkLst>
            <pc:docMk/>
            <pc:sldMk cId="1942033937" sldId="2147478573"/>
            <ac:spMk id="411" creationId="{57AB39CB-77DF-9C22-2AD6-3C0FF70AC8B7}"/>
          </ac:spMkLst>
        </pc:spChg>
        <pc:spChg chg="add del mod">
          <ac:chgData name="Steiner Andreas 6206 ED" userId="e6377c33-a923-4f14-8587-531c474c7b48" providerId="ADAL" clId="{6ECD27E6-B224-41CD-B4E0-E297462320DD}" dt="2023-11-24T08:45:43.967" v="62077"/>
          <ac:spMkLst>
            <pc:docMk/>
            <pc:sldMk cId="1942033937" sldId="2147478573"/>
            <ac:spMk id="412" creationId="{4AFBB661-8F49-9F86-3F79-38A8C9CFCCF6}"/>
          </ac:spMkLst>
        </pc:spChg>
        <pc:spChg chg="add del mod">
          <ac:chgData name="Steiner Andreas 6206 ED" userId="e6377c33-a923-4f14-8587-531c474c7b48" providerId="ADAL" clId="{6ECD27E6-B224-41CD-B4E0-E297462320DD}" dt="2023-11-24T08:45:46.069" v="62232"/>
          <ac:spMkLst>
            <pc:docMk/>
            <pc:sldMk cId="1942033937" sldId="2147478573"/>
            <ac:spMk id="413" creationId="{C5683E4B-DC96-46DF-E77C-F5FFAFA0C866}"/>
          </ac:spMkLst>
        </pc:spChg>
        <pc:spChg chg="add del mod">
          <ac:chgData name="Steiner Andreas 6206 ED" userId="e6377c33-a923-4f14-8587-531c474c7b48" providerId="ADAL" clId="{6ECD27E6-B224-41CD-B4E0-E297462320DD}" dt="2023-11-24T08:45:47.976" v="62387"/>
          <ac:spMkLst>
            <pc:docMk/>
            <pc:sldMk cId="1942033937" sldId="2147478573"/>
            <ac:spMk id="414" creationId="{949E2046-99F1-FC16-0586-D6E315167640}"/>
          </ac:spMkLst>
        </pc:spChg>
        <pc:spChg chg="add del mod">
          <ac:chgData name="Steiner Andreas 6206 ED" userId="e6377c33-a923-4f14-8587-531c474c7b48" providerId="ADAL" clId="{6ECD27E6-B224-41CD-B4E0-E297462320DD}" dt="2023-11-24T08:45:50.268" v="62542"/>
          <ac:spMkLst>
            <pc:docMk/>
            <pc:sldMk cId="1942033937" sldId="2147478573"/>
            <ac:spMk id="415" creationId="{72F81E19-6E81-78A5-E69E-3CF07420F6A4}"/>
          </ac:spMkLst>
        </pc:spChg>
        <pc:spChg chg="add del mod">
          <ac:chgData name="Steiner Andreas 6206 ED" userId="e6377c33-a923-4f14-8587-531c474c7b48" providerId="ADAL" clId="{6ECD27E6-B224-41CD-B4E0-E297462320DD}" dt="2023-11-24T08:45:52.320" v="62697"/>
          <ac:spMkLst>
            <pc:docMk/>
            <pc:sldMk cId="1942033937" sldId="2147478573"/>
            <ac:spMk id="416" creationId="{FB63E8B7-6937-1782-44D7-2FE049985600}"/>
          </ac:spMkLst>
        </pc:spChg>
        <pc:spChg chg="add del mod">
          <ac:chgData name="Steiner Andreas 6206 ED" userId="e6377c33-a923-4f14-8587-531c474c7b48" providerId="ADAL" clId="{6ECD27E6-B224-41CD-B4E0-E297462320DD}" dt="2023-11-24T08:45:54.342" v="62852"/>
          <ac:spMkLst>
            <pc:docMk/>
            <pc:sldMk cId="1942033937" sldId="2147478573"/>
            <ac:spMk id="417" creationId="{D19D3CE4-48DB-F9C4-9EFE-00F0469B61C6}"/>
          </ac:spMkLst>
        </pc:spChg>
        <pc:spChg chg="add del mod">
          <ac:chgData name="Steiner Andreas 6206 ED" userId="e6377c33-a923-4f14-8587-531c474c7b48" providerId="ADAL" clId="{6ECD27E6-B224-41CD-B4E0-E297462320DD}" dt="2023-11-24T08:45:56.508" v="63007"/>
          <ac:spMkLst>
            <pc:docMk/>
            <pc:sldMk cId="1942033937" sldId="2147478573"/>
            <ac:spMk id="418" creationId="{E3788A0F-1E40-0C37-CA96-DBB3990915C2}"/>
          </ac:spMkLst>
        </pc:spChg>
        <pc:spChg chg="add del mod">
          <ac:chgData name="Steiner Andreas 6206 ED" userId="e6377c33-a923-4f14-8587-531c474c7b48" providerId="ADAL" clId="{6ECD27E6-B224-41CD-B4E0-E297462320DD}" dt="2023-11-24T08:45:58.556" v="63162"/>
          <ac:spMkLst>
            <pc:docMk/>
            <pc:sldMk cId="1942033937" sldId="2147478573"/>
            <ac:spMk id="419" creationId="{03369CDE-484E-30CA-BB00-8EF29FE84A74}"/>
          </ac:spMkLst>
        </pc:spChg>
        <pc:spChg chg="add del mod">
          <ac:chgData name="Steiner Andreas 6206 ED" userId="e6377c33-a923-4f14-8587-531c474c7b48" providerId="ADAL" clId="{6ECD27E6-B224-41CD-B4E0-E297462320DD}" dt="2023-11-24T08:46:00.636" v="63317"/>
          <ac:spMkLst>
            <pc:docMk/>
            <pc:sldMk cId="1942033937" sldId="2147478573"/>
            <ac:spMk id="420" creationId="{3BD42890-FD4C-B538-EBC1-4508004FA7A3}"/>
          </ac:spMkLst>
        </pc:spChg>
        <pc:spChg chg="add del mod">
          <ac:chgData name="Steiner Andreas 6206 ED" userId="e6377c33-a923-4f14-8587-531c474c7b48" providerId="ADAL" clId="{6ECD27E6-B224-41CD-B4E0-E297462320DD}" dt="2023-11-24T08:46:02.711" v="63472"/>
          <ac:spMkLst>
            <pc:docMk/>
            <pc:sldMk cId="1942033937" sldId="2147478573"/>
            <ac:spMk id="421" creationId="{D30B2856-96DF-B96A-6616-534EAC7C673F}"/>
          </ac:spMkLst>
        </pc:spChg>
        <pc:spChg chg="add del mod">
          <ac:chgData name="Steiner Andreas 6206 ED" userId="e6377c33-a923-4f14-8587-531c474c7b48" providerId="ADAL" clId="{6ECD27E6-B224-41CD-B4E0-E297462320DD}" dt="2023-11-24T08:46:05.044" v="63627"/>
          <ac:spMkLst>
            <pc:docMk/>
            <pc:sldMk cId="1942033937" sldId="2147478573"/>
            <ac:spMk id="422" creationId="{B8C6AFA8-9BFF-4324-9094-3A745686DFD1}"/>
          </ac:spMkLst>
        </pc:spChg>
        <pc:spChg chg="add del mod">
          <ac:chgData name="Steiner Andreas 6206 ED" userId="e6377c33-a923-4f14-8587-531c474c7b48" providerId="ADAL" clId="{6ECD27E6-B224-41CD-B4E0-E297462320DD}" dt="2023-11-24T08:46:07.626" v="63782"/>
          <ac:spMkLst>
            <pc:docMk/>
            <pc:sldMk cId="1942033937" sldId="2147478573"/>
            <ac:spMk id="423" creationId="{C52EDF70-96D6-0736-ED0E-F8814873949B}"/>
          </ac:spMkLst>
        </pc:spChg>
        <pc:spChg chg="add del mod">
          <ac:chgData name="Steiner Andreas 6206 ED" userId="e6377c33-a923-4f14-8587-531c474c7b48" providerId="ADAL" clId="{6ECD27E6-B224-41CD-B4E0-E297462320DD}" dt="2023-11-24T08:46:09.831" v="63937"/>
          <ac:spMkLst>
            <pc:docMk/>
            <pc:sldMk cId="1942033937" sldId="2147478573"/>
            <ac:spMk id="424" creationId="{09D44C4A-9829-404E-4559-708C61D41BEC}"/>
          </ac:spMkLst>
        </pc:spChg>
        <pc:spChg chg="add del mod">
          <ac:chgData name="Steiner Andreas 6206 ED" userId="e6377c33-a923-4f14-8587-531c474c7b48" providerId="ADAL" clId="{6ECD27E6-B224-41CD-B4E0-E297462320DD}" dt="2023-11-24T08:46:12.008" v="64092"/>
          <ac:spMkLst>
            <pc:docMk/>
            <pc:sldMk cId="1942033937" sldId="2147478573"/>
            <ac:spMk id="425" creationId="{04B4BB34-D5FC-440D-C2FC-A1F5B97B7E8A}"/>
          </ac:spMkLst>
        </pc:spChg>
        <pc:spChg chg="add del mod">
          <ac:chgData name="Steiner Andreas 6206 ED" userId="e6377c33-a923-4f14-8587-531c474c7b48" providerId="ADAL" clId="{6ECD27E6-B224-41CD-B4E0-E297462320DD}" dt="2023-11-24T08:46:14.161" v="64247"/>
          <ac:spMkLst>
            <pc:docMk/>
            <pc:sldMk cId="1942033937" sldId="2147478573"/>
            <ac:spMk id="426" creationId="{E34E8DE9-8E54-37E7-4DC9-6368800C4327}"/>
          </ac:spMkLst>
        </pc:spChg>
        <pc:spChg chg="add del mod">
          <ac:chgData name="Steiner Andreas 6206 ED" userId="e6377c33-a923-4f14-8587-531c474c7b48" providerId="ADAL" clId="{6ECD27E6-B224-41CD-B4E0-E297462320DD}" dt="2023-11-24T08:46:16.396" v="64402"/>
          <ac:spMkLst>
            <pc:docMk/>
            <pc:sldMk cId="1942033937" sldId="2147478573"/>
            <ac:spMk id="427" creationId="{A153FC70-12D6-28E7-4FD3-513B3A6770B7}"/>
          </ac:spMkLst>
        </pc:spChg>
        <pc:spChg chg="add del mod">
          <ac:chgData name="Steiner Andreas 6206 ED" userId="e6377c33-a923-4f14-8587-531c474c7b48" providerId="ADAL" clId="{6ECD27E6-B224-41CD-B4E0-E297462320DD}" dt="2023-11-24T08:46:18.267" v="64557"/>
          <ac:spMkLst>
            <pc:docMk/>
            <pc:sldMk cId="1942033937" sldId="2147478573"/>
            <ac:spMk id="428" creationId="{504F5C7C-C15B-F3BA-46E1-88CB6DC2D7D0}"/>
          </ac:spMkLst>
        </pc:spChg>
        <pc:spChg chg="add del mod">
          <ac:chgData name="Steiner Andreas 6206 ED" userId="e6377c33-a923-4f14-8587-531c474c7b48" providerId="ADAL" clId="{6ECD27E6-B224-41CD-B4E0-E297462320DD}" dt="2023-11-24T08:46:20.766" v="64712"/>
          <ac:spMkLst>
            <pc:docMk/>
            <pc:sldMk cId="1942033937" sldId="2147478573"/>
            <ac:spMk id="429" creationId="{581FA7D6-7E18-65A3-0184-1453930DC76D}"/>
          </ac:spMkLst>
        </pc:spChg>
        <pc:spChg chg="add del mod">
          <ac:chgData name="Steiner Andreas 6206 ED" userId="e6377c33-a923-4f14-8587-531c474c7b48" providerId="ADAL" clId="{6ECD27E6-B224-41CD-B4E0-E297462320DD}" dt="2023-11-24T08:46:23.031" v="64867"/>
          <ac:spMkLst>
            <pc:docMk/>
            <pc:sldMk cId="1942033937" sldId="2147478573"/>
            <ac:spMk id="430" creationId="{7731EBD6-B60A-1FC0-8C12-876B61BB79BD}"/>
          </ac:spMkLst>
        </pc:spChg>
        <pc:spChg chg="add del mod">
          <ac:chgData name="Steiner Andreas 6206 ED" userId="e6377c33-a923-4f14-8587-531c474c7b48" providerId="ADAL" clId="{6ECD27E6-B224-41CD-B4E0-E297462320DD}" dt="2023-11-24T08:46:25.302" v="65022"/>
          <ac:spMkLst>
            <pc:docMk/>
            <pc:sldMk cId="1942033937" sldId="2147478573"/>
            <ac:spMk id="431" creationId="{995CC0FA-EE53-060A-1309-F43845CD26BF}"/>
          </ac:spMkLst>
        </pc:spChg>
        <pc:spChg chg="add del mod">
          <ac:chgData name="Steiner Andreas 6206 ED" userId="e6377c33-a923-4f14-8587-531c474c7b48" providerId="ADAL" clId="{6ECD27E6-B224-41CD-B4E0-E297462320DD}" dt="2023-11-24T08:46:27.632" v="65177"/>
          <ac:spMkLst>
            <pc:docMk/>
            <pc:sldMk cId="1942033937" sldId="2147478573"/>
            <ac:spMk id="432" creationId="{886A79D2-C33D-C437-56B7-55C40C87020F}"/>
          </ac:spMkLst>
        </pc:spChg>
        <pc:spChg chg="add del mod">
          <ac:chgData name="Steiner Andreas 6206 ED" userId="e6377c33-a923-4f14-8587-531c474c7b48" providerId="ADAL" clId="{6ECD27E6-B224-41CD-B4E0-E297462320DD}" dt="2023-11-24T08:46:29.643" v="65332"/>
          <ac:spMkLst>
            <pc:docMk/>
            <pc:sldMk cId="1942033937" sldId="2147478573"/>
            <ac:spMk id="433" creationId="{AE2C949A-9124-8745-C653-E7EC0FE25A0C}"/>
          </ac:spMkLst>
        </pc:spChg>
        <pc:spChg chg="add del mod">
          <ac:chgData name="Steiner Andreas 6206 ED" userId="e6377c33-a923-4f14-8587-531c474c7b48" providerId="ADAL" clId="{6ECD27E6-B224-41CD-B4E0-E297462320DD}" dt="2023-11-24T08:46:32.119" v="65487"/>
          <ac:spMkLst>
            <pc:docMk/>
            <pc:sldMk cId="1942033937" sldId="2147478573"/>
            <ac:spMk id="434" creationId="{0DC9F283-A424-299C-93CB-5D27584DBCCB}"/>
          </ac:spMkLst>
        </pc:spChg>
        <pc:spChg chg="add del mod">
          <ac:chgData name="Steiner Andreas 6206 ED" userId="e6377c33-a923-4f14-8587-531c474c7b48" providerId="ADAL" clId="{6ECD27E6-B224-41CD-B4E0-E297462320DD}" dt="2023-11-24T08:46:34.198" v="65642"/>
          <ac:spMkLst>
            <pc:docMk/>
            <pc:sldMk cId="1942033937" sldId="2147478573"/>
            <ac:spMk id="435" creationId="{AF4D4F8E-69AE-05D9-AA77-6532E528E792}"/>
          </ac:spMkLst>
        </pc:spChg>
        <pc:spChg chg="add del mod">
          <ac:chgData name="Steiner Andreas 6206 ED" userId="e6377c33-a923-4f14-8587-531c474c7b48" providerId="ADAL" clId="{6ECD27E6-B224-41CD-B4E0-E297462320DD}" dt="2023-11-24T08:46:36.136" v="65797"/>
          <ac:spMkLst>
            <pc:docMk/>
            <pc:sldMk cId="1942033937" sldId="2147478573"/>
            <ac:spMk id="436" creationId="{7AA6F37B-ABCC-1FE1-82E7-E228D6327C76}"/>
          </ac:spMkLst>
        </pc:spChg>
        <pc:spChg chg="add del mod">
          <ac:chgData name="Steiner Andreas 6206 ED" userId="e6377c33-a923-4f14-8587-531c474c7b48" providerId="ADAL" clId="{6ECD27E6-B224-41CD-B4E0-E297462320DD}" dt="2023-11-24T08:46:38.211" v="65952"/>
          <ac:spMkLst>
            <pc:docMk/>
            <pc:sldMk cId="1942033937" sldId="2147478573"/>
            <ac:spMk id="437" creationId="{A104BA6B-3BD1-8BD8-58DF-2BD22551951D}"/>
          </ac:spMkLst>
        </pc:spChg>
        <pc:spChg chg="add del mod">
          <ac:chgData name="Steiner Andreas 6206 ED" userId="e6377c33-a923-4f14-8587-531c474c7b48" providerId="ADAL" clId="{6ECD27E6-B224-41CD-B4E0-E297462320DD}" dt="2023-11-24T08:46:40.281" v="66107"/>
          <ac:spMkLst>
            <pc:docMk/>
            <pc:sldMk cId="1942033937" sldId="2147478573"/>
            <ac:spMk id="438" creationId="{AF3A9A73-70B7-D03D-0EC8-793C83CB50C3}"/>
          </ac:spMkLst>
        </pc:spChg>
        <pc:spChg chg="add del mod">
          <ac:chgData name="Steiner Andreas 6206 ED" userId="e6377c33-a923-4f14-8587-531c474c7b48" providerId="ADAL" clId="{6ECD27E6-B224-41CD-B4E0-E297462320DD}" dt="2023-11-24T08:46:42.555" v="66262"/>
          <ac:spMkLst>
            <pc:docMk/>
            <pc:sldMk cId="1942033937" sldId="2147478573"/>
            <ac:spMk id="439" creationId="{8AA82602-842B-F123-3209-29D372D25A65}"/>
          </ac:spMkLst>
        </pc:spChg>
        <pc:spChg chg="add del mod">
          <ac:chgData name="Steiner Andreas 6206 ED" userId="e6377c33-a923-4f14-8587-531c474c7b48" providerId="ADAL" clId="{6ECD27E6-B224-41CD-B4E0-E297462320DD}" dt="2023-11-24T08:46:44.674" v="66417"/>
          <ac:spMkLst>
            <pc:docMk/>
            <pc:sldMk cId="1942033937" sldId="2147478573"/>
            <ac:spMk id="440" creationId="{6D76185C-3727-368D-9947-8E3AFF74AD5D}"/>
          </ac:spMkLst>
        </pc:spChg>
        <pc:spChg chg="add del mod">
          <ac:chgData name="Steiner Andreas 6206 ED" userId="e6377c33-a923-4f14-8587-531c474c7b48" providerId="ADAL" clId="{6ECD27E6-B224-41CD-B4E0-E297462320DD}" dt="2023-11-24T08:46:46.739" v="66572"/>
          <ac:spMkLst>
            <pc:docMk/>
            <pc:sldMk cId="1942033937" sldId="2147478573"/>
            <ac:spMk id="441" creationId="{1B02FCE2-39BD-BF16-FDDE-CA916E949E7C}"/>
          </ac:spMkLst>
        </pc:spChg>
        <pc:spChg chg="add del mod">
          <ac:chgData name="Steiner Andreas 6206 ED" userId="e6377c33-a923-4f14-8587-531c474c7b48" providerId="ADAL" clId="{6ECD27E6-B224-41CD-B4E0-E297462320DD}" dt="2023-11-24T08:46:48.867" v="66727"/>
          <ac:spMkLst>
            <pc:docMk/>
            <pc:sldMk cId="1942033937" sldId="2147478573"/>
            <ac:spMk id="442" creationId="{A78D1A42-BCBE-5C42-6141-0C51D9D013CE}"/>
          </ac:spMkLst>
        </pc:spChg>
        <pc:spChg chg="add del mod">
          <ac:chgData name="Steiner Andreas 6206 ED" userId="e6377c33-a923-4f14-8587-531c474c7b48" providerId="ADAL" clId="{6ECD27E6-B224-41CD-B4E0-E297462320DD}" dt="2023-11-24T08:46:50.931" v="66882"/>
          <ac:spMkLst>
            <pc:docMk/>
            <pc:sldMk cId="1942033937" sldId="2147478573"/>
            <ac:spMk id="443" creationId="{346E35F9-E777-4634-8046-985CDB89F0C7}"/>
          </ac:spMkLst>
        </pc:spChg>
        <pc:spChg chg="add del mod">
          <ac:chgData name="Steiner Andreas 6206 ED" userId="e6377c33-a923-4f14-8587-531c474c7b48" providerId="ADAL" clId="{6ECD27E6-B224-41CD-B4E0-E297462320DD}" dt="2023-11-24T08:46:52.994" v="67037"/>
          <ac:spMkLst>
            <pc:docMk/>
            <pc:sldMk cId="1942033937" sldId="2147478573"/>
            <ac:spMk id="444" creationId="{C8980566-52C0-BDD0-B535-290ABF2056CB}"/>
          </ac:spMkLst>
        </pc:spChg>
        <pc:spChg chg="add del mod">
          <ac:chgData name="Steiner Andreas 6206 ED" userId="e6377c33-a923-4f14-8587-531c474c7b48" providerId="ADAL" clId="{6ECD27E6-B224-41CD-B4E0-E297462320DD}" dt="2023-11-24T08:46:54.947" v="67192"/>
          <ac:spMkLst>
            <pc:docMk/>
            <pc:sldMk cId="1942033937" sldId="2147478573"/>
            <ac:spMk id="445" creationId="{68927949-C27D-6E75-EA0A-D490E9EFE65E}"/>
          </ac:spMkLst>
        </pc:spChg>
        <pc:spChg chg="add del mod">
          <ac:chgData name="Steiner Andreas 6206 ED" userId="e6377c33-a923-4f14-8587-531c474c7b48" providerId="ADAL" clId="{6ECD27E6-B224-41CD-B4E0-E297462320DD}" dt="2023-11-24T08:46:56.939" v="67347"/>
          <ac:spMkLst>
            <pc:docMk/>
            <pc:sldMk cId="1942033937" sldId="2147478573"/>
            <ac:spMk id="446" creationId="{189F3B89-6D48-5C00-50E7-9B08C2B06C97}"/>
          </ac:spMkLst>
        </pc:spChg>
        <pc:spChg chg="add del mod">
          <ac:chgData name="Steiner Andreas 6206 ED" userId="e6377c33-a923-4f14-8587-531c474c7b48" providerId="ADAL" clId="{6ECD27E6-B224-41CD-B4E0-E297462320DD}" dt="2023-11-24T08:46:58.804" v="67502"/>
          <ac:spMkLst>
            <pc:docMk/>
            <pc:sldMk cId="1942033937" sldId="2147478573"/>
            <ac:spMk id="447" creationId="{8E358F35-940C-1871-3BA0-4AE67F8F6BD0}"/>
          </ac:spMkLst>
        </pc:spChg>
        <pc:spChg chg="add del mod">
          <ac:chgData name="Steiner Andreas 6206 ED" userId="e6377c33-a923-4f14-8587-531c474c7b48" providerId="ADAL" clId="{6ECD27E6-B224-41CD-B4E0-E297462320DD}" dt="2023-11-24T08:47:00.908" v="67657"/>
          <ac:spMkLst>
            <pc:docMk/>
            <pc:sldMk cId="1942033937" sldId="2147478573"/>
            <ac:spMk id="448" creationId="{1C5A3485-05CE-5405-5B0F-456B2C630688}"/>
          </ac:spMkLst>
        </pc:spChg>
        <pc:spChg chg="add del mod">
          <ac:chgData name="Steiner Andreas 6206 ED" userId="e6377c33-a923-4f14-8587-531c474c7b48" providerId="ADAL" clId="{6ECD27E6-B224-41CD-B4E0-E297462320DD}" dt="2023-11-24T08:47:03.047" v="67812"/>
          <ac:spMkLst>
            <pc:docMk/>
            <pc:sldMk cId="1942033937" sldId="2147478573"/>
            <ac:spMk id="449" creationId="{5A4C4CA1-BEB8-2DDD-FD5F-C369AD4D37A6}"/>
          </ac:spMkLst>
        </pc:spChg>
        <pc:spChg chg="add del mod">
          <ac:chgData name="Steiner Andreas 6206 ED" userId="e6377c33-a923-4f14-8587-531c474c7b48" providerId="ADAL" clId="{6ECD27E6-B224-41CD-B4E0-E297462320DD}" dt="2023-11-24T08:47:05.068" v="67967"/>
          <ac:spMkLst>
            <pc:docMk/>
            <pc:sldMk cId="1942033937" sldId="2147478573"/>
            <ac:spMk id="450" creationId="{9A87BB60-A351-5D23-2D1B-47ECA0D3B6EB}"/>
          </ac:spMkLst>
        </pc:spChg>
        <pc:spChg chg="add del mod">
          <ac:chgData name="Steiner Andreas 6206 ED" userId="e6377c33-a923-4f14-8587-531c474c7b48" providerId="ADAL" clId="{6ECD27E6-B224-41CD-B4E0-E297462320DD}" dt="2023-11-24T08:47:06.842" v="68122"/>
          <ac:spMkLst>
            <pc:docMk/>
            <pc:sldMk cId="1942033937" sldId="2147478573"/>
            <ac:spMk id="451" creationId="{B9B9F062-6982-55D8-951D-D3EF637B0F26}"/>
          </ac:spMkLst>
        </pc:spChg>
        <pc:spChg chg="add del mod">
          <ac:chgData name="Steiner Andreas 6206 ED" userId="e6377c33-a923-4f14-8587-531c474c7b48" providerId="ADAL" clId="{6ECD27E6-B224-41CD-B4E0-E297462320DD}" dt="2023-11-24T08:47:08.733" v="68277"/>
          <ac:spMkLst>
            <pc:docMk/>
            <pc:sldMk cId="1942033937" sldId="2147478573"/>
            <ac:spMk id="452" creationId="{F3D1FB6A-1508-3650-5A75-ABBF8D17371B}"/>
          </ac:spMkLst>
        </pc:spChg>
        <pc:spChg chg="add del mod">
          <ac:chgData name="Steiner Andreas 6206 ED" userId="e6377c33-a923-4f14-8587-531c474c7b48" providerId="ADAL" clId="{6ECD27E6-B224-41CD-B4E0-E297462320DD}" dt="2023-11-24T08:47:10.584" v="68432"/>
          <ac:spMkLst>
            <pc:docMk/>
            <pc:sldMk cId="1942033937" sldId="2147478573"/>
            <ac:spMk id="453" creationId="{E9CF2AE0-5501-35D0-ADB8-A40DD897F2AE}"/>
          </ac:spMkLst>
        </pc:spChg>
        <pc:spChg chg="add del mod">
          <ac:chgData name="Steiner Andreas 6206 ED" userId="e6377c33-a923-4f14-8587-531c474c7b48" providerId="ADAL" clId="{6ECD27E6-B224-41CD-B4E0-E297462320DD}" dt="2023-11-24T08:47:12.487" v="68587"/>
          <ac:spMkLst>
            <pc:docMk/>
            <pc:sldMk cId="1942033937" sldId="2147478573"/>
            <ac:spMk id="454" creationId="{EE923276-0FE3-2886-373F-D2F356CDC91A}"/>
          </ac:spMkLst>
        </pc:spChg>
        <pc:spChg chg="add del mod">
          <ac:chgData name="Steiner Andreas 6206 ED" userId="e6377c33-a923-4f14-8587-531c474c7b48" providerId="ADAL" clId="{6ECD27E6-B224-41CD-B4E0-E297462320DD}" dt="2023-11-24T08:47:14.636" v="68742"/>
          <ac:spMkLst>
            <pc:docMk/>
            <pc:sldMk cId="1942033937" sldId="2147478573"/>
            <ac:spMk id="455" creationId="{C988E690-D4B2-5B44-55DA-E2E74482FA6A}"/>
          </ac:spMkLst>
        </pc:spChg>
        <pc:spChg chg="add del mod">
          <ac:chgData name="Steiner Andreas 6206 ED" userId="e6377c33-a923-4f14-8587-531c474c7b48" providerId="ADAL" clId="{6ECD27E6-B224-41CD-B4E0-E297462320DD}" dt="2023-11-24T08:47:16.615" v="68897"/>
          <ac:spMkLst>
            <pc:docMk/>
            <pc:sldMk cId="1942033937" sldId="2147478573"/>
            <ac:spMk id="456" creationId="{DE8FA1F8-812C-8903-23AD-67B74D7AB8BC}"/>
          </ac:spMkLst>
        </pc:spChg>
        <pc:spChg chg="add del mod">
          <ac:chgData name="Steiner Andreas 6206 ED" userId="e6377c33-a923-4f14-8587-531c474c7b48" providerId="ADAL" clId="{6ECD27E6-B224-41CD-B4E0-E297462320DD}" dt="2023-11-24T08:47:18.518" v="69052"/>
          <ac:spMkLst>
            <pc:docMk/>
            <pc:sldMk cId="1942033937" sldId="2147478573"/>
            <ac:spMk id="457" creationId="{5AA26228-658A-EFAD-E402-ABB1847BC030}"/>
          </ac:spMkLst>
        </pc:spChg>
        <pc:spChg chg="add del mod">
          <ac:chgData name="Steiner Andreas 6206 ED" userId="e6377c33-a923-4f14-8587-531c474c7b48" providerId="ADAL" clId="{6ECD27E6-B224-41CD-B4E0-E297462320DD}" dt="2023-11-24T08:47:20.517" v="69207"/>
          <ac:spMkLst>
            <pc:docMk/>
            <pc:sldMk cId="1942033937" sldId="2147478573"/>
            <ac:spMk id="458" creationId="{DA8F06CE-7E57-6FD9-ACAC-3FA653AA6C5E}"/>
          </ac:spMkLst>
        </pc:spChg>
        <pc:spChg chg="add del mod">
          <ac:chgData name="Steiner Andreas 6206 ED" userId="e6377c33-a923-4f14-8587-531c474c7b48" providerId="ADAL" clId="{6ECD27E6-B224-41CD-B4E0-E297462320DD}" dt="2023-11-24T08:47:22.864" v="69362"/>
          <ac:spMkLst>
            <pc:docMk/>
            <pc:sldMk cId="1942033937" sldId="2147478573"/>
            <ac:spMk id="459" creationId="{F15004E2-3737-616C-E067-21485CD890C4}"/>
          </ac:spMkLst>
        </pc:spChg>
        <pc:spChg chg="add del mod">
          <ac:chgData name="Steiner Andreas 6206 ED" userId="e6377c33-a923-4f14-8587-531c474c7b48" providerId="ADAL" clId="{6ECD27E6-B224-41CD-B4E0-E297462320DD}" dt="2023-11-24T08:47:25.543" v="69517"/>
          <ac:spMkLst>
            <pc:docMk/>
            <pc:sldMk cId="1942033937" sldId="2147478573"/>
            <ac:spMk id="460" creationId="{91FDA974-6DD5-61AF-FAFF-6B8F516AA2BA}"/>
          </ac:spMkLst>
        </pc:spChg>
        <pc:spChg chg="add del mod">
          <ac:chgData name="Steiner Andreas 6206 ED" userId="e6377c33-a923-4f14-8587-531c474c7b48" providerId="ADAL" clId="{6ECD27E6-B224-41CD-B4E0-E297462320DD}" dt="2023-11-24T08:47:27.753" v="69672"/>
          <ac:spMkLst>
            <pc:docMk/>
            <pc:sldMk cId="1942033937" sldId="2147478573"/>
            <ac:spMk id="461" creationId="{C3E8E264-9526-17AD-577D-EDF027D13849}"/>
          </ac:spMkLst>
        </pc:spChg>
        <pc:spChg chg="add del mod">
          <ac:chgData name="Steiner Andreas 6206 ED" userId="e6377c33-a923-4f14-8587-531c474c7b48" providerId="ADAL" clId="{6ECD27E6-B224-41CD-B4E0-E297462320DD}" dt="2023-11-24T08:47:29.829" v="69827"/>
          <ac:spMkLst>
            <pc:docMk/>
            <pc:sldMk cId="1942033937" sldId="2147478573"/>
            <ac:spMk id="462" creationId="{F2C6BABB-0E9B-032D-B23C-DD71D3B6FE14}"/>
          </ac:spMkLst>
        </pc:spChg>
        <pc:spChg chg="add del mod">
          <ac:chgData name="Steiner Andreas 6206 ED" userId="e6377c33-a923-4f14-8587-531c474c7b48" providerId="ADAL" clId="{6ECD27E6-B224-41CD-B4E0-E297462320DD}" dt="2023-11-24T08:47:31.797" v="69982"/>
          <ac:spMkLst>
            <pc:docMk/>
            <pc:sldMk cId="1942033937" sldId="2147478573"/>
            <ac:spMk id="463" creationId="{218FD683-D121-8D7B-6BD7-7311043E452E}"/>
          </ac:spMkLst>
        </pc:spChg>
        <pc:spChg chg="add del mod">
          <ac:chgData name="Steiner Andreas 6206 ED" userId="e6377c33-a923-4f14-8587-531c474c7b48" providerId="ADAL" clId="{6ECD27E6-B224-41CD-B4E0-E297462320DD}" dt="2023-11-24T08:47:33.793" v="70137"/>
          <ac:spMkLst>
            <pc:docMk/>
            <pc:sldMk cId="1942033937" sldId="2147478573"/>
            <ac:spMk id="464" creationId="{15D0338E-993F-9541-822B-DCF528E65F77}"/>
          </ac:spMkLst>
        </pc:spChg>
        <pc:spChg chg="add del mod">
          <ac:chgData name="Steiner Andreas 6206 ED" userId="e6377c33-a923-4f14-8587-531c474c7b48" providerId="ADAL" clId="{6ECD27E6-B224-41CD-B4E0-E297462320DD}" dt="2023-11-24T08:47:35.945" v="70292"/>
          <ac:spMkLst>
            <pc:docMk/>
            <pc:sldMk cId="1942033937" sldId="2147478573"/>
            <ac:spMk id="465" creationId="{84C851EE-80B3-724C-B34B-4F7C7F8CFD41}"/>
          </ac:spMkLst>
        </pc:spChg>
        <pc:spChg chg="add del mod">
          <ac:chgData name="Steiner Andreas 6206 ED" userId="e6377c33-a923-4f14-8587-531c474c7b48" providerId="ADAL" clId="{6ECD27E6-B224-41CD-B4E0-E297462320DD}" dt="2023-11-24T08:47:38.055" v="70447"/>
          <ac:spMkLst>
            <pc:docMk/>
            <pc:sldMk cId="1942033937" sldId="2147478573"/>
            <ac:spMk id="466" creationId="{8FEB8535-2F20-FF54-3EAD-FCBBAA702945}"/>
          </ac:spMkLst>
        </pc:spChg>
        <pc:spChg chg="add del mod">
          <ac:chgData name="Steiner Andreas 6206 ED" userId="e6377c33-a923-4f14-8587-531c474c7b48" providerId="ADAL" clId="{6ECD27E6-B224-41CD-B4E0-E297462320DD}" dt="2023-11-24T08:47:40.131" v="70602"/>
          <ac:spMkLst>
            <pc:docMk/>
            <pc:sldMk cId="1942033937" sldId="2147478573"/>
            <ac:spMk id="467" creationId="{47185E29-498F-7B94-2405-4AB5B8DB5351}"/>
          </ac:spMkLst>
        </pc:spChg>
        <pc:spChg chg="add del mod">
          <ac:chgData name="Steiner Andreas 6206 ED" userId="e6377c33-a923-4f14-8587-531c474c7b48" providerId="ADAL" clId="{6ECD27E6-B224-41CD-B4E0-E297462320DD}" dt="2023-11-24T08:47:42.061" v="70757"/>
          <ac:spMkLst>
            <pc:docMk/>
            <pc:sldMk cId="1942033937" sldId="2147478573"/>
            <ac:spMk id="468" creationId="{9616A0C2-5AF3-4992-7FA3-70073171B7BD}"/>
          </ac:spMkLst>
        </pc:spChg>
        <pc:spChg chg="add del mod">
          <ac:chgData name="Steiner Andreas 6206 ED" userId="e6377c33-a923-4f14-8587-531c474c7b48" providerId="ADAL" clId="{6ECD27E6-B224-41CD-B4E0-E297462320DD}" dt="2023-11-24T08:47:43.980" v="70912"/>
          <ac:spMkLst>
            <pc:docMk/>
            <pc:sldMk cId="1942033937" sldId="2147478573"/>
            <ac:spMk id="469" creationId="{0577ACAF-175E-D088-86EE-7E3869CE2846}"/>
          </ac:spMkLst>
        </pc:spChg>
        <pc:spChg chg="add del mod">
          <ac:chgData name="Steiner Andreas 6206 ED" userId="e6377c33-a923-4f14-8587-531c474c7b48" providerId="ADAL" clId="{6ECD27E6-B224-41CD-B4E0-E297462320DD}" dt="2023-11-24T08:47:45.905" v="71067"/>
          <ac:spMkLst>
            <pc:docMk/>
            <pc:sldMk cId="1942033937" sldId="2147478573"/>
            <ac:spMk id="470" creationId="{DCB7FDEC-CE25-81DE-8CED-AC3A60781CE2}"/>
          </ac:spMkLst>
        </pc:spChg>
        <pc:spChg chg="add del mod">
          <ac:chgData name="Steiner Andreas 6206 ED" userId="e6377c33-a923-4f14-8587-531c474c7b48" providerId="ADAL" clId="{6ECD27E6-B224-41CD-B4E0-E297462320DD}" dt="2023-11-24T08:47:47.983" v="71222"/>
          <ac:spMkLst>
            <pc:docMk/>
            <pc:sldMk cId="1942033937" sldId="2147478573"/>
            <ac:spMk id="471" creationId="{A289C948-5535-917F-1121-3493E620C483}"/>
          </ac:spMkLst>
        </pc:spChg>
        <pc:spChg chg="add del mod">
          <ac:chgData name="Steiner Andreas 6206 ED" userId="e6377c33-a923-4f14-8587-531c474c7b48" providerId="ADAL" clId="{6ECD27E6-B224-41CD-B4E0-E297462320DD}" dt="2023-11-24T08:47:50.094" v="71377"/>
          <ac:spMkLst>
            <pc:docMk/>
            <pc:sldMk cId="1942033937" sldId="2147478573"/>
            <ac:spMk id="472" creationId="{6E1C38F2-D712-D464-F82E-9C6B40331A22}"/>
          </ac:spMkLst>
        </pc:spChg>
        <pc:spChg chg="add del mod">
          <ac:chgData name="Steiner Andreas 6206 ED" userId="e6377c33-a923-4f14-8587-531c474c7b48" providerId="ADAL" clId="{6ECD27E6-B224-41CD-B4E0-E297462320DD}" dt="2023-11-24T08:47:52.011" v="71532"/>
          <ac:spMkLst>
            <pc:docMk/>
            <pc:sldMk cId="1942033937" sldId="2147478573"/>
            <ac:spMk id="473" creationId="{413711CF-B119-C099-8AF1-1E35AC134333}"/>
          </ac:spMkLst>
        </pc:spChg>
        <pc:spChg chg="add del mod">
          <ac:chgData name="Steiner Andreas 6206 ED" userId="e6377c33-a923-4f14-8587-531c474c7b48" providerId="ADAL" clId="{6ECD27E6-B224-41CD-B4E0-E297462320DD}" dt="2023-11-24T08:47:53.966" v="71687"/>
          <ac:spMkLst>
            <pc:docMk/>
            <pc:sldMk cId="1942033937" sldId="2147478573"/>
            <ac:spMk id="474" creationId="{9B1FC556-4B09-69AE-86B6-01D3636E7B82}"/>
          </ac:spMkLst>
        </pc:spChg>
        <pc:spChg chg="add del mod">
          <ac:chgData name="Steiner Andreas 6206 ED" userId="e6377c33-a923-4f14-8587-531c474c7b48" providerId="ADAL" clId="{6ECD27E6-B224-41CD-B4E0-E297462320DD}" dt="2023-11-24T08:47:55.793" v="71842"/>
          <ac:spMkLst>
            <pc:docMk/>
            <pc:sldMk cId="1942033937" sldId="2147478573"/>
            <ac:spMk id="475" creationId="{FBB4DA61-9868-C677-8568-F21AAC4E84D0}"/>
          </ac:spMkLst>
        </pc:spChg>
        <pc:spChg chg="add del mod">
          <ac:chgData name="Steiner Andreas 6206 ED" userId="e6377c33-a923-4f14-8587-531c474c7b48" providerId="ADAL" clId="{6ECD27E6-B224-41CD-B4E0-E297462320DD}" dt="2023-11-24T08:47:57.784" v="71997"/>
          <ac:spMkLst>
            <pc:docMk/>
            <pc:sldMk cId="1942033937" sldId="2147478573"/>
            <ac:spMk id="476" creationId="{58ABF3F8-B0E4-162E-9939-E7E6BB494CF5}"/>
          </ac:spMkLst>
        </pc:spChg>
        <pc:spChg chg="add del mod">
          <ac:chgData name="Steiner Andreas 6206 ED" userId="e6377c33-a923-4f14-8587-531c474c7b48" providerId="ADAL" clId="{6ECD27E6-B224-41CD-B4E0-E297462320DD}" dt="2023-11-24T08:47:59.902" v="72152"/>
          <ac:spMkLst>
            <pc:docMk/>
            <pc:sldMk cId="1942033937" sldId="2147478573"/>
            <ac:spMk id="477" creationId="{68810026-6DB8-D577-6662-15592253919D}"/>
          </ac:spMkLst>
        </pc:spChg>
        <pc:spChg chg="add del mod">
          <ac:chgData name="Steiner Andreas 6206 ED" userId="e6377c33-a923-4f14-8587-531c474c7b48" providerId="ADAL" clId="{6ECD27E6-B224-41CD-B4E0-E297462320DD}" dt="2023-11-24T08:48:02.039" v="72307"/>
          <ac:spMkLst>
            <pc:docMk/>
            <pc:sldMk cId="1942033937" sldId="2147478573"/>
            <ac:spMk id="478" creationId="{52172BD6-9AFF-54F1-9298-226E1CCB5A8C}"/>
          </ac:spMkLst>
        </pc:spChg>
        <pc:spChg chg="add del mod">
          <ac:chgData name="Steiner Andreas 6206 ED" userId="e6377c33-a923-4f14-8587-531c474c7b48" providerId="ADAL" clId="{6ECD27E6-B224-41CD-B4E0-E297462320DD}" dt="2023-11-24T08:48:04.063" v="72462"/>
          <ac:spMkLst>
            <pc:docMk/>
            <pc:sldMk cId="1942033937" sldId="2147478573"/>
            <ac:spMk id="479" creationId="{5C03371B-4091-9C5F-13D4-2B5CB08D00BC}"/>
          </ac:spMkLst>
        </pc:spChg>
        <pc:spChg chg="add del mod">
          <ac:chgData name="Steiner Andreas 6206 ED" userId="e6377c33-a923-4f14-8587-531c474c7b48" providerId="ADAL" clId="{6ECD27E6-B224-41CD-B4E0-E297462320DD}" dt="2023-11-24T08:48:06.252" v="72617"/>
          <ac:spMkLst>
            <pc:docMk/>
            <pc:sldMk cId="1942033937" sldId="2147478573"/>
            <ac:spMk id="480" creationId="{9318D99F-0C0E-627D-5B67-3D74F9C0FB5F}"/>
          </ac:spMkLst>
        </pc:spChg>
        <pc:spChg chg="add del mod">
          <ac:chgData name="Steiner Andreas 6206 ED" userId="e6377c33-a923-4f14-8587-531c474c7b48" providerId="ADAL" clId="{6ECD27E6-B224-41CD-B4E0-E297462320DD}" dt="2023-11-24T08:48:08.444" v="72772"/>
          <ac:spMkLst>
            <pc:docMk/>
            <pc:sldMk cId="1942033937" sldId="2147478573"/>
            <ac:spMk id="481" creationId="{E99BBC1A-FCE7-3E65-2BC9-CA76AB797E64}"/>
          </ac:spMkLst>
        </pc:spChg>
        <pc:spChg chg="add del mod">
          <ac:chgData name="Steiner Andreas 6206 ED" userId="e6377c33-a923-4f14-8587-531c474c7b48" providerId="ADAL" clId="{6ECD27E6-B224-41CD-B4E0-E297462320DD}" dt="2023-11-24T08:48:10.483" v="72927"/>
          <ac:spMkLst>
            <pc:docMk/>
            <pc:sldMk cId="1942033937" sldId="2147478573"/>
            <ac:spMk id="482" creationId="{8DC3AFD5-76B0-D7C8-5F5E-46107B19B0FC}"/>
          </ac:spMkLst>
        </pc:spChg>
        <pc:spChg chg="add del mod">
          <ac:chgData name="Steiner Andreas 6206 ED" userId="e6377c33-a923-4f14-8587-531c474c7b48" providerId="ADAL" clId="{6ECD27E6-B224-41CD-B4E0-E297462320DD}" dt="2023-11-24T08:48:12.455" v="73082"/>
          <ac:spMkLst>
            <pc:docMk/>
            <pc:sldMk cId="1942033937" sldId="2147478573"/>
            <ac:spMk id="483" creationId="{93EC5481-70DF-9033-A5AE-36DD9086E8C0}"/>
          </ac:spMkLst>
        </pc:spChg>
        <pc:spChg chg="add del mod">
          <ac:chgData name="Steiner Andreas 6206 ED" userId="e6377c33-a923-4f14-8587-531c474c7b48" providerId="ADAL" clId="{6ECD27E6-B224-41CD-B4E0-E297462320DD}" dt="2023-11-24T08:48:14.940" v="73237"/>
          <ac:spMkLst>
            <pc:docMk/>
            <pc:sldMk cId="1942033937" sldId="2147478573"/>
            <ac:spMk id="484" creationId="{A79D3AA0-99DE-9657-1FDB-F3C27CAC1CBA}"/>
          </ac:spMkLst>
        </pc:spChg>
        <pc:spChg chg="add del mod">
          <ac:chgData name="Steiner Andreas 6206 ED" userId="e6377c33-a923-4f14-8587-531c474c7b48" providerId="ADAL" clId="{6ECD27E6-B224-41CD-B4E0-E297462320DD}" dt="2023-11-24T08:48:17.745" v="73392"/>
          <ac:spMkLst>
            <pc:docMk/>
            <pc:sldMk cId="1942033937" sldId="2147478573"/>
            <ac:spMk id="485" creationId="{9C6591DF-F2D7-FECC-E301-EF4E35840588}"/>
          </ac:spMkLst>
        </pc:spChg>
        <pc:spChg chg="add del mod">
          <ac:chgData name="Steiner Andreas 6206 ED" userId="e6377c33-a923-4f14-8587-531c474c7b48" providerId="ADAL" clId="{6ECD27E6-B224-41CD-B4E0-E297462320DD}" dt="2023-11-24T08:48:20.290" v="73547"/>
          <ac:spMkLst>
            <pc:docMk/>
            <pc:sldMk cId="1942033937" sldId="2147478573"/>
            <ac:spMk id="486" creationId="{DF0DD967-AC83-37F5-38E8-9753C090BDFD}"/>
          </ac:spMkLst>
        </pc:spChg>
        <pc:spChg chg="add del mod">
          <ac:chgData name="Steiner Andreas 6206 ED" userId="e6377c33-a923-4f14-8587-531c474c7b48" providerId="ADAL" clId="{6ECD27E6-B224-41CD-B4E0-E297462320DD}" dt="2023-11-24T08:48:22.424" v="73702"/>
          <ac:spMkLst>
            <pc:docMk/>
            <pc:sldMk cId="1942033937" sldId="2147478573"/>
            <ac:spMk id="487" creationId="{AFAB6E73-2EA8-7D62-709D-8F1FB31C157F}"/>
          </ac:spMkLst>
        </pc:spChg>
        <pc:spChg chg="add del mod">
          <ac:chgData name="Steiner Andreas 6206 ED" userId="e6377c33-a923-4f14-8587-531c474c7b48" providerId="ADAL" clId="{6ECD27E6-B224-41CD-B4E0-E297462320DD}" dt="2023-11-24T08:48:24.506" v="73857"/>
          <ac:spMkLst>
            <pc:docMk/>
            <pc:sldMk cId="1942033937" sldId="2147478573"/>
            <ac:spMk id="488" creationId="{BE79D92C-B10D-8580-C27D-D8AA2C56DADE}"/>
          </ac:spMkLst>
        </pc:spChg>
        <pc:spChg chg="add del mod">
          <ac:chgData name="Steiner Andreas 6206 ED" userId="e6377c33-a923-4f14-8587-531c474c7b48" providerId="ADAL" clId="{6ECD27E6-B224-41CD-B4E0-E297462320DD}" dt="2023-11-24T08:48:26.615" v="74012"/>
          <ac:spMkLst>
            <pc:docMk/>
            <pc:sldMk cId="1942033937" sldId="2147478573"/>
            <ac:spMk id="489" creationId="{60DDCCCB-589E-9098-A499-A8D75133D095}"/>
          </ac:spMkLst>
        </pc:spChg>
        <pc:spChg chg="add del mod">
          <ac:chgData name="Steiner Andreas 6206 ED" userId="e6377c33-a923-4f14-8587-531c474c7b48" providerId="ADAL" clId="{6ECD27E6-B224-41CD-B4E0-E297462320DD}" dt="2023-11-24T08:48:28.629" v="74167"/>
          <ac:spMkLst>
            <pc:docMk/>
            <pc:sldMk cId="1942033937" sldId="2147478573"/>
            <ac:spMk id="490" creationId="{0E66DF4F-65F6-E1B9-990B-824708FA1E94}"/>
          </ac:spMkLst>
        </pc:spChg>
        <pc:spChg chg="add del mod">
          <ac:chgData name="Steiner Andreas 6206 ED" userId="e6377c33-a923-4f14-8587-531c474c7b48" providerId="ADAL" clId="{6ECD27E6-B224-41CD-B4E0-E297462320DD}" dt="2023-11-24T08:48:30.507" v="74322"/>
          <ac:spMkLst>
            <pc:docMk/>
            <pc:sldMk cId="1942033937" sldId="2147478573"/>
            <ac:spMk id="491" creationId="{193DE37D-1DF3-27BA-967E-5E599FF64954}"/>
          </ac:spMkLst>
        </pc:spChg>
        <pc:spChg chg="add del mod">
          <ac:chgData name="Steiner Andreas 6206 ED" userId="e6377c33-a923-4f14-8587-531c474c7b48" providerId="ADAL" clId="{6ECD27E6-B224-41CD-B4E0-E297462320DD}" dt="2023-11-24T08:48:32.469" v="74477"/>
          <ac:spMkLst>
            <pc:docMk/>
            <pc:sldMk cId="1942033937" sldId="2147478573"/>
            <ac:spMk id="492" creationId="{E38B71C7-56AC-764B-2EC5-217B28F14DFF}"/>
          </ac:spMkLst>
        </pc:spChg>
        <pc:spChg chg="add del mod">
          <ac:chgData name="Steiner Andreas 6206 ED" userId="e6377c33-a923-4f14-8587-531c474c7b48" providerId="ADAL" clId="{6ECD27E6-B224-41CD-B4E0-E297462320DD}" dt="2023-11-24T08:48:34.752" v="74632"/>
          <ac:spMkLst>
            <pc:docMk/>
            <pc:sldMk cId="1942033937" sldId="2147478573"/>
            <ac:spMk id="493" creationId="{EC6B2703-7DE2-3978-F161-34D914F68CEE}"/>
          </ac:spMkLst>
        </pc:spChg>
        <pc:spChg chg="add del mod">
          <ac:chgData name="Steiner Andreas 6206 ED" userId="e6377c33-a923-4f14-8587-531c474c7b48" providerId="ADAL" clId="{6ECD27E6-B224-41CD-B4E0-E297462320DD}" dt="2023-11-24T08:48:36.876" v="74787"/>
          <ac:spMkLst>
            <pc:docMk/>
            <pc:sldMk cId="1942033937" sldId="2147478573"/>
            <ac:spMk id="494" creationId="{EBB4A26E-BCD9-E664-C91B-FB1C70303474}"/>
          </ac:spMkLst>
        </pc:spChg>
        <pc:spChg chg="add del mod">
          <ac:chgData name="Steiner Andreas 6206 ED" userId="e6377c33-a923-4f14-8587-531c474c7b48" providerId="ADAL" clId="{6ECD27E6-B224-41CD-B4E0-E297462320DD}" dt="2023-11-24T08:48:38.948" v="74942"/>
          <ac:spMkLst>
            <pc:docMk/>
            <pc:sldMk cId="1942033937" sldId="2147478573"/>
            <ac:spMk id="495" creationId="{8CC6861E-23B9-CA2D-E0C1-08BD35A7042C}"/>
          </ac:spMkLst>
        </pc:spChg>
        <pc:spChg chg="add del mod">
          <ac:chgData name="Steiner Andreas 6206 ED" userId="e6377c33-a923-4f14-8587-531c474c7b48" providerId="ADAL" clId="{6ECD27E6-B224-41CD-B4E0-E297462320DD}" dt="2023-11-24T08:48:41.072" v="75097"/>
          <ac:spMkLst>
            <pc:docMk/>
            <pc:sldMk cId="1942033937" sldId="2147478573"/>
            <ac:spMk id="496" creationId="{640922F4-3C4C-3263-5140-2667528F3631}"/>
          </ac:spMkLst>
        </pc:spChg>
        <pc:spChg chg="add del mod">
          <ac:chgData name="Steiner Andreas 6206 ED" userId="e6377c33-a923-4f14-8587-531c474c7b48" providerId="ADAL" clId="{6ECD27E6-B224-41CD-B4E0-E297462320DD}" dt="2023-11-24T08:48:43.504" v="75252"/>
          <ac:spMkLst>
            <pc:docMk/>
            <pc:sldMk cId="1942033937" sldId="2147478573"/>
            <ac:spMk id="497" creationId="{5556C2C8-DAFD-4C5D-749D-2A5813C266DD}"/>
          </ac:spMkLst>
        </pc:spChg>
        <pc:spChg chg="add del mod">
          <ac:chgData name="Steiner Andreas 6206 ED" userId="e6377c33-a923-4f14-8587-531c474c7b48" providerId="ADAL" clId="{6ECD27E6-B224-41CD-B4E0-E297462320DD}" dt="2023-11-24T08:48:45.820" v="75407"/>
          <ac:spMkLst>
            <pc:docMk/>
            <pc:sldMk cId="1942033937" sldId="2147478573"/>
            <ac:spMk id="498" creationId="{31ED3684-6DBE-1783-40B5-4E91E714159B}"/>
          </ac:spMkLst>
        </pc:spChg>
        <pc:spChg chg="add del mod">
          <ac:chgData name="Steiner Andreas 6206 ED" userId="e6377c33-a923-4f14-8587-531c474c7b48" providerId="ADAL" clId="{6ECD27E6-B224-41CD-B4E0-E297462320DD}" dt="2023-11-24T08:48:47.869" v="75562"/>
          <ac:spMkLst>
            <pc:docMk/>
            <pc:sldMk cId="1942033937" sldId="2147478573"/>
            <ac:spMk id="499" creationId="{55EDF08B-0913-69B4-A64F-11BC2D67A0A7}"/>
          </ac:spMkLst>
        </pc:spChg>
        <pc:spChg chg="add del mod">
          <ac:chgData name="Steiner Andreas 6206 ED" userId="e6377c33-a923-4f14-8587-531c474c7b48" providerId="ADAL" clId="{6ECD27E6-B224-41CD-B4E0-E297462320DD}" dt="2023-11-24T08:48:49.810" v="75717"/>
          <ac:spMkLst>
            <pc:docMk/>
            <pc:sldMk cId="1942033937" sldId="2147478573"/>
            <ac:spMk id="500" creationId="{0D878AB5-0B14-8337-A542-6DD91730F4CD}"/>
          </ac:spMkLst>
        </pc:spChg>
        <pc:spChg chg="add del mod">
          <ac:chgData name="Steiner Andreas 6206 ED" userId="e6377c33-a923-4f14-8587-531c474c7b48" providerId="ADAL" clId="{6ECD27E6-B224-41CD-B4E0-E297462320DD}" dt="2023-11-24T08:48:52.051" v="75872"/>
          <ac:spMkLst>
            <pc:docMk/>
            <pc:sldMk cId="1942033937" sldId="2147478573"/>
            <ac:spMk id="501" creationId="{C8680EBE-9079-FD4C-C024-B2F6C4490993}"/>
          </ac:spMkLst>
        </pc:spChg>
        <pc:spChg chg="add del mod">
          <ac:chgData name="Steiner Andreas 6206 ED" userId="e6377c33-a923-4f14-8587-531c474c7b48" providerId="ADAL" clId="{6ECD27E6-B224-41CD-B4E0-E297462320DD}" dt="2023-11-24T08:48:53.970" v="76027"/>
          <ac:spMkLst>
            <pc:docMk/>
            <pc:sldMk cId="1942033937" sldId="2147478573"/>
            <ac:spMk id="502" creationId="{19186759-DCE6-9183-0795-12664470BD34}"/>
          </ac:spMkLst>
        </pc:spChg>
        <pc:spChg chg="add del mod">
          <ac:chgData name="Steiner Andreas 6206 ED" userId="e6377c33-a923-4f14-8587-531c474c7b48" providerId="ADAL" clId="{6ECD27E6-B224-41CD-B4E0-E297462320DD}" dt="2023-11-24T08:48:55.954" v="76182"/>
          <ac:spMkLst>
            <pc:docMk/>
            <pc:sldMk cId="1942033937" sldId="2147478573"/>
            <ac:spMk id="503" creationId="{9E982266-0FF3-4E3B-DF2C-DD8A62C71136}"/>
          </ac:spMkLst>
        </pc:spChg>
        <pc:spChg chg="add del mod">
          <ac:chgData name="Steiner Andreas 6206 ED" userId="e6377c33-a923-4f14-8587-531c474c7b48" providerId="ADAL" clId="{6ECD27E6-B224-41CD-B4E0-E297462320DD}" dt="2023-11-24T08:48:57.903" v="76337"/>
          <ac:spMkLst>
            <pc:docMk/>
            <pc:sldMk cId="1942033937" sldId="2147478573"/>
            <ac:spMk id="504" creationId="{DB372CAD-84A8-6B23-4F10-68DF97E5EFD5}"/>
          </ac:spMkLst>
        </pc:spChg>
        <pc:spChg chg="add del mod">
          <ac:chgData name="Steiner Andreas 6206 ED" userId="e6377c33-a923-4f14-8587-531c474c7b48" providerId="ADAL" clId="{6ECD27E6-B224-41CD-B4E0-E297462320DD}" dt="2023-11-24T08:48:59.957" v="76492"/>
          <ac:spMkLst>
            <pc:docMk/>
            <pc:sldMk cId="1942033937" sldId="2147478573"/>
            <ac:spMk id="505" creationId="{65D74229-0404-9698-3451-852FE9A41205}"/>
          </ac:spMkLst>
        </pc:spChg>
        <pc:spChg chg="add del mod">
          <ac:chgData name="Steiner Andreas 6206 ED" userId="e6377c33-a923-4f14-8587-531c474c7b48" providerId="ADAL" clId="{6ECD27E6-B224-41CD-B4E0-E297462320DD}" dt="2023-11-24T08:49:01.939" v="76647"/>
          <ac:spMkLst>
            <pc:docMk/>
            <pc:sldMk cId="1942033937" sldId="2147478573"/>
            <ac:spMk id="506" creationId="{5CA2BD18-C56B-91E6-0EE3-0821CA005055}"/>
          </ac:spMkLst>
        </pc:spChg>
        <pc:spChg chg="add del mod">
          <ac:chgData name="Steiner Andreas 6206 ED" userId="e6377c33-a923-4f14-8587-531c474c7b48" providerId="ADAL" clId="{6ECD27E6-B224-41CD-B4E0-E297462320DD}" dt="2023-11-24T08:49:03.898" v="76802"/>
          <ac:spMkLst>
            <pc:docMk/>
            <pc:sldMk cId="1942033937" sldId="2147478573"/>
            <ac:spMk id="507" creationId="{10A4D115-7B7A-3AAD-F1E9-827B402A21F3}"/>
          </ac:spMkLst>
        </pc:spChg>
        <pc:spChg chg="add del mod">
          <ac:chgData name="Steiner Andreas 6206 ED" userId="e6377c33-a923-4f14-8587-531c474c7b48" providerId="ADAL" clId="{6ECD27E6-B224-41CD-B4E0-E297462320DD}" dt="2023-11-24T08:49:05.786" v="76957"/>
          <ac:spMkLst>
            <pc:docMk/>
            <pc:sldMk cId="1942033937" sldId="2147478573"/>
            <ac:spMk id="508" creationId="{5B2662B4-B5F0-BFB4-58D7-2BA06F587FC3}"/>
          </ac:spMkLst>
        </pc:spChg>
        <pc:spChg chg="add del mod">
          <ac:chgData name="Steiner Andreas 6206 ED" userId="e6377c33-a923-4f14-8587-531c474c7b48" providerId="ADAL" clId="{6ECD27E6-B224-41CD-B4E0-E297462320DD}" dt="2023-11-24T08:49:07.900" v="77112"/>
          <ac:spMkLst>
            <pc:docMk/>
            <pc:sldMk cId="1942033937" sldId="2147478573"/>
            <ac:spMk id="509" creationId="{BDE2B9E9-090B-BFD7-07E8-E6DB0FC09372}"/>
          </ac:spMkLst>
        </pc:spChg>
        <pc:spChg chg="add del mod">
          <ac:chgData name="Steiner Andreas 6206 ED" userId="e6377c33-a923-4f14-8587-531c474c7b48" providerId="ADAL" clId="{6ECD27E6-B224-41CD-B4E0-E297462320DD}" dt="2023-11-24T08:49:09.794" v="77267"/>
          <ac:spMkLst>
            <pc:docMk/>
            <pc:sldMk cId="1942033937" sldId="2147478573"/>
            <ac:spMk id="510" creationId="{558D1E6D-EDCA-F335-559D-141A84E822A6}"/>
          </ac:spMkLst>
        </pc:spChg>
        <pc:spChg chg="add del mod">
          <ac:chgData name="Steiner Andreas 6206 ED" userId="e6377c33-a923-4f14-8587-531c474c7b48" providerId="ADAL" clId="{6ECD27E6-B224-41CD-B4E0-E297462320DD}" dt="2023-11-24T08:49:11.571" v="77422"/>
          <ac:spMkLst>
            <pc:docMk/>
            <pc:sldMk cId="1942033937" sldId="2147478573"/>
            <ac:spMk id="511" creationId="{763D206F-240F-8683-9342-3A75FA17E039}"/>
          </ac:spMkLst>
        </pc:spChg>
        <pc:spChg chg="add del mod">
          <ac:chgData name="Steiner Andreas 6206 ED" userId="e6377c33-a923-4f14-8587-531c474c7b48" providerId="ADAL" clId="{6ECD27E6-B224-41CD-B4E0-E297462320DD}" dt="2023-11-24T08:49:13.657" v="77577"/>
          <ac:spMkLst>
            <pc:docMk/>
            <pc:sldMk cId="1942033937" sldId="2147478573"/>
            <ac:spMk id="512" creationId="{332FDFF6-CF32-D39B-A109-1C421A02D929}"/>
          </ac:spMkLst>
        </pc:spChg>
        <pc:spChg chg="add del mod">
          <ac:chgData name="Steiner Andreas 6206 ED" userId="e6377c33-a923-4f14-8587-531c474c7b48" providerId="ADAL" clId="{6ECD27E6-B224-41CD-B4E0-E297462320DD}" dt="2023-11-24T08:49:15.663" v="77732"/>
          <ac:spMkLst>
            <pc:docMk/>
            <pc:sldMk cId="1942033937" sldId="2147478573"/>
            <ac:spMk id="513" creationId="{83F3C2DE-15D0-3BDA-E1F9-0A334EDF60E4}"/>
          </ac:spMkLst>
        </pc:spChg>
        <pc:spChg chg="add del mod">
          <ac:chgData name="Steiner Andreas 6206 ED" userId="e6377c33-a923-4f14-8587-531c474c7b48" providerId="ADAL" clId="{6ECD27E6-B224-41CD-B4E0-E297462320DD}" dt="2023-11-24T08:49:17.679" v="77887"/>
          <ac:spMkLst>
            <pc:docMk/>
            <pc:sldMk cId="1942033937" sldId="2147478573"/>
            <ac:spMk id="514" creationId="{CB575914-45F0-CAB8-50F4-8941DE95F276}"/>
          </ac:spMkLst>
        </pc:spChg>
        <pc:spChg chg="add del mod">
          <ac:chgData name="Steiner Andreas 6206 ED" userId="e6377c33-a923-4f14-8587-531c474c7b48" providerId="ADAL" clId="{6ECD27E6-B224-41CD-B4E0-E297462320DD}" dt="2023-11-24T08:49:19.741" v="78042"/>
          <ac:spMkLst>
            <pc:docMk/>
            <pc:sldMk cId="1942033937" sldId="2147478573"/>
            <ac:spMk id="515" creationId="{189E7C9A-1B08-FA24-5530-B02C18B89840}"/>
          </ac:spMkLst>
        </pc:spChg>
        <pc:spChg chg="add del mod">
          <ac:chgData name="Steiner Andreas 6206 ED" userId="e6377c33-a923-4f14-8587-531c474c7b48" providerId="ADAL" clId="{6ECD27E6-B224-41CD-B4E0-E297462320DD}" dt="2023-11-24T08:49:21.649" v="78197"/>
          <ac:spMkLst>
            <pc:docMk/>
            <pc:sldMk cId="1942033937" sldId="2147478573"/>
            <ac:spMk id="516" creationId="{7E8A6A60-A667-F85B-B5AB-7DB470F452F5}"/>
          </ac:spMkLst>
        </pc:spChg>
        <pc:spChg chg="add del mod">
          <ac:chgData name="Steiner Andreas 6206 ED" userId="e6377c33-a923-4f14-8587-531c474c7b48" providerId="ADAL" clId="{6ECD27E6-B224-41CD-B4E0-E297462320DD}" dt="2023-11-24T08:49:23.540" v="78352"/>
          <ac:spMkLst>
            <pc:docMk/>
            <pc:sldMk cId="1942033937" sldId="2147478573"/>
            <ac:spMk id="517" creationId="{06D8D4A1-F325-BBA1-CF9B-D0B70CE67725}"/>
          </ac:spMkLst>
        </pc:spChg>
        <pc:spChg chg="add del mod">
          <ac:chgData name="Steiner Andreas 6206 ED" userId="e6377c33-a923-4f14-8587-531c474c7b48" providerId="ADAL" clId="{6ECD27E6-B224-41CD-B4E0-E297462320DD}" dt="2023-11-24T08:49:25.426" v="78507"/>
          <ac:spMkLst>
            <pc:docMk/>
            <pc:sldMk cId="1942033937" sldId="2147478573"/>
            <ac:spMk id="518" creationId="{4C9F064F-4413-9363-FD5D-5A72FE2A3120}"/>
          </ac:spMkLst>
        </pc:spChg>
        <pc:spChg chg="add del mod">
          <ac:chgData name="Steiner Andreas 6206 ED" userId="e6377c33-a923-4f14-8587-531c474c7b48" providerId="ADAL" clId="{6ECD27E6-B224-41CD-B4E0-E297462320DD}" dt="2023-11-24T08:49:27.480" v="78662"/>
          <ac:spMkLst>
            <pc:docMk/>
            <pc:sldMk cId="1942033937" sldId="2147478573"/>
            <ac:spMk id="519" creationId="{8B8E1F54-90C2-259C-83D0-8C4E045A54AE}"/>
          </ac:spMkLst>
        </pc:spChg>
        <pc:spChg chg="add del mod">
          <ac:chgData name="Steiner Andreas 6206 ED" userId="e6377c33-a923-4f14-8587-531c474c7b48" providerId="ADAL" clId="{6ECD27E6-B224-41CD-B4E0-E297462320DD}" dt="2023-11-24T08:49:29.505" v="78817"/>
          <ac:spMkLst>
            <pc:docMk/>
            <pc:sldMk cId="1942033937" sldId="2147478573"/>
            <ac:spMk id="520" creationId="{2F9836BD-9CE9-50B8-E0A1-0F09457A9B61}"/>
          </ac:spMkLst>
        </pc:spChg>
        <pc:spChg chg="add del mod">
          <ac:chgData name="Steiner Andreas 6206 ED" userId="e6377c33-a923-4f14-8587-531c474c7b48" providerId="ADAL" clId="{6ECD27E6-B224-41CD-B4E0-E297462320DD}" dt="2023-11-24T08:49:31.449" v="78972"/>
          <ac:spMkLst>
            <pc:docMk/>
            <pc:sldMk cId="1942033937" sldId="2147478573"/>
            <ac:spMk id="521" creationId="{CD6F85A6-55B4-FAF0-D459-FF0C6ECAEA55}"/>
          </ac:spMkLst>
        </pc:spChg>
        <pc:spChg chg="add del mod">
          <ac:chgData name="Steiner Andreas 6206 ED" userId="e6377c33-a923-4f14-8587-531c474c7b48" providerId="ADAL" clId="{6ECD27E6-B224-41CD-B4E0-E297462320DD}" dt="2023-11-24T08:49:33.351" v="79127"/>
          <ac:spMkLst>
            <pc:docMk/>
            <pc:sldMk cId="1942033937" sldId="2147478573"/>
            <ac:spMk id="522" creationId="{A12F181E-CDD1-5C22-96EB-F8DAB770E159}"/>
          </ac:spMkLst>
        </pc:spChg>
        <pc:spChg chg="add del mod">
          <ac:chgData name="Steiner Andreas 6206 ED" userId="e6377c33-a923-4f14-8587-531c474c7b48" providerId="ADAL" clId="{6ECD27E6-B224-41CD-B4E0-E297462320DD}" dt="2023-11-24T08:49:35.257" v="79282"/>
          <ac:spMkLst>
            <pc:docMk/>
            <pc:sldMk cId="1942033937" sldId="2147478573"/>
            <ac:spMk id="523" creationId="{0347AD93-CD98-2C20-DAC4-E9FAD5954B39}"/>
          </ac:spMkLst>
        </pc:spChg>
        <pc:spChg chg="add del mod">
          <ac:chgData name="Steiner Andreas 6206 ED" userId="e6377c33-a923-4f14-8587-531c474c7b48" providerId="ADAL" clId="{6ECD27E6-B224-41CD-B4E0-E297462320DD}" dt="2023-11-24T08:49:37.092" v="79437"/>
          <ac:spMkLst>
            <pc:docMk/>
            <pc:sldMk cId="1942033937" sldId="2147478573"/>
            <ac:spMk id="524" creationId="{655A29A1-AF61-7EDB-6987-9D9FE17CBF30}"/>
          </ac:spMkLst>
        </pc:spChg>
        <pc:spChg chg="add del mod">
          <ac:chgData name="Steiner Andreas 6206 ED" userId="e6377c33-a923-4f14-8587-531c474c7b48" providerId="ADAL" clId="{6ECD27E6-B224-41CD-B4E0-E297462320DD}" dt="2023-11-24T08:49:39.049" v="79592"/>
          <ac:spMkLst>
            <pc:docMk/>
            <pc:sldMk cId="1942033937" sldId="2147478573"/>
            <ac:spMk id="525" creationId="{7AFCFD29-135C-32DD-076E-6EFE5784CD46}"/>
          </ac:spMkLst>
        </pc:spChg>
        <pc:spChg chg="add del mod">
          <ac:chgData name="Steiner Andreas 6206 ED" userId="e6377c33-a923-4f14-8587-531c474c7b48" providerId="ADAL" clId="{6ECD27E6-B224-41CD-B4E0-E297462320DD}" dt="2023-11-24T08:49:41.132" v="79747"/>
          <ac:spMkLst>
            <pc:docMk/>
            <pc:sldMk cId="1942033937" sldId="2147478573"/>
            <ac:spMk id="526" creationId="{ED455B80-2B5C-A34F-F526-898FA9AAE00C}"/>
          </ac:spMkLst>
        </pc:spChg>
        <pc:spChg chg="add del mod">
          <ac:chgData name="Steiner Andreas 6206 ED" userId="e6377c33-a923-4f14-8587-531c474c7b48" providerId="ADAL" clId="{6ECD27E6-B224-41CD-B4E0-E297462320DD}" dt="2023-11-24T08:49:43.054" v="79902"/>
          <ac:spMkLst>
            <pc:docMk/>
            <pc:sldMk cId="1942033937" sldId="2147478573"/>
            <ac:spMk id="527" creationId="{89B47E94-964C-B3CC-7B04-8EF4FF362574}"/>
          </ac:spMkLst>
        </pc:spChg>
        <pc:spChg chg="add del mod">
          <ac:chgData name="Steiner Andreas 6206 ED" userId="e6377c33-a923-4f14-8587-531c474c7b48" providerId="ADAL" clId="{6ECD27E6-B224-41CD-B4E0-E297462320DD}" dt="2023-11-24T08:49:44.997" v="80057"/>
          <ac:spMkLst>
            <pc:docMk/>
            <pc:sldMk cId="1942033937" sldId="2147478573"/>
            <ac:spMk id="528" creationId="{3C9A21EE-F3E9-5A21-15A8-5326AAA7ED30}"/>
          </ac:spMkLst>
        </pc:spChg>
        <pc:spChg chg="add del mod">
          <ac:chgData name="Steiner Andreas 6206 ED" userId="e6377c33-a923-4f14-8587-531c474c7b48" providerId="ADAL" clId="{6ECD27E6-B224-41CD-B4E0-E297462320DD}" dt="2023-11-24T08:49:46.951" v="80212"/>
          <ac:spMkLst>
            <pc:docMk/>
            <pc:sldMk cId="1942033937" sldId="2147478573"/>
            <ac:spMk id="529" creationId="{A01069F8-BC3F-F75A-C586-FDB5D498C95E}"/>
          </ac:spMkLst>
        </pc:spChg>
        <pc:spChg chg="add del mod">
          <ac:chgData name="Steiner Andreas 6206 ED" userId="e6377c33-a923-4f14-8587-531c474c7b48" providerId="ADAL" clId="{6ECD27E6-B224-41CD-B4E0-E297462320DD}" dt="2023-11-24T08:49:48.837" v="80367"/>
          <ac:spMkLst>
            <pc:docMk/>
            <pc:sldMk cId="1942033937" sldId="2147478573"/>
            <ac:spMk id="530" creationId="{58DDB5F7-2EF2-EA19-0D22-B39723B8A922}"/>
          </ac:spMkLst>
        </pc:spChg>
        <pc:spChg chg="add del mod">
          <ac:chgData name="Steiner Andreas 6206 ED" userId="e6377c33-a923-4f14-8587-531c474c7b48" providerId="ADAL" clId="{6ECD27E6-B224-41CD-B4E0-E297462320DD}" dt="2023-11-24T08:49:50.728" v="80522"/>
          <ac:spMkLst>
            <pc:docMk/>
            <pc:sldMk cId="1942033937" sldId="2147478573"/>
            <ac:spMk id="531" creationId="{9D6315AF-BEA6-DF53-DD10-7CAF5E04A0A4}"/>
          </ac:spMkLst>
        </pc:spChg>
        <pc:spChg chg="add del mod">
          <ac:chgData name="Steiner Andreas 6206 ED" userId="e6377c33-a923-4f14-8587-531c474c7b48" providerId="ADAL" clId="{6ECD27E6-B224-41CD-B4E0-E297462320DD}" dt="2023-11-24T08:49:52.660" v="80677"/>
          <ac:spMkLst>
            <pc:docMk/>
            <pc:sldMk cId="1942033937" sldId="2147478573"/>
            <ac:spMk id="532" creationId="{A93DB235-32C6-12C0-264F-C89DD26E70AE}"/>
          </ac:spMkLst>
        </pc:spChg>
        <pc:spChg chg="add del mod">
          <ac:chgData name="Steiner Andreas 6206 ED" userId="e6377c33-a923-4f14-8587-531c474c7b48" providerId="ADAL" clId="{6ECD27E6-B224-41CD-B4E0-E297462320DD}" dt="2023-11-24T08:49:54.596" v="80832"/>
          <ac:spMkLst>
            <pc:docMk/>
            <pc:sldMk cId="1942033937" sldId="2147478573"/>
            <ac:spMk id="533" creationId="{92CF28A6-914E-BB3E-13C9-3461B8C5BC85}"/>
          </ac:spMkLst>
        </pc:spChg>
        <pc:spChg chg="add del mod">
          <ac:chgData name="Steiner Andreas 6206 ED" userId="e6377c33-a923-4f14-8587-531c474c7b48" providerId="ADAL" clId="{6ECD27E6-B224-41CD-B4E0-E297462320DD}" dt="2023-11-24T08:49:56.468" v="80987"/>
          <ac:spMkLst>
            <pc:docMk/>
            <pc:sldMk cId="1942033937" sldId="2147478573"/>
            <ac:spMk id="534" creationId="{BAD7506E-C89B-B425-D9EE-45DB23E9B963}"/>
          </ac:spMkLst>
        </pc:spChg>
        <pc:spChg chg="add del mod">
          <ac:chgData name="Steiner Andreas 6206 ED" userId="e6377c33-a923-4f14-8587-531c474c7b48" providerId="ADAL" clId="{6ECD27E6-B224-41CD-B4E0-E297462320DD}" dt="2023-11-24T08:49:58.356" v="81142"/>
          <ac:spMkLst>
            <pc:docMk/>
            <pc:sldMk cId="1942033937" sldId="2147478573"/>
            <ac:spMk id="535" creationId="{876FDD82-8889-A34C-8A82-9135E6766C35}"/>
          </ac:spMkLst>
        </pc:spChg>
        <pc:spChg chg="add del mod">
          <ac:chgData name="Steiner Andreas 6206 ED" userId="e6377c33-a923-4f14-8587-531c474c7b48" providerId="ADAL" clId="{6ECD27E6-B224-41CD-B4E0-E297462320DD}" dt="2023-11-24T08:50:00.285" v="81297"/>
          <ac:spMkLst>
            <pc:docMk/>
            <pc:sldMk cId="1942033937" sldId="2147478573"/>
            <ac:spMk id="536" creationId="{122620CD-B59D-6A7D-B908-669980F61D32}"/>
          </ac:spMkLst>
        </pc:spChg>
        <pc:spChg chg="add del mod">
          <ac:chgData name="Steiner Andreas 6206 ED" userId="e6377c33-a923-4f14-8587-531c474c7b48" providerId="ADAL" clId="{6ECD27E6-B224-41CD-B4E0-E297462320DD}" dt="2023-11-24T08:50:02.355" v="81452"/>
          <ac:spMkLst>
            <pc:docMk/>
            <pc:sldMk cId="1942033937" sldId="2147478573"/>
            <ac:spMk id="537" creationId="{79BEA07F-26FE-D929-4603-C4388978F60C}"/>
          </ac:spMkLst>
        </pc:spChg>
        <pc:spChg chg="add del mod">
          <ac:chgData name="Steiner Andreas 6206 ED" userId="e6377c33-a923-4f14-8587-531c474c7b48" providerId="ADAL" clId="{6ECD27E6-B224-41CD-B4E0-E297462320DD}" dt="2023-11-24T08:50:04.414" v="81607"/>
          <ac:spMkLst>
            <pc:docMk/>
            <pc:sldMk cId="1942033937" sldId="2147478573"/>
            <ac:spMk id="538" creationId="{669BCC8C-5C2F-A14A-C3F0-7F6B3A7AB8CF}"/>
          </ac:spMkLst>
        </pc:spChg>
        <pc:spChg chg="add del mod">
          <ac:chgData name="Steiner Andreas 6206 ED" userId="e6377c33-a923-4f14-8587-531c474c7b48" providerId="ADAL" clId="{6ECD27E6-B224-41CD-B4E0-E297462320DD}" dt="2023-11-24T08:50:06.364" v="81762"/>
          <ac:spMkLst>
            <pc:docMk/>
            <pc:sldMk cId="1942033937" sldId="2147478573"/>
            <ac:spMk id="539" creationId="{9D9AF124-BE6D-4F64-F27C-3CC22FCD8817}"/>
          </ac:spMkLst>
        </pc:spChg>
        <pc:spChg chg="add del mod">
          <ac:chgData name="Steiner Andreas 6206 ED" userId="e6377c33-a923-4f14-8587-531c474c7b48" providerId="ADAL" clId="{6ECD27E6-B224-41CD-B4E0-E297462320DD}" dt="2023-11-24T08:50:08.258" v="81917"/>
          <ac:spMkLst>
            <pc:docMk/>
            <pc:sldMk cId="1942033937" sldId="2147478573"/>
            <ac:spMk id="540" creationId="{30FDBD13-5264-B9C5-97F1-CA829F68C182}"/>
          </ac:spMkLst>
        </pc:spChg>
        <pc:spChg chg="add del mod">
          <ac:chgData name="Steiner Andreas 6206 ED" userId="e6377c33-a923-4f14-8587-531c474c7b48" providerId="ADAL" clId="{6ECD27E6-B224-41CD-B4E0-E297462320DD}" dt="2023-11-24T08:50:10.139" v="82072"/>
          <ac:spMkLst>
            <pc:docMk/>
            <pc:sldMk cId="1942033937" sldId="2147478573"/>
            <ac:spMk id="541" creationId="{B896CF52-5A3D-28E8-B58D-E785689E86CC}"/>
          </ac:spMkLst>
        </pc:spChg>
        <pc:spChg chg="add del mod">
          <ac:chgData name="Steiner Andreas 6206 ED" userId="e6377c33-a923-4f14-8587-531c474c7b48" providerId="ADAL" clId="{6ECD27E6-B224-41CD-B4E0-E297462320DD}" dt="2023-11-24T08:50:12.055" v="82227"/>
          <ac:spMkLst>
            <pc:docMk/>
            <pc:sldMk cId="1942033937" sldId="2147478573"/>
            <ac:spMk id="542" creationId="{DBF98112-8A49-CFB8-AFC6-BDB75A77EB34}"/>
          </ac:spMkLst>
        </pc:spChg>
        <pc:spChg chg="add del mod">
          <ac:chgData name="Steiner Andreas 6206 ED" userId="e6377c33-a923-4f14-8587-531c474c7b48" providerId="ADAL" clId="{6ECD27E6-B224-41CD-B4E0-E297462320DD}" dt="2023-11-24T08:50:14.120" v="82382"/>
          <ac:spMkLst>
            <pc:docMk/>
            <pc:sldMk cId="1942033937" sldId="2147478573"/>
            <ac:spMk id="543" creationId="{DFA1A6ED-3E9E-57B3-41E5-9AEFB80871F2}"/>
          </ac:spMkLst>
        </pc:spChg>
        <pc:spChg chg="add del mod">
          <ac:chgData name="Steiner Andreas 6206 ED" userId="e6377c33-a923-4f14-8587-531c474c7b48" providerId="ADAL" clId="{6ECD27E6-B224-41CD-B4E0-E297462320DD}" dt="2023-11-24T08:50:16.081" v="82537"/>
          <ac:spMkLst>
            <pc:docMk/>
            <pc:sldMk cId="1942033937" sldId="2147478573"/>
            <ac:spMk id="544" creationId="{C37DE78F-5548-8566-84EC-1099CBFA1839}"/>
          </ac:spMkLst>
        </pc:spChg>
        <pc:spChg chg="add del mod">
          <ac:chgData name="Steiner Andreas 6206 ED" userId="e6377c33-a923-4f14-8587-531c474c7b48" providerId="ADAL" clId="{6ECD27E6-B224-41CD-B4E0-E297462320DD}" dt="2023-11-24T08:50:18.050" v="82692"/>
          <ac:spMkLst>
            <pc:docMk/>
            <pc:sldMk cId="1942033937" sldId="2147478573"/>
            <ac:spMk id="545" creationId="{380AF59A-9B07-3549-E971-1878B0D603FC}"/>
          </ac:spMkLst>
        </pc:spChg>
        <pc:spChg chg="add del mod">
          <ac:chgData name="Steiner Andreas 6206 ED" userId="e6377c33-a923-4f14-8587-531c474c7b48" providerId="ADAL" clId="{6ECD27E6-B224-41CD-B4E0-E297462320DD}" dt="2023-11-24T08:50:20.251" v="82847"/>
          <ac:spMkLst>
            <pc:docMk/>
            <pc:sldMk cId="1942033937" sldId="2147478573"/>
            <ac:spMk id="546" creationId="{99DEE675-44C9-0AA2-3966-03CB0C8C932A}"/>
          </ac:spMkLst>
        </pc:spChg>
        <pc:spChg chg="add del mod">
          <ac:chgData name="Steiner Andreas 6206 ED" userId="e6377c33-a923-4f14-8587-531c474c7b48" providerId="ADAL" clId="{6ECD27E6-B224-41CD-B4E0-E297462320DD}" dt="2023-11-24T08:50:22.203" v="83002"/>
          <ac:spMkLst>
            <pc:docMk/>
            <pc:sldMk cId="1942033937" sldId="2147478573"/>
            <ac:spMk id="547" creationId="{8D9EB4E2-C1BE-F0C2-2FE3-1CCA9A2E7E80}"/>
          </ac:spMkLst>
        </pc:spChg>
        <pc:spChg chg="add del mod">
          <ac:chgData name="Steiner Andreas 6206 ED" userId="e6377c33-a923-4f14-8587-531c474c7b48" providerId="ADAL" clId="{6ECD27E6-B224-41CD-B4E0-E297462320DD}" dt="2023-11-24T08:50:24.273" v="83157"/>
          <ac:spMkLst>
            <pc:docMk/>
            <pc:sldMk cId="1942033937" sldId="2147478573"/>
            <ac:spMk id="548" creationId="{5C274C9B-AFCA-5B25-1177-D2358485BC45}"/>
          </ac:spMkLst>
        </pc:spChg>
        <pc:spChg chg="add del mod">
          <ac:chgData name="Steiner Andreas 6206 ED" userId="e6377c33-a923-4f14-8587-531c474c7b48" providerId="ADAL" clId="{6ECD27E6-B224-41CD-B4E0-E297462320DD}" dt="2023-11-24T08:50:26.295" v="83312"/>
          <ac:spMkLst>
            <pc:docMk/>
            <pc:sldMk cId="1942033937" sldId="2147478573"/>
            <ac:spMk id="549" creationId="{6FADA789-EF27-F71E-7FE6-70D61145AE17}"/>
          </ac:spMkLst>
        </pc:spChg>
        <pc:spChg chg="add del mod">
          <ac:chgData name="Steiner Andreas 6206 ED" userId="e6377c33-a923-4f14-8587-531c474c7b48" providerId="ADAL" clId="{6ECD27E6-B224-41CD-B4E0-E297462320DD}" dt="2023-11-24T08:50:28.221" v="83467"/>
          <ac:spMkLst>
            <pc:docMk/>
            <pc:sldMk cId="1942033937" sldId="2147478573"/>
            <ac:spMk id="550" creationId="{A52C3DCA-1362-A787-BE1B-6BF1F4EE0B85}"/>
          </ac:spMkLst>
        </pc:spChg>
        <pc:spChg chg="add del mod">
          <ac:chgData name="Steiner Andreas 6206 ED" userId="e6377c33-a923-4f14-8587-531c474c7b48" providerId="ADAL" clId="{6ECD27E6-B224-41CD-B4E0-E297462320DD}" dt="2023-11-24T08:50:30.133" v="83622"/>
          <ac:spMkLst>
            <pc:docMk/>
            <pc:sldMk cId="1942033937" sldId="2147478573"/>
            <ac:spMk id="551" creationId="{7EB86B41-8164-550C-56F8-4DC68F44B5AE}"/>
          </ac:spMkLst>
        </pc:spChg>
        <pc:spChg chg="add del mod">
          <ac:chgData name="Steiner Andreas 6206 ED" userId="e6377c33-a923-4f14-8587-531c474c7b48" providerId="ADAL" clId="{6ECD27E6-B224-41CD-B4E0-E297462320DD}" dt="2023-11-24T08:50:32.174" v="83777"/>
          <ac:spMkLst>
            <pc:docMk/>
            <pc:sldMk cId="1942033937" sldId="2147478573"/>
            <ac:spMk id="552" creationId="{CF67C3B5-53D2-3A3F-C914-501B996F3934}"/>
          </ac:spMkLst>
        </pc:spChg>
        <pc:spChg chg="add del mod">
          <ac:chgData name="Steiner Andreas 6206 ED" userId="e6377c33-a923-4f14-8587-531c474c7b48" providerId="ADAL" clId="{6ECD27E6-B224-41CD-B4E0-E297462320DD}" dt="2023-11-24T08:50:34.210" v="83932"/>
          <ac:spMkLst>
            <pc:docMk/>
            <pc:sldMk cId="1942033937" sldId="2147478573"/>
            <ac:spMk id="553" creationId="{ED0B6778-4B99-29FD-8532-E5DF885BB32A}"/>
          </ac:spMkLst>
        </pc:spChg>
        <pc:spChg chg="add del mod">
          <ac:chgData name="Steiner Andreas 6206 ED" userId="e6377c33-a923-4f14-8587-531c474c7b48" providerId="ADAL" clId="{6ECD27E6-B224-41CD-B4E0-E297462320DD}" dt="2023-11-24T08:50:36.454" v="84087"/>
          <ac:spMkLst>
            <pc:docMk/>
            <pc:sldMk cId="1942033937" sldId="2147478573"/>
            <ac:spMk id="554" creationId="{45594ECB-B254-6975-4FCE-105E3B714C3A}"/>
          </ac:spMkLst>
        </pc:spChg>
        <pc:spChg chg="add del mod">
          <ac:chgData name="Steiner Andreas 6206 ED" userId="e6377c33-a923-4f14-8587-531c474c7b48" providerId="ADAL" clId="{6ECD27E6-B224-41CD-B4E0-E297462320DD}" dt="2023-11-24T08:50:38.413" v="84242"/>
          <ac:spMkLst>
            <pc:docMk/>
            <pc:sldMk cId="1942033937" sldId="2147478573"/>
            <ac:spMk id="555" creationId="{CC424521-471E-CBED-E3AD-42C316455D5A}"/>
          </ac:spMkLst>
        </pc:spChg>
        <pc:spChg chg="add del mod">
          <ac:chgData name="Steiner Andreas 6206 ED" userId="e6377c33-a923-4f14-8587-531c474c7b48" providerId="ADAL" clId="{6ECD27E6-B224-41CD-B4E0-E297462320DD}" dt="2023-11-24T08:50:40.388" v="84397"/>
          <ac:spMkLst>
            <pc:docMk/>
            <pc:sldMk cId="1942033937" sldId="2147478573"/>
            <ac:spMk id="556" creationId="{9AB6C0E7-B3C7-4087-86A1-BCAF372FE098}"/>
          </ac:spMkLst>
        </pc:spChg>
        <pc:spChg chg="add del mod">
          <ac:chgData name="Steiner Andreas 6206 ED" userId="e6377c33-a923-4f14-8587-531c474c7b48" providerId="ADAL" clId="{6ECD27E6-B224-41CD-B4E0-E297462320DD}" dt="2023-11-24T08:50:42.395" v="84552"/>
          <ac:spMkLst>
            <pc:docMk/>
            <pc:sldMk cId="1942033937" sldId="2147478573"/>
            <ac:spMk id="557" creationId="{6EABEF78-07CA-52B9-EE11-6C119BAA952A}"/>
          </ac:spMkLst>
        </pc:spChg>
        <pc:spChg chg="add del mod">
          <ac:chgData name="Steiner Andreas 6206 ED" userId="e6377c33-a923-4f14-8587-531c474c7b48" providerId="ADAL" clId="{6ECD27E6-B224-41CD-B4E0-E297462320DD}" dt="2023-11-24T08:50:44.545" v="84707"/>
          <ac:spMkLst>
            <pc:docMk/>
            <pc:sldMk cId="1942033937" sldId="2147478573"/>
            <ac:spMk id="558" creationId="{D875E2FE-76CF-7043-01B9-944E7D0DBB4A}"/>
          </ac:spMkLst>
        </pc:spChg>
        <pc:spChg chg="add del mod">
          <ac:chgData name="Steiner Andreas 6206 ED" userId="e6377c33-a923-4f14-8587-531c474c7b48" providerId="ADAL" clId="{6ECD27E6-B224-41CD-B4E0-E297462320DD}" dt="2023-11-24T08:50:46.651" v="84862"/>
          <ac:spMkLst>
            <pc:docMk/>
            <pc:sldMk cId="1942033937" sldId="2147478573"/>
            <ac:spMk id="559" creationId="{78FBAB40-221E-862F-919A-AEDA36CEC665}"/>
          </ac:spMkLst>
        </pc:spChg>
        <pc:spChg chg="add del mod">
          <ac:chgData name="Steiner Andreas 6206 ED" userId="e6377c33-a923-4f14-8587-531c474c7b48" providerId="ADAL" clId="{6ECD27E6-B224-41CD-B4E0-E297462320DD}" dt="2023-11-24T08:50:48.790" v="85017"/>
          <ac:spMkLst>
            <pc:docMk/>
            <pc:sldMk cId="1942033937" sldId="2147478573"/>
            <ac:spMk id="560" creationId="{532A00CE-7262-2F77-E6BD-E55D7FC0AD99}"/>
          </ac:spMkLst>
        </pc:spChg>
        <pc:spChg chg="add del mod">
          <ac:chgData name="Steiner Andreas 6206 ED" userId="e6377c33-a923-4f14-8587-531c474c7b48" providerId="ADAL" clId="{6ECD27E6-B224-41CD-B4E0-E297462320DD}" dt="2023-11-24T08:50:50.882" v="85172"/>
          <ac:spMkLst>
            <pc:docMk/>
            <pc:sldMk cId="1942033937" sldId="2147478573"/>
            <ac:spMk id="561" creationId="{028A3485-ACB2-9292-E43F-26D2AC4631D6}"/>
          </ac:spMkLst>
        </pc:spChg>
        <pc:spChg chg="add del mod">
          <ac:chgData name="Steiner Andreas 6206 ED" userId="e6377c33-a923-4f14-8587-531c474c7b48" providerId="ADAL" clId="{6ECD27E6-B224-41CD-B4E0-E297462320DD}" dt="2023-11-24T08:50:53.014" v="85327"/>
          <ac:spMkLst>
            <pc:docMk/>
            <pc:sldMk cId="1942033937" sldId="2147478573"/>
            <ac:spMk id="562" creationId="{95F00A7A-B971-D2CD-1161-69E22B713F58}"/>
          </ac:spMkLst>
        </pc:spChg>
        <pc:spChg chg="add del mod">
          <ac:chgData name="Steiner Andreas 6206 ED" userId="e6377c33-a923-4f14-8587-531c474c7b48" providerId="ADAL" clId="{6ECD27E6-B224-41CD-B4E0-E297462320DD}" dt="2023-11-24T08:50:54.932" v="85482"/>
          <ac:spMkLst>
            <pc:docMk/>
            <pc:sldMk cId="1942033937" sldId="2147478573"/>
            <ac:spMk id="563" creationId="{AB2D1809-100C-596C-FF03-09A15164159F}"/>
          </ac:spMkLst>
        </pc:spChg>
        <pc:spChg chg="add del mod">
          <ac:chgData name="Steiner Andreas 6206 ED" userId="e6377c33-a923-4f14-8587-531c474c7b48" providerId="ADAL" clId="{6ECD27E6-B224-41CD-B4E0-E297462320DD}" dt="2023-11-24T08:50:56.831" v="85637"/>
          <ac:spMkLst>
            <pc:docMk/>
            <pc:sldMk cId="1942033937" sldId="2147478573"/>
            <ac:spMk id="564" creationId="{41054F9C-C787-3040-6C5F-1C0BF25EACDA}"/>
          </ac:spMkLst>
        </pc:spChg>
        <pc:spChg chg="add del mod">
          <ac:chgData name="Steiner Andreas 6206 ED" userId="e6377c33-a923-4f14-8587-531c474c7b48" providerId="ADAL" clId="{6ECD27E6-B224-41CD-B4E0-E297462320DD}" dt="2023-11-24T08:50:59.012" v="85792"/>
          <ac:spMkLst>
            <pc:docMk/>
            <pc:sldMk cId="1942033937" sldId="2147478573"/>
            <ac:spMk id="565" creationId="{72309BAC-397F-4B4D-89D1-EA83AC62A3C7}"/>
          </ac:spMkLst>
        </pc:spChg>
        <pc:spChg chg="add del mod">
          <ac:chgData name="Steiner Andreas 6206 ED" userId="e6377c33-a923-4f14-8587-531c474c7b48" providerId="ADAL" clId="{6ECD27E6-B224-41CD-B4E0-E297462320DD}" dt="2023-11-24T08:51:00.975" v="85947"/>
          <ac:spMkLst>
            <pc:docMk/>
            <pc:sldMk cId="1942033937" sldId="2147478573"/>
            <ac:spMk id="566" creationId="{791BBAB9-030C-ED51-60A4-80538059A0BA}"/>
          </ac:spMkLst>
        </pc:spChg>
        <pc:spChg chg="add del mod">
          <ac:chgData name="Steiner Andreas 6206 ED" userId="e6377c33-a923-4f14-8587-531c474c7b48" providerId="ADAL" clId="{6ECD27E6-B224-41CD-B4E0-E297462320DD}" dt="2023-11-24T08:51:02.951" v="86102"/>
          <ac:spMkLst>
            <pc:docMk/>
            <pc:sldMk cId="1942033937" sldId="2147478573"/>
            <ac:spMk id="567" creationId="{158CF9E9-6897-307B-16DB-01FCE4488323}"/>
          </ac:spMkLst>
        </pc:spChg>
        <pc:spChg chg="add del mod">
          <ac:chgData name="Steiner Andreas 6206 ED" userId="e6377c33-a923-4f14-8587-531c474c7b48" providerId="ADAL" clId="{6ECD27E6-B224-41CD-B4E0-E297462320DD}" dt="2023-11-24T08:51:04.796" v="86257"/>
          <ac:spMkLst>
            <pc:docMk/>
            <pc:sldMk cId="1942033937" sldId="2147478573"/>
            <ac:spMk id="568" creationId="{C51E828A-8A09-D565-3BA4-BAC19F1567CF}"/>
          </ac:spMkLst>
        </pc:spChg>
        <pc:spChg chg="add del mod">
          <ac:chgData name="Steiner Andreas 6206 ED" userId="e6377c33-a923-4f14-8587-531c474c7b48" providerId="ADAL" clId="{6ECD27E6-B224-41CD-B4E0-E297462320DD}" dt="2023-11-24T08:51:06.727" v="86412"/>
          <ac:spMkLst>
            <pc:docMk/>
            <pc:sldMk cId="1942033937" sldId="2147478573"/>
            <ac:spMk id="569" creationId="{B11F4453-010A-175D-28CD-A913FC1745FB}"/>
          </ac:spMkLst>
        </pc:spChg>
        <pc:spChg chg="add del mod">
          <ac:chgData name="Steiner Andreas 6206 ED" userId="e6377c33-a923-4f14-8587-531c474c7b48" providerId="ADAL" clId="{6ECD27E6-B224-41CD-B4E0-E297462320DD}" dt="2023-11-24T08:51:08.708" v="86567"/>
          <ac:spMkLst>
            <pc:docMk/>
            <pc:sldMk cId="1942033937" sldId="2147478573"/>
            <ac:spMk id="570" creationId="{003CC52B-C9AF-DBBE-5B34-8A44AA09ABF4}"/>
          </ac:spMkLst>
        </pc:spChg>
        <pc:spChg chg="add del mod">
          <ac:chgData name="Steiner Andreas 6206 ED" userId="e6377c33-a923-4f14-8587-531c474c7b48" providerId="ADAL" clId="{6ECD27E6-B224-41CD-B4E0-E297462320DD}" dt="2023-11-24T08:51:10.735" v="86722"/>
          <ac:spMkLst>
            <pc:docMk/>
            <pc:sldMk cId="1942033937" sldId="2147478573"/>
            <ac:spMk id="571" creationId="{E39535DF-22AB-ACF0-C9FF-22FCFD4A2149}"/>
          </ac:spMkLst>
        </pc:spChg>
        <pc:spChg chg="add del mod">
          <ac:chgData name="Steiner Andreas 6206 ED" userId="e6377c33-a923-4f14-8587-531c474c7b48" providerId="ADAL" clId="{6ECD27E6-B224-41CD-B4E0-E297462320DD}" dt="2023-11-24T08:51:12.630" v="86877"/>
          <ac:spMkLst>
            <pc:docMk/>
            <pc:sldMk cId="1942033937" sldId="2147478573"/>
            <ac:spMk id="572" creationId="{C1F28309-0950-F400-C853-645CA5928FDA}"/>
          </ac:spMkLst>
        </pc:spChg>
        <pc:spChg chg="add del mod">
          <ac:chgData name="Steiner Andreas 6206 ED" userId="e6377c33-a923-4f14-8587-531c474c7b48" providerId="ADAL" clId="{6ECD27E6-B224-41CD-B4E0-E297462320DD}" dt="2023-11-24T08:51:14.812" v="87032"/>
          <ac:spMkLst>
            <pc:docMk/>
            <pc:sldMk cId="1942033937" sldId="2147478573"/>
            <ac:spMk id="573" creationId="{0B53003B-E19F-F881-77AF-FE2CAC190080}"/>
          </ac:spMkLst>
        </pc:spChg>
        <pc:spChg chg="add del mod">
          <ac:chgData name="Steiner Andreas 6206 ED" userId="e6377c33-a923-4f14-8587-531c474c7b48" providerId="ADAL" clId="{6ECD27E6-B224-41CD-B4E0-E297462320DD}" dt="2023-11-24T08:51:16.915" v="87187"/>
          <ac:spMkLst>
            <pc:docMk/>
            <pc:sldMk cId="1942033937" sldId="2147478573"/>
            <ac:spMk id="574" creationId="{5C1E4FEA-93EE-8469-D0B5-CB99457196FE}"/>
          </ac:spMkLst>
        </pc:spChg>
        <pc:spChg chg="add del mod">
          <ac:chgData name="Steiner Andreas 6206 ED" userId="e6377c33-a923-4f14-8587-531c474c7b48" providerId="ADAL" clId="{6ECD27E6-B224-41CD-B4E0-E297462320DD}" dt="2023-11-24T08:51:18.824" v="87342"/>
          <ac:spMkLst>
            <pc:docMk/>
            <pc:sldMk cId="1942033937" sldId="2147478573"/>
            <ac:spMk id="575" creationId="{AA6871EC-4D4D-39C9-B36F-BD6C38D744AF}"/>
          </ac:spMkLst>
        </pc:spChg>
        <pc:spChg chg="add del mod">
          <ac:chgData name="Steiner Andreas 6206 ED" userId="e6377c33-a923-4f14-8587-531c474c7b48" providerId="ADAL" clId="{6ECD27E6-B224-41CD-B4E0-E297462320DD}" dt="2023-11-24T08:51:20.880" v="87497"/>
          <ac:spMkLst>
            <pc:docMk/>
            <pc:sldMk cId="1942033937" sldId="2147478573"/>
            <ac:spMk id="576" creationId="{486B4DEE-9306-7B71-4AD5-D8762C4F3460}"/>
          </ac:spMkLst>
        </pc:spChg>
        <pc:spChg chg="add del mod">
          <ac:chgData name="Steiner Andreas 6206 ED" userId="e6377c33-a923-4f14-8587-531c474c7b48" providerId="ADAL" clId="{6ECD27E6-B224-41CD-B4E0-E297462320DD}" dt="2023-11-24T08:51:22.826" v="87652"/>
          <ac:spMkLst>
            <pc:docMk/>
            <pc:sldMk cId="1942033937" sldId="2147478573"/>
            <ac:spMk id="577" creationId="{387374F5-A30E-4223-3A6C-76EB53E84157}"/>
          </ac:spMkLst>
        </pc:spChg>
        <pc:spChg chg="add del mod">
          <ac:chgData name="Steiner Andreas 6206 ED" userId="e6377c33-a923-4f14-8587-531c474c7b48" providerId="ADAL" clId="{6ECD27E6-B224-41CD-B4E0-E297462320DD}" dt="2023-11-24T08:51:24.750" v="87807"/>
          <ac:spMkLst>
            <pc:docMk/>
            <pc:sldMk cId="1942033937" sldId="2147478573"/>
            <ac:spMk id="578" creationId="{F1801CDA-C247-A8F3-70CC-B9DFF68F89F6}"/>
          </ac:spMkLst>
        </pc:spChg>
        <pc:spChg chg="add del mod">
          <ac:chgData name="Steiner Andreas 6206 ED" userId="e6377c33-a923-4f14-8587-531c474c7b48" providerId="ADAL" clId="{6ECD27E6-B224-41CD-B4E0-E297462320DD}" dt="2023-11-24T08:51:26.620" v="87962"/>
          <ac:spMkLst>
            <pc:docMk/>
            <pc:sldMk cId="1942033937" sldId="2147478573"/>
            <ac:spMk id="579" creationId="{097AF55F-AC61-AD15-07DF-43B2AE65C277}"/>
          </ac:spMkLst>
        </pc:spChg>
        <pc:spChg chg="add del mod">
          <ac:chgData name="Steiner Andreas 6206 ED" userId="e6377c33-a923-4f14-8587-531c474c7b48" providerId="ADAL" clId="{6ECD27E6-B224-41CD-B4E0-E297462320DD}" dt="2023-11-24T08:51:28.528" v="88117"/>
          <ac:spMkLst>
            <pc:docMk/>
            <pc:sldMk cId="1942033937" sldId="2147478573"/>
            <ac:spMk id="580" creationId="{0084670F-2743-B95C-A29E-E6FD985AD463}"/>
          </ac:spMkLst>
        </pc:spChg>
        <pc:spChg chg="add del mod">
          <ac:chgData name="Steiner Andreas 6206 ED" userId="e6377c33-a923-4f14-8587-531c474c7b48" providerId="ADAL" clId="{6ECD27E6-B224-41CD-B4E0-E297462320DD}" dt="2023-11-24T08:51:30.489" v="88272"/>
          <ac:spMkLst>
            <pc:docMk/>
            <pc:sldMk cId="1942033937" sldId="2147478573"/>
            <ac:spMk id="581" creationId="{830F385C-CCF5-17DB-833F-7985D4BAC75C}"/>
          </ac:spMkLst>
        </pc:spChg>
        <pc:spChg chg="add del mod">
          <ac:chgData name="Steiner Andreas 6206 ED" userId="e6377c33-a923-4f14-8587-531c474c7b48" providerId="ADAL" clId="{6ECD27E6-B224-41CD-B4E0-E297462320DD}" dt="2023-11-24T08:51:32.654" v="88427"/>
          <ac:spMkLst>
            <pc:docMk/>
            <pc:sldMk cId="1942033937" sldId="2147478573"/>
            <ac:spMk id="582" creationId="{3280BECC-4405-DF4B-E567-A7F70718E35E}"/>
          </ac:spMkLst>
        </pc:spChg>
        <pc:spChg chg="add del mod">
          <ac:chgData name="Steiner Andreas 6206 ED" userId="e6377c33-a923-4f14-8587-531c474c7b48" providerId="ADAL" clId="{6ECD27E6-B224-41CD-B4E0-E297462320DD}" dt="2023-11-24T08:51:34.622" v="88582"/>
          <ac:spMkLst>
            <pc:docMk/>
            <pc:sldMk cId="1942033937" sldId="2147478573"/>
            <ac:spMk id="583" creationId="{D614D2AC-07E0-1820-96D6-8771A44C2349}"/>
          </ac:spMkLst>
        </pc:spChg>
        <pc:spChg chg="add del mod">
          <ac:chgData name="Steiner Andreas 6206 ED" userId="e6377c33-a923-4f14-8587-531c474c7b48" providerId="ADAL" clId="{6ECD27E6-B224-41CD-B4E0-E297462320DD}" dt="2023-11-24T08:51:36.494" v="88737"/>
          <ac:spMkLst>
            <pc:docMk/>
            <pc:sldMk cId="1942033937" sldId="2147478573"/>
            <ac:spMk id="584" creationId="{DDBF0F01-EC2B-FDC3-1D17-E5F76D80305B}"/>
          </ac:spMkLst>
        </pc:spChg>
        <pc:spChg chg="add del mod">
          <ac:chgData name="Steiner Andreas 6206 ED" userId="e6377c33-a923-4f14-8587-531c474c7b48" providerId="ADAL" clId="{6ECD27E6-B224-41CD-B4E0-E297462320DD}" dt="2023-11-24T08:51:38.436" v="88892"/>
          <ac:spMkLst>
            <pc:docMk/>
            <pc:sldMk cId="1942033937" sldId="2147478573"/>
            <ac:spMk id="585" creationId="{4C10A3C9-EBDD-3C01-94C2-10F1E31096A7}"/>
          </ac:spMkLst>
        </pc:spChg>
        <pc:spChg chg="add del mod">
          <ac:chgData name="Steiner Andreas 6206 ED" userId="e6377c33-a923-4f14-8587-531c474c7b48" providerId="ADAL" clId="{6ECD27E6-B224-41CD-B4E0-E297462320DD}" dt="2023-11-24T08:51:40.373" v="89047"/>
          <ac:spMkLst>
            <pc:docMk/>
            <pc:sldMk cId="1942033937" sldId="2147478573"/>
            <ac:spMk id="586" creationId="{B2284729-D03E-7922-CB2E-29087B04CD26}"/>
          </ac:spMkLst>
        </pc:spChg>
        <pc:spChg chg="add del mod">
          <ac:chgData name="Steiner Andreas 6206 ED" userId="e6377c33-a923-4f14-8587-531c474c7b48" providerId="ADAL" clId="{6ECD27E6-B224-41CD-B4E0-E297462320DD}" dt="2023-11-24T08:51:42.379" v="89202"/>
          <ac:spMkLst>
            <pc:docMk/>
            <pc:sldMk cId="1942033937" sldId="2147478573"/>
            <ac:spMk id="587" creationId="{2DD0E202-1579-ED21-574F-50692E10893F}"/>
          </ac:spMkLst>
        </pc:spChg>
        <pc:spChg chg="add del mod">
          <ac:chgData name="Steiner Andreas 6206 ED" userId="e6377c33-a923-4f14-8587-531c474c7b48" providerId="ADAL" clId="{6ECD27E6-B224-41CD-B4E0-E297462320DD}" dt="2023-11-24T08:51:44.488" v="89357"/>
          <ac:spMkLst>
            <pc:docMk/>
            <pc:sldMk cId="1942033937" sldId="2147478573"/>
            <ac:spMk id="588" creationId="{C47A2750-16A7-9BEE-EF33-1837AA8A694A}"/>
          </ac:spMkLst>
        </pc:spChg>
        <pc:spChg chg="add del mod">
          <ac:chgData name="Steiner Andreas 6206 ED" userId="e6377c33-a923-4f14-8587-531c474c7b48" providerId="ADAL" clId="{6ECD27E6-B224-41CD-B4E0-E297462320DD}" dt="2023-11-24T08:51:46.455" v="89512"/>
          <ac:spMkLst>
            <pc:docMk/>
            <pc:sldMk cId="1942033937" sldId="2147478573"/>
            <ac:spMk id="589" creationId="{4FFE49AA-7755-F4D3-139F-897DF38B563A}"/>
          </ac:spMkLst>
        </pc:spChg>
        <pc:spChg chg="add del mod">
          <ac:chgData name="Steiner Andreas 6206 ED" userId="e6377c33-a923-4f14-8587-531c474c7b48" providerId="ADAL" clId="{6ECD27E6-B224-41CD-B4E0-E297462320DD}" dt="2023-11-24T08:51:48.348" v="89667"/>
          <ac:spMkLst>
            <pc:docMk/>
            <pc:sldMk cId="1942033937" sldId="2147478573"/>
            <ac:spMk id="590" creationId="{A6EE8230-8519-DFD4-A22C-564D38667036}"/>
          </ac:spMkLst>
        </pc:spChg>
        <pc:spChg chg="add del mod">
          <ac:chgData name="Steiner Andreas 6206 ED" userId="e6377c33-a923-4f14-8587-531c474c7b48" providerId="ADAL" clId="{6ECD27E6-B224-41CD-B4E0-E297462320DD}" dt="2023-11-24T08:51:50.262" v="89822"/>
          <ac:spMkLst>
            <pc:docMk/>
            <pc:sldMk cId="1942033937" sldId="2147478573"/>
            <ac:spMk id="591" creationId="{E6D0DAA5-2F1B-00EE-A7E0-E236EF5E3070}"/>
          </ac:spMkLst>
        </pc:spChg>
        <pc:spChg chg="add del mod">
          <ac:chgData name="Steiner Andreas 6206 ED" userId="e6377c33-a923-4f14-8587-531c474c7b48" providerId="ADAL" clId="{6ECD27E6-B224-41CD-B4E0-E297462320DD}" dt="2023-11-24T08:51:52.179" v="89977"/>
          <ac:spMkLst>
            <pc:docMk/>
            <pc:sldMk cId="1942033937" sldId="2147478573"/>
            <ac:spMk id="592" creationId="{1D1EA422-8471-5BBD-E06B-58D2484A9054}"/>
          </ac:spMkLst>
        </pc:spChg>
        <pc:spChg chg="add del mod">
          <ac:chgData name="Steiner Andreas 6206 ED" userId="e6377c33-a923-4f14-8587-531c474c7b48" providerId="ADAL" clId="{6ECD27E6-B224-41CD-B4E0-E297462320DD}" dt="2023-11-24T08:51:54.152" v="90132"/>
          <ac:spMkLst>
            <pc:docMk/>
            <pc:sldMk cId="1942033937" sldId="2147478573"/>
            <ac:spMk id="593" creationId="{0C77E1A7-FF56-CDD9-41A0-1B97B85ED1F3}"/>
          </ac:spMkLst>
        </pc:spChg>
        <pc:spChg chg="add del mod">
          <ac:chgData name="Steiner Andreas 6206 ED" userId="e6377c33-a923-4f14-8587-531c474c7b48" providerId="ADAL" clId="{6ECD27E6-B224-41CD-B4E0-E297462320DD}" dt="2023-11-24T08:51:56.147" v="90287"/>
          <ac:spMkLst>
            <pc:docMk/>
            <pc:sldMk cId="1942033937" sldId="2147478573"/>
            <ac:spMk id="594" creationId="{F791B7F4-CCDF-D798-5671-A673CEDBED45}"/>
          </ac:spMkLst>
        </pc:spChg>
        <pc:spChg chg="add del mod">
          <ac:chgData name="Steiner Andreas 6206 ED" userId="e6377c33-a923-4f14-8587-531c474c7b48" providerId="ADAL" clId="{6ECD27E6-B224-41CD-B4E0-E297462320DD}" dt="2023-11-24T08:51:58.071" v="90442"/>
          <ac:spMkLst>
            <pc:docMk/>
            <pc:sldMk cId="1942033937" sldId="2147478573"/>
            <ac:spMk id="595" creationId="{95702201-F6AC-0B45-22D5-B4843DAA45A6}"/>
          </ac:spMkLst>
        </pc:spChg>
        <pc:spChg chg="add del mod">
          <ac:chgData name="Steiner Andreas 6206 ED" userId="e6377c33-a923-4f14-8587-531c474c7b48" providerId="ADAL" clId="{6ECD27E6-B224-41CD-B4E0-E297462320DD}" dt="2023-11-24T08:52:00.202" v="90597"/>
          <ac:spMkLst>
            <pc:docMk/>
            <pc:sldMk cId="1942033937" sldId="2147478573"/>
            <ac:spMk id="596" creationId="{5BE9CDD8-CB03-23B4-9CC5-04B86162FE92}"/>
          </ac:spMkLst>
        </pc:spChg>
        <pc:spChg chg="add del mod">
          <ac:chgData name="Steiner Andreas 6206 ED" userId="e6377c33-a923-4f14-8587-531c474c7b48" providerId="ADAL" clId="{6ECD27E6-B224-41CD-B4E0-E297462320DD}" dt="2023-11-24T08:52:02.160" v="90752"/>
          <ac:spMkLst>
            <pc:docMk/>
            <pc:sldMk cId="1942033937" sldId="2147478573"/>
            <ac:spMk id="597" creationId="{C396FACB-6E1B-8247-B00B-0FB85A24FB7F}"/>
          </ac:spMkLst>
        </pc:spChg>
        <pc:spChg chg="add del mod">
          <ac:chgData name="Steiner Andreas 6206 ED" userId="e6377c33-a923-4f14-8587-531c474c7b48" providerId="ADAL" clId="{6ECD27E6-B224-41CD-B4E0-E297462320DD}" dt="2023-11-24T08:52:04.083" v="90907"/>
          <ac:spMkLst>
            <pc:docMk/>
            <pc:sldMk cId="1942033937" sldId="2147478573"/>
            <ac:spMk id="598" creationId="{D4EBDADD-ED58-9DD1-B702-DC7CB983EE9D}"/>
          </ac:spMkLst>
        </pc:spChg>
        <pc:spChg chg="add del mod">
          <ac:chgData name="Steiner Andreas 6206 ED" userId="e6377c33-a923-4f14-8587-531c474c7b48" providerId="ADAL" clId="{6ECD27E6-B224-41CD-B4E0-E297462320DD}" dt="2023-11-24T08:52:06.266" v="91062"/>
          <ac:spMkLst>
            <pc:docMk/>
            <pc:sldMk cId="1942033937" sldId="2147478573"/>
            <ac:spMk id="599" creationId="{8B72266C-8ECE-C7C2-B284-DC89AEC6DDDF}"/>
          </ac:spMkLst>
        </pc:spChg>
        <pc:spChg chg="add del mod">
          <ac:chgData name="Steiner Andreas 6206 ED" userId="e6377c33-a923-4f14-8587-531c474c7b48" providerId="ADAL" clId="{6ECD27E6-B224-41CD-B4E0-E297462320DD}" dt="2023-11-24T08:52:08.241" v="91217"/>
          <ac:spMkLst>
            <pc:docMk/>
            <pc:sldMk cId="1942033937" sldId="2147478573"/>
            <ac:spMk id="600" creationId="{8F9AE3D8-1A61-9D86-FC76-C6129028FB06}"/>
          </ac:spMkLst>
        </pc:spChg>
        <pc:spChg chg="add del mod">
          <ac:chgData name="Steiner Andreas 6206 ED" userId="e6377c33-a923-4f14-8587-531c474c7b48" providerId="ADAL" clId="{6ECD27E6-B224-41CD-B4E0-E297462320DD}" dt="2023-11-24T08:52:10.129" v="91372"/>
          <ac:spMkLst>
            <pc:docMk/>
            <pc:sldMk cId="1942033937" sldId="2147478573"/>
            <ac:spMk id="601" creationId="{258E7E90-5B20-3658-68F2-AF14FB6FC8FF}"/>
          </ac:spMkLst>
        </pc:spChg>
        <pc:spChg chg="add del mod">
          <ac:chgData name="Steiner Andreas 6206 ED" userId="e6377c33-a923-4f14-8587-531c474c7b48" providerId="ADAL" clId="{6ECD27E6-B224-41CD-B4E0-E297462320DD}" dt="2023-11-24T08:52:11.989" v="91527"/>
          <ac:spMkLst>
            <pc:docMk/>
            <pc:sldMk cId="1942033937" sldId="2147478573"/>
            <ac:spMk id="602" creationId="{22FC35BC-B5B1-BFC1-A8AF-F750370839D8}"/>
          </ac:spMkLst>
        </pc:spChg>
        <pc:spChg chg="add del mod">
          <ac:chgData name="Steiner Andreas 6206 ED" userId="e6377c33-a923-4f14-8587-531c474c7b48" providerId="ADAL" clId="{6ECD27E6-B224-41CD-B4E0-E297462320DD}" dt="2023-11-24T08:52:13.919" v="91682"/>
          <ac:spMkLst>
            <pc:docMk/>
            <pc:sldMk cId="1942033937" sldId="2147478573"/>
            <ac:spMk id="603" creationId="{2385FBEA-5B54-3C39-C4D6-C73D994E2B87}"/>
          </ac:spMkLst>
        </pc:spChg>
        <pc:spChg chg="add del mod">
          <ac:chgData name="Steiner Andreas 6206 ED" userId="e6377c33-a923-4f14-8587-531c474c7b48" providerId="ADAL" clId="{6ECD27E6-B224-41CD-B4E0-E297462320DD}" dt="2023-11-24T08:52:15.833" v="91837"/>
          <ac:spMkLst>
            <pc:docMk/>
            <pc:sldMk cId="1942033937" sldId="2147478573"/>
            <ac:spMk id="604" creationId="{DB6BF0A8-6FEE-45C9-CB00-E70E7BD34EF6}"/>
          </ac:spMkLst>
        </pc:spChg>
        <pc:spChg chg="add del mod">
          <ac:chgData name="Steiner Andreas 6206 ED" userId="e6377c33-a923-4f14-8587-531c474c7b48" providerId="ADAL" clId="{6ECD27E6-B224-41CD-B4E0-E297462320DD}" dt="2023-11-24T08:52:17.993" v="91992"/>
          <ac:spMkLst>
            <pc:docMk/>
            <pc:sldMk cId="1942033937" sldId="2147478573"/>
            <ac:spMk id="605" creationId="{5A315456-03E2-44A8-F758-D7DE5441857A}"/>
          </ac:spMkLst>
        </pc:spChg>
        <pc:spChg chg="add del mod">
          <ac:chgData name="Steiner Andreas 6206 ED" userId="e6377c33-a923-4f14-8587-531c474c7b48" providerId="ADAL" clId="{6ECD27E6-B224-41CD-B4E0-E297462320DD}" dt="2023-11-24T08:52:19.963" v="92147"/>
          <ac:spMkLst>
            <pc:docMk/>
            <pc:sldMk cId="1942033937" sldId="2147478573"/>
            <ac:spMk id="606" creationId="{CD5B6C09-FCE8-9953-FFFF-BE476591D57C}"/>
          </ac:spMkLst>
        </pc:spChg>
        <pc:spChg chg="add del mod">
          <ac:chgData name="Steiner Andreas 6206 ED" userId="e6377c33-a923-4f14-8587-531c474c7b48" providerId="ADAL" clId="{6ECD27E6-B224-41CD-B4E0-E297462320DD}" dt="2023-11-24T08:52:21.798" v="92302"/>
          <ac:spMkLst>
            <pc:docMk/>
            <pc:sldMk cId="1942033937" sldId="2147478573"/>
            <ac:spMk id="607" creationId="{533B3E65-3EE5-4E79-F982-3BA2C94E7EBB}"/>
          </ac:spMkLst>
        </pc:spChg>
        <pc:spChg chg="add del mod">
          <ac:chgData name="Steiner Andreas 6206 ED" userId="e6377c33-a923-4f14-8587-531c474c7b48" providerId="ADAL" clId="{6ECD27E6-B224-41CD-B4E0-E297462320DD}" dt="2023-11-24T08:52:23.859" v="92457"/>
          <ac:spMkLst>
            <pc:docMk/>
            <pc:sldMk cId="1942033937" sldId="2147478573"/>
            <ac:spMk id="608" creationId="{233393AF-3B91-B452-D71B-FACB9C130EA1}"/>
          </ac:spMkLst>
        </pc:spChg>
        <pc:spChg chg="add del mod">
          <ac:chgData name="Steiner Andreas 6206 ED" userId="e6377c33-a923-4f14-8587-531c474c7b48" providerId="ADAL" clId="{6ECD27E6-B224-41CD-B4E0-E297462320DD}" dt="2023-11-24T08:52:25.741" v="92612"/>
          <ac:spMkLst>
            <pc:docMk/>
            <pc:sldMk cId="1942033937" sldId="2147478573"/>
            <ac:spMk id="609" creationId="{02BC870D-8D96-4051-C1CB-AD08CC15E0E1}"/>
          </ac:spMkLst>
        </pc:spChg>
        <pc:spChg chg="add del mod">
          <ac:chgData name="Steiner Andreas 6206 ED" userId="e6377c33-a923-4f14-8587-531c474c7b48" providerId="ADAL" clId="{6ECD27E6-B224-41CD-B4E0-E297462320DD}" dt="2023-11-24T08:52:27.604" v="92767"/>
          <ac:spMkLst>
            <pc:docMk/>
            <pc:sldMk cId="1942033937" sldId="2147478573"/>
            <ac:spMk id="610" creationId="{27470286-39D9-F4D7-4DFE-BE579E03ABE7}"/>
          </ac:spMkLst>
        </pc:spChg>
        <pc:spChg chg="add del mod">
          <ac:chgData name="Steiner Andreas 6206 ED" userId="e6377c33-a923-4f14-8587-531c474c7b48" providerId="ADAL" clId="{6ECD27E6-B224-41CD-B4E0-E297462320DD}" dt="2023-11-24T08:52:29.687" v="92922"/>
          <ac:spMkLst>
            <pc:docMk/>
            <pc:sldMk cId="1942033937" sldId="2147478573"/>
            <ac:spMk id="611" creationId="{B094ED68-DA3D-995E-9C4C-CA0E6F8E3762}"/>
          </ac:spMkLst>
        </pc:spChg>
        <pc:spChg chg="add del mod">
          <ac:chgData name="Steiner Andreas 6206 ED" userId="e6377c33-a923-4f14-8587-531c474c7b48" providerId="ADAL" clId="{6ECD27E6-B224-41CD-B4E0-E297462320DD}" dt="2023-11-24T08:52:31.622" v="93077"/>
          <ac:spMkLst>
            <pc:docMk/>
            <pc:sldMk cId="1942033937" sldId="2147478573"/>
            <ac:spMk id="612" creationId="{81891253-9679-6C9D-7136-6AF39DCF60D5}"/>
          </ac:spMkLst>
        </pc:spChg>
        <pc:spChg chg="add del mod">
          <ac:chgData name="Steiner Andreas 6206 ED" userId="e6377c33-a923-4f14-8587-531c474c7b48" providerId="ADAL" clId="{6ECD27E6-B224-41CD-B4E0-E297462320DD}" dt="2023-11-24T08:52:33.554" v="93232"/>
          <ac:spMkLst>
            <pc:docMk/>
            <pc:sldMk cId="1942033937" sldId="2147478573"/>
            <ac:spMk id="613" creationId="{6BA034FC-2DD2-DAE4-1A56-B87402EB4251}"/>
          </ac:spMkLst>
        </pc:spChg>
        <pc:spChg chg="add del mod">
          <ac:chgData name="Steiner Andreas 6206 ED" userId="e6377c33-a923-4f14-8587-531c474c7b48" providerId="ADAL" clId="{6ECD27E6-B224-41CD-B4E0-E297462320DD}" dt="2023-11-24T08:52:35.441" v="93387"/>
          <ac:spMkLst>
            <pc:docMk/>
            <pc:sldMk cId="1942033937" sldId="2147478573"/>
            <ac:spMk id="614" creationId="{75CE905A-85FE-007F-3F73-8810E13E5C94}"/>
          </ac:spMkLst>
        </pc:spChg>
        <pc:spChg chg="add del mod">
          <ac:chgData name="Steiner Andreas 6206 ED" userId="e6377c33-a923-4f14-8587-531c474c7b48" providerId="ADAL" clId="{6ECD27E6-B224-41CD-B4E0-E297462320DD}" dt="2023-11-24T08:52:37.364" v="93542"/>
          <ac:spMkLst>
            <pc:docMk/>
            <pc:sldMk cId="1942033937" sldId="2147478573"/>
            <ac:spMk id="615" creationId="{B23B17B0-19B3-F0C4-20F0-671082C61E14}"/>
          </ac:spMkLst>
        </pc:spChg>
        <pc:spChg chg="add del mod">
          <ac:chgData name="Steiner Andreas 6206 ED" userId="e6377c33-a923-4f14-8587-531c474c7b48" providerId="ADAL" clId="{6ECD27E6-B224-41CD-B4E0-E297462320DD}" dt="2023-11-24T08:52:39.270" v="93697"/>
          <ac:spMkLst>
            <pc:docMk/>
            <pc:sldMk cId="1942033937" sldId="2147478573"/>
            <ac:spMk id="616" creationId="{341C8300-F7B4-EDA5-EABB-B9EE3E3DA89E}"/>
          </ac:spMkLst>
        </pc:spChg>
        <pc:spChg chg="add del mod">
          <ac:chgData name="Steiner Andreas 6206 ED" userId="e6377c33-a923-4f14-8587-531c474c7b48" providerId="ADAL" clId="{6ECD27E6-B224-41CD-B4E0-E297462320DD}" dt="2023-11-24T08:52:41.319" v="93852"/>
          <ac:spMkLst>
            <pc:docMk/>
            <pc:sldMk cId="1942033937" sldId="2147478573"/>
            <ac:spMk id="617" creationId="{31799B7D-DFB0-79D2-CA9B-C03F56875D9D}"/>
          </ac:spMkLst>
        </pc:spChg>
        <pc:spChg chg="add del mod">
          <ac:chgData name="Steiner Andreas 6206 ED" userId="e6377c33-a923-4f14-8587-531c474c7b48" providerId="ADAL" clId="{6ECD27E6-B224-41CD-B4E0-E297462320DD}" dt="2023-11-24T08:52:43.281" v="94007"/>
          <ac:spMkLst>
            <pc:docMk/>
            <pc:sldMk cId="1942033937" sldId="2147478573"/>
            <ac:spMk id="618" creationId="{00781F2E-4560-FE76-954A-CD003F80BCFC}"/>
          </ac:spMkLst>
        </pc:spChg>
        <pc:spChg chg="add del mod">
          <ac:chgData name="Steiner Andreas 6206 ED" userId="e6377c33-a923-4f14-8587-531c474c7b48" providerId="ADAL" clId="{6ECD27E6-B224-41CD-B4E0-E297462320DD}" dt="2023-11-24T08:52:45.211" v="94162"/>
          <ac:spMkLst>
            <pc:docMk/>
            <pc:sldMk cId="1942033937" sldId="2147478573"/>
            <ac:spMk id="619" creationId="{503ECC69-933C-CE4B-B85A-077AB5905A82}"/>
          </ac:spMkLst>
        </pc:spChg>
        <pc:spChg chg="add del mod">
          <ac:chgData name="Steiner Andreas 6206 ED" userId="e6377c33-a923-4f14-8587-531c474c7b48" providerId="ADAL" clId="{6ECD27E6-B224-41CD-B4E0-E297462320DD}" dt="2023-11-24T08:52:47.172" v="94317"/>
          <ac:spMkLst>
            <pc:docMk/>
            <pc:sldMk cId="1942033937" sldId="2147478573"/>
            <ac:spMk id="620" creationId="{533DF45C-2C6C-5E0B-B1E6-8FAED2ECDDE4}"/>
          </ac:spMkLst>
        </pc:spChg>
        <pc:spChg chg="add del mod">
          <ac:chgData name="Steiner Andreas 6206 ED" userId="e6377c33-a923-4f14-8587-531c474c7b48" providerId="ADAL" clId="{6ECD27E6-B224-41CD-B4E0-E297462320DD}" dt="2023-11-24T08:52:49.237" v="94472"/>
          <ac:spMkLst>
            <pc:docMk/>
            <pc:sldMk cId="1942033937" sldId="2147478573"/>
            <ac:spMk id="621" creationId="{BA1A066C-643F-CAAD-A0E7-2BB02B84C8D0}"/>
          </ac:spMkLst>
        </pc:spChg>
        <pc:spChg chg="add del mod">
          <ac:chgData name="Steiner Andreas 6206 ED" userId="e6377c33-a923-4f14-8587-531c474c7b48" providerId="ADAL" clId="{6ECD27E6-B224-41CD-B4E0-E297462320DD}" dt="2023-11-24T08:52:51.450" v="94627"/>
          <ac:spMkLst>
            <pc:docMk/>
            <pc:sldMk cId="1942033937" sldId="2147478573"/>
            <ac:spMk id="622" creationId="{A5C3D9AD-674C-8ED8-BF87-ED80D527C2E7}"/>
          </ac:spMkLst>
        </pc:spChg>
        <pc:spChg chg="add del mod">
          <ac:chgData name="Steiner Andreas 6206 ED" userId="e6377c33-a923-4f14-8587-531c474c7b48" providerId="ADAL" clId="{6ECD27E6-B224-41CD-B4E0-E297462320DD}" dt="2023-11-24T08:52:53.398" v="94782"/>
          <ac:spMkLst>
            <pc:docMk/>
            <pc:sldMk cId="1942033937" sldId="2147478573"/>
            <ac:spMk id="623" creationId="{63FD093B-6FC9-E388-EF93-F07FB955F5E4}"/>
          </ac:spMkLst>
        </pc:spChg>
        <pc:spChg chg="add del mod">
          <ac:chgData name="Steiner Andreas 6206 ED" userId="e6377c33-a923-4f14-8587-531c474c7b48" providerId="ADAL" clId="{6ECD27E6-B224-41CD-B4E0-E297462320DD}" dt="2023-11-24T08:52:55.333" v="94937"/>
          <ac:spMkLst>
            <pc:docMk/>
            <pc:sldMk cId="1942033937" sldId="2147478573"/>
            <ac:spMk id="624" creationId="{787FC497-29C9-3417-0F25-0BE5A0B1994B}"/>
          </ac:spMkLst>
        </pc:spChg>
        <pc:spChg chg="add del mod">
          <ac:chgData name="Steiner Andreas 6206 ED" userId="e6377c33-a923-4f14-8587-531c474c7b48" providerId="ADAL" clId="{6ECD27E6-B224-41CD-B4E0-E297462320DD}" dt="2023-11-24T08:52:57.367" v="95092"/>
          <ac:spMkLst>
            <pc:docMk/>
            <pc:sldMk cId="1942033937" sldId="2147478573"/>
            <ac:spMk id="625" creationId="{3DADB22F-0D31-C9E5-05A3-74E9CFD2B53D}"/>
          </ac:spMkLst>
        </pc:spChg>
        <pc:spChg chg="add del mod">
          <ac:chgData name="Steiner Andreas 6206 ED" userId="e6377c33-a923-4f14-8587-531c474c7b48" providerId="ADAL" clId="{6ECD27E6-B224-41CD-B4E0-E297462320DD}" dt="2023-11-24T08:52:59.317" v="95247"/>
          <ac:spMkLst>
            <pc:docMk/>
            <pc:sldMk cId="1942033937" sldId="2147478573"/>
            <ac:spMk id="626" creationId="{CCC63CD6-3C47-05E9-73AF-1EA72448FB3F}"/>
          </ac:spMkLst>
        </pc:spChg>
        <pc:spChg chg="add del mod">
          <ac:chgData name="Steiner Andreas 6206 ED" userId="e6377c33-a923-4f14-8587-531c474c7b48" providerId="ADAL" clId="{6ECD27E6-B224-41CD-B4E0-E297462320DD}" dt="2023-11-24T08:53:01.320" v="95402"/>
          <ac:spMkLst>
            <pc:docMk/>
            <pc:sldMk cId="1942033937" sldId="2147478573"/>
            <ac:spMk id="627" creationId="{DED88AD1-5061-8FE7-22E1-ED31821BF975}"/>
          </ac:spMkLst>
        </pc:spChg>
        <pc:spChg chg="add del mod">
          <ac:chgData name="Steiner Andreas 6206 ED" userId="e6377c33-a923-4f14-8587-531c474c7b48" providerId="ADAL" clId="{6ECD27E6-B224-41CD-B4E0-E297462320DD}" dt="2023-11-24T08:53:03.444" v="95557"/>
          <ac:spMkLst>
            <pc:docMk/>
            <pc:sldMk cId="1942033937" sldId="2147478573"/>
            <ac:spMk id="628" creationId="{62669A30-468B-26E6-FDBC-153FB2637B35}"/>
          </ac:spMkLst>
        </pc:spChg>
        <pc:spChg chg="add del mod">
          <ac:chgData name="Steiner Andreas 6206 ED" userId="e6377c33-a923-4f14-8587-531c474c7b48" providerId="ADAL" clId="{6ECD27E6-B224-41CD-B4E0-E297462320DD}" dt="2023-11-24T08:53:05.418" v="95712"/>
          <ac:spMkLst>
            <pc:docMk/>
            <pc:sldMk cId="1942033937" sldId="2147478573"/>
            <ac:spMk id="629" creationId="{1223F281-4F5A-BF37-05D8-37472978B12D}"/>
          </ac:spMkLst>
        </pc:spChg>
        <pc:spChg chg="add del mod">
          <ac:chgData name="Steiner Andreas 6206 ED" userId="e6377c33-a923-4f14-8587-531c474c7b48" providerId="ADAL" clId="{6ECD27E6-B224-41CD-B4E0-E297462320DD}" dt="2023-11-24T08:53:07.291" v="95867"/>
          <ac:spMkLst>
            <pc:docMk/>
            <pc:sldMk cId="1942033937" sldId="2147478573"/>
            <ac:spMk id="630" creationId="{6CA9D259-E729-762A-4FD2-57FE9986648A}"/>
          </ac:spMkLst>
        </pc:spChg>
        <pc:spChg chg="add del mod">
          <ac:chgData name="Steiner Andreas 6206 ED" userId="e6377c33-a923-4f14-8587-531c474c7b48" providerId="ADAL" clId="{6ECD27E6-B224-41CD-B4E0-E297462320DD}" dt="2023-11-24T08:53:09.233" v="96022"/>
          <ac:spMkLst>
            <pc:docMk/>
            <pc:sldMk cId="1942033937" sldId="2147478573"/>
            <ac:spMk id="631" creationId="{882DAB1F-DF99-0151-8E41-A3CE6E5E4245}"/>
          </ac:spMkLst>
        </pc:spChg>
        <pc:spChg chg="add del mod">
          <ac:chgData name="Steiner Andreas 6206 ED" userId="e6377c33-a923-4f14-8587-531c474c7b48" providerId="ADAL" clId="{6ECD27E6-B224-41CD-B4E0-E297462320DD}" dt="2023-11-24T08:53:11.174" v="96177"/>
          <ac:spMkLst>
            <pc:docMk/>
            <pc:sldMk cId="1942033937" sldId="2147478573"/>
            <ac:spMk id="632" creationId="{71D28A09-43F5-3C3B-C6A5-D4FE379F5913}"/>
          </ac:spMkLst>
        </pc:spChg>
        <pc:spChg chg="add del mod">
          <ac:chgData name="Steiner Andreas 6206 ED" userId="e6377c33-a923-4f14-8587-531c474c7b48" providerId="ADAL" clId="{6ECD27E6-B224-41CD-B4E0-E297462320DD}" dt="2023-11-24T08:53:13.152" v="96332"/>
          <ac:spMkLst>
            <pc:docMk/>
            <pc:sldMk cId="1942033937" sldId="2147478573"/>
            <ac:spMk id="633" creationId="{E9ADDF57-CED2-DAEC-4DD7-35176A9B481D}"/>
          </ac:spMkLst>
        </pc:spChg>
        <pc:spChg chg="add del mod">
          <ac:chgData name="Steiner Andreas 6206 ED" userId="e6377c33-a923-4f14-8587-531c474c7b48" providerId="ADAL" clId="{6ECD27E6-B224-41CD-B4E0-E297462320DD}" dt="2023-11-24T08:53:15.246" v="96487"/>
          <ac:spMkLst>
            <pc:docMk/>
            <pc:sldMk cId="1942033937" sldId="2147478573"/>
            <ac:spMk id="634" creationId="{159CE60A-F5C6-2873-1151-B51793904924}"/>
          </ac:spMkLst>
        </pc:spChg>
        <pc:spChg chg="add del mod">
          <ac:chgData name="Steiner Andreas 6206 ED" userId="e6377c33-a923-4f14-8587-531c474c7b48" providerId="ADAL" clId="{6ECD27E6-B224-41CD-B4E0-E297462320DD}" dt="2023-11-24T08:53:17.215" v="96642"/>
          <ac:spMkLst>
            <pc:docMk/>
            <pc:sldMk cId="1942033937" sldId="2147478573"/>
            <ac:spMk id="635" creationId="{512A5601-4170-4EDB-8FEC-26A2A611DF3C}"/>
          </ac:spMkLst>
        </pc:spChg>
        <pc:spChg chg="add del mod">
          <ac:chgData name="Steiner Andreas 6206 ED" userId="e6377c33-a923-4f14-8587-531c474c7b48" providerId="ADAL" clId="{6ECD27E6-B224-41CD-B4E0-E297462320DD}" dt="2023-11-24T08:53:19.164" v="96797"/>
          <ac:spMkLst>
            <pc:docMk/>
            <pc:sldMk cId="1942033937" sldId="2147478573"/>
            <ac:spMk id="636" creationId="{7D56E8F1-7702-1270-FBC9-E16C98AA9A6B}"/>
          </ac:spMkLst>
        </pc:spChg>
        <pc:spChg chg="add del mod">
          <ac:chgData name="Steiner Andreas 6206 ED" userId="e6377c33-a923-4f14-8587-531c474c7b48" providerId="ADAL" clId="{6ECD27E6-B224-41CD-B4E0-E297462320DD}" dt="2023-11-24T08:53:21.138" v="96952"/>
          <ac:spMkLst>
            <pc:docMk/>
            <pc:sldMk cId="1942033937" sldId="2147478573"/>
            <ac:spMk id="637" creationId="{FF29801A-1856-6AA0-42F9-8DBF81B0F6DE}"/>
          </ac:spMkLst>
        </pc:spChg>
        <pc:spChg chg="add del mod">
          <ac:chgData name="Steiner Andreas 6206 ED" userId="e6377c33-a923-4f14-8587-531c474c7b48" providerId="ADAL" clId="{6ECD27E6-B224-41CD-B4E0-E297462320DD}" dt="2023-11-24T08:53:23.098" v="97107"/>
          <ac:spMkLst>
            <pc:docMk/>
            <pc:sldMk cId="1942033937" sldId="2147478573"/>
            <ac:spMk id="638" creationId="{7B0A084C-6989-C80A-86F8-598FAFE5E0A2}"/>
          </ac:spMkLst>
        </pc:spChg>
        <pc:spChg chg="add del mod">
          <ac:chgData name="Steiner Andreas 6206 ED" userId="e6377c33-a923-4f14-8587-531c474c7b48" providerId="ADAL" clId="{6ECD27E6-B224-41CD-B4E0-E297462320DD}" dt="2023-11-24T08:53:25.210" v="97262"/>
          <ac:spMkLst>
            <pc:docMk/>
            <pc:sldMk cId="1942033937" sldId="2147478573"/>
            <ac:spMk id="639" creationId="{C8A37874-AE18-6688-0497-506DA6CFD05E}"/>
          </ac:spMkLst>
        </pc:spChg>
        <pc:spChg chg="add del mod">
          <ac:chgData name="Steiner Andreas 6206 ED" userId="e6377c33-a923-4f14-8587-531c474c7b48" providerId="ADAL" clId="{6ECD27E6-B224-41CD-B4E0-E297462320DD}" dt="2023-11-24T08:53:27.206" v="97417"/>
          <ac:spMkLst>
            <pc:docMk/>
            <pc:sldMk cId="1942033937" sldId="2147478573"/>
            <ac:spMk id="640" creationId="{12BA5A46-AB8A-2F43-0421-20B03E27442D}"/>
          </ac:spMkLst>
        </pc:spChg>
        <pc:spChg chg="add del mod">
          <ac:chgData name="Steiner Andreas 6206 ED" userId="e6377c33-a923-4f14-8587-531c474c7b48" providerId="ADAL" clId="{6ECD27E6-B224-41CD-B4E0-E297462320DD}" dt="2023-11-24T08:53:29.092" v="97572"/>
          <ac:spMkLst>
            <pc:docMk/>
            <pc:sldMk cId="1942033937" sldId="2147478573"/>
            <ac:spMk id="641" creationId="{5E3F1C15-C115-4678-5EE8-ECA6094FF02F}"/>
          </ac:spMkLst>
        </pc:spChg>
        <pc:spChg chg="add del mod">
          <ac:chgData name="Steiner Andreas 6206 ED" userId="e6377c33-a923-4f14-8587-531c474c7b48" providerId="ADAL" clId="{6ECD27E6-B224-41CD-B4E0-E297462320DD}" dt="2023-11-24T08:53:30.996" v="97727"/>
          <ac:spMkLst>
            <pc:docMk/>
            <pc:sldMk cId="1942033937" sldId="2147478573"/>
            <ac:spMk id="642" creationId="{B7C6FA54-D4BE-EBD9-7DC7-50448ED58B31}"/>
          </ac:spMkLst>
        </pc:spChg>
        <pc:spChg chg="add del mod">
          <ac:chgData name="Steiner Andreas 6206 ED" userId="e6377c33-a923-4f14-8587-531c474c7b48" providerId="ADAL" clId="{6ECD27E6-B224-41CD-B4E0-E297462320DD}" dt="2023-11-24T08:53:32.932" v="97882"/>
          <ac:spMkLst>
            <pc:docMk/>
            <pc:sldMk cId="1942033937" sldId="2147478573"/>
            <ac:spMk id="643" creationId="{95FAFA34-5EB2-3A1F-71E2-21AE8412A5E0}"/>
          </ac:spMkLst>
        </pc:spChg>
        <pc:spChg chg="add del mod">
          <ac:chgData name="Steiner Andreas 6206 ED" userId="e6377c33-a923-4f14-8587-531c474c7b48" providerId="ADAL" clId="{6ECD27E6-B224-41CD-B4E0-E297462320DD}" dt="2023-11-24T08:53:34.862" v="98037"/>
          <ac:spMkLst>
            <pc:docMk/>
            <pc:sldMk cId="1942033937" sldId="2147478573"/>
            <ac:spMk id="644" creationId="{3CC5E015-7EF7-D9AF-355B-5425C97685F4}"/>
          </ac:spMkLst>
        </pc:spChg>
        <pc:spChg chg="add del mod">
          <ac:chgData name="Steiner Andreas 6206 ED" userId="e6377c33-a923-4f14-8587-531c474c7b48" providerId="ADAL" clId="{6ECD27E6-B224-41CD-B4E0-E297462320DD}" dt="2023-11-24T08:53:36.950" v="98192"/>
          <ac:spMkLst>
            <pc:docMk/>
            <pc:sldMk cId="1942033937" sldId="2147478573"/>
            <ac:spMk id="645" creationId="{F6B45FA6-F687-0FED-4958-B35A13321852}"/>
          </ac:spMkLst>
        </pc:spChg>
        <pc:spChg chg="add del mod">
          <ac:chgData name="Steiner Andreas 6206 ED" userId="e6377c33-a923-4f14-8587-531c474c7b48" providerId="ADAL" clId="{6ECD27E6-B224-41CD-B4E0-E297462320DD}" dt="2023-11-24T08:53:38.867" v="98347"/>
          <ac:spMkLst>
            <pc:docMk/>
            <pc:sldMk cId="1942033937" sldId="2147478573"/>
            <ac:spMk id="646" creationId="{ED6CCC0C-3031-6011-0945-19370E68584E}"/>
          </ac:spMkLst>
        </pc:spChg>
        <pc:spChg chg="add del mod">
          <ac:chgData name="Steiner Andreas 6206 ED" userId="e6377c33-a923-4f14-8587-531c474c7b48" providerId="ADAL" clId="{6ECD27E6-B224-41CD-B4E0-E297462320DD}" dt="2023-11-24T08:53:40.835" v="98502"/>
          <ac:spMkLst>
            <pc:docMk/>
            <pc:sldMk cId="1942033937" sldId="2147478573"/>
            <ac:spMk id="647" creationId="{1FBA9748-AAD0-A6C2-A2F8-4516B541037C}"/>
          </ac:spMkLst>
        </pc:spChg>
        <pc:spChg chg="add del mod">
          <ac:chgData name="Steiner Andreas 6206 ED" userId="e6377c33-a923-4f14-8587-531c474c7b48" providerId="ADAL" clId="{6ECD27E6-B224-41CD-B4E0-E297462320DD}" dt="2023-11-24T08:53:42.767" v="98657"/>
          <ac:spMkLst>
            <pc:docMk/>
            <pc:sldMk cId="1942033937" sldId="2147478573"/>
            <ac:spMk id="648" creationId="{3CDB280D-6D83-921F-9A62-CD5AD0E8AADD}"/>
          </ac:spMkLst>
        </pc:spChg>
        <pc:spChg chg="add del mod">
          <ac:chgData name="Steiner Andreas 6206 ED" userId="e6377c33-a923-4f14-8587-531c474c7b48" providerId="ADAL" clId="{6ECD27E6-B224-41CD-B4E0-E297462320DD}" dt="2023-11-24T08:53:44.726" v="98812"/>
          <ac:spMkLst>
            <pc:docMk/>
            <pc:sldMk cId="1942033937" sldId="2147478573"/>
            <ac:spMk id="649" creationId="{E51ED246-F6F7-D896-ED20-B37124337C59}"/>
          </ac:spMkLst>
        </pc:spChg>
        <pc:spChg chg="add del mod">
          <ac:chgData name="Steiner Andreas 6206 ED" userId="e6377c33-a923-4f14-8587-531c474c7b48" providerId="ADAL" clId="{6ECD27E6-B224-41CD-B4E0-E297462320DD}" dt="2023-11-24T08:53:46.648" v="98967"/>
          <ac:spMkLst>
            <pc:docMk/>
            <pc:sldMk cId="1942033937" sldId="2147478573"/>
            <ac:spMk id="650" creationId="{516D553D-7845-DE0D-2C9B-94C8A824D225}"/>
          </ac:spMkLst>
        </pc:spChg>
        <pc:spChg chg="add del mod">
          <ac:chgData name="Steiner Andreas 6206 ED" userId="e6377c33-a923-4f14-8587-531c474c7b48" providerId="ADAL" clId="{6ECD27E6-B224-41CD-B4E0-E297462320DD}" dt="2023-11-24T08:53:48.716" v="99122"/>
          <ac:spMkLst>
            <pc:docMk/>
            <pc:sldMk cId="1942033937" sldId="2147478573"/>
            <ac:spMk id="651" creationId="{FDABB451-BE33-BA44-9C5C-1E8B2D8D909E}"/>
          </ac:spMkLst>
        </pc:spChg>
        <pc:spChg chg="add del mod">
          <ac:chgData name="Steiner Andreas 6206 ED" userId="e6377c33-a923-4f14-8587-531c474c7b48" providerId="ADAL" clId="{6ECD27E6-B224-41CD-B4E0-E297462320DD}" dt="2023-11-24T08:53:50.672" v="99277"/>
          <ac:spMkLst>
            <pc:docMk/>
            <pc:sldMk cId="1942033937" sldId="2147478573"/>
            <ac:spMk id="652" creationId="{711E812F-B9C8-5196-8DC5-D6FA896DC898}"/>
          </ac:spMkLst>
        </pc:spChg>
        <pc:spChg chg="add del mod">
          <ac:chgData name="Steiner Andreas 6206 ED" userId="e6377c33-a923-4f14-8587-531c474c7b48" providerId="ADAL" clId="{6ECD27E6-B224-41CD-B4E0-E297462320DD}" dt="2023-11-24T08:53:52.649" v="99432"/>
          <ac:spMkLst>
            <pc:docMk/>
            <pc:sldMk cId="1942033937" sldId="2147478573"/>
            <ac:spMk id="653" creationId="{6D9D6364-606D-3330-8B90-6827AFE353E1}"/>
          </ac:spMkLst>
        </pc:spChg>
        <pc:spChg chg="add del mod">
          <ac:chgData name="Steiner Andreas 6206 ED" userId="e6377c33-a923-4f14-8587-531c474c7b48" providerId="ADAL" clId="{6ECD27E6-B224-41CD-B4E0-E297462320DD}" dt="2023-11-24T08:53:54.618" v="99587"/>
          <ac:spMkLst>
            <pc:docMk/>
            <pc:sldMk cId="1942033937" sldId="2147478573"/>
            <ac:spMk id="654" creationId="{E9F8599C-58E3-53F5-DB6E-503730DC9DB1}"/>
          </ac:spMkLst>
        </pc:spChg>
        <pc:spChg chg="add del mod">
          <ac:chgData name="Steiner Andreas 6206 ED" userId="e6377c33-a923-4f14-8587-531c474c7b48" providerId="ADAL" clId="{6ECD27E6-B224-41CD-B4E0-E297462320DD}" dt="2023-11-24T08:53:56.545" v="99742"/>
          <ac:spMkLst>
            <pc:docMk/>
            <pc:sldMk cId="1942033937" sldId="2147478573"/>
            <ac:spMk id="655" creationId="{B8B8D67F-2AE7-51FD-14AF-DAF923AF96FB}"/>
          </ac:spMkLst>
        </pc:spChg>
        <pc:spChg chg="add del mod">
          <ac:chgData name="Steiner Andreas 6206 ED" userId="e6377c33-a923-4f14-8587-531c474c7b48" providerId="ADAL" clId="{6ECD27E6-B224-41CD-B4E0-E297462320DD}" dt="2023-11-24T08:53:58.610" v="99897"/>
          <ac:spMkLst>
            <pc:docMk/>
            <pc:sldMk cId="1942033937" sldId="2147478573"/>
            <ac:spMk id="656" creationId="{69C95EE1-02D3-5989-4F8B-76B6709558D2}"/>
          </ac:spMkLst>
        </pc:spChg>
        <pc:spChg chg="add del mod">
          <ac:chgData name="Steiner Andreas 6206 ED" userId="e6377c33-a923-4f14-8587-531c474c7b48" providerId="ADAL" clId="{6ECD27E6-B224-41CD-B4E0-E297462320DD}" dt="2023-11-24T08:54:00.727" v="100052"/>
          <ac:spMkLst>
            <pc:docMk/>
            <pc:sldMk cId="1942033937" sldId="2147478573"/>
            <ac:spMk id="657" creationId="{96D78D2B-125F-878A-9AFB-029F9C54531B}"/>
          </ac:spMkLst>
        </pc:spChg>
        <pc:spChg chg="add del mod">
          <ac:chgData name="Steiner Andreas 6206 ED" userId="e6377c33-a923-4f14-8587-531c474c7b48" providerId="ADAL" clId="{6ECD27E6-B224-41CD-B4E0-E297462320DD}" dt="2023-11-24T08:54:02.710" v="100207"/>
          <ac:spMkLst>
            <pc:docMk/>
            <pc:sldMk cId="1942033937" sldId="2147478573"/>
            <ac:spMk id="658" creationId="{16B04600-5CCA-2903-7CA9-B6DAAB72B1AF}"/>
          </ac:spMkLst>
        </pc:spChg>
        <pc:spChg chg="add del mod">
          <ac:chgData name="Steiner Andreas 6206 ED" userId="e6377c33-a923-4f14-8587-531c474c7b48" providerId="ADAL" clId="{6ECD27E6-B224-41CD-B4E0-E297462320DD}" dt="2023-11-24T08:54:04.664" v="100362"/>
          <ac:spMkLst>
            <pc:docMk/>
            <pc:sldMk cId="1942033937" sldId="2147478573"/>
            <ac:spMk id="659" creationId="{402AD485-E502-2436-6891-82B3915164A4}"/>
          </ac:spMkLst>
        </pc:spChg>
        <pc:spChg chg="add del mod">
          <ac:chgData name="Steiner Andreas 6206 ED" userId="e6377c33-a923-4f14-8587-531c474c7b48" providerId="ADAL" clId="{6ECD27E6-B224-41CD-B4E0-E297462320DD}" dt="2023-11-24T08:54:06.644" v="100517"/>
          <ac:spMkLst>
            <pc:docMk/>
            <pc:sldMk cId="1942033937" sldId="2147478573"/>
            <ac:spMk id="660" creationId="{1E838B86-D730-A85D-3D20-1AC28E90DDAA}"/>
          </ac:spMkLst>
        </pc:spChg>
        <pc:spChg chg="add del mod">
          <ac:chgData name="Steiner Andreas 6206 ED" userId="e6377c33-a923-4f14-8587-531c474c7b48" providerId="ADAL" clId="{6ECD27E6-B224-41CD-B4E0-E297462320DD}" dt="2023-11-24T08:54:08.610" v="100672"/>
          <ac:spMkLst>
            <pc:docMk/>
            <pc:sldMk cId="1942033937" sldId="2147478573"/>
            <ac:spMk id="661" creationId="{FA58A77B-6132-626F-230B-0740FD621441}"/>
          </ac:spMkLst>
        </pc:spChg>
        <pc:spChg chg="add del mod">
          <ac:chgData name="Steiner Andreas 6206 ED" userId="e6377c33-a923-4f14-8587-531c474c7b48" providerId="ADAL" clId="{6ECD27E6-B224-41CD-B4E0-E297462320DD}" dt="2023-11-24T08:54:10.764" v="100827"/>
          <ac:spMkLst>
            <pc:docMk/>
            <pc:sldMk cId="1942033937" sldId="2147478573"/>
            <ac:spMk id="662" creationId="{D1384394-43F5-884D-4643-5EAA8C8F8FFB}"/>
          </ac:spMkLst>
        </pc:spChg>
        <pc:spChg chg="add del mod">
          <ac:chgData name="Steiner Andreas 6206 ED" userId="e6377c33-a923-4f14-8587-531c474c7b48" providerId="ADAL" clId="{6ECD27E6-B224-41CD-B4E0-E297462320DD}" dt="2023-11-24T08:54:12.689" v="100982"/>
          <ac:spMkLst>
            <pc:docMk/>
            <pc:sldMk cId="1942033937" sldId="2147478573"/>
            <ac:spMk id="663" creationId="{9A52C160-20C5-B829-2EAF-D43B546DE665}"/>
          </ac:spMkLst>
        </pc:spChg>
        <pc:spChg chg="add del mod">
          <ac:chgData name="Steiner Andreas 6206 ED" userId="e6377c33-a923-4f14-8587-531c474c7b48" providerId="ADAL" clId="{6ECD27E6-B224-41CD-B4E0-E297462320DD}" dt="2023-11-24T08:54:14.661" v="101137"/>
          <ac:spMkLst>
            <pc:docMk/>
            <pc:sldMk cId="1942033937" sldId="2147478573"/>
            <ac:spMk id="664" creationId="{9E5EF657-1875-6DDC-A258-7A5F7D838C12}"/>
          </ac:spMkLst>
        </pc:spChg>
        <pc:spChg chg="add del mod">
          <ac:chgData name="Steiner Andreas 6206 ED" userId="e6377c33-a923-4f14-8587-531c474c7b48" providerId="ADAL" clId="{6ECD27E6-B224-41CD-B4E0-E297462320DD}" dt="2023-11-24T08:54:16.539" v="101292"/>
          <ac:spMkLst>
            <pc:docMk/>
            <pc:sldMk cId="1942033937" sldId="2147478573"/>
            <ac:spMk id="665" creationId="{C5576429-8C00-F39C-5F49-73C3E4424370}"/>
          </ac:spMkLst>
        </pc:spChg>
        <pc:spChg chg="add del mod">
          <ac:chgData name="Steiner Andreas 6206 ED" userId="e6377c33-a923-4f14-8587-531c474c7b48" providerId="ADAL" clId="{6ECD27E6-B224-41CD-B4E0-E297462320DD}" dt="2023-11-24T08:54:18.448" v="101447"/>
          <ac:spMkLst>
            <pc:docMk/>
            <pc:sldMk cId="1942033937" sldId="2147478573"/>
            <ac:spMk id="666" creationId="{EB65D34E-3738-BC0C-8BA1-6F1A3D4982CF}"/>
          </ac:spMkLst>
        </pc:spChg>
        <pc:spChg chg="add del mod">
          <ac:chgData name="Steiner Andreas 6206 ED" userId="e6377c33-a923-4f14-8587-531c474c7b48" providerId="ADAL" clId="{6ECD27E6-B224-41CD-B4E0-E297462320DD}" dt="2023-11-24T08:54:20.405" v="101602"/>
          <ac:spMkLst>
            <pc:docMk/>
            <pc:sldMk cId="1942033937" sldId="2147478573"/>
            <ac:spMk id="667" creationId="{759DE019-CE3A-9D9B-473D-BF610E6A98A9}"/>
          </ac:spMkLst>
        </pc:spChg>
        <pc:spChg chg="add del mod">
          <ac:chgData name="Steiner Andreas 6206 ED" userId="e6377c33-a923-4f14-8587-531c474c7b48" providerId="ADAL" clId="{6ECD27E6-B224-41CD-B4E0-E297462320DD}" dt="2023-11-24T08:54:22.529" v="101757"/>
          <ac:spMkLst>
            <pc:docMk/>
            <pc:sldMk cId="1942033937" sldId="2147478573"/>
            <ac:spMk id="668" creationId="{C44975D0-1C3D-FA72-4CE1-BB7568D78B08}"/>
          </ac:spMkLst>
        </pc:spChg>
        <pc:spChg chg="add del mod">
          <ac:chgData name="Steiner Andreas 6206 ED" userId="e6377c33-a923-4f14-8587-531c474c7b48" providerId="ADAL" clId="{6ECD27E6-B224-41CD-B4E0-E297462320DD}" dt="2023-11-24T08:54:24.478" v="101912"/>
          <ac:spMkLst>
            <pc:docMk/>
            <pc:sldMk cId="1942033937" sldId="2147478573"/>
            <ac:spMk id="669" creationId="{35E5A5F2-D0DB-3B8B-A6C6-4013099D0576}"/>
          </ac:spMkLst>
        </pc:spChg>
        <pc:spChg chg="add del mod">
          <ac:chgData name="Steiner Andreas 6206 ED" userId="e6377c33-a923-4f14-8587-531c474c7b48" providerId="ADAL" clId="{6ECD27E6-B224-41CD-B4E0-E297462320DD}" dt="2023-11-24T08:54:26.435" v="102067"/>
          <ac:spMkLst>
            <pc:docMk/>
            <pc:sldMk cId="1942033937" sldId="2147478573"/>
            <ac:spMk id="670" creationId="{79D2B6E3-F457-30C3-3314-C141FA07D49D}"/>
          </ac:spMkLst>
        </pc:spChg>
        <pc:spChg chg="add del mod">
          <ac:chgData name="Steiner Andreas 6206 ED" userId="e6377c33-a923-4f14-8587-531c474c7b48" providerId="ADAL" clId="{6ECD27E6-B224-41CD-B4E0-E297462320DD}" dt="2023-11-24T08:54:28.396" v="102222"/>
          <ac:spMkLst>
            <pc:docMk/>
            <pc:sldMk cId="1942033937" sldId="2147478573"/>
            <ac:spMk id="671" creationId="{8631B643-5E49-1A6E-1D22-6F3A562B37E2}"/>
          </ac:spMkLst>
        </pc:spChg>
        <pc:spChg chg="add del mod">
          <ac:chgData name="Steiner Andreas 6206 ED" userId="e6377c33-a923-4f14-8587-531c474c7b48" providerId="ADAL" clId="{6ECD27E6-B224-41CD-B4E0-E297462320DD}" dt="2023-11-24T08:54:30.325" v="102377"/>
          <ac:spMkLst>
            <pc:docMk/>
            <pc:sldMk cId="1942033937" sldId="2147478573"/>
            <ac:spMk id="672" creationId="{190B6B0A-568B-6607-9382-D5665763A7E1}"/>
          </ac:spMkLst>
        </pc:spChg>
        <pc:spChg chg="add del mod">
          <ac:chgData name="Steiner Andreas 6206 ED" userId="e6377c33-a923-4f14-8587-531c474c7b48" providerId="ADAL" clId="{6ECD27E6-B224-41CD-B4E0-E297462320DD}" dt="2023-11-24T08:54:32.476" v="102532"/>
          <ac:spMkLst>
            <pc:docMk/>
            <pc:sldMk cId="1942033937" sldId="2147478573"/>
            <ac:spMk id="673" creationId="{97273E0B-3689-2260-EBF5-5F279BABD40B}"/>
          </ac:spMkLst>
        </pc:spChg>
        <pc:spChg chg="add del mod">
          <ac:chgData name="Steiner Andreas 6206 ED" userId="e6377c33-a923-4f14-8587-531c474c7b48" providerId="ADAL" clId="{6ECD27E6-B224-41CD-B4E0-E297462320DD}" dt="2023-11-24T08:54:34.455" v="102687"/>
          <ac:spMkLst>
            <pc:docMk/>
            <pc:sldMk cId="1942033937" sldId="2147478573"/>
            <ac:spMk id="674" creationId="{10856A19-97A0-CF15-B192-CF4F15249834}"/>
          </ac:spMkLst>
        </pc:spChg>
        <pc:spChg chg="add del mod">
          <ac:chgData name="Steiner Andreas 6206 ED" userId="e6377c33-a923-4f14-8587-531c474c7b48" providerId="ADAL" clId="{6ECD27E6-B224-41CD-B4E0-E297462320DD}" dt="2023-11-24T08:54:36.397" v="102842"/>
          <ac:spMkLst>
            <pc:docMk/>
            <pc:sldMk cId="1942033937" sldId="2147478573"/>
            <ac:spMk id="675" creationId="{D4F731A5-7667-84AE-DA5A-FCB423A0130A}"/>
          </ac:spMkLst>
        </pc:spChg>
        <pc:spChg chg="add del mod">
          <ac:chgData name="Steiner Andreas 6206 ED" userId="e6377c33-a923-4f14-8587-531c474c7b48" providerId="ADAL" clId="{6ECD27E6-B224-41CD-B4E0-E297462320DD}" dt="2023-11-24T08:54:38.588" v="102997"/>
          <ac:spMkLst>
            <pc:docMk/>
            <pc:sldMk cId="1942033937" sldId="2147478573"/>
            <ac:spMk id="676" creationId="{FFA9E034-F33B-0935-82BF-04D90B078BD3}"/>
          </ac:spMkLst>
        </pc:spChg>
        <pc:spChg chg="add del mod">
          <ac:chgData name="Steiner Andreas 6206 ED" userId="e6377c33-a923-4f14-8587-531c474c7b48" providerId="ADAL" clId="{6ECD27E6-B224-41CD-B4E0-E297462320DD}" dt="2023-11-24T08:54:40.763" v="103152"/>
          <ac:spMkLst>
            <pc:docMk/>
            <pc:sldMk cId="1942033937" sldId="2147478573"/>
            <ac:spMk id="677" creationId="{012947AD-2F3C-F178-6F66-8B2612422C7D}"/>
          </ac:spMkLst>
        </pc:spChg>
        <pc:spChg chg="add del mod">
          <ac:chgData name="Steiner Andreas 6206 ED" userId="e6377c33-a923-4f14-8587-531c474c7b48" providerId="ADAL" clId="{6ECD27E6-B224-41CD-B4E0-E297462320DD}" dt="2023-11-24T08:54:42.673" v="103307"/>
          <ac:spMkLst>
            <pc:docMk/>
            <pc:sldMk cId="1942033937" sldId="2147478573"/>
            <ac:spMk id="678" creationId="{5FC5C726-BB01-8350-5FC8-830112D20003}"/>
          </ac:spMkLst>
        </pc:spChg>
        <pc:spChg chg="add del mod">
          <ac:chgData name="Steiner Andreas 6206 ED" userId="e6377c33-a923-4f14-8587-531c474c7b48" providerId="ADAL" clId="{6ECD27E6-B224-41CD-B4E0-E297462320DD}" dt="2023-11-24T08:54:44.936" v="103462"/>
          <ac:spMkLst>
            <pc:docMk/>
            <pc:sldMk cId="1942033937" sldId="2147478573"/>
            <ac:spMk id="679" creationId="{8AB16529-D564-B373-DD0C-67C753A5A345}"/>
          </ac:spMkLst>
        </pc:spChg>
        <pc:spChg chg="add del mod">
          <ac:chgData name="Steiner Andreas 6206 ED" userId="e6377c33-a923-4f14-8587-531c474c7b48" providerId="ADAL" clId="{6ECD27E6-B224-41CD-B4E0-E297462320DD}" dt="2023-11-24T08:54:47.172" v="103617"/>
          <ac:spMkLst>
            <pc:docMk/>
            <pc:sldMk cId="1942033937" sldId="2147478573"/>
            <ac:spMk id="680" creationId="{B00015D3-4DD0-0061-20DF-8EA879BC59A7}"/>
          </ac:spMkLst>
        </pc:spChg>
        <pc:spChg chg="add del mod">
          <ac:chgData name="Steiner Andreas 6206 ED" userId="e6377c33-a923-4f14-8587-531c474c7b48" providerId="ADAL" clId="{6ECD27E6-B224-41CD-B4E0-E297462320DD}" dt="2023-11-24T08:54:49.295" v="103772"/>
          <ac:spMkLst>
            <pc:docMk/>
            <pc:sldMk cId="1942033937" sldId="2147478573"/>
            <ac:spMk id="681" creationId="{EABA4338-11E3-9B67-BBAF-EABAD4E6A8AD}"/>
          </ac:spMkLst>
        </pc:spChg>
        <pc:spChg chg="add del mod">
          <ac:chgData name="Steiner Andreas 6206 ED" userId="e6377c33-a923-4f14-8587-531c474c7b48" providerId="ADAL" clId="{6ECD27E6-B224-41CD-B4E0-E297462320DD}" dt="2023-11-24T08:54:51.657" v="103927"/>
          <ac:spMkLst>
            <pc:docMk/>
            <pc:sldMk cId="1942033937" sldId="2147478573"/>
            <ac:spMk id="682" creationId="{3968C142-C72E-6DC8-936F-DB7EE1299C79}"/>
          </ac:spMkLst>
        </pc:spChg>
        <pc:spChg chg="add del mod">
          <ac:chgData name="Steiner Andreas 6206 ED" userId="e6377c33-a923-4f14-8587-531c474c7b48" providerId="ADAL" clId="{6ECD27E6-B224-41CD-B4E0-E297462320DD}" dt="2023-11-24T08:54:53.728" v="104082"/>
          <ac:spMkLst>
            <pc:docMk/>
            <pc:sldMk cId="1942033937" sldId="2147478573"/>
            <ac:spMk id="683" creationId="{0E7C3B45-CA37-5BA7-F64F-ABCE28FCA6AB}"/>
          </ac:spMkLst>
        </pc:spChg>
        <pc:spChg chg="add del mod">
          <ac:chgData name="Steiner Andreas 6206 ED" userId="e6377c33-a923-4f14-8587-531c474c7b48" providerId="ADAL" clId="{6ECD27E6-B224-41CD-B4E0-E297462320DD}" dt="2023-11-24T08:54:55.853" v="104237"/>
          <ac:spMkLst>
            <pc:docMk/>
            <pc:sldMk cId="1942033937" sldId="2147478573"/>
            <ac:spMk id="684" creationId="{5A0BDD94-38A3-E5EC-23F7-ACAD96718F63}"/>
          </ac:spMkLst>
        </pc:spChg>
        <pc:spChg chg="add del mod">
          <ac:chgData name="Steiner Andreas 6206 ED" userId="e6377c33-a923-4f14-8587-531c474c7b48" providerId="ADAL" clId="{6ECD27E6-B224-41CD-B4E0-E297462320DD}" dt="2023-11-24T08:54:57.918" v="104392"/>
          <ac:spMkLst>
            <pc:docMk/>
            <pc:sldMk cId="1942033937" sldId="2147478573"/>
            <ac:spMk id="685" creationId="{C84CFE7A-B395-58D7-3CB2-3B1E7BC567E4}"/>
          </ac:spMkLst>
        </pc:spChg>
        <pc:spChg chg="add del mod">
          <ac:chgData name="Steiner Andreas 6206 ED" userId="e6377c33-a923-4f14-8587-531c474c7b48" providerId="ADAL" clId="{6ECD27E6-B224-41CD-B4E0-E297462320DD}" dt="2023-11-24T08:54:59.939" v="104547"/>
          <ac:spMkLst>
            <pc:docMk/>
            <pc:sldMk cId="1942033937" sldId="2147478573"/>
            <ac:spMk id="686" creationId="{951B69BD-B833-0032-C3C2-B636108962A4}"/>
          </ac:spMkLst>
        </pc:spChg>
        <pc:spChg chg="add del mod">
          <ac:chgData name="Steiner Andreas 6206 ED" userId="e6377c33-a923-4f14-8587-531c474c7b48" providerId="ADAL" clId="{6ECD27E6-B224-41CD-B4E0-E297462320DD}" dt="2023-11-24T08:55:01.886" v="104702"/>
          <ac:spMkLst>
            <pc:docMk/>
            <pc:sldMk cId="1942033937" sldId="2147478573"/>
            <ac:spMk id="687" creationId="{2B1B5449-FDE7-2885-C9EB-0C5EE6C2207D}"/>
          </ac:spMkLst>
        </pc:spChg>
        <pc:spChg chg="add del mod">
          <ac:chgData name="Steiner Andreas 6206 ED" userId="e6377c33-a923-4f14-8587-531c474c7b48" providerId="ADAL" clId="{6ECD27E6-B224-41CD-B4E0-E297462320DD}" dt="2023-11-24T08:55:03.839" v="104857"/>
          <ac:spMkLst>
            <pc:docMk/>
            <pc:sldMk cId="1942033937" sldId="2147478573"/>
            <ac:spMk id="688" creationId="{AD091B3F-CA79-3396-AC7B-9636EDCB2E25}"/>
          </ac:spMkLst>
        </pc:spChg>
        <pc:spChg chg="add del mod">
          <ac:chgData name="Steiner Andreas 6206 ED" userId="e6377c33-a923-4f14-8587-531c474c7b48" providerId="ADAL" clId="{6ECD27E6-B224-41CD-B4E0-E297462320DD}" dt="2023-11-24T08:55:05.960" v="105012"/>
          <ac:spMkLst>
            <pc:docMk/>
            <pc:sldMk cId="1942033937" sldId="2147478573"/>
            <ac:spMk id="689" creationId="{7D84FEE1-12D4-2BAD-D689-46A816D306A9}"/>
          </ac:spMkLst>
        </pc:spChg>
        <pc:spChg chg="add del mod">
          <ac:chgData name="Steiner Andreas 6206 ED" userId="e6377c33-a923-4f14-8587-531c474c7b48" providerId="ADAL" clId="{6ECD27E6-B224-41CD-B4E0-E297462320DD}" dt="2023-11-24T08:55:08.070" v="105167"/>
          <ac:spMkLst>
            <pc:docMk/>
            <pc:sldMk cId="1942033937" sldId="2147478573"/>
            <ac:spMk id="690" creationId="{D3931BD1-26CF-2A40-1615-CFBE073BDF45}"/>
          </ac:spMkLst>
        </pc:spChg>
        <pc:spChg chg="add del mod">
          <ac:chgData name="Steiner Andreas 6206 ED" userId="e6377c33-a923-4f14-8587-531c474c7b48" providerId="ADAL" clId="{6ECD27E6-B224-41CD-B4E0-E297462320DD}" dt="2023-11-24T08:55:10.046" v="105322"/>
          <ac:spMkLst>
            <pc:docMk/>
            <pc:sldMk cId="1942033937" sldId="2147478573"/>
            <ac:spMk id="691" creationId="{6EC09EEC-CBBA-59A2-4D3E-5577964258D6}"/>
          </ac:spMkLst>
        </pc:spChg>
        <pc:spChg chg="add del mod">
          <ac:chgData name="Steiner Andreas 6206 ED" userId="e6377c33-a923-4f14-8587-531c474c7b48" providerId="ADAL" clId="{6ECD27E6-B224-41CD-B4E0-E297462320DD}" dt="2023-11-24T08:55:12.043" v="105477"/>
          <ac:spMkLst>
            <pc:docMk/>
            <pc:sldMk cId="1942033937" sldId="2147478573"/>
            <ac:spMk id="692" creationId="{964972E3-AE49-D6DB-5CF1-672DD963284B}"/>
          </ac:spMkLst>
        </pc:spChg>
        <pc:spChg chg="add del mod">
          <ac:chgData name="Steiner Andreas 6206 ED" userId="e6377c33-a923-4f14-8587-531c474c7b48" providerId="ADAL" clId="{6ECD27E6-B224-41CD-B4E0-E297462320DD}" dt="2023-11-24T08:55:14.073" v="105632"/>
          <ac:spMkLst>
            <pc:docMk/>
            <pc:sldMk cId="1942033937" sldId="2147478573"/>
            <ac:spMk id="693" creationId="{8331958D-134B-EAB6-046E-7A732100768E}"/>
          </ac:spMkLst>
        </pc:spChg>
        <pc:spChg chg="add del mod">
          <ac:chgData name="Steiner Andreas 6206 ED" userId="e6377c33-a923-4f14-8587-531c474c7b48" providerId="ADAL" clId="{6ECD27E6-B224-41CD-B4E0-E297462320DD}" dt="2023-11-24T08:55:16.162" v="105787"/>
          <ac:spMkLst>
            <pc:docMk/>
            <pc:sldMk cId="1942033937" sldId="2147478573"/>
            <ac:spMk id="694" creationId="{03764DFB-E318-74FD-0056-EB7D833BB6E6}"/>
          </ac:spMkLst>
        </pc:spChg>
        <pc:spChg chg="add del mod">
          <ac:chgData name="Steiner Andreas 6206 ED" userId="e6377c33-a923-4f14-8587-531c474c7b48" providerId="ADAL" clId="{6ECD27E6-B224-41CD-B4E0-E297462320DD}" dt="2023-11-24T08:55:18.204" v="105942"/>
          <ac:spMkLst>
            <pc:docMk/>
            <pc:sldMk cId="1942033937" sldId="2147478573"/>
            <ac:spMk id="695" creationId="{C8EABF5F-AEFD-7F60-7CF2-E3053FF454D9}"/>
          </ac:spMkLst>
        </pc:spChg>
        <pc:spChg chg="add del mod">
          <ac:chgData name="Steiner Andreas 6206 ED" userId="e6377c33-a923-4f14-8587-531c474c7b48" providerId="ADAL" clId="{6ECD27E6-B224-41CD-B4E0-E297462320DD}" dt="2023-11-24T08:55:20.224" v="106097"/>
          <ac:spMkLst>
            <pc:docMk/>
            <pc:sldMk cId="1942033937" sldId="2147478573"/>
            <ac:spMk id="696" creationId="{069C1049-726F-A8D0-F0FF-F55FEE4BCC76}"/>
          </ac:spMkLst>
        </pc:spChg>
        <pc:spChg chg="add del mod">
          <ac:chgData name="Steiner Andreas 6206 ED" userId="e6377c33-a923-4f14-8587-531c474c7b48" providerId="ADAL" clId="{6ECD27E6-B224-41CD-B4E0-E297462320DD}" dt="2023-11-24T08:55:22.159" v="106252"/>
          <ac:spMkLst>
            <pc:docMk/>
            <pc:sldMk cId="1942033937" sldId="2147478573"/>
            <ac:spMk id="697" creationId="{36F92FF0-B6A9-9C38-C88A-F5E36A8A56D4}"/>
          </ac:spMkLst>
        </pc:spChg>
        <pc:spChg chg="add del mod">
          <ac:chgData name="Steiner Andreas 6206 ED" userId="e6377c33-a923-4f14-8587-531c474c7b48" providerId="ADAL" clId="{6ECD27E6-B224-41CD-B4E0-E297462320DD}" dt="2023-11-24T08:55:24.172" v="106407"/>
          <ac:spMkLst>
            <pc:docMk/>
            <pc:sldMk cId="1942033937" sldId="2147478573"/>
            <ac:spMk id="698" creationId="{190CFF7A-90D0-7F52-E7EF-A71B2C7FF73F}"/>
          </ac:spMkLst>
        </pc:spChg>
        <pc:spChg chg="add del mod">
          <ac:chgData name="Steiner Andreas 6206 ED" userId="e6377c33-a923-4f14-8587-531c474c7b48" providerId="ADAL" clId="{6ECD27E6-B224-41CD-B4E0-E297462320DD}" dt="2023-11-24T08:55:26.135" v="106562"/>
          <ac:spMkLst>
            <pc:docMk/>
            <pc:sldMk cId="1942033937" sldId="2147478573"/>
            <ac:spMk id="699" creationId="{ACF99230-19EB-4C7E-9C24-33B5420AF975}"/>
          </ac:spMkLst>
        </pc:spChg>
        <pc:spChg chg="add del mod">
          <ac:chgData name="Steiner Andreas 6206 ED" userId="e6377c33-a923-4f14-8587-531c474c7b48" providerId="ADAL" clId="{6ECD27E6-B224-41CD-B4E0-E297462320DD}" dt="2023-11-24T08:55:28.296" v="106717"/>
          <ac:spMkLst>
            <pc:docMk/>
            <pc:sldMk cId="1942033937" sldId="2147478573"/>
            <ac:spMk id="700" creationId="{63B7F3ED-9BEC-0ACF-15B5-38DE4EAD349A}"/>
          </ac:spMkLst>
        </pc:spChg>
        <pc:spChg chg="add del mod">
          <ac:chgData name="Steiner Andreas 6206 ED" userId="e6377c33-a923-4f14-8587-531c474c7b48" providerId="ADAL" clId="{6ECD27E6-B224-41CD-B4E0-E297462320DD}" dt="2023-11-24T08:55:30.265" v="106872"/>
          <ac:spMkLst>
            <pc:docMk/>
            <pc:sldMk cId="1942033937" sldId="2147478573"/>
            <ac:spMk id="701" creationId="{BFCF1596-F5B0-1845-A92A-1B5B5E6ED063}"/>
          </ac:spMkLst>
        </pc:spChg>
        <pc:spChg chg="add del mod">
          <ac:chgData name="Steiner Andreas 6206 ED" userId="e6377c33-a923-4f14-8587-531c474c7b48" providerId="ADAL" clId="{6ECD27E6-B224-41CD-B4E0-E297462320DD}" dt="2023-11-24T08:55:32.461" v="107027"/>
          <ac:spMkLst>
            <pc:docMk/>
            <pc:sldMk cId="1942033937" sldId="2147478573"/>
            <ac:spMk id="702" creationId="{8D1107CE-9521-CCD1-92A3-A091587AE5EE}"/>
          </ac:spMkLst>
        </pc:spChg>
        <pc:spChg chg="add del mod">
          <ac:chgData name="Steiner Andreas 6206 ED" userId="e6377c33-a923-4f14-8587-531c474c7b48" providerId="ADAL" clId="{6ECD27E6-B224-41CD-B4E0-E297462320DD}" dt="2023-11-24T08:55:34.365" v="107182"/>
          <ac:spMkLst>
            <pc:docMk/>
            <pc:sldMk cId="1942033937" sldId="2147478573"/>
            <ac:spMk id="703" creationId="{745EAD05-6F8A-32AB-B1AA-6B75F4533F97}"/>
          </ac:spMkLst>
        </pc:spChg>
        <pc:spChg chg="add del mod">
          <ac:chgData name="Steiner Andreas 6206 ED" userId="e6377c33-a923-4f14-8587-531c474c7b48" providerId="ADAL" clId="{6ECD27E6-B224-41CD-B4E0-E297462320DD}" dt="2023-11-24T08:55:36.292" v="107337"/>
          <ac:spMkLst>
            <pc:docMk/>
            <pc:sldMk cId="1942033937" sldId="2147478573"/>
            <ac:spMk id="704" creationId="{CD9AB51F-9881-0299-46D4-BFCF4AC142D0}"/>
          </ac:spMkLst>
        </pc:spChg>
        <pc:spChg chg="add del mod">
          <ac:chgData name="Steiner Andreas 6206 ED" userId="e6377c33-a923-4f14-8587-531c474c7b48" providerId="ADAL" clId="{6ECD27E6-B224-41CD-B4E0-E297462320DD}" dt="2023-11-24T08:55:38.314" v="107492"/>
          <ac:spMkLst>
            <pc:docMk/>
            <pc:sldMk cId="1942033937" sldId="2147478573"/>
            <ac:spMk id="705" creationId="{F4AA9333-DACA-3662-7769-C98BCBF00632}"/>
          </ac:spMkLst>
        </pc:spChg>
        <pc:spChg chg="add del mod">
          <ac:chgData name="Steiner Andreas 6206 ED" userId="e6377c33-a923-4f14-8587-531c474c7b48" providerId="ADAL" clId="{6ECD27E6-B224-41CD-B4E0-E297462320DD}" dt="2023-11-24T08:55:40.361" v="107647"/>
          <ac:spMkLst>
            <pc:docMk/>
            <pc:sldMk cId="1942033937" sldId="2147478573"/>
            <ac:spMk id="706" creationId="{CA9AD8B0-3B86-16AB-E09F-4B6C55B85F44}"/>
          </ac:spMkLst>
        </pc:spChg>
        <pc:spChg chg="add del mod">
          <ac:chgData name="Steiner Andreas 6206 ED" userId="e6377c33-a923-4f14-8587-531c474c7b48" providerId="ADAL" clId="{6ECD27E6-B224-41CD-B4E0-E297462320DD}" dt="2023-11-24T08:55:42.254" v="107802"/>
          <ac:spMkLst>
            <pc:docMk/>
            <pc:sldMk cId="1942033937" sldId="2147478573"/>
            <ac:spMk id="707" creationId="{D946B818-ECD9-91AE-2C81-6A7958D11BB0}"/>
          </ac:spMkLst>
        </pc:spChg>
        <pc:spChg chg="add del mod">
          <ac:chgData name="Steiner Andreas 6206 ED" userId="e6377c33-a923-4f14-8587-531c474c7b48" providerId="ADAL" clId="{6ECD27E6-B224-41CD-B4E0-E297462320DD}" dt="2023-11-24T08:55:44.228" v="107957"/>
          <ac:spMkLst>
            <pc:docMk/>
            <pc:sldMk cId="1942033937" sldId="2147478573"/>
            <ac:spMk id="708" creationId="{F1D5CA6F-54D6-F4F5-839F-42A1C1CA7E4A}"/>
          </ac:spMkLst>
        </pc:spChg>
        <pc:spChg chg="add del mod">
          <ac:chgData name="Steiner Andreas 6206 ED" userId="e6377c33-a923-4f14-8587-531c474c7b48" providerId="ADAL" clId="{6ECD27E6-B224-41CD-B4E0-E297462320DD}" dt="2023-11-24T08:55:46.503" v="108112"/>
          <ac:spMkLst>
            <pc:docMk/>
            <pc:sldMk cId="1942033937" sldId="2147478573"/>
            <ac:spMk id="709" creationId="{348EA36F-7703-D3E8-BF08-F668D5EC049E}"/>
          </ac:spMkLst>
        </pc:spChg>
        <pc:spChg chg="add del mod">
          <ac:chgData name="Steiner Andreas 6206 ED" userId="e6377c33-a923-4f14-8587-531c474c7b48" providerId="ADAL" clId="{6ECD27E6-B224-41CD-B4E0-E297462320DD}" dt="2023-11-24T08:55:48.733" v="108267"/>
          <ac:spMkLst>
            <pc:docMk/>
            <pc:sldMk cId="1942033937" sldId="2147478573"/>
            <ac:spMk id="710" creationId="{F41ECCA6-AFDE-C64D-3D78-8F9FD8D5EC99}"/>
          </ac:spMkLst>
        </pc:spChg>
        <pc:spChg chg="add del mod">
          <ac:chgData name="Steiner Andreas 6206 ED" userId="e6377c33-a923-4f14-8587-531c474c7b48" providerId="ADAL" clId="{6ECD27E6-B224-41CD-B4E0-E297462320DD}" dt="2023-11-24T08:55:51.174" v="108422"/>
          <ac:spMkLst>
            <pc:docMk/>
            <pc:sldMk cId="1942033937" sldId="2147478573"/>
            <ac:spMk id="711" creationId="{8081B2B6-49E0-C6D1-8FA8-482F1F2014D2}"/>
          </ac:spMkLst>
        </pc:spChg>
        <pc:spChg chg="add del mod">
          <ac:chgData name="Steiner Andreas 6206 ED" userId="e6377c33-a923-4f14-8587-531c474c7b48" providerId="ADAL" clId="{6ECD27E6-B224-41CD-B4E0-E297462320DD}" dt="2023-11-24T08:55:53.214" v="108577"/>
          <ac:spMkLst>
            <pc:docMk/>
            <pc:sldMk cId="1942033937" sldId="2147478573"/>
            <ac:spMk id="712" creationId="{DEB6393B-C1EB-D5BA-D9F5-CC96935823F6}"/>
          </ac:spMkLst>
        </pc:spChg>
        <pc:spChg chg="add del mod">
          <ac:chgData name="Steiner Andreas 6206 ED" userId="e6377c33-a923-4f14-8587-531c474c7b48" providerId="ADAL" clId="{6ECD27E6-B224-41CD-B4E0-E297462320DD}" dt="2023-11-24T08:55:55.359" v="108732"/>
          <ac:spMkLst>
            <pc:docMk/>
            <pc:sldMk cId="1942033937" sldId="2147478573"/>
            <ac:spMk id="713" creationId="{CFC34339-3DDA-8598-C037-E4EF431BA174}"/>
          </ac:spMkLst>
        </pc:spChg>
        <pc:spChg chg="add del mod">
          <ac:chgData name="Steiner Andreas 6206 ED" userId="e6377c33-a923-4f14-8587-531c474c7b48" providerId="ADAL" clId="{6ECD27E6-B224-41CD-B4E0-E297462320DD}" dt="2023-11-24T08:55:57.365" v="108887"/>
          <ac:spMkLst>
            <pc:docMk/>
            <pc:sldMk cId="1942033937" sldId="2147478573"/>
            <ac:spMk id="714" creationId="{D338324E-A632-DD5C-6824-4D33E414A01A}"/>
          </ac:spMkLst>
        </pc:spChg>
        <pc:spChg chg="add del mod">
          <ac:chgData name="Steiner Andreas 6206 ED" userId="e6377c33-a923-4f14-8587-531c474c7b48" providerId="ADAL" clId="{6ECD27E6-B224-41CD-B4E0-E297462320DD}" dt="2023-11-24T08:55:59.465" v="109042"/>
          <ac:spMkLst>
            <pc:docMk/>
            <pc:sldMk cId="1942033937" sldId="2147478573"/>
            <ac:spMk id="715" creationId="{720B209A-CF69-3706-144B-282930D181BF}"/>
          </ac:spMkLst>
        </pc:spChg>
        <pc:spChg chg="add del mod">
          <ac:chgData name="Steiner Andreas 6206 ED" userId="e6377c33-a923-4f14-8587-531c474c7b48" providerId="ADAL" clId="{6ECD27E6-B224-41CD-B4E0-E297462320DD}" dt="2023-11-24T08:56:01.801" v="109197"/>
          <ac:spMkLst>
            <pc:docMk/>
            <pc:sldMk cId="1942033937" sldId="2147478573"/>
            <ac:spMk id="716" creationId="{E0D23B4D-47BA-8F85-978E-57A9A6C9D52E}"/>
          </ac:spMkLst>
        </pc:spChg>
        <pc:spChg chg="add del mod">
          <ac:chgData name="Steiner Andreas 6206 ED" userId="e6377c33-a923-4f14-8587-531c474c7b48" providerId="ADAL" clId="{6ECD27E6-B224-41CD-B4E0-E297462320DD}" dt="2023-11-24T08:56:04.079" v="109352"/>
          <ac:spMkLst>
            <pc:docMk/>
            <pc:sldMk cId="1942033937" sldId="2147478573"/>
            <ac:spMk id="717" creationId="{01FA3F01-E188-113F-42BA-7E1C59EBF9CB}"/>
          </ac:spMkLst>
        </pc:spChg>
        <pc:spChg chg="add del mod">
          <ac:chgData name="Steiner Andreas 6206 ED" userId="e6377c33-a923-4f14-8587-531c474c7b48" providerId="ADAL" clId="{6ECD27E6-B224-41CD-B4E0-E297462320DD}" dt="2023-11-24T08:56:06.368" v="109507"/>
          <ac:spMkLst>
            <pc:docMk/>
            <pc:sldMk cId="1942033937" sldId="2147478573"/>
            <ac:spMk id="718" creationId="{925B3C8B-85CC-EFB8-068A-B6F4693B8069}"/>
          </ac:spMkLst>
        </pc:spChg>
        <pc:spChg chg="add del mod">
          <ac:chgData name="Steiner Andreas 6206 ED" userId="e6377c33-a923-4f14-8587-531c474c7b48" providerId="ADAL" clId="{6ECD27E6-B224-41CD-B4E0-E297462320DD}" dt="2023-11-24T08:56:08.669" v="109662"/>
          <ac:spMkLst>
            <pc:docMk/>
            <pc:sldMk cId="1942033937" sldId="2147478573"/>
            <ac:spMk id="719" creationId="{D40C83B6-219C-1D91-D2C4-EC6505371110}"/>
          </ac:spMkLst>
        </pc:spChg>
        <pc:spChg chg="add del mod">
          <ac:chgData name="Steiner Andreas 6206 ED" userId="e6377c33-a923-4f14-8587-531c474c7b48" providerId="ADAL" clId="{6ECD27E6-B224-41CD-B4E0-E297462320DD}" dt="2023-11-24T08:56:10.712" v="109817"/>
          <ac:spMkLst>
            <pc:docMk/>
            <pc:sldMk cId="1942033937" sldId="2147478573"/>
            <ac:spMk id="720" creationId="{96CB0E20-79B3-F23A-0220-8087E8917CAE}"/>
          </ac:spMkLst>
        </pc:spChg>
        <pc:spChg chg="add del mod">
          <ac:chgData name="Steiner Andreas 6206 ED" userId="e6377c33-a923-4f14-8587-531c474c7b48" providerId="ADAL" clId="{6ECD27E6-B224-41CD-B4E0-E297462320DD}" dt="2023-11-24T08:56:12.817" v="109972"/>
          <ac:spMkLst>
            <pc:docMk/>
            <pc:sldMk cId="1942033937" sldId="2147478573"/>
            <ac:spMk id="721" creationId="{9A814B2D-BB19-4215-EBEA-37C30A5FA03E}"/>
          </ac:spMkLst>
        </pc:spChg>
        <pc:spChg chg="add del mod">
          <ac:chgData name="Steiner Andreas 6206 ED" userId="e6377c33-a923-4f14-8587-531c474c7b48" providerId="ADAL" clId="{6ECD27E6-B224-41CD-B4E0-E297462320DD}" dt="2023-11-24T08:56:14.954" v="110127"/>
          <ac:spMkLst>
            <pc:docMk/>
            <pc:sldMk cId="1942033937" sldId="2147478573"/>
            <ac:spMk id="722" creationId="{9353F4AB-83CC-FD62-799F-390F3027840F}"/>
          </ac:spMkLst>
        </pc:spChg>
        <pc:spChg chg="add del mod">
          <ac:chgData name="Steiner Andreas 6206 ED" userId="e6377c33-a923-4f14-8587-531c474c7b48" providerId="ADAL" clId="{6ECD27E6-B224-41CD-B4E0-E297462320DD}" dt="2023-11-24T08:56:16.940" v="110282"/>
          <ac:spMkLst>
            <pc:docMk/>
            <pc:sldMk cId="1942033937" sldId="2147478573"/>
            <ac:spMk id="723" creationId="{E7262153-DA28-5CD3-C201-D25AB2C201CB}"/>
          </ac:spMkLst>
        </pc:spChg>
        <pc:spChg chg="add del mod">
          <ac:chgData name="Steiner Andreas 6206 ED" userId="e6377c33-a923-4f14-8587-531c474c7b48" providerId="ADAL" clId="{6ECD27E6-B224-41CD-B4E0-E297462320DD}" dt="2023-11-24T08:56:18.915" v="110437"/>
          <ac:spMkLst>
            <pc:docMk/>
            <pc:sldMk cId="1942033937" sldId="2147478573"/>
            <ac:spMk id="724" creationId="{3E31B12C-0086-6F65-2298-D8090F6CA1B5}"/>
          </ac:spMkLst>
        </pc:spChg>
        <pc:spChg chg="add del mod">
          <ac:chgData name="Steiner Andreas 6206 ED" userId="e6377c33-a923-4f14-8587-531c474c7b48" providerId="ADAL" clId="{6ECD27E6-B224-41CD-B4E0-E297462320DD}" dt="2023-11-24T08:56:20.859" v="110592"/>
          <ac:spMkLst>
            <pc:docMk/>
            <pc:sldMk cId="1942033937" sldId="2147478573"/>
            <ac:spMk id="725" creationId="{9FEBEA01-0116-AF43-AB2C-B8209F9D018E}"/>
          </ac:spMkLst>
        </pc:spChg>
        <pc:spChg chg="add del mod">
          <ac:chgData name="Steiner Andreas 6206 ED" userId="e6377c33-a923-4f14-8587-531c474c7b48" providerId="ADAL" clId="{6ECD27E6-B224-41CD-B4E0-E297462320DD}" dt="2023-11-24T08:56:22.981" v="110747"/>
          <ac:spMkLst>
            <pc:docMk/>
            <pc:sldMk cId="1942033937" sldId="2147478573"/>
            <ac:spMk id="726" creationId="{7F21D866-E00D-F5E3-46B1-F262609E17EE}"/>
          </ac:spMkLst>
        </pc:spChg>
        <pc:spChg chg="add del mod">
          <ac:chgData name="Steiner Andreas 6206 ED" userId="e6377c33-a923-4f14-8587-531c474c7b48" providerId="ADAL" clId="{6ECD27E6-B224-41CD-B4E0-E297462320DD}" dt="2023-11-24T08:56:25.199" v="110902"/>
          <ac:spMkLst>
            <pc:docMk/>
            <pc:sldMk cId="1942033937" sldId="2147478573"/>
            <ac:spMk id="727" creationId="{CC663FEA-15AC-2C73-E282-2ADB953215EF}"/>
          </ac:spMkLst>
        </pc:spChg>
        <pc:spChg chg="add del mod">
          <ac:chgData name="Steiner Andreas 6206 ED" userId="e6377c33-a923-4f14-8587-531c474c7b48" providerId="ADAL" clId="{6ECD27E6-B224-41CD-B4E0-E297462320DD}" dt="2023-11-24T08:56:27.222" v="111057"/>
          <ac:spMkLst>
            <pc:docMk/>
            <pc:sldMk cId="1942033937" sldId="2147478573"/>
            <ac:spMk id="728" creationId="{A987F2A5-75DF-4994-E382-378D763EDFCC}"/>
          </ac:spMkLst>
        </pc:spChg>
        <pc:spChg chg="add del mod">
          <ac:chgData name="Steiner Andreas 6206 ED" userId="e6377c33-a923-4f14-8587-531c474c7b48" providerId="ADAL" clId="{6ECD27E6-B224-41CD-B4E0-E297462320DD}" dt="2023-11-24T08:56:29.247" v="111212"/>
          <ac:spMkLst>
            <pc:docMk/>
            <pc:sldMk cId="1942033937" sldId="2147478573"/>
            <ac:spMk id="729" creationId="{BB79583F-BA1D-4116-8156-A44DFD6DB6E6}"/>
          </ac:spMkLst>
        </pc:spChg>
        <pc:spChg chg="add del mod">
          <ac:chgData name="Steiner Andreas 6206 ED" userId="e6377c33-a923-4f14-8587-531c474c7b48" providerId="ADAL" clId="{6ECD27E6-B224-41CD-B4E0-E297462320DD}" dt="2023-11-24T08:56:31.362" v="111367"/>
          <ac:spMkLst>
            <pc:docMk/>
            <pc:sldMk cId="1942033937" sldId="2147478573"/>
            <ac:spMk id="730" creationId="{F4BB799B-8719-BAF0-1C91-B29F515D313F}"/>
          </ac:spMkLst>
        </pc:spChg>
        <pc:spChg chg="add del mod">
          <ac:chgData name="Steiner Andreas 6206 ED" userId="e6377c33-a923-4f14-8587-531c474c7b48" providerId="ADAL" clId="{6ECD27E6-B224-41CD-B4E0-E297462320DD}" dt="2023-11-24T08:56:33.582" v="111522"/>
          <ac:spMkLst>
            <pc:docMk/>
            <pc:sldMk cId="1942033937" sldId="2147478573"/>
            <ac:spMk id="731" creationId="{97E209DF-B491-05FB-D7FA-600181AA8217}"/>
          </ac:spMkLst>
        </pc:spChg>
        <pc:spChg chg="add del mod">
          <ac:chgData name="Steiner Andreas 6206 ED" userId="e6377c33-a923-4f14-8587-531c474c7b48" providerId="ADAL" clId="{6ECD27E6-B224-41CD-B4E0-E297462320DD}" dt="2023-11-24T08:56:35.761" v="111677"/>
          <ac:spMkLst>
            <pc:docMk/>
            <pc:sldMk cId="1942033937" sldId="2147478573"/>
            <ac:spMk id="732" creationId="{D0E77D97-D3AD-11DC-1BE9-70C92DC9BF08}"/>
          </ac:spMkLst>
        </pc:spChg>
        <pc:spChg chg="add del mod">
          <ac:chgData name="Steiner Andreas 6206 ED" userId="e6377c33-a923-4f14-8587-531c474c7b48" providerId="ADAL" clId="{6ECD27E6-B224-41CD-B4E0-E297462320DD}" dt="2023-11-24T08:56:37.836" v="111832"/>
          <ac:spMkLst>
            <pc:docMk/>
            <pc:sldMk cId="1942033937" sldId="2147478573"/>
            <ac:spMk id="733" creationId="{17CD1283-DED1-FB21-DCFF-B037F674D5EF}"/>
          </ac:spMkLst>
        </pc:spChg>
        <pc:spChg chg="add del mod">
          <ac:chgData name="Steiner Andreas 6206 ED" userId="e6377c33-a923-4f14-8587-531c474c7b48" providerId="ADAL" clId="{6ECD27E6-B224-41CD-B4E0-E297462320DD}" dt="2023-11-24T08:56:39.997" v="111987"/>
          <ac:spMkLst>
            <pc:docMk/>
            <pc:sldMk cId="1942033937" sldId="2147478573"/>
            <ac:spMk id="734" creationId="{2491BCF8-9BC4-0993-1092-46E694BF9B37}"/>
          </ac:spMkLst>
        </pc:spChg>
        <pc:spChg chg="add del mod">
          <ac:chgData name="Steiner Andreas 6206 ED" userId="e6377c33-a923-4f14-8587-531c474c7b48" providerId="ADAL" clId="{6ECD27E6-B224-41CD-B4E0-E297462320DD}" dt="2023-11-24T08:56:41.949" v="112142"/>
          <ac:spMkLst>
            <pc:docMk/>
            <pc:sldMk cId="1942033937" sldId="2147478573"/>
            <ac:spMk id="735" creationId="{7FE2FD46-4FDD-2162-D687-F422A4E0E851}"/>
          </ac:spMkLst>
        </pc:spChg>
        <pc:spChg chg="add del mod">
          <ac:chgData name="Steiner Andreas 6206 ED" userId="e6377c33-a923-4f14-8587-531c474c7b48" providerId="ADAL" clId="{6ECD27E6-B224-41CD-B4E0-E297462320DD}" dt="2023-11-24T08:56:43.937" v="112297"/>
          <ac:spMkLst>
            <pc:docMk/>
            <pc:sldMk cId="1942033937" sldId="2147478573"/>
            <ac:spMk id="736" creationId="{C4372FB2-0837-8ADA-B458-E0DE735C0439}"/>
          </ac:spMkLst>
        </pc:spChg>
        <pc:spChg chg="add del mod">
          <ac:chgData name="Steiner Andreas 6206 ED" userId="e6377c33-a923-4f14-8587-531c474c7b48" providerId="ADAL" clId="{6ECD27E6-B224-41CD-B4E0-E297462320DD}" dt="2023-11-24T08:56:45.973" v="112452"/>
          <ac:spMkLst>
            <pc:docMk/>
            <pc:sldMk cId="1942033937" sldId="2147478573"/>
            <ac:spMk id="737" creationId="{5FBE603D-EB9B-7FE7-579D-532A0989A4E6}"/>
          </ac:spMkLst>
        </pc:spChg>
        <pc:spChg chg="add del mod">
          <ac:chgData name="Steiner Andreas 6206 ED" userId="e6377c33-a923-4f14-8587-531c474c7b48" providerId="ADAL" clId="{6ECD27E6-B224-41CD-B4E0-E297462320DD}" dt="2023-11-24T08:56:48.186" v="112607"/>
          <ac:spMkLst>
            <pc:docMk/>
            <pc:sldMk cId="1942033937" sldId="2147478573"/>
            <ac:spMk id="738" creationId="{66B3F1AF-B8CA-B9BF-C5BB-F73AE2664146}"/>
          </ac:spMkLst>
        </pc:spChg>
        <pc:spChg chg="add del mod">
          <ac:chgData name="Steiner Andreas 6206 ED" userId="e6377c33-a923-4f14-8587-531c474c7b48" providerId="ADAL" clId="{6ECD27E6-B224-41CD-B4E0-E297462320DD}" dt="2023-11-24T08:56:50.239" v="112762"/>
          <ac:spMkLst>
            <pc:docMk/>
            <pc:sldMk cId="1942033937" sldId="2147478573"/>
            <ac:spMk id="739" creationId="{53529A2D-4AD4-C6E0-9680-4EE5CC0210A8}"/>
          </ac:spMkLst>
        </pc:spChg>
        <pc:spChg chg="add del mod">
          <ac:chgData name="Steiner Andreas 6206 ED" userId="e6377c33-a923-4f14-8587-531c474c7b48" providerId="ADAL" clId="{6ECD27E6-B224-41CD-B4E0-E297462320DD}" dt="2023-11-24T08:56:52.170" v="112917"/>
          <ac:spMkLst>
            <pc:docMk/>
            <pc:sldMk cId="1942033937" sldId="2147478573"/>
            <ac:spMk id="740" creationId="{6D9535D7-8BB0-DECB-4C80-BC56B69C045F}"/>
          </ac:spMkLst>
        </pc:spChg>
        <pc:spChg chg="add del mod">
          <ac:chgData name="Steiner Andreas 6206 ED" userId="e6377c33-a923-4f14-8587-531c474c7b48" providerId="ADAL" clId="{6ECD27E6-B224-41CD-B4E0-E297462320DD}" dt="2023-11-24T08:56:54.297" v="113072"/>
          <ac:spMkLst>
            <pc:docMk/>
            <pc:sldMk cId="1942033937" sldId="2147478573"/>
            <ac:spMk id="741" creationId="{EA618679-DDA1-1728-A981-066F683DB2E2}"/>
          </ac:spMkLst>
        </pc:spChg>
        <pc:spChg chg="add del mod">
          <ac:chgData name="Steiner Andreas 6206 ED" userId="e6377c33-a923-4f14-8587-531c474c7b48" providerId="ADAL" clId="{6ECD27E6-B224-41CD-B4E0-E297462320DD}" dt="2023-11-24T08:56:56.251" v="113227"/>
          <ac:spMkLst>
            <pc:docMk/>
            <pc:sldMk cId="1942033937" sldId="2147478573"/>
            <ac:spMk id="742" creationId="{7CECC45D-8585-DF07-120F-29A06B8E14A8}"/>
          </ac:spMkLst>
        </pc:spChg>
        <pc:spChg chg="add del mod">
          <ac:chgData name="Steiner Andreas 6206 ED" userId="e6377c33-a923-4f14-8587-531c474c7b48" providerId="ADAL" clId="{6ECD27E6-B224-41CD-B4E0-E297462320DD}" dt="2023-11-24T08:56:58.351" v="113382"/>
          <ac:spMkLst>
            <pc:docMk/>
            <pc:sldMk cId="1942033937" sldId="2147478573"/>
            <ac:spMk id="743" creationId="{5F23D1BA-A14F-B177-6997-47EB841CD15E}"/>
          </ac:spMkLst>
        </pc:spChg>
        <pc:spChg chg="add del mod">
          <ac:chgData name="Steiner Andreas 6206 ED" userId="e6377c33-a923-4f14-8587-531c474c7b48" providerId="ADAL" clId="{6ECD27E6-B224-41CD-B4E0-E297462320DD}" dt="2023-11-24T08:57:00.671" v="113537"/>
          <ac:spMkLst>
            <pc:docMk/>
            <pc:sldMk cId="1942033937" sldId="2147478573"/>
            <ac:spMk id="744" creationId="{2D61CA48-6CAE-BAD9-0434-66A4F2929283}"/>
          </ac:spMkLst>
        </pc:spChg>
        <pc:spChg chg="add del mod">
          <ac:chgData name="Steiner Andreas 6206 ED" userId="e6377c33-a923-4f14-8587-531c474c7b48" providerId="ADAL" clId="{6ECD27E6-B224-41CD-B4E0-E297462320DD}" dt="2023-11-24T08:57:03.014" v="113692"/>
          <ac:spMkLst>
            <pc:docMk/>
            <pc:sldMk cId="1942033937" sldId="2147478573"/>
            <ac:spMk id="745" creationId="{48D0B63E-854D-1FE2-1855-FF5D4128874A}"/>
          </ac:spMkLst>
        </pc:spChg>
        <pc:spChg chg="add del mod">
          <ac:chgData name="Steiner Andreas 6206 ED" userId="e6377c33-a923-4f14-8587-531c474c7b48" providerId="ADAL" clId="{6ECD27E6-B224-41CD-B4E0-E297462320DD}" dt="2023-11-24T09:02:21.495" v="113847"/>
          <ac:spMkLst>
            <pc:docMk/>
            <pc:sldMk cId="1942033937" sldId="2147478573"/>
            <ac:spMk id="746" creationId="{58434FFB-F80B-CFB1-8745-BC5366ED3662}"/>
          </ac:spMkLst>
        </pc:spChg>
        <pc:spChg chg="add del mod">
          <ac:chgData name="Steiner Andreas 6206 ED" userId="e6377c33-a923-4f14-8587-531c474c7b48" providerId="ADAL" clId="{6ECD27E6-B224-41CD-B4E0-E297462320DD}" dt="2023-11-24T09:02:27.429" v="114002"/>
          <ac:spMkLst>
            <pc:docMk/>
            <pc:sldMk cId="1942033937" sldId="2147478573"/>
            <ac:spMk id="747" creationId="{917EEF85-00CF-66D0-9380-0384DA428618}"/>
          </ac:spMkLst>
        </pc:spChg>
        <pc:spChg chg="add del mod">
          <ac:chgData name="Steiner Andreas 6206 ED" userId="e6377c33-a923-4f14-8587-531c474c7b48" providerId="ADAL" clId="{6ECD27E6-B224-41CD-B4E0-E297462320DD}" dt="2023-11-24T09:02:29.953" v="114157"/>
          <ac:spMkLst>
            <pc:docMk/>
            <pc:sldMk cId="1942033937" sldId="2147478573"/>
            <ac:spMk id="748" creationId="{C66FACD0-D7F0-781F-B8DC-665BC61A6211}"/>
          </ac:spMkLst>
        </pc:spChg>
        <pc:spChg chg="add del mod">
          <ac:chgData name="Steiner Andreas 6206 ED" userId="e6377c33-a923-4f14-8587-531c474c7b48" providerId="ADAL" clId="{6ECD27E6-B224-41CD-B4E0-E297462320DD}" dt="2023-11-24T09:02:33.093" v="114312"/>
          <ac:spMkLst>
            <pc:docMk/>
            <pc:sldMk cId="1942033937" sldId="2147478573"/>
            <ac:spMk id="749" creationId="{020D8AA4-462E-C8CD-AD21-E710F6397206}"/>
          </ac:spMkLst>
        </pc:spChg>
        <pc:spChg chg="add del mod">
          <ac:chgData name="Steiner Andreas 6206 ED" userId="e6377c33-a923-4f14-8587-531c474c7b48" providerId="ADAL" clId="{6ECD27E6-B224-41CD-B4E0-E297462320DD}" dt="2023-11-24T09:02:36.633" v="114467"/>
          <ac:spMkLst>
            <pc:docMk/>
            <pc:sldMk cId="1942033937" sldId="2147478573"/>
            <ac:spMk id="750" creationId="{EFB61F77-561F-C494-AF56-53C6D263E94D}"/>
          </ac:spMkLst>
        </pc:spChg>
        <pc:spChg chg="add del mod">
          <ac:chgData name="Steiner Andreas 6206 ED" userId="e6377c33-a923-4f14-8587-531c474c7b48" providerId="ADAL" clId="{6ECD27E6-B224-41CD-B4E0-E297462320DD}" dt="2023-11-24T11:31:22.430" v="114622"/>
          <ac:spMkLst>
            <pc:docMk/>
            <pc:sldMk cId="1942033937" sldId="2147478573"/>
            <ac:spMk id="751" creationId="{E38029BA-DFF0-0483-033E-5C647AA67227}"/>
          </ac:spMkLst>
        </pc:spChg>
        <pc:spChg chg="add del mod">
          <ac:chgData name="Steiner Andreas 6206 ED" userId="e6377c33-a923-4f14-8587-531c474c7b48" providerId="ADAL" clId="{6ECD27E6-B224-41CD-B4E0-E297462320DD}" dt="2023-11-24T11:33:29.757" v="114777"/>
          <ac:spMkLst>
            <pc:docMk/>
            <pc:sldMk cId="1942033937" sldId="2147478573"/>
            <ac:spMk id="752" creationId="{394EDF69-46B6-57B3-14D9-05FF908FAE82}"/>
          </ac:spMkLst>
        </pc:spChg>
        <pc:spChg chg="add del mod">
          <ac:chgData name="Steiner Andreas 6206 ED" userId="e6377c33-a923-4f14-8587-531c474c7b48" providerId="ADAL" clId="{6ECD27E6-B224-41CD-B4E0-E297462320DD}" dt="2023-11-24T11:33:36.250" v="114932"/>
          <ac:spMkLst>
            <pc:docMk/>
            <pc:sldMk cId="1942033937" sldId="2147478573"/>
            <ac:spMk id="753" creationId="{33688D20-B5F0-6B73-BF5F-7F917ECF9404}"/>
          </ac:spMkLst>
        </pc:spChg>
        <pc:spChg chg="add del mod">
          <ac:chgData name="Steiner Andreas 6206 ED" userId="e6377c33-a923-4f14-8587-531c474c7b48" providerId="ADAL" clId="{6ECD27E6-B224-41CD-B4E0-E297462320DD}" dt="2023-11-24T11:33:39.352" v="115087"/>
          <ac:spMkLst>
            <pc:docMk/>
            <pc:sldMk cId="1942033937" sldId="2147478573"/>
            <ac:spMk id="754" creationId="{A78EA6DD-A0F6-B4FD-3F3E-551F8942EDA0}"/>
          </ac:spMkLst>
        </pc:spChg>
        <pc:spChg chg="add del mod">
          <ac:chgData name="Steiner Andreas 6206 ED" userId="e6377c33-a923-4f14-8587-531c474c7b48" providerId="ADAL" clId="{6ECD27E6-B224-41CD-B4E0-E297462320DD}" dt="2023-11-24T11:33:42.923" v="115242"/>
          <ac:spMkLst>
            <pc:docMk/>
            <pc:sldMk cId="1942033937" sldId="2147478573"/>
            <ac:spMk id="755" creationId="{AC66D511-EA33-04EC-126A-DA7BC907A923}"/>
          </ac:spMkLst>
        </pc:spChg>
        <pc:spChg chg="add del mod">
          <ac:chgData name="Steiner Andreas 6206 ED" userId="e6377c33-a923-4f14-8587-531c474c7b48" providerId="ADAL" clId="{6ECD27E6-B224-41CD-B4E0-E297462320DD}" dt="2023-11-24T11:33:46.097" v="115397"/>
          <ac:spMkLst>
            <pc:docMk/>
            <pc:sldMk cId="1942033937" sldId="2147478573"/>
            <ac:spMk id="756" creationId="{6730001A-F5F9-A2ED-398B-ACC05DF7136F}"/>
          </ac:spMkLst>
        </pc:spChg>
        <pc:spChg chg="add del mod">
          <ac:chgData name="Steiner Andreas 6206 ED" userId="e6377c33-a923-4f14-8587-531c474c7b48" providerId="ADAL" clId="{6ECD27E6-B224-41CD-B4E0-E297462320DD}" dt="2023-11-24T11:33:49.232" v="115552"/>
          <ac:spMkLst>
            <pc:docMk/>
            <pc:sldMk cId="1942033937" sldId="2147478573"/>
            <ac:spMk id="757" creationId="{975008B0-ED04-DD56-FEBD-BDFF70C94C70}"/>
          </ac:spMkLst>
        </pc:spChg>
        <pc:spChg chg="add del mod">
          <ac:chgData name="Steiner Andreas 6206 ED" userId="e6377c33-a923-4f14-8587-531c474c7b48" providerId="ADAL" clId="{6ECD27E6-B224-41CD-B4E0-E297462320DD}" dt="2023-11-24T11:33:51.919" v="115707"/>
          <ac:spMkLst>
            <pc:docMk/>
            <pc:sldMk cId="1942033937" sldId="2147478573"/>
            <ac:spMk id="758" creationId="{90A3F36B-4A9D-D960-090E-80A247617BDE}"/>
          </ac:spMkLst>
        </pc:spChg>
        <pc:spChg chg="add del mod">
          <ac:chgData name="Steiner Andreas 6206 ED" userId="e6377c33-a923-4f14-8587-531c474c7b48" providerId="ADAL" clId="{6ECD27E6-B224-41CD-B4E0-E297462320DD}" dt="2023-11-24T11:33:54.763" v="115862"/>
          <ac:spMkLst>
            <pc:docMk/>
            <pc:sldMk cId="1942033937" sldId="2147478573"/>
            <ac:spMk id="759" creationId="{808A7962-C84A-879B-8286-3036CA4889F3}"/>
          </ac:spMkLst>
        </pc:spChg>
        <pc:spChg chg="add del mod">
          <ac:chgData name="Steiner Andreas 6206 ED" userId="e6377c33-a923-4f14-8587-531c474c7b48" providerId="ADAL" clId="{6ECD27E6-B224-41CD-B4E0-E297462320DD}" dt="2023-11-24T11:33:57.265" v="116017"/>
          <ac:spMkLst>
            <pc:docMk/>
            <pc:sldMk cId="1942033937" sldId="2147478573"/>
            <ac:spMk id="760" creationId="{97298069-3E30-6FF7-2E48-DFE61D74618D}"/>
          </ac:spMkLst>
        </pc:spChg>
        <pc:spChg chg="add del mod">
          <ac:chgData name="Steiner Andreas 6206 ED" userId="e6377c33-a923-4f14-8587-531c474c7b48" providerId="ADAL" clId="{6ECD27E6-B224-41CD-B4E0-E297462320DD}" dt="2023-11-24T11:33:59.629" v="116172"/>
          <ac:spMkLst>
            <pc:docMk/>
            <pc:sldMk cId="1942033937" sldId="2147478573"/>
            <ac:spMk id="761" creationId="{A7E8D007-8260-C885-3E25-1B8BC1E3A947}"/>
          </ac:spMkLst>
        </pc:spChg>
        <pc:spChg chg="add del mod">
          <ac:chgData name="Steiner Andreas 6206 ED" userId="e6377c33-a923-4f14-8587-531c474c7b48" providerId="ADAL" clId="{6ECD27E6-B224-41CD-B4E0-E297462320DD}" dt="2023-11-24T11:34:01.996" v="116327"/>
          <ac:spMkLst>
            <pc:docMk/>
            <pc:sldMk cId="1942033937" sldId="2147478573"/>
            <ac:spMk id="762" creationId="{7DA6FB75-E8EC-8195-CFBB-493FC1AD1FFB}"/>
          </ac:spMkLst>
        </pc:spChg>
        <pc:spChg chg="add del mod">
          <ac:chgData name="Steiner Andreas 6206 ED" userId="e6377c33-a923-4f14-8587-531c474c7b48" providerId="ADAL" clId="{6ECD27E6-B224-41CD-B4E0-E297462320DD}" dt="2023-11-24T11:34:04.295" v="116482"/>
          <ac:spMkLst>
            <pc:docMk/>
            <pc:sldMk cId="1942033937" sldId="2147478573"/>
            <ac:spMk id="763" creationId="{65DEBFA3-1B08-1114-5325-81C12C928F35}"/>
          </ac:spMkLst>
        </pc:spChg>
        <pc:spChg chg="add del mod">
          <ac:chgData name="Steiner Andreas 6206 ED" userId="e6377c33-a923-4f14-8587-531c474c7b48" providerId="ADAL" clId="{6ECD27E6-B224-41CD-B4E0-E297462320DD}" dt="2023-11-24T11:34:06.774" v="116637"/>
          <ac:spMkLst>
            <pc:docMk/>
            <pc:sldMk cId="1942033937" sldId="2147478573"/>
            <ac:spMk id="764" creationId="{91C2EF9B-0887-3192-62A8-54AF2D4B550E}"/>
          </ac:spMkLst>
        </pc:spChg>
        <pc:spChg chg="add del mod">
          <ac:chgData name="Steiner Andreas 6206 ED" userId="e6377c33-a923-4f14-8587-531c474c7b48" providerId="ADAL" clId="{6ECD27E6-B224-41CD-B4E0-E297462320DD}" dt="2023-11-24T11:34:09.380" v="116792"/>
          <ac:spMkLst>
            <pc:docMk/>
            <pc:sldMk cId="1942033937" sldId="2147478573"/>
            <ac:spMk id="765" creationId="{21A8562F-C491-A30F-96AF-DE54B9FA22B4}"/>
          </ac:spMkLst>
        </pc:spChg>
        <pc:spChg chg="add del mod">
          <ac:chgData name="Steiner Andreas 6206 ED" userId="e6377c33-a923-4f14-8587-531c474c7b48" providerId="ADAL" clId="{6ECD27E6-B224-41CD-B4E0-E297462320DD}" dt="2023-11-24T11:34:11.382" v="116947"/>
          <ac:spMkLst>
            <pc:docMk/>
            <pc:sldMk cId="1942033937" sldId="2147478573"/>
            <ac:spMk id="766" creationId="{02EDB56E-1EA9-4F9F-4E95-F004175C1DF4}"/>
          </ac:spMkLst>
        </pc:spChg>
        <pc:spChg chg="add del mod">
          <ac:chgData name="Steiner Andreas 6206 ED" userId="e6377c33-a923-4f14-8587-531c474c7b48" providerId="ADAL" clId="{6ECD27E6-B224-41CD-B4E0-E297462320DD}" dt="2023-11-24T11:34:13.146" v="117102"/>
          <ac:spMkLst>
            <pc:docMk/>
            <pc:sldMk cId="1942033937" sldId="2147478573"/>
            <ac:spMk id="767" creationId="{7E86AC7C-A7E7-8849-2F86-6BDC11EB9368}"/>
          </ac:spMkLst>
        </pc:spChg>
        <pc:spChg chg="add del mod">
          <ac:chgData name="Steiner Andreas 6206 ED" userId="e6377c33-a923-4f14-8587-531c474c7b48" providerId="ADAL" clId="{6ECD27E6-B224-41CD-B4E0-E297462320DD}" dt="2023-11-24T11:34:14.938" v="117257"/>
          <ac:spMkLst>
            <pc:docMk/>
            <pc:sldMk cId="1942033937" sldId="2147478573"/>
            <ac:spMk id="768" creationId="{7B0ADE17-9846-BDE8-E4F8-42FF721BFE4C}"/>
          </ac:spMkLst>
        </pc:spChg>
        <pc:spChg chg="add del mod">
          <ac:chgData name="Steiner Andreas 6206 ED" userId="e6377c33-a923-4f14-8587-531c474c7b48" providerId="ADAL" clId="{6ECD27E6-B224-41CD-B4E0-E297462320DD}" dt="2023-11-24T11:34:16.722" v="117412"/>
          <ac:spMkLst>
            <pc:docMk/>
            <pc:sldMk cId="1942033937" sldId="2147478573"/>
            <ac:spMk id="769" creationId="{F39E4964-74E6-4496-42D0-CB3D248BE199}"/>
          </ac:spMkLst>
        </pc:spChg>
        <pc:spChg chg="add del mod">
          <ac:chgData name="Steiner Andreas 6206 ED" userId="e6377c33-a923-4f14-8587-531c474c7b48" providerId="ADAL" clId="{6ECD27E6-B224-41CD-B4E0-E297462320DD}" dt="2023-11-24T11:34:18.542" v="117567"/>
          <ac:spMkLst>
            <pc:docMk/>
            <pc:sldMk cId="1942033937" sldId="2147478573"/>
            <ac:spMk id="770" creationId="{F819D66D-98C6-D72D-E1D3-1989C22BEA27}"/>
          </ac:spMkLst>
        </pc:spChg>
        <pc:spChg chg="add del mod">
          <ac:chgData name="Steiner Andreas 6206 ED" userId="e6377c33-a923-4f14-8587-531c474c7b48" providerId="ADAL" clId="{6ECD27E6-B224-41CD-B4E0-E297462320DD}" dt="2023-11-24T11:34:20.628" v="117722"/>
          <ac:spMkLst>
            <pc:docMk/>
            <pc:sldMk cId="1942033937" sldId="2147478573"/>
            <ac:spMk id="771" creationId="{65A5B173-2DA7-4A23-C65D-D197AD719A49}"/>
          </ac:spMkLst>
        </pc:spChg>
        <pc:spChg chg="add del mod">
          <ac:chgData name="Steiner Andreas 6206 ED" userId="e6377c33-a923-4f14-8587-531c474c7b48" providerId="ADAL" clId="{6ECD27E6-B224-41CD-B4E0-E297462320DD}" dt="2023-11-24T11:34:22.563" v="117877"/>
          <ac:spMkLst>
            <pc:docMk/>
            <pc:sldMk cId="1942033937" sldId="2147478573"/>
            <ac:spMk id="772" creationId="{C45E6D00-1391-0CB0-A34D-E683DBBC1F38}"/>
          </ac:spMkLst>
        </pc:spChg>
        <pc:spChg chg="add del mod">
          <ac:chgData name="Steiner Andreas 6206 ED" userId="e6377c33-a923-4f14-8587-531c474c7b48" providerId="ADAL" clId="{6ECD27E6-B224-41CD-B4E0-E297462320DD}" dt="2023-11-24T11:34:24.677" v="118032"/>
          <ac:spMkLst>
            <pc:docMk/>
            <pc:sldMk cId="1942033937" sldId="2147478573"/>
            <ac:spMk id="773" creationId="{BFADF778-B40E-C556-E49F-B025B9D1190F}"/>
          </ac:spMkLst>
        </pc:spChg>
        <pc:spChg chg="add del mod">
          <ac:chgData name="Steiner Andreas 6206 ED" userId="e6377c33-a923-4f14-8587-531c474c7b48" providerId="ADAL" clId="{6ECD27E6-B224-41CD-B4E0-E297462320DD}" dt="2023-11-24T11:34:27.167" v="118187"/>
          <ac:spMkLst>
            <pc:docMk/>
            <pc:sldMk cId="1942033937" sldId="2147478573"/>
            <ac:spMk id="774" creationId="{7AAC50ED-0D44-036D-E758-60DA5D30BD69}"/>
          </ac:spMkLst>
        </pc:spChg>
        <pc:spChg chg="add del mod">
          <ac:chgData name="Steiner Andreas 6206 ED" userId="e6377c33-a923-4f14-8587-531c474c7b48" providerId="ADAL" clId="{6ECD27E6-B224-41CD-B4E0-E297462320DD}" dt="2023-11-24T11:34:29.272" v="118342"/>
          <ac:spMkLst>
            <pc:docMk/>
            <pc:sldMk cId="1942033937" sldId="2147478573"/>
            <ac:spMk id="775" creationId="{06423562-AFE8-CE86-81E6-37CB33BCB57A}"/>
          </ac:spMkLst>
        </pc:spChg>
        <pc:spChg chg="add del mod">
          <ac:chgData name="Steiner Andreas 6206 ED" userId="e6377c33-a923-4f14-8587-531c474c7b48" providerId="ADAL" clId="{6ECD27E6-B224-41CD-B4E0-E297462320DD}" dt="2023-11-24T11:34:31.548" v="118497"/>
          <ac:spMkLst>
            <pc:docMk/>
            <pc:sldMk cId="1942033937" sldId="2147478573"/>
            <ac:spMk id="776" creationId="{BEB0327D-D0EE-C418-E7F7-F2489C3AC980}"/>
          </ac:spMkLst>
        </pc:spChg>
        <pc:spChg chg="add del mod">
          <ac:chgData name="Steiner Andreas 6206 ED" userId="e6377c33-a923-4f14-8587-531c474c7b48" providerId="ADAL" clId="{6ECD27E6-B224-41CD-B4E0-E297462320DD}" dt="2023-11-24T11:34:33.542" v="118652"/>
          <ac:spMkLst>
            <pc:docMk/>
            <pc:sldMk cId="1942033937" sldId="2147478573"/>
            <ac:spMk id="777" creationId="{D02FD33F-E55F-029E-CA28-2121181AC0B0}"/>
          </ac:spMkLst>
        </pc:spChg>
        <pc:spChg chg="add del mod">
          <ac:chgData name="Steiner Andreas 6206 ED" userId="e6377c33-a923-4f14-8587-531c474c7b48" providerId="ADAL" clId="{6ECD27E6-B224-41CD-B4E0-E297462320DD}" dt="2023-11-24T11:34:35.516" v="118807"/>
          <ac:spMkLst>
            <pc:docMk/>
            <pc:sldMk cId="1942033937" sldId="2147478573"/>
            <ac:spMk id="778" creationId="{4B9C716B-DC83-4CC7-0653-C8907970A67F}"/>
          </ac:spMkLst>
        </pc:spChg>
        <pc:spChg chg="add del mod">
          <ac:chgData name="Steiner Andreas 6206 ED" userId="e6377c33-a923-4f14-8587-531c474c7b48" providerId="ADAL" clId="{6ECD27E6-B224-41CD-B4E0-E297462320DD}" dt="2023-11-24T11:34:37.571" v="118962"/>
          <ac:spMkLst>
            <pc:docMk/>
            <pc:sldMk cId="1942033937" sldId="2147478573"/>
            <ac:spMk id="779" creationId="{8EEAE776-FFD6-DCB2-0E01-6DB608EAB5E7}"/>
          </ac:spMkLst>
        </pc:spChg>
        <pc:spChg chg="add del mod">
          <ac:chgData name="Steiner Andreas 6206 ED" userId="e6377c33-a923-4f14-8587-531c474c7b48" providerId="ADAL" clId="{6ECD27E6-B224-41CD-B4E0-E297462320DD}" dt="2023-11-24T11:34:39.556" v="119117"/>
          <ac:spMkLst>
            <pc:docMk/>
            <pc:sldMk cId="1942033937" sldId="2147478573"/>
            <ac:spMk id="780" creationId="{8778DF73-5B49-209E-AF8B-A72B4F2A561B}"/>
          </ac:spMkLst>
        </pc:spChg>
        <pc:spChg chg="add del mod">
          <ac:chgData name="Steiner Andreas 6206 ED" userId="e6377c33-a923-4f14-8587-531c474c7b48" providerId="ADAL" clId="{6ECD27E6-B224-41CD-B4E0-E297462320DD}" dt="2023-11-24T11:34:41.685" v="119272"/>
          <ac:spMkLst>
            <pc:docMk/>
            <pc:sldMk cId="1942033937" sldId="2147478573"/>
            <ac:spMk id="781" creationId="{737653C6-EC91-1319-05A1-3BDC0A85EF79}"/>
          </ac:spMkLst>
        </pc:spChg>
        <pc:spChg chg="add del mod">
          <ac:chgData name="Steiner Andreas 6206 ED" userId="e6377c33-a923-4f14-8587-531c474c7b48" providerId="ADAL" clId="{6ECD27E6-B224-41CD-B4E0-E297462320DD}" dt="2023-11-24T11:34:43.869" v="119427"/>
          <ac:spMkLst>
            <pc:docMk/>
            <pc:sldMk cId="1942033937" sldId="2147478573"/>
            <ac:spMk id="782" creationId="{1C3CF0C7-2F26-E9B8-9DB1-35F30C537664}"/>
          </ac:spMkLst>
        </pc:spChg>
        <pc:spChg chg="add del mod">
          <ac:chgData name="Steiner Andreas 6206 ED" userId="e6377c33-a923-4f14-8587-531c474c7b48" providerId="ADAL" clId="{6ECD27E6-B224-41CD-B4E0-E297462320DD}" dt="2023-11-24T11:34:45.892" v="119582"/>
          <ac:spMkLst>
            <pc:docMk/>
            <pc:sldMk cId="1942033937" sldId="2147478573"/>
            <ac:spMk id="783" creationId="{97448DE5-D43D-3852-C1B7-81F7BEA7EA45}"/>
          </ac:spMkLst>
        </pc:spChg>
        <pc:spChg chg="add del mod">
          <ac:chgData name="Steiner Andreas 6206 ED" userId="e6377c33-a923-4f14-8587-531c474c7b48" providerId="ADAL" clId="{6ECD27E6-B224-41CD-B4E0-E297462320DD}" dt="2023-11-24T11:34:47.824" v="119737"/>
          <ac:spMkLst>
            <pc:docMk/>
            <pc:sldMk cId="1942033937" sldId="2147478573"/>
            <ac:spMk id="784" creationId="{CC067C60-DD44-6CB9-6F36-D8B6FCA0B1BF}"/>
          </ac:spMkLst>
        </pc:spChg>
        <pc:spChg chg="add del mod">
          <ac:chgData name="Steiner Andreas 6206 ED" userId="e6377c33-a923-4f14-8587-531c474c7b48" providerId="ADAL" clId="{6ECD27E6-B224-41CD-B4E0-E297462320DD}" dt="2023-11-24T11:34:49.995" v="119892"/>
          <ac:spMkLst>
            <pc:docMk/>
            <pc:sldMk cId="1942033937" sldId="2147478573"/>
            <ac:spMk id="785" creationId="{7138758D-8268-7B70-5F3A-B3C37C12F447}"/>
          </ac:spMkLst>
        </pc:spChg>
        <pc:spChg chg="add del mod">
          <ac:chgData name="Steiner Andreas 6206 ED" userId="e6377c33-a923-4f14-8587-531c474c7b48" providerId="ADAL" clId="{6ECD27E6-B224-41CD-B4E0-E297462320DD}" dt="2023-11-24T11:34:52.083" v="120047"/>
          <ac:spMkLst>
            <pc:docMk/>
            <pc:sldMk cId="1942033937" sldId="2147478573"/>
            <ac:spMk id="786" creationId="{E9009357-9D8D-0C19-B984-0CC2E301C7E3}"/>
          </ac:spMkLst>
        </pc:spChg>
        <pc:spChg chg="add del mod">
          <ac:chgData name="Steiner Andreas 6206 ED" userId="e6377c33-a923-4f14-8587-531c474c7b48" providerId="ADAL" clId="{6ECD27E6-B224-41CD-B4E0-E297462320DD}" dt="2023-11-24T11:34:54.066" v="120202"/>
          <ac:spMkLst>
            <pc:docMk/>
            <pc:sldMk cId="1942033937" sldId="2147478573"/>
            <ac:spMk id="787" creationId="{8909B95E-28B7-E363-E5C5-DDEF09142834}"/>
          </ac:spMkLst>
        </pc:spChg>
        <pc:spChg chg="add del mod">
          <ac:chgData name="Steiner Andreas 6206 ED" userId="e6377c33-a923-4f14-8587-531c474c7b48" providerId="ADAL" clId="{6ECD27E6-B224-41CD-B4E0-E297462320DD}" dt="2023-11-24T11:34:55.921" v="120357"/>
          <ac:spMkLst>
            <pc:docMk/>
            <pc:sldMk cId="1942033937" sldId="2147478573"/>
            <ac:spMk id="788" creationId="{FBB86368-54CF-CAE9-3CFA-7D343758D6B2}"/>
          </ac:spMkLst>
        </pc:spChg>
        <pc:spChg chg="add del mod">
          <ac:chgData name="Steiner Andreas 6206 ED" userId="e6377c33-a923-4f14-8587-531c474c7b48" providerId="ADAL" clId="{6ECD27E6-B224-41CD-B4E0-E297462320DD}" dt="2023-11-24T11:34:57.750" v="120512"/>
          <ac:spMkLst>
            <pc:docMk/>
            <pc:sldMk cId="1942033937" sldId="2147478573"/>
            <ac:spMk id="789" creationId="{40924188-34FF-9681-27F3-996B4EF2AF3E}"/>
          </ac:spMkLst>
        </pc:spChg>
        <pc:spChg chg="add del mod">
          <ac:chgData name="Steiner Andreas 6206 ED" userId="e6377c33-a923-4f14-8587-531c474c7b48" providerId="ADAL" clId="{6ECD27E6-B224-41CD-B4E0-E297462320DD}" dt="2023-11-24T11:34:59.628" v="120667"/>
          <ac:spMkLst>
            <pc:docMk/>
            <pc:sldMk cId="1942033937" sldId="2147478573"/>
            <ac:spMk id="790" creationId="{E199153F-73F1-5885-6879-59D1B55B1ACA}"/>
          </ac:spMkLst>
        </pc:spChg>
        <pc:spChg chg="add del mod">
          <ac:chgData name="Steiner Andreas 6206 ED" userId="e6377c33-a923-4f14-8587-531c474c7b48" providerId="ADAL" clId="{6ECD27E6-B224-41CD-B4E0-E297462320DD}" dt="2023-11-24T11:35:01.467" v="120822"/>
          <ac:spMkLst>
            <pc:docMk/>
            <pc:sldMk cId="1942033937" sldId="2147478573"/>
            <ac:spMk id="791" creationId="{AF24E01D-61A3-0CCA-3E85-E5627A15E677}"/>
          </ac:spMkLst>
        </pc:spChg>
        <pc:spChg chg="add del mod">
          <ac:chgData name="Steiner Andreas 6206 ED" userId="e6377c33-a923-4f14-8587-531c474c7b48" providerId="ADAL" clId="{6ECD27E6-B224-41CD-B4E0-E297462320DD}" dt="2023-11-24T11:35:03.334" v="120977"/>
          <ac:spMkLst>
            <pc:docMk/>
            <pc:sldMk cId="1942033937" sldId="2147478573"/>
            <ac:spMk id="792" creationId="{7339F339-9DDC-0E33-FDBB-062DEF509304}"/>
          </ac:spMkLst>
        </pc:spChg>
        <pc:spChg chg="add del mod">
          <ac:chgData name="Steiner Andreas 6206 ED" userId="e6377c33-a923-4f14-8587-531c474c7b48" providerId="ADAL" clId="{6ECD27E6-B224-41CD-B4E0-E297462320DD}" dt="2023-11-24T11:35:05.236" v="121132"/>
          <ac:spMkLst>
            <pc:docMk/>
            <pc:sldMk cId="1942033937" sldId="2147478573"/>
            <ac:spMk id="793" creationId="{61E89B60-19A2-D4AF-D6B9-1B4573938881}"/>
          </ac:spMkLst>
        </pc:spChg>
        <pc:spChg chg="add del mod">
          <ac:chgData name="Steiner Andreas 6206 ED" userId="e6377c33-a923-4f14-8587-531c474c7b48" providerId="ADAL" clId="{6ECD27E6-B224-41CD-B4E0-E297462320DD}" dt="2023-11-24T11:35:07.345" v="121287"/>
          <ac:spMkLst>
            <pc:docMk/>
            <pc:sldMk cId="1942033937" sldId="2147478573"/>
            <ac:spMk id="794" creationId="{673FD51E-8F47-B915-308C-53DE5A29C3CB}"/>
          </ac:spMkLst>
        </pc:spChg>
        <pc:spChg chg="add del mod">
          <ac:chgData name="Steiner Andreas 6206 ED" userId="e6377c33-a923-4f14-8587-531c474c7b48" providerId="ADAL" clId="{6ECD27E6-B224-41CD-B4E0-E297462320DD}" dt="2023-11-24T11:35:09.397" v="121442"/>
          <ac:spMkLst>
            <pc:docMk/>
            <pc:sldMk cId="1942033937" sldId="2147478573"/>
            <ac:spMk id="795" creationId="{591F915B-BABB-E854-1116-0320A15D592B}"/>
          </ac:spMkLst>
        </pc:spChg>
        <pc:spChg chg="add del mod">
          <ac:chgData name="Steiner Andreas 6206 ED" userId="e6377c33-a923-4f14-8587-531c474c7b48" providerId="ADAL" clId="{6ECD27E6-B224-41CD-B4E0-E297462320DD}" dt="2023-11-24T11:35:11.337" v="121597"/>
          <ac:spMkLst>
            <pc:docMk/>
            <pc:sldMk cId="1942033937" sldId="2147478573"/>
            <ac:spMk id="796" creationId="{7C6D93D3-937C-4112-45A2-0F82E379B507}"/>
          </ac:spMkLst>
        </pc:spChg>
        <pc:spChg chg="add del mod">
          <ac:chgData name="Steiner Andreas 6206 ED" userId="e6377c33-a923-4f14-8587-531c474c7b48" providerId="ADAL" clId="{6ECD27E6-B224-41CD-B4E0-E297462320DD}" dt="2023-11-24T11:35:13.098" v="121752"/>
          <ac:spMkLst>
            <pc:docMk/>
            <pc:sldMk cId="1942033937" sldId="2147478573"/>
            <ac:spMk id="797" creationId="{C48728BD-E20D-49B2-ED7A-872938A33F74}"/>
          </ac:spMkLst>
        </pc:spChg>
        <pc:spChg chg="add del mod">
          <ac:chgData name="Steiner Andreas 6206 ED" userId="e6377c33-a923-4f14-8587-531c474c7b48" providerId="ADAL" clId="{6ECD27E6-B224-41CD-B4E0-E297462320DD}" dt="2023-11-24T11:35:15.036" v="121907"/>
          <ac:spMkLst>
            <pc:docMk/>
            <pc:sldMk cId="1942033937" sldId="2147478573"/>
            <ac:spMk id="798" creationId="{F0BC27CE-28F7-42B5-B373-14A5E4EF351F}"/>
          </ac:spMkLst>
        </pc:spChg>
        <pc:spChg chg="add del mod">
          <ac:chgData name="Steiner Andreas 6206 ED" userId="e6377c33-a923-4f14-8587-531c474c7b48" providerId="ADAL" clId="{6ECD27E6-B224-41CD-B4E0-E297462320DD}" dt="2023-11-24T11:35:16.720" v="122062"/>
          <ac:spMkLst>
            <pc:docMk/>
            <pc:sldMk cId="1942033937" sldId="2147478573"/>
            <ac:spMk id="799" creationId="{B9DAA658-3346-E425-CE18-5C8F7184D0B9}"/>
          </ac:spMkLst>
        </pc:spChg>
        <pc:spChg chg="add del mod">
          <ac:chgData name="Steiner Andreas 6206 ED" userId="e6377c33-a923-4f14-8587-531c474c7b48" providerId="ADAL" clId="{6ECD27E6-B224-41CD-B4E0-E297462320DD}" dt="2023-11-24T11:35:18.429" v="122217"/>
          <ac:spMkLst>
            <pc:docMk/>
            <pc:sldMk cId="1942033937" sldId="2147478573"/>
            <ac:spMk id="800" creationId="{5F246509-5259-617D-7CF2-726A88ADFA85}"/>
          </ac:spMkLst>
        </pc:spChg>
        <pc:spChg chg="add del mod">
          <ac:chgData name="Steiner Andreas 6206 ED" userId="e6377c33-a923-4f14-8587-531c474c7b48" providerId="ADAL" clId="{6ECD27E6-B224-41CD-B4E0-E297462320DD}" dt="2023-11-24T11:35:20.057" v="122372"/>
          <ac:spMkLst>
            <pc:docMk/>
            <pc:sldMk cId="1942033937" sldId="2147478573"/>
            <ac:spMk id="801" creationId="{C0814B11-8615-6B06-CD34-91A780989997}"/>
          </ac:spMkLst>
        </pc:spChg>
        <pc:spChg chg="add del mod">
          <ac:chgData name="Steiner Andreas 6206 ED" userId="e6377c33-a923-4f14-8587-531c474c7b48" providerId="ADAL" clId="{6ECD27E6-B224-41CD-B4E0-E297462320DD}" dt="2023-11-24T11:35:21.680" v="122527"/>
          <ac:spMkLst>
            <pc:docMk/>
            <pc:sldMk cId="1942033937" sldId="2147478573"/>
            <ac:spMk id="802" creationId="{A14E2AA0-29A0-F3F8-113F-B37C8C6C3D0B}"/>
          </ac:spMkLst>
        </pc:spChg>
        <pc:spChg chg="add del mod">
          <ac:chgData name="Steiner Andreas 6206 ED" userId="e6377c33-a923-4f14-8587-531c474c7b48" providerId="ADAL" clId="{6ECD27E6-B224-41CD-B4E0-E297462320DD}" dt="2023-11-24T11:35:23.386" v="122682"/>
          <ac:spMkLst>
            <pc:docMk/>
            <pc:sldMk cId="1942033937" sldId="2147478573"/>
            <ac:spMk id="803" creationId="{75C8BE1A-2862-6B4D-BD5C-E0290616F76C}"/>
          </ac:spMkLst>
        </pc:spChg>
        <pc:spChg chg="add del mod">
          <ac:chgData name="Steiner Andreas 6206 ED" userId="e6377c33-a923-4f14-8587-531c474c7b48" providerId="ADAL" clId="{6ECD27E6-B224-41CD-B4E0-E297462320DD}" dt="2023-11-24T11:35:25.400" v="122837"/>
          <ac:spMkLst>
            <pc:docMk/>
            <pc:sldMk cId="1942033937" sldId="2147478573"/>
            <ac:spMk id="804" creationId="{74833C1E-CBEF-C55D-7663-497255084EF5}"/>
          </ac:spMkLst>
        </pc:spChg>
        <pc:spChg chg="add del mod">
          <ac:chgData name="Steiner Andreas 6206 ED" userId="e6377c33-a923-4f14-8587-531c474c7b48" providerId="ADAL" clId="{6ECD27E6-B224-41CD-B4E0-E297462320DD}" dt="2023-11-24T11:35:27.442" v="122992"/>
          <ac:spMkLst>
            <pc:docMk/>
            <pc:sldMk cId="1942033937" sldId="2147478573"/>
            <ac:spMk id="805" creationId="{041C9B59-0274-2BF0-4F55-E7BCF077C092}"/>
          </ac:spMkLst>
        </pc:spChg>
        <pc:spChg chg="add del mod">
          <ac:chgData name="Steiner Andreas 6206 ED" userId="e6377c33-a923-4f14-8587-531c474c7b48" providerId="ADAL" clId="{6ECD27E6-B224-41CD-B4E0-E297462320DD}" dt="2023-11-24T11:35:29.313" v="123147"/>
          <ac:spMkLst>
            <pc:docMk/>
            <pc:sldMk cId="1942033937" sldId="2147478573"/>
            <ac:spMk id="806" creationId="{E3A6EB34-3B48-E350-DBB7-A50F900212A9}"/>
          </ac:spMkLst>
        </pc:spChg>
        <pc:spChg chg="add del mod">
          <ac:chgData name="Steiner Andreas 6206 ED" userId="e6377c33-a923-4f14-8587-531c474c7b48" providerId="ADAL" clId="{6ECD27E6-B224-41CD-B4E0-E297462320DD}" dt="2023-11-24T11:35:31.071" v="123302"/>
          <ac:spMkLst>
            <pc:docMk/>
            <pc:sldMk cId="1942033937" sldId="2147478573"/>
            <ac:spMk id="807" creationId="{D55F5801-A0C1-F68C-8E4D-A46B5A6B72CF}"/>
          </ac:spMkLst>
        </pc:spChg>
        <pc:spChg chg="add del mod">
          <ac:chgData name="Steiner Andreas 6206 ED" userId="e6377c33-a923-4f14-8587-531c474c7b48" providerId="ADAL" clId="{6ECD27E6-B224-41CD-B4E0-E297462320DD}" dt="2023-11-24T11:35:33.949" v="123457"/>
          <ac:spMkLst>
            <pc:docMk/>
            <pc:sldMk cId="1942033937" sldId="2147478573"/>
            <ac:spMk id="808" creationId="{19A3EC9D-5D6B-CD88-A947-B7BAEA46C8CE}"/>
          </ac:spMkLst>
        </pc:spChg>
        <pc:spChg chg="add del mod">
          <ac:chgData name="Steiner Andreas 6206 ED" userId="e6377c33-a923-4f14-8587-531c474c7b48" providerId="ADAL" clId="{6ECD27E6-B224-41CD-B4E0-E297462320DD}" dt="2023-11-24T11:35:35.795" v="123612"/>
          <ac:spMkLst>
            <pc:docMk/>
            <pc:sldMk cId="1942033937" sldId="2147478573"/>
            <ac:spMk id="809" creationId="{5507F11A-6A86-F5C8-4852-ED9A3270C046}"/>
          </ac:spMkLst>
        </pc:spChg>
        <pc:spChg chg="add del mod">
          <ac:chgData name="Steiner Andreas 6206 ED" userId="e6377c33-a923-4f14-8587-531c474c7b48" providerId="ADAL" clId="{6ECD27E6-B224-41CD-B4E0-E297462320DD}" dt="2023-11-24T11:35:37.493" v="123767"/>
          <ac:spMkLst>
            <pc:docMk/>
            <pc:sldMk cId="1942033937" sldId="2147478573"/>
            <ac:spMk id="810" creationId="{C2B267EE-B855-0F21-7F9B-7E350A096AA3}"/>
          </ac:spMkLst>
        </pc:spChg>
        <pc:spChg chg="add del mod">
          <ac:chgData name="Steiner Andreas 6206 ED" userId="e6377c33-a923-4f14-8587-531c474c7b48" providerId="ADAL" clId="{6ECD27E6-B224-41CD-B4E0-E297462320DD}" dt="2023-11-24T11:35:39.128" v="123922"/>
          <ac:spMkLst>
            <pc:docMk/>
            <pc:sldMk cId="1942033937" sldId="2147478573"/>
            <ac:spMk id="811" creationId="{0150AA1F-5B4C-B83A-2028-C17D182B0BBF}"/>
          </ac:spMkLst>
        </pc:spChg>
        <pc:spChg chg="add del mod">
          <ac:chgData name="Steiner Andreas 6206 ED" userId="e6377c33-a923-4f14-8587-531c474c7b48" providerId="ADAL" clId="{6ECD27E6-B224-41CD-B4E0-E297462320DD}" dt="2023-11-24T11:35:40.841" v="124077"/>
          <ac:spMkLst>
            <pc:docMk/>
            <pc:sldMk cId="1942033937" sldId="2147478573"/>
            <ac:spMk id="812" creationId="{43A1D1D8-519B-2E69-2762-B9995DAD244E}"/>
          </ac:spMkLst>
        </pc:spChg>
        <pc:spChg chg="add del mod">
          <ac:chgData name="Steiner Andreas 6206 ED" userId="e6377c33-a923-4f14-8587-531c474c7b48" providerId="ADAL" clId="{6ECD27E6-B224-41CD-B4E0-E297462320DD}" dt="2023-11-24T11:35:42.432" v="124232"/>
          <ac:spMkLst>
            <pc:docMk/>
            <pc:sldMk cId="1942033937" sldId="2147478573"/>
            <ac:spMk id="813" creationId="{E433A308-96B4-D66E-07FC-65C14C004AC9}"/>
          </ac:spMkLst>
        </pc:spChg>
        <pc:spChg chg="add del mod">
          <ac:chgData name="Steiner Andreas 6206 ED" userId="e6377c33-a923-4f14-8587-531c474c7b48" providerId="ADAL" clId="{6ECD27E6-B224-41CD-B4E0-E297462320DD}" dt="2023-11-24T11:35:44.116" v="124387"/>
          <ac:spMkLst>
            <pc:docMk/>
            <pc:sldMk cId="1942033937" sldId="2147478573"/>
            <ac:spMk id="814" creationId="{F9FACE41-65F7-7C92-B45D-9F121A80189C}"/>
          </ac:spMkLst>
        </pc:spChg>
        <pc:spChg chg="add del mod">
          <ac:chgData name="Steiner Andreas 6206 ED" userId="e6377c33-a923-4f14-8587-531c474c7b48" providerId="ADAL" clId="{6ECD27E6-B224-41CD-B4E0-E297462320DD}" dt="2023-11-24T11:35:45.764" v="124542"/>
          <ac:spMkLst>
            <pc:docMk/>
            <pc:sldMk cId="1942033937" sldId="2147478573"/>
            <ac:spMk id="815" creationId="{FAC515F5-DC9D-9067-A2B7-B89AAEC27B84}"/>
          </ac:spMkLst>
        </pc:spChg>
        <pc:spChg chg="add del mod">
          <ac:chgData name="Steiner Andreas 6206 ED" userId="e6377c33-a923-4f14-8587-531c474c7b48" providerId="ADAL" clId="{6ECD27E6-B224-41CD-B4E0-E297462320DD}" dt="2023-11-24T11:35:47.470" v="124697"/>
          <ac:spMkLst>
            <pc:docMk/>
            <pc:sldMk cId="1942033937" sldId="2147478573"/>
            <ac:spMk id="816" creationId="{41247EE2-F82F-1CDE-D362-E515A3368D34}"/>
          </ac:spMkLst>
        </pc:spChg>
        <pc:spChg chg="add del mod">
          <ac:chgData name="Steiner Andreas 6206 ED" userId="e6377c33-a923-4f14-8587-531c474c7b48" providerId="ADAL" clId="{6ECD27E6-B224-41CD-B4E0-E297462320DD}" dt="2023-11-24T11:35:49.242" v="124852"/>
          <ac:spMkLst>
            <pc:docMk/>
            <pc:sldMk cId="1942033937" sldId="2147478573"/>
            <ac:spMk id="817" creationId="{B73F7B36-C992-C9C7-B5A2-E2EA18CD2CB3}"/>
          </ac:spMkLst>
        </pc:spChg>
        <pc:spChg chg="add del mod">
          <ac:chgData name="Steiner Andreas 6206 ED" userId="e6377c33-a923-4f14-8587-531c474c7b48" providerId="ADAL" clId="{6ECD27E6-B224-41CD-B4E0-E297462320DD}" dt="2023-11-24T11:35:51.150" v="125007"/>
          <ac:spMkLst>
            <pc:docMk/>
            <pc:sldMk cId="1942033937" sldId="2147478573"/>
            <ac:spMk id="818" creationId="{CDFDAD77-BF00-F564-4B11-E9AD1FD8DED0}"/>
          </ac:spMkLst>
        </pc:spChg>
        <pc:spChg chg="add del mod">
          <ac:chgData name="Steiner Andreas 6206 ED" userId="e6377c33-a923-4f14-8587-531c474c7b48" providerId="ADAL" clId="{6ECD27E6-B224-41CD-B4E0-E297462320DD}" dt="2023-11-24T11:35:52.884" v="125162"/>
          <ac:spMkLst>
            <pc:docMk/>
            <pc:sldMk cId="1942033937" sldId="2147478573"/>
            <ac:spMk id="819" creationId="{7033EC15-D0D7-1E3C-A2D6-ECB2BA47E4B3}"/>
          </ac:spMkLst>
        </pc:spChg>
        <pc:spChg chg="add del mod">
          <ac:chgData name="Steiner Andreas 6206 ED" userId="e6377c33-a923-4f14-8587-531c474c7b48" providerId="ADAL" clId="{6ECD27E6-B224-41CD-B4E0-E297462320DD}" dt="2023-11-24T11:35:54.892" v="125317"/>
          <ac:spMkLst>
            <pc:docMk/>
            <pc:sldMk cId="1942033937" sldId="2147478573"/>
            <ac:spMk id="820" creationId="{C66F9707-2D2A-3E58-99AB-DE3B66599655}"/>
          </ac:spMkLst>
        </pc:spChg>
        <pc:spChg chg="add del mod">
          <ac:chgData name="Steiner Andreas 6206 ED" userId="e6377c33-a923-4f14-8587-531c474c7b48" providerId="ADAL" clId="{6ECD27E6-B224-41CD-B4E0-E297462320DD}" dt="2023-11-24T11:35:57.060" v="125472"/>
          <ac:spMkLst>
            <pc:docMk/>
            <pc:sldMk cId="1942033937" sldId="2147478573"/>
            <ac:spMk id="821" creationId="{88B2FBF8-576A-3B7A-2EF6-FD58A62CCBD0}"/>
          </ac:spMkLst>
        </pc:spChg>
        <pc:spChg chg="add del mod">
          <ac:chgData name="Steiner Andreas 6206 ED" userId="e6377c33-a923-4f14-8587-531c474c7b48" providerId="ADAL" clId="{6ECD27E6-B224-41CD-B4E0-E297462320DD}" dt="2023-11-24T11:35:58.858" v="125627"/>
          <ac:spMkLst>
            <pc:docMk/>
            <pc:sldMk cId="1942033937" sldId="2147478573"/>
            <ac:spMk id="822" creationId="{0489893C-733D-8C89-A9CE-25E0FEDDFFCC}"/>
          </ac:spMkLst>
        </pc:spChg>
        <pc:spChg chg="add del mod">
          <ac:chgData name="Steiner Andreas 6206 ED" userId="e6377c33-a923-4f14-8587-531c474c7b48" providerId="ADAL" clId="{6ECD27E6-B224-41CD-B4E0-E297462320DD}" dt="2023-11-24T11:36:00.594" v="125782"/>
          <ac:spMkLst>
            <pc:docMk/>
            <pc:sldMk cId="1942033937" sldId="2147478573"/>
            <ac:spMk id="823" creationId="{5AB408BB-3934-F007-CC70-529FFF44587E}"/>
          </ac:spMkLst>
        </pc:spChg>
        <pc:spChg chg="add del mod">
          <ac:chgData name="Steiner Andreas 6206 ED" userId="e6377c33-a923-4f14-8587-531c474c7b48" providerId="ADAL" clId="{6ECD27E6-B224-41CD-B4E0-E297462320DD}" dt="2023-11-24T11:36:02.325" v="125937"/>
          <ac:spMkLst>
            <pc:docMk/>
            <pc:sldMk cId="1942033937" sldId="2147478573"/>
            <ac:spMk id="824" creationId="{B2575BA2-3F01-6F16-979D-E223579EE3F6}"/>
          </ac:spMkLst>
        </pc:spChg>
        <pc:spChg chg="add del mod">
          <ac:chgData name="Steiner Andreas 6206 ED" userId="e6377c33-a923-4f14-8587-531c474c7b48" providerId="ADAL" clId="{6ECD27E6-B224-41CD-B4E0-E297462320DD}" dt="2023-11-24T11:36:04.074" v="126092"/>
          <ac:spMkLst>
            <pc:docMk/>
            <pc:sldMk cId="1942033937" sldId="2147478573"/>
            <ac:spMk id="825" creationId="{F36FED36-EBA8-5FBC-8ED1-52E65F8571FC}"/>
          </ac:spMkLst>
        </pc:spChg>
        <pc:spChg chg="add del mod">
          <ac:chgData name="Steiner Andreas 6206 ED" userId="e6377c33-a923-4f14-8587-531c474c7b48" providerId="ADAL" clId="{6ECD27E6-B224-41CD-B4E0-E297462320DD}" dt="2023-11-24T11:36:05.850" v="126247"/>
          <ac:spMkLst>
            <pc:docMk/>
            <pc:sldMk cId="1942033937" sldId="2147478573"/>
            <ac:spMk id="826" creationId="{E28B4ECF-B354-FF0F-4F75-F131F85A54F0}"/>
          </ac:spMkLst>
        </pc:spChg>
        <pc:spChg chg="add del mod">
          <ac:chgData name="Steiner Andreas 6206 ED" userId="e6377c33-a923-4f14-8587-531c474c7b48" providerId="ADAL" clId="{6ECD27E6-B224-41CD-B4E0-E297462320DD}" dt="2023-11-24T11:36:07.534" v="126402"/>
          <ac:spMkLst>
            <pc:docMk/>
            <pc:sldMk cId="1942033937" sldId="2147478573"/>
            <ac:spMk id="827" creationId="{2E968F1C-353D-54CF-38AA-8818E24D3BDF}"/>
          </ac:spMkLst>
        </pc:spChg>
        <pc:spChg chg="add del mod">
          <ac:chgData name="Steiner Andreas 6206 ED" userId="e6377c33-a923-4f14-8587-531c474c7b48" providerId="ADAL" clId="{6ECD27E6-B224-41CD-B4E0-E297462320DD}" dt="2023-11-24T11:36:09.382" v="126557"/>
          <ac:spMkLst>
            <pc:docMk/>
            <pc:sldMk cId="1942033937" sldId="2147478573"/>
            <ac:spMk id="828" creationId="{C2C3D0A5-1390-BF59-DDB2-6001601B176B}"/>
          </ac:spMkLst>
        </pc:spChg>
        <pc:spChg chg="add del mod">
          <ac:chgData name="Steiner Andreas 6206 ED" userId="e6377c33-a923-4f14-8587-531c474c7b48" providerId="ADAL" clId="{6ECD27E6-B224-41CD-B4E0-E297462320DD}" dt="2023-11-24T11:36:11.177" v="126712"/>
          <ac:spMkLst>
            <pc:docMk/>
            <pc:sldMk cId="1942033937" sldId="2147478573"/>
            <ac:spMk id="829" creationId="{744BCAFC-AC4F-A389-4124-3E28919F3F77}"/>
          </ac:spMkLst>
        </pc:spChg>
        <pc:spChg chg="add del mod">
          <ac:chgData name="Steiner Andreas 6206 ED" userId="e6377c33-a923-4f14-8587-531c474c7b48" providerId="ADAL" clId="{6ECD27E6-B224-41CD-B4E0-E297462320DD}" dt="2023-11-24T11:36:13.096" v="126867"/>
          <ac:spMkLst>
            <pc:docMk/>
            <pc:sldMk cId="1942033937" sldId="2147478573"/>
            <ac:spMk id="830" creationId="{AED7C063-E8D4-63AA-6773-9D4864A6298C}"/>
          </ac:spMkLst>
        </pc:spChg>
        <pc:spChg chg="add del mod">
          <ac:chgData name="Steiner Andreas 6206 ED" userId="e6377c33-a923-4f14-8587-531c474c7b48" providerId="ADAL" clId="{6ECD27E6-B224-41CD-B4E0-E297462320DD}" dt="2023-11-24T11:36:14.980" v="127022"/>
          <ac:spMkLst>
            <pc:docMk/>
            <pc:sldMk cId="1942033937" sldId="2147478573"/>
            <ac:spMk id="831" creationId="{98BE57AF-FD9D-C119-A8C5-2E901D28CCB1}"/>
          </ac:spMkLst>
        </pc:spChg>
        <pc:spChg chg="add del mod">
          <ac:chgData name="Steiner Andreas 6206 ED" userId="e6377c33-a923-4f14-8587-531c474c7b48" providerId="ADAL" clId="{6ECD27E6-B224-41CD-B4E0-E297462320DD}" dt="2023-11-24T11:36:17.472" v="127177"/>
          <ac:spMkLst>
            <pc:docMk/>
            <pc:sldMk cId="1942033937" sldId="2147478573"/>
            <ac:spMk id="832" creationId="{41721175-D977-530D-88AD-EF09F9BC35F8}"/>
          </ac:spMkLst>
        </pc:spChg>
        <pc:spChg chg="add del mod">
          <ac:chgData name="Steiner Andreas 6206 ED" userId="e6377c33-a923-4f14-8587-531c474c7b48" providerId="ADAL" clId="{6ECD27E6-B224-41CD-B4E0-E297462320DD}" dt="2023-11-24T11:36:20.086" v="127332"/>
          <ac:spMkLst>
            <pc:docMk/>
            <pc:sldMk cId="1942033937" sldId="2147478573"/>
            <ac:spMk id="833" creationId="{9679FDBC-E7BA-C7A8-2EB9-F6947E2AA178}"/>
          </ac:spMkLst>
        </pc:spChg>
        <pc:spChg chg="add del mod">
          <ac:chgData name="Steiner Andreas 6206 ED" userId="e6377c33-a923-4f14-8587-531c474c7b48" providerId="ADAL" clId="{6ECD27E6-B224-41CD-B4E0-E297462320DD}" dt="2023-11-24T11:36:22.431" v="127487"/>
          <ac:spMkLst>
            <pc:docMk/>
            <pc:sldMk cId="1942033937" sldId="2147478573"/>
            <ac:spMk id="834" creationId="{FE0BB01B-E61E-C244-A81A-0B61C840E893}"/>
          </ac:spMkLst>
        </pc:spChg>
        <pc:spChg chg="add del mod">
          <ac:chgData name="Steiner Andreas 6206 ED" userId="e6377c33-a923-4f14-8587-531c474c7b48" providerId="ADAL" clId="{6ECD27E6-B224-41CD-B4E0-E297462320DD}" dt="2023-11-24T11:36:25.536" v="127642"/>
          <ac:spMkLst>
            <pc:docMk/>
            <pc:sldMk cId="1942033937" sldId="2147478573"/>
            <ac:spMk id="835" creationId="{CB19A384-1010-C696-5D54-5234364546F2}"/>
          </ac:spMkLst>
        </pc:spChg>
        <pc:spChg chg="add del mod">
          <ac:chgData name="Steiner Andreas 6206 ED" userId="e6377c33-a923-4f14-8587-531c474c7b48" providerId="ADAL" clId="{6ECD27E6-B224-41CD-B4E0-E297462320DD}" dt="2023-11-24T11:36:28.408" v="127797"/>
          <ac:spMkLst>
            <pc:docMk/>
            <pc:sldMk cId="1942033937" sldId="2147478573"/>
            <ac:spMk id="836" creationId="{111E062D-C6EB-60B2-ED94-51CAD960B693}"/>
          </ac:spMkLst>
        </pc:spChg>
        <pc:spChg chg="add del mod">
          <ac:chgData name="Steiner Andreas 6206 ED" userId="e6377c33-a923-4f14-8587-531c474c7b48" providerId="ADAL" clId="{6ECD27E6-B224-41CD-B4E0-E297462320DD}" dt="2023-11-24T11:36:31.071" v="127952"/>
          <ac:spMkLst>
            <pc:docMk/>
            <pc:sldMk cId="1942033937" sldId="2147478573"/>
            <ac:spMk id="837" creationId="{A63B4E5F-1907-FA3E-F537-AF428F989C1F}"/>
          </ac:spMkLst>
        </pc:spChg>
        <pc:spChg chg="add del mod">
          <ac:chgData name="Steiner Andreas 6206 ED" userId="e6377c33-a923-4f14-8587-531c474c7b48" providerId="ADAL" clId="{6ECD27E6-B224-41CD-B4E0-E297462320DD}" dt="2023-11-24T11:36:33.336" v="128107"/>
          <ac:spMkLst>
            <pc:docMk/>
            <pc:sldMk cId="1942033937" sldId="2147478573"/>
            <ac:spMk id="838" creationId="{4EB03AE1-49FA-9CAC-B5CC-F0C45B74C789}"/>
          </ac:spMkLst>
        </pc:spChg>
        <pc:spChg chg="add del mod">
          <ac:chgData name="Steiner Andreas 6206 ED" userId="e6377c33-a923-4f14-8587-531c474c7b48" providerId="ADAL" clId="{6ECD27E6-B224-41CD-B4E0-E297462320DD}" dt="2023-11-24T11:36:35.396" v="128262"/>
          <ac:spMkLst>
            <pc:docMk/>
            <pc:sldMk cId="1942033937" sldId="2147478573"/>
            <ac:spMk id="839" creationId="{25EA73C0-0341-ED9F-AC1C-01A30AD63DCE}"/>
          </ac:spMkLst>
        </pc:spChg>
        <pc:spChg chg="add del mod">
          <ac:chgData name="Steiner Andreas 6206 ED" userId="e6377c33-a923-4f14-8587-531c474c7b48" providerId="ADAL" clId="{6ECD27E6-B224-41CD-B4E0-E297462320DD}" dt="2023-11-24T11:36:37.488" v="128417"/>
          <ac:spMkLst>
            <pc:docMk/>
            <pc:sldMk cId="1942033937" sldId="2147478573"/>
            <ac:spMk id="840" creationId="{A8DEB2AC-0334-2EB0-9848-FCC31D5E2E0E}"/>
          </ac:spMkLst>
        </pc:spChg>
        <pc:spChg chg="add del mod">
          <ac:chgData name="Steiner Andreas 6206 ED" userId="e6377c33-a923-4f14-8587-531c474c7b48" providerId="ADAL" clId="{6ECD27E6-B224-41CD-B4E0-E297462320DD}" dt="2023-11-24T11:36:39.705" v="128572"/>
          <ac:spMkLst>
            <pc:docMk/>
            <pc:sldMk cId="1942033937" sldId="2147478573"/>
            <ac:spMk id="841" creationId="{2E125277-78F2-3888-65AD-698C70579995}"/>
          </ac:spMkLst>
        </pc:spChg>
        <pc:spChg chg="add del mod">
          <ac:chgData name="Steiner Andreas 6206 ED" userId="e6377c33-a923-4f14-8587-531c474c7b48" providerId="ADAL" clId="{6ECD27E6-B224-41CD-B4E0-E297462320DD}" dt="2023-11-24T11:36:42.267" v="128727"/>
          <ac:spMkLst>
            <pc:docMk/>
            <pc:sldMk cId="1942033937" sldId="2147478573"/>
            <ac:spMk id="842" creationId="{16859E90-A273-F9C0-102A-D0AC7FE0B159}"/>
          </ac:spMkLst>
        </pc:spChg>
        <pc:spChg chg="add del mod">
          <ac:chgData name="Steiner Andreas 6206 ED" userId="e6377c33-a923-4f14-8587-531c474c7b48" providerId="ADAL" clId="{6ECD27E6-B224-41CD-B4E0-E297462320DD}" dt="2023-11-24T11:36:44.573" v="128882"/>
          <ac:spMkLst>
            <pc:docMk/>
            <pc:sldMk cId="1942033937" sldId="2147478573"/>
            <ac:spMk id="843" creationId="{7DF9FF16-71A9-118E-BD79-439BFF2C6C0E}"/>
          </ac:spMkLst>
        </pc:spChg>
        <pc:spChg chg="add del mod">
          <ac:chgData name="Steiner Andreas 6206 ED" userId="e6377c33-a923-4f14-8587-531c474c7b48" providerId="ADAL" clId="{6ECD27E6-B224-41CD-B4E0-E297462320DD}" dt="2023-11-24T11:36:46.556" v="129037"/>
          <ac:spMkLst>
            <pc:docMk/>
            <pc:sldMk cId="1942033937" sldId="2147478573"/>
            <ac:spMk id="844" creationId="{36290901-FC49-2259-C54F-F1D536BD2D94}"/>
          </ac:spMkLst>
        </pc:spChg>
        <pc:spChg chg="add del mod">
          <ac:chgData name="Steiner Andreas 6206 ED" userId="e6377c33-a923-4f14-8587-531c474c7b48" providerId="ADAL" clId="{6ECD27E6-B224-41CD-B4E0-E297462320DD}" dt="2023-11-24T11:36:48.518" v="129192"/>
          <ac:spMkLst>
            <pc:docMk/>
            <pc:sldMk cId="1942033937" sldId="2147478573"/>
            <ac:spMk id="845" creationId="{7EAC1BAE-EC4B-CC6C-D096-46F6A5511ADB}"/>
          </ac:spMkLst>
        </pc:spChg>
        <pc:spChg chg="add del mod">
          <ac:chgData name="Steiner Andreas 6206 ED" userId="e6377c33-a923-4f14-8587-531c474c7b48" providerId="ADAL" clId="{6ECD27E6-B224-41CD-B4E0-E297462320DD}" dt="2023-11-24T11:36:50.491" v="129347"/>
          <ac:spMkLst>
            <pc:docMk/>
            <pc:sldMk cId="1942033937" sldId="2147478573"/>
            <ac:spMk id="846" creationId="{D7F92D2A-155E-726E-32B4-43B8E97A71F9}"/>
          </ac:spMkLst>
        </pc:spChg>
        <pc:spChg chg="add del mod">
          <ac:chgData name="Steiner Andreas 6206 ED" userId="e6377c33-a923-4f14-8587-531c474c7b48" providerId="ADAL" clId="{6ECD27E6-B224-41CD-B4E0-E297462320DD}" dt="2023-11-24T11:36:52.629" v="129502"/>
          <ac:spMkLst>
            <pc:docMk/>
            <pc:sldMk cId="1942033937" sldId="2147478573"/>
            <ac:spMk id="847" creationId="{4A165555-DE45-0952-7602-FBDAAF810041}"/>
          </ac:spMkLst>
        </pc:spChg>
        <pc:spChg chg="add del mod">
          <ac:chgData name="Steiner Andreas 6206 ED" userId="e6377c33-a923-4f14-8587-531c474c7b48" providerId="ADAL" clId="{6ECD27E6-B224-41CD-B4E0-E297462320DD}" dt="2023-11-24T11:36:55.493" v="129657"/>
          <ac:spMkLst>
            <pc:docMk/>
            <pc:sldMk cId="1942033937" sldId="2147478573"/>
            <ac:spMk id="848" creationId="{FDB77DCC-F633-9B2A-52CB-036647AF64C6}"/>
          </ac:spMkLst>
        </pc:spChg>
        <pc:spChg chg="add del mod">
          <ac:chgData name="Steiner Andreas 6206 ED" userId="e6377c33-a923-4f14-8587-531c474c7b48" providerId="ADAL" clId="{6ECD27E6-B224-41CD-B4E0-E297462320DD}" dt="2023-11-24T11:36:57.727" v="129812"/>
          <ac:spMkLst>
            <pc:docMk/>
            <pc:sldMk cId="1942033937" sldId="2147478573"/>
            <ac:spMk id="849" creationId="{D837039B-B262-E84F-4B31-875B6DF17535}"/>
          </ac:spMkLst>
        </pc:spChg>
        <pc:spChg chg="add del mod">
          <ac:chgData name="Steiner Andreas 6206 ED" userId="e6377c33-a923-4f14-8587-531c474c7b48" providerId="ADAL" clId="{6ECD27E6-B224-41CD-B4E0-E297462320DD}" dt="2023-11-24T11:37:00.103" v="129967"/>
          <ac:spMkLst>
            <pc:docMk/>
            <pc:sldMk cId="1942033937" sldId="2147478573"/>
            <ac:spMk id="850" creationId="{DD65C0AF-ECF9-C847-0398-7922C9B83EF8}"/>
          </ac:spMkLst>
        </pc:spChg>
        <pc:spChg chg="add del mod">
          <ac:chgData name="Steiner Andreas 6206 ED" userId="e6377c33-a923-4f14-8587-531c474c7b48" providerId="ADAL" clId="{6ECD27E6-B224-41CD-B4E0-E297462320DD}" dt="2023-11-24T11:37:01.936" v="130122"/>
          <ac:spMkLst>
            <pc:docMk/>
            <pc:sldMk cId="1942033937" sldId="2147478573"/>
            <ac:spMk id="851" creationId="{7F3E734C-4B45-0ABA-CD31-CCC603409E0D}"/>
          </ac:spMkLst>
        </pc:spChg>
        <pc:spChg chg="add del mod">
          <ac:chgData name="Steiner Andreas 6206 ED" userId="e6377c33-a923-4f14-8587-531c474c7b48" providerId="ADAL" clId="{6ECD27E6-B224-41CD-B4E0-E297462320DD}" dt="2023-11-24T11:37:03.674" v="130277"/>
          <ac:spMkLst>
            <pc:docMk/>
            <pc:sldMk cId="1942033937" sldId="2147478573"/>
            <ac:spMk id="852" creationId="{FFE78699-5551-2821-C742-D0C1E490B01D}"/>
          </ac:spMkLst>
        </pc:spChg>
        <pc:spChg chg="add del mod">
          <ac:chgData name="Steiner Andreas 6206 ED" userId="e6377c33-a923-4f14-8587-531c474c7b48" providerId="ADAL" clId="{6ECD27E6-B224-41CD-B4E0-E297462320DD}" dt="2023-11-24T11:37:05.563" v="130432"/>
          <ac:spMkLst>
            <pc:docMk/>
            <pc:sldMk cId="1942033937" sldId="2147478573"/>
            <ac:spMk id="853" creationId="{148E9344-85AB-A43C-CC9B-BB7F67EBF98A}"/>
          </ac:spMkLst>
        </pc:spChg>
        <pc:spChg chg="add del mod">
          <ac:chgData name="Steiner Andreas 6206 ED" userId="e6377c33-a923-4f14-8587-531c474c7b48" providerId="ADAL" clId="{6ECD27E6-B224-41CD-B4E0-E297462320DD}" dt="2023-11-24T11:37:07.311" v="130587"/>
          <ac:spMkLst>
            <pc:docMk/>
            <pc:sldMk cId="1942033937" sldId="2147478573"/>
            <ac:spMk id="854" creationId="{F89E1397-12E0-1696-7F4C-13B2A2973722}"/>
          </ac:spMkLst>
        </pc:spChg>
        <pc:spChg chg="add del mod">
          <ac:chgData name="Steiner Andreas 6206 ED" userId="e6377c33-a923-4f14-8587-531c474c7b48" providerId="ADAL" clId="{6ECD27E6-B224-41CD-B4E0-E297462320DD}" dt="2023-11-24T11:37:09.047" v="130742"/>
          <ac:spMkLst>
            <pc:docMk/>
            <pc:sldMk cId="1942033937" sldId="2147478573"/>
            <ac:spMk id="855" creationId="{0A877EDB-6089-447F-60B2-920AFF7607E5}"/>
          </ac:spMkLst>
        </pc:spChg>
        <pc:spChg chg="add del mod">
          <ac:chgData name="Steiner Andreas 6206 ED" userId="e6377c33-a923-4f14-8587-531c474c7b48" providerId="ADAL" clId="{6ECD27E6-B224-41CD-B4E0-E297462320DD}" dt="2023-11-24T11:37:10.707" v="130897"/>
          <ac:spMkLst>
            <pc:docMk/>
            <pc:sldMk cId="1942033937" sldId="2147478573"/>
            <ac:spMk id="856" creationId="{E1A9063C-535D-1F91-B30C-E781E0116EA6}"/>
          </ac:spMkLst>
        </pc:spChg>
        <pc:spChg chg="add del mod">
          <ac:chgData name="Steiner Andreas 6206 ED" userId="e6377c33-a923-4f14-8587-531c474c7b48" providerId="ADAL" clId="{6ECD27E6-B224-41CD-B4E0-E297462320DD}" dt="2023-11-24T11:37:12.409" v="131052"/>
          <ac:spMkLst>
            <pc:docMk/>
            <pc:sldMk cId="1942033937" sldId="2147478573"/>
            <ac:spMk id="857" creationId="{2236334A-DB2B-1D13-38C1-AC3A43FF4B35}"/>
          </ac:spMkLst>
        </pc:spChg>
        <pc:spChg chg="add del mod">
          <ac:chgData name="Steiner Andreas 6206 ED" userId="e6377c33-a923-4f14-8587-531c474c7b48" providerId="ADAL" clId="{6ECD27E6-B224-41CD-B4E0-E297462320DD}" dt="2023-11-24T11:37:14.084" v="131207"/>
          <ac:spMkLst>
            <pc:docMk/>
            <pc:sldMk cId="1942033937" sldId="2147478573"/>
            <ac:spMk id="858" creationId="{8AD91107-85ED-AEFA-AF5E-4F78E13B40DB}"/>
          </ac:spMkLst>
        </pc:spChg>
        <pc:spChg chg="add del mod">
          <ac:chgData name="Steiner Andreas 6206 ED" userId="e6377c33-a923-4f14-8587-531c474c7b48" providerId="ADAL" clId="{6ECD27E6-B224-41CD-B4E0-E297462320DD}" dt="2023-11-24T11:37:16.094" v="131362"/>
          <ac:spMkLst>
            <pc:docMk/>
            <pc:sldMk cId="1942033937" sldId="2147478573"/>
            <ac:spMk id="859" creationId="{B48762EC-29DF-C5A5-64D9-36BA0FE917A3}"/>
          </ac:spMkLst>
        </pc:spChg>
        <pc:spChg chg="add del mod">
          <ac:chgData name="Steiner Andreas 6206 ED" userId="e6377c33-a923-4f14-8587-531c474c7b48" providerId="ADAL" clId="{6ECD27E6-B224-41CD-B4E0-E297462320DD}" dt="2023-11-24T11:37:18.090" v="131517"/>
          <ac:spMkLst>
            <pc:docMk/>
            <pc:sldMk cId="1942033937" sldId="2147478573"/>
            <ac:spMk id="860" creationId="{FDA02043-D2A4-CF53-9FC0-A7C05ECB506B}"/>
          </ac:spMkLst>
        </pc:spChg>
        <pc:spChg chg="add del mod">
          <ac:chgData name="Steiner Andreas 6206 ED" userId="e6377c33-a923-4f14-8587-531c474c7b48" providerId="ADAL" clId="{6ECD27E6-B224-41CD-B4E0-E297462320DD}" dt="2023-11-24T11:37:19.992" v="131672"/>
          <ac:spMkLst>
            <pc:docMk/>
            <pc:sldMk cId="1942033937" sldId="2147478573"/>
            <ac:spMk id="861" creationId="{5A17000E-9FCF-3A9F-0195-3392BF921B12}"/>
          </ac:spMkLst>
        </pc:spChg>
        <pc:spChg chg="add del mod">
          <ac:chgData name="Steiner Andreas 6206 ED" userId="e6377c33-a923-4f14-8587-531c474c7b48" providerId="ADAL" clId="{6ECD27E6-B224-41CD-B4E0-E297462320DD}" dt="2023-11-24T11:37:21.901" v="131827"/>
          <ac:spMkLst>
            <pc:docMk/>
            <pc:sldMk cId="1942033937" sldId="2147478573"/>
            <ac:spMk id="862" creationId="{ADA22A04-2B98-6F61-56A9-4E1333FDCA18}"/>
          </ac:spMkLst>
        </pc:spChg>
        <pc:spChg chg="add del mod">
          <ac:chgData name="Steiner Andreas 6206 ED" userId="e6377c33-a923-4f14-8587-531c474c7b48" providerId="ADAL" clId="{6ECD27E6-B224-41CD-B4E0-E297462320DD}" dt="2023-11-24T11:37:23.678" v="131982"/>
          <ac:spMkLst>
            <pc:docMk/>
            <pc:sldMk cId="1942033937" sldId="2147478573"/>
            <ac:spMk id="863" creationId="{1C8086F0-2818-EAB9-63D9-EEBC636EA884}"/>
          </ac:spMkLst>
        </pc:spChg>
        <pc:spChg chg="add del mod">
          <ac:chgData name="Steiner Andreas 6206 ED" userId="e6377c33-a923-4f14-8587-531c474c7b48" providerId="ADAL" clId="{6ECD27E6-B224-41CD-B4E0-E297462320DD}" dt="2023-11-24T11:37:25.397" v="132137"/>
          <ac:spMkLst>
            <pc:docMk/>
            <pc:sldMk cId="1942033937" sldId="2147478573"/>
            <ac:spMk id="864" creationId="{D05E240E-39F0-C694-5149-7E947B980027}"/>
          </ac:spMkLst>
        </pc:spChg>
        <pc:spChg chg="add del mod">
          <ac:chgData name="Steiner Andreas 6206 ED" userId="e6377c33-a923-4f14-8587-531c474c7b48" providerId="ADAL" clId="{6ECD27E6-B224-41CD-B4E0-E297462320DD}" dt="2023-11-24T11:37:27.345" v="132292"/>
          <ac:spMkLst>
            <pc:docMk/>
            <pc:sldMk cId="1942033937" sldId="2147478573"/>
            <ac:spMk id="865" creationId="{4A52AFBD-7ADF-4A3E-81E7-D3C0812A1773}"/>
          </ac:spMkLst>
        </pc:spChg>
        <pc:spChg chg="add del mod">
          <ac:chgData name="Steiner Andreas 6206 ED" userId="e6377c33-a923-4f14-8587-531c474c7b48" providerId="ADAL" clId="{6ECD27E6-B224-41CD-B4E0-E297462320DD}" dt="2023-11-24T11:37:30.010" v="132447"/>
          <ac:spMkLst>
            <pc:docMk/>
            <pc:sldMk cId="1942033937" sldId="2147478573"/>
            <ac:spMk id="866" creationId="{E3D8FB12-D5CB-0470-DA27-59A5C0D1E747}"/>
          </ac:spMkLst>
        </pc:spChg>
        <pc:spChg chg="add del mod">
          <ac:chgData name="Steiner Andreas 6206 ED" userId="e6377c33-a923-4f14-8587-531c474c7b48" providerId="ADAL" clId="{6ECD27E6-B224-41CD-B4E0-E297462320DD}" dt="2023-11-24T11:37:32.617" v="132602"/>
          <ac:spMkLst>
            <pc:docMk/>
            <pc:sldMk cId="1942033937" sldId="2147478573"/>
            <ac:spMk id="867" creationId="{128EF75D-D6FD-4735-7E75-348CD348326B}"/>
          </ac:spMkLst>
        </pc:spChg>
        <pc:spChg chg="add del mod">
          <ac:chgData name="Steiner Andreas 6206 ED" userId="e6377c33-a923-4f14-8587-531c474c7b48" providerId="ADAL" clId="{6ECD27E6-B224-41CD-B4E0-E297462320DD}" dt="2023-11-24T11:37:35.523" v="132757"/>
          <ac:spMkLst>
            <pc:docMk/>
            <pc:sldMk cId="1942033937" sldId="2147478573"/>
            <ac:spMk id="868" creationId="{5E9A3F3D-D935-A791-9F79-74C7F4220AF8}"/>
          </ac:spMkLst>
        </pc:spChg>
        <pc:spChg chg="add del mod">
          <ac:chgData name="Steiner Andreas 6206 ED" userId="e6377c33-a923-4f14-8587-531c474c7b48" providerId="ADAL" clId="{6ECD27E6-B224-41CD-B4E0-E297462320DD}" dt="2023-11-24T11:37:38.214" v="132912"/>
          <ac:spMkLst>
            <pc:docMk/>
            <pc:sldMk cId="1942033937" sldId="2147478573"/>
            <ac:spMk id="869" creationId="{305E6942-696F-9A22-995B-44E8F0130F65}"/>
          </ac:spMkLst>
        </pc:spChg>
        <pc:spChg chg="add del mod">
          <ac:chgData name="Steiner Andreas 6206 ED" userId="e6377c33-a923-4f14-8587-531c474c7b48" providerId="ADAL" clId="{6ECD27E6-B224-41CD-B4E0-E297462320DD}" dt="2023-11-24T11:37:40.790" v="133067"/>
          <ac:spMkLst>
            <pc:docMk/>
            <pc:sldMk cId="1942033937" sldId="2147478573"/>
            <ac:spMk id="870" creationId="{69830138-C6D6-1CC9-6C4E-19C6A76BF98C}"/>
          </ac:spMkLst>
        </pc:spChg>
        <pc:spChg chg="add del mod">
          <ac:chgData name="Steiner Andreas 6206 ED" userId="e6377c33-a923-4f14-8587-531c474c7b48" providerId="ADAL" clId="{6ECD27E6-B224-41CD-B4E0-E297462320DD}" dt="2023-11-24T11:37:43.728" v="133222"/>
          <ac:spMkLst>
            <pc:docMk/>
            <pc:sldMk cId="1942033937" sldId="2147478573"/>
            <ac:spMk id="871" creationId="{1EB762C2-4AD9-49BD-CB9D-E95BC37E947F}"/>
          </ac:spMkLst>
        </pc:spChg>
        <pc:spChg chg="add del mod">
          <ac:chgData name="Steiner Andreas 6206 ED" userId="e6377c33-a923-4f14-8587-531c474c7b48" providerId="ADAL" clId="{6ECD27E6-B224-41CD-B4E0-E297462320DD}" dt="2023-11-24T11:37:47.788" v="133377"/>
          <ac:spMkLst>
            <pc:docMk/>
            <pc:sldMk cId="1942033937" sldId="2147478573"/>
            <ac:spMk id="872" creationId="{6209D222-6736-A4EB-6FB2-E3841713A383}"/>
          </ac:spMkLst>
        </pc:spChg>
        <pc:spChg chg="add del mod">
          <ac:chgData name="Steiner Andreas 6206 ED" userId="e6377c33-a923-4f14-8587-531c474c7b48" providerId="ADAL" clId="{6ECD27E6-B224-41CD-B4E0-E297462320DD}" dt="2023-11-24T11:37:51.053" v="133532"/>
          <ac:spMkLst>
            <pc:docMk/>
            <pc:sldMk cId="1942033937" sldId="2147478573"/>
            <ac:spMk id="873" creationId="{D4AA0F79-C637-AA4B-1B49-6CD1C18CFE2A}"/>
          </ac:spMkLst>
        </pc:spChg>
        <pc:spChg chg="add del mod">
          <ac:chgData name="Steiner Andreas 6206 ED" userId="e6377c33-a923-4f14-8587-531c474c7b48" providerId="ADAL" clId="{6ECD27E6-B224-41CD-B4E0-E297462320DD}" dt="2023-11-24T11:37:54.004" v="133687"/>
          <ac:spMkLst>
            <pc:docMk/>
            <pc:sldMk cId="1942033937" sldId="2147478573"/>
            <ac:spMk id="874" creationId="{5C7ECF2B-D797-CAF1-9C93-14F826679FB9}"/>
          </ac:spMkLst>
        </pc:spChg>
        <pc:spChg chg="add del mod">
          <ac:chgData name="Steiner Andreas 6206 ED" userId="e6377c33-a923-4f14-8587-531c474c7b48" providerId="ADAL" clId="{6ECD27E6-B224-41CD-B4E0-E297462320DD}" dt="2023-11-24T11:37:56.346" v="133842"/>
          <ac:spMkLst>
            <pc:docMk/>
            <pc:sldMk cId="1942033937" sldId="2147478573"/>
            <ac:spMk id="875" creationId="{3B5C0E83-D62C-87D5-E3B7-8EE6E735F43D}"/>
          </ac:spMkLst>
        </pc:spChg>
        <pc:spChg chg="add del mod">
          <ac:chgData name="Steiner Andreas 6206 ED" userId="e6377c33-a923-4f14-8587-531c474c7b48" providerId="ADAL" clId="{6ECD27E6-B224-41CD-B4E0-E297462320DD}" dt="2023-11-24T11:37:58.959" v="133997"/>
          <ac:spMkLst>
            <pc:docMk/>
            <pc:sldMk cId="1942033937" sldId="2147478573"/>
            <ac:spMk id="876" creationId="{0AED6E18-9F6A-606B-76E8-597B8777F4AE}"/>
          </ac:spMkLst>
        </pc:spChg>
        <pc:spChg chg="add del mod">
          <ac:chgData name="Steiner Andreas 6206 ED" userId="e6377c33-a923-4f14-8587-531c474c7b48" providerId="ADAL" clId="{6ECD27E6-B224-41CD-B4E0-E297462320DD}" dt="2023-11-24T11:38:01.230" v="134152"/>
          <ac:spMkLst>
            <pc:docMk/>
            <pc:sldMk cId="1942033937" sldId="2147478573"/>
            <ac:spMk id="877" creationId="{336DDAAD-D84A-8953-15D0-79FB3EC52D10}"/>
          </ac:spMkLst>
        </pc:spChg>
        <pc:spChg chg="add del mod">
          <ac:chgData name="Steiner Andreas 6206 ED" userId="e6377c33-a923-4f14-8587-531c474c7b48" providerId="ADAL" clId="{6ECD27E6-B224-41CD-B4E0-E297462320DD}" dt="2023-11-24T11:38:03.779" v="134307"/>
          <ac:spMkLst>
            <pc:docMk/>
            <pc:sldMk cId="1942033937" sldId="2147478573"/>
            <ac:spMk id="878" creationId="{743D12CE-BD7C-982E-87D1-17D9CE25675E}"/>
          </ac:spMkLst>
        </pc:spChg>
        <pc:spChg chg="add del mod">
          <ac:chgData name="Steiner Andreas 6206 ED" userId="e6377c33-a923-4f14-8587-531c474c7b48" providerId="ADAL" clId="{6ECD27E6-B224-41CD-B4E0-E297462320DD}" dt="2023-11-24T11:38:06.091" v="134462"/>
          <ac:spMkLst>
            <pc:docMk/>
            <pc:sldMk cId="1942033937" sldId="2147478573"/>
            <ac:spMk id="879" creationId="{F6015281-30A5-FA88-38C3-B5748CFF34C9}"/>
          </ac:spMkLst>
        </pc:spChg>
        <pc:spChg chg="add del mod">
          <ac:chgData name="Steiner Andreas 6206 ED" userId="e6377c33-a923-4f14-8587-531c474c7b48" providerId="ADAL" clId="{6ECD27E6-B224-41CD-B4E0-E297462320DD}" dt="2023-11-24T11:38:08.873" v="134617"/>
          <ac:spMkLst>
            <pc:docMk/>
            <pc:sldMk cId="1942033937" sldId="2147478573"/>
            <ac:spMk id="880" creationId="{DB32890F-1CA1-8855-D436-3F7758A67335}"/>
          </ac:spMkLst>
        </pc:spChg>
        <pc:spChg chg="add del mod">
          <ac:chgData name="Steiner Andreas 6206 ED" userId="e6377c33-a923-4f14-8587-531c474c7b48" providerId="ADAL" clId="{6ECD27E6-B224-41CD-B4E0-E297462320DD}" dt="2023-11-24T11:38:11.860" v="134772"/>
          <ac:spMkLst>
            <pc:docMk/>
            <pc:sldMk cId="1942033937" sldId="2147478573"/>
            <ac:spMk id="881" creationId="{8B52FFA2-6639-DA58-0650-A6FF46150A9C}"/>
          </ac:spMkLst>
        </pc:spChg>
        <pc:spChg chg="add del mod">
          <ac:chgData name="Steiner Andreas 6206 ED" userId="e6377c33-a923-4f14-8587-531c474c7b48" providerId="ADAL" clId="{6ECD27E6-B224-41CD-B4E0-E297462320DD}" dt="2023-11-24T11:38:14.080" v="134927"/>
          <ac:spMkLst>
            <pc:docMk/>
            <pc:sldMk cId="1942033937" sldId="2147478573"/>
            <ac:spMk id="882" creationId="{91D89FF6-F84D-E80A-47F8-72F8612ADE49}"/>
          </ac:spMkLst>
        </pc:spChg>
        <pc:spChg chg="add del mod">
          <ac:chgData name="Steiner Andreas 6206 ED" userId="e6377c33-a923-4f14-8587-531c474c7b48" providerId="ADAL" clId="{6ECD27E6-B224-41CD-B4E0-E297462320DD}" dt="2023-11-24T11:38:16.579" v="135082"/>
          <ac:spMkLst>
            <pc:docMk/>
            <pc:sldMk cId="1942033937" sldId="2147478573"/>
            <ac:spMk id="883" creationId="{49F85DA4-4267-8A8D-705D-43AAF4BCBE8A}"/>
          </ac:spMkLst>
        </pc:spChg>
        <pc:spChg chg="add del mod">
          <ac:chgData name="Steiner Andreas 6206 ED" userId="e6377c33-a923-4f14-8587-531c474c7b48" providerId="ADAL" clId="{6ECD27E6-B224-41CD-B4E0-E297462320DD}" dt="2023-11-24T11:38:19.241" v="135237"/>
          <ac:spMkLst>
            <pc:docMk/>
            <pc:sldMk cId="1942033937" sldId="2147478573"/>
            <ac:spMk id="884" creationId="{FD13C1B1-0736-487B-ECB4-6D354E9D38D3}"/>
          </ac:spMkLst>
        </pc:spChg>
        <pc:spChg chg="add del mod">
          <ac:chgData name="Steiner Andreas 6206 ED" userId="e6377c33-a923-4f14-8587-531c474c7b48" providerId="ADAL" clId="{6ECD27E6-B224-41CD-B4E0-E297462320DD}" dt="2023-11-24T11:38:21.939" v="135392"/>
          <ac:spMkLst>
            <pc:docMk/>
            <pc:sldMk cId="1942033937" sldId="2147478573"/>
            <ac:spMk id="885" creationId="{CBE0FF58-4190-73D4-45A1-750954C4AD00}"/>
          </ac:spMkLst>
        </pc:spChg>
        <pc:spChg chg="add del mod">
          <ac:chgData name="Steiner Andreas 6206 ED" userId="e6377c33-a923-4f14-8587-531c474c7b48" providerId="ADAL" clId="{6ECD27E6-B224-41CD-B4E0-E297462320DD}" dt="2023-11-24T11:38:24.788" v="135547"/>
          <ac:spMkLst>
            <pc:docMk/>
            <pc:sldMk cId="1942033937" sldId="2147478573"/>
            <ac:spMk id="886" creationId="{EAC7EB20-3CCE-4B47-6B0B-1BF27FA2BD3D}"/>
          </ac:spMkLst>
        </pc:spChg>
        <pc:spChg chg="add del mod">
          <ac:chgData name="Steiner Andreas 6206 ED" userId="e6377c33-a923-4f14-8587-531c474c7b48" providerId="ADAL" clId="{6ECD27E6-B224-41CD-B4E0-E297462320DD}" dt="2023-11-24T11:38:27.561" v="135702"/>
          <ac:spMkLst>
            <pc:docMk/>
            <pc:sldMk cId="1942033937" sldId="2147478573"/>
            <ac:spMk id="887" creationId="{C48C6AD0-B93F-0ADE-E084-291857F20355}"/>
          </ac:spMkLst>
        </pc:spChg>
        <pc:spChg chg="add del mod">
          <ac:chgData name="Steiner Andreas 6206 ED" userId="e6377c33-a923-4f14-8587-531c474c7b48" providerId="ADAL" clId="{6ECD27E6-B224-41CD-B4E0-E297462320DD}" dt="2023-11-24T11:38:30.190" v="135857"/>
          <ac:spMkLst>
            <pc:docMk/>
            <pc:sldMk cId="1942033937" sldId="2147478573"/>
            <ac:spMk id="888" creationId="{34B7A7E7-005C-F048-2FF2-7724CE154041}"/>
          </ac:spMkLst>
        </pc:spChg>
        <pc:spChg chg="add del mod">
          <ac:chgData name="Steiner Andreas 6206 ED" userId="e6377c33-a923-4f14-8587-531c474c7b48" providerId="ADAL" clId="{6ECD27E6-B224-41CD-B4E0-E297462320DD}" dt="2023-11-24T11:38:32.563" v="136012"/>
          <ac:spMkLst>
            <pc:docMk/>
            <pc:sldMk cId="1942033937" sldId="2147478573"/>
            <ac:spMk id="889" creationId="{23F81C0A-E8F8-ADBD-FEF5-FCA8CA3C9A81}"/>
          </ac:spMkLst>
        </pc:spChg>
        <pc:spChg chg="add del mod">
          <ac:chgData name="Steiner Andreas 6206 ED" userId="e6377c33-a923-4f14-8587-531c474c7b48" providerId="ADAL" clId="{6ECD27E6-B224-41CD-B4E0-E297462320DD}" dt="2023-11-24T11:38:35.067" v="136167"/>
          <ac:spMkLst>
            <pc:docMk/>
            <pc:sldMk cId="1942033937" sldId="2147478573"/>
            <ac:spMk id="890" creationId="{7D158F8F-5A4B-D7A8-9D3C-760C1F71FD0F}"/>
          </ac:spMkLst>
        </pc:spChg>
        <pc:spChg chg="add del mod">
          <ac:chgData name="Steiner Andreas 6206 ED" userId="e6377c33-a923-4f14-8587-531c474c7b48" providerId="ADAL" clId="{6ECD27E6-B224-41CD-B4E0-E297462320DD}" dt="2023-11-24T11:38:37.737" v="136322"/>
          <ac:spMkLst>
            <pc:docMk/>
            <pc:sldMk cId="1942033937" sldId="2147478573"/>
            <ac:spMk id="891" creationId="{0B5376AB-C9CC-D9A4-2740-61DF6C733389}"/>
          </ac:spMkLst>
        </pc:spChg>
        <pc:spChg chg="add del mod">
          <ac:chgData name="Steiner Andreas 6206 ED" userId="e6377c33-a923-4f14-8587-531c474c7b48" providerId="ADAL" clId="{6ECD27E6-B224-41CD-B4E0-E297462320DD}" dt="2023-11-24T11:38:40.470" v="136477"/>
          <ac:spMkLst>
            <pc:docMk/>
            <pc:sldMk cId="1942033937" sldId="2147478573"/>
            <ac:spMk id="892" creationId="{FFE4F07D-E985-8ED3-1F26-CE186F82FF56}"/>
          </ac:spMkLst>
        </pc:spChg>
        <pc:spChg chg="add del mod">
          <ac:chgData name="Steiner Andreas 6206 ED" userId="e6377c33-a923-4f14-8587-531c474c7b48" providerId="ADAL" clId="{6ECD27E6-B224-41CD-B4E0-E297462320DD}" dt="2023-11-24T11:38:42.862" v="136632"/>
          <ac:spMkLst>
            <pc:docMk/>
            <pc:sldMk cId="1942033937" sldId="2147478573"/>
            <ac:spMk id="893" creationId="{34275595-0CF0-84B8-9A4E-7DC14B949D32}"/>
          </ac:spMkLst>
        </pc:spChg>
        <pc:spChg chg="add del mod">
          <ac:chgData name="Steiner Andreas 6206 ED" userId="e6377c33-a923-4f14-8587-531c474c7b48" providerId="ADAL" clId="{6ECD27E6-B224-41CD-B4E0-E297462320DD}" dt="2023-11-24T11:38:45.242" v="136787"/>
          <ac:spMkLst>
            <pc:docMk/>
            <pc:sldMk cId="1942033937" sldId="2147478573"/>
            <ac:spMk id="894" creationId="{CA93C2AC-BC1E-19E4-1E0A-0BDC62810491}"/>
          </ac:spMkLst>
        </pc:spChg>
        <pc:spChg chg="add del mod">
          <ac:chgData name="Steiner Andreas 6206 ED" userId="e6377c33-a923-4f14-8587-531c474c7b48" providerId="ADAL" clId="{6ECD27E6-B224-41CD-B4E0-E297462320DD}" dt="2023-11-24T11:38:47.614" v="136942"/>
          <ac:spMkLst>
            <pc:docMk/>
            <pc:sldMk cId="1942033937" sldId="2147478573"/>
            <ac:spMk id="895" creationId="{A4255B10-16D3-02D6-B963-D673C059B384}"/>
          </ac:spMkLst>
        </pc:spChg>
        <pc:spChg chg="add del mod">
          <ac:chgData name="Steiner Andreas 6206 ED" userId="e6377c33-a923-4f14-8587-531c474c7b48" providerId="ADAL" clId="{6ECD27E6-B224-41CD-B4E0-E297462320DD}" dt="2023-11-24T11:38:50.614" v="137097"/>
          <ac:spMkLst>
            <pc:docMk/>
            <pc:sldMk cId="1942033937" sldId="2147478573"/>
            <ac:spMk id="896" creationId="{B575F4BB-6203-16E6-4EA9-7626EF6B4875}"/>
          </ac:spMkLst>
        </pc:spChg>
        <pc:spChg chg="add del mod">
          <ac:chgData name="Steiner Andreas 6206 ED" userId="e6377c33-a923-4f14-8587-531c474c7b48" providerId="ADAL" clId="{6ECD27E6-B224-41CD-B4E0-E297462320DD}" dt="2023-11-24T11:38:53.051" v="137252"/>
          <ac:spMkLst>
            <pc:docMk/>
            <pc:sldMk cId="1942033937" sldId="2147478573"/>
            <ac:spMk id="897" creationId="{D49013AF-A8F4-C612-05D2-41319C0E5548}"/>
          </ac:spMkLst>
        </pc:spChg>
        <pc:spChg chg="add del mod">
          <ac:chgData name="Steiner Andreas 6206 ED" userId="e6377c33-a923-4f14-8587-531c474c7b48" providerId="ADAL" clId="{6ECD27E6-B224-41CD-B4E0-E297462320DD}" dt="2023-11-24T11:38:55.537" v="137407"/>
          <ac:spMkLst>
            <pc:docMk/>
            <pc:sldMk cId="1942033937" sldId="2147478573"/>
            <ac:spMk id="898" creationId="{4D57DFA2-9893-9173-9A78-A0582C9D9F22}"/>
          </ac:spMkLst>
        </pc:spChg>
        <pc:spChg chg="add del mod">
          <ac:chgData name="Steiner Andreas 6206 ED" userId="e6377c33-a923-4f14-8587-531c474c7b48" providerId="ADAL" clId="{6ECD27E6-B224-41CD-B4E0-E297462320DD}" dt="2023-11-24T11:38:58.139" v="137562"/>
          <ac:spMkLst>
            <pc:docMk/>
            <pc:sldMk cId="1942033937" sldId="2147478573"/>
            <ac:spMk id="899" creationId="{ABBA6713-B403-AA72-A742-6BDB405FF89F}"/>
          </ac:spMkLst>
        </pc:spChg>
        <pc:spChg chg="add del mod">
          <ac:chgData name="Steiner Andreas 6206 ED" userId="e6377c33-a923-4f14-8587-531c474c7b48" providerId="ADAL" clId="{6ECD27E6-B224-41CD-B4E0-E297462320DD}" dt="2023-11-24T11:39:00.374" v="137717"/>
          <ac:spMkLst>
            <pc:docMk/>
            <pc:sldMk cId="1942033937" sldId="2147478573"/>
            <ac:spMk id="900" creationId="{C100A7DA-EA73-D249-4D77-0797D9B4C1BD}"/>
          </ac:spMkLst>
        </pc:spChg>
        <pc:spChg chg="add del mod">
          <ac:chgData name="Steiner Andreas 6206 ED" userId="e6377c33-a923-4f14-8587-531c474c7b48" providerId="ADAL" clId="{6ECD27E6-B224-41CD-B4E0-E297462320DD}" dt="2023-11-24T11:39:03.369" v="137872"/>
          <ac:spMkLst>
            <pc:docMk/>
            <pc:sldMk cId="1942033937" sldId="2147478573"/>
            <ac:spMk id="901" creationId="{397AB409-936F-2205-76BA-226470C06971}"/>
          </ac:spMkLst>
        </pc:spChg>
        <pc:spChg chg="add del mod">
          <ac:chgData name="Steiner Andreas 6206 ED" userId="e6377c33-a923-4f14-8587-531c474c7b48" providerId="ADAL" clId="{6ECD27E6-B224-41CD-B4E0-E297462320DD}" dt="2023-11-24T11:39:06.078" v="138027"/>
          <ac:spMkLst>
            <pc:docMk/>
            <pc:sldMk cId="1942033937" sldId="2147478573"/>
            <ac:spMk id="902" creationId="{2F63D470-CA29-0E29-E305-10713F3A4E7F}"/>
          </ac:spMkLst>
        </pc:spChg>
        <pc:spChg chg="add del mod">
          <ac:chgData name="Steiner Andreas 6206 ED" userId="e6377c33-a923-4f14-8587-531c474c7b48" providerId="ADAL" clId="{6ECD27E6-B224-41CD-B4E0-E297462320DD}" dt="2023-11-24T11:39:08.566" v="138182"/>
          <ac:spMkLst>
            <pc:docMk/>
            <pc:sldMk cId="1942033937" sldId="2147478573"/>
            <ac:spMk id="903" creationId="{C40F9BE4-A267-2A0E-9E76-D6CBD7D3F7EE}"/>
          </ac:spMkLst>
        </pc:spChg>
        <pc:spChg chg="add del mod">
          <ac:chgData name="Steiner Andreas 6206 ED" userId="e6377c33-a923-4f14-8587-531c474c7b48" providerId="ADAL" clId="{6ECD27E6-B224-41CD-B4E0-E297462320DD}" dt="2023-11-24T11:39:10.907" v="138337"/>
          <ac:spMkLst>
            <pc:docMk/>
            <pc:sldMk cId="1942033937" sldId="2147478573"/>
            <ac:spMk id="904" creationId="{AECE155B-A885-3F75-9DD7-2A9336AA1AAD}"/>
          </ac:spMkLst>
        </pc:spChg>
        <pc:spChg chg="add del mod">
          <ac:chgData name="Steiner Andreas 6206 ED" userId="e6377c33-a923-4f14-8587-531c474c7b48" providerId="ADAL" clId="{6ECD27E6-B224-41CD-B4E0-E297462320DD}" dt="2023-11-24T11:39:13.382" v="138492"/>
          <ac:spMkLst>
            <pc:docMk/>
            <pc:sldMk cId="1942033937" sldId="2147478573"/>
            <ac:spMk id="905" creationId="{15B06C82-1990-DFFD-1C30-BFCE1CF844BA}"/>
          </ac:spMkLst>
        </pc:spChg>
        <pc:spChg chg="add del mod">
          <ac:chgData name="Steiner Andreas 6206 ED" userId="e6377c33-a923-4f14-8587-531c474c7b48" providerId="ADAL" clId="{6ECD27E6-B224-41CD-B4E0-E297462320DD}" dt="2023-11-24T11:39:16.082" v="138647"/>
          <ac:spMkLst>
            <pc:docMk/>
            <pc:sldMk cId="1942033937" sldId="2147478573"/>
            <ac:spMk id="906" creationId="{627F1156-9B9A-2E04-C901-3346A38EA2FD}"/>
          </ac:spMkLst>
        </pc:spChg>
        <pc:spChg chg="add del mod">
          <ac:chgData name="Steiner Andreas 6206 ED" userId="e6377c33-a923-4f14-8587-531c474c7b48" providerId="ADAL" clId="{6ECD27E6-B224-41CD-B4E0-E297462320DD}" dt="2023-11-24T11:39:18.936" v="138802"/>
          <ac:spMkLst>
            <pc:docMk/>
            <pc:sldMk cId="1942033937" sldId="2147478573"/>
            <ac:spMk id="907" creationId="{DA4B7719-5F50-57A3-5A12-4109BC8606B0}"/>
          </ac:spMkLst>
        </pc:spChg>
        <pc:spChg chg="add del mod">
          <ac:chgData name="Steiner Andreas 6206 ED" userId="e6377c33-a923-4f14-8587-531c474c7b48" providerId="ADAL" clId="{6ECD27E6-B224-41CD-B4E0-E297462320DD}" dt="2023-11-24T11:39:21.585" v="138957"/>
          <ac:spMkLst>
            <pc:docMk/>
            <pc:sldMk cId="1942033937" sldId="2147478573"/>
            <ac:spMk id="908" creationId="{434B7388-6724-44DE-9930-03D2EA74B024}"/>
          </ac:spMkLst>
        </pc:spChg>
        <pc:spChg chg="add del mod">
          <ac:chgData name="Steiner Andreas 6206 ED" userId="e6377c33-a923-4f14-8587-531c474c7b48" providerId="ADAL" clId="{6ECD27E6-B224-41CD-B4E0-E297462320DD}" dt="2023-11-24T11:39:24.153" v="139112"/>
          <ac:spMkLst>
            <pc:docMk/>
            <pc:sldMk cId="1942033937" sldId="2147478573"/>
            <ac:spMk id="909" creationId="{E134AF08-1B2C-B9D9-C3D8-9DB2387A283C}"/>
          </ac:spMkLst>
        </pc:spChg>
        <pc:spChg chg="add del mod">
          <ac:chgData name="Steiner Andreas 6206 ED" userId="e6377c33-a923-4f14-8587-531c474c7b48" providerId="ADAL" clId="{6ECD27E6-B224-41CD-B4E0-E297462320DD}" dt="2023-11-24T11:39:26.893" v="139267"/>
          <ac:spMkLst>
            <pc:docMk/>
            <pc:sldMk cId="1942033937" sldId="2147478573"/>
            <ac:spMk id="910" creationId="{D8B67CF8-C1AD-213B-9BFF-7C26DC57B198}"/>
          </ac:spMkLst>
        </pc:spChg>
        <pc:spChg chg="add del mod">
          <ac:chgData name="Steiner Andreas 6206 ED" userId="e6377c33-a923-4f14-8587-531c474c7b48" providerId="ADAL" clId="{6ECD27E6-B224-41CD-B4E0-E297462320DD}" dt="2023-11-24T11:39:29.551" v="139422"/>
          <ac:spMkLst>
            <pc:docMk/>
            <pc:sldMk cId="1942033937" sldId="2147478573"/>
            <ac:spMk id="911" creationId="{FD440DA3-1080-344C-34F0-EB911BF7856E}"/>
          </ac:spMkLst>
        </pc:spChg>
        <pc:spChg chg="add del mod">
          <ac:chgData name="Steiner Andreas 6206 ED" userId="e6377c33-a923-4f14-8587-531c474c7b48" providerId="ADAL" clId="{6ECD27E6-B224-41CD-B4E0-E297462320DD}" dt="2023-11-24T11:39:32.561" v="139577"/>
          <ac:spMkLst>
            <pc:docMk/>
            <pc:sldMk cId="1942033937" sldId="2147478573"/>
            <ac:spMk id="912" creationId="{53853B9E-FFDC-7C65-7C08-36B029E96ACB}"/>
          </ac:spMkLst>
        </pc:spChg>
        <pc:spChg chg="add del mod">
          <ac:chgData name="Steiner Andreas 6206 ED" userId="e6377c33-a923-4f14-8587-531c474c7b48" providerId="ADAL" clId="{6ECD27E6-B224-41CD-B4E0-E297462320DD}" dt="2023-11-24T11:39:35.270" v="139732"/>
          <ac:spMkLst>
            <pc:docMk/>
            <pc:sldMk cId="1942033937" sldId="2147478573"/>
            <ac:spMk id="913" creationId="{A381912E-1D4E-96DA-D2F7-FBEB73D17065}"/>
          </ac:spMkLst>
        </pc:spChg>
        <pc:spChg chg="add del mod">
          <ac:chgData name="Steiner Andreas 6206 ED" userId="e6377c33-a923-4f14-8587-531c474c7b48" providerId="ADAL" clId="{6ECD27E6-B224-41CD-B4E0-E297462320DD}" dt="2023-11-24T11:39:38.212" v="139887"/>
          <ac:spMkLst>
            <pc:docMk/>
            <pc:sldMk cId="1942033937" sldId="2147478573"/>
            <ac:spMk id="914" creationId="{F82225A0-82B1-5CF2-D2C9-A3C6C2945D79}"/>
          </ac:spMkLst>
        </pc:spChg>
        <pc:spChg chg="add del mod">
          <ac:chgData name="Steiner Andreas 6206 ED" userId="e6377c33-a923-4f14-8587-531c474c7b48" providerId="ADAL" clId="{6ECD27E6-B224-41CD-B4E0-E297462320DD}" dt="2023-11-24T11:39:40.887" v="140042"/>
          <ac:spMkLst>
            <pc:docMk/>
            <pc:sldMk cId="1942033937" sldId="2147478573"/>
            <ac:spMk id="915" creationId="{6E1B496D-7C75-7C3E-BAFC-3E38160126C2}"/>
          </ac:spMkLst>
        </pc:spChg>
        <pc:spChg chg="add del mod">
          <ac:chgData name="Steiner Andreas 6206 ED" userId="e6377c33-a923-4f14-8587-531c474c7b48" providerId="ADAL" clId="{6ECD27E6-B224-41CD-B4E0-E297462320DD}" dt="2023-11-24T11:39:43.462" v="140197"/>
          <ac:spMkLst>
            <pc:docMk/>
            <pc:sldMk cId="1942033937" sldId="2147478573"/>
            <ac:spMk id="916" creationId="{AD4C108E-3729-29DC-25B1-A98A23F9D726}"/>
          </ac:spMkLst>
        </pc:spChg>
        <pc:spChg chg="add del mod">
          <ac:chgData name="Steiner Andreas 6206 ED" userId="e6377c33-a923-4f14-8587-531c474c7b48" providerId="ADAL" clId="{6ECD27E6-B224-41CD-B4E0-E297462320DD}" dt="2023-11-24T11:39:46.084" v="140352"/>
          <ac:spMkLst>
            <pc:docMk/>
            <pc:sldMk cId="1942033937" sldId="2147478573"/>
            <ac:spMk id="917" creationId="{DD7C0472-0DE2-1B51-BCE8-DA3188B65874}"/>
          </ac:spMkLst>
        </pc:spChg>
        <pc:spChg chg="add del mod">
          <ac:chgData name="Steiner Andreas 6206 ED" userId="e6377c33-a923-4f14-8587-531c474c7b48" providerId="ADAL" clId="{6ECD27E6-B224-41CD-B4E0-E297462320DD}" dt="2023-11-24T11:39:48.513" v="140507"/>
          <ac:spMkLst>
            <pc:docMk/>
            <pc:sldMk cId="1942033937" sldId="2147478573"/>
            <ac:spMk id="918" creationId="{A5F4D89A-E557-D0F9-549A-AE58B697A165}"/>
          </ac:spMkLst>
        </pc:spChg>
        <pc:spChg chg="add del mod">
          <ac:chgData name="Steiner Andreas 6206 ED" userId="e6377c33-a923-4f14-8587-531c474c7b48" providerId="ADAL" clId="{6ECD27E6-B224-41CD-B4E0-E297462320DD}" dt="2023-11-24T11:39:51.517" v="140662"/>
          <ac:spMkLst>
            <pc:docMk/>
            <pc:sldMk cId="1942033937" sldId="2147478573"/>
            <ac:spMk id="919" creationId="{F865AEF0-B385-280A-3A49-670242203AEE}"/>
          </ac:spMkLst>
        </pc:spChg>
        <pc:spChg chg="add del mod">
          <ac:chgData name="Steiner Andreas 6206 ED" userId="e6377c33-a923-4f14-8587-531c474c7b48" providerId="ADAL" clId="{6ECD27E6-B224-41CD-B4E0-E297462320DD}" dt="2023-11-24T11:39:54.403" v="140817"/>
          <ac:spMkLst>
            <pc:docMk/>
            <pc:sldMk cId="1942033937" sldId="2147478573"/>
            <ac:spMk id="920" creationId="{C7917B43-3F2A-B62E-7DA7-4620B76F3516}"/>
          </ac:spMkLst>
        </pc:spChg>
        <pc:spChg chg="add del mod">
          <ac:chgData name="Steiner Andreas 6206 ED" userId="e6377c33-a923-4f14-8587-531c474c7b48" providerId="ADAL" clId="{6ECD27E6-B224-41CD-B4E0-E297462320DD}" dt="2023-11-24T11:39:56.913" v="140972"/>
          <ac:spMkLst>
            <pc:docMk/>
            <pc:sldMk cId="1942033937" sldId="2147478573"/>
            <ac:spMk id="921" creationId="{BAB37B40-4E44-63FF-EC69-88D0397040BF}"/>
          </ac:spMkLst>
        </pc:spChg>
        <pc:spChg chg="add del mod">
          <ac:chgData name="Steiner Andreas 6206 ED" userId="e6377c33-a923-4f14-8587-531c474c7b48" providerId="ADAL" clId="{6ECD27E6-B224-41CD-B4E0-E297462320DD}" dt="2023-11-24T11:39:59.282" v="141127"/>
          <ac:spMkLst>
            <pc:docMk/>
            <pc:sldMk cId="1942033937" sldId="2147478573"/>
            <ac:spMk id="922" creationId="{1CA4AF68-4B8E-8B96-74A8-CCF6C364E012}"/>
          </ac:spMkLst>
        </pc:spChg>
        <pc:spChg chg="add del mod">
          <ac:chgData name="Steiner Andreas 6206 ED" userId="e6377c33-a923-4f14-8587-531c474c7b48" providerId="ADAL" clId="{6ECD27E6-B224-41CD-B4E0-E297462320DD}" dt="2023-11-24T11:40:01.992" v="141282"/>
          <ac:spMkLst>
            <pc:docMk/>
            <pc:sldMk cId="1942033937" sldId="2147478573"/>
            <ac:spMk id="923" creationId="{BE52DF80-AFB8-70A0-4AFB-C9F03DDD6F77}"/>
          </ac:spMkLst>
        </pc:spChg>
        <pc:spChg chg="add del mod">
          <ac:chgData name="Steiner Andreas 6206 ED" userId="e6377c33-a923-4f14-8587-531c474c7b48" providerId="ADAL" clId="{6ECD27E6-B224-41CD-B4E0-E297462320DD}" dt="2023-11-24T11:40:04.877" v="141437"/>
          <ac:spMkLst>
            <pc:docMk/>
            <pc:sldMk cId="1942033937" sldId="2147478573"/>
            <ac:spMk id="924" creationId="{E24888F9-5975-1C8D-A768-74A174E43D51}"/>
          </ac:spMkLst>
        </pc:spChg>
        <pc:spChg chg="add del mod">
          <ac:chgData name="Steiner Andreas 6206 ED" userId="e6377c33-a923-4f14-8587-531c474c7b48" providerId="ADAL" clId="{6ECD27E6-B224-41CD-B4E0-E297462320DD}" dt="2023-11-24T11:40:07.651" v="141592"/>
          <ac:spMkLst>
            <pc:docMk/>
            <pc:sldMk cId="1942033937" sldId="2147478573"/>
            <ac:spMk id="925" creationId="{7215AC0C-46D4-0EBF-98DA-5AD7F9D435F7}"/>
          </ac:spMkLst>
        </pc:spChg>
        <pc:spChg chg="add del mod">
          <ac:chgData name="Steiner Andreas 6206 ED" userId="e6377c33-a923-4f14-8587-531c474c7b48" providerId="ADAL" clId="{6ECD27E6-B224-41CD-B4E0-E297462320DD}" dt="2023-11-24T11:40:10.074" v="141747"/>
          <ac:spMkLst>
            <pc:docMk/>
            <pc:sldMk cId="1942033937" sldId="2147478573"/>
            <ac:spMk id="926" creationId="{E37AD4D8-D739-E02B-18E7-58FE7EF30F36}"/>
          </ac:spMkLst>
        </pc:spChg>
        <pc:spChg chg="add del mod">
          <ac:chgData name="Steiner Andreas 6206 ED" userId="e6377c33-a923-4f14-8587-531c474c7b48" providerId="ADAL" clId="{6ECD27E6-B224-41CD-B4E0-E297462320DD}" dt="2023-11-24T11:40:12.552" v="141902"/>
          <ac:spMkLst>
            <pc:docMk/>
            <pc:sldMk cId="1942033937" sldId="2147478573"/>
            <ac:spMk id="927" creationId="{C7FE0370-F71B-0EC4-0994-9396BA593E84}"/>
          </ac:spMkLst>
        </pc:spChg>
        <pc:spChg chg="add del mod">
          <ac:chgData name="Steiner Andreas 6206 ED" userId="e6377c33-a923-4f14-8587-531c474c7b48" providerId="ADAL" clId="{6ECD27E6-B224-41CD-B4E0-E297462320DD}" dt="2023-11-24T11:40:16.180" v="142057"/>
          <ac:spMkLst>
            <pc:docMk/>
            <pc:sldMk cId="1942033937" sldId="2147478573"/>
            <ac:spMk id="928" creationId="{BF9CBB8A-8CDA-CD3E-3DBC-C195F243C910}"/>
          </ac:spMkLst>
        </pc:spChg>
        <pc:spChg chg="add del mod">
          <ac:chgData name="Steiner Andreas 6206 ED" userId="e6377c33-a923-4f14-8587-531c474c7b48" providerId="ADAL" clId="{6ECD27E6-B224-41CD-B4E0-E297462320DD}" dt="2023-11-24T11:40:19.620" v="142212"/>
          <ac:spMkLst>
            <pc:docMk/>
            <pc:sldMk cId="1942033937" sldId="2147478573"/>
            <ac:spMk id="929" creationId="{7E4F7DC6-548A-ECF5-115B-ED4369641A67}"/>
          </ac:spMkLst>
        </pc:spChg>
        <pc:spChg chg="add del mod">
          <ac:chgData name="Steiner Andreas 6206 ED" userId="e6377c33-a923-4f14-8587-531c474c7b48" providerId="ADAL" clId="{6ECD27E6-B224-41CD-B4E0-E297462320DD}" dt="2023-11-24T11:40:22.454" v="142367"/>
          <ac:spMkLst>
            <pc:docMk/>
            <pc:sldMk cId="1942033937" sldId="2147478573"/>
            <ac:spMk id="930" creationId="{0650E814-2B1D-DF04-AF12-0A801B0A8193}"/>
          </ac:spMkLst>
        </pc:spChg>
        <pc:spChg chg="add del mod">
          <ac:chgData name="Steiner Andreas 6206 ED" userId="e6377c33-a923-4f14-8587-531c474c7b48" providerId="ADAL" clId="{6ECD27E6-B224-41CD-B4E0-E297462320DD}" dt="2023-11-24T11:40:25.131" v="142522"/>
          <ac:spMkLst>
            <pc:docMk/>
            <pc:sldMk cId="1942033937" sldId="2147478573"/>
            <ac:spMk id="931" creationId="{5DF0D253-1FBA-BA8D-200F-51D2D3F67747}"/>
          </ac:spMkLst>
        </pc:spChg>
        <pc:spChg chg="add del mod">
          <ac:chgData name="Steiner Andreas 6206 ED" userId="e6377c33-a923-4f14-8587-531c474c7b48" providerId="ADAL" clId="{6ECD27E6-B224-41CD-B4E0-E297462320DD}" dt="2023-11-24T11:40:28.218" v="142677"/>
          <ac:spMkLst>
            <pc:docMk/>
            <pc:sldMk cId="1942033937" sldId="2147478573"/>
            <ac:spMk id="932" creationId="{196615A1-DC29-0388-D04A-844CF6EB5010}"/>
          </ac:spMkLst>
        </pc:spChg>
        <pc:spChg chg="add del mod">
          <ac:chgData name="Steiner Andreas 6206 ED" userId="e6377c33-a923-4f14-8587-531c474c7b48" providerId="ADAL" clId="{6ECD27E6-B224-41CD-B4E0-E297462320DD}" dt="2023-11-24T11:40:30.926" v="142832"/>
          <ac:spMkLst>
            <pc:docMk/>
            <pc:sldMk cId="1942033937" sldId="2147478573"/>
            <ac:spMk id="933" creationId="{A3F8D507-966C-01B8-2AC3-3A30E539EDFE}"/>
          </ac:spMkLst>
        </pc:spChg>
        <pc:spChg chg="add del mod">
          <ac:chgData name="Steiner Andreas 6206 ED" userId="e6377c33-a923-4f14-8587-531c474c7b48" providerId="ADAL" clId="{6ECD27E6-B224-41CD-B4E0-E297462320DD}" dt="2023-11-24T11:40:33.481" v="142987"/>
          <ac:spMkLst>
            <pc:docMk/>
            <pc:sldMk cId="1942033937" sldId="2147478573"/>
            <ac:spMk id="934" creationId="{70DD4059-E5CF-65BE-A3CC-003FD8627F8F}"/>
          </ac:spMkLst>
        </pc:spChg>
        <pc:spChg chg="add del mod">
          <ac:chgData name="Steiner Andreas 6206 ED" userId="e6377c33-a923-4f14-8587-531c474c7b48" providerId="ADAL" clId="{6ECD27E6-B224-41CD-B4E0-E297462320DD}" dt="2023-11-24T11:40:36.144" v="143142"/>
          <ac:spMkLst>
            <pc:docMk/>
            <pc:sldMk cId="1942033937" sldId="2147478573"/>
            <ac:spMk id="935" creationId="{5CF07954-BE0E-D5EF-822F-C5DB32916F96}"/>
          </ac:spMkLst>
        </pc:spChg>
        <pc:spChg chg="add del mod">
          <ac:chgData name="Steiner Andreas 6206 ED" userId="e6377c33-a923-4f14-8587-531c474c7b48" providerId="ADAL" clId="{6ECD27E6-B224-41CD-B4E0-E297462320DD}" dt="2023-11-24T11:40:39.201" v="143297"/>
          <ac:spMkLst>
            <pc:docMk/>
            <pc:sldMk cId="1942033937" sldId="2147478573"/>
            <ac:spMk id="936" creationId="{9BCC10C2-DF53-931C-3942-5DA36476E2C9}"/>
          </ac:spMkLst>
        </pc:spChg>
        <pc:spChg chg="add del mod">
          <ac:chgData name="Steiner Andreas 6206 ED" userId="e6377c33-a923-4f14-8587-531c474c7b48" providerId="ADAL" clId="{6ECD27E6-B224-41CD-B4E0-E297462320DD}" dt="2023-11-24T11:40:42.217" v="143452"/>
          <ac:spMkLst>
            <pc:docMk/>
            <pc:sldMk cId="1942033937" sldId="2147478573"/>
            <ac:spMk id="937" creationId="{F70A9E7A-1A54-6ED3-AF75-A4688D20575F}"/>
          </ac:spMkLst>
        </pc:spChg>
        <pc:spChg chg="add del mod">
          <ac:chgData name="Steiner Andreas 6206 ED" userId="e6377c33-a923-4f14-8587-531c474c7b48" providerId="ADAL" clId="{6ECD27E6-B224-41CD-B4E0-E297462320DD}" dt="2023-11-24T11:40:44.890" v="143607"/>
          <ac:spMkLst>
            <pc:docMk/>
            <pc:sldMk cId="1942033937" sldId="2147478573"/>
            <ac:spMk id="938" creationId="{7FBA117B-0B7C-2BD7-39CB-82CD39CD01B9}"/>
          </ac:spMkLst>
        </pc:spChg>
        <pc:spChg chg="add del mod">
          <ac:chgData name="Steiner Andreas 6206 ED" userId="e6377c33-a923-4f14-8587-531c474c7b48" providerId="ADAL" clId="{6ECD27E6-B224-41CD-B4E0-E297462320DD}" dt="2023-11-24T11:40:47.639" v="143762"/>
          <ac:spMkLst>
            <pc:docMk/>
            <pc:sldMk cId="1942033937" sldId="2147478573"/>
            <ac:spMk id="939" creationId="{6CC5BF4C-E63A-22C3-30E0-B5A27C5E168B}"/>
          </ac:spMkLst>
        </pc:spChg>
        <pc:spChg chg="add del mod">
          <ac:chgData name="Steiner Andreas 6206 ED" userId="e6377c33-a923-4f14-8587-531c474c7b48" providerId="ADAL" clId="{6ECD27E6-B224-41CD-B4E0-E297462320DD}" dt="2023-11-24T11:40:50.401" v="143917"/>
          <ac:spMkLst>
            <pc:docMk/>
            <pc:sldMk cId="1942033937" sldId="2147478573"/>
            <ac:spMk id="940" creationId="{05E6BEA1-CEB4-52C3-C819-ED5673528931}"/>
          </ac:spMkLst>
        </pc:spChg>
        <pc:spChg chg="add del mod">
          <ac:chgData name="Steiner Andreas 6206 ED" userId="e6377c33-a923-4f14-8587-531c474c7b48" providerId="ADAL" clId="{6ECD27E6-B224-41CD-B4E0-E297462320DD}" dt="2023-11-24T11:40:53.267" v="144072"/>
          <ac:spMkLst>
            <pc:docMk/>
            <pc:sldMk cId="1942033937" sldId="2147478573"/>
            <ac:spMk id="941" creationId="{342F55E6-C828-6B44-C9A3-3A50DBC97FDD}"/>
          </ac:spMkLst>
        </pc:spChg>
        <pc:spChg chg="add del mod">
          <ac:chgData name="Steiner Andreas 6206 ED" userId="e6377c33-a923-4f14-8587-531c474c7b48" providerId="ADAL" clId="{6ECD27E6-B224-41CD-B4E0-E297462320DD}" dt="2023-11-24T11:40:55.939" v="144227"/>
          <ac:spMkLst>
            <pc:docMk/>
            <pc:sldMk cId="1942033937" sldId="2147478573"/>
            <ac:spMk id="942" creationId="{352ED5CD-83D9-57CF-4AFB-30D973E9B05E}"/>
          </ac:spMkLst>
        </pc:spChg>
        <pc:spChg chg="add del mod">
          <ac:chgData name="Steiner Andreas 6206 ED" userId="e6377c33-a923-4f14-8587-531c474c7b48" providerId="ADAL" clId="{6ECD27E6-B224-41CD-B4E0-E297462320DD}" dt="2023-11-24T11:40:58.527" v="144382"/>
          <ac:spMkLst>
            <pc:docMk/>
            <pc:sldMk cId="1942033937" sldId="2147478573"/>
            <ac:spMk id="943" creationId="{A9A23AD4-B379-D636-CECF-2738239F5EC7}"/>
          </ac:spMkLst>
        </pc:spChg>
        <pc:spChg chg="add del mod">
          <ac:chgData name="Steiner Andreas 6206 ED" userId="e6377c33-a923-4f14-8587-531c474c7b48" providerId="ADAL" clId="{6ECD27E6-B224-41CD-B4E0-E297462320DD}" dt="2023-11-24T11:41:01.107" v="144537"/>
          <ac:spMkLst>
            <pc:docMk/>
            <pc:sldMk cId="1942033937" sldId="2147478573"/>
            <ac:spMk id="944" creationId="{0D4D152E-8A20-3CDD-12E1-979F42DD8F92}"/>
          </ac:spMkLst>
        </pc:spChg>
        <pc:spChg chg="add del mod">
          <ac:chgData name="Steiner Andreas 6206 ED" userId="e6377c33-a923-4f14-8587-531c474c7b48" providerId="ADAL" clId="{6ECD27E6-B224-41CD-B4E0-E297462320DD}" dt="2023-11-24T11:41:03.739" v="144692"/>
          <ac:spMkLst>
            <pc:docMk/>
            <pc:sldMk cId="1942033937" sldId="2147478573"/>
            <ac:spMk id="945" creationId="{2FD7F758-7F5D-49F8-DBB0-24B5C3174C74}"/>
          </ac:spMkLst>
        </pc:spChg>
        <pc:spChg chg="add del mod">
          <ac:chgData name="Steiner Andreas 6206 ED" userId="e6377c33-a923-4f14-8587-531c474c7b48" providerId="ADAL" clId="{6ECD27E6-B224-41CD-B4E0-E297462320DD}" dt="2023-11-24T11:41:06.896" v="144847"/>
          <ac:spMkLst>
            <pc:docMk/>
            <pc:sldMk cId="1942033937" sldId="2147478573"/>
            <ac:spMk id="946" creationId="{BD5D9C0C-DA06-5127-9F1C-D358400D5118}"/>
          </ac:spMkLst>
        </pc:spChg>
        <pc:spChg chg="add del mod">
          <ac:chgData name="Steiner Andreas 6206 ED" userId="e6377c33-a923-4f14-8587-531c474c7b48" providerId="ADAL" clId="{6ECD27E6-B224-41CD-B4E0-E297462320DD}" dt="2023-11-24T11:41:10.022" v="145002"/>
          <ac:spMkLst>
            <pc:docMk/>
            <pc:sldMk cId="1942033937" sldId="2147478573"/>
            <ac:spMk id="947" creationId="{3A4BFEF7-AC8D-F71E-BBD8-DA0899DA0F1B}"/>
          </ac:spMkLst>
        </pc:spChg>
        <pc:spChg chg="add del mod">
          <ac:chgData name="Steiner Andreas 6206 ED" userId="e6377c33-a923-4f14-8587-531c474c7b48" providerId="ADAL" clId="{6ECD27E6-B224-41CD-B4E0-E297462320DD}" dt="2023-11-24T11:41:12.865" v="145157"/>
          <ac:spMkLst>
            <pc:docMk/>
            <pc:sldMk cId="1942033937" sldId="2147478573"/>
            <ac:spMk id="948" creationId="{4E321FB6-A79A-D911-D505-F407C48BA9CA}"/>
          </ac:spMkLst>
        </pc:spChg>
        <pc:spChg chg="add del mod">
          <ac:chgData name="Steiner Andreas 6206 ED" userId="e6377c33-a923-4f14-8587-531c474c7b48" providerId="ADAL" clId="{6ECD27E6-B224-41CD-B4E0-E297462320DD}" dt="2023-11-24T11:41:15.861" v="145312"/>
          <ac:spMkLst>
            <pc:docMk/>
            <pc:sldMk cId="1942033937" sldId="2147478573"/>
            <ac:spMk id="949" creationId="{A8243C65-8253-5FAF-5A28-1D846325923C}"/>
          </ac:spMkLst>
        </pc:spChg>
        <pc:spChg chg="add del mod">
          <ac:chgData name="Steiner Andreas 6206 ED" userId="e6377c33-a923-4f14-8587-531c474c7b48" providerId="ADAL" clId="{6ECD27E6-B224-41CD-B4E0-E297462320DD}" dt="2023-11-24T11:41:19.127" v="145467"/>
          <ac:spMkLst>
            <pc:docMk/>
            <pc:sldMk cId="1942033937" sldId="2147478573"/>
            <ac:spMk id="950" creationId="{1DE8C509-B49D-505C-0AB0-7C3FE2CD3094}"/>
          </ac:spMkLst>
        </pc:spChg>
        <pc:spChg chg="add del mod">
          <ac:chgData name="Steiner Andreas 6206 ED" userId="e6377c33-a923-4f14-8587-531c474c7b48" providerId="ADAL" clId="{6ECD27E6-B224-41CD-B4E0-E297462320DD}" dt="2023-11-24T11:41:21.669" v="145622"/>
          <ac:spMkLst>
            <pc:docMk/>
            <pc:sldMk cId="1942033937" sldId="2147478573"/>
            <ac:spMk id="951" creationId="{BDCDB9A3-DCA0-52EE-D71E-A8F823803823}"/>
          </ac:spMkLst>
        </pc:spChg>
        <pc:spChg chg="add del mod">
          <ac:chgData name="Steiner Andreas 6206 ED" userId="e6377c33-a923-4f14-8587-531c474c7b48" providerId="ADAL" clId="{6ECD27E6-B224-41CD-B4E0-E297462320DD}" dt="2023-11-24T11:41:25.545" v="145777"/>
          <ac:spMkLst>
            <pc:docMk/>
            <pc:sldMk cId="1942033937" sldId="2147478573"/>
            <ac:spMk id="952" creationId="{65255D4F-11A2-8403-39A7-44E067F07220}"/>
          </ac:spMkLst>
        </pc:spChg>
        <pc:spChg chg="add del mod">
          <ac:chgData name="Steiner Andreas 6206 ED" userId="e6377c33-a923-4f14-8587-531c474c7b48" providerId="ADAL" clId="{6ECD27E6-B224-41CD-B4E0-E297462320DD}" dt="2023-11-24T11:41:28.517" v="145932"/>
          <ac:spMkLst>
            <pc:docMk/>
            <pc:sldMk cId="1942033937" sldId="2147478573"/>
            <ac:spMk id="953" creationId="{39D85169-0BDC-1B92-966D-D0BF3E646C8A}"/>
          </ac:spMkLst>
        </pc:spChg>
        <pc:spChg chg="add del mod">
          <ac:chgData name="Steiner Andreas 6206 ED" userId="e6377c33-a923-4f14-8587-531c474c7b48" providerId="ADAL" clId="{6ECD27E6-B224-41CD-B4E0-E297462320DD}" dt="2023-11-24T11:41:31.273" v="146087"/>
          <ac:spMkLst>
            <pc:docMk/>
            <pc:sldMk cId="1942033937" sldId="2147478573"/>
            <ac:spMk id="954" creationId="{96A4915C-964C-6E47-4DE6-5EBB941C0351}"/>
          </ac:spMkLst>
        </pc:spChg>
        <pc:spChg chg="add del mod">
          <ac:chgData name="Steiner Andreas 6206 ED" userId="e6377c33-a923-4f14-8587-531c474c7b48" providerId="ADAL" clId="{6ECD27E6-B224-41CD-B4E0-E297462320DD}" dt="2023-11-24T11:41:33.464" v="146242"/>
          <ac:spMkLst>
            <pc:docMk/>
            <pc:sldMk cId="1942033937" sldId="2147478573"/>
            <ac:spMk id="955" creationId="{8A97FAA7-1CAD-B0F0-B56E-6C983E037CFF}"/>
          </ac:spMkLst>
        </pc:spChg>
        <pc:spChg chg="add del mod">
          <ac:chgData name="Steiner Andreas 6206 ED" userId="e6377c33-a923-4f14-8587-531c474c7b48" providerId="ADAL" clId="{6ECD27E6-B224-41CD-B4E0-E297462320DD}" dt="2023-11-24T11:41:35.593" v="146397"/>
          <ac:spMkLst>
            <pc:docMk/>
            <pc:sldMk cId="1942033937" sldId="2147478573"/>
            <ac:spMk id="956" creationId="{00596755-AB1E-1A82-795A-BE9A044656AB}"/>
          </ac:spMkLst>
        </pc:spChg>
        <pc:spChg chg="add del mod">
          <ac:chgData name="Steiner Andreas 6206 ED" userId="e6377c33-a923-4f14-8587-531c474c7b48" providerId="ADAL" clId="{6ECD27E6-B224-41CD-B4E0-E297462320DD}" dt="2023-11-24T11:41:37.793" v="146552"/>
          <ac:spMkLst>
            <pc:docMk/>
            <pc:sldMk cId="1942033937" sldId="2147478573"/>
            <ac:spMk id="957" creationId="{972A6835-FC7B-A379-B3E2-EB01DC3D5FF0}"/>
          </ac:spMkLst>
        </pc:spChg>
        <pc:spChg chg="add del mod">
          <ac:chgData name="Steiner Andreas 6206 ED" userId="e6377c33-a923-4f14-8587-531c474c7b48" providerId="ADAL" clId="{6ECD27E6-B224-41CD-B4E0-E297462320DD}" dt="2023-11-24T11:41:40.525" v="146707"/>
          <ac:spMkLst>
            <pc:docMk/>
            <pc:sldMk cId="1942033937" sldId="2147478573"/>
            <ac:spMk id="958" creationId="{ED43D1E7-4E1F-23BB-3D9D-8EC9B9677634}"/>
          </ac:spMkLst>
        </pc:spChg>
        <pc:spChg chg="add del mod">
          <ac:chgData name="Steiner Andreas 6206 ED" userId="e6377c33-a923-4f14-8587-531c474c7b48" providerId="ADAL" clId="{6ECD27E6-B224-41CD-B4E0-E297462320DD}" dt="2023-11-24T11:41:42.726" v="146862"/>
          <ac:spMkLst>
            <pc:docMk/>
            <pc:sldMk cId="1942033937" sldId="2147478573"/>
            <ac:spMk id="959" creationId="{589D9A08-1B01-904F-411F-DF1E63A3F91B}"/>
          </ac:spMkLst>
        </pc:spChg>
        <pc:spChg chg="add del mod">
          <ac:chgData name="Steiner Andreas 6206 ED" userId="e6377c33-a923-4f14-8587-531c474c7b48" providerId="ADAL" clId="{6ECD27E6-B224-41CD-B4E0-E297462320DD}" dt="2023-11-24T11:41:44.806" v="147017"/>
          <ac:spMkLst>
            <pc:docMk/>
            <pc:sldMk cId="1942033937" sldId="2147478573"/>
            <ac:spMk id="960" creationId="{59C5E25A-5868-6CEE-29A2-089DD725B0AB}"/>
          </ac:spMkLst>
        </pc:spChg>
        <pc:spChg chg="add del mod">
          <ac:chgData name="Steiner Andreas 6206 ED" userId="e6377c33-a923-4f14-8587-531c474c7b48" providerId="ADAL" clId="{6ECD27E6-B224-41CD-B4E0-E297462320DD}" dt="2023-11-24T11:41:47.282" v="147172"/>
          <ac:spMkLst>
            <pc:docMk/>
            <pc:sldMk cId="1942033937" sldId="2147478573"/>
            <ac:spMk id="961" creationId="{6E4C2BCC-1AA2-DB57-F242-F036B284BEB0}"/>
          </ac:spMkLst>
        </pc:spChg>
        <pc:spChg chg="add del mod">
          <ac:chgData name="Steiner Andreas 6206 ED" userId="e6377c33-a923-4f14-8587-531c474c7b48" providerId="ADAL" clId="{6ECD27E6-B224-41CD-B4E0-E297462320DD}" dt="2023-11-24T11:41:49.410" v="147327"/>
          <ac:spMkLst>
            <pc:docMk/>
            <pc:sldMk cId="1942033937" sldId="2147478573"/>
            <ac:spMk id="962" creationId="{AB97B48B-2BC6-71F1-7449-3C9EDCFFAD7F}"/>
          </ac:spMkLst>
        </pc:spChg>
        <pc:spChg chg="add del mod">
          <ac:chgData name="Steiner Andreas 6206 ED" userId="e6377c33-a923-4f14-8587-531c474c7b48" providerId="ADAL" clId="{6ECD27E6-B224-41CD-B4E0-E297462320DD}" dt="2023-11-24T11:41:51.731" v="147482"/>
          <ac:spMkLst>
            <pc:docMk/>
            <pc:sldMk cId="1942033937" sldId="2147478573"/>
            <ac:spMk id="963" creationId="{E3B0C2B0-9F42-ADD4-6271-E0FB49D6F6EA}"/>
          </ac:spMkLst>
        </pc:spChg>
        <pc:spChg chg="add del mod">
          <ac:chgData name="Steiner Andreas 6206 ED" userId="e6377c33-a923-4f14-8587-531c474c7b48" providerId="ADAL" clId="{6ECD27E6-B224-41CD-B4E0-E297462320DD}" dt="2023-11-24T11:41:54.170" v="147637"/>
          <ac:spMkLst>
            <pc:docMk/>
            <pc:sldMk cId="1942033937" sldId="2147478573"/>
            <ac:spMk id="964" creationId="{420DBC17-D957-74E6-306A-549620FDDF72}"/>
          </ac:spMkLst>
        </pc:spChg>
        <pc:spChg chg="add del mod">
          <ac:chgData name="Steiner Andreas 6206 ED" userId="e6377c33-a923-4f14-8587-531c474c7b48" providerId="ADAL" clId="{6ECD27E6-B224-41CD-B4E0-E297462320DD}" dt="2023-11-24T11:41:57.231" v="147792"/>
          <ac:spMkLst>
            <pc:docMk/>
            <pc:sldMk cId="1942033937" sldId="2147478573"/>
            <ac:spMk id="965" creationId="{C5B87025-2EF3-09F3-85E8-9312D4A7A13C}"/>
          </ac:spMkLst>
        </pc:spChg>
        <pc:spChg chg="add del mod">
          <ac:chgData name="Steiner Andreas 6206 ED" userId="e6377c33-a923-4f14-8587-531c474c7b48" providerId="ADAL" clId="{6ECD27E6-B224-41CD-B4E0-E297462320DD}" dt="2023-11-24T11:42:00.581" v="147947"/>
          <ac:spMkLst>
            <pc:docMk/>
            <pc:sldMk cId="1942033937" sldId="2147478573"/>
            <ac:spMk id="966" creationId="{59DE916D-9496-5CD1-5D1B-513FB842447B}"/>
          </ac:spMkLst>
        </pc:spChg>
        <pc:spChg chg="add del mod">
          <ac:chgData name="Steiner Andreas 6206 ED" userId="e6377c33-a923-4f14-8587-531c474c7b48" providerId="ADAL" clId="{6ECD27E6-B224-41CD-B4E0-E297462320DD}" dt="2023-11-24T11:42:03.943" v="148102"/>
          <ac:spMkLst>
            <pc:docMk/>
            <pc:sldMk cId="1942033937" sldId="2147478573"/>
            <ac:spMk id="967" creationId="{07D7D58F-E5F1-FFEE-EFCF-38F996302106}"/>
          </ac:spMkLst>
        </pc:spChg>
        <pc:spChg chg="add del mod">
          <ac:chgData name="Steiner Andreas 6206 ED" userId="e6377c33-a923-4f14-8587-531c474c7b48" providerId="ADAL" clId="{6ECD27E6-B224-41CD-B4E0-E297462320DD}" dt="2023-11-24T11:42:06.441" v="148257"/>
          <ac:spMkLst>
            <pc:docMk/>
            <pc:sldMk cId="1942033937" sldId="2147478573"/>
            <ac:spMk id="968" creationId="{7C028741-24EF-BA12-B17C-6EA2E966106B}"/>
          </ac:spMkLst>
        </pc:spChg>
        <pc:spChg chg="add del mod">
          <ac:chgData name="Steiner Andreas 6206 ED" userId="e6377c33-a923-4f14-8587-531c474c7b48" providerId="ADAL" clId="{6ECD27E6-B224-41CD-B4E0-E297462320DD}" dt="2023-11-24T11:42:08.708" v="148412"/>
          <ac:spMkLst>
            <pc:docMk/>
            <pc:sldMk cId="1942033937" sldId="2147478573"/>
            <ac:spMk id="969" creationId="{65829969-A3F9-B6B4-BCED-0FF13052C109}"/>
          </ac:spMkLst>
        </pc:spChg>
        <pc:spChg chg="add del mod">
          <ac:chgData name="Steiner Andreas 6206 ED" userId="e6377c33-a923-4f14-8587-531c474c7b48" providerId="ADAL" clId="{6ECD27E6-B224-41CD-B4E0-E297462320DD}" dt="2023-11-24T11:42:11.286" v="148567"/>
          <ac:spMkLst>
            <pc:docMk/>
            <pc:sldMk cId="1942033937" sldId="2147478573"/>
            <ac:spMk id="970" creationId="{737DB432-2237-5925-CB18-08331518B31D}"/>
          </ac:spMkLst>
        </pc:spChg>
        <pc:spChg chg="add del mod">
          <ac:chgData name="Steiner Andreas 6206 ED" userId="e6377c33-a923-4f14-8587-531c474c7b48" providerId="ADAL" clId="{6ECD27E6-B224-41CD-B4E0-E297462320DD}" dt="2023-11-24T11:42:13.883" v="148722"/>
          <ac:spMkLst>
            <pc:docMk/>
            <pc:sldMk cId="1942033937" sldId="2147478573"/>
            <ac:spMk id="971" creationId="{8E0AA527-7C93-44E7-443E-5354623C3408}"/>
          </ac:spMkLst>
        </pc:spChg>
        <pc:spChg chg="add del mod">
          <ac:chgData name="Steiner Andreas 6206 ED" userId="e6377c33-a923-4f14-8587-531c474c7b48" providerId="ADAL" clId="{6ECD27E6-B224-41CD-B4E0-E297462320DD}" dt="2023-11-24T11:42:16.226" v="148877"/>
          <ac:spMkLst>
            <pc:docMk/>
            <pc:sldMk cId="1942033937" sldId="2147478573"/>
            <ac:spMk id="972" creationId="{4AB0C9DB-C877-8B33-3BE6-219BEAD22B3E}"/>
          </ac:spMkLst>
        </pc:spChg>
        <pc:spChg chg="add del mod">
          <ac:chgData name="Steiner Andreas 6206 ED" userId="e6377c33-a923-4f14-8587-531c474c7b48" providerId="ADAL" clId="{6ECD27E6-B224-41CD-B4E0-E297462320DD}" dt="2023-11-24T11:42:18.328" v="149032"/>
          <ac:spMkLst>
            <pc:docMk/>
            <pc:sldMk cId="1942033937" sldId="2147478573"/>
            <ac:spMk id="973" creationId="{98CB3852-1FA0-C239-41B8-A3618B4C6C55}"/>
          </ac:spMkLst>
        </pc:spChg>
        <pc:spChg chg="add del mod">
          <ac:chgData name="Steiner Andreas 6206 ED" userId="e6377c33-a923-4f14-8587-531c474c7b48" providerId="ADAL" clId="{6ECD27E6-B224-41CD-B4E0-E297462320DD}" dt="2023-11-24T11:42:20.387" v="149187"/>
          <ac:spMkLst>
            <pc:docMk/>
            <pc:sldMk cId="1942033937" sldId="2147478573"/>
            <ac:spMk id="974" creationId="{4A96A479-B569-08DA-E97C-54166C37B608}"/>
          </ac:spMkLst>
        </pc:spChg>
        <pc:spChg chg="add del mod">
          <ac:chgData name="Steiner Andreas 6206 ED" userId="e6377c33-a923-4f14-8587-531c474c7b48" providerId="ADAL" clId="{6ECD27E6-B224-41CD-B4E0-E297462320DD}" dt="2023-11-24T11:42:22.463" v="149342"/>
          <ac:spMkLst>
            <pc:docMk/>
            <pc:sldMk cId="1942033937" sldId="2147478573"/>
            <ac:spMk id="975" creationId="{988C9A78-BB1D-7AF8-BD48-F4FF619FBFD6}"/>
          </ac:spMkLst>
        </pc:spChg>
        <pc:spChg chg="add del mod">
          <ac:chgData name="Steiner Andreas 6206 ED" userId="e6377c33-a923-4f14-8587-531c474c7b48" providerId="ADAL" clId="{6ECD27E6-B224-41CD-B4E0-E297462320DD}" dt="2023-11-24T11:42:24.396" v="149497"/>
          <ac:spMkLst>
            <pc:docMk/>
            <pc:sldMk cId="1942033937" sldId="2147478573"/>
            <ac:spMk id="976" creationId="{6C0F4E3C-2CED-49B7-05E0-01F59083AC9B}"/>
          </ac:spMkLst>
        </pc:spChg>
        <pc:spChg chg="add del mod">
          <ac:chgData name="Steiner Andreas 6206 ED" userId="e6377c33-a923-4f14-8587-531c474c7b48" providerId="ADAL" clId="{6ECD27E6-B224-41CD-B4E0-E297462320DD}" dt="2023-11-24T11:42:26.340" v="149652"/>
          <ac:spMkLst>
            <pc:docMk/>
            <pc:sldMk cId="1942033937" sldId="2147478573"/>
            <ac:spMk id="977" creationId="{048364CC-EE1D-E4CF-A5C4-A1256A578CDF}"/>
          </ac:spMkLst>
        </pc:spChg>
        <pc:spChg chg="add del mod">
          <ac:chgData name="Steiner Andreas 6206 ED" userId="e6377c33-a923-4f14-8587-531c474c7b48" providerId="ADAL" clId="{6ECD27E6-B224-41CD-B4E0-E297462320DD}" dt="2023-11-24T11:42:29.402" v="149807"/>
          <ac:spMkLst>
            <pc:docMk/>
            <pc:sldMk cId="1942033937" sldId="2147478573"/>
            <ac:spMk id="978" creationId="{0D710263-55C2-C3EA-9094-D98F920E164E}"/>
          </ac:spMkLst>
        </pc:spChg>
        <pc:spChg chg="add del mod">
          <ac:chgData name="Steiner Andreas 6206 ED" userId="e6377c33-a923-4f14-8587-531c474c7b48" providerId="ADAL" clId="{6ECD27E6-B224-41CD-B4E0-E297462320DD}" dt="2023-11-24T11:42:32.354" v="149962"/>
          <ac:spMkLst>
            <pc:docMk/>
            <pc:sldMk cId="1942033937" sldId="2147478573"/>
            <ac:spMk id="979" creationId="{C37FDA1A-DCE1-16D7-862A-34F0E3CE76BA}"/>
          </ac:spMkLst>
        </pc:spChg>
        <pc:spChg chg="add del mod">
          <ac:chgData name="Steiner Andreas 6206 ED" userId="e6377c33-a923-4f14-8587-531c474c7b48" providerId="ADAL" clId="{6ECD27E6-B224-41CD-B4E0-E297462320DD}" dt="2023-11-24T11:42:35.654" v="150117"/>
          <ac:spMkLst>
            <pc:docMk/>
            <pc:sldMk cId="1942033937" sldId="2147478573"/>
            <ac:spMk id="980" creationId="{38370DC8-F4C4-1B62-A8C4-EF0F5CF0B7B3}"/>
          </ac:spMkLst>
        </pc:spChg>
        <pc:spChg chg="add del mod">
          <ac:chgData name="Steiner Andreas 6206 ED" userId="e6377c33-a923-4f14-8587-531c474c7b48" providerId="ADAL" clId="{6ECD27E6-B224-41CD-B4E0-E297462320DD}" dt="2023-11-24T11:42:37.991" v="150272"/>
          <ac:spMkLst>
            <pc:docMk/>
            <pc:sldMk cId="1942033937" sldId="2147478573"/>
            <ac:spMk id="981" creationId="{01BE3DFF-9762-0F45-AFFD-1FA3D750336A}"/>
          </ac:spMkLst>
        </pc:spChg>
        <pc:spChg chg="add del mod">
          <ac:chgData name="Steiner Andreas 6206 ED" userId="e6377c33-a923-4f14-8587-531c474c7b48" providerId="ADAL" clId="{6ECD27E6-B224-41CD-B4E0-E297462320DD}" dt="2023-11-24T11:42:40.076" v="150427"/>
          <ac:spMkLst>
            <pc:docMk/>
            <pc:sldMk cId="1942033937" sldId="2147478573"/>
            <ac:spMk id="982" creationId="{5874F4D3-985D-9416-3C2B-019DEDAEEC26}"/>
          </ac:spMkLst>
        </pc:spChg>
        <pc:spChg chg="add del mod">
          <ac:chgData name="Steiner Andreas 6206 ED" userId="e6377c33-a923-4f14-8587-531c474c7b48" providerId="ADAL" clId="{6ECD27E6-B224-41CD-B4E0-E297462320DD}" dt="2023-11-24T11:42:42.148" v="150582"/>
          <ac:spMkLst>
            <pc:docMk/>
            <pc:sldMk cId="1942033937" sldId="2147478573"/>
            <ac:spMk id="983" creationId="{6339CC9B-696F-B9D3-C498-3BBBA2BE5160}"/>
          </ac:spMkLst>
        </pc:spChg>
        <pc:spChg chg="add del mod">
          <ac:chgData name="Steiner Andreas 6206 ED" userId="e6377c33-a923-4f14-8587-531c474c7b48" providerId="ADAL" clId="{6ECD27E6-B224-41CD-B4E0-E297462320DD}" dt="2023-11-24T11:42:44.246" v="150737"/>
          <ac:spMkLst>
            <pc:docMk/>
            <pc:sldMk cId="1942033937" sldId="2147478573"/>
            <ac:spMk id="984" creationId="{5391D155-6A23-EBE2-C0ED-B62038967D2B}"/>
          </ac:spMkLst>
        </pc:spChg>
        <pc:spChg chg="add del mod">
          <ac:chgData name="Steiner Andreas 6206 ED" userId="e6377c33-a923-4f14-8587-531c474c7b48" providerId="ADAL" clId="{6ECD27E6-B224-41CD-B4E0-E297462320DD}" dt="2023-11-24T11:42:46.471" v="150892"/>
          <ac:spMkLst>
            <pc:docMk/>
            <pc:sldMk cId="1942033937" sldId="2147478573"/>
            <ac:spMk id="985" creationId="{1B9114E0-A458-E05A-E0A4-67B8A13F8151}"/>
          </ac:spMkLst>
        </pc:spChg>
        <pc:spChg chg="add del mod">
          <ac:chgData name="Steiner Andreas 6206 ED" userId="e6377c33-a923-4f14-8587-531c474c7b48" providerId="ADAL" clId="{6ECD27E6-B224-41CD-B4E0-E297462320DD}" dt="2023-11-24T11:42:48.722" v="151047"/>
          <ac:spMkLst>
            <pc:docMk/>
            <pc:sldMk cId="1942033937" sldId="2147478573"/>
            <ac:spMk id="986" creationId="{D74FC51D-3F7E-67C8-3BC0-54E1091D2B25}"/>
          </ac:spMkLst>
        </pc:spChg>
        <pc:spChg chg="add del mod">
          <ac:chgData name="Steiner Andreas 6206 ED" userId="e6377c33-a923-4f14-8587-531c474c7b48" providerId="ADAL" clId="{6ECD27E6-B224-41CD-B4E0-E297462320DD}" dt="2023-11-24T11:42:50.953" v="151202"/>
          <ac:spMkLst>
            <pc:docMk/>
            <pc:sldMk cId="1942033937" sldId="2147478573"/>
            <ac:spMk id="987" creationId="{C6E25027-6EB3-A950-57D8-BE29DD7ED90F}"/>
          </ac:spMkLst>
        </pc:spChg>
        <pc:spChg chg="add del mod">
          <ac:chgData name="Steiner Andreas 6206 ED" userId="e6377c33-a923-4f14-8587-531c474c7b48" providerId="ADAL" clId="{6ECD27E6-B224-41CD-B4E0-E297462320DD}" dt="2023-11-24T11:42:53.304" v="151357"/>
          <ac:spMkLst>
            <pc:docMk/>
            <pc:sldMk cId="1942033937" sldId="2147478573"/>
            <ac:spMk id="988" creationId="{71CDC665-0A94-0DC1-A1B0-59CADEEF2ACD}"/>
          </ac:spMkLst>
        </pc:spChg>
        <pc:spChg chg="add del mod">
          <ac:chgData name="Steiner Andreas 6206 ED" userId="e6377c33-a923-4f14-8587-531c474c7b48" providerId="ADAL" clId="{6ECD27E6-B224-41CD-B4E0-E297462320DD}" dt="2023-11-24T11:42:55.543" v="151512"/>
          <ac:spMkLst>
            <pc:docMk/>
            <pc:sldMk cId="1942033937" sldId="2147478573"/>
            <ac:spMk id="989" creationId="{21B4F411-5A34-369F-311A-6DF2ACFEA1FF}"/>
          </ac:spMkLst>
        </pc:spChg>
        <pc:spChg chg="add del mod">
          <ac:chgData name="Steiner Andreas 6206 ED" userId="e6377c33-a923-4f14-8587-531c474c7b48" providerId="ADAL" clId="{6ECD27E6-B224-41CD-B4E0-E297462320DD}" dt="2023-11-24T11:42:57.995" v="151667"/>
          <ac:spMkLst>
            <pc:docMk/>
            <pc:sldMk cId="1942033937" sldId="2147478573"/>
            <ac:spMk id="990" creationId="{5194511A-8F95-6D02-97DD-E0DF08FA7FE1}"/>
          </ac:spMkLst>
        </pc:spChg>
        <pc:spChg chg="add del mod">
          <ac:chgData name="Steiner Andreas 6206 ED" userId="e6377c33-a923-4f14-8587-531c474c7b48" providerId="ADAL" clId="{6ECD27E6-B224-41CD-B4E0-E297462320DD}" dt="2023-11-24T11:43:01.723" v="151822"/>
          <ac:spMkLst>
            <pc:docMk/>
            <pc:sldMk cId="1942033937" sldId="2147478573"/>
            <ac:spMk id="991" creationId="{DF8061CE-B406-255D-782E-17C9D6EA1B27}"/>
          </ac:spMkLst>
        </pc:spChg>
        <pc:spChg chg="add del mod">
          <ac:chgData name="Steiner Andreas 6206 ED" userId="e6377c33-a923-4f14-8587-531c474c7b48" providerId="ADAL" clId="{6ECD27E6-B224-41CD-B4E0-E297462320DD}" dt="2023-11-24T11:43:04.024" v="151977"/>
          <ac:spMkLst>
            <pc:docMk/>
            <pc:sldMk cId="1942033937" sldId="2147478573"/>
            <ac:spMk id="992" creationId="{DACFF321-1DE4-3D4A-F5F4-486874219E2E}"/>
          </ac:spMkLst>
        </pc:spChg>
        <pc:spChg chg="add del mod">
          <ac:chgData name="Steiner Andreas 6206 ED" userId="e6377c33-a923-4f14-8587-531c474c7b48" providerId="ADAL" clId="{6ECD27E6-B224-41CD-B4E0-E297462320DD}" dt="2023-11-24T11:43:06.252" v="152132"/>
          <ac:spMkLst>
            <pc:docMk/>
            <pc:sldMk cId="1942033937" sldId="2147478573"/>
            <ac:spMk id="993" creationId="{46B6DC0C-A595-6E05-41E5-49D683164837}"/>
          </ac:spMkLst>
        </pc:spChg>
        <pc:spChg chg="add del mod">
          <ac:chgData name="Steiner Andreas 6206 ED" userId="e6377c33-a923-4f14-8587-531c474c7b48" providerId="ADAL" clId="{6ECD27E6-B224-41CD-B4E0-E297462320DD}" dt="2023-11-24T11:43:08.360" v="152287"/>
          <ac:spMkLst>
            <pc:docMk/>
            <pc:sldMk cId="1942033937" sldId="2147478573"/>
            <ac:spMk id="994" creationId="{34A6CB92-E95F-F851-B7DA-0F1C1A725320}"/>
          </ac:spMkLst>
        </pc:spChg>
        <pc:spChg chg="add del mod">
          <ac:chgData name="Steiner Andreas 6206 ED" userId="e6377c33-a923-4f14-8587-531c474c7b48" providerId="ADAL" clId="{6ECD27E6-B224-41CD-B4E0-E297462320DD}" dt="2023-11-24T11:43:10.516" v="152442"/>
          <ac:spMkLst>
            <pc:docMk/>
            <pc:sldMk cId="1942033937" sldId="2147478573"/>
            <ac:spMk id="995" creationId="{A5ABA68B-1349-FF4A-05CB-06A9D6C505D5}"/>
          </ac:spMkLst>
        </pc:spChg>
        <pc:spChg chg="add del mod">
          <ac:chgData name="Steiner Andreas 6206 ED" userId="e6377c33-a923-4f14-8587-531c474c7b48" providerId="ADAL" clId="{6ECD27E6-B224-41CD-B4E0-E297462320DD}" dt="2023-11-24T11:43:12.728" v="152597"/>
          <ac:spMkLst>
            <pc:docMk/>
            <pc:sldMk cId="1942033937" sldId="2147478573"/>
            <ac:spMk id="996" creationId="{0DA6E95E-22C9-38CA-E792-EC1827F770B6}"/>
          </ac:spMkLst>
        </pc:spChg>
        <pc:spChg chg="add del mod">
          <ac:chgData name="Steiner Andreas 6206 ED" userId="e6377c33-a923-4f14-8587-531c474c7b48" providerId="ADAL" clId="{6ECD27E6-B224-41CD-B4E0-E297462320DD}" dt="2023-11-24T11:43:15.040" v="152752"/>
          <ac:spMkLst>
            <pc:docMk/>
            <pc:sldMk cId="1942033937" sldId="2147478573"/>
            <ac:spMk id="997" creationId="{7E8EA6FE-3BC6-8DB3-5F5A-27546C4C0274}"/>
          </ac:spMkLst>
        </pc:spChg>
        <pc:spChg chg="add del mod">
          <ac:chgData name="Steiner Andreas 6206 ED" userId="e6377c33-a923-4f14-8587-531c474c7b48" providerId="ADAL" clId="{6ECD27E6-B224-41CD-B4E0-E297462320DD}" dt="2023-11-24T11:43:18.067" v="152907"/>
          <ac:spMkLst>
            <pc:docMk/>
            <pc:sldMk cId="1942033937" sldId="2147478573"/>
            <ac:spMk id="998" creationId="{5B6533EF-D33D-F926-37D2-1EB9FCA098C9}"/>
          </ac:spMkLst>
        </pc:spChg>
        <pc:spChg chg="add del mod">
          <ac:chgData name="Steiner Andreas 6206 ED" userId="e6377c33-a923-4f14-8587-531c474c7b48" providerId="ADAL" clId="{6ECD27E6-B224-41CD-B4E0-E297462320DD}" dt="2023-11-24T11:43:22.244" v="153062"/>
          <ac:spMkLst>
            <pc:docMk/>
            <pc:sldMk cId="1942033937" sldId="2147478573"/>
            <ac:spMk id="999" creationId="{AA8A42C0-1596-AF77-5AD6-530CBB6110B7}"/>
          </ac:spMkLst>
        </pc:spChg>
        <pc:spChg chg="add del mod">
          <ac:chgData name="Steiner Andreas 6206 ED" userId="e6377c33-a923-4f14-8587-531c474c7b48" providerId="ADAL" clId="{6ECD27E6-B224-41CD-B4E0-E297462320DD}" dt="2023-11-24T11:43:24.749" v="153217"/>
          <ac:spMkLst>
            <pc:docMk/>
            <pc:sldMk cId="1942033937" sldId="2147478573"/>
            <ac:spMk id="1000" creationId="{D4935210-55ED-9954-B9A3-64E7912B3406}"/>
          </ac:spMkLst>
        </pc:spChg>
        <pc:spChg chg="add del mod">
          <ac:chgData name="Steiner Andreas 6206 ED" userId="e6377c33-a923-4f14-8587-531c474c7b48" providerId="ADAL" clId="{6ECD27E6-B224-41CD-B4E0-E297462320DD}" dt="2023-11-24T11:43:27.030" v="153372"/>
          <ac:spMkLst>
            <pc:docMk/>
            <pc:sldMk cId="1942033937" sldId="2147478573"/>
            <ac:spMk id="1001" creationId="{6A79E1A3-9E2B-EA36-3B2E-DBB9D3E82511}"/>
          </ac:spMkLst>
        </pc:spChg>
        <pc:spChg chg="add del mod">
          <ac:chgData name="Steiner Andreas 6206 ED" userId="e6377c33-a923-4f14-8587-531c474c7b48" providerId="ADAL" clId="{6ECD27E6-B224-41CD-B4E0-E297462320DD}" dt="2023-11-24T11:43:29.294" v="153527"/>
          <ac:spMkLst>
            <pc:docMk/>
            <pc:sldMk cId="1942033937" sldId="2147478573"/>
            <ac:spMk id="1002" creationId="{25BA57FE-C56D-EADD-31D9-46238FC549A0}"/>
          </ac:spMkLst>
        </pc:spChg>
        <pc:spChg chg="add del mod">
          <ac:chgData name="Steiner Andreas 6206 ED" userId="e6377c33-a923-4f14-8587-531c474c7b48" providerId="ADAL" clId="{6ECD27E6-B224-41CD-B4E0-E297462320DD}" dt="2023-11-24T11:43:31.542" v="153682"/>
          <ac:spMkLst>
            <pc:docMk/>
            <pc:sldMk cId="1942033937" sldId="2147478573"/>
            <ac:spMk id="1003" creationId="{E1CC50B5-BC82-7764-9BC2-B78022C364DF}"/>
          </ac:spMkLst>
        </pc:spChg>
        <pc:spChg chg="add del mod">
          <ac:chgData name="Steiner Andreas 6206 ED" userId="e6377c33-a923-4f14-8587-531c474c7b48" providerId="ADAL" clId="{6ECD27E6-B224-41CD-B4E0-E297462320DD}" dt="2023-11-24T11:43:34.225" v="153837"/>
          <ac:spMkLst>
            <pc:docMk/>
            <pc:sldMk cId="1942033937" sldId="2147478573"/>
            <ac:spMk id="1004" creationId="{AB4A1C52-8261-408A-F4E4-190AE1650E7D}"/>
          </ac:spMkLst>
        </pc:spChg>
        <pc:spChg chg="add del mod">
          <ac:chgData name="Steiner Andreas 6206 ED" userId="e6377c33-a923-4f14-8587-531c474c7b48" providerId="ADAL" clId="{6ECD27E6-B224-41CD-B4E0-E297462320DD}" dt="2023-11-24T11:43:36.431" v="153992"/>
          <ac:spMkLst>
            <pc:docMk/>
            <pc:sldMk cId="1942033937" sldId="2147478573"/>
            <ac:spMk id="1005" creationId="{5721AEEF-D071-9C57-A5A1-104FBCDD521E}"/>
          </ac:spMkLst>
        </pc:spChg>
        <pc:spChg chg="add del mod">
          <ac:chgData name="Steiner Andreas 6206 ED" userId="e6377c33-a923-4f14-8587-531c474c7b48" providerId="ADAL" clId="{6ECD27E6-B224-41CD-B4E0-E297462320DD}" dt="2023-11-24T11:43:38.630" v="154147"/>
          <ac:spMkLst>
            <pc:docMk/>
            <pc:sldMk cId="1942033937" sldId="2147478573"/>
            <ac:spMk id="1006" creationId="{502BBAEB-53CD-B2D6-2FF5-870128153D95}"/>
          </ac:spMkLst>
        </pc:spChg>
        <pc:spChg chg="add del mod">
          <ac:chgData name="Steiner Andreas 6206 ED" userId="e6377c33-a923-4f14-8587-531c474c7b48" providerId="ADAL" clId="{6ECD27E6-B224-41CD-B4E0-E297462320DD}" dt="2023-11-24T11:43:40.901" v="154302"/>
          <ac:spMkLst>
            <pc:docMk/>
            <pc:sldMk cId="1942033937" sldId="2147478573"/>
            <ac:spMk id="1007" creationId="{2321071E-4977-22C5-6940-2CA1B665C0C0}"/>
          </ac:spMkLst>
        </pc:spChg>
        <pc:spChg chg="add del mod">
          <ac:chgData name="Steiner Andreas 6206 ED" userId="e6377c33-a923-4f14-8587-531c474c7b48" providerId="ADAL" clId="{6ECD27E6-B224-41CD-B4E0-E297462320DD}" dt="2023-11-24T11:43:43.901" v="154457"/>
          <ac:spMkLst>
            <pc:docMk/>
            <pc:sldMk cId="1942033937" sldId="2147478573"/>
            <ac:spMk id="1008" creationId="{F2BC17EB-0852-0447-155B-54CD868E20E1}"/>
          </ac:spMkLst>
        </pc:spChg>
        <pc:spChg chg="add del mod">
          <ac:chgData name="Steiner Andreas 6206 ED" userId="e6377c33-a923-4f14-8587-531c474c7b48" providerId="ADAL" clId="{6ECD27E6-B224-41CD-B4E0-E297462320DD}" dt="2023-11-24T11:43:46.236" v="154612"/>
          <ac:spMkLst>
            <pc:docMk/>
            <pc:sldMk cId="1942033937" sldId="2147478573"/>
            <ac:spMk id="1009" creationId="{E268472E-A72D-CEE4-C1C4-E988D9C19B6E}"/>
          </ac:spMkLst>
        </pc:spChg>
        <pc:spChg chg="add del mod">
          <ac:chgData name="Steiner Andreas 6206 ED" userId="e6377c33-a923-4f14-8587-531c474c7b48" providerId="ADAL" clId="{6ECD27E6-B224-41CD-B4E0-E297462320DD}" dt="2023-11-24T11:43:48.546" v="154767"/>
          <ac:spMkLst>
            <pc:docMk/>
            <pc:sldMk cId="1942033937" sldId="2147478573"/>
            <ac:spMk id="1010" creationId="{70638CED-AC57-B82B-3DCE-B10907A83848}"/>
          </ac:spMkLst>
        </pc:spChg>
        <pc:spChg chg="add del mod">
          <ac:chgData name="Steiner Andreas 6206 ED" userId="e6377c33-a923-4f14-8587-531c474c7b48" providerId="ADAL" clId="{6ECD27E6-B224-41CD-B4E0-E297462320DD}" dt="2023-11-24T11:43:50.597" v="154922"/>
          <ac:spMkLst>
            <pc:docMk/>
            <pc:sldMk cId="1942033937" sldId="2147478573"/>
            <ac:spMk id="1011" creationId="{92030138-6629-B43E-2AA0-F2A715B74DC8}"/>
          </ac:spMkLst>
        </pc:spChg>
        <pc:spChg chg="add del mod">
          <ac:chgData name="Steiner Andreas 6206 ED" userId="e6377c33-a923-4f14-8587-531c474c7b48" providerId="ADAL" clId="{6ECD27E6-B224-41CD-B4E0-E297462320DD}" dt="2023-11-24T11:43:52.791" v="155077"/>
          <ac:spMkLst>
            <pc:docMk/>
            <pc:sldMk cId="1942033937" sldId="2147478573"/>
            <ac:spMk id="1012" creationId="{159B7974-BF4B-7A1D-1A44-F082A80562DA}"/>
          </ac:spMkLst>
        </pc:spChg>
        <pc:spChg chg="add del mod">
          <ac:chgData name="Steiner Andreas 6206 ED" userId="e6377c33-a923-4f14-8587-531c474c7b48" providerId="ADAL" clId="{6ECD27E6-B224-41CD-B4E0-E297462320DD}" dt="2023-11-24T11:43:55.760" v="155232"/>
          <ac:spMkLst>
            <pc:docMk/>
            <pc:sldMk cId="1942033937" sldId="2147478573"/>
            <ac:spMk id="1013" creationId="{F466185A-A5D7-0590-5E24-A7258FF7E2DE}"/>
          </ac:spMkLst>
        </pc:spChg>
        <pc:spChg chg="add del mod">
          <ac:chgData name="Steiner Andreas 6206 ED" userId="e6377c33-a923-4f14-8587-531c474c7b48" providerId="ADAL" clId="{6ECD27E6-B224-41CD-B4E0-E297462320DD}" dt="2023-11-24T11:43:58.142" v="155387"/>
          <ac:spMkLst>
            <pc:docMk/>
            <pc:sldMk cId="1942033937" sldId="2147478573"/>
            <ac:spMk id="1014" creationId="{1FAC7795-A682-CFB2-0DF4-419E7557BEEE}"/>
          </ac:spMkLst>
        </pc:spChg>
        <pc:spChg chg="add del mod">
          <ac:chgData name="Steiner Andreas 6206 ED" userId="e6377c33-a923-4f14-8587-531c474c7b48" providerId="ADAL" clId="{6ECD27E6-B224-41CD-B4E0-E297462320DD}" dt="2023-11-24T11:44:00.255" v="155542"/>
          <ac:spMkLst>
            <pc:docMk/>
            <pc:sldMk cId="1942033937" sldId="2147478573"/>
            <ac:spMk id="1015" creationId="{A6AAAAD2-115A-9F87-6501-F65671699B9F}"/>
          </ac:spMkLst>
        </pc:spChg>
        <pc:spChg chg="add del mod">
          <ac:chgData name="Steiner Andreas 6206 ED" userId="e6377c33-a923-4f14-8587-531c474c7b48" providerId="ADAL" clId="{6ECD27E6-B224-41CD-B4E0-E297462320DD}" dt="2023-11-24T11:44:02.265" v="155697"/>
          <ac:spMkLst>
            <pc:docMk/>
            <pc:sldMk cId="1942033937" sldId="2147478573"/>
            <ac:spMk id="1016" creationId="{03DAFA81-9A09-1F2D-3E40-D7641334334D}"/>
          </ac:spMkLst>
        </pc:spChg>
        <pc:spChg chg="add del mod">
          <ac:chgData name="Steiner Andreas 6206 ED" userId="e6377c33-a923-4f14-8587-531c474c7b48" providerId="ADAL" clId="{6ECD27E6-B224-41CD-B4E0-E297462320DD}" dt="2023-11-24T11:44:04.307" v="155852"/>
          <ac:spMkLst>
            <pc:docMk/>
            <pc:sldMk cId="1942033937" sldId="2147478573"/>
            <ac:spMk id="1017" creationId="{18B6D86D-6ABB-1015-A162-AF050C29ECA1}"/>
          </ac:spMkLst>
        </pc:spChg>
        <pc:spChg chg="add del mod">
          <ac:chgData name="Steiner Andreas 6206 ED" userId="e6377c33-a923-4f14-8587-531c474c7b48" providerId="ADAL" clId="{6ECD27E6-B224-41CD-B4E0-E297462320DD}" dt="2023-11-24T11:44:06.316" v="156007"/>
          <ac:spMkLst>
            <pc:docMk/>
            <pc:sldMk cId="1942033937" sldId="2147478573"/>
            <ac:spMk id="1018" creationId="{CAED6110-15C5-A8F0-FF6C-701AE042A393}"/>
          </ac:spMkLst>
        </pc:spChg>
        <pc:spChg chg="add del mod">
          <ac:chgData name="Steiner Andreas 6206 ED" userId="e6377c33-a923-4f14-8587-531c474c7b48" providerId="ADAL" clId="{6ECD27E6-B224-41CD-B4E0-E297462320DD}" dt="2023-11-24T11:44:08.504" v="156162"/>
          <ac:spMkLst>
            <pc:docMk/>
            <pc:sldMk cId="1942033937" sldId="2147478573"/>
            <ac:spMk id="1019" creationId="{4E8FC163-58A4-9557-84AD-A0B2E2164199}"/>
          </ac:spMkLst>
        </pc:spChg>
        <pc:spChg chg="add del mod">
          <ac:chgData name="Steiner Andreas 6206 ED" userId="e6377c33-a923-4f14-8587-531c474c7b48" providerId="ADAL" clId="{6ECD27E6-B224-41CD-B4E0-E297462320DD}" dt="2023-11-24T11:44:10.563" v="156317"/>
          <ac:spMkLst>
            <pc:docMk/>
            <pc:sldMk cId="1942033937" sldId="2147478573"/>
            <ac:spMk id="1020" creationId="{0EA508CA-E8C0-E89D-ECCE-97004E0FBCE1}"/>
          </ac:spMkLst>
        </pc:spChg>
        <pc:spChg chg="add del mod">
          <ac:chgData name="Steiner Andreas 6206 ED" userId="e6377c33-a923-4f14-8587-531c474c7b48" providerId="ADAL" clId="{6ECD27E6-B224-41CD-B4E0-E297462320DD}" dt="2023-11-24T11:44:12.561" v="156472"/>
          <ac:spMkLst>
            <pc:docMk/>
            <pc:sldMk cId="1942033937" sldId="2147478573"/>
            <ac:spMk id="1021" creationId="{507DCDDD-E02C-0BB5-0B0A-97E4D3E5445C}"/>
          </ac:spMkLst>
        </pc:spChg>
        <pc:spChg chg="add del mod">
          <ac:chgData name="Steiner Andreas 6206 ED" userId="e6377c33-a923-4f14-8587-531c474c7b48" providerId="ADAL" clId="{6ECD27E6-B224-41CD-B4E0-E297462320DD}" dt="2023-11-24T11:44:14.556" v="156627"/>
          <ac:spMkLst>
            <pc:docMk/>
            <pc:sldMk cId="1942033937" sldId="2147478573"/>
            <ac:spMk id="1022" creationId="{80C20C41-FB8B-2661-4B1C-ED9211062B5B}"/>
          </ac:spMkLst>
        </pc:spChg>
        <pc:spChg chg="add del mod">
          <ac:chgData name="Steiner Andreas 6206 ED" userId="e6377c33-a923-4f14-8587-531c474c7b48" providerId="ADAL" clId="{6ECD27E6-B224-41CD-B4E0-E297462320DD}" dt="2023-11-24T11:44:16.547" v="156782"/>
          <ac:spMkLst>
            <pc:docMk/>
            <pc:sldMk cId="1942033937" sldId="2147478573"/>
            <ac:spMk id="1023" creationId="{AD34ABA4-376D-2B9A-F032-3ABAADF72824}"/>
          </ac:spMkLst>
        </pc:spChg>
        <pc:spChg chg="add del mod">
          <ac:chgData name="Steiner Andreas 6206 ED" userId="e6377c33-a923-4f14-8587-531c474c7b48" providerId="ADAL" clId="{6ECD27E6-B224-41CD-B4E0-E297462320DD}" dt="2023-11-24T11:44:18.633" v="156937"/>
          <ac:spMkLst>
            <pc:docMk/>
            <pc:sldMk cId="1942033937" sldId="2147478573"/>
            <ac:spMk id="1024" creationId="{AD261BDE-291B-800F-0F97-F4926A05E289}"/>
          </ac:spMkLst>
        </pc:spChg>
        <pc:spChg chg="add del mod">
          <ac:chgData name="Steiner Andreas 6206 ED" userId="e6377c33-a923-4f14-8587-531c474c7b48" providerId="ADAL" clId="{6ECD27E6-B224-41CD-B4E0-E297462320DD}" dt="2023-11-24T11:44:20.761" v="157092"/>
          <ac:spMkLst>
            <pc:docMk/>
            <pc:sldMk cId="1942033937" sldId="2147478573"/>
            <ac:spMk id="1025" creationId="{8B2E83A1-9E27-B024-8AC7-A31512F457E3}"/>
          </ac:spMkLst>
        </pc:spChg>
        <pc:spChg chg="add del mod">
          <ac:chgData name="Steiner Andreas 6206 ED" userId="e6377c33-a923-4f14-8587-531c474c7b48" providerId="ADAL" clId="{6ECD27E6-B224-41CD-B4E0-E297462320DD}" dt="2023-11-24T11:44:23.077" v="157247"/>
          <ac:spMkLst>
            <pc:docMk/>
            <pc:sldMk cId="1942033937" sldId="2147478573"/>
            <ac:spMk id="1026" creationId="{02115BC4-19A5-69A9-AB9D-20330FE45602}"/>
          </ac:spMkLst>
        </pc:spChg>
        <pc:spChg chg="add del mod">
          <ac:chgData name="Steiner Andreas 6206 ED" userId="e6377c33-a923-4f14-8587-531c474c7b48" providerId="ADAL" clId="{6ECD27E6-B224-41CD-B4E0-E297462320DD}" dt="2023-11-24T11:44:25.250" v="157402"/>
          <ac:spMkLst>
            <pc:docMk/>
            <pc:sldMk cId="1942033937" sldId="2147478573"/>
            <ac:spMk id="1027" creationId="{1EEE25DF-046B-D781-DA48-C6991E9BDF77}"/>
          </ac:spMkLst>
        </pc:spChg>
        <pc:spChg chg="add del mod">
          <ac:chgData name="Steiner Andreas 6206 ED" userId="e6377c33-a923-4f14-8587-531c474c7b48" providerId="ADAL" clId="{6ECD27E6-B224-41CD-B4E0-E297462320DD}" dt="2023-11-24T11:44:30.635" v="157557"/>
          <ac:spMkLst>
            <pc:docMk/>
            <pc:sldMk cId="1942033937" sldId="2147478573"/>
            <ac:spMk id="1028" creationId="{2F0C3F1A-A4F9-5819-C3A7-35BEDC8E06FA}"/>
          </ac:spMkLst>
        </pc:spChg>
        <pc:spChg chg="add mod">
          <ac:chgData name="Steiner Andreas 6206 ED" userId="e6377c33-a923-4f14-8587-531c474c7b48" providerId="ADAL" clId="{6ECD27E6-B224-41CD-B4E0-E297462320DD}" dt="2023-11-24T11:44:30.635" v="157558"/>
          <ac:spMkLst>
            <pc:docMk/>
            <pc:sldMk cId="1942033937" sldId="2147478573"/>
            <ac:spMk id="1029" creationId="{686B0B9F-DFEC-62C3-0F18-6B3AC6173406}"/>
          </ac:spMkLst>
        </pc:spChg>
      </pc:sldChg>
      <pc:sldChg chg="addSp delSp modSp mod">
        <pc:chgData name="Steiner Andreas 6206 ED" userId="e6377c33-a923-4f14-8587-531c474c7b48" providerId="ADAL" clId="{6ECD27E6-B224-41CD-B4E0-E297462320DD}" dt="2023-11-24T11:44:30.705" v="157590"/>
        <pc:sldMkLst>
          <pc:docMk/>
          <pc:sldMk cId="2637169229" sldId="2147478574"/>
        </pc:sldMkLst>
        <pc:spChg chg="mod">
          <ac:chgData name="Steiner Andreas 6206 ED" userId="e6377c33-a923-4f14-8587-531c474c7b48" providerId="ADAL" clId="{6ECD27E6-B224-41CD-B4E0-E297462320DD}" dt="2023-11-24T11:44:30.705" v="157586" actId="20577"/>
          <ac:spMkLst>
            <pc:docMk/>
            <pc:sldMk cId="2637169229" sldId="2147478574"/>
            <ac:spMk id="3" creationId="{94625422-E791-16A2-58EC-31B35811A76E}"/>
          </ac:spMkLst>
        </pc:spChg>
        <pc:spChg chg="del">
          <ac:chgData name="Steiner Andreas 6206 ED" userId="e6377c33-a923-4f14-8587-531c474c7b48" providerId="ADAL" clId="{6ECD27E6-B224-41CD-B4E0-E297462320DD}" dt="2023-11-23T19:49:53.540" v="99"/>
          <ac:spMkLst>
            <pc:docMk/>
            <pc:sldMk cId="2637169229" sldId="2147478574"/>
            <ac:spMk id="5" creationId="{F2F3BD0F-2E61-692E-67EB-8189307D5BCD}"/>
          </ac:spMkLst>
        </pc:spChg>
        <pc:spChg chg="add del mod">
          <ac:chgData name="Steiner Andreas 6206 ED" userId="e6377c33-a923-4f14-8587-531c474c7b48" providerId="ADAL" clId="{6ECD27E6-B224-41CD-B4E0-E297462320DD}" dt="2023-11-23T19:49:53.543" v="102"/>
          <ac:spMkLst>
            <pc:docMk/>
            <pc:sldMk cId="2637169229" sldId="2147478574"/>
            <ac:spMk id="8" creationId="{F59ED496-C1A6-80C3-8A1D-E5F001AE29A0}"/>
          </ac:spMkLst>
        </pc:spChg>
        <pc:spChg chg="add del mod">
          <ac:chgData name="Steiner Andreas 6206 ED" userId="e6377c33-a923-4f14-8587-531c474c7b48" providerId="ADAL" clId="{6ECD27E6-B224-41CD-B4E0-E297462320DD}" dt="2023-11-23T19:49:54.463" v="264"/>
          <ac:spMkLst>
            <pc:docMk/>
            <pc:sldMk cId="2637169229" sldId="2147478574"/>
            <ac:spMk id="9" creationId="{3407C717-FCF7-733A-75FB-C60366227B52}"/>
          </ac:spMkLst>
        </pc:spChg>
        <pc:spChg chg="add del mod">
          <ac:chgData name="Steiner Andreas 6206 ED" userId="e6377c33-a923-4f14-8587-531c474c7b48" providerId="ADAL" clId="{6ECD27E6-B224-41CD-B4E0-E297462320DD}" dt="2023-11-23T19:50:25.271" v="419"/>
          <ac:spMkLst>
            <pc:docMk/>
            <pc:sldMk cId="2637169229" sldId="2147478574"/>
            <ac:spMk id="10" creationId="{500407D2-72A2-8591-3046-6078A6845254}"/>
          </ac:spMkLst>
        </pc:spChg>
        <pc:spChg chg="add del mod">
          <ac:chgData name="Steiner Andreas 6206 ED" userId="e6377c33-a923-4f14-8587-531c474c7b48" providerId="ADAL" clId="{6ECD27E6-B224-41CD-B4E0-E297462320DD}" dt="2023-11-23T19:50:35.071" v="574"/>
          <ac:spMkLst>
            <pc:docMk/>
            <pc:sldMk cId="2637169229" sldId="2147478574"/>
            <ac:spMk id="11" creationId="{B0B801B9-A3E0-6614-78E6-BE0C2436A113}"/>
          </ac:spMkLst>
        </pc:spChg>
        <pc:spChg chg="add del mod">
          <ac:chgData name="Steiner Andreas 6206 ED" userId="e6377c33-a923-4f14-8587-531c474c7b48" providerId="ADAL" clId="{6ECD27E6-B224-41CD-B4E0-E297462320DD}" dt="2023-11-23T19:50:46.742" v="729"/>
          <ac:spMkLst>
            <pc:docMk/>
            <pc:sldMk cId="2637169229" sldId="2147478574"/>
            <ac:spMk id="12" creationId="{7E0274CF-5577-E071-2D63-84D4249F8A4F}"/>
          </ac:spMkLst>
        </pc:spChg>
        <pc:spChg chg="add del mod">
          <ac:chgData name="Steiner Andreas 6206 ED" userId="e6377c33-a923-4f14-8587-531c474c7b48" providerId="ADAL" clId="{6ECD27E6-B224-41CD-B4E0-E297462320DD}" dt="2023-11-23T19:50:58.449" v="884"/>
          <ac:spMkLst>
            <pc:docMk/>
            <pc:sldMk cId="2637169229" sldId="2147478574"/>
            <ac:spMk id="13" creationId="{A29FB2D8-9208-F71E-B0C2-76217CA03D5A}"/>
          </ac:spMkLst>
        </pc:spChg>
        <pc:spChg chg="add del mod">
          <ac:chgData name="Steiner Andreas 6206 ED" userId="e6377c33-a923-4f14-8587-531c474c7b48" providerId="ADAL" clId="{6ECD27E6-B224-41CD-B4E0-E297462320DD}" dt="2023-11-23T19:51:09.128" v="1039"/>
          <ac:spMkLst>
            <pc:docMk/>
            <pc:sldMk cId="2637169229" sldId="2147478574"/>
            <ac:spMk id="14" creationId="{5829F106-F8E7-9852-8C45-D5D172B61AE8}"/>
          </ac:spMkLst>
        </pc:spChg>
        <pc:spChg chg="add del mod">
          <ac:chgData name="Steiner Andreas 6206 ED" userId="e6377c33-a923-4f14-8587-531c474c7b48" providerId="ADAL" clId="{6ECD27E6-B224-41CD-B4E0-E297462320DD}" dt="2023-11-23T19:51:20.118" v="1194"/>
          <ac:spMkLst>
            <pc:docMk/>
            <pc:sldMk cId="2637169229" sldId="2147478574"/>
            <ac:spMk id="15" creationId="{7B637E32-F306-B72A-5029-EAF010E2A810}"/>
          </ac:spMkLst>
        </pc:spChg>
        <pc:spChg chg="add del mod">
          <ac:chgData name="Steiner Andreas 6206 ED" userId="e6377c33-a923-4f14-8587-531c474c7b48" providerId="ADAL" clId="{6ECD27E6-B224-41CD-B4E0-E297462320DD}" dt="2023-11-23T19:51:31.593" v="1349"/>
          <ac:spMkLst>
            <pc:docMk/>
            <pc:sldMk cId="2637169229" sldId="2147478574"/>
            <ac:spMk id="16" creationId="{A68BF883-BC75-BC7E-834A-0B9FD93704D9}"/>
          </ac:spMkLst>
        </pc:spChg>
        <pc:spChg chg="add del mod">
          <ac:chgData name="Steiner Andreas 6206 ED" userId="e6377c33-a923-4f14-8587-531c474c7b48" providerId="ADAL" clId="{6ECD27E6-B224-41CD-B4E0-E297462320DD}" dt="2023-11-23T19:51:42.256" v="1504"/>
          <ac:spMkLst>
            <pc:docMk/>
            <pc:sldMk cId="2637169229" sldId="2147478574"/>
            <ac:spMk id="17" creationId="{66FF66DD-B772-4D47-1E80-62C0B1A6A0EE}"/>
          </ac:spMkLst>
        </pc:spChg>
        <pc:spChg chg="add del mod">
          <ac:chgData name="Steiner Andreas 6206 ED" userId="e6377c33-a923-4f14-8587-531c474c7b48" providerId="ADAL" clId="{6ECD27E6-B224-41CD-B4E0-E297462320DD}" dt="2023-11-23T19:51:53.591" v="1659"/>
          <ac:spMkLst>
            <pc:docMk/>
            <pc:sldMk cId="2637169229" sldId="2147478574"/>
            <ac:spMk id="18" creationId="{970AA60F-CC90-F898-1924-A64BEB95A206}"/>
          </ac:spMkLst>
        </pc:spChg>
        <pc:spChg chg="add del mod">
          <ac:chgData name="Steiner Andreas 6206 ED" userId="e6377c33-a923-4f14-8587-531c474c7b48" providerId="ADAL" clId="{6ECD27E6-B224-41CD-B4E0-E297462320DD}" dt="2023-11-23T19:52:05.241" v="1814"/>
          <ac:spMkLst>
            <pc:docMk/>
            <pc:sldMk cId="2637169229" sldId="2147478574"/>
            <ac:spMk id="19" creationId="{BCE83602-DCFD-57EB-E3BD-4DB7F2DE0A1B}"/>
          </ac:spMkLst>
        </pc:spChg>
        <pc:spChg chg="add del mod">
          <ac:chgData name="Steiner Andreas 6206 ED" userId="e6377c33-a923-4f14-8587-531c474c7b48" providerId="ADAL" clId="{6ECD27E6-B224-41CD-B4E0-E297462320DD}" dt="2023-11-23T19:52:16.947" v="1969"/>
          <ac:spMkLst>
            <pc:docMk/>
            <pc:sldMk cId="2637169229" sldId="2147478574"/>
            <ac:spMk id="20" creationId="{7AC0C233-E2D1-BD73-FC94-F14B3B27D50A}"/>
          </ac:spMkLst>
        </pc:spChg>
        <pc:spChg chg="add del mod">
          <ac:chgData name="Steiner Andreas 6206 ED" userId="e6377c33-a923-4f14-8587-531c474c7b48" providerId="ADAL" clId="{6ECD27E6-B224-41CD-B4E0-E297462320DD}" dt="2023-11-23T19:52:28.639" v="2124"/>
          <ac:spMkLst>
            <pc:docMk/>
            <pc:sldMk cId="2637169229" sldId="2147478574"/>
            <ac:spMk id="21" creationId="{65AB2DE1-7F6B-3102-D7FA-FC8969E5AC10}"/>
          </ac:spMkLst>
        </pc:spChg>
        <pc:spChg chg="add del mod">
          <ac:chgData name="Steiner Andreas 6206 ED" userId="e6377c33-a923-4f14-8587-531c474c7b48" providerId="ADAL" clId="{6ECD27E6-B224-41CD-B4E0-E297462320DD}" dt="2023-11-23T19:52:40.325" v="2279"/>
          <ac:spMkLst>
            <pc:docMk/>
            <pc:sldMk cId="2637169229" sldId="2147478574"/>
            <ac:spMk id="22" creationId="{3FAD0915-1517-3E16-2AAD-55089887489E}"/>
          </ac:spMkLst>
        </pc:spChg>
        <pc:spChg chg="add del mod">
          <ac:chgData name="Steiner Andreas 6206 ED" userId="e6377c33-a923-4f14-8587-531c474c7b48" providerId="ADAL" clId="{6ECD27E6-B224-41CD-B4E0-E297462320DD}" dt="2023-11-23T19:52:51.712" v="2434"/>
          <ac:spMkLst>
            <pc:docMk/>
            <pc:sldMk cId="2637169229" sldId="2147478574"/>
            <ac:spMk id="23" creationId="{013B3372-05DB-EE57-F48A-6C625FB4E77F}"/>
          </ac:spMkLst>
        </pc:spChg>
        <pc:spChg chg="add del mod">
          <ac:chgData name="Steiner Andreas 6206 ED" userId="e6377c33-a923-4f14-8587-531c474c7b48" providerId="ADAL" clId="{6ECD27E6-B224-41CD-B4E0-E297462320DD}" dt="2023-11-23T19:53:03.387" v="2589"/>
          <ac:spMkLst>
            <pc:docMk/>
            <pc:sldMk cId="2637169229" sldId="2147478574"/>
            <ac:spMk id="24" creationId="{6C937DF0-8DB1-BB58-B79D-AA7296FBFA70}"/>
          </ac:spMkLst>
        </pc:spChg>
        <pc:spChg chg="add del mod">
          <ac:chgData name="Steiner Andreas 6206 ED" userId="e6377c33-a923-4f14-8587-531c474c7b48" providerId="ADAL" clId="{6ECD27E6-B224-41CD-B4E0-E297462320DD}" dt="2023-11-23T19:53:15.120" v="2744"/>
          <ac:spMkLst>
            <pc:docMk/>
            <pc:sldMk cId="2637169229" sldId="2147478574"/>
            <ac:spMk id="25" creationId="{95326B89-A200-7A2C-5F87-35BB3C1C58DB}"/>
          </ac:spMkLst>
        </pc:spChg>
        <pc:spChg chg="add del mod">
          <ac:chgData name="Steiner Andreas 6206 ED" userId="e6377c33-a923-4f14-8587-531c474c7b48" providerId="ADAL" clId="{6ECD27E6-B224-41CD-B4E0-E297462320DD}" dt="2023-11-23T19:53:26.803" v="2899"/>
          <ac:spMkLst>
            <pc:docMk/>
            <pc:sldMk cId="2637169229" sldId="2147478574"/>
            <ac:spMk id="26" creationId="{7A6F6AD3-2246-FD9E-8D1B-A592C63F92BF}"/>
          </ac:spMkLst>
        </pc:spChg>
        <pc:spChg chg="add del mod">
          <ac:chgData name="Steiner Andreas 6206 ED" userId="e6377c33-a923-4f14-8587-531c474c7b48" providerId="ADAL" clId="{6ECD27E6-B224-41CD-B4E0-E297462320DD}" dt="2023-11-23T19:53:38.461" v="3054"/>
          <ac:spMkLst>
            <pc:docMk/>
            <pc:sldMk cId="2637169229" sldId="2147478574"/>
            <ac:spMk id="27" creationId="{AE83F2A2-AA91-8853-4B93-9A124D473D3E}"/>
          </ac:spMkLst>
        </pc:spChg>
        <pc:spChg chg="add del mod">
          <ac:chgData name="Steiner Andreas 6206 ED" userId="e6377c33-a923-4f14-8587-531c474c7b48" providerId="ADAL" clId="{6ECD27E6-B224-41CD-B4E0-E297462320DD}" dt="2023-11-23T19:53:50.123" v="3209"/>
          <ac:spMkLst>
            <pc:docMk/>
            <pc:sldMk cId="2637169229" sldId="2147478574"/>
            <ac:spMk id="28" creationId="{61015AC4-1515-E244-755A-67ACA329AC8C}"/>
          </ac:spMkLst>
        </pc:spChg>
        <pc:spChg chg="add del mod">
          <ac:chgData name="Steiner Andreas 6206 ED" userId="e6377c33-a923-4f14-8587-531c474c7b48" providerId="ADAL" clId="{6ECD27E6-B224-41CD-B4E0-E297462320DD}" dt="2023-11-23T19:54:01.797" v="3364"/>
          <ac:spMkLst>
            <pc:docMk/>
            <pc:sldMk cId="2637169229" sldId="2147478574"/>
            <ac:spMk id="29" creationId="{0BB29E62-EACE-150D-963E-90644DB86ED1}"/>
          </ac:spMkLst>
        </pc:spChg>
        <pc:spChg chg="add del mod">
          <ac:chgData name="Steiner Andreas 6206 ED" userId="e6377c33-a923-4f14-8587-531c474c7b48" providerId="ADAL" clId="{6ECD27E6-B224-41CD-B4E0-E297462320DD}" dt="2023-11-23T19:54:13.489" v="3519"/>
          <ac:spMkLst>
            <pc:docMk/>
            <pc:sldMk cId="2637169229" sldId="2147478574"/>
            <ac:spMk id="30" creationId="{FEB96F96-1F19-50A5-AFCB-AC91937F29D6}"/>
          </ac:spMkLst>
        </pc:spChg>
        <pc:spChg chg="add del mod">
          <ac:chgData name="Steiner Andreas 6206 ED" userId="e6377c33-a923-4f14-8587-531c474c7b48" providerId="ADAL" clId="{6ECD27E6-B224-41CD-B4E0-E297462320DD}" dt="2023-11-23T19:54:25.152" v="3674"/>
          <ac:spMkLst>
            <pc:docMk/>
            <pc:sldMk cId="2637169229" sldId="2147478574"/>
            <ac:spMk id="31" creationId="{3E423D47-C2F1-DEF9-DECC-79C187FA0870}"/>
          </ac:spMkLst>
        </pc:spChg>
        <pc:spChg chg="add del mod">
          <ac:chgData name="Steiner Andreas 6206 ED" userId="e6377c33-a923-4f14-8587-531c474c7b48" providerId="ADAL" clId="{6ECD27E6-B224-41CD-B4E0-E297462320DD}" dt="2023-11-23T19:54:36.870" v="3829"/>
          <ac:spMkLst>
            <pc:docMk/>
            <pc:sldMk cId="2637169229" sldId="2147478574"/>
            <ac:spMk id="32" creationId="{EDCA52B9-76C2-CC82-68E3-E0688629D13C}"/>
          </ac:spMkLst>
        </pc:spChg>
        <pc:spChg chg="add del mod">
          <ac:chgData name="Steiner Andreas 6206 ED" userId="e6377c33-a923-4f14-8587-531c474c7b48" providerId="ADAL" clId="{6ECD27E6-B224-41CD-B4E0-E297462320DD}" dt="2023-11-23T19:54:48.198" v="3984"/>
          <ac:spMkLst>
            <pc:docMk/>
            <pc:sldMk cId="2637169229" sldId="2147478574"/>
            <ac:spMk id="33" creationId="{74049950-0ED7-2FA2-30B8-B90D4DECC5A6}"/>
          </ac:spMkLst>
        </pc:spChg>
        <pc:spChg chg="add del mod">
          <ac:chgData name="Steiner Andreas 6206 ED" userId="e6377c33-a923-4f14-8587-531c474c7b48" providerId="ADAL" clId="{6ECD27E6-B224-41CD-B4E0-E297462320DD}" dt="2023-11-23T19:54:59.842" v="4139"/>
          <ac:spMkLst>
            <pc:docMk/>
            <pc:sldMk cId="2637169229" sldId="2147478574"/>
            <ac:spMk id="34" creationId="{4303C839-FB11-B62B-BE48-05D4268CD159}"/>
          </ac:spMkLst>
        </pc:spChg>
        <pc:spChg chg="add del mod">
          <ac:chgData name="Steiner Andreas 6206 ED" userId="e6377c33-a923-4f14-8587-531c474c7b48" providerId="ADAL" clId="{6ECD27E6-B224-41CD-B4E0-E297462320DD}" dt="2023-11-23T19:55:11.578" v="4294"/>
          <ac:spMkLst>
            <pc:docMk/>
            <pc:sldMk cId="2637169229" sldId="2147478574"/>
            <ac:spMk id="35" creationId="{A2CC1194-636D-B380-EB8B-A1B11B38AAC9}"/>
          </ac:spMkLst>
        </pc:spChg>
        <pc:spChg chg="add del mod">
          <ac:chgData name="Steiner Andreas 6206 ED" userId="e6377c33-a923-4f14-8587-531c474c7b48" providerId="ADAL" clId="{6ECD27E6-B224-41CD-B4E0-E297462320DD}" dt="2023-11-23T19:55:23.255" v="4449"/>
          <ac:spMkLst>
            <pc:docMk/>
            <pc:sldMk cId="2637169229" sldId="2147478574"/>
            <ac:spMk id="36" creationId="{7B7D6E9B-683E-8A5D-1868-8A7BAB7E7149}"/>
          </ac:spMkLst>
        </pc:spChg>
        <pc:spChg chg="add del mod">
          <ac:chgData name="Steiner Andreas 6206 ED" userId="e6377c33-a923-4f14-8587-531c474c7b48" providerId="ADAL" clId="{6ECD27E6-B224-41CD-B4E0-E297462320DD}" dt="2023-11-23T19:55:34.899" v="4604"/>
          <ac:spMkLst>
            <pc:docMk/>
            <pc:sldMk cId="2637169229" sldId="2147478574"/>
            <ac:spMk id="37" creationId="{1EA99A7F-3650-3B4A-6633-D05821B72828}"/>
          </ac:spMkLst>
        </pc:spChg>
        <pc:spChg chg="add del mod">
          <ac:chgData name="Steiner Andreas 6206 ED" userId="e6377c33-a923-4f14-8587-531c474c7b48" providerId="ADAL" clId="{6ECD27E6-B224-41CD-B4E0-E297462320DD}" dt="2023-11-23T19:55:46.230" v="4759"/>
          <ac:spMkLst>
            <pc:docMk/>
            <pc:sldMk cId="2637169229" sldId="2147478574"/>
            <ac:spMk id="38" creationId="{95D7E63B-2199-1862-8141-BABFF1F117A2}"/>
          </ac:spMkLst>
        </pc:spChg>
        <pc:spChg chg="add del mod">
          <ac:chgData name="Steiner Andreas 6206 ED" userId="e6377c33-a923-4f14-8587-531c474c7b48" providerId="ADAL" clId="{6ECD27E6-B224-41CD-B4E0-E297462320DD}" dt="2023-11-23T19:55:57.898" v="4914"/>
          <ac:spMkLst>
            <pc:docMk/>
            <pc:sldMk cId="2637169229" sldId="2147478574"/>
            <ac:spMk id="39" creationId="{57492D15-7A10-23BB-5C4B-975EC7709DCA}"/>
          </ac:spMkLst>
        </pc:spChg>
        <pc:spChg chg="add del mod">
          <ac:chgData name="Steiner Andreas 6206 ED" userId="e6377c33-a923-4f14-8587-531c474c7b48" providerId="ADAL" clId="{6ECD27E6-B224-41CD-B4E0-E297462320DD}" dt="2023-11-23T19:56:09.568" v="5069"/>
          <ac:spMkLst>
            <pc:docMk/>
            <pc:sldMk cId="2637169229" sldId="2147478574"/>
            <ac:spMk id="40" creationId="{24C1B2F3-BCBA-7CC7-3006-99A0475286CA}"/>
          </ac:spMkLst>
        </pc:spChg>
        <pc:spChg chg="add del mod">
          <ac:chgData name="Steiner Andreas 6206 ED" userId="e6377c33-a923-4f14-8587-531c474c7b48" providerId="ADAL" clId="{6ECD27E6-B224-41CD-B4E0-E297462320DD}" dt="2023-11-23T19:56:21.265" v="5224"/>
          <ac:spMkLst>
            <pc:docMk/>
            <pc:sldMk cId="2637169229" sldId="2147478574"/>
            <ac:spMk id="41" creationId="{894333D2-B305-D659-9944-DB94E0230AA4}"/>
          </ac:spMkLst>
        </pc:spChg>
        <pc:spChg chg="add del mod">
          <ac:chgData name="Steiner Andreas 6206 ED" userId="e6377c33-a923-4f14-8587-531c474c7b48" providerId="ADAL" clId="{6ECD27E6-B224-41CD-B4E0-E297462320DD}" dt="2023-11-23T19:56:32.950" v="5379"/>
          <ac:spMkLst>
            <pc:docMk/>
            <pc:sldMk cId="2637169229" sldId="2147478574"/>
            <ac:spMk id="42" creationId="{D3A50C21-1AD0-0313-E320-1D8AF0B4F44F}"/>
          </ac:spMkLst>
        </pc:spChg>
        <pc:spChg chg="add del mod">
          <ac:chgData name="Steiner Andreas 6206 ED" userId="e6377c33-a923-4f14-8587-531c474c7b48" providerId="ADAL" clId="{6ECD27E6-B224-41CD-B4E0-E297462320DD}" dt="2023-11-23T19:56:44.312" v="5534"/>
          <ac:spMkLst>
            <pc:docMk/>
            <pc:sldMk cId="2637169229" sldId="2147478574"/>
            <ac:spMk id="43" creationId="{FC674B4B-D71C-571A-24C5-E58F80DFC1D1}"/>
          </ac:spMkLst>
        </pc:spChg>
        <pc:spChg chg="add del mod">
          <ac:chgData name="Steiner Andreas 6206 ED" userId="e6377c33-a923-4f14-8587-531c474c7b48" providerId="ADAL" clId="{6ECD27E6-B224-41CD-B4E0-E297462320DD}" dt="2023-11-23T19:56:54.682" v="5689"/>
          <ac:spMkLst>
            <pc:docMk/>
            <pc:sldMk cId="2637169229" sldId="2147478574"/>
            <ac:spMk id="44" creationId="{8A34E9E5-0BC1-F5C0-B98E-5B6154499F74}"/>
          </ac:spMkLst>
        </pc:spChg>
        <pc:spChg chg="add del mod">
          <ac:chgData name="Steiner Andreas 6206 ED" userId="e6377c33-a923-4f14-8587-531c474c7b48" providerId="ADAL" clId="{6ECD27E6-B224-41CD-B4E0-E297462320DD}" dt="2023-11-23T19:57:06.148" v="5844"/>
          <ac:spMkLst>
            <pc:docMk/>
            <pc:sldMk cId="2637169229" sldId="2147478574"/>
            <ac:spMk id="45" creationId="{CD25A32F-F9CE-21CF-0867-92F983D89751}"/>
          </ac:spMkLst>
        </pc:spChg>
        <pc:spChg chg="add del mod">
          <ac:chgData name="Steiner Andreas 6206 ED" userId="e6377c33-a923-4f14-8587-531c474c7b48" providerId="ADAL" clId="{6ECD27E6-B224-41CD-B4E0-E297462320DD}" dt="2023-11-23T19:57:17.834" v="5999"/>
          <ac:spMkLst>
            <pc:docMk/>
            <pc:sldMk cId="2637169229" sldId="2147478574"/>
            <ac:spMk id="46" creationId="{BD6F0EF4-F592-EC3A-4162-1DB8F541D400}"/>
          </ac:spMkLst>
        </pc:spChg>
        <pc:spChg chg="add del mod">
          <ac:chgData name="Steiner Andreas 6206 ED" userId="e6377c33-a923-4f14-8587-531c474c7b48" providerId="ADAL" clId="{6ECD27E6-B224-41CD-B4E0-E297462320DD}" dt="2023-11-23T19:57:29.295" v="6154"/>
          <ac:spMkLst>
            <pc:docMk/>
            <pc:sldMk cId="2637169229" sldId="2147478574"/>
            <ac:spMk id="47" creationId="{481E34EC-082C-EE79-F673-6926AD70B164}"/>
          </ac:spMkLst>
        </pc:spChg>
        <pc:spChg chg="add del mod">
          <ac:chgData name="Steiner Andreas 6206 ED" userId="e6377c33-a923-4f14-8587-531c474c7b48" providerId="ADAL" clId="{6ECD27E6-B224-41CD-B4E0-E297462320DD}" dt="2023-11-23T19:57:40.919" v="6309"/>
          <ac:spMkLst>
            <pc:docMk/>
            <pc:sldMk cId="2637169229" sldId="2147478574"/>
            <ac:spMk id="48" creationId="{8D6F0C19-1818-C3FE-B69B-79F219761759}"/>
          </ac:spMkLst>
        </pc:spChg>
        <pc:spChg chg="add del mod">
          <ac:chgData name="Steiner Andreas 6206 ED" userId="e6377c33-a923-4f14-8587-531c474c7b48" providerId="ADAL" clId="{6ECD27E6-B224-41CD-B4E0-E297462320DD}" dt="2023-11-23T19:57:52.589" v="6464"/>
          <ac:spMkLst>
            <pc:docMk/>
            <pc:sldMk cId="2637169229" sldId="2147478574"/>
            <ac:spMk id="49" creationId="{5B7E6E84-5714-B3FB-00AE-9CD7D4BA37AB}"/>
          </ac:spMkLst>
        </pc:spChg>
        <pc:spChg chg="add del mod">
          <ac:chgData name="Steiner Andreas 6206 ED" userId="e6377c33-a923-4f14-8587-531c474c7b48" providerId="ADAL" clId="{6ECD27E6-B224-41CD-B4E0-E297462320DD}" dt="2023-11-23T19:58:04.292" v="6619"/>
          <ac:spMkLst>
            <pc:docMk/>
            <pc:sldMk cId="2637169229" sldId="2147478574"/>
            <ac:spMk id="50" creationId="{D8F6AB24-7785-639B-5CAB-A6900DAA68D0}"/>
          </ac:spMkLst>
        </pc:spChg>
        <pc:spChg chg="add del mod">
          <ac:chgData name="Steiner Andreas 6206 ED" userId="e6377c33-a923-4f14-8587-531c474c7b48" providerId="ADAL" clId="{6ECD27E6-B224-41CD-B4E0-E297462320DD}" dt="2023-11-23T19:58:15.682" v="6774"/>
          <ac:spMkLst>
            <pc:docMk/>
            <pc:sldMk cId="2637169229" sldId="2147478574"/>
            <ac:spMk id="51" creationId="{563424CE-909A-6EAB-E7B2-8685586CC29A}"/>
          </ac:spMkLst>
        </pc:spChg>
        <pc:spChg chg="add del mod">
          <ac:chgData name="Steiner Andreas 6206 ED" userId="e6377c33-a923-4f14-8587-531c474c7b48" providerId="ADAL" clId="{6ECD27E6-B224-41CD-B4E0-E297462320DD}" dt="2023-11-23T19:58:27.807" v="6929"/>
          <ac:spMkLst>
            <pc:docMk/>
            <pc:sldMk cId="2637169229" sldId="2147478574"/>
            <ac:spMk id="52" creationId="{03372E6B-FFA7-6C81-2985-7F64C48BAC9C}"/>
          </ac:spMkLst>
        </pc:spChg>
        <pc:spChg chg="add del mod">
          <ac:chgData name="Steiner Andreas 6206 ED" userId="e6377c33-a923-4f14-8587-531c474c7b48" providerId="ADAL" clId="{6ECD27E6-B224-41CD-B4E0-E297462320DD}" dt="2023-11-23T19:58:39.549" v="7084"/>
          <ac:spMkLst>
            <pc:docMk/>
            <pc:sldMk cId="2637169229" sldId="2147478574"/>
            <ac:spMk id="53" creationId="{860D2F19-BDD8-DCB7-0094-1E69A574F471}"/>
          </ac:spMkLst>
        </pc:spChg>
        <pc:spChg chg="add del mod">
          <ac:chgData name="Steiner Andreas 6206 ED" userId="e6377c33-a923-4f14-8587-531c474c7b48" providerId="ADAL" clId="{6ECD27E6-B224-41CD-B4E0-E297462320DD}" dt="2023-11-23T19:58:51.238" v="7239"/>
          <ac:spMkLst>
            <pc:docMk/>
            <pc:sldMk cId="2637169229" sldId="2147478574"/>
            <ac:spMk id="54" creationId="{CB8D3D8E-1B93-DCA7-BC7D-972E832DB53E}"/>
          </ac:spMkLst>
        </pc:spChg>
        <pc:spChg chg="add del mod">
          <ac:chgData name="Steiner Andreas 6206 ED" userId="e6377c33-a923-4f14-8587-531c474c7b48" providerId="ADAL" clId="{6ECD27E6-B224-41CD-B4E0-E297462320DD}" dt="2023-11-23T19:59:02.613" v="7394"/>
          <ac:spMkLst>
            <pc:docMk/>
            <pc:sldMk cId="2637169229" sldId="2147478574"/>
            <ac:spMk id="55" creationId="{C4103100-139D-AC4F-78EB-2BA0501659CC}"/>
          </ac:spMkLst>
        </pc:spChg>
        <pc:spChg chg="add del mod">
          <ac:chgData name="Steiner Andreas 6206 ED" userId="e6377c33-a923-4f14-8587-531c474c7b48" providerId="ADAL" clId="{6ECD27E6-B224-41CD-B4E0-E297462320DD}" dt="2023-11-24T08:31:41.496" v="7549"/>
          <ac:spMkLst>
            <pc:docMk/>
            <pc:sldMk cId="2637169229" sldId="2147478574"/>
            <ac:spMk id="56" creationId="{82BE5BA2-C4DB-F7B1-2DDF-5C5C98F6BAD8}"/>
          </ac:spMkLst>
        </pc:spChg>
        <pc:spChg chg="add del mod">
          <ac:chgData name="Steiner Andreas 6206 ED" userId="e6377c33-a923-4f14-8587-531c474c7b48" providerId="ADAL" clId="{6ECD27E6-B224-41CD-B4E0-E297462320DD}" dt="2023-11-24T08:31:45.177" v="7704"/>
          <ac:spMkLst>
            <pc:docMk/>
            <pc:sldMk cId="2637169229" sldId="2147478574"/>
            <ac:spMk id="57" creationId="{00B15D24-0DB4-D6A8-CD5E-25B9529FB50C}"/>
          </ac:spMkLst>
        </pc:spChg>
        <pc:spChg chg="add del mod">
          <ac:chgData name="Steiner Andreas 6206 ED" userId="e6377c33-a923-4f14-8587-531c474c7b48" providerId="ADAL" clId="{6ECD27E6-B224-41CD-B4E0-E297462320DD}" dt="2023-11-24T08:31:47.029" v="7859"/>
          <ac:spMkLst>
            <pc:docMk/>
            <pc:sldMk cId="2637169229" sldId="2147478574"/>
            <ac:spMk id="58" creationId="{41102135-FEFF-429B-9BA9-07D5250E53C1}"/>
          </ac:spMkLst>
        </pc:spChg>
        <pc:spChg chg="add del mod">
          <ac:chgData name="Steiner Andreas 6206 ED" userId="e6377c33-a923-4f14-8587-531c474c7b48" providerId="ADAL" clId="{6ECD27E6-B224-41CD-B4E0-E297462320DD}" dt="2023-11-24T08:31:48.896" v="8014"/>
          <ac:spMkLst>
            <pc:docMk/>
            <pc:sldMk cId="2637169229" sldId="2147478574"/>
            <ac:spMk id="59" creationId="{74CDAEEA-DA26-CD27-EF11-A226D036347D}"/>
          </ac:spMkLst>
        </pc:spChg>
        <pc:spChg chg="add del mod">
          <ac:chgData name="Steiner Andreas 6206 ED" userId="e6377c33-a923-4f14-8587-531c474c7b48" providerId="ADAL" clId="{6ECD27E6-B224-41CD-B4E0-E297462320DD}" dt="2023-11-24T08:31:50.758" v="8169"/>
          <ac:spMkLst>
            <pc:docMk/>
            <pc:sldMk cId="2637169229" sldId="2147478574"/>
            <ac:spMk id="60" creationId="{F2D3EDD5-6AE9-0308-DC2C-9CDD45F07CD3}"/>
          </ac:spMkLst>
        </pc:spChg>
        <pc:spChg chg="add del mod">
          <ac:chgData name="Steiner Andreas 6206 ED" userId="e6377c33-a923-4f14-8587-531c474c7b48" providerId="ADAL" clId="{6ECD27E6-B224-41CD-B4E0-E297462320DD}" dt="2023-11-24T08:31:52.546" v="8324"/>
          <ac:spMkLst>
            <pc:docMk/>
            <pc:sldMk cId="2637169229" sldId="2147478574"/>
            <ac:spMk id="61" creationId="{E268DF8A-7ED1-3B5A-8FB6-F91ADD452EC5}"/>
          </ac:spMkLst>
        </pc:spChg>
        <pc:spChg chg="add del mod">
          <ac:chgData name="Steiner Andreas 6206 ED" userId="e6377c33-a923-4f14-8587-531c474c7b48" providerId="ADAL" clId="{6ECD27E6-B224-41CD-B4E0-E297462320DD}" dt="2023-11-24T08:31:54.356" v="8479"/>
          <ac:spMkLst>
            <pc:docMk/>
            <pc:sldMk cId="2637169229" sldId="2147478574"/>
            <ac:spMk id="62" creationId="{FC7C85B7-CF1F-99E7-DC1F-A7E93E9F4228}"/>
          </ac:spMkLst>
        </pc:spChg>
        <pc:spChg chg="add del mod">
          <ac:chgData name="Steiner Andreas 6206 ED" userId="e6377c33-a923-4f14-8587-531c474c7b48" providerId="ADAL" clId="{6ECD27E6-B224-41CD-B4E0-E297462320DD}" dt="2023-11-24T08:31:56.199" v="8634"/>
          <ac:spMkLst>
            <pc:docMk/>
            <pc:sldMk cId="2637169229" sldId="2147478574"/>
            <ac:spMk id="63" creationId="{989997A5-9A7F-1B4E-C112-38C2AE511DED}"/>
          </ac:spMkLst>
        </pc:spChg>
        <pc:spChg chg="add del mod">
          <ac:chgData name="Steiner Andreas 6206 ED" userId="e6377c33-a923-4f14-8587-531c474c7b48" providerId="ADAL" clId="{6ECD27E6-B224-41CD-B4E0-E297462320DD}" dt="2023-11-24T08:31:58.082" v="8789"/>
          <ac:spMkLst>
            <pc:docMk/>
            <pc:sldMk cId="2637169229" sldId="2147478574"/>
            <ac:spMk id="64" creationId="{5A71A7DA-8291-156D-68C4-C3F78FD8B599}"/>
          </ac:spMkLst>
        </pc:spChg>
        <pc:spChg chg="add del mod">
          <ac:chgData name="Steiner Andreas 6206 ED" userId="e6377c33-a923-4f14-8587-531c474c7b48" providerId="ADAL" clId="{6ECD27E6-B224-41CD-B4E0-E297462320DD}" dt="2023-11-24T08:32:00.806" v="8944"/>
          <ac:spMkLst>
            <pc:docMk/>
            <pc:sldMk cId="2637169229" sldId="2147478574"/>
            <ac:spMk id="65" creationId="{75062F4D-F824-C8D1-482B-1A38F50D570E}"/>
          </ac:spMkLst>
        </pc:spChg>
        <pc:spChg chg="add del mod">
          <ac:chgData name="Steiner Andreas 6206 ED" userId="e6377c33-a923-4f14-8587-531c474c7b48" providerId="ADAL" clId="{6ECD27E6-B224-41CD-B4E0-E297462320DD}" dt="2023-11-24T08:32:03.128" v="9099"/>
          <ac:spMkLst>
            <pc:docMk/>
            <pc:sldMk cId="2637169229" sldId="2147478574"/>
            <ac:spMk id="66" creationId="{1C6EF828-EF2C-2094-DE10-F95C915ABD7E}"/>
          </ac:spMkLst>
        </pc:spChg>
        <pc:spChg chg="add del mod">
          <ac:chgData name="Steiner Andreas 6206 ED" userId="e6377c33-a923-4f14-8587-531c474c7b48" providerId="ADAL" clId="{6ECD27E6-B224-41CD-B4E0-E297462320DD}" dt="2023-11-24T08:32:05.176" v="9254"/>
          <ac:spMkLst>
            <pc:docMk/>
            <pc:sldMk cId="2637169229" sldId="2147478574"/>
            <ac:spMk id="67" creationId="{6D69CAD5-BB51-AF80-D05D-FB94823B3DFF}"/>
          </ac:spMkLst>
        </pc:spChg>
        <pc:spChg chg="add del mod">
          <ac:chgData name="Steiner Andreas 6206 ED" userId="e6377c33-a923-4f14-8587-531c474c7b48" providerId="ADAL" clId="{6ECD27E6-B224-41CD-B4E0-E297462320DD}" dt="2023-11-24T08:32:07.119" v="9409"/>
          <ac:spMkLst>
            <pc:docMk/>
            <pc:sldMk cId="2637169229" sldId="2147478574"/>
            <ac:spMk id="68" creationId="{DAC4AD71-0BEA-C35E-C97A-684C8C2003E5}"/>
          </ac:spMkLst>
        </pc:spChg>
        <pc:spChg chg="add del mod">
          <ac:chgData name="Steiner Andreas 6206 ED" userId="e6377c33-a923-4f14-8587-531c474c7b48" providerId="ADAL" clId="{6ECD27E6-B224-41CD-B4E0-E297462320DD}" dt="2023-11-24T08:32:09.452" v="9564"/>
          <ac:spMkLst>
            <pc:docMk/>
            <pc:sldMk cId="2637169229" sldId="2147478574"/>
            <ac:spMk id="69" creationId="{A1998667-9026-8E2C-7B54-AD318B892BB8}"/>
          </ac:spMkLst>
        </pc:spChg>
        <pc:spChg chg="add del mod">
          <ac:chgData name="Steiner Andreas 6206 ED" userId="e6377c33-a923-4f14-8587-531c474c7b48" providerId="ADAL" clId="{6ECD27E6-B224-41CD-B4E0-E297462320DD}" dt="2023-11-24T08:32:11.755" v="9719"/>
          <ac:spMkLst>
            <pc:docMk/>
            <pc:sldMk cId="2637169229" sldId="2147478574"/>
            <ac:spMk id="70" creationId="{71B61750-575A-C114-18B4-54CACB159C94}"/>
          </ac:spMkLst>
        </pc:spChg>
        <pc:spChg chg="add del mod">
          <ac:chgData name="Steiner Andreas 6206 ED" userId="e6377c33-a923-4f14-8587-531c474c7b48" providerId="ADAL" clId="{6ECD27E6-B224-41CD-B4E0-E297462320DD}" dt="2023-11-24T08:32:13.916" v="9874"/>
          <ac:spMkLst>
            <pc:docMk/>
            <pc:sldMk cId="2637169229" sldId="2147478574"/>
            <ac:spMk id="71" creationId="{9DABE2D8-51E2-AE7A-4C90-AA5C6514DBC5}"/>
          </ac:spMkLst>
        </pc:spChg>
        <pc:spChg chg="add del mod">
          <ac:chgData name="Steiner Andreas 6206 ED" userId="e6377c33-a923-4f14-8587-531c474c7b48" providerId="ADAL" clId="{6ECD27E6-B224-41CD-B4E0-E297462320DD}" dt="2023-11-24T08:32:15.856" v="10029"/>
          <ac:spMkLst>
            <pc:docMk/>
            <pc:sldMk cId="2637169229" sldId="2147478574"/>
            <ac:spMk id="72" creationId="{B7F8DBC9-B5F7-1347-5224-525ED0DDB545}"/>
          </ac:spMkLst>
        </pc:spChg>
        <pc:spChg chg="add del mod">
          <ac:chgData name="Steiner Andreas 6206 ED" userId="e6377c33-a923-4f14-8587-531c474c7b48" providerId="ADAL" clId="{6ECD27E6-B224-41CD-B4E0-E297462320DD}" dt="2023-11-24T08:32:17.852" v="10184"/>
          <ac:spMkLst>
            <pc:docMk/>
            <pc:sldMk cId="2637169229" sldId="2147478574"/>
            <ac:spMk id="73" creationId="{013C6801-D604-0884-A84E-D7B8F1ABDAA6}"/>
          </ac:spMkLst>
        </pc:spChg>
        <pc:spChg chg="add del mod">
          <ac:chgData name="Steiner Andreas 6206 ED" userId="e6377c33-a923-4f14-8587-531c474c7b48" providerId="ADAL" clId="{6ECD27E6-B224-41CD-B4E0-E297462320DD}" dt="2023-11-24T08:32:19.807" v="10339"/>
          <ac:spMkLst>
            <pc:docMk/>
            <pc:sldMk cId="2637169229" sldId="2147478574"/>
            <ac:spMk id="74" creationId="{FB1162A6-912C-C1AB-5E0C-D2BA0FD9B40F}"/>
          </ac:spMkLst>
        </pc:spChg>
        <pc:spChg chg="add del mod">
          <ac:chgData name="Steiner Andreas 6206 ED" userId="e6377c33-a923-4f14-8587-531c474c7b48" providerId="ADAL" clId="{6ECD27E6-B224-41CD-B4E0-E297462320DD}" dt="2023-11-24T08:32:21.768" v="10494"/>
          <ac:spMkLst>
            <pc:docMk/>
            <pc:sldMk cId="2637169229" sldId="2147478574"/>
            <ac:spMk id="75" creationId="{C70103B0-670C-204F-B16C-396B8DDABEB4}"/>
          </ac:spMkLst>
        </pc:spChg>
        <pc:spChg chg="add del mod">
          <ac:chgData name="Steiner Andreas 6206 ED" userId="e6377c33-a923-4f14-8587-531c474c7b48" providerId="ADAL" clId="{6ECD27E6-B224-41CD-B4E0-E297462320DD}" dt="2023-11-24T08:32:23.939" v="10649"/>
          <ac:spMkLst>
            <pc:docMk/>
            <pc:sldMk cId="2637169229" sldId="2147478574"/>
            <ac:spMk id="76" creationId="{075E0121-4BF4-623B-1693-7F85803DE473}"/>
          </ac:spMkLst>
        </pc:spChg>
        <pc:spChg chg="add del mod">
          <ac:chgData name="Steiner Andreas 6206 ED" userId="e6377c33-a923-4f14-8587-531c474c7b48" providerId="ADAL" clId="{6ECD27E6-B224-41CD-B4E0-E297462320DD}" dt="2023-11-24T08:32:25.895" v="10804"/>
          <ac:spMkLst>
            <pc:docMk/>
            <pc:sldMk cId="2637169229" sldId="2147478574"/>
            <ac:spMk id="77" creationId="{2DE685A4-6A60-C73B-2C66-AEEB80785CD7}"/>
          </ac:spMkLst>
        </pc:spChg>
        <pc:spChg chg="add del mod">
          <ac:chgData name="Steiner Andreas 6206 ED" userId="e6377c33-a923-4f14-8587-531c474c7b48" providerId="ADAL" clId="{6ECD27E6-B224-41CD-B4E0-E297462320DD}" dt="2023-11-24T08:32:27.880" v="10959"/>
          <ac:spMkLst>
            <pc:docMk/>
            <pc:sldMk cId="2637169229" sldId="2147478574"/>
            <ac:spMk id="78" creationId="{B76ADA7E-B9DE-8B7D-ABCB-35304B6E40A0}"/>
          </ac:spMkLst>
        </pc:spChg>
        <pc:spChg chg="add del mod">
          <ac:chgData name="Steiner Andreas 6206 ED" userId="e6377c33-a923-4f14-8587-531c474c7b48" providerId="ADAL" clId="{6ECD27E6-B224-41CD-B4E0-E297462320DD}" dt="2023-11-24T08:32:29.791" v="11114"/>
          <ac:spMkLst>
            <pc:docMk/>
            <pc:sldMk cId="2637169229" sldId="2147478574"/>
            <ac:spMk id="79" creationId="{2F7B64D2-0C68-4E18-4B04-54B52299AE56}"/>
          </ac:spMkLst>
        </pc:spChg>
        <pc:spChg chg="add del mod">
          <ac:chgData name="Steiner Andreas 6206 ED" userId="e6377c33-a923-4f14-8587-531c474c7b48" providerId="ADAL" clId="{6ECD27E6-B224-41CD-B4E0-E297462320DD}" dt="2023-11-24T08:32:31.910" v="11269"/>
          <ac:spMkLst>
            <pc:docMk/>
            <pc:sldMk cId="2637169229" sldId="2147478574"/>
            <ac:spMk id="80" creationId="{E14A92B0-0948-C551-15CD-D510A8B93523}"/>
          </ac:spMkLst>
        </pc:spChg>
        <pc:spChg chg="add del mod">
          <ac:chgData name="Steiner Andreas 6206 ED" userId="e6377c33-a923-4f14-8587-531c474c7b48" providerId="ADAL" clId="{6ECD27E6-B224-41CD-B4E0-E297462320DD}" dt="2023-11-24T08:32:34.268" v="11424"/>
          <ac:spMkLst>
            <pc:docMk/>
            <pc:sldMk cId="2637169229" sldId="2147478574"/>
            <ac:spMk id="81" creationId="{65A21971-9552-1385-E138-925BE59CF8EA}"/>
          </ac:spMkLst>
        </pc:spChg>
        <pc:spChg chg="add del mod">
          <ac:chgData name="Steiner Andreas 6206 ED" userId="e6377c33-a923-4f14-8587-531c474c7b48" providerId="ADAL" clId="{6ECD27E6-B224-41CD-B4E0-E297462320DD}" dt="2023-11-24T08:32:36.635" v="11579"/>
          <ac:spMkLst>
            <pc:docMk/>
            <pc:sldMk cId="2637169229" sldId="2147478574"/>
            <ac:spMk id="82" creationId="{07EE89EA-7E53-E55D-5A18-6517DA93E8DB}"/>
          </ac:spMkLst>
        </pc:spChg>
        <pc:spChg chg="add del mod">
          <ac:chgData name="Steiner Andreas 6206 ED" userId="e6377c33-a923-4f14-8587-531c474c7b48" providerId="ADAL" clId="{6ECD27E6-B224-41CD-B4E0-E297462320DD}" dt="2023-11-24T08:32:38.568" v="11734"/>
          <ac:spMkLst>
            <pc:docMk/>
            <pc:sldMk cId="2637169229" sldId="2147478574"/>
            <ac:spMk id="83" creationId="{9970C962-536D-FC06-98D7-1A84C460CC4D}"/>
          </ac:spMkLst>
        </pc:spChg>
        <pc:spChg chg="add del mod">
          <ac:chgData name="Steiner Andreas 6206 ED" userId="e6377c33-a923-4f14-8587-531c474c7b48" providerId="ADAL" clId="{6ECD27E6-B224-41CD-B4E0-E297462320DD}" dt="2023-11-24T08:32:40.668" v="11889"/>
          <ac:spMkLst>
            <pc:docMk/>
            <pc:sldMk cId="2637169229" sldId="2147478574"/>
            <ac:spMk id="84" creationId="{EA5D0995-FC0D-03D0-3D9B-A87C4E058AD5}"/>
          </ac:spMkLst>
        </pc:spChg>
        <pc:spChg chg="add del mod">
          <ac:chgData name="Steiner Andreas 6206 ED" userId="e6377c33-a923-4f14-8587-531c474c7b48" providerId="ADAL" clId="{6ECD27E6-B224-41CD-B4E0-E297462320DD}" dt="2023-11-24T08:32:42.815" v="12044"/>
          <ac:spMkLst>
            <pc:docMk/>
            <pc:sldMk cId="2637169229" sldId="2147478574"/>
            <ac:spMk id="85" creationId="{16B07BAC-A813-7918-1F22-6D8F18726D81}"/>
          </ac:spMkLst>
        </pc:spChg>
        <pc:spChg chg="add del mod">
          <ac:chgData name="Steiner Andreas 6206 ED" userId="e6377c33-a923-4f14-8587-531c474c7b48" providerId="ADAL" clId="{6ECD27E6-B224-41CD-B4E0-E297462320DD}" dt="2023-11-24T08:32:44.966" v="12199"/>
          <ac:spMkLst>
            <pc:docMk/>
            <pc:sldMk cId="2637169229" sldId="2147478574"/>
            <ac:spMk id="86" creationId="{81747B90-C701-5C68-6FD1-072A161CFA24}"/>
          </ac:spMkLst>
        </pc:spChg>
        <pc:spChg chg="add del mod">
          <ac:chgData name="Steiner Andreas 6206 ED" userId="e6377c33-a923-4f14-8587-531c474c7b48" providerId="ADAL" clId="{6ECD27E6-B224-41CD-B4E0-E297462320DD}" dt="2023-11-24T08:32:47.153" v="12354"/>
          <ac:spMkLst>
            <pc:docMk/>
            <pc:sldMk cId="2637169229" sldId="2147478574"/>
            <ac:spMk id="87" creationId="{0F3796C0-4DE1-4EDC-B1F9-B65C14B468BC}"/>
          </ac:spMkLst>
        </pc:spChg>
        <pc:spChg chg="add del mod">
          <ac:chgData name="Steiner Andreas 6206 ED" userId="e6377c33-a923-4f14-8587-531c474c7b48" providerId="ADAL" clId="{6ECD27E6-B224-41CD-B4E0-E297462320DD}" dt="2023-11-24T08:32:49.203" v="12509"/>
          <ac:spMkLst>
            <pc:docMk/>
            <pc:sldMk cId="2637169229" sldId="2147478574"/>
            <ac:spMk id="88" creationId="{D0A02953-BC85-6C95-4F59-F1484F7638C4}"/>
          </ac:spMkLst>
        </pc:spChg>
        <pc:spChg chg="add del mod">
          <ac:chgData name="Steiner Andreas 6206 ED" userId="e6377c33-a923-4f14-8587-531c474c7b48" providerId="ADAL" clId="{6ECD27E6-B224-41CD-B4E0-E297462320DD}" dt="2023-11-24T08:32:51.147" v="12664"/>
          <ac:spMkLst>
            <pc:docMk/>
            <pc:sldMk cId="2637169229" sldId="2147478574"/>
            <ac:spMk id="89" creationId="{DD9298AF-7E76-8CDE-3642-C85EDEE082C1}"/>
          </ac:spMkLst>
        </pc:spChg>
        <pc:spChg chg="add del mod">
          <ac:chgData name="Steiner Andreas 6206 ED" userId="e6377c33-a923-4f14-8587-531c474c7b48" providerId="ADAL" clId="{6ECD27E6-B224-41CD-B4E0-E297462320DD}" dt="2023-11-24T08:32:53.165" v="12819"/>
          <ac:spMkLst>
            <pc:docMk/>
            <pc:sldMk cId="2637169229" sldId="2147478574"/>
            <ac:spMk id="90" creationId="{4B05C654-D742-93D0-49F9-36E471D349E3}"/>
          </ac:spMkLst>
        </pc:spChg>
        <pc:spChg chg="add del mod">
          <ac:chgData name="Steiner Andreas 6206 ED" userId="e6377c33-a923-4f14-8587-531c474c7b48" providerId="ADAL" clId="{6ECD27E6-B224-41CD-B4E0-E297462320DD}" dt="2023-11-24T08:32:55.156" v="12974"/>
          <ac:spMkLst>
            <pc:docMk/>
            <pc:sldMk cId="2637169229" sldId="2147478574"/>
            <ac:spMk id="91" creationId="{A7162719-C620-89F3-EF8B-CD87A0F2FA53}"/>
          </ac:spMkLst>
        </pc:spChg>
        <pc:spChg chg="add del mod">
          <ac:chgData name="Steiner Andreas 6206 ED" userId="e6377c33-a923-4f14-8587-531c474c7b48" providerId="ADAL" clId="{6ECD27E6-B224-41CD-B4E0-E297462320DD}" dt="2023-11-24T08:32:57.077" v="13129"/>
          <ac:spMkLst>
            <pc:docMk/>
            <pc:sldMk cId="2637169229" sldId="2147478574"/>
            <ac:spMk id="92" creationId="{5FFD0BEC-A96D-9C0C-90FA-A833EBFD3595}"/>
          </ac:spMkLst>
        </pc:spChg>
        <pc:spChg chg="add del mod">
          <ac:chgData name="Steiner Andreas 6206 ED" userId="e6377c33-a923-4f14-8587-531c474c7b48" providerId="ADAL" clId="{6ECD27E6-B224-41CD-B4E0-E297462320DD}" dt="2023-11-24T08:32:59.183" v="13284"/>
          <ac:spMkLst>
            <pc:docMk/>
            <pc:sldMk cId="2637169229" sldId="2147478574"/>
            <ac:spMk id="93" creationId="{B3210AEB-BC70-7853-AE79-ED8FBDB457B8}"/>
          </ac:spMkLst>
        </pc:spChg>
        <pc:spChg chg="add del mod">
          <ac:chgData name="Steiner Andreas 6206 ED" userId="e6377c33-a923-4f14-8587-531c474c7b48" providerId="ADAL" clId="{6ECD27E6-B224-41CD-B4E0-E297462320DD}" dt="2023-11-24T08:33:01.329" v="13439"/>
          <ac:spMkLst>
            <pc:docMk/>
            <pc:sldMk cId="2637169229" sldId="2147478574"/>
            <ac:spMk id="94" creationId="{0BAAEBA9-E388-CDD9-9D59-BAB6A9472FC3}"/>
          </ac:spMkLst>
        </pc:spChg>
        <pc:spChg chg="add del mod">
          <ac:chgData name="Steiner Andreas 6206 ED" userId="e6377c33-a923-4f14-8587-531c474c7b48" providerId="ADAL" clId="{6ECD27E6-B224-41CD-B4E0-E297462320DD}" dt="2023-11-24T08:33:03.661" v="13594"/>
          <ac:spMkLst>
            <pc:docMk/>
            <pc:sldMk cId="2637169229" sldId="2147478574"/>
            <ac:spMk id="95" creationId="{72B7F7C1-0C97-65D9-31D2-EF3839650328}"/>
          </ac:spMkLst>
        </pc:spChg>
        <pc:spChg chg="add del mod">
          <ac:chgData name="Steiner Andreas 6206 ED" userId="e6377c33-a923-4f14-8587-531c474c7b48" providerId="ADAL" clId="{6ECD27E6-B224-41CD-B4E0-E297462320DD}" dt="2023-11-24T08:33:06.001" v="13749"/>
          <ac:spMkLst>
            <pc:docMk/>
            <pc:sldMk cId="2637169229" sldId="2147478574"/>
            <ac:spMk id="96" creationId="{3BB7540D-49D0-0F16-7FCF-87E9ADB1B259}"/>
          </ac:spMkLst>
        </pc:spChg>
        <pc:spChg chg="add del mod">
          <ac:chgData name="Steiner Andreas 6206 ED" userId="e6377c33-a923-4f14-8587-531c474c7b48" providerId="ADAL" clId="{6ECD27E6-B224-41CD-B4E0-E297462320DD}" dt="2023-11-24T08:33:08.223" v="13904"/>
          <ac:spMkLst>
            <pc:docMk/>
            <pc:sldMk cId="2637169229" sldId="2147478574"/>
            <ac:spMk id="97" creationId="{5EFAEA55-3713-036F-E2A7-E361969E9557}"/>
          </ac:spMkLst>
        </pc:spChg>
        <pc:spChg chg="add del mod">
          <ac:chgData name="Steiner Andreas 6206 ED" userId="e6377c33-a923-4f14-8587-531c474c7b48" providerId="ADAL" clId="{6ECD27E6-B224-41CD-B4E0-E297462320DD}" dt="2023-11-24T08:33:10.667" v="14059"/>
          <ac:spMkLst>
            <pc:docMk/>
            <pc:sldMk cId="2637169229" sldId="2147478574"/>
            <ac:spMk id="98" creationId="{C1672288-7EFA-03D8-CE38-0EF4203182B8}"/>
          </ac:spMkLst>
        </pc:spChg>
        <pc:spChg chg="add del mod">
          <ac:chgData name="Steiner Andreas 6206 ED" userId="e6377c33-a923-4f14-8587-531c474c7b48" providerId="ADAL" clId="{6ECD27E6-B224-41CD-B4E0-E297462320DD}" dt="2023-11-24T08:33:12.638" v="14214"/>
          <ac:spMkLst>
            <pc:docMk/>
            <pc:sldMk cId="2637169229" sldId="2147478574"/>
            <ac:spMk id="99" creationId="{706F02F5-2754-4335-251E-D3A532A083A9}"/>
          </ac:spMkLst>
        </pc:spChg>
        <pc:spChg chg="add del mod">
          <ac:chgData name="Steiner Andreas 6206 ED" userId="e6377c33-a923-4f14-8587-531c474c7b48" providerId="ADAL" clId="{6ECD27E6-B224-41CD-B4E0-E297462320DD}" dt="2023-11-24T08:33:14.536" v="14369"/>
          <ac:spMkLst>
            <pc:docMk/>
            <pc:sldMk cId="2637169229" sldId="2147478574"/>
            <ac:spMk id="100" creationId="{7BBF2639-B62F-547A-E8E5-F71E15C26913}"/>
          </ac:spMkLst>
        </pc:spChg>
        <pc:spChg chg="add del mod">
          <ac:chgData name="Steiner Andreas 6206 ED" userId="e6377c33-a923-4f14-8587-531c474c7b48" providerId="ADAL" clId="{6ECD27E6-B224-41CD-B4E0-E297462320DD}" dt="2023-11-24T08:33:16.555" v="14524"/>
          <ac:spMkLst>
            <pc:docMk/>
            <pc:sldMk cId="2637169229" sldId="2147478574"/>
            <ac:spMk id="101" creationId="{829BABE2-0FE3-2F7C-94D8-862F39486332}"/>
          </ac:spMkLst>
        </pc:spChg>
        <pc:spChg chg="add del mod">
          <ac:chgData name="Steiner Andreas 6206 ED" userId="e6377c33-a923-4f14-8587-531c474c7b48" providerId="ADAL" clId="{6ECD27E6-B224-41CD-B4E0-E297462320DD}" dt="2023-11-24T08:33:18.858" v="14679"/>
          <ac:spMkLst>
            <pc:docMk/>
            <pc:sldMk cId="2637169229" sldId="2147478574"/>
            <ac:spMk id="102" creationId="{877EDF5B-9FA0-F264-74C3-0E74665C688D}"/>
          </ac:spMkLst>
        </pc:spChg>
        <pc:spChg chg="add del mod">
          <ac:chgData name="Steiner Andreas 6206 ED" userId="e6377c33-a923-4f14-8587-531c474c7b48" providerId="ADAL" clId="{6ECD27E6-B224-41CD-B4E0-E297462320DD}" dt="2023-11-24T08:33:21.226" v="14834"/>
          <ac:spMkLst>
            <pc:docMk/>
            <pc:sldMk cId="2637169229" sldId="2147478574"/>
            <ac:spMk id="103" creationId="{340CC418-DA75-981B-1892-9E09FDCEFF6B}"/>
          </ac:spMkLst>
        </pc:spChg>
        <pc:spChg chg="add del mod">
          <ac:chgData name="Steiner Andreas 6206 ED" userId="e6377c33-a923-4f14-8587-531c474c7b48" providerId="ADAL" clId="{6ECD27E6-B224-41CD-B4E0-E297462320DD}" dt="2023-11-24T08:33:23.595" v="14989"/>
          <ac:spMkLst>
            <pc:docMk/>
            <pc:sldMk cId="2637169229" sldId="2147478574"/>
            <ac:spMk id="104" creationId="{5F06B0EC-0B7D-B6E6-EACF-28A20DD3168C}"/>
          </ac:spMkLst>
        </pc:spChg>
        <pc:spChg chg="add del mod">
          <ac:chgData name="Steiner Andreas 6206 ED" userId="e6377c33-a923-4f14-8587-531c474c7b48" providerId="ADAL" clId="{6ECD27E6-B224-41CD-B4E0-E297462320DD}" dt="2023-11-24T08:33:26.008" v="15144"/>
          <ac:spMkLst>
            <pc:docMk/>
            <pc:sldMk cId="2637169229" sldId="2147478574"/>
            <ac:spMk id="105" creationId="{209003CE-E204-E4D8-75AA-E9EECC76A477}"/>
          </ac:spMkLst>
        </pc:spChg>
        <pc:spChg chg="add del mod">
          <ac:chgData name="Steiner Andreas 6206 ED" userId="e6377c33-a923-4f14-8587-531c474c7b48" providerId="ADAL" clId="{6ECD27E6-B224-41CD-B4E0-E297462320DD}" dt="2023-11-24T08:33:28.305" v="15299"/>
          <ac:spMkLst>
            <pc:docMk/>
            <pc:sldMk cId="2637169229" sldId="2147478574"/>
            <ac:spMk id="106" creationId="{4EFF6CF6-011E-24E4-1B30-3072B8CE979B}"/>
          </ac:spMkLst>
        </pc:spChg>
        <pc:spChg chg="add del mod">
          <ac:chgData name="Steiner Andreas 6206 ED" userId="e6377c33-a923-4f14-8587-531c474c7b48" providerId="ADAL" clId="{6ECD27E6-B224-41CD-B4E0-E297462320DD}" dt="2023-11-24T08:33:30.767" v="15454"/>
          <ac:spMkLst>
            <pc:docMk/>
            <pc:sldMk cId="2637169229" sldId="2147478574"/>
            <ac:spMk id="107" creationId="{7E2ECAF3-B857-317D-32FD-2C7DCD970E7C}"/>
          </ac:spMkLst>
        </pc:spChg>
        <pc:spChg chg="add del mod">
          <ac:chgData name="Steiner Andreas 6206 ED" userId="e6377c33-a923-4f14-8587-531c474c7b48" providerId="ADAL" clId="{6ECD27E6-B224-41CD-B4E0-E297462320DD}" dt="2023-11-24T08:33:33.548" v="15609"/>
          <ac:spMkLst>
            <pc:docMk/>
            <pc:sldMk cId="2637169229" sldId="2147478574"/>
            <ac:spMk id="108" creationId="{A207696A-A1CA-6673-1B6B-C4D3487F0647}"/>
          </ac:spMkLst>
        </pc:spChg>
        <pc:spChg chg="add del mod">
          <ac:chgData name="Steiner Andreas 6206 ED" userId="e6377c33-a923-4f14-8587-531c474c7b48" providerId="ADAL" clId="{6ECD27E6-B224-41CD-B4E0-E297462320DD}" dt="2023-11-24T08:33:35.833" v="15764"/>
          <ac:spMkLst>
            <pc:docMk/>
            <pc:sldMk cId="2637169229" sldId="2147478574"/>
            <ac:spMk id="109" creationId="{F2F37AD1-C2A1-7B1C-0339-538E82D7163B}"/>
          </ac:spMkLst>
        </pc:spChg>
        <pc:spChg chg="add del mod">
          <ac:chgData name="Steiner Andreas 6206 ED" userId="e6377c33-a923-4f14-8587-531c474c7b48" providerId="ADAL" clId="{6ECD27E6-B224-41CD-B4E0-E297462320DD}" dt="2023-11-24T08:33:37.956" v="15919"/>
          <ac:spMkLst>
            <pc:docMk/>
            <pc:sldMk cId="2637169229" sldId="2147478574"/>
            <ac:spMk id="110" creationId="{354FD2E9-95C9-7468-718A-22DA9D136524}"/>
          </ac:spMkLst>
        </pc:spChg>
        <pc:spChg chg="add del mod">
          <ac:chgData name="Steiner Andreas 6206 ED" userId="e6377c33-a923-4f14-8587-531c474c7b48" providerId="ADAL" clId="{6ECD27E6-B224-41CD-B4E0-E297462320DD}" dt="2023-11-24T08:33:40.277" v="16074"/>
          <ac:spMkLst>
            <pc:docMk/>
            <pc:sldMk cId="2637169229" sldId="2147478574"/>
            <ac:spMk id="111" creationId="{1475748D-C238-CEBD-9A2F-EAB8256B69B3}"/>
          </ac:spMkLst>
        </pc:spChg>
        <pc:spChg chg="add del mod">
          <ac:chgData name="Steiner Andreas 6206 ED" userId="e6377c33-a923-4f14-8587-531c474c7b48" providerId="ADAL" clId="{6ECD27E6-B224-41CD-B4E0-E297462320DD}" dt="2023-11-24T08:33:42.944" v="16229"/>
          <ac:spMkLst>
            <pc:docMk/>
            <pc:sldMk cId="2637169229" sldId="2147478574"/>
            <ac:spMk id="112" creationId="{0EFE2A27-B29B-A24C-F0DB-F06205D1B68A}"/>
          </ac:spMkLst>
        </pc:spChg>
        <pc:spChg chg="add del mod">
          <ac:chgData name="Steiner Andreas 6206 ED" userId="e6377c33-a923-4f14-8587-531c474c7b48" providerId="ADAL" clId="{6ECD27E6-B224-41CD-B4E0-E297462320DD}" dt="2023-11-24T08:33:45.469" v="16384"/>
          <ac:spMkLst>
            <pc:docMk/>
            <pc:sldMk cId="2637169229" sldId="2147478574"/>
            <ac:spMk id="113" creationId="{2C7EECD8-1AE0-7AC1-9808-7E1E5CDB6AD3}"/>
          </ac:spMkLst>
        </pc:spChg>
        <pc:spChg chg="add del mod">
          <ac:chgData name="Steiner Andreas 6206 ED" userId="e6377c33-a923-4f14-8587-531c474c7b48" providerId="ADAL" clId="{6ECD27E6-B224-41CD-B4E0-E297462320DD}" dt="2023-11-24T08:33:47.668" v="16539"/>
          <ac:spMkLst>
            <pc:docMk/>
            <pc:sldMk cId="2637169229" sldId="2147478574"/>
            <ac:spMk id="114" creationId="{09E478F1-5CBC-B443-2155-81E9B357CC93}"/>
          </ac:spMkLst>
        </pc:spChg>
        <pc:spChg chg="add del mod">
          <ac:chgData name="Steiner Andreas 6206 ED" userId="e6377c33-a923-4f14-8587-531c474c7b48" providerId="ADAL" clId="{6ECD27E6-B224-41CD-B4E0-E297462320DD}" dt="2023-11-24T08:33:50.418" v="16694"/>
          <ac:spMkLst>
            <pc:docMk/>
            <pc:sldMk cId="2637169229" sldId="2147478574"/>
            <ac:spMk id="115" creationId="{BE7FA0FD-AACE-411A-8DF7-C13B792CCF87}"/>
          </ac:spMkLst>
        </pc:spChg>
        <pc:spChg chg="add del mod">
          <ac:chgData name="Steiner Andreas 6206 ED" userId="e6377c33-a923-4f14-8587-531c474c7b48" providerId="ADAL" clId="{6ECD27E6-B224-41CD-B4E0-E297462320DD}" dt="2023-11-24T08:33:52.798" v="16849"/>
          <ac:spMkLst>
            <pc:docMk/>
            <pc:sldMk cId="2637169229" sldId="2147478574"/>
            <ac:spMk id="116" creationId="{6A0DC70D-EADA-16D3-A1EE-0D3F2147EA9C}"/>
          </ac:spMkLst>
        </pc:spChg>
        <pc:spChg chg="add del mod">
          <ac:chgData name="Steiner Andreas 6206 ED" userId="e6377c33-a923-4f14-8587-531c474c7b48" providerId="ADAL" clId="{6ECD27E6-B224-41CD-B4E0-E297462320DD}" dt="2023-11-24T08:33:54.974" v="17004"/>
          <ac:spMkLst>
            <pc:docMk/>
            <pc:sldMk cId="2637169229" sldId="2147478574"/>
            <ac:spMk id="117" creationId="{65AB5DAC-E8B5-55DD-9EDA-82C2CD646FFD}"/>
          </ac:spMkLst>
        </pc:spChg>
        <pc:spChg chg="add del mod">
          <ac:chgData name="Steiner Andreas 6206 ED" userId="e6377c33-a923-4f14-8587-531c474c7b48" providerId="ADAL" clId="{6ECD27E6-B224-41CD-B4E0-E297462320DD}" dt="2023-11-24T08:33:57.351" v="17159"/>
          <ac:spMkLst>
            <pc:docMk/>
            <pc:sldMk cId="2637169229" sldId="2147478574"/>
            <ac:spMk id="118" creationId="{DB1A06A9-917F-A7C9-686C-519CE2C60FD5}"/>
          </ac:spMkLst>
        </pc:spChg>
        <pc:spChg chg="add del mod">
          <ac:chgData name="Steiner Andreas 6206 ED" userId="e6377c33-a923-4f14-8587-531c474c7b48" providerId="ADAL" clId="{6ECD27E6-B224-41CD-B4E0-E297462320DD}" dt="2023-11-24T08:33:59.786" v="17314"/>
          <ac:spMkLst>
            <pc:docMk/>
            <pc:sldMk cId="2637169229" sldId="2147478574"/>
            <ac:spMk id="119" creationId="{1E59D53E-CC0E-4FAB-CE0D-171CD502A563}"/>
          </ac:spMkLst>
        </pc:spChg>
        <pc:spChg chg="add del mod">
          <ac:chgData name="Steiner Andreas 6206 ED" userId="e6377c33-a923-4f14-8587-531c474c7b48" providerId="ADAL" clId="{6ECD27E6-B224-41CD-B4E0-E297462320DD}" dt="2023-11-24T08:34:01.726" v="17469"/>
          <ac:spMkLst>
            <pc:docMk/>
            <pc:sldMk cId="2637169229" sldId="2147478574"/>
            <ac:spMk id="120" creationId="{80DE9353-0830-A2BE-561B-A68CA1473B8F}"/>
          </ac:spMkLst>
        </pc:spChg>
        <pc:spChg chg="add del mod">
          <ac:chgData name="Steiner Andreas 6206 ED" userId="e6377c33-a923-4f14-8587-531c474c7b48" providerId="ADAL" clId="{6ECD27E6-B224-41CD-B4E0-E297462320DD}" dt="2023-11-24T08:34:04.147" v="17624"/>
          <ac:spMkLst>
            <pc:docMk/>
            <pc:sldMk cId="2637169229" sldId="2147478574"/>
            <ac:spMk id="121" creationId="{D86DCC78-C41F-DC94-A887-33650C561959}"/>
          </ac:spMkLst>
        </pc:spChg>
        <pc:spChg chg="add del mod">
          <ac:chgData name="Steiner Andreas 6206 ED" userId="e6377c33-a923-4f14-8587-531c474c7b48" providerId="ADAL" clId="{6ECD27E6-B224-41CD-B4E0-E297462320DD}" dt="2023-11-24T08:34:06.024" v="17779"/>
          <ac:spMkLst>
            <pc:docMk/>
            <pc:sldMk cId="2637169229" sldId="2147478574"/>
            <ac:spMk id="122" creationId="{B23A5D02-110A-0F17-9CDB-C8B0B3F062B7}"/>
          </ac:spMkLst>
        </pc:spChg>
        <pc:spChg chg="add del mod">
          <ac:chgData name="Steiner Andreas 6206 ED" userId="e6377c33-a923-4f14-8587-531c474c7b48" providerId="ADAL" clId="{6ECD27E6-B224-41CD-B4E0-E297462320DD}" dt="2023-11-24T08:34:08.115" v="17934"/>
          <ac:spMkLst>
            <pc:docMk/>
            <pc:sldMk cId="2637169229" sldId="2147478574"/>
            <ac:spMk id="123" creationId="{22357E6A-D052-C083-7AFE-EADA060BF41E}"/>
          </ac:spMkLst>
        </pc:spChg>
        <pc:spChg chg="add del mod">
          <ac:chgData name="Steiner Andreas 6206 ED" userId="e6377c33-a923-4f14-8587-531c474c7b48" providerId="ADAL" clId="{6ECD27E6-B224-41CD-B4E0-E297462320DD}" dt="2023-11-24T08:34:10.058" v="18089"/>
          <ac:spMkLst>
            <pc:docMk/>
            <pc:sldMk cId="2637169229" sldId="2147478574"/>
            <ac:spMk id="124" creationId="{0FE228B5-D068-1CDD-9873-6CBEE2F6016F}"/>
          </ac:spMkLst>
        </pc:spChg>
        <pc:spChg chg="add del mod">
          <ac:chgData name="Steiner Andreas 6206 ED" userId="e6377c33-a923-4f14-8587-531c474c7b48" providerId="ADAL" clId="{6ECD27E6-B224-41CD-B4E0-E297462320DD}" dt="2023-11-24T08:34:12.167" v="18244"/>
          <ac:spMkLst>
            <pc:docMk/>
            <pc:sldMk cId="2637169229" sldId="2147478574"/>
            <ac:spMk id="125" creationId="{DA7A2B51-541D-A573-ACDC-274208B48827}"/>
          </ac:spMkLst>
        </pc:spChg>
        <pc:spChg chg="add del mod">
          <ac:chgData name="Steiner Andreas 6206 ED" userId="e6377c33-a923-4f14-8587-531c474c7b48" providerId="ADAL" clId="{6ECD27E6-B224-41CD-B4E0-E297462320DD}" dt="2023-11-24T08:34:14.474" v="18399"/>
          <ac:spMkLst>
            <pc:docMk/>
            <pc:sldMk cId="2637169229" sldId="2147478574"/>
            <ac:spMk id="126" creationId="{015FBA30-A5FF-8D9F-D055-428BBBA6CB5B}"/>
          </ac:spMkLst>
        </pc:spChg>
        <pc:spChg chg="add del mod">
          <ac:chgData name="Steiner Andreas 6206 ED" userId="e6377c33-a923-4f14-8587-531c474c7b48" providerId="ADAL" clId="{6ECD27E6-B224-41CD-B4E0-E297462320DD}" dt="2023-11-24T08:34:16.514" v="18554"/>
          <ac:spMkLst>
            <pc:docMk/>
            <pc:sldMk cId="2637169229" sldId="2147478574"/>
            <ac:spMk id="127" creationId="{A28B03B4-39B2-AAA7-77E1-CF56430D5E39}"/>
          </ac:spMkLst>
        </pc:spChg>
        <pc:spChg chg="add del mod">
          <ac:chgData name="Steiner Andreas 6206 ED" userId="e6377c33-a923-4f14-8587-531c474c7b48" providerId="ADAL" clId="{6ECD27E6-B224-41CD-B4E0-E297462320DD}" dt="2023-11-24T08:34:18.746" v="18709"/>
          <ac:spMkLst>
            <pc:docMk/>
            <pc:sldMk cId="2637169229" sldId="2147478574"/>
            <ac:spMk id="128" creationId="{CBEF4523-7C57-29C7-D52D-12481C76F8D5}"/>
          </ac:spMkLst>
        </pc:spChg>
        <pc:spChg chg="add del mod">
          <ac:chgData name="Steiner Andreas 6206 ED" userId="e6377c33-a923-4f14-8587-531c474c7b48" providerId="ADAL" clId="{6ECD27E6-B224-41CD-B4E0-E297462320DD}" dt="2023-11-24T08:34:20.821" v="18864"/>
          <ac:spMkLst>
            <pc:docMk/>
            <pc:sldMk cId="2637169229" sldId="2147478574"/>
            <ac:spMk id="129" creationId="{50BA2530-5C40-8618-DF24-4EE3F12FD8BE}"/>
          </ac:spMkLst>
        </pc:spChg>
        <pc:spChg chg="add del mod">
          <ac:chgData name="Steiner Andreas 6206 ED" userId="e6377c33-a923-4f14-8587-531c474c7b48" providerId="ADAL" clId="{6ECD27E6-B224-41CD-B4E0-E297462320DD}" dt="2023-11-24T08:34:22.932" v="19019"/>
          <ac:spMkLst>
            <pc:docMk/>
            <pc:sldMk cId="2637169229" sldId="2147478574"/>
            <ac:spMk id="130" creationId="{A69E9E15-18DF-54B3-9D79-F9453599B26E}"/>
          </ac:spMkLst>
        </pc:spChg>
        <pc:spChg chg="add del mod">
          <ac:chgData name="Steiner Andreas 6206 ED" userId="e6377c33-a923-4f14-8587-531c474c7b48" providerId="ADAL" clId="{6ECD27E6-B224-41CD-B4E0-E297462320DD}" dt="2023-11-24T08:34:26.210" v="19174"/>
          <ac:spMkLst>
            <pc:docMk/>
            <pc:sldMk cId="2637169229" sldId="2147478574"/>
            <ac:spMk id="131" creationId="{7859834E-26E1-993D-3F1F-BBA18060B59A}"/>
          </ac:spMkLst>
        </pc:spChg>
        <pc:spChg chg="add del mod">
          <ac:chgData name="Steiner Andreas 6206 ED" userId="e6377c33-a923-4f14-8587-531c474c7b48" providerId="ADAL" clId="{6ECD27E6-B224-41CD-B4E0-E297462320DD}" dt="2023-11-24T08:34:28.867" v="19329"/>
          <ac:spMkLst>
            <pc:docMk/>
            <pc:sldMk cId="2637169229" sldId="2147478574"/>
            <ac:spMk id="132" creationId="{2A15E681-CF52-29E2-B612-D6B52309D0EE}"/>
          </ac:spMkLst>
        </pc:spChg>
        <pc:spChg chg="add del mod">
          <ac:chgData name="Steiner Andreas 6206 ED" userId="e6377c33-a923-4f14-8587-531c474c7b48" providerId="ADAL" clId="{6ECD27E6-B224-41CD-B4E0-E297462320DD}" dt="2023-11-24T08:34:31.499" v="19484"/>
          <ac:spMkLst>
            <pc:docMk/>
            <pc:sldMk cId="2637169229" sldId="2147478574"/>
            <ac:spMk id="133" creationId="{CA1D8D39-3133-1BC0-4726-0292FF1977BB}"/>
          </ac:spMkLst>
        </pc:spChg>
        <pc:spChg chg="add del mod">
          <ac:chgData name="Steiner Andreas 6206 ED" userId="e6377c33-a923-4f14-8587-531c474c7b48" providerId="ADAL" clId="{6ECD27E6-B224-41CD-B4E0-E297462320DD}" dt="2023-11-24T08:34:33.686" v="19639"/>
          <ac:spMkLst>
            <pc:docMk/>
            <pc:sldMk cId="2637169229" sldId="2147478574"/>
            <ac:spMk id="134" creationId="{76C7A535-CCB9-6C25-432F-A43898FEB1BD}"/>
          </ac:spMkLst>
        </pc:spChg>
        <pc:spChg chg="add del mod">
          <ac:chgData name="Steiner Andreas 6206 ED" userId="e6377c33-a923-4f14-8587-531c474c7b48" providerId="ADAL" clId="{6ECD27E6-B224-41CD-B4E0-E297462320DD}" dt="2023-11-24T08:34:35.953" v="19794"/>
          <ac:spMkLst>
            <pc:docMk/>
            <pc:sldMk cId="2637169229" sldId="2147478574"/>
            <ac:spMk id="135" creationId="{E179E9B7-FBD1-502A-029C-ECB63067FE9D}"/>
          </ac:spMkLst>
        </pc:spChg>
        <pc:spChg chg="add del mod">
          <ac:chgData name="Steiner Andreas 6206 ED" userId="e6377c33-a923-4f14-8587-531c474c7b48" providerId="ADAL" clId="{6ECD27E6-B224-41CD-B4E0-E297462320DD}" dt="2023-11-24T08:34:38.195" v="19949"/>
          <ac:spMkLst>
            <pc:docMk/>
            <pc:sldMk cId="2637169229" sldId="2147478574"/>
            <ac:spMk id="136" creationId="{2346AFBD-CC3F-7366-29D2-30F1844D5EB3}"/>
          </ac:spMkLst>
        </pc:spChg>
        <pc:spChg chg="add del mod">
          <ac:chgData name="Steiner Andreas 6206 ED" userId="e6377c33-a923-4f14-8587-531c474c7b48" providerId="ADAL" clId="{6ECD27E6-B224-41CD-B4E0-E297462320DD}" dt="2023-11-24T08:34:40.472" v="20104"/>
          <ac:spMkLst>
            <pc:docMk/>
            <pc:sldMk cId="2637169229" sldId="2147478574"/>
            <ac:spMk id="137" creationId="{031187F8-DCB1-8BE2-112E-04310D5CD0AD}"/>
          </ac:spMkLst>
        </pc:spChg>
        <pc:spChg chg="add del mod">
          <ac:chgData name="Steiner Andreas 6206 ED" userId="e6377c33-a923-4f14-8587-531c474c7b48" providerId="ADAL" clId="{6ECD27E6-B224-41CD-B4E0-E297462320DD}" dt="2023-11-24T08:34:43.238" v="20259"/>
          <ac:spMkLst>
            <pc:docMk/>
            <pc:sldMk cId="2637169229" sldId="2147478574"/>
            <ac:spMk id="138" creationId="{8F09D9D3-7816-C39B-A82C-1F8F383C0931}"/>
          </ac:spMkLst>
        </pc:spChg>
        <pc:spChg chg="add del mod">
          <ac:chgData name="Steiner Andreas 6206 ED" userId="e6377c33-a923-4f14-8587-531c474c7b48" providerId="ADAL" clId="{6ECD27E6-B224-41CD-B4E0-E297462320DD}" dt="2023-11-24T08:34:45.572" v="20414"/>
          <ac:spMkLst>
            <pc:docMk/>
            <pc:sldMk cId="2637169229" sldId="2147478574"/>
            <ac:spMk id="139" creationId="{3D33EB74-3ACA-85D7-181F-9F4098139526}"/>
          </ac:spMkLst>
        </pc:spChg>
        <pc:spChg chg="add del mod">
          <ac:chgData name="Steiner Andreas 6206 ED" userId="e6377c33-a923-4f14-8587-531c474c7b48" providerId="ADAL" clId="{6ECD27E6-B224-41CD-B4E0-E297462320DD}" dt="2023-11-24T08:34:47.818" v="20569"/>
          <ac:spMkLst>
            <pc:docMk/>
            <pc:sldMk cId="2637169229" sldId="2147478574"/>
            <ac:spMk id="140" creationId="{513E49DD-7AD5-6E7C-CFCB-0A18D60ABCE4}"/>
          </ac:spMkLst>
        </pc:spChg>
        <pc:spChg chg="add del mod">
          <ac:chgData name="Steiner Andreas 6206 ED" userId="e6377c33-a923-4f14-8587-531c474c7b48" providerId="ADAL" clId="{6ECD27E6-B224-41CD-B4E0-E297462320DD}" dt="2023-11-24T08:34:50.249" v="20724"/>
          <ac:spMkLst>
            <pc:docMk/>
            <pc:sldMk cId="2637169229" sldId="2147478574"/>
            <ac:spMk id="141" creationId="{A67D618F-9FF1-A827-A3BA-1C58CE2DFB05}"/>
          </ac:spMkLst>
        </pc:spChg>
        <pc:spChg chg="add del mod">
          <ac:chgData name="Steiner Andreas 6206 ED" userId="e6377c33-a923-4f14-8587-531c474c7b48" providerId="ADAL" clId="{6ECD27E6-B224-41CD-B4E0-E297462320DD}" dt="2023-11-24T08:34:52.829" v="20879"/>
          <ac:spMkLst>
            <pc:docMk/>
            <pc:sldMk cId="2637169229" sldId="2147478574"/>
            <ac:spMk id="142" creationId="{C2A3E663-9E43-E1F9-C03B-760BE1F407AE}"/>
          </ac:spMkLst>
        </pc:spChg>
        <pc:spChg chg="add del mod">
          <ac:chgData name="Steiner Andreas 6206 ED" userId="e6377c33-a923-4f14-8587-531c474c7b48" providerId="ADAL" clId="{6ECD27E6-B224-41CD-B4E0-E297462320DD}" dt="2023-11-24T08:34:55.291" v="21034"/>
          <ac:spMkLst>
            <pc:docMk/>
            <pc:sldMk cId="2637169229" sldId="2147478574"/>
            <ac:spMk id="143" creationId="{17AE67C8-7BA9-40AE-DA31-A202303DACF4}"/>
          </ac:spMkLst>
        </pc:spChg>
        <pc:spChg chg="add del mod">
          <ac:chgData name="Steiner Andreas 6206 ED" userId="e6377c33-a923-4f14-8587-531c474c7b48" providerId="ADAL" clId="{6ECD27E6-B224-41CD-B4E0-E297462320DD}" dt="2023-11-24T08:34:57.588" v="21189"/>
          <ac:spMkLst>
            <pc:docMk/>
            <pc:sldMk cId="2637169229" sldId="2147478574"/>
            <ac:spMk id="144" creationId="{A1212FB0-4497-5FB8-F92C-C56031036089}"/>
          </ac:spMkLst>
        </pc:spChg>
        <pc:spChg chg="add del mod">
          <ac:chgData name="Steiner Andreas 6206 ED" userId="e6377c33-a923-4f14-8587-531c474c7b48" providerId="ADAL" clId="{6ECD27E6-B224-41CD-B4E0-E297462320DD}" dt="2023-11-24T08:35:00.122" v="21344"/>
          <ac:spMkLst>
            <pc:docMk/>
            <pc:sldMk cId="2637169229" sldId="2147478574"/>
            <ac:spMk id="145" creationId="{7122E959-1456-4109-05FB-04F8FD5E8BA0}"/>
          </ac:spMkLst>
        </pc:spChg>
        <pc:spChg chg="add del mod">
          <ac:chgData name="Steiner Andreas 6206 ED" userId="e6377c33-a923-4f14-8587-531c474c7b48" providerId="ADAL" clId="{6ECD27E6-B224-41CD-B4E0-E297462320DD}" dt="2023-11-24T08:35:02.779" v="21499"/>
          <ac:spMkLst>
            <pc:docMk/>
            <pc:sldMk cId="2637169229" sldId="2147478574"/>
            <ac:spMk id="146" creationId="{649DA0B6-982B-32D4-AFA1-B4A4FCB0FF0B}"/>
          </ac:spMkLst>
        </pc:spChg>
        <pc:spChg chg="add del mod">
          <ac:chgData name="Steiner Andreas 6206 ED" userId="e6377c33-a923-4f14-8587-531c474c7b48" providerId="ADAL" clId="{6ECD27E6-B224-41CD-B4E0-E297462320DD}" dt="2023-11-24T08:35:05.254" v="21654"/>
          <ac:spMkLst>
            <pc:docMk/>
            <pc:sldMk cId="2637169229" sldId="2147478574"/>
            <ac:spMk id="147" creationId="{7215AF72-CD8D-9D85-1891-A0E836915EDF}"/>
          </ac:spMkLst>
        </pc:spChg>
        <pc:spChg chg="add del mod">
          <ac:chgData name="Steiner Andreas 6206 ED" userId="e6377c33-a923-4f14-8587-531c474c7b48" providerId="ADAL" clId="{6ECD27E6-B224-41CD-B4E0-E297462320DD}" dt="2023-11-24T08:35:07.778" v="21809"/>
          <ac:spMkLst>
            <pc:docMk/>
            <pc:sldMk cId="2637169229" sldId="2147478574"/>
            <ac:spMk id="148" creationId="{E2788BF0-0612-A291-242F-E5B47A769443}"/>
          </ac:spMkLst>
        </pc:spChg>
        <pc:spChg chg="add del mod">
          <ac:chgData name="Steiner Andreas 6206 ED" userId="e6377c33-a923-4f14-8587-531c474c7b48" providerId="ADAL" clId="{6ECD27E6-B224-41CD-B4E0-E297462320DD}" dt="2023-11-24T08:35:10.282" v="21964"/>
          <ac:spMkLst>
            <pc:docMk/>
            <pc:sldMk cId="2637169229" sldId="2147478574"/>
            <ac:spMk id="149" creationId="{E8D833E8-0386-0951-9B4D-BE99C78479CC}"/>
          </ac:spMkLst>
        </pc:spChg>
        <pc:spChg chg="add del mod">
          <ac:chgData name="Steiner Andreas 6206 ED" userId="e6377c33-a923-4f14-8587-531c474c7b48" providerId="ADAL" clId="{6ECD27E6-B224-41CD-B4E0-E297462320DD}" dt="2023-11-24T08:35:12.708" v="22119"/>
          <ac:spMkLst>
            <pc:docMk/>
            <pc:sldMk cId="2637169229" sldId="2147478574"/>
            <ac:spMk id="150" creationId="{0B0BBF8F-369D-4F86-2C26-211C97DF5D8A}"/>
          </ac:spMkLst>
        </pc:spChg>
        <pc:spChg chg="add del mod">
          <ac:chgData name="Steiner Andreas 6206 ED" userId="e6377c33-a923-4f14-8587-531c474c7b48" providerId="ADAL" clId="{6ECD27E6-B224-41CD-B4E0-E297462320DD}" dt="2023-11-24T08:35:14.790" v="22274"/>
          <ac:spMkLst>
            <pc:docMk/>
            <pc:sldMk cId="2637169229" sldId="2147478574"/>
            <ac:spMk id="151" creationId="{47D4CA02-B8D7-B9C4-3A73-F07FEDED8904}"/>
          </ac:spMkLst>
        </pc:spChg>
        <pc:spChg chg="add del mod">
          <ac:chgData name="Steiner Andreas 6206 ED" userId="e6377c33-a923-4f14-8587-531c474c7b48" providerId="ADAL" clId="{6ECD27E6-B224-41CD-B4E0-E297462320DD}" dt="2023-11-24T08:35:17.189" v="22429"/>
          <ac:spMkLst>
            <pc:docMk/>
            <pc:sldMk cId="2637169229" sldId="2147478574"/>
            <ac:spMk id="152" creationId="{A1399FCF-139F-7A85-0FC0-4B2D6592DBB4}"/>
          </ac:spMkLst>
        </pc:spChg>
        <pc:spChg chg="add del mod">
          <ac:chgData name="Steiner Andreas 6206 ED" userId="e6377c33-a923-4f14-8587-531c474c7b48" providerId="ADAL" clId="{6ECD27E6-B224-41CD-B4E0-E297462320DD}" dt="2023-11-24T08:35:19.636" v="22584"/>
          <ac:spMkLst>
            <pc:docMk/>
            <pc:sldMk cId="2637169229" sldId="2147478574"/>
            <ac:spMk id="153" creationId="{74755ADE-473C-EA21-68A7-4AB47A56CD24}"/>
          </ac:spMkLst>
        </pc:spChg>
        <pc:spChg chg="add del mod">
          <ac:chgData name="Steiner Andreas 6206 ED" userId="e6377c33-a923-4f14-8587-531c474c7b48" providerId="ADAL" clId="{6ECD27E6-B224-41CD-B4E0-E297462320DD}" dt="2023-11-24T08:35:22.065" v="22739"/>
          <ac:spMkLst>
            <pc:docMk/>
            <pc:sldMk cId="2637169229" sldId="2147478574"/>
            <ac:spMk id="154" creationId="{5A931A9E-D1C4-B192-3FF9-A38BC5310BE6}"/>
          </ac:spMkLst>
        </pc:spChg>
        <pc:spChg chg="add del mod">
          <ac:chgData name="Steiner Andreas 6206 ED" userId="e6377c33-a923-4f14-8587-531c474c7b48" providerId="ADAL" clId="{6ECD27E6-B224-41CD-B4E0-E297462320DD}" dt="2023-11-24T08:35:24.386" v="22894"/>
          <ac:spMkLst>
            <pc:docMk/>
            <pc:sldMk cId="2637169229" sldId="2147478574"/>
            <ac:spMk id="155" creationId="{C0073B6E-242F-6134-BA6C-B767E7DFF803}"/>
          </ac:spMkLst>
        </pc:spChg>
        <pc:spChg chg="add del mod">
          <ac:chgData name="Steiner Andreas 6206 ED" userId="e6377c33-a923-4f14-8587-531c474c7b48" providerId="ADAL" clId="{6ECD27E6-B224-41CD-B4E0-E297462320DD}" dt="2023-11-24T08:35:27.034" v="23049"/>
          <ac:spMkLst>
            <pc:docMk/>
            <pc:sldMk cId="2637169229" sldId="2147478574"/>
            <ac:spMk id="156" creationId="{46681236-D47E-274B-0EA7-164A9A398A8A}"/>
          </ac:spMkLst>
        </pc:spChg>
        <pc:spChg chg="add del mod">
          <ac:chgData name="Steiner Andreas 6206 ED" userId="e6377c33-a923-4f14-8587-531c474c7b48" providerId="ADAL" clId="{6ECD27E6-B224-41CD-B4E0-E297462320DD}" dt="2023-11-24T08:35:29.756" v="23204"/>
          <ac:spMkLst>
            <pc:docMk/>
            <pc:sldMk cId="2637169229" sldId="2147478574"/>
            <ac:spMk id="157" creationId="{2E94004A-56D5-12F6-CC97-4D71462422F5}"/>
          </ac:spMkLst>
        </pc:spChg>
        <pc:spChg chg="add del mod">
          <ac:chgData name="Steiner Andreas 6206 ED" userId="e6377c33-a923-4f14-8587-531c474c7b48" providerId="ADAL" clId="{6ECD27E6-B224-41CD-B4E0-E297462320DD}" dt="2023-11-24T08:35:32.107" v="23359"/>
          <ac:spMkLst>
            <pc:docMk/>
            <pc:sldMk cId="2637169229" sldId="2147478574"/>
            <ac:spMk id="158" creationId="{B114F865-E4A5-5DBC-13CB-37BBB7B289FA}"/>
          </ac:spMkLst>
        </pc:spChg>
        <pc:spChg chg="add del mod">
          <ac:chgData name="Steiner Andreas 6206 ED" userId="e6377c33-a923-4f14-8587-531c474c7b48" providerId="ADAL" clId="{6ECD27E6-B224-41CD-B4E0-E297462320DD}" dt="2023-11-24T08:35:34.517" v="23514"/>
          <ac:spMkLst>
            <pc:docMk/>
            <pc:sldMk cId="2637169229" sldId="2147478574"/>
            <ac:spMk id="159" creationId="{B3EF9750-6BAE-75CF-14F6-2BF4CB447E41}"/>
          </ac:spMkLst>
        </pc:spChg>
        <pc:spChg chg="add del mod">
          <ac:chgData name="Steiner Andreas 6206 ED" userId="e6377c33-a923-4f14-8587-531c474c7b48" providerId="ADAL" clId="{6ECD27E6-B224-41CD-B4E0-E297462320DD}" dt="2023-11-24T08:35:36.828" v="23669"/>
          <ac:spMkLst>
            <pc:docMk/>
            <pc:sldMk cId="2637169229" sldId="2147478574"/>
            <ac:spMk id="160" creationId="{45D902AE-29F2-9A68-A3A9-3820D4CA3F48}"/>
          </ac:spMkLst>
        </pc:spChg>
        <pc:spChg chg="add del mod">
          <ac:chgData name="Steiner Andreas 6206 ED" userId="e6377c33-a923-4f14-8587-531c474c7b48" providerId="ADAL" clId="{6ECD27E6-B224-41CD-B4E0-E297462320DD}" dt="2023-11-24T08:35:39.235" v="23824"/>
          <ac:spMkLst>
            <pc:docMk/>
            <pc:sldMk cId="2637169229" sldId="2147478574"/>
            <ac:spMk id="161" creationId="{E6C245FA-93ED-653B-1448-CEAF4E04903B}"/>
          </ac:spMkLst>
        </pc:spChg>
        <pc:spChg chg="add del mod">
          <ac:chgData name="Steiner Andreas 6206 ED" userId="e6377c33-a923-4f14-8587-531c474c7b48" providerId="ADAL" clId="{6ECD27E6-B224-41CD-B4E0-E297462320DD}" dt="2023-11-24T08:35:41.905" v="23979"/>
          <ac:spMkLst>
            <pc:docMk/>
            <pc:sldMk cId="2637169229" sldId="2147478574"/>
            <ac:spMk id="162" creationId="{334F9830-F1E6-C731-1CD0-973C96F4FA11}"/>
          </ac:spMkLst>
        </pc:spChg>
        <pc:spChg chg="add del mod">
          <ac:chgData name="Steiner Andreas 6206 ED" userId="e6377c33-a923-4f14-8587-531c474c7b48" providerId="ADAL" clId="{6ECD27E6-B224-41CD-B4E0-E297462320DD}" dt="2023-11-24T08:35:44.372" v="24134"/>
          <ac:spMkLst>
            <pc:docMk/>
            <pc:sldMk cId="2637169229" sldId="2147478574"/>
            <ac:spMk id="163" creationId="{64A04684-2C05-A0AF-EC90-95EEBC55142D}"/>
          </ac:spMkLst>
        </pc:spChg>
        <pc:spChg chg="add del mod">
          <ac:chgData name="Steiner Andreas 6206 ED" userId="e6377c33-a923-4f14-8587-531c474c7b48" providerId="ADAL" clId="{6ECD27E6-B224-41CD-B4E0-E297462320DD}" dt="2023-11-24T08:35:46.638" v="24289"/>
          <ac:spMkLst>
            <pc:docMk/>
            <pc:sldMk cId="2637169229" sldId="2147478574"/>
            <ac:spMk id="164" creationId="{57CC1EFB-38F0-9996-A23B-04C2A20F1C07}"/>
          </ac:spMkLst>
        </pc:spChg>
        <pc:spChg chg="add del mod">
          <ac:chgData name="Steiner Andreas 6206 ED" userId="e6377c33-a923-4f14-8587-531c474c7b48" providerId="ADAL" clId="{6ECD27E6-B224-41CD-B4E0-E297462320DD}" dt="2023-11-24T08:35:48.868" v="24444"/>
          <ac:spMkLst>
            <pc:docMk/>
            <pc:sldMk cId="2637169229" sldId="2147478574"/>
            <ac:spMk id="165" creationId="{A8F76911-7B58-75D3-0535-0750504D9B80}"/>
          </ac:spMkLst>
        </pc:spChg>
        <pc:spChg chg="add del mod">
          <ac:chgData name="Steiner Andreas 6206 ED" userId="e6377c33-a923-4f14-8587-531c474c7b48" providerId="ADAL" clId="{6ECD27E6-B224-41CD-B4E0-E297462320DD}" dt="2023-11-24T08:35:51.168" v="24599"/>
          <ac:spMkLst>
            <pc:docMk/>
            <pc:sldMk cId="2637169229" sldId="2147478574"/>
            <ac:spMk id="166" creationId="{8C69B4DE-62AC-C87C-5091-EBCC57EE6CE6}"/>
          </ac:spMkLst>
        </pc:spChg>
        <pc:spChg chg="add del mod">
          <ac:chgData name="Steiner Andreas 6206 ED" userId="e6377c33-a923-4f14-8587-531c474c7b48" providerId="ADAL" clId="{6ECD27E6-B224-41CD-B4E0-E297462320DD}" dt="2023-11-24T08:35:54.068" v="24754"/>
          <ac:spMkLst>
            <pc:docMk/>
            <pc:sldMk cId="2637169229" sldId="2147478574"/>
            <ac:spMk id="167" creationId="{0FF0B221-4893-705A-F108-5DDD4BA5CDDC}"/>
          </ac:spMkLst>
        </pc:spChg>
        <pc:spChg chg="add del mod">
          <ac:chgData name="Steiner Andreas 6206 ED" userId="e6377c33-a923-4f14-8587-531c474c7b48" providerId="ADAL" clId="{6ECD27E6-B224-41CD-B4E0-E297462320DD}" dt="2023-11-24T08:35:56.567" v="24909"/>
          <ac:spMkLst>
            <pc:docMk/>
            <pc:sldMk cId="2637169229" sldId="2147478574"/>
            <ac:spMk id="168" creationId="{D3F9B571-92F1-D69D-1E82-AB256FB96D41}"/>
          </ac:spMkLst>
        </pc:spChg>
        <pc:spChg chg="add del mod">
          <ac:chgData name="Steiner Andreas 6206 ED" userId="e6377c33-a923-4f14-8587-531c474c7b48" providerId="ADAL" clId="{6ECD27E6-B224-41CD-B4E0-E297462320DD}" dt="2023-11-24T08:35:59.109" v="25064"/>
          <ac:spMkLst>
            <pc:docMk/>
            <pc:sldMk cId="2637169229" sldId="2147478574"/>
            <ac:spMk id="169" creationId="{ACB82DBD-4804-EEE6-38B3-4D402BEFF86B}"/>
          </ac:spMkLst>
        </pc:spChg>
        <pc:spChg chg="add del mod">
          <ac:chgData name="Steiner Andreas 6206 ED" userId="e6377c33-a923-4f14-8587-531c474c7b48" providerId="ADAL" clId="{6ECD27E6-B224-41CD-B4E0-E297462320DD}" dt="2023-11-24T08:36:01.606" v="25219"/>
          <ac:spMkLst>
            <pc:docMk/>
            <pc:sldMk cId="2637169229" sldId="2147478574"/>
            <ac:spMk id="170" creationId="{9B1AF41D-214E-980C-5880-1D78FC6BA215}"/>
          </ac:spMkLst>
        </pc:spChg>
        <pc:spChg chg="add del mod">
          <ac:chgData name="Steiner Andreas 6206 ED" userId="e6377c33-a923-4f14-8587-531c474c7b48" providerId="ADAL" clId="{6ECD27E6-B224-41CD-B4E0-E297462320DD}" dt="2023-11-24T08:36:04.193" v="25374"/>
          <ac:spMkLst>
            <pc:docMk/>
            <pc:sldMk cId="2637169229" sldId="2147478574"/>
            <ac:spMk id="171" creationId="{3648D384-25FC-F408-547D-23776AB23DEA}"/>
          </ac:spMkLst>
        </pc:spChg>
        <pc:spChg chg="add del mod">
          <ac:chgData name="Steiner Andreas 6206 ED" userId="e6377c33-a923-4f14-8587-531c474c7b48" providerId="ADAL" clId="{6ECD27E6-B224-41CD-B4E0-E297462320DD}" dt="2023-11-24T08:36:06.695" v="25529"/>
          <ac:spMkLst>
            <pc:docMk/>
            <pc:sldMk cId="2637169229" sldId="2147478574"/>
            <ac:spMk id="172" creationId="{22D99EF8-EFCB-8E65-5A12-BAC5E9D66755}"/>
          </ac:spMkLst>
        </pc:spChg>
        <pc:spChg chg="add del mod">
          <ac:chgData name="Steiner Andreas 6206 ED" userId="e6377c33-a923-4f14-8587-531c474c7b48" providerId="ADAL" clId="{6ECD27E6-B224-41CD-B4E0-E297462320DD}" dt="2023-11-24T08:36:09.217" v="25684"/>
          <ac:spMkLst>
            <pc:docMk/>
            <pc:sldMk cId="2637169229" sldId="2147478574"/>
            <ac:spMk id="173" creationId="{94A969C0-C980-0438-EE6D-474131703C3E}"/>
          </ac:spMkLst>
        </pc:spChg>
        <pc:spChg chg="add del mod">
          <ac:chgData name="Steiner Andreas 6206 ED" userId="e6377c33-a923-4f14-8587-531c474c7b48" providerId="ADAL" clId="{6ECD27E6-B224-41CD-B4E0-E297462320DD}" dt="2023-11-24T08:36:11.752" v="25839"/>
          <ac:spMkLst>
            <pc:docMk/>
            <pc:sldMk cId="2637169229" sldId="2147478574"/>
            <ac:spMk id="174" creationId="{EA9F31D0-53EE-99E2-5B85-A75178D47FF1}"/>
          </ac:spMkLst>
        </pc:spChg>
        <pc:spChg chg="add del mod">
          <ac:chgData name="Steiner Andreas 6206 ED" userId="e6377c33-a923-4f14-8587-531c474c7b48" providerId="ADAL" clId="{6ECD27E6-B224-41CD-B4E0-E297462320DD}" dt="2023-11-24T08:36:14.145" v="25994"/>
          <ac:spMkLst>
            <pc:docMk/>
            <pc:sldMk cId="2637169229" sldId="2147478574"/>
            <ac:spMk id="175" creationId="{7DDB389F-AACA-74D0-5C08-48547A4DDF45}"/>
          </ac:spMkLst>
        </pc:spChg>
        <pc:spChg chg="add del mod">
          <ac:chgData name="Steiner Andreas 6206 ED" userId="e6377c33-a923-4f14-8587-531c474c7b48" providerId="ADAL" clId="{6ECD27E6-B224-41CD-B4E0-E297462320DD}" dt="2023-11-24T08:36:16.960" v="26149"/>
          <ac:spMkLst>
            <pc:docMk/>
            <pc:sldMk cId="2637169229" sldId="2147478574"/>
            <ac:spMk id="176" creationId="{12840799-F031-01A8-AE84-E6CA3605E65A}"/>
          </ac:spMkLst>
        </pc:spChg>
        <pc:spChg chg="add del mod">
          <ac:chgData name="Steiner Andreas 6206 ED" userId="e6377c33-a923-4f14-8587-531c474c7b48" providerId="ADAL" clId="{6ECD27E6-B224-41CD-B4E0-E297462320DD}" dt="2023-11-24T08:36:19.375" v="26304"/>
          <ac:spMkLst>
            <pc:docMk/>
            <pc:sldMk cId="2637169229" sldId="2147478574"/>
            <ac:spMk id="177" creationId="{4B7DE4EA-2113-435E-8918-D6687D605343}"/>
          </ac:spMkLst>
        </pc:spChg>
        <pc:spChg chg="add del mod">
          <ac:chgData name="Steiner Andreas 6206 ED" userId="e6377c33-a923-4f14-8587-531c474c7b48" providerId="ADAL" clId="{6ECD27E6-B224-41CD-B4E0-E297462320DD}" dt="2023-11-24T08:36:21.621" v="26459"/>
          <ac:spMkLst>
            <pc:docMk/>
            <pc:sldMk cId="2637169229" sldId="2147478574"/>
            <ac:spMk id="178" creationId="{EA652BD7-0967-6870-282D-34D986BBEBB1}"/>
          </ac:spMkLst>
        </pc:spChg>
        <pc:spChg chg="add del mod">
          <ac:chgData name="Steiner Andreas 6206 ED" userId="e6377c33-a923-4f14-8587-531c474c7b48" providerId="ADAL" clId="{6ECD27E6-B224-41CD-B4E0-E297462320DD}" dt="2023-11-24T08:36:24.133" v="26614"/>
          <ac:spMkLst>
            <pc:docMk/>
            <pc:sldMk cId="2637169229" sldId="2147478574"/>
            <ac:spMk id="179" creationId="{F6BADCCE-83AA-4F3E-5653-C0B69D912F48}"/>
          </ac:spMkLst>
        </pc:spChg>
        <pc:spChg chg="add del mod">
          <ac:chgData name="Steiner Andreas 6206 ED" userId="e6377c33-a923-4f14-8587-531c474c7b48" providerId="ADAL" clId="{6ECD27E6-B224-41CD-B4E0-E297462320DD}" dt="2023-11-24T08:36:26.658" v="26769"/>
          <ac:spMkLst>
            <pc:docMk/>
            <pc:sldMk cId="2637169229" sldId="2147478574"/>
            <ac:spMk id="180" creationId="{D4329D23-48BB-9312-3E6D-3347EAD269B4}"/>
          </ac:spMkLst>
        </pc:spChg>
        <pc:spChg chg="add del mod">
          <ac:chgData name="Steiner Andreas 6206 ED" userId="e6377c33-a923-4f14-8587-531c474c7b48" providerId="ADAL" clId="{6ECD27E6-B224-41CD-B4E0-E297462320DD}" dt="2023-11-24T08:36:29.572" v="26924"/>
          <ac:spMkLst>
            <pc:docMk/>
            <pc:sldMk cId="2637169229" sldId="2147478574"/>
            <ac:spMk id="181" creationId="{A27FC358-3DC9-42F8-00DB-D732055F5398}"/>
          </ac:spMkLst>
        </pc:spChg>
        <pc:spChg chg="add del mod">
          <ac:chgData name="Steiner Andreas 6206 ED" userId="e6377c33-a923-4f14-8587-531c474c7b48" providerId="ADAL" clId="{6ECD27E6-B224-41CD-B4E0-E297462320DD}" dt="2023-11-24T08:36:32.265" v="27079"/>
          <ac:spMkLst>
            <pc:docMk/>
            <pc:sldMk cId="2637169229" sldId="2147478574"/>
            <ac:spMk id="182" creationId="{53C8EC53-3A29-0CEC-C477-1BD525D9339C}"/>
          </ac:spMkLst>
        </pc:spChg>
        <pc:spChg chg="add del mod">
          <ac:chgData name="Steiner Andreas 6206 ED" userId="e6377c33-a923-4f14-8587-531c474c7b48" providerId="ADAL" clId="{6ECD27E6-B224-41CD-B4E0-E297462320DD}" dt="2023-11-24T08:36:34.801" v="27234"/>
          <ac:spMkLst>
            <pc:docMk/>
            <pc:sldMk cId="2637169229" sldId="2147478574"/>
            <ac:spMk id="183" creationId="{F05EDA9B-628C-9B45-CDDA-A1F0C2312370}"/>
          </ac:spMkLst>
        </pc:spChg>
        <pc:spChg chg="add del mod">
          <ac:chgData name="Steiner Andreas 6206 ED" userId="e6377c33-a923-4f14-8587-531c474c7b48" providerId="ADAL" clId="{6ECD27E6-B224-41CD-B4E0-E297462320DD}" dt="2023-11-24T08:36:37.337" v="27389"/>
          <ac:spMkLst>
            <pc:docMk/>
            <pc:sldMk cId="2637169229" sldId="2147478574"/>
            <ac:spMk id="184" creationId="{2F7670E7-6920-17BF-A260-D16227E3B6E2}"/>
          </ac:spMkLst>
        </pc:spChg>
        <pc:spChg chg="add del mod">
          <ac:chgData name="Steiner Andreas 6206 ED" userId="e6377c33-a923-4f14-8587-531c474c7b48" providerId="ADAL" clId="{6ECD27E6-B224-41CD-B4E0-E297462320DD}" dt="2023-11-24T08:36:39.911" v="27544"/>
          <ac:spMkLst>
            <pc:docMk/>
            <pc:sldMk cId="2637169229" sldId="2147478574"/>
            <ac:spMk id="185" creationId="{B88398DC-DDAE-52A5-0445-1A6EBCBDAEF2}"/>
          </ac:spMkLst>
        </pc:spChg>
        <pc:spChg chg="add del mod">
          <ac:chgData name="Steiner Andreas 6206 ED" userId="e6377c33-a923-4f14-8587-531c474c7b48" providerId="ADAL" clId="{6ECD27E6-B224-41CD-B4E0-E297462320DD}" dt="2023-11-24T08:36:42.698" v="27699"/>
          <ac:spMkLst>
            <pc:docMk/>
            <pc:sldMk cId="2637169229" sldId="2147478574"/>
            <ac:spMk id="186" creationId="{3CE54501-0F2D-3368-1217-4D14C97B51B0}"/>
          </ac:spMkLst>
        </pc:spChg>
        <pc:spChg chg="add del mod">
          <ac:chgData name="Steiner Andreas 6206 ED" userId="e6377c33-a923-4f14-8587-531c474c7b48" providerId="ADAL" clId="{6ECD27E6-B224-41CD-B4E0-E297462320DD}" dt="2023-11-24T08:36:45.206" v="27854"/>
          <ac:spMkLst>
            <pc:docMk/>
            <pc:sldMk cId="2637169229" sldId="2147478574"/>
            <ac:spMk id="187" creationId="{757CFE22-9447-9CAD-52AF-E7E3D54349AC}"/>
          </ac:spMkLst>
        </pc:spChg>
        <pc:spChg chg="add del mod">
          <ac:chgData name="Steiner Andreas 6206 ED" userId="e6377c33-a923-4f14-8587-531c474c7b48" providerId="ADAL" clId="{6ECD27E6-B224-41CD-B4E0-E297462320DD}" dt="2023-11-24T08:36:47.620" v="28009"/>
          <ac:spMkLst>
            <pc:docMk/>
            <pc:sldMk cId="2637169229" sldId="2147478574"/>
            <ac:spMk id="188" creationId="{4B08F3AB-70F3-1E86-9263-3A6DA3B71454}"/>
          </ac:spMkLst>
        </pc:spChg>
        <pc:spChg chg="add del mod">
          <ac:chgData name="Steiner Andreas 6206 ED" userId="e6377c33-a923-4f14-8587-531c474c7b48" providerId="ADAL" clId="{6ECD27E6-B224-41CD-B4E0-E297462320DD}" dt="2023-11-24T08:36:50.076" v="28164"/>
          <ac:spMkLst>
            <pc:docMk/>
            <pc:sldMk cId="2637169229" sldId="2147478574"/>
            <ac:spMk id="189" creationId="{5D9D4EFA-50E7-58C2-4105-5D50405B8C11}"/>
          </ac:spMkLst>
        </pc:spChg>
        <pc:spChg chg="add del mod">
          <ac:chgData name="Steiner Andreas 6206 ED" userId="e6377c33-a923-4f14-8587-531c474c7b48" providerId="ADAL" clId="{6ECD27E6-B224-41CD-B4E0-E297462320DD}" dt="2023-11-24T08:36:53.124" v="28319"/>
          <ac:spMkLst>
            <pc:docMk/>
            <pc:sldMk cId="2637169229" sldId="2147478574"/>
            <ac:spMk id="190" creationId="{DA849E66-65A2-29A3-F359-ABC4EFCD15C1}"/>
          </ac:spMkLst>
        </pc:spChg>
        <pc:spChg chg="add del mod">
          <ac:chgData name="Steiner Andreas 6206 ED" userId="e6377c33-a923-4f14-8587-531c474c7b48" providerId="ADAL" clId="{6ECD27E6-B224-41CD-B4E0-E297462320DD}" dt="2023-11-24T08:36:56.199" v="28474"/>
          <ac:spMkLst>
            <pc:docMk/>
            <pc:sldMk cId="2637169229" sldId="2147478574"/>
            <ac:spMk id="191" creationId="{3E53568C-6C51-E124-5E4E-BD8A2BA9D3D5}"/>
          </ac:spMkLst>
        </pc:spChg>
        <pc:spChg chg="add del mod">
          <ac:chgData name="Steiner Andreas 6206 ED" userId="e6377c33-a923-4f14-8587-531c474c7b48" providerId="ADAL" clId="{6ECD27E6-B224-41CD-B4E0-E297462320DD}" dt="2023-11-24T08:36:59.041" v="28629"/>
          <ac:spMkLst>
            <pc:docMk/>
            <pc:sldMk cId="2637169229" sldId="2147478574"/>
            <ac:spMk id="192" creationId="{1E21AE66-22AB-B84B-6EEC-1C33CEAC619A}"/>
          </ac:spMkLst>
        </pc:spChg>
        <pc:spChg chg="add del mod">
          <ac:chgData name="Steiner Andreas 6206 ED" userId="e6377c33-a923-4f14-8587-531c474c7b48" providerId="ADAL" clId="{6ECD27E6-B224-41CD-B4E0-E297462320DD}" dt="2023-11-24T08:37:01.719" v="28784"/>
          <ac:spMkLst>
            <pc:docMk/>
            <pc:sldMk cId="2637169229" sldId="2147478574"/>
            <ac:spMk id="193" creationId="{2901AB56-8FCD-EDFA-7891-BEB008199EA9}"/>
          </ac:spMkLst>
        </pc:spChg>
        <pc:spChg chg="add del mod">
          <ac:chgData name="Steiner Andreas 6206 ED" userId="e6377c33-a923-4f14-8587-531c474c7b48" providerId="ADAL" clId="{6ECD27E6-B224-41CD-B4E0-E297462320DD}" dt="2023-11-24T08:37:04.490" v="28939"/>
          <ac:spMkLst>
            <pc:docMk/>
            <pc:sldMk cId="2637169229" sldId="2147478574"/>
            <ac:spMk id="194" creationId="{CFF92442-3A0A-2EA5-DD75-D2A1F44F219A}"/>
          </ac:spMkLst>
        </pc:spChg>
        <pc:spChg chg="add del mod">
          <ac:chgData name="Steiner Andreas 6206 ED" userId="e6377c33-a923-4f14-8587-531c474c7b48" providerId="ADAL" clId="{6ECD27E6-B224-41CD-B4E0-E297462320DD}" dt="2023-11-24T08:37:07.346" v="29094"/>
          <ac:spMkLst>
            <pc:docMk/>
            <pc:sldMk cId="2637169229" sldId="2147478574"/>
            <ac:spMk id="195" creationId="{51292243-5265-F18E-C1E7-C14ED6F63F89}"/>
          </ac:spMkLst>
        </pc:spChg>
        <pc:spChg chg="add del mod">
          <ac:chgData name="Steiner Andreas 6206 ED" userId="e6377c33-a923-4f14-8587-531c474c7b48" providerId="ADAL" clId="{6ECD27E6-B224-41CD-B4E0-E297462320DD}" dt="2023-11-24T08:37:09.895" v="29249"/>
          <ac:spMkLst>
            <pc:docMk/>
            <pc:sldMk cId="2637169229" sldId="2147478574"/>
            <ac:spMk id="196" creationId="{4309A3B4-AB3F-0468-8AF4-C1ABEB74B2EB}"/>
          </ac:spMkLst>
        </pc:spChg>
        <pc:spChg chg="add del mod">
          <ac:chgData name="Steiner Andreas 6206 ED" userId="e6377c33-a923-4f14-8587-531c474c7b48" providerId="ADAL" clId="{6ECD27E6-B224-41CD-B4E0-E297462320DD}" dt="2023-11-24T08:37:12.633" v="29404"/>
          <ac:spMkLst>
            <pc:docMk/>
            <pc:sldMk cId="2637169229" sldId="2147478574"/>
            <ac:spMk id="197" creationId="{E5D3DAF6-8940-C2B4-58DD-EF26BFF11AA9}"/>
          </ac:spMkLst>
        </pc:spChg>
        <pc:spChg chg="add del mod">
          <ac:chgData name="Steiner Andreas 6206 ED" userId="e6377c33-a923-4f14-8587-531c474c7b48" providerId="ADAL" clId="{6ECD27E6-B224-41CD-B4E0-E297462320DD}" dt="2023-11-24T08:37:15.982" v="29559"/>
          <ac:spMkLst>
            <pc:docMk/>
            <pc:sldMk cId="2637169229" sldId="2147478574"/>
            <ac:spMk id="198" creationId="{21FB19A2-EE96-CE98-1F4A-BB5131C96AD3}"/>
          </ac:spMkLst>
        </pc:spChg>
        <pc:spChg chg="add del mod">
          <ac:chgData name="Steiner Andreas 6206 ED" userId="e6377c33-a923-4f14-8587-531c474c7b48" providerId="ADAL" clId="{6ECD27E6-B224-41CD-B4E0-E297462320DD}" dt="2023-11-24T08:37:18.699" v="29714"/>
          <ac:spMkLst>
            <pc:docMk/>
            <pc:sldMk cId="2637169229" sldId="2147478574"/>
            <ac:spMk id="199" creationId="{50972B2F-0FBE-BF06-FC27-7CEEB0D1AE76}"/>
          </ac:spMkLst>
        </pc:spChg>
        <pc:spChg chg="add del mod">
          <ac:chgData name="Steiner Andreas 6206 ED" userId="e6377c33-a923-4f14-8587-531c474c7b48" providerId="ADAL" clId="{6ECD27E6-B224-41CD-B4E0-E297462320DD}" dt="2023-11-24T08:37:21.210" v="29869"/>
          <ac:spMkLst>
            <pc:docMk/>
            <pc:sldMk cId="2637169229" sldId="2147478574"/>
            <ac:spMk id="200" creationId="{915EA12A-A178-96C9-3FCB-2133F1BCB268}"/>
          </ac:spMkLst>
        </pc:spChg>
        <pc:spChg chg="add del mod">
          <ac:chgData name="Steiner Andreas 6206 ED" userId="e6377c33-a923-4f14-8587-531c474c7b48" providerId="ADAL" clId="{6ECD27E6-B224-41CD-B4E0-E297462320DD}" dt="2023-11-24T08:37:24.052" v="30024"/>
          <ac:spMkLst>
            <pc:docMk/>
            <pc:sldMk cId="2637169229" sldId="2147478574"/>
            <ac:spMk id="201" creationId="{35E60C90-96C6-6B3C-BAA7-D83BCD1C0DB3}"/>
          </ac:spMkLst>
        </pc:spChg>
        <pc:spChg chg="add del mod">
          <ac:chgData name="Steiner Andreas 6206 ED" userId="e6377c33-a923-4f14-8587-531c474c7b48" providerId="ADAL" clId="{6ECD27E6-B224-41CD-B4E0-E297462320DD}" dt="2023-11-24T08:37:26.570" v="30179"/>
          <ac:spMkLst>
            <pc:docMk/>
            <pc:sldMk cId="2637169229" sldId="2147478574"/>
            <ac:spMk id="202" creationId="{51E45D6D-8374-5880-0004-7B1B0934A67A}"/>
          </ac:spMkLst>
        </pc:spChg>
        <pc:spChg chg="add del mod">
          <ac:chgData name="Steiner Andreas 6206 ED" userId="e6377c33-a923-4f14-8587-531c474c7b48" providerId="ADAL" clId="{6ECD27E6-B224-41CD-B4E0-E297462320DD}" dt="2023-11-24T08:37:29.806" v="30334"/>
          <ac:spMkLst>
            <pc:docMk/>
            <pc:sldMk cId="2637169229" sldId="2147478574"/>
            <ac:spMk id="203" creationId="{5633C3D8-084F-AF6F-3C91-EA9878FD9C80}"/>
          </ac:spMkLst>
        </pc:spChg>
        <pc:spChg chg="add del mod">
          <ac:chgData name="Steiner Andreas 6206 ED" userId="e6377c33-a923-4f14-8587-531c474c7b48" providerId="ADAL" clId="{6ECD27E6-B224-41CD-B4E0-E297462320DD}" dt="2023-11-24T08:37:32.746" v="30489"/>
          <ac:spMkLst>
            <pc:docMk/>
            <pc:sldMk cId="2637169229" sldId="2147478574"/>
            <ac:spMk id="204" creationId="{1AC9F717-31BF-75AD-DA4C-23A2BE44CECF}"/>
          </ac:spMkLst>
        </pc:spChg>
        <pc:spChg chg="add del mod">
          <ac:chgData name="Steiner Andreas 6206 ED" userId="e6377c33-a923-4f14-8587-531c474c7b48" providerId="ADAL" clId="{6ECD27E6-B224-41CD-B4E0-E297462320DD}" dt="2023-11-24T08:37:35.350" v="30644"/>
          <ac:spMkLst>
            <pc:docMk/>
            <pc:sldMk cId="2637169229" sldId="2147478574"/>
            <ac:spMk id="205" creationId="{1BBB8ADA-9496-0C9D-9FF5-408F102D610C}"/>
          </ac:spMkLst>
        </pc:spChg>
        <pc:spChg chg="add del mod">
          <ac:chgData name="Steiner Andreas 6206 ED" userId="e6377c33-a923-4f14-8587-531c474c7b48" providerId="ADAL" clId="{6ECD27E6-B224-41CD-B4E0-E297462320DD}" dt="2023-11-24T08:37:38.006" v="30799"/>
          <ac:spMkLst>
            <pc:docMk/>
            <pc:sldMk cId="2637169229" sldId="2147478574"/>
            <ac:spMk id="206" creationId="{97B4DAB7-E3DC-265E-84D9-8FDAC18DA477}"/>
          </ac:spMkLst>
        </pc:spChg>
        <pc:spChg chg="add del mod">
          <ac:chgData name="Steiner Andreas 6206 ED" userId="e6377c33-a923-4f14-8587-531c474c7b48" providerId="ADAL" clId="{6ECD27E6-B224-41CD-B4E0-E297462320DD}" dt="2023-11-24T08:37:41.836" v="30954"/>
          <ac:spMkLst>
            <pc:docMk/>
            <pc:sldMk cId="2637169229" sldId="2147478574"/>
            <ac:spMk id="207" creationId="{97A19670-2F26-6B76-BA48-53CE6A3D0ED7}"/>
          </ac:spMkLst>
        </pc:spChg>
        <pc:spChg chg="add del mod">
          <ac:chgData name="Steiner Andreas 6206 ED" userId="e6377c33-a923-4f14-8587-531c474c7b48" providerId="ADAL" clId="{6ECD27E6-B224-41CD-B4E0-E297462320DD}" dt="2023-11-24T08:37:44.967" v="31109"/>
          <ac:spMkLst>
            <pc:docMk/>
            <pc:sldMk cId="2637169229" sldId="2147478574"/>
            <ac:spMk id="208" creationId="{C7EBC69A-DCF8-1BF2-47C9-A6269ABC283F}"/>
          </ac:spMkLst>
        </pc:spChg>
        <pc:spChg chg="add del mod">
          <ac:chgData name="Steiner Andreas 6206 ED" userId="e6377c33-a923-4f14-8587-531c474c7b48" providerId="ADAL" clId="{6ECD27E6-B224-41CD-B4E0-E297462320DD}" dt="2023-11-24T08:37:47.731" v="31264"/>
          <ac:spMkLst>
            <pc:docMk/>
            <pc:sldMk cId="2637169229" sldId="2147478574"/>
            <ac:spMk id="209" creationId="{69875027-82AD-BCCE-D623-E744A10F2A34}"/>
          </ac:spMkLst>
        </pc:spChg>
        <pc:spChg chg="add del mod">
          <ac:chgData name="Steiner Andreas 6206 ED" userId="e6377c33-a923-4f14-8587-531c474c7b48" providerId="ADAL" clId="{6ECD27E6-B224-41CD-B4E0-E297462320DD}" dt="2023-11-24T08:37:50.498" v="31419"/>
          <ac:spMkLst>
            <pc:docMk/>
            <pc:sldMk cId="2637169229" sldId="2147478574"/>
            <ac:spMk id="210" creationId="{710EF9B6-E491-3FA7-D130-BB2E1EF50451}"/>
          </ac:spMkLst>
        </pc:spChg>
        <pc:spChg chg="add del mod">
          <ac:chgData name="Steiner Andreas 6206 ED" userId="e6377c33-a923-4f14-8587-531c474c7b48" providerId="ADAL" clId="{6ECD27E6-B224-41CD-B4E0-E297462320DD}" dt="2023-11-24T08:37:53.093" v="31574"/>
          <ac:spMkLst>
            <pc:docMk/>
            <pc:sldMk cId="2637169229" sldId="2147478574"/>
            <ac:spMk id="211" creationId="{AD697BF5-BBB7-52B5-B7F0-8CE144C0CF3C}"/>
          </ac:spMkLst>
        </pc:spChg>
        <pc:spChg chg="add del mod">
          <ac:chgData name="Steiner Andreas 6206 ED" userId="e6377c33-a923-4f14-8587-531c474c7b48" providerId="ADAL" clId="{6ECD27E6-B224-41CD-B4E0-E297462320DD}" dt="2023-11-24T08:37:57.189" v="31729"/>
          <ac:spMkLst>
            <pc:docMk/>
            <pc:sldMk cId="2637169229" sldId="2147478574"/>
            <ac:spMk id="212" creationId="{6FFBB065-B1DB-D96D-5836-7182CF483837}"/>
          </ac:spMkLst>
        </pc:spChg>
        <pc:spChg chg="add del mod">
          <ac:chgData name="Steiner Andreas 6206 ED" userId="e6377c33-a923-4f14-8587-531c474c7b48" providerId="ADAL" clId="{6ECD27E6-B224-41CD-B4E0-E297462320DD}" dt="2023-11-24T08:37:59.965" v="31884"/>
          <ac:spMkLst>
            <pc:docMk/>
            <pc:sldMk cId="2637169229" sldId="2147478574"/>
            <ac:spMk id="213" creationId="{3B133FF6-5BE5-91F3-FA17-0303475E347B}"/>
          </ac:spMkLst>
        </pc:spChg>
        <pc:spChg chg="add del mod">
          <ac:chgData name="Steiner Andreas 6206 ED" userId="e6377c33-a923-4f14-8587-531c474c7b48" providerId="ADAL" clId="{6ECD27E6-B224-41CD-B4E0-E297462320DD}" dt="2023-11-24T08:38:02.948" v="32039"/>
          <ac:spMkLst>
            <pc:docMk/>
            <pc:sldMk cId="2637169229" sldId="2147478574"/>
            <ac:spMk id="214" creationId="{7ED781FE-8BB6-BB67-A298-4B2935995C8C}"/>
          </ac:spMkLst>
        </pc:spChg>
        <pc:spChg chg="add del mod">
          <ac:chgData name="Steiner Andreas 6206 ED" userId="e6377c33-a923-4f14-8587-531c474c7b48" providerId="ADAL" clId="{6ECD27E6-B224-41CD-B4E0-E297462320DD}" dt="2023-11-24T08:38:05.821" v="32194"/>
          <ac:spMkLst>
            <pc:docMk/>
            <pc:sldMk cId="2637169229" sldId="2147478574"/>
            <ac:spMk id="215" creationId="{D21526B7-8C91-F825-AD8A-8C8B9E8DD719}"/>
          </ac:spMkLst>
        </pc:spChg>
        <pc:spChg chg="add del mod">
          <ac:chgData name="Steiner Andreas 6206 ED" userId="e6377c33-a923-4f14-8587-531c474c7b48" providerId="ADAL" clId="{6ECD27E6-B224-41CD-B4E0-E297462320DD}" dt="2023-11-24T08:38:08.985" v="32349"/>
          <ac:spMkLst>
            <pc:docMk/>
            <pc:sldMk cId="2637169229" sldId="2147478574"/>
            <ac:spMk id="216" creationId="{BF93A3A8-B88E-8ED5-0BC0-04946CB5D5C3}"/>
          </ac:spMkLst>
        </pc:spChg>
        <pc:spChg chg="add del mod">
          <ac:chgData name="Steiner Andreas 6206 ED" userId="e6377c33-a923-4f14-8587-531c474c7b48" providerId="ADAL" clId="{6ECD27E6-B224-41CD-B4E0-E297462320DD}" dt="2023-11-24T08:38:11.724" v="32504"/>
          <ac:spMkLst>
            <pc:docMk/>
            <pc:sldMk cId="2637169229" sldId="2147478574"/>
            <ac:spMk id="217" creationId="{50374A74-DAF3-1843-8876-A1D288923A97}"/>
          </ac:spMkLst>
        </pc:spChg>
        <pc:spChg chg="add del mod">
          <ac:chgData name="Steiner Andreas 6206 ED" userId="e6377c33-a923-4f14-8587-531c474c7b48" providerId="ADAL" clId="{6ECD27E6-B224-41CD-B4E0-E297462320DD}" dt="2023-11-24T08:38:14.370" v="32659"/>
          <ac:spMkLst>
            <pc:docMk/>
            <pc:sldMk cId="2637169229" sldId="2147478574"/>
            <ac:spMk id="218" creationId="{CAF43A8F-D9C8-C734-CBFD-16EB0971978A}"/>
          </ac:spMkLst>
        </pc:spChg>
        <pc:spChg chg="add del mod">
          <ac:chgData name="Steiner Andreas 6206 ED" userId="e6377c33-a923-4f14-8587-531c474c7b48" providerId="ADAL" clId="{6ECD27E6-B224-41CD-B4E0-E297462320DD}" dt="2023-11-24T08:38:17.039" v="32814"/>
          <ac:spMkLst>
            <pc:docMk/>
            <pc:sldMk cId="2637169229" sldId="2147478574"/>
            <ac:spMk id="219" creationId="{ADB9C518-3BB0-8ED4-7930-7D0CC846C76F}"/>
          </ac:spMkLst>
        </pc:spChg>
        <pc:spChg chg="add del mod">
          <ac:chgData name="Steiner Andreas 6206 ED" userId="e6377c33-a923-4f14-8587-531c474c7b48" providerId="ADAL" clId="{6ECD27E6-B224-41CD-B4E0-E297462320DD}" dt="2023-11-24T08:38:20.082" v="32969"/>
          <ac:spMkLst>
            <pc:docMk/>
            <pc:sldMk cId="2637169229" sldId="2147478574"/>
            <ac:spMk id="220" creationId="{A35CDD4A-D6A8-2601-0A59-B5AFC63CDF0F}"/>
          </ac:spMkLst>
        </pc:spChg>
        <pc:spChg chg="add del mod">
          <ac:chgData name="Steiner Andreas 6206 ED" userId="e6377c33-a923-4f14-8587-531c474c7b48" providerId="ADAL" clId="{6ECD27E6-B224-41CD-B4E0-E297462320DD}" dt="2023-11-24T08:38:22.914" v="33124"/>
          <ac:spMkLst>
            <pc:docMk/>
            <pc:sldMk cId="2637169229" sldId="2147478574"/>
            <ac:spMk id="221" creationId="{8246FEB9-A9A2-9C66-4A22-E93C59769544}"/>
          </ac:spMkLst>
        </pc:spChg>
        <pc:spChg chg="add del mod">
          <ac:chgData name="Steiner Andreas 6206 ED" userId="e6377c33-a923-4f14-8587-531c474c7b48" providerId="ADAL" clId="{6ECD27E6-B224-41CD-B4E0-E297462320DD}" dt="2023-11-24T08:38:25.673" v="33279"/>
          <ac:spMkLst>
            <pc:docMk/>
            <pc:sldMk cId="2637169229" sldId="2147478574"/>
            <ac:spMk id="222" creationId="{0D399E37-2D46-EC16-1803-B8D7C472BFCD}"/>
          </ac:spMkLst>
        </pc:spChg>
        <pc:spChg chg="add del mod">
          <ac:chgData name="Steiner Andreas 6206 ED" userId="e6377c33-a923-4f14-8587-531c474c7b48" providerId="ADAL" clId="{6ECD27E6-B224-41CD-B4E0-E297462320DD}" dt="2023-11-24T08:38:29.289" v="33434"/>
          <ac:spMkLst>
            <pc:docMk/>
            <pc:sldMk cId="2637169229" sldId="2147478574"/>
            <ac:spMk id="223" creationId="{078BE714-374F-D304-6929-7C22B40B229E}"/>
          </ac:spMkLst>
        </pc:spChg>
        <pc:spChg chg="add del mod">
          <ac:chgData name="Steiner Andreas 6206 ED" userId="e6377c33-a923-4f14-8587-531c474c7b48" providerId="ADAL" clId="{6ECD27E6-B224-41CD-B4E0-E297462320DD}" dt="2023-11-24T08:38:32.449" v="33589"/>
          <ac:spMkLst>
            <pc:docMk/>
            <pc:sldMk cId="2637169229" sldId="2147478574"/>
            <ac:spMk id="224" creationId="{A1D8C796-1C21-3928-A822-3DFA8457112F}"/>
          </ac:spMkLst>
        </pc:spChg>
        <pc:spChg chg="add del mod">
          <ac:chgData name="Steiner Andreas 6206 ED" userId="e6377c33-a923-4f14-8587-531c474c7b48" providerId="ADAL" clId="{6ECD27E6-B224-41CD-B4E0-E297462320DD}" dt="2023-11-24T08:38:35.121" v="33744"/>
          <ac:spMkLst>
            <pc:docMk/>
            <pc:sldMk cId="2637169229" sldId="2147478574"/>
            <ac:spMk id="225" creationId="{45B8566F-6E25-0B08-BF8D-C551BE463F97}"/>
          </ac:spMkLst>
        </pc:spChg>
        <pc:spChg chg="add del mod">
          <ac:chgData name="Steiner Andreas 6206 ED" userId="e6377c33-a923-4f14-8587-531c474c7b48" providerId="ADAL" clId="{6ECD27E6-B224-41CD-B4E0-E297462320DD}" dt="2023-11-24T08:38:37.781" v="33899"/>
          <ac:spMkLst>
            <pc:docMk/>
            <pc:sldMk cId="2637169229" sldId="2147478574"/>
            <ac:spMk id="226" creationId="{80DD7259-3F7D-7BD1-A129-460A01CDF80D}"/>
          </ac:spMkLst>
        </pc:spChg>
        <pc:spChg chg="add del mod">
          <ac:chgData name="Steiner Andreas 6206 ED" userId="e6377c33-a923-4f14-8587-531c474c7b48" providerId="ADAL" clId="{6ECD27E6-B224-41CD-B4E0-E297462320DD}" dt="2023-11-24T08:38:40.326" v="34054"/>
          <ac:spMkLst>
            <pc:docMk/>
            <pc:sldMk cId="2637169229" sldId="2147478574"/>
            <ac:spMk id="227" creationId="{FF8B185E-9BF5-4182-0731-BA841908BF0B}"/>
          </ac:spMkLst>
        </pc:spChg>
        <pc:spChg chg="add del mod">
          <ac:chgData name="Steiner Andreas 6206 ED" userId="e6377c33-a923-4f14-8587-531c474c7b48" providerId="ADAL" clId="{6ECD27E6-B224-41CD-B4E0-E297462320DD}" dt="2023-11-24T08:38:42.796" v="34209"/>
          <ac:spMkLst>
            <pc:docMk/>
            <pc:sldMk cId="2637169229" sldId="2147478574"/>
            <ac:spMk id="228" creationId="{CCD9796E-17B5-D927-3BF9-A245C0C69468}"/>
          </ac:spMkLst>
        </pc:spChg>
        <pc:spChg chg="add del mod">
          <ac:chgData name="Steiner Andreas 6206 ED" userId="e6377c33-a923-4f14-8587-531c474c7b48" providerId="ADAL" clId="{6ECD27E6-B224-41CD-B4E0-E297462320DD}" dt="2023-11-24T08:38:46.860" v="34364"/>
          <ac:spMkLst>
            <pc:docMk/>
            <pc:sldMk cId="2637169229" sldId="2147478574"/>
            <ac:spMk id="229" creationId="{39069535-75C2-D820-CDAD-BC679B7E716F}"/>
          </ac:spMkLst>
        </pc:spChg>
        <pc:spChg chg="add del mod">
          <ac:chgData name="Steiner Andreas 6206 ED" userId="e6377c33-a923-4f14-8587-531c474c7b48" providerId="ADAL" clId="{6ECD27E6-B224-41CD-B4E0-E297462320DD}" dt="2023-11-24T08:38:49.564" v="34519"/>
          <ac:spMkLst>
            <pc:docMk/>
            <pc:sldMk cId="2637169229" sldId="2147478574"/>
            <ac:spMk id="230" creationId="{06FE27CD-4B59-2227-0B29-F2C50250AB69}"/>
          </ac:spMkLst>
        </pc:spChg>
        <pc:spChg chg="add del mod">
          <ac:chgData name="Steiner Andreas 6206 ED" userId="e6377c33-a923-4f14-8587-531c474c7b48" providerId="ADAL" clId="{6ECD27E6-B224-41CD-B4E0-E297462320DD}" dt="2023-11-24T08:38:52.358" v="34674"/>
          <ac:spMkLst>
            <pc:docMk/>
            <pc:sldMk cId="2637169229" sldId="2147478574"/>
            <ac:spMk id="231" creationId="{71492C1C-F105-63EF-5C73-E549F2B8FB58}"/>
          </ac:spMkLst>
        </pc:spChg>
        <pc:spChg chg="add del mod">
          <ac:chgData name="Steiner Andreas 6206 ED" userId="e6377c33-a923-4f14-8587-531c474c7b48" providerId="ADAL" clId="{6ECD27E6-B224-41CD-B4E0-E297462320DD}" dt="2023-11-24T08:38:55.383" v="34829"/>
          <ac:spMkLst>
            <pc:docMk/>
            <pc:sldMk cId="2637169229" sldId="2147478574"/>
            <ac:spMk id="232" creationId="{6CB0B08A-B28A-8E82-54FB-051436B89AE2}"/>
          </ac:spMkLst>
        </pc:spChg>
        <pc:spChg chg="add del mod">
          <ac:chgData name="Steiner Andreas 6206 ED" userId="e6377c33-a923-4f14-8587-531c474c7b48" providerId="ADAL" clId="{6ECD27E6-B224-41CD-B4E0-E297462320DD}" dt="2023-11-24T08:38:58.546" v="34984"/>
          <ac:spMkLst>
            <pc:docMk/>
            <pc:sldMk cId="2637169229" sldId="2147478574"/>
            <ac:spMk id="233" creationId="{8B7EFC6C-9041-C58C-8062-EDC4C7F74CF6}"/>
          </ac:spMkLst>
        </pc:spChg>
        <pc:spChg chg="add del mod">
          <ac:chgData name="Steiner Andreas 6206 ED" userId="e6377c33-a923-4f14-8587-531c474c7b48" providerId="ADAL" clId="{6ECD27E6-B224-41CD-B4E0-E297462320DD}" dt="2023-11-24T08:39:01.994" v="35139"/>
          <ac:spMkLst>
            <pc:docMk/>
            <pc:sldMk cId="2637169229" sldId="2147478574"/>
            <ac:spMk id="234" creationId="{5D147591-111C-7328-D31C-A368548D9E80}"/>
          </ac:spMkLst>
        </pc:spChg>
        <pc:spChg chg="add del mod">
          <ac:chgData name="Steiner Andreas 6206 ED" userId="e6377c33-a923-4f14-8587-531c474c7b48" providerId="ADAL" clId="{6ECD27E6-B224-41CD-B4E0-E297462320DD}" dt="2023-11-24T08:39:05.178" v="35294"/>
          <ac:spMkLst>
            <pc:docMk/>
            <pc:sldMk cId="2637169229" sldId="2147478574"/>
            <ac:spMk id="235" creationId="{E10B8C43-10FA-61D5-1F22-6815FC1DD5C8}"/>
          </ac:spMkLst>
        </pc:spChg>
        <pc:spChg chg="add del mod">
          <ac:chgData name="Steiner Andreas 6206 ED" userId="e6377c33-a923-4f14-8587-531c474c7b48" providerId="ADAL" clId="{6ECD27E6-B224-41CD-B4E0-E297462320DD}" dt="2023-11-24T08:39:08.022" v="35449"/>
          <ac:spMkLst>
            <pc:docMk/>
            <pc:sldMk cId="2637169229" sldId="2147478574"/>
            <ac:spMk id="236" creationId="{9BEF8B91-6420-3019-0D69-F0504AE15C04}"/>
          </ac:spMkLst>
        </pc:spChg>
        <pc:spChg chg="add del mod">
          <ac:chgData name="Steiner Andreas 6206 ED" userId="e6377c33-a923-4f14-8587-531c474c7b48" providerId="ADAL" clId="{6ECD27E6-B224-41CD-B4E0-E297462320DD}" dt="2023-11-24T08:39:12.715" v="35604"/>
          <ac:spMkLst>
            <pc:docMk/>
            <pc:sldMk cId="2637169229" sldId="2147478574"/>
            <ac:spMk id="237" creationId="{5C06CB83-4339-AC5E-1FC8-6E587BD620ED}"/>
          </ac:spMkLst>
        </pc:spChg>
        <pc:spChg chg="add del mod">
          <ac:chgData name="Steiner Andreas 6206 ED" userId="e6377c33-a923-4f14-8587-531c474c7b48" providerId="ADAL" clId="{6ECD27E6-B224-41CD-B4E0-E297462320DD}" dt="2023-11-24T08:39:15.379" v="35759"/>
          <ac:spMkLst>
            <pc:docMk/>
            <pc:sldMk cId="2637169229" sldId="2147478574"/>
            <ac:spMk id="238" creationId="{1AB4444B-36E5-DD57-BC03-C97DD707241F}"/>
          </ac:spMkLst>
        </pc:spChg>
        <pc:spChg chg="add del mod">
          <ac:chgData name="Steiner Andreas 6206 ED" userId="e6377c33-a923-4f14-8587-531c474c7b48" providerId="ADAL" clId="{6ECD27E6-B224-41CD-B4E0-E297462320DD}" dt="2023-11-24T08:39:18.014" v="35914"/>
          <ac:spMkLst>
            <pc:docMk/>
            <pc:sldMk cId="2637169229" sldId="2147478574"/>
            <ac:spMk id="239" creationId="{472F6AD1-F71F-C0E3-61AC-7E6C24D6CA88}"/>
          </ac:spMkLst>
        </pc:spChg>
        <pc:spChg chg="add del mod">
          <ac:chgData name="Steiner Andreas 6206 ED" userId="e6377c33-a923-4f14-8587-531c474c7b48" providerId="ADAL" clId="{6ECD27E6-B224-41CD-B4E0-E297462320DD}" dt="2023-11-24T08:39:20.644" v="36069"/>
          <ac:spMkLst>
            <pc:docMk/>
            <pc:sldMk cId="2637169229" sldId="2147478574"/>
            <ac:spMk id="240" creationId="{5BC808BA-2502-23B5-0612-D81E1B8B3562}"/>
          </ac:spMkLst>
        </pc:spChg>
        <pc:spChg chg="add del mod">
          <ac:chgData name="Steiner Andreas 6206 ED" userId="e6377c33-a923-4f14-8587-531c474c7b48" providerId="ADAL" clId="{6ECD27E6-B224-41CD-B4E0-E297462320DD}" dt="2023-11-24T08:39:23.833" v="36224"/>
          <ac:spMkLst>
            <pc:docMk/>
            <pc:sldMk cId="2637169229" sldId="2147478574"/>
            <ac:spMk id="241" creationId="{1AB42D5A-892C-FB56-154A-7CEC14280D2B}"/>
          </ac:spMkLst>
        </pc:spChg>
        <pc:spChg chg="add del mod">
          <ac:chgData name="Steiner Andreas 6206 ED" userId="e6377c33-a923-4f14-8587-531c474c7b48" providerId="ADAL" clId="{6ECD27E6-B224-41CD-B4E0-E297462320DD}" dt="2023-11-24T08:39:26.550" v="36379"/>
          <ac:spMkLst>
            <pc:docMk/>
            <pc:sldMk cId="2637169229" sldId="2147478574"/>
            <ac:spMk id="242" creationId="{4027AA33-DB25-AE11-89FD-38D1FEE4188F}"/>
          </ac:spMkLst>
        </pc:spChg>
        <pc:spChg chg="add del mod">
          <ac:chgData name="Steiner Andreas 6206 ED" userId="e6377c33-a923-4f14-8587-531c474c7b48" providerId="ADAL" clId="{6ECD27E6-B224-41CD-B4E0-E297462320DD}" dt="2023-11-24T08:39:29.311" v="36534"/>
          <ac:spMkLst>
            <pc:docMk/>
            <pc:sldMk cId="2637169229" sldId="2147478574"/>
            <ac:spMk id="243" creationId="{D219675A-C5A7-6D01-437E-F3F5FF527BFB}"/>
          </ac:spMkLst>
        </pc:spChg>
        <pc:spChg chg="add del mod">
          <ac:chgData name="Steiner Andreas 6206 ED" userId="e6377c33-a923-4f14-8587-531c474c7b48" providerId="ADAL" clId="{6ECD27E6-B224-41CD-B4E0-E297462320DD}" dt="2023-11-24T08:39:31.895" v="36689"/>
          <ac:spMkLst>
            <pc:docMk/>
            <pc:sldMk cId="2637169229" sldId="2147478574"/>
            <ac:spMk id="244" creationId="{5941A27F-FF01-D5D2-BFCC-46D403708F8A}"/>
          </ac:spMkLst>
        </pc:spChg>
        <pc:spChg chg="add del mod">
          <ac:chgData name="Steiner Andreas 6206 ED" userId="e6377c33-a923-4f14-8587-531c474c7b48" providerId="ADAL" clId="{6ECD27E6-B224-41CD-B4E0-E297462320DD}" dt="2023-11-24T08:39:34.385" v="36844"/>
          <ac:spMkLst>
            <pc:docMk/>
            <pc:sldMk cId="2637169229" sldId="2147478574"/>
            <ac:spMk id="245" creationId="{1400C66B-5E42-4C44-79EE-055160FC92A2}"/>
          </ac:spMkLst>
        </pc:spChg>
        <pc:spChg chg="add del mod">
          <ac:chgData name="Steiner Andreas 6206 ED" userId="e6377c33-a923-4f14-8587-531c474c7b48" providerId="ADAL" clId="{6ECD27E6-B224-41CD-B4E0-E297462320DD}" dt="2023-11-24T08:39:37.309" v="36999"/>
          <ac:spMkLst>
            <pc:docMk/>
            <pc:sldMk cId="2637169229" sldId="2147478574"/>
            <ac:spMk id="246" creationId="{B08BAB6D-8BE9-1C25-1FB6-E9ED2B3780D0}"/>
          </ac:spMkLst>
        </pc:spChg>
        <pc:spChg chg="add del mod">
          <ac:chgData name="Steiner Andreas 6206 ED" userId="e6377c33-a923-4f14-8587-531c474c7b48" providerId="ADAL" clId="{6ECD27E6-B224-41CD-B4E0-E297462320DD}" dt="2023-11-24T08:39:39.908" v="37154"/>
          <ac:spMkLst>
            <pc:docMk/>
            <pc:sldMk cId="2637169229" sldId="2147478574"/>
            <ac:spMk id="247" creationId="{8048CFD0-178A-80B7-C899-2CAF4B821085}"/>
          </ac:spMkLst>
        </pc:spChg>
        <pc:spChg chg="add del mod">
          <ac:chgData name="Steiner Andreas 6206 ED" userId="e6377c33-a923-4f14-8587-531c474c7b48" providerId="ADAL" clId="{6ECD27E6-B224-41CD-B4E0-E297462320DD}" dt="2023-11-24T08:39:42.407" v="37309"/>
          <ac:spMkLst>
            <pc:docMk/>
            <pc:sldMk cId="2637169229" sldId="2147478574"/>
            <ac:spMk id="248" creationId="{1D72FD36-3595-F811-E882-6277652A25C9}"/>
          </ac:spMkLst>
        </pc:spChg>
        <pc:spChg chg="add del mod">
          <ac:chgData name="Steiner Andreas 6206 ED" userId="e6377c33-a923-4f14-8587-531c474c7b48" providerId="ADAL" clId="{6ECD27E6-B224-41CD-B4E0-E297462320DD}" dt="2023-11-24T08:39:44.945" v="37464"/>
          <ac:spMkLst>
            <pc:docMk/>
            <pc:sldMk cId="2637169229" sldId="2147478574"/>
            <ac:spMk id="249" creationId="{46DB16C9-11CA-42B9-A2FD-53624149591E}"/>
          </ac:spMkLst>
        </pc:spChg>
        <pc:spChg chg="add del mod">
          <ac:chgData name="Steiner Andreas 6206 ED" userId="e6377c33-a923-4f14-8587-531c474c7b48" providerId="ADAL" clId="{6ECD27E6-B224-41CD-B4E0-E297462320DD}" dt="2023-11-24T08:39:47.901" v="37619"/>
          <ac:spMkLst>
            <pc:docMk/>
            <pc:sldMk cId="2637169229" sldId="2147478574"/>
            <ac:spMk id="250" creationId="{F9F046D0-93DB-948F-A541-F94194E03DBB}"/>
          </ac:spMkLst>
        </pc:spChg>
        <pc:spChg chg="add del mod">
          <ac:chgData name="Steiner Andreas 6206 ED" userId="e6377c33-a923-4f14-8587-531c474c7b48" providerId="ADAL" clId="{6ECD27E6-B224-41CD-B4E0-E297462320DD}" dt="2023-11-24T08:39:50.665" v="37774"/>
          <ac:spMkLst>
            <pc:docMk/>
            <pc:sldMk cId="2637169229" sldId="2147478574"/>
            <ac:spMk id="251" creationId="{9D719CAE-E4C0-C01E-8474-DB598824A8F5}"/>
          </ac:spMkLst>
        </pc:spChg>
        <pc:spChg chg="add del mod">
          <ac:chgData name="Steiner Andreas 6206 ED" userId="e6377c33-a923-4f14-8587-531c474c7b48" providerId="ADAL" clId="{6ECD27E6-B224-41CD-B4E0-E297462320DD}" dt="2023-11-24T08:39:53.296" v="37929"/>
          <ac:spMkLst>
            <pc:docMk/>
            <pc:sldMk cId="2637169229" sldId="2147478574"/>
            <ac:spMk id="252" creationId="{573A33E6-7472-5E18-2225-057779C90E26}"/>
          </ac:spMkLst>
        </pc:spChg>
        <pc:spChg chg="add del mod">
          <ac:chgData name="Steiner Andreas 6206 ED" userId="e6377c33-a923-4f14-8587-531c474c7b48" providerId="ADAL" clId="{6ECD27E6-B224-41CD-B4E0-E297462320DD}" dt="2023-11-24T08:39:56.251" v="38084"/>
          <ac:spMkLst>
            <pc:docMk/>
            <pc:sldMk cId="2637169229" sldId="2147478574"/>
            <ac:spMk id="253" creationId="{DEC697AA-A4D8-7525-E05E-7544194CF90F}"/>
          </ac:spMkLst>
        </pc:spChg>
        <pc:spChg chg="add del mod">
          <ac:chgData name="Steiner Andreas 6206 ED" userId="e6377c33-a923-4f14-8587-531c474c7b48" providerId="ADAL" clId="{6ECD27E6-B224-41CD-B4E0-E297462320DD}" dt="2023-11-24T08:39:59.383" v="38239"/>
          <ac:spMkLst>
            <pc:docMk/>
            <pc:sldMk cId="2637169229" sldId="2147478574"/>
            <ac:spMk id="254" creationId="{3DBD2229-CDF4-FA4A-33AE-687FFEB279B9}"/>
          </ac:spMkLst>
        </pc:spChg>
        <pc:spChg chg="add del mod">
          <ac:chgData name="Steiner Andreas 6206 ED" userId="e6377c33-a923-4f14-8587-531c474c7b48" providerId="ADAL" clId="{6ECD27E6-B224-41CD-B4E0-E297462320DD}" dt="2023-11-24T08:40:02.729" v="38394"/>
          <ac:spMkLst>
            <pc:docMk/>
            <pc:sldMk cId="2637169229" sldId="2147478574"/>
            <ac:spMk id="255" creationId="{C00319BB-341D-F0E7-D2F7-0B9D2C824A1A}"/>
          </ac:spMkLst>
        </pc:spChg>
        <pc:spChg chg="add del mod">
          <ac:chgData name="Steiner Andreas 6206 ED" userId="e6377c33-a923-4f14-8587-531c474c7b48" providerId="ADAL" clId="{6ECD27E6-B224-41CD-B4E0-E297462320DD}" dt="2023-11-24T08:40:05.490" v="38549"/>
          <ac:spMkLst>
            <pc:docMk/>
            <pc:sldMk cId="2637169229" sldId="2147478574"/>
            <ac:spMk id="256" creationId="{8E762BCA-D141-F062-EE80-2AFC77FB89FF}"/>
          </ac:spMkLst>
        </pc:spChg>
        <pc:spChg chg="add del mod">
          <ac:chgData name="Steiner Andreas 6206 ED" userId="e6377c33-a923-4f14-8587-531c474c7b48" providerId="ADAL" clId="{6ECD27E6-B224-41CD-B4E0-E297462320DD}" dt="2023-11-24T08:40:08.036" v="38704"/>
          <ac:spMkLst>
            <pc:docMk/>
            <pc:sldMk cId="2637169229" sldId="2147478574"/>
            <ac:spMk id="257" creationId="{5CEA952E-8C6C-F60D-014B-F86D6613BCF6}"/>
          </ac:spMkLst>
        </pc:spChg>
        <pc:spChg chg="add del mod">
          <ac:chgData name="Steiner Andreas 6206 ED" userId="e6377c33-a923-4f14-8587-531c474c7b48" providerId="ADAL" clId="{6ECD27E6-B224-41CD-B4E0-E297462320DD}" dt="2023-11-24T08:40:10.732" v="38859"/>
          <ac:spMkLst>
            <pc:docMk/>
            <pc:sldMk cId="2637169229" sldId="2147478574"/>
            <ac:spMk id="258" creationId="{29958117-6F03-4624-A39E-1E92DB29EAA5}"/>
          </ac:spMkLst>
        </pc:spChg>
        <pc:spChg chg="add del mod">
          <ac:chgData name="Steiner Andreas 6206 ED" userId="e6377c33-a923-4f14-8587-531c474c7b48" providerId="ADAL" clId="{6ECD27E6-B224-41CD-B4E0-E297462320DD}" dt="2023-11-24T08:40:13.906" v="39014"/>
          <ac:spMkLst>
            <pc:docMk/>
            <pc:sldMk cId="2637169229" sldId="2147478574"/>
            <ac:spMk id="259" creationId="{AA4CF5C6-B378-86A4-0C83-AD6E93185953}"/>
          </ac:spMkLst>
        </pc:spChg>
        <pc:spChg chg="add del mod">
          <ac:chgData name="Steiner Andreas 6206 ED" userId="e6377c33-a923-4f14-8587-531c474c7b48" providerId="ADAL" clId="{6ECD27E6-B224-41CD-B4E0-E297462320DD}" dt="2023-11-24T08:40:16.606" v="39169"/>
          <ac:spMkLst>
            <pc:docMk/>
            <pc:sldMk cId="2637169229" sldId="2147478574"/>
            <ac:spMk id="260" creationId="{270F4265-B996-F5D1-B9EA-C96AAEF09D5E}"/>
          </ac:spMkLst>
        </pc:spChg>
        <pc:spChg chg="add del mod">
          <ac:chgData name="Steiner Andreas 6206 ED" userId="e6377c33-a923-4f14-8587-531c474c7b48" providerId="ADAL" clId="{6ECD27E6-B224-41CD-B4E0-E297462320DD}" dt="2023-11-24T08:40:19.113" v="39324"/>
          <ac:spMkLst>
            <pc:docMk/>
            <pc:sldMk cId="2637169229" sldId="2147478574"/>
            <ac:spMk id="261" creationId="{5B130383-0803-87AF-5338-DFD7ABFB5DE2}"/>
          </ac:spMkLst>
        </pc:spChg>
        <pc:spChg chg="add del mod">
          <ac:chgData name="Steiner Andreas 6206 ED" userId="e6377c33-a923-4f14-8587-531c474c7b48" providerId="ADAL" clId="{6ECD27E6-B224-41CD-B4E0-E297462320DD}" dt="2023-11-24T08:40:21.533" v="39479"/>
          <ac:spMkLst>
            <pc:docMk/>
            <pc:sldMk cId="2637169229" sldId="2147478574"/>
            <ac:spMk id="262" creationId="{28231B97-CEB8-F2CA-27DF-ADD2E47299B3}"/>
          </ac:spMkLst>
        </pc:spChg>
        <pc:spChg chg="add del mod">
          <ac:chgData name="Steiner Andreas 6206 ED" userId="e6377c33-a923-4f14-8587-531c474c7b48" providerId="ADAL" clId="{6ECD27E6-B224-41CD-B4E0-E297462320DD}" dt="2023-11-24T08:40:24.239" v="39634"/>
          <ac:spMkLst>
            <pc:docMk/>
            <pc:sldMk cId="2637169229" sldId="2147478574"/>
            <ac:spMk id="263" creationId="{37EC5838-ADD9-B3D0-B151-942D17E9FFB1}"/>
          </ac:spMkLst>
        </pc:spChg>
        <pc:spChg chg="add del mod">
          <ac:chgData name="Steiner Andreas 6206 ED" userId="e6377c33-a923-4f14-8587-531c474c7b48" providerId="ADAL" clId="{6ECD27E6-B224-41CD-B4E0-E297462320DD}" dt="2023-11-24T08:40:27.146" v="39789"/>
          <ac:spMkLst>
            <pc:docMk/>
            <pc:sldMk cId="2637169229" sldId="2147478574"/>
            <ac:spMk id="264" creationId="{6299F500-D72F-AD9B-A2C5-5BDD1B804555}"/>
          </ac:spMkLst>
        </pc:spChg>
        <pc:spChg chg="add del mod">
          <ac:chgData name="Steiner Andreas 6206 ED" userId="e6377c33-a923-4f14-8587-531c474c7b48" providerId="ADAL" clId="{6ECD27E6-B224-41CD-B4E0-E297462320DD}" dt="2023-11-24T08:40:29.772" v="39944"/>
          <ac:spMkLst>
            <pc:docMk/>
            <pc:sldMk cId="2637169229" sldId="2147478574"/>
            <ac:spMk id="265" creationId="{8F0C31A4-6D72-37EA-20C2-903E050854B0}"/>
          </ac:spMkLst>
        </pc:spChg>
        <pc:spChg chg="add del mod">
          <ac:chgData name="Steiner Andreas 6206 ED" userId="e6377c33-a923-4f14-8587-531c474c7b48" providerId="ADAL" clId="{6ECD27E6-B224-41CD-B4E0-E297462320DD}" dt="2023-11-24T08:40:32.359" v="40099"/>
          <ac:spMkLst>
            <pc:docMk/>
            <pc:sldMk cId="2637169229" sldId="2147478574"/>
            <ac:spMk id="266" creationId="{BD886DE5-86FB-0B95-2DC5-6A6A7F15A0EC}"/>
          </ac:spMkLst>
        </pc:spChg>
        <pc:spChg chg="add del mod">
          <ac:chgData name="Steiner Andreas 6206 ED" userId="e6377c33-a923-4f14-8587-531c474c7b48" providerId="ADAL" clId="{6ECD27E6-B224-41CD-B4E0-E297462320DD}" dt="2023-11-24T08:40:34.927" v="40254"/>
          <ac:spMkLst>
            <pc:docMk/>
            <pc:sldMk cId="2637169229" sldId="2147478574"/>
            <ac:spMk id="267" creationId="{ADF84498-6260-0F53-9D11-715D6E72BA69}"/>
          </ac:spMkLst>
        </pc:spChg>
        <pc:spChg chg="add del mod">
          <ac:chgData name="Steiner Andreas 6206 ED" userId="e6377c33-a923-4f14-8587-531c474c7b48" providerId="ADAL" clId="{6ECD27E6-B224-41CD-B4E0-E297462320DD}" dt="2023-11-24T08:40:38.344" v="40409"/>
          <ac:spMkLst>
            <pc:docMk/>
            <pc:sldMk cId="2637169229" sldId="2147478574"/>
            <ac:spMk id="268" creationId="{D36B3B95-9BC8-C79B-3338-66218468E176}"/>
          </ac:spMkLst>
        </pc:spChg>
        <pc:spChg chg="add del mod">
          <ac:chgData name="Steiner Andreas 6206 ED" userId="e6377c33-a923-4f14-8587-531c474c7b48" providerId="ADAL" clId="{6ECD27E6-B224-41CD-B4E0-E297462320DD}" dt="2023-11-24T08:40:41.061" v="40564"/>
          <ac:spMkLst>
            <pc:docMk/>
            <pc:sldMk cId="2637169229" sldId="2147478574"/>
            <ac:spMk id="269" creationId="{F4111DDC-E581-F672-532B-915A0A323509}"/>
          </ac:spMkLst>
        </pc:spChg>
        <pc:spChg chg="add del mod">
          <ac:chgData name="Steiner Andreas 6206 ED" userId="e6377c33-a923-4f14-8587-531c474c7b48" providerId="ADAL" clId="{6ECD27E6-B224-41CD-B4E0-E297462320DD}" dt="2023-11-24T08:40:43.832" v="40719"/>
          <ac:spMkLst>
            <pc:docMk/>
            <pc:sldMk cId="2637169229" sldId="2147478574"/>
            <ac:spMk id="270" creationId="{84AE0D05-8A1C-C13D-1CA8-A5FE1CF67C17}"/>
          </ac:spMkLst>
        </pc:spChg>
        <pc:spChg chg="add del mod">
          <ac:chgData name="Steiner Andreas 6206 ED" userId="e6377c33-a923-4f14-8587-531c474c7b48" providerId="ADAL" clId="{6ECD27E6-B224-41CD-B4E0-E297462320DD}" dt="2023-11-24T08:40:46.267" v="40874"/>
          <ac:spMkLst>
            <pc:docMk/>
            <pc:sldMk cId="2637169229" sldId="2147478574"/>
            <ac:spMk id="271" creationId="{18D28210-FAA6-5F7E-1AC2-239E6DBFCA9E}"/>
          </ac:spMkLst>
        </pc:spChg>
        <pc:spChg chg="add del mod">
          <ac:chgData name="Steiner Andreas 6206 ED" userId="e6377c33-a923-4f14-8587-531c474c7b48" providerId="ADAL" clId="{6ECD27E6-B224-41CD-B4E0-E297462320DD}" dt="2023-11-24T08:40:49.096" v="41029"/>
          <ac:spMkLst>
            <pc:docMk/>
            <pc:sldMk cId="2637169229" sldId="2147478574"/>
            <ac:spMk id="272" creationId="{6CA4C01B-4831-D081-CA0F-52F30956F2C0}"/>
          </ac:spMkLst>
        </pc:spChg>
        <pc:spChg chg="add del mod">
          <ac:chgData name="Steiner Andreas 6206 ED" userId="e6377c33-a923-4f14-8587-531c474c7b48" providerId="ADAL" clId="{6ECD27E6-B224-41CD-B4E0-E297462320DD}" dt="2023-11-24T08:40:51.932" v="41184"/>
          <ac:spMkLst>
            <pc:docMk/>
            <pc:sldMk cId="2637169229" sldId="2147478574"/>
            <ac:spMk id="273" creationId="{366C436D-1B82-C494-F764-F93940FE04B8}"/>
          </ac:spMkLst>
        </pc:spChg>
        <pc:spChg chg="add del mod">
          <ac:chgData name="Steiner Andreas 6206 ED" userId="e6377c33-a923-4f14-8587-531c474c7b48" providerId="ADAL" clId="{6ECD27E6-B224-41CD-B4E0-E297462320DD}" dt="2023-11-24T08:40:54.455" v="41339"/>
          <ac:spMkLst>
            <pc:docMk/>
            <pc:sldMk cId="2637169229" sldId="2147478574"/>
            <ac:spMk id="274" creationId="{E8A205D2-E082-A870-77E2-C31BDCEE1690}"/>
          </ac:spMkLst>
        </pc:spChg>
        <pc:spChg chg="add del mod">
          <ac:chgData name="Steiner Andreas 6206 ED" userId="e6377c33-a923-4f14-8587-531c474c7b48" providerId="ADAL" clId="{6ECD27E6-B224-41CD-B4E0-E297462320DD}" dt="2023-11-24T08:40:56.911" v="41494"/>
          <ac:spMkLst>
            <pc:docMk/>
            <pc:sldMk cId="2637169229" sldId="2147478574"/>
            <ac:spMk id="275" creationId="{ADA5E480-BE91-7633-AF68-ED42AFF82D35}"/>
          </ac:spMkLst>
        </pc:spChg>
        <pc:spChg chg="add del mod">
          <ac:chgData name="Steiner Andreas 6206 ED" userId="e6377c33-a923-4f14-8587-531c474c7b48" providerId="ADAL" clId="{6ECD27E6-B224-41CD-B4E0-E297462320DD}" dt="2023-11-24T08:40:59.618" v="41649"/>
          <ac:spMkLst>
            <pc:docMk/>
            <pc:sldMk cId="2637169229" sldId="2147478574"/>
            <ac:spMk id="276" creationId="{D499DE4C-FC6C-E4C2-B343-8C23E2AC8720}"/>
          </ac:spMkLst>
        </pc:spChg>
        <pc:spChg chg="add del mod">
          <ac:chgData name="Steiner Andreas 6206 ED" userId="e6377c33-a923-4f14-8587-531c474c7b48" providerId="ADAL" clId="{6ECD27E6-B224-41CD-B4E0-E297462320DD}" dt="2023-11-24T08:41:02.617" v="41804"/>
          <ac:spMkLst>
            <pc:docMk/>
            <pc:sldMk cId="2637169229" sldId="2147478574"/>
            <ac:spMk id="277" creationId="{C9174341-822C-057C-D6D3-D90C191A0F33}"/>
          </ac:spMkLst>
        </pc:spChg>
        <pc:spChg chg="add del mod">
          <ac:chgData name="Steiner Andreas 6206 ED" userId="e6377c33-a923-4f14-8587-531c474c7b48" providerId="ADAL" clId="{6ECD27E6-B224-41CD-B4E0-E297462320DD}" dt="2023-11-24T08:41:05.327" v="41959"/>
          <ac:spMkLst>
            <pc:docMk/>
            <pc:sldMk cId="2637169229" sldId="2147478574"/>
            <ac:spMk id="278" creationId="{4D204EA1-6757-9FCE-E508-87183CA5BB26}"/>
          </ac:spMkLst>
        </pc:spChg>
        <pc:spChg chg="add del mod">
          <ac:chgData name="Steiner Andreas 6206 ED" userId="e6377c33-a923-4f14-8587-531c474c7b48" providerId="ADAL" clId="{6ECD27E6-B224-41CD-B4E0-E297462320DD}" dt="2023-11-24T08:41:08.749" v="42114"/>
          <ac:spMkLst>
            <pc:docMk/>
            <pc:sldMk cId="2637169229" sldId="2147478574"/>
            <ac:spMk id="279" creationId="{2AD79461-DB4F-1E89-FA8B-6817E8EA3A79}"/>
          </ac:spMkLst>
        </pc:spChg>
        <pc:spChg chg="add del mod">
          <ac:chgData name="Steiner Andreas 6206 ED" userId="e6377c33-a923-4f14-8587-531c474c7b48" providerId="ADAL" clId="{6ECD27E6-B224-41CD-B4E0-E297462320DD}" dt="2023-11-24T08:41:12.547" v="42269"/>
          <ac:spMkLst>
            <pc:docMk/>
            <pc:sldMk cId="2637169229" sldId="2147478574"/>
            <ac:spMk id="280" creationId="{20332082-D1FC-336A-4135-6B0EE842B0C8}"/>
          </ac:spMkLst>
        </pc:spChg>
        <pc:spChg chg="add del mod">
          <ac:chgData name="Steiner Andreas 6206 ED" userId="e6377c33-a923-4f14-8587-531c474c7b48" providerId="ADAL" clId="{6ECD27E6-B224-41CD-B4E0-E297462320DD}" dt="2023-11-24T08:41:15.303" v="42424"/>
          <ac:spMkLst>
            <pc:docMk/>
            <pc:sldMk cId="2637169229" sldId="2147478574"/>
            <ac:spMk id="281" creationId="{C990B2AA-2A1E-6EAA-4DF4-09B2A5B8C172}"/>
          </ac:spMkLst>
        </pc:spChg>
        <pc:spChg chg="add del mod">
          <ac:chgData name="Steiner Andreas 6206 ED" userId="e6377c33-a923-4f14-8587-531c474c7b48" providerId="ADAL" clId="{6ECD27E6-B224-41CD-B4E0-E297462320DD}" dt="2023-11-24T08:41:17.452" v="42579"/>
          <ac:spMkLst>
            <pc:docMk/>
            <pc:sldMk cId="2637169229" sldId="2147478574"/>
            <ac:spMk id="282" creationId="{8D74B781-8E8A-3352-831F-7705501533E8}"/>
          </ac:spMkLst>
        </pc:spChg>
        <pc:spChg chg="add del mod">
          <ac:chgData name="Steiner Andreas 6206 ED" userId="e6377c33-a923-4f14-8587-531c474c7b48" providerId="ADAL" clId="{6ECD27E6-B224-41CD-B4E0-E297462320DD}" dt="2023-11-24T08:41:19.866" v="42734"/>
          <ac:spMkLst>
            <pc:docMk/>
            <pc:sldMk cId="2637169229" sldId="2147478574"/>
            <ac:spMk id="283" creationId="{E9283795-982E-6918-AFB9-1B9E50737B1A}"/>
          </ac:spMkLst>
        </pc:spChg>
        <pc:spChg chg="add del mod">
          <ac:chgData name="Steiner Andreas 6206 ED" userId="e6377c33-a923-4f14-8587-531c474c7b48" providerId="ADAL" clId="{6ECD27E6-B224-41CD-B4E0-E297462320DD}" dt="2023-11-24T08:41:22.193" v="42889"/>
          <ac:spMkLst>
            <pc:docMk/>
            <pc:sldMk cId="2637169229" sldId="2147478574"/>
            <ac:spMk id="284" creationId="{6A3FFF60-490C-836B-0CEA-71424EACFC76}"/>
          </ac:spMkLst>
        </pc:spChg>
        <pc:spChg chg="add del mod">
          <ac:chgData name="Steiner Andreas 6206 ED" userId="e6377c33-a923-4f14-8587-531c474c7b48" providerId="ADAL" clId="{6ECD27E6-B224-41CD-B4E0-E297462320DD}" dt="2023-11-24T08:41:24.335" v="43044"/>
          <ac:spMkLst>
            <pc:docMk/>
            <pc:sldMk cId="2637169229" sldId="2147478574"/>
            <ac:spMk id="285" creationId="{316B6BF0-2FA5-CF87-2557-B4F64F360A54}"/>
          </ac:spMkLst>
        </pc:spChg>
        <pc:spChg chg="add del mod">
          <ac:chgData name="Steiner Andreas 6206 ED" userId="e6377c33-a923-4f14-8587-531c474c7b48" providerId="ADAL" clId="{6ECD27E6-B224-41CD-B4E0-E297462320DD}" dt="2023-11-24T08:41:26.861" v="43199"/>
          <ac:spMkLst>
            <pc:docMk/>
            <pc:sldMk cId="2637169229" sldId="2147478574"/>
            <ac:spMk id="286" creationId="{914A6611-D248-899C-5A0F-3DB473B4240B}"/>
          </ac:spMkLst>
        </pc:spChg>
        <pc:spChg chg="add del mod">
          <ac:chgData name="Steiner Andreas 6206 ED" userId="e6377c33-a923-4f14-8587-531c474c7b48" providerId="ADAL" clId="{6ECD27E6-B224-41CD-B4E0-E297462320DD}" dt="2023-11-24T08:41:28.982" v="43354"/>
          <ac:spMkLst>
            <pc:docMk/>
            <pc:sldMk cId="2637169229" sldId="2147478574"/>
            <ac:spMk id="287" creationId="{08CEEA3E-E40E-59E6-F767-7607F788B689}"/>
          </ac:spMkLst>
        </pc:spChg>
        <pc:spChg chg="add del mod">
          <ac:chgData name="Steiner Andreas 6206 ED" userId="e6377c33-a923-4f14-8587-531c474c7b48" providerId="ADAL" clId="{6ECD27E6-B224-41CD-B4E0-E297462320DD}" dt="2023-11-24T08:41:31.231" v="43509"/>
          <ac:spMkLst>
            <pc:docMk/>
            <pc:sldMk cId="2637169229" sldId="2147478574"/>
            <ac:spMk id="288" creationId="{72DA85D5-C3CF-CE58-C109-400CAE592601}"/>
          </ac:spMkLst>
        </pc:spChg>
        <pc:spChg chg="add del mod">
          <ac:chgData name="Steiner Andreas 6206 ED" userId="e6377c33-a923-4f14-8587-531c474c7b48" providerId="ADAL" clId="{6ECD27E6-B224-41CD-B4E0-E297462320DD}" dt="2023-11-24T08:41:35.635" v="43664"/>
          <ac:spMkLst>
            <pc:docMk/>
            <pc:sldMk cId="2637169229" sldId="2147478574"/>
            <ac:spMk id="289" creationId="{328369B1-2F53-E031-0AD5-7D0E959E0CF0}"/>
          </ac:spMkLst>
        </pc:spChg>
        <pc:spChg chg="add del mod">
          <ac:chgData name="Steiner Andreas 6206 ED" userId="e6377c33-a923-4f14-8587-531c474c7b48" providerId="ADAL" clId="{6ECD27E6-B224-41CD-B4E0-E297462320DD}" dt="2023-11-24T08:41:38.605" v="43819"/>
          <ac:spMkLst>
            <pc:docMk/>
            <pc:sldMk cId="2637169229" sldId="2147478574"/>
            <ac:spMk id="290" creationId="{6600A0FB-46AD-AE11-7EBE-193B44008794}"/>
          </ac:spMkLst>
        </pc:spChg>
        <pc:spChg chg="add del mod">
          <ac:chgData name="Steiner Andreas 6206 ED" userId="e6377c33-a923-4f14-8587-531c474c7b48" providerId="ADAL" clId="{6ECD27E6-B224-41CD-B4E0-E297462320DD}" dt="2023-11-24T08:41:40.840" v="43974"/>
          <ac:spMkLst>
            <pc:docMk/>
            <pc:sldMk cId="2637169229" sldId="2147478574"/>
            <ac:spMk id="291" creationId="{E65F17A3-84EB-4B92-77F6-93E784F0339C}"/>
          </ac:spMkLst>
        </pc:spChg>
        <pc:spChg chg="add del mod">
          <ac:chgData name="Steiner Andreas 6206 ED" userId="e6377c33-a923-4f14-8587-531c474c7b48" providerId="ADAL" clId="{6ECD27E6-B224-41CD-B4E0-E297462320DD}" dt="2023-11-24T08:41:43.228" v="44129"/>
          <ac:spMkLst>
            <pc:docMk/>
            <pc:sldMk cId="2637169229" sldId="2147478574"/>
            <ac:spMk id="292" creationId="{63FC252A-356D-F77B-04FB-0DE098E79F21}"/>
          </ac:spMkLst>
        </pc:spChg>
        <pc:spChg chg="add del mod">
          <ac:chgData name="Steiner Andreas 6206 ED" userId="e6377c33-a923-4f14-8587-531c474c7b48" providerId="ADAL" clId="{6ECD27E6-B224-41CD-B4E0-E297462320DD}" dt="2023-11-24T08:41:45.145" v="44284"/>
          <ac:spMkLst>
            <pc:docMk/>
            <pc:sldMk cId="2637169229" sldId="2147478574"/>
            <ac:spMk id="293" creationId="{625E44F6-E102-13EC-EAFC-6C5CD81733A7}"/>
          </ac:spMkLst>
        </pc:spChg>
        <pc:spChg chg="add del mod">
          <ac:chgData name="Steiner Andreas 6206 ED" userId="e6377c33-a923-4f14-8587-531c474c7b48" providerId="ADAL" clId="{6ECD27E6-B224-41CD-B4E0-E297462320DD}" dt="2023-11-24T08:41:47.062" v="44439"/>
          <ac:spMkLst>
            <pc:docMk/>
            <pc:sldMk cId="2637169229" sldId="2147478574"/>
            <ac:spMk id="294" creationId="{817D68DF-64EE-90FC-5DD5-AD5E0899BCA0}"/>
          </ac:spMkLst>
        </pc:spChg>
        <pc:spChg chg="add del mod">
          <ac:chgData name="Steiner Andreas 6206 ED" userId="e6377c33-a923-4f14-8587-531c474c7b48" providerId="ADAL" clId="{6ECD27E6-B224-41CD-B4E0-E297462320DD}" dt="2023-11-24T08:41:49.096" v="44594"/>
          <ac:spMkLst>
            <pc:docMk/>
            <pc:sldMk cId="2637169229" sldId="2147478574"/>
            <ac:spMk id="295" creationId="{A8C9BEE4-20C3-AF1E-F92E-81BAE124A7D7}"/>
          </ac:spMkLst>
        </pc:spChg>
        <pc:spChg chg="add del mod">
          <ac:chgData name="Steiner Andreas 6206 ED" userId="e6377c33-a923-4f14-8587-531c474c7b48" providerId="ADAL" clId="{6ECD27E6-B224-41CD-B4E0-E297462320DD}" dt="2023-11-24T08:41:50.956" v="44749"/>
          <ac:spMkLst>
            <pc:docMk/>
            <pc:sldMk cId="2637169229" sldId="2147478574"/>
            <ac:spMk id="296" creationId="{0974F873-D267-2793-57D2-B8A67D94D458}"/>
          </ac:spMkLst>
        </pc:spChg>
        <pc:spChg chg="add del mod">
          <ac:chgData name="Steiner Andreas 6206 ED" userId="e6377c33-a923-4f14-8587-531c474c7b48" providerId="ADAL" clId="{6ECD27E6-B224-41CD-B4E0-E297462320DD}" dt="2023-11-24T08:41:53.296" v="44904"/>
          <ac:spMkLst>
            <pc:docMk/>
            <pc:sldMk cId="2637169229" sldId="2147478574"/>
            <ac:spMk id="297" creationId="{C2E9931A-F8BF-0FA0-C7C6-F240DC054626}"/>
          </ac:spMkLst>
        </pc:spChg>
        <pc:spChg chg="add del mod">
          <ac:chgData name="Steiner Andreas 6206 ED" userId="e6377c33-a923-4f14-8587-531c474c7b48" providerId="ADAL" clId="{6ECD27E6-B224-41CD-B4E0-E297462320DD}" dt="2023-11-24T08:41:55.223" v="45059"/>
          <ac:spMkLst>
            <pc:docMk/>
            <pc:sldMk cId="2637169229" sldId="2147478574"/>
            <ac:spMk id="298" creationId="{07AE6A5A-A859-1FB7-44BD-A5C85C878BFD}"/>
          </ac:spMkLst>
        </pc:spChg>
        <pc:spChg chg="add del mod">
          <ac:chgData name="Steiner Andreas 6206 ED" userId="e6377c33-a923-4f14-8587-531c474c7b48" providerId="ADAL" clId="{6ECD27E6-B224-41CD-B4E0-E297462320DD}" dt="2023-11-24T08:41:57.493" v="45214"/>
          <ac:spMkLst>
            <pc:docMk/>
            <pc:sldMk cId="2637169229" sldId="2147478574"/>
            <ac:spMk id="299" creationId="{8D31CED9-9396-AF2F-022C-1D78C1F02C01}"/>
          </ac:spMkLst>
        </pc:spChg>
        <pc:spChg chg="add del mod">
          <ac:chgData name="Steiner Andreas 6206 ED" userId="e6377c33-a923-4f14-8587-531c474c7b48" providerId="ADAL" clId="{6ECD27E6-B224-41CD-B4E0-E297462320DD}" dt="2023-11-24T08:41:59.675" v="45369"/>
          <ac:spMkLst>
            <pc:docMk/>
            <pc:sldMk cId="2637169229" sldId="2147478574"/>
            <ac:spMk id="300" creationId="{4E6FDFD9-FB1B-8161-1100-9623DD2C2D90}"/>
          </ac:spMkLst>
        </pc:spChg>
        <pc:spChg chg="add del mod">
          <ac:chgData name="Steiner Andreas 6206 ED" userId="e6377c33-a923-4f14-8587-531c474c7b48" providerId="ADAL" clId="{6ECD27E6-B224-41CD-B4E0-E297462320DD}" dt="2023-11-24T08:42:01.877" v="45524"/>
          <ac:spMkLst>
            <pc:docMk/>
            <pc:sldMk cId="2637169229" sldId="2147478574"/>
            <ac:spMk id="301" creationId="{8B0F38D6-A4F9-133F-6B0E-D76F08E4E879}"/>
          </ac:spMkLst>
        </pc:spChg>
        <pc:spChg chg="add del mod">
          <ac:chgData name="Steiner Andreas 6206 ED" userId="e6377c33-a923-4f14-8587-531c474c7b48" providerId="ADAL" clId="{6ECD27E6-B224-41CD-B4E0-E297462320DD}" dt="2023-11-24T08:42:03.892" v="45679"/>
          <ac:spMkLst>
            <pc:docMk/>
            <pc:sldMk cId="2637169229" sldId="2147478574"/>
            <ac:spMk id="302" creationId="{3227F6E2-3D43-49A1-1389-08996A7C8BA9}"/>
          </ac:spMkLst>
        </pc:spChg>
        <pc:spChg chg="add del mod">
          <ac:chgData name="Steiner Andreas 6206 ED" userId="e6377c33-a923-4f14-8587-531c474c7b48" providerId="ADAL" clId="{6ECD27E6-B224-41CD-B4E0-E297462320DD}" dt="2023-11-24T08:42:05.845" v="45834"/>
          <ac:spMkLst>
            <pc:docMk/>
            <pc:sldMk cId="2637169229" sldId="2147478574"/>
            <ac:spMk id="303" creationId="{5C307B3A-2E8C-EADB-1A66-FAFDB54702A9}"/>
          </ac:spMkLst>
        </pc:spChg>
        <pc:spChg chg="add del mod">
          <ac:chgData name="Steiner Andreas 6206 ED" userId="e6377c33-a923-4f14-8587-531c474c7b48" providerId="ADAL" clId="{6ECD27E6-B224-41CD-B4E0-E297462320DD}" dt="2023-11-24T08:42:07.748" v="45989"/>
          <ac:spMkLst>
            <pc:docMk/>
            <pc:sldMk cId="2637169229" sldId="2147478574"/>
            <ac:spMk id="304" creationId="{9BA34664-A643-3777-FB65-3D7FA000FCC3}"/>
          </ac:spMkLst>
        </pc:spChg>
        <pc:spChg chg="add del mod">
          <ac:chgData name="Steiner Andreas 6206 ED" userId="e6377c33-a923-4f14-8587-531c474c7b48" providerId="ADAL" clId="{6ECD27E6-B224-41CD-B4E0-E297462320DD}" dt="2023-11-24T08:42:09.635" v="46144"/>
          <ac:spMkLst>
            <pc:docMk/>
            <pc:sldMk cId="2637169229" sldId="2147478574"/>
            <ac:spMk id="305" creationId="{8C233DC9-58AF-6187-282F-6F3169470E10}"/>
          </ac:spMkLst>
        </pc:spChg>
        <pc:spChg chg="add del mod">
          <ac:chgData name="Steiner Andreas 6206 ED" userId="e6377c33-a923-4f14-8587-531c474c7b48" providerId="ADAL" clId="{6ECD27E6-B224-41CD-B4E0-E297462320DD}" dt="2023-11-24T08:42:12.003" v="46299"/>
          <ac:spMkLst>
            <pc:docMk/>
            <pc:sldMk cId="2637169229" sldId="2147478574"/>
            <ac:spMk id="306" creationId="{E7EE3FC6-D6AD-12FA-50F0-A79771F6797F}"/>
          </ac:spMkLst>
        </pc:spChg>
        <pc:spChg chg="add del mod">
          <ac:chgData name="Steiner Andreas 6206 ED" userId="e6377c33-a923-4f14-8587-531c474c7b48" providerId="ADAL" clId="{6ECD27E6-B224-41CD-B4E0-E297462320DD}" dt="2023-11-24T08:42:14.510" v="46454"/>
          <ac:spMkLst>
            <pc:docMk/>
            <pc:sldMk cId="2637169229" sldId="2147478574"/>
            <ac:spMk id="307" creationId="{435A94D8-0569-D4DA-5523-EBE97C007A02}"/>
          </ac:spMkLst>
        </pc:spChg>
        <pc:spChg chg="add del mod">
          <ac:chgData name="Steiner Andreas 6206 ED" userId="e6377c33-a923-4f14-8587-531c474c7b48" providerId="ADAL" clId="{6ECD27E6-B224-41CD-B4E0-E297462320DD}" dt="2023-11-24T08:42:16.915" v="46609"/>
          <ac:spMkLst>
            <pc:docMk/>
            <pc:sldMk cId="2637169229" sldId="2147478574"/>
            <ac:spMk id="308" creationId="{5F7E9A40-05A0-46AB-C204-EF2CED9C0497}"/>
          </ac:spMkLst>
        </pc:spChg>
        <pc:spChg chg="add del mod">
          <ac:chgData name="Steiner Andreas 6206 ED" userId="e6377c33-a923-4f14-8587-531c474c7b48" providerId="ADAL" clId="{6ECD27E6-B224-41CD-B4E0-E297462320DD}" dt="2023-11-24T08:42:19.041" v="46764"/>
          <ac:spMkLst>
            <pc:docMk/>
            <pc:sldMk cId="2637169229" sldId="2147478574"/>
            <ac:spMk id="309" creationId="{835BF4B6-DE89-34AE-3ACA-54B462C55CE3}"/>
          </ac:spMkLst>
        </pc:spChg>
        <pc:spChg chg="add del mod">
          <ac:chgData name="Steiner Andreas 6206 ED" userId="e6377c33-a923-4f14-8587-531c474c7b48" providerId="ADAL" clId="{6ECD27E6-B224-41CD-B4E0-E297462320DD}" dt="2023-11-24T08:42:21.372" v="46919"/>
          <ac:spMkLst>
            <pc:docMk/>
            <pc:sldMk cId="2637169229" sldId="2147478574"/>
            <ac:spMk id="310" creationId="{A4016661-8D24-F49C-4982-8991D09D52D2}"/>
          </ac:spMkLst>
        </pc:spChg>
        <pc:spChg chg="add del mod">
          <ac:chgData name="Steiner Andreas 6206 ED" userId="e6377c33-a923-4f14-8587-531c474c7b48" providerId="ADAL" clId="{6ECD27E6-B224-41CD-B4E0-E297462320DD}" dt="2023-11-24T08:42:23.998" v="47074"/>
          <ac:spMkLst>
            <pc:docMk/>
            <pc:sldMk cId="2637169229" sldId="2147478574"/>
            <ac:spMk id="311" creationId="{8F404DC6-79F0-E927-9119-E7F638A2EC55}"/>
          </ac:spMkLst>
        </pc:spChg>
        <pc:spChg chg="add del mod">
          <ac:chgData name="Steiner Andreas 6206 ED" userId="e6377c33-a923-4f14-8587-531c474c7b48" providerId="ADAL" clId="{6ECD27E6-B224-41CD-B4E0-E297462320DD}" dt="2023-11-24T08:42:25.976" v="47229"/>
          <ac:spMkLst>
            <pc:docMk/>
            <pc:sldMk cId="2637169229" sldId="2147478574"/>
            <ac:spMk id="312" creationId="{A187B095-C4AE-684C-92A6-AE305FD43220}"/>
          </ac:spMkLst>
        </pc:spChg>
        <pc:spChg chg="add del mod">
          <ac:chgData name="Steiner Andreas 6206 ED" userId="e6377c33-a923-4f14-8587-531c474c7b48" providerId="ADAL" clId="{6ECD27E6-B224-41CD-B4E0-E297462320DD}" dt="2023-11-24T08:42:27.877" v="47384"/>
          <ac:spMkLst>
            <pc:docMk/>
            <pc:sldMk cId="2637169229" sldId="2147478574"/>
            <ac:spMk id="313" creationId="{B2C92CBD-9819-1EF7-8117-A5E72533EBE8}"/>
          </ac:spMkLst>
        </pc:spChg>
        <pc:spChg chg="add del mod">
          <ac:chgData name="Steiner Andreas 6206 ED" userId="e6377c33-a923-4f14-8587-531c474c7b48" providerId="ADAL" clId="{6ECD27E6-B224-41CD-B4E0-E297462320DD}" dt="2023-11-24T08:42:29.644" v="47539"/>
          <ac:spMkLst>
            <pc:docMk/>
            <pc:sldMk cId="2637169229" sldId="2147478574"/>
            <ac:spMk id="314" creationId="{B910C029-A9EF-1128-D8CC-542246037622}"/>
          </ac:spMkLst>
        </pc:spChg>
        <pc:spChg chg="add del mod">
          <ac:chgData name="Steiner Andreas 6206 ED" userId="e6377c33-a923-4f14-8587-531c474c7b48" providerId="ADAL" clId="{6ECD27E6-B224-41CD-B4E0-E297462320DD}" dt="2023-11-24T08:42:31.537" v="47694"/>
          <ac:spMkLst>
            <pc:docMk/>
            <pc:sldMk cId="2637169229" sldId="2147478574"/>
            <ac:spMk id="315" creationId="{F4535B0E-19DE-0620-57E7-235F4A0149A3}"/>
          </ac:spMkLst>
        </pc:spChg>
        <pc:spChg chg="add del mod">
          <ac:chgData name="Steiner Andreas 6206 ED" userId="e6377c33-a923-4f14-8587-531c474c7b48" providerId="ADAL" clId="{6ECD27E6-B224-41CD-B4E0-E297462320DD}" dt="2023-11-24T08:42:33.522" v="47849"/>
          <ac:spMkLst>
            <pc:docMk/>
            <pc:sldMk cId="2637169229" sldId="2147478574"/>
            <ac:spMk id="316" creationId="{43348301-24E0-9D30-1CA1-20D062834DA9}"/>
          </ac:spMkLst>
        </pc:spChg>
        <pc:spChg chg="add del mod">
          <ac:chgData name="Steiner Andreas 6206 ED" userId="e6377c33-a923-4f14-8587-531c474c7b48" providerId="ADAL" clId="{6ECD27E6-B224-41CD-B4E0-E297462320DD}" dt="2023-11-24T08:42:35.585" v="48004"/>
          <ac:spMkLst>
            <pc:docMk/>
            <pc:sldMk cId="2637169229" sldId="2147478574"/>
            <ac:spMk id="317" creationId="{BFAB9961-D1DA-9423-FCE5-7BC02E07D903}"/>
          </ac:spMkLst>
        </pc:spChg>
        <pc:spChg chg="add del mod">
          <ac:chgData name="Steiner Andreas 6206 ED" userId="e6377c33-a923-4f14-8587-531c474c7b48" providerId="ADAL" clId="{6ECD27E6-B224-41CD-B4E0-E297462320DD}" dt="2023-11-24T08:42:37.466" v="48159"/>
          <ac:spMkLst>
            <pc:docMk/>
            <pc:sldMk cId="2637169229" sldId="2147478574"/>
            <ac:spMk id="318" creationId="{8CBA1B55-407C-475A-883C-467ABB87063C}"/>
          </ac:spMkLst>
        </pc:spChg>
        <pc:spChg chg="add del mod">
          <ac:chgData name="Steiner Andreas 6206 ED" userId="e6377c33-a923-4f14-8587-531c474c7b48" providerId="ADAL" clId="{6ECD27E6-B224-41CD-B4E0-E297462320DD}" dt="2023-11-24T08:42:39.331" v="48314"/>
          <ac:spMkLst>
            <pc:docMk/>
            <pc:sldMk cId="2637169229" sldId="2147478574"/>
            <ac:spMk id="319" creationId="{F1B21BB6-62A4-4ADB-2D5B-4BC8639BBC90}"/>
          </ac:spMkLst>
        </pc:spChg>
        <pc:spChg chg="add del mod">
          <ac:chgData name="Steiner Andreas 6206 ED" userId="e6377c33-a923-4f14-8587-531c474c7b48" providerId="ADAL" clId="{6ECD27E6-B224-41CD-B4E0-E297462320DD}" dt="2023-11-24T08:42:41.454" v="48469"/>
          <ac:spMkLst>
            <pc:docMk/>
            <pc:sldMk cId="2637169229" sldId="2147478574"/>
            <ac:spMk id="320" creationId="{EBD06953-F99F-03A7-CCBA-6242B24AF5A6}"/>
          </ac:spMkLst>
        </pc:spChg>
        <pc:spChg chg="add del mod">
          <ac:chgData name="Steiner Andreas 6206 ED" userId="e6377c33-a923-4f14-8587-531c474c7b48" providerId="ADAL" clId="{6ECD27E6-B224-41CD-B4E0-E297462320DD}" dt="2023-11-24T08:42:43.563" v="48624"/>
          <ac:spMkLst>
            <pc:docMk/>
            <pc:sldMk cId="2637169229" sldId="2147478574"/>
            <ac:spMk id="321" creationId="{D02F21E1-5105-6602-397F-94EC84BEC171}"/>
          </ac:spMkLst>
        </pc:spChg>
        <pc:spChg chg="add del mod">
          <ac:chgData name="Steiner Andreas 6206 ED" userId="e6377c33-a923-4f14-8587-531c474c7b48" providerId="ADAL" clId="{6ECD27E6-B224-41CD-B4E0-E297462320DD}" dt="2023-11-24T08:42:45.599" v="48779"/>
          <ac:spMkLst>
            <pc:docMk/>
            <pc:sldMk cId="2637169229" sldId="2147478574"/>
            <ac:spMk id="322" creationId="{73AC730F-ED5A-147E-EF18-4E0E3D8638E3}"/>
          </ac:spMkLst>
        </pc:spChg>
        <pc:spChg chg="add del mod">
          <ac:chgData name="Steiner Andreas 6206 ED" userId="e6377c33-a923-4f14-8587-531c474c7b48" providerId="ADAL" clId="{6ECD27E6-B224-41CD-B4E0-E297462320DD}" dt="2023-11-24T08:42:47.482" v="48934"/>
          <ac:spMkLst>
            <pc:docMk/>
            <pc:sldMk cId="2637169229" sldId="2147478574"/>
            <ac:spMk id="323" creationId="{1FFC86B3-1D1D-04FA-4B65-01A4F42153FE}"/>
          </ac:spMkLst>
        </pc:spChg>
        <pc:spChg chg="add del mod">
          <ac:chgData name="Steiner Andreas 6206 ED" userId="e6377c33-a923-4f14-8587-531c474c7b48" providerId="ADAL" clId="{6ECD27E6-B224-41CD-B4E0-E297462320DD}" dt="2023-11-24T08:42:49.278" v="49089"/>
          <ac:spMkLst>
            <pc:docMk/>
            <pc:sldMk cId="2637169229" sldId="2147478574"/>
            <ac:spMk id="324" creationId="{3B31D968-80F3-BB74-19AA-A913CE6DF72D}"/>
          </ac:spMkLst>
        </pc:spChg>
        <pc:spChg chg="add del mod">
          <ac:chgData name="Steiner Andreas 6206 ED" userId="e6377c33-a923-4f14-8587-531c474c7b48" providerId="ADAL" clId="{6ECD27E6-B224-41CD-B4E0-E297462320DD}" dt="2023-11-24T08:42:51.155" v="49244"/>
          <ac:spMkLst>
            <pc:docMk/>
            <pc:sldMk cId="2637169229" sldId="2147478574"/>
            <ac:spMk id="325" creationId="{99B351F6-9446-1060-F503-9EC7B3B89441}"/>
          </ac:spMkLst>
        </pc:spChg>
        <pc:spChg chg="add del mod">
          <ac:chgData name="Steiner Andreas 6206 ED" userId="e6377c33-a923-4f14-8587-531c474c7b48" providerId="ADAL" clId="{6ECD27E6-B224-41CD-B4E0-E297462320DD}" dt="2023-11-24T08:42:53.262" v="49399"/>
          <ac:spMkLst>
            <pc:docMk/>
            <pc:sldMk cId="2637169229" sldId="2147478574"/>
            <ac:spMk id="326" creationId="{2E1A2AC3-35D5-014D-7B32-47AEBDBFB324}"/>
          </ac:spMkLst>
        </pc:spChg>
        <pc:spChg chg="add del mod">
          <ac:chgData name="Steiner Andreas 6206 ED" userId="e6377c33-a923-4f14-8587-531c474c7b48" providerId="ADAL" clId="{6ECD27E6-B224-41CD-B4E0-E297462320DD}" dt="2023-11-24T08:42:55.857" v="49554"/>
          <ac:spMkLst>
            <pc:docMk/>
            <pc:sldMk cId="2637169229" sldId="2147478574"/>
            <ac:spMk id="327" creationId="{04E46706-E9CA-7839-2551-D671504B324C}"/>
          </ac:spMkLst>
        </pc:spChg>
        <pc:spChg chg="add del mod">
          <ac:chgData name="Steiner Andreas 6206 ED" userId="e6377c33-a923-4f14-8587-531c474c7b48" providerId="ADAL" clId="{6ECD27E6-B224-41CD-B4E0-E297462320DD}" dt="2023-11-24T08:42:57.957" v="49709"/>
          <ac:spMkLst>
            <pc:docMk/>
            <pc:sldMk cId="2637169229" sldId="2147478574"/>
            <ac:spMk id="328" creationId="{4BC3B30D-595D-A861-A625-523039BA1F37}"/>
          </ac:spMkLst>
        </pc:spChg>
        <pc:spChg chg="add del mod">
          <ac:chgData name="Steiner Andreas 6206 ED" userId="e6377c33-a923-4f14-8587-531c474c7b48" providerId="ADAL" clId="{6ECD27E6-B224-41CD-B4E0-E297462320DD}" dt="2023-11-24T08:42:59.879" v="49864"/>
          <ac:spMkLst>
            <pc:docMk/>
            <pc:sldMk cId="2637169229" sldId="2147478574"/>
            <ac:spMk id="329" creationId="{ADDF0DA2-67BE-19EE-4BC5-6DDAD3C5011A}"/>
          </ac:spMkLst>
        </pc:spChg>
        <pc:spChg chg="add del mod">
          <ac:chgData name="Steiner Andreas 6206 ED" userId="e6377c33-a923-4f14-8587-531c474c7b48" providerId="ADAL" clId="{6ECD27E6-B224-41CD-B4E0-E297462320DD}" dt="2023-11-24T08:43:01.876" v="50019"/>
          <ac:spMkLst>
            <pc:docMk/>
            <pc:sldMk cId="2637169229" sldId="2147478574"/>
            <ac:spMk id="330" creationId="{52B0B448-7634-258F-3716-64748159C14F}"/>
          </ac:spMkLst>
        </pc:spChg>
        <pc:spChg chg="add del mod">
          <ac:chgData name="Steiner Andreas 6206 ED" userId="e6377c33-a923-4f14-8587-531c474c7b48" providerId="ADAL" clId="{6ECD27E6-B224-41CD-B4E0-E297462320DD}" dt="2023-11-24T08:43:03.864" v="50174"/>
          <ac:spMkLst>
            <pc:docMk/>
            <pc:sldMk cId="2637169229" sldId="2147478574"/>
            <ac:spMk id="331" creationId="{6109B1BC-6B1D-6C25-A74E-3181F896EB35}"/>
          </ac:spMkLst>
        </pc:spChg>
        <pc:spChg chg="add del mod">
          <ac:chgData name="Steiner Andreas 6206 ED" userId="e6377c33-a923-4f14-8587-531c474c7b48" providerId="ADAL" clId="{6ECD27E6-B224-41CD-B4E0-E297462320DD}" dt="2023-11-24T08:43:05.747" v="50329"/>
          <ac:spMkLst>
            <pc:docMk/>
            <pc:sldMk cId="2637169229" sldId="2147478574"/>
            <ac:spMk id="332" creationId="{F22C18D7-732D-7348-2A02-C5CA6AF65DC6}"/>
          </ac:spMkLst>
        </pc:spChg>
        <pc:spChg chg="add del mod">
          <ac:chgData name="Steiner Andreas 6206 ED" userId="e6377c33-a923-4f14-8587-531c474c7b48" providerId="ADAL" clId="{6ECD27E6-B224-41CD-B4E0-E297462320DD}" dt="2023-11-24T08:43:07.954" v="50484"/>
          <ac:spMkLst>
            <pc:docMk/>
            <pc:sldMk cId="2637169229" sldId="2147478574"/>
            <ac:spMk id="333" creationId="{C2DCF71D-C491-DDAA-AEE5-12C59BFEFEDB}"/>
          </ac:spMkLst>
        </pc:spChg>
        <pc:spChg chg="add del mod">
          <ac:chgData name="Steiner Andreas 6206 ED" userId="e6377c33-a923-4f14-8587-531c474c7b48" providerId="ADAL" clId="{6ECD27E6-B224-41CD-B4E0-E297462320DD}" dt="2023-11-24T08:43:10.012" v="50639"/>
          <ac:spMkLst>
            <pc:docMk/>
            <pc:sldMk cId="2637169229" sldId="2147478574"/>
            <ac:spMk id="334" creationId="{74B128E9-AB66-55F1-70C9-DEFC75248C6E}"/>
          </ac:spMkLst>
        </pc:spChg>
        <pc:spChg chg="add del mod">
          <ac:chgData name="Steiner Andreas 6206 ED" userId="e6377c33-a923-4f14-8587-531c474c7b48" providerId="ADAL" clId="{6ECD27E6-B224-41CD-B4E0-E297462320DD}" dt="2023-11-24T08:43:11.850" v="50794"/>
          <ac:spMkLst>
            <pc:docMk/>
            <pc:sldMk cId="2637169229" sldId="2147478574"/>
            <ac:spMk id="335" creationId="{7F1359BC-E073-A0E0-F527-8F5D3771444F}"/>
          </ac:spMkLst>
        </pc:spChg>
        <pc:spChg chg="add del mod">
          <ac:chgData name="Steiner Andreas 6206 ED" userId="e6377c33-a923-4f14-8587-531c474c7b48" providerId="ADAL" clId="{6ECD27E6-B224-41CD-B4E0-E297462320DD}" dt="2023-11-24T08:43:13.911" v="50949"/>
          <ac:spMkLst>
            <pc:docMk/>
            <pc:sldMk cId="2637169229" sldId="2147478574"/>
            <ac:spMk id="336" creationId="{2E69FB11-0D29-52C3-255F-060F1B28ECAE}"/>
          </ac:spMkLst>
        </pc:spChg>
        <pc:spChg chg="add del mod">
          <ac:chgData name="Steiner Andreas 6206 ED" userId="e6377c33-a923-4f14-8587-531c474c7b48" providerId="ADAL" clId="{6ECD27E6-B224-41CD-B4E0-E297462320DD}" dt="2023-11-24T08:43:15.885" v="51104"/>
          <ac:spMkLst>
            <pc:docMk/>
            <pc:sldMk cId="2637169229" sldId="2147478574"/>
            <ac:spMk id="337" creationId="{5B6F9B6D-257C-2D4A-8CE5-D25728ECEEE5}"/>
          </ac:spMkLst>
        </pc:spChg>
        <pc:spChg chg="add del mod">
          <ac:chgData name="Steiner Andreas 6206 ED" userId="e6377c33-a923-4f14-8587-531c474c7b48" providerId="ADAL" clId="{6ECD27E6-B224-41CD-B4E0-E297462320DD}" dt="2023-11-24T08:43:17.962" v="51259"/>
          <ac:spMkLst>
            <pc:docMk/>
            <pc:sldMk cId="2637169229" sldId="2147478574"/>
            <ac:spMk id="338" creationId="{67826038-B76D-FD79-A137-AE35D6010F70}"/>
          </ac:spMkLst>
        </pc:spChg>
        <pc:spChg chg="add del mod">
          <ac:chgData name="Steiner Andreas 6206 ED" userId="e6377c33-a923-4f14-8587-531c474c7b48" providerId="ADAL" clId="{6ECD27E6-B224-41CD-B4E0-E297462320DD}" dt="2023-11-24T08:43:19.951" v="51414"/>
          <ac:spMkLst>
            <pc:docMk/>
            <pc:sldMk cId="2637169229" sldId="2147478574"/>
            <ac:spMk id="339" creationId="{4D779F7A-C42F-C682-9616-9C34DAA79D43}"/>
          </ac:spMkLst>
        </pc:spChg>
        <pc:spChg chg="add del mod">
          <ac:chgData name="Steiner Andreas 6206 ED" userId="e6377c33-a923-4f14-8587-531c474c7b48" providerId="ADAL" clId="{6ECD27E6-B224-41CD-B4E0-E297462320DD}" dt="2023-11-24T08:43:21.857" v="51569"/>
          <ac:spMkLst>
            <pc:docMk/>
            <pc:sldMk cId="2637169229" sldId="2147478574"/>
            <ac:spMk id="340" creationId="{0CEB93F2-A16C-6F74-3824-8D108432A19B}"/>
          </ac:spMkLst>
        </pc:spChg>
        <pc:spChg chg="add del mod">
          <ac:chgData name="Steiner Andreas 6206 ED" userId="e6377c33-a923-4f14-8587-531c474c7b48" providerId="ADAL" clId="{6ECD27E6-B224-41CD-B4E0-E297462320DD}" dt="2023-11-24T08:43:23.793" v="51724"/>
          <ac:spMkLst>
            <pc:docMk/>
            <pc:sldMk cId="2637169229" sldId="2147478574"/>
            <ac:spMk id="341" creationId="{ABA707CB-5127-D4EA-71AE-861F338716FD}"/>
          </ac:spMkLst>
        </pc:spChg>
        <pc:spChg chg="add del mod">
          <ac:chgData name="Steiner Andreas 6206 ED" userId="e6377c33-a923-4f14-8587-531c474c7b48" providerId="ADAL" clId="{6ECD27E6-B224-41CD-B4E0-E297462320DD}" dt="2023-11-24T08:43:25.681" v="51879"/>
          <ac:spMkLst>
            <pc:docMk/>
            <pc:sldMk cId="2637169229" sldId="2147478574"/>
            <ac:spMk id="342" creationId="{6D7D1EDA-4024-BD8E-B742-817A42067199}"/>
          </ac:spMkLst>
        </pc:spChg>
        <pc:spChg chg="add del mod">
          <ac:chgData name="Steiner Andreas 6206 ED" userId="e6377c33-a923-4f14-8587-531c474c7b48" providerId="ADAL" clId="{6ECD27E6-B224-41CD-B4E0-E297462320DD}" dt="2023-11-24T08:43:27.517" v="52034"/>
          <ac:spMkLst>
            <pc:docMk/>
            <pc:sldMk cId="2637169229" sldId="2147478574"/>
            <ac:spMk id="343" creationId="{E9EE3182-8B87-BC20-31A2-94B1800A63BE}"/>
          </ac:spMkLst>
        </pc:spChg>
        <pc:spChg chg="add del mod">
          <ac:chgData name="Steiner Andreas 6206 ED" userId="e6377c33-a923-4f14-8587-531c474c7b48" providerId="ADAL" clId="{6ECD27E6-B224-41CD-B4E0-E297462320DD}" dt="2023-11-24T08:43:29.312" v="52189"/>
          <ac:spMkLst>
            <pc:docMk/>
            <pc:sldMk cId="2637169229" sldId="2147478574"/>
            <ac:spMk id="344" creationId="{49508E22-4A59-AEBA-BF64-B8EAA573A67F}"/>
          </ac:spMkLst>
        </pc:spChg>
        <pc:spChg chg="add del mod">
          <ac:chgData name="Steiner Andreas 6206 ED" userId="e6377c33-a923-4f14-8587-531c474c7b48" providerId="ADAL" clId="{6ECD27E6-B224-41CD-B4E0-E297462320DD}" dt="2023-11-24T08:43:32.008" v="52344"/>
          <ac:spMkLst>
            <pc:docMk/>
            <pc:sldMk cId="2637169229" sldId="2147478574"/>
            <ac:spMk id="345" creationId="{1C5F0192-032A-C48D-5DF4-A2091B7F2DA4}"/>
          </ac:spMkLst>
        </pc:spChg>
        <pc:spChg chg="add del mod">
          <ac:chgData name="Steiner Andreas 6206 ED" userId="e6377c33-a923-4f14-8587-531c474c7b48" providerId="ADAL" clId="{6ECD27E6-B224-41CD-B4E0-E297462320DD}" dt="2023-11-24T08:43:34.526" v="52499"/>
          <ac:spMkLst>
            <pc:docMk/>
            <pc:sldMk cId="2637169229" sldId="2147478574"/>
            <ac:spMk id="346" creationId="{AC92BE8D-0869-590A-39A0-76DB0E7E972A}"/>
          </ac:spMkLst>
        </pc:spChg>
        <pc:spChg chg="add del mod">
          <ac:chgData name="Steiner Andreas 6206 ED" userId="e6377c33-a923-4f14-8587-531c474c7b48" providerId="ADAL" clId="{6ECD27E6-B224-41CD-B4E0-E297462320DD}" dt="2023-11-24T08:43:36.612" v="52654"/>
          <ac:spMkLst>
            <pc:docMk/>
            <pc:sldMk cId="2637169229" sldId="2147478574"/>
            <ac:spMk id="347" creationId="{1F9B3254-AC8F-40C6-47D3-10CC3617C1C2}"/>
          </ac:spMkLst>
        </pc:spChg>
        <pc:spChg chg="add del mod">
          <ac:chgData name="Steiner Andreas 6206 ED" userId="e6377c33-a923-4f14-8587-531c474c7b48" providerId="ADAL" clId="{6ECD27E6-B224-41CD-B4E0-E297462320DD}" dt="2023-11-24T08:43:38.722" v="52809"/>
          <ac:spMkLst>
            <pc:docMk/>
            <pc:sldMk cId="2637169229" sldId="2147478574"/>
            <ac:spMk id="348" creationId="{B80A63D7-57E6-A980-3370-9C33D341F589}"/>
          </ac:spMkLst>
        </pc:spChg>
        <pc:spChg chg="add del mod">
          <ac:chgData name="Steiner Andreas 6206 ED" userId="e6377c33-a923-4f14-8587-531c474c7b48" providerId="ADAL" clId="{6ECD27E6-B224-41CD-B4E0-E297462320DD}" dt="2023-11-24T08:43:40.826" v="52964"/>
          <ac:spMkLst>
            <pc:docMk/>
            <pc:sldMk cId="2637169229" sldId="2147478574"/>
            <ac:spMk id="349" creationId="{EFB859C6-6C2A-64CB-BE93-10EB4B68D4F3}"/>
          </ac:spMkLst>
        </pc:spChg>
        <pc:spChg chg="add del mod">
          <ac:chgData name="Steiner Andreas 6206 ED" userId="e6377c33-a923-4f14-8587-531c474c7b48" providerId="ADAL" clId="{6ECD27E6-B224-41CD-B4E0-E297462320DD}" dt="2023-11-24T08:43:42.802" v="53119"/>
          <ac:spMkLst>
            <pc:docMk/>
            <pc:sldMk cId="2637169229" sldId="2147478574"/>
            <ac:spMk id="350" creationId="{8FBEF8A4-A655-1B3D-270B-E2619D3AAA90}"/>
          </ac:spMkLst>
        </pc:spChg>
        <pc:spChg chg="add del mod">
          <ac:chgData name="Steiner Andreas 6206 ED" userId="e6377c33-a923-4f14-8587-531c474c7b48" providerId="ADAL" clId="{6ECD27E6-B224-41CD-B4E0-E297462320DD}" dt="2023-11-24T08:43:44.620" v="53274"/>
          <ac:spMkLst>
            <pc:docMk/>
            <pc:sldMk cId="2637169229" sldId="2147478574"/>
            <ac:spMk id="351" creationId="{F87BA66A-4FE9-B8F4-CD6C-38907586AD30}"/>
          </ac:spMkLst>
        </pc:spChg>
        <pc:spChg chg="add del mod">
          <ac:chgData name="Steiner Andreas 6206 ED" userId="e6377c33-a923-4f14-8587-531c474c7b48" providerId="ADAL" clId="{6ECD27E6-B224-41CD-B4E0-E297462320DD}" dt="2023-11-24T08:43:46.406" v="53429"/>
          <ac:spMkLst>
            <pc:docMk/>
            <pc:sldMk cId="2637169229" sldId="2147478574"/>
            <ac:spMk id="352" creationId="{138420E6-F3E7-3E48-3F1A-9BD4F08A9785}"/>
          </ac:spMkLst>
        </pc:spChg>
        <pc:spChg chg="add del mod">
          <ac:chgData name="Steiner Andreas 6206 ED" userId="e6377c33-a923-4f14-8587-531c474c7b48" providerId="ADAL" clId="{6ECD27E6-B224-41CD-B4E0-E297462320DD}" dt="2023-11-24T08:43:48.356" v="53584"/>
          <ac:spMkLst>
            <pc:docMk/>
            <pc:sldMk cId="2637169229" sldId="2147478574"/>
            <ac:spMk id="353" creationId="{7071792D-BA1C-2B34-1C1B-F898AD364AAE}"/>
          </ac:spMkLst>
        </pc:spChg>
        <pc:spChg chg="add del mod">
          <ac:chgData name="Steiner Andreas 6206 ED" userId="e6377c33-a923-4f14-8587-531c474c7b48" providerId="ADAL" clId="{6ECD27E6-B224-41CD-B4E0-E297462320DD}" dt="2023-11-24T08:43:50.319" v="53739"/>
          <ac:spMkLst>
            <pc:docMk/>
            <pc:sldMk cId="2637169229" sldId="2147478574"/>
            <ac:spMk id="354" creationId="{9F4AE2EA-5DA8-6A21-20EA-549C0DA70D0C}"/>
          </ac:spMkLst>
        </pc:spChg>
        <pc:spChg chg="add del mod">
          <ac:chgData name="Steiner Andreas 6206 ED" userId="e6377c33-a923-4f14-8587-531c474c7b48" providerId="ADAL" clId="{6ECD27E6-B224-41CD-B4E0-E297462320DD}" dt="2023-11-24T08:43:52.487" v="53894"/>
          <ac:spMkLst>
            <pc:docMk/>
            <pc:sldMk cId="2637169229" sldId="2147478574"/>
            <ac:spMk id="355" creationId="{747F7A66-A536-2E6F-362C-B882BC27469A}"/>
          </ac:spMkLst>
        </pc:spChg>
        <pc:spChg chg="add del mod">
          <ac:chgData name="Steiner Andreas 6206 ED" userId="e6377c33-a923-4f14-8587-531c474c7b48" providerId="ADAL" clId="{6ECD27E6-B224-41CD-B4E0-E297462320DD}" dt="2023-11-24T08:43:55.134" v="54049"/>
          <ac:spMkLst>
            <pc:docMk/>
            <pc:sldMk cId="2637169229" sldId="2147478574"/>
            <ac:spMk id="356" creationId="{1A1A06B4-D2DE-7BF4-645C-2DDD72F9C1C3}"/>
          </ac:spMkLst>
        </pc:spChg>
        <pc:spChg chg="add del mod">
          <ac:chgData name="Steiner Andreas 6206 ED" userId="e6377c33-a923-4f14-8587-531c474c7b48" providerId="ADAL" clId="{6ECD27E6-B224-41CD-B4E0-E297462320DD}" dt="2023-11-24T08:43:57.182" v="54204"/>
          <ac:spMkLst>
            <pc:docMk/>
            <pc:sldMk cId="2637169229" sldId="2147478574"/>
            <ac:spMk id="357" creationId="{66254F7E-2C9A-DC39-64BB-013D143091D2}"/>
          </ac:spMkLst>
        </pc:spChg>
        <pc:spChg chg="add del mod">
          <ac:chgData name="Steiner Andreas 6206 ED" userId="e6377c33-a923-4f14-8587-531c474c7b48" providerId="ADAL" clId="{6ECD27E6-B224-41CD-B4E0-E297462320DD}" dt="2023-11-24T08:43:59.357" v="54359"/>
          <ac:spMkLst>
            <pc:docMk/>
            <pc:sldMk cId="2637169229" sldId="2147478574"/>
            <ac:spMk id="358" creationId="{7C50CEF4-B683-60EC-3908-8971658C067C}"/>
          </ac:spMkLst>
        </pc:spChg>
        <pc:spChg chg="add del mod">
          <ac:chgData name="Steiner Andreas 6206 ED" userId="e6377c33-a923-4f14-8587-531c474c7b48" providerId="ADAL" clId="{6ECD27E6-B224-41CD-B4E0-E297462320DD}" dt="2023-11-24T08:44:01.625" v="54514"/>
          <ac:spMkLst>
            <pc:docMk/>
            <pc:sldMk cId="2637169229" sldId="2147478574"/>
            <ac:spMk id="359" creationId="{75FF10F5-25F3-061F-2B82-0D55547969AA}"/>
          </ac:spMkLst>
        </pc:spChg>
        <pc:spChg chg="add del mod">
          <ac:chgData name="Steiner Andreas 6206 ED" userId="e6377c33-a923-4f14-8587-531c474c7b48" providerId="ADAL" clId="{6ECD27E6-B224-41CD-B4E0-E297462320DD}" dt="2023-11-24T08:44:03.770" v="54669"/>
          <ac:spMkLst>
            <pc:docMk/>
            <pc:sldMk cId="2637169229" sldId="2147478574"/>
            <ac:spMk id="360" creationId="{53829797-4F49-B5B5-DED4-B69DB2730355}"/>
          </ac:spMkLst>
        </pc:spChg>
        <pc:spChg chg="add del mod">
          <ac:chgData name="Steiner Andreas 6206 ED" userId="e6377c33-a923-4f14-8587-531c474c7b48" providerId="ADAL" clId="{6ECD27E6-B224-41CD-B4E0-E297462320DD}" dt="2023-11-24T08:44:05.862" v="54824"/>
          <ac:spMkLst>
            <pc:docMk/>
            <pc:sldMk cId="2637169229" sldId="2147478574"/>
            <ac:spMk id="361" creationId="{71B6F553-BE5F-4380-0BC0-9D02360FB88E}"/>
          </ac:spMkLst>
        </pc:spChg>
        <pc:spChg chg="add del mod">
          <ac:chgData name="Steiner Andreas 6206 ED" userId="e6377c33-a923-4f14-8587-531c474c7b48" providerId="ADAL" clId="{6ECD27E6-B224-41CD-B4E0-E297462320DD}" dt="2023-11-24T08:44:07.832" v="54979"/>
          <ac:spMkLst>
            <pc:docMk/>
            <pc:sldMk cId="2637169229" sldId="2147478574"/>
            <ac:spMk id="362" creationId="{35B03FD1-05A4-CB8D-009E-6FF79416D240}"/>
          </ac:spMkLst>
        </pc:spChg>
        <pc:spChg chg="add del mod">
          <ac:chgData name="Steiner Andreas 6206 ED" userId="e6377c33-a923-4f14-8587-531c474c7b48" providerId="ADAL" clId="{6ECD27E6-B224-41CD-B4E0-E297462320DD}" dt="2023-11-24T08:44:09.823" v="55134"/>
          <ac:spMkLst>
            <pc:docMk/>
            <pc:sldMk cId="2637169229" sldId="2147478574"/>
            <ac:spMk id="363" creationId="{A113A2FB-E365-9EAF-DD65-CFD796E8B8A5}"/>
          </ac:spMkLst>
        </pc:spChg>
        <pc:spChg chg="add del mod">
          <ac:chgData name="Steiner Andreas 6206 ED" userId="e6377c33-a923-4f14-8587-531c474c7b48" providerId="ADAL" clId="{6ECD27E6-B224-41CD-B4E0-E297462320DD}" dt="2023-11-24T08:44:11.820" v="55289"/>
          <ac:spMkLst>
            <pc:docMk/>
            <pc:sldMk cId="2637169229" sldId="2147478574"/>
            <ac:spMk id="364" creationId="{A4439B81-49F7-BF71-7424-7614179C88C9}"/>
          </ac:spMkLst>
        </pc:spChg>
        <pc:spChg chg="add del mod">
          <ac:chgData name="Steiner Andreas 6206 ED" userId="e6377c33-a923-4f14-8587-531c474c7b48" providerId="ADAL" clId="{6ECD27E6-B224-41CD-B4E0-E297462320DD}" dt="2023-11-24T08:44:13.974" v="55444"/>
          <ac:spMkLst>
            <pc:docMk/>
            <pc:sldMk cId="2637169229" sldId="2147478574"/>
            <ac:spMk id="365" creationId="{97FF4130-AF2C-8AAA-FF43-AEFA458D104B}"/>
          </ac:spMkLst>
        </pc:spChg>
        <pc:spChg chg="add del mod">
          <ac:chgData name="Steiner Andreas 6206 ED" userId="e6377c33-a923-4f14-8587-531c474c7b48" providerId="ADAL" clId="{6ECD27E6-B224-41CD-B4E0-E297462320DD}" dt="2023-11-24T08:44:16.062" v="55599"/>
          <ac:spMkLst>
            <pc:docMk/>
            <pc:sldMk cId="2637169229" sldId="2147478574"/>
            <ac:spMk id="366" creationId="{88FED2E6-229C-E0C0-DB5D-4DDF70286EBE}"/>
          </ac:spMkLst>
        </pc:spChg>
        <pc:spChg chg="add del mod">
          <ac:chgData name="Steiner Andreas 6206 ED" userId="e6377c33-a923-4f14-8587-531c474c7b48" providerId="ADAL" clId="{6ECD27E6-B224-41CD-B4E0-E297462320DD}" dt="2023-11-24T08:44:18.516" v="55754"/>
          <ac:spMkLst>
            <pc:docMk/>
            <pc:sldMk cId="2637169229" sldId="2147478574"/>
            <ac:spMk id="367" creationId="{01138D71-FF4D-A1A2-9655-539191F82BDD}"/>
          </ac:spMkLst>
        </pc:spChg>
        <pc:spChg chg="add del mod">
          <ac:chgData name="Steiner Andreas 6206 ED" userId="e6377c33-a923-4f14-8587-531c474c7b48" providerId="ADAL" clId="{6ECD27E6-B224-41CD-B4E0-E297462320DD}" dt="2023-11-24T08:44:21.365" v="55909"/>
          <ac:spMkLst>
            <pc:docMk/>
            <pc:sldMk cId="2637169229" sldId="2147478574"/>
            <ac:spMk id="368" creationId="{598727C0-7DA4-A864-5F5F-8DF71BEEE3AE}"/>
          </ac:spMkLst>
        </pc:spChg>
        <pc:spChg chg="add del mod">
          <ac:chgData name="Steiner Andreas 6206 ED" userId="e6377c33-a923-4f14-8587-531c474c7b48" providerId="ADAL" clId="{6ECD27E6-B224-41CD-B4E0-E297462320DD}" dt="2023-11-24T08:44:23.774" v="56064"/>
          <ac:spMkLst>
            <pc:docMk/>
            <pc:sldMk cId="2637169229" sldId="2147478574"/>
            <ac:spMk id="369" creationId="{8DAE4958-875C-D528-0814-CFB7D3B3C420}"/>
          </ac:spMkLst>
        </pc:spChg>
        <pc:spChg chg="add del mod">
          <ac:chgData name="Steiner Andreas 6206 ED" userId="e6377c33-a923-4f14-8587-531c474c7b48" providerId="ADAL" clId="{6ECD27E6-B224-41CD-B4E0-E297462320DD}" dt="2023-11-24T08:44:25.706" v="56219"/>
          <ac:spMkLst>
            <pc:docMk/>
            <pc:sldMk cId="2637169229" sldId="2147478574"/>
            <ac:spMk id="370" creationId="{AB35A84A-2BC8-C26A-2433-CC819DFABD4F}"/>
          </ac:spMkLst>
        </pc:spChg>
        <pc:spChg chg="add del mod">
          <ac:chgData name="Steiner Andreas 6206 ED" userId="e6377c33-a923-4f14-8587-531c474c7b48" providerId="ADAL" clId="{6ECD27E6-B224-41CD-B4E0-E297462320DD}" dt="2023-11-24T08:44:27.884" v="56374"/>
          <ac:spMkLst>
            <pc:docMk/>
            <pc:sldMk cId="2637169229" sldId="2147478574"/>
            <ac:spMk id="371" creationId="{50E75159-1199-B979-7C8F-0DF75D24E6D3}"/>
          </ac:spMkLst>
        </pc:spChg>
        <pc:spChg chg="add del mod">
          <ac:chgData name="Steiner Andreas 6206 ED" userId="e6377c33-a923-4f14-8587-531c474c7b48" providerId="ADAL" clId="{6ECD27E6-B224-41CD-B4E0-E297462320DD}" dt="2023-11-24T08:44:29.895" v="56529"/>
          <ac:spMkLst>
            <pc:docMk/>
            <pc:sldMk cId="2637169229" sldId="2147478574"/>
            <ac:spMk id="372" creationId="{84A40330-4F4A-6BBB-40AE-BD942F534589}"/>
          </ac:spMkLst>
        </pc:spChg>
        <pc:spChg chg="add del mod">
          <ac:chgData name="Steiner Andreas 6206 ED" userId="e6377c33-a923-4f14-8587-531c474c7b48" providerId="ADAL" clId="{6ECD27E6-B224-41CD-B4E0-E297462320DD}" dt="2023-11-24T08:44:31.874" v="56684"/>
          <ac:spMkLst>
            <pc:docMk/>
            <pc:sldMk cId="2637169229" sldId="2147478574"/>
            <ac:spMk id="373" creationId="{CF9B1BA0-6FA1-1FED-5E6E-5119DD61B4F9}"/>
          </ac:spMkLst>
        </pc:spChg>
        <pc:spChg chg="add del mod">
          <ac:chgData name="Steiner Andreas 6206 ED" userId="e6377c33-a923-4f14-8587-531c474c7b48" providerId="ADAL" clId="{6ECD27E6-B224-41CD-B4E0-E297462320DD}" dt="2023-11-24T08:44:33.832" v="56839"/>
          <ac:spMkLst>
            <pc:docMk/>
            <pc:sldMk cId="2637169229" sldId="2147478574"/>
            <ac:spMk id="374" creationId="{754C5604-B42D-F374-DD20-BBCF40CD1E8F}"/>
          </ac:spMkLst>
        </pc:spChg>
        <pc:spChg chg="add del mod">
          <ac:chgData name="Steiner Andreas 6206 ED" userId="e6377c33-a923-4f14-8587-531c474c7b48" providerId="ADAL" clId="{6ECD27E6-B224-41CD-B4E0-E297462320DD}" dt="2023-11-24T08:44:36.250" v="56994"/>
          <ac:spMkLst>
            <pc:docMk/>
            <pc:sldMk cId="2637169229" sldId="2147478574"/>
            <ac:spMk id="375" creationId="{26BED863-7386-046F-5E50-71947386CDA3}"/>
          </ac:spMkLst>
        </pc:spChg>
        <pc:spChg chg="add del mod">
          <ac:chgData name="Steiner Andreas 6206 ED" userId="e6377c33-a923-4f14-8587-531c474c7b48" providerId="ADAL" clId="{6ECD27E6-B224-41CD-B4E0-E297462320DD}" dt="2023-11-24T08:44:38.858" v="57149"/>
          <ac:spMkLst>
            <pc:docMk/>
            <pc:sldMk cId="2637169229" sldId="2147478574"/>
            <ac:spMk id="376" creationId="{170A23EB-5434-869A-376C-E10F1E640BBC}"/>
          </ac:spMkLst>
        </pc:spChg>
        <pc:spChg chg="add del mod">
          <ac:chgData name="Steiner Andreas 6206 ED" userId="e6377c33-a923-4f14-8587-531c474c7b48" providerId="ADAL" clId="{6ECD27E6-B224-41CD-B4E0-E297462320DD}" dt="2023-11-24T08:44:41.156" v="57304"/>
          <ac:spMkLst>
            <pc:docMk/>
            <pc:sldMk cId="2637169229" sldId="2147478574"/>
            <ac:spMk id="377" creationId="{C2AFC5CD-1FC5-4952-D80B-32058896C8AF}"/>
          </ac:spMkLst>
        </pc:spChg>
        <pc:spChg chg="add del mod">
          <ac:chgData name="Steiner Andreas 6206 ED" userId="e6377c33-a923-4f14-8587-531c474c7b48" providerId="ADAL" clId="{6ECD27E6-B224-41CD-B4E0-E297462320DD}" dt="2023-11-24T08:44:43.365" v="57459"/>
          <ac:spMkLst>
            <pc:docMk/>
            <pc:sldMk cId="2637169229" sldId="2147478574"/>
            <ac:spMk id="378" creationId="{EFC89C79-1303-AD62-9906-8AA089F9EE92}"/>
          </ac:spMkLst>
        </pc:spChg>
        <pc:spChg chg="add del mod">
          <ac:chgData name="Steiner Andreas 6206 ED" userId="e6377c33-a923-4f14-8587-531c474c7b48" providerId="ADAL" clId="{6ECD27E6-B224-41CD-B4E0-E297462320DD}" dt="2023-11-24T08:44:45.523" v="57614"/>
          <ac:spMkLst>
            <pc:docMk/>
            <pc:sldMk cId="2637169229" sldId="2147478574"/>
            <ac:spMk id="379" creationId="{F84227F6-402F-4DCB-7C22-15652E2AE1A6}"/>
          </ac:spMkLst>
        </pc:spChg>
        <pc:spChg chg="add del mod">
          <ac:chgData name="Steiner Andreas 6206 ED" userId="e6377c33-a923-4f14-8587-531c474c7b48" providerId="ADAL" clId="{6ECD27E6-B224-41CD-B4E0-E297462320DD}" dt="2023-11-24T08:44:48.269" v="57769"/>
          <ac:spMkLst>
            <pc:docMk/>
            <pc:sldMk cId="2637169229" sldId="2147478574"/>
            <ac:spMk id="380" creationId="{DB17E725-B0B6-8075-A91E-8FCE865B4CFD}"/>
          </ac:spMkLst>
        </pc:spChg>
        <pc:spChg chg="add del mod">
          <ac:chgData name="Steiner Andreas 6206 ED" userId="e6377c33-a923-4f14-8587-531c474c7b48" providerId="ADAL" clId="{6ECD27E6-B224-41CD-B4E0-E297462320DD}" dt="2023-11-24T08:44:50.523" v="57924"/>
          <ac:spMkLst>
            <pc:docMk/>
            <pc:sldMk cId="2637169229" sldId="2147478574"/>
            <ac:spMk id="381" creationId="{BB971E91-CA08-48C3-D021-450978F08199}"/>
          </ac:spMkLst>
        </pc:spChg>
        <pc:spChg chg="add del mod">
          <ac:chgData name="Steiner Andreas 6206 ED" userId="e6377c33-a923-4f14-8587-531c474c7b48" providerId="ADAL" clId="{6ECD27E6-B224-41CD-B4E0-E297462320DD}" dt="2023-11-24T08:44:52.671" v="58079"/>
          <ac:spMkLst>
            <pc:docMk/>
            <pc:sldMk cId="2637169229" sldId="2147478574"/>
            <ac:spMk id="382" creationId="{D246BC36-AB34-C4DE-5C39-027C94AF140C}"/>
          </ac:spMkLst>
        </pc:spChg>
        <pc:spChg chg="add del mod">
          <ac:chgData name="Steiner Andreas 6206 ED" userId="e6377c33-a923-4f14-8587-531c474c7b48" providerId="ADAL" clId="{6ECD27E6-B224-41CD-B4E0-E297462320DD}" dt="2023-11-24T08:44:54.866" v="58234"/>
          <ac:spMkLst>
            <pc:docMk/>
            <pc:sldMk cId="2637169229" sldId="2147478574"/>
            <ac:spMk id="383" creationId="{18346890-8532-61CF-9F96-386CAD14F249}"/>
          </ac:spMkLst>
        </pc:spChg>
        <pc:spChg chg="add del mod">
          <ac:chgData name="Steiner Andreas 6206 ED" userId="e6377c33-a923-4f14-8587-531c474c7b48" providerId="ADAL" clId="{6ECD27E6-B224-41CD-B4E0-E297462320DD}" dt="2023-11-24T08:44:56.881" v="58389"/>
          <ac:spMkLst>
            <pc:docMk/>
            <pc:sldMk cId="2637169229" sldId="2147478574"/>
            <ac:spMk id="384" creationId="{C6C22823-4A54-0C42-BF65-02428C9030C4}"/>
          </ac:spMkLst>
        </pc:spChg>
        <pc:spChg chg="add del mod">
          <ac:chgData name="Steiner Andreas 6206 ED" userId="e6377c33-a923-4f14-8587-531c474c7b48" providerId="ADAL" clId="{6ECD27E6-B224-41CD-B4E0-E297462320DD}" dt="2023-11-24T08:44:58.815" v="58544"/>
          <ac:spMkLst>
            <pc:docMk/>
            <pc:sldMk cId="2637169229" sldId="2147478574"/>
            <ac:spMk id="385" creationId="{8F6C9DF0-9352-01A6-85DE-FC4BDE9514D8}"/>
          </ac:spMkLst>
        </pc:spChg>
        <pc:spChg chg="add del mod">
          <ac:chgData name="Steiner Andreas 6206 ED" userId="e6377c33-a923-4f14-8587-531c474c7b48" providerId="ADAL" clId="{6ECD27E6-B224-41CD-B4E0-E297462320DD}" dt="2023-11-24T08:45:00.981" v="58699"/>
          <ac:spMkLst>
            <pc:docMk/>
            <pc:sldMk cId="2637169229" sldId="2147478574"/>
            <ac:spMk id="386" creationId="{4B122D69-3EE7-0ADF-DB78-480A9F73A89A}"/>
          </ac:spMkLst>
        </pc:spChg>
        <pc:spChg chg="add del mod">
          <ac:chgData name="Steiner Andreas 6206 ED" userId="e6377c33-a923-4f14-8587-531c474c7b48" providerId="ADAL" clId="{6ECD27E6-B224-41CD-B4E0-E297462320DD}" dt="2023-11-24T08:45:02.897" v="58854"/>
          <ac:spMkLst>
            <pc:docMk/>
            <pc:sldMk cId="2637169229" sldId="2147478574"/>
            <ac:spMk id="387" creationId="{6C60BCE4-A899-F0B3-CE2F-9BC4F718170A}"/>
          </ac:spMkLst>
        </pc:spChg>
        <pc:spChg chg="add del mod">
          <ac:chgData name="Steiner Andreas 6206 ED" userId="e6377c33-a923-4f14-8587-531c474c7b48" providerId="ADAL" clId="{6ECD27E6-B224-41CD-B4E0-E297462320DD}" dt="2023-11-24T08:45:04.746" v="59009"/>
          <ac:spMkLst>
            <pc:docMk/>
            <pc:sldMk cId="2637169229" sldId="2147478574"/>
            <ac:spMk id="388" creationId="{75CF61BC-5A35-61FD-E134-B077E7A442B5}"/>
          </ac:spMkLst>
        </pc:spChg>
        <pc:spChg chg="add del mod">
          <ac:chgData name="Steiner Andreas 6206 ED" userId="e6377c33-a923-4f14-8587-531c474c7b48" providerId="ADAL" clId="{6ECD27E6-B224-41CD-B4E0-E297462320DD}" dt="2023-11-24T08:45:06.604" v="59164"/>
          <ac:spMkLst>
            <pc:docMk/>
            <pc:sldMk cId="2637169229" sldId="2147478574"/>
            <ac:spMk id="389" creationId="{8867603F-180F-E268-B32F-30D51A470B93}"/>
          </ac:spMkLst>
        </pc:spChg>
        <pc:spChg chg="add del mod">
          <ac:chgData name="Steiner Andreas 6206 ED" userId="e6377c33-a923-4f14-8587-531c474c7b48" providerId="ADAL" clId="{6ECD27E6-B224-41CD-B4E0-E297462320DD}" dt="2023-11-24T08:45:08.438" v="59319"/>
          <ac:spMkLst>
            <pc:docMk/>
            <pc:sldMk cId="2637169229" sldId="2147478574"/>
            <ac:spMk id="390" creationId="{A3A2B046-4A9D-9E4B-ACB5-81BC6D1E992B}"/>
          </ac:spMkLst>
        </pc:spChg>
        <pc:spChg chg="add del mod">
          <ac:chgData name="Steiner Andreas 6206 ED" userId="e6377c33-a923-4f14-8587-531c474c7b48" providerId="ADAL" clId="{6ECD27E6-B224-41CD-B4E0-E297462320DD}" dt="2023-11-24T08:45:10.247" v="59474"/>
          <ac:spMkLst>
            <pc:docMk/>
            <pc:sldMk cId="2637169229" sldId="2147478574"/>
            <ac:spMk id="391" creationId="{C1A40A40-8588-84BB-0F64-BD7BBADBF05A}"/>
          </ac:spMkLst>
        </pc:spChg>
        <pc:spChg chg="add del mod">
          <ac:chgData name="Steiner Andreas 6206 ED" userId="e6377c33-a923-4f14-8587-531c474c7b48" providerId="ADAL" clId="{6ECD27E6-B224-41CD-B4E0-E297462320DD}" dt="2023-11-24T08:45:12.330" v="59629"/>
          <ac:spMkLst>
            <pc:docMk/>
            <pc:sldMk cId="2637169229" sldId="2147478574"/>
            <ac:spMk id="392" creationId="{50091F94-ECCF-1F90-78F9-19192CFCC5D2}"/>
          </ac:spMkLst>
        </pc:spChg>
        <pc:spChg chg="add del mod">
          <ac:chgData name="Steiner Andreas 6206 ED" userId="e6377c33-a923-4f14-8587-531c474c7b48" providerId="ADAL" clId="{6ECD27E6-B224-41CD-B4E0-E297462320DD}" dt="2023-11-24T08:45:14.264" v="59784"/>
          <ac:spMkLst>
            <pc:docMk/>
            <pc:sldMk cId="2637169229" sldId="2147478574"/>
            <ac:spMk id="393" creationId="{760F5007-61E6-3561-60E2-4B34B2ED556F}"/>
          </ac:spMkLst>
        </pc:spChg>
        <pc:spChg chg="add del mod">
          <ac:chgData name="Steiner Andreas 6206 ED" userId="e6377c33-a923-4f14-8587-531c474c7b48" providerId="ADAL" clId="{6ECD27E6-B224-41CD-B4E0-E297462320DD}" dt="2023-11-24T08:45:16.339" v="59939"/>
          <ac:spMkLst>
            <pc:docMk/>
            <pc:sldMk cId="2637169229" sldId="2147478574"/>
            <ac:spMk id="394" creationId="{9F551D66-2E43-2F02-BEB7-98FAABAFA15B}"/>
          </ac:spMkLst>
        </pc:spChg>
        <pc:spChg chg="add del mod">
          <ac:chgData name="Steiner Andreas 6206 ED" userId="e6377c33-a923-4f14-8587-531c474c7b48" providerId="ADAL" clId="{6ECD27E6-B224-41CD-B4E0-E297462320DD}" dt="2023-11-24T08:45:18.276" v="60094"/>
          <ac:spMkLst>
            <pc:docMk/>
            <pc:sldMk cId="2637169229" sldId="2147478574"/>
            <ac:spMk id="395" creationId="{61ED047D-7016-C70A-F26B-D90511043F1C}"/>
          </ac:spMkLst>
        </pc:spChg>
        <pc:spChg chg="add del mod">
          <ac:chgData name="Steiner Andreas 6206 ED" userId="e6377c33-a923-4f14-8587-531c474c7b48" providerId="ADAL" clId="{6ECD27E6-B224-41CD-B4E0-E297462320DD}" dt="2023-11-24T08:45:20.173" v="60249"/>
          <ac:spMkLst>
            <pc:docMk/>
            <pc:sldMk cId="2637169229" sldId="2147478574"/>
            <ac:spMk id="396" creationId="{3BF102CB-3E99-A926-9C01-C39F55115B15}"/>
          </ac:spMkLst>
        </pc:spChg>
        <pc:spChg chg="add del mod">
          <ac:chgData name="Steiner Andreas 6206 ED" userId="e6377c33-a923-4f14-8587-531c474c7b48" providerId="ADAL" clId="{6ECD27E6-B224-41CD-B4E0-E297462320DD}" dt="2023-11-24T08:45:22.329" v="60404"/>
          <ac:spMkLst>
            <pc:docMk/>
            <pc:sldMk cId="2637169229" sldId="2147478574"/>
            <ac:spMk id="397" creationId="{E8699806-291C-B48F-4924-B18FF61CFAA5}"/>
          </ac:spMkLst>
        </pc:spChg>
        <pc:spChg chg="add del mod">
          <ac:chgData name="Steiner Andreas 6206 ED" userId="e6377c33-a923-4f14-8587-531c474c7b48" providerId="ADAL" clId="{6ECD27E6-B224-41CD-B4E0-E297462320DD}" dt="2023-11-24T08:45:24.529" v="60559"/>
          <ac:spMkLst>
            <pc:docMk/>
            <pc:sldMk cId="2637169229" sldId="2147478574"/>
            <ac:spMk id="398" creationId="{1F1ECE16-7E4D-EB55-B38F-8899134796F5}"/>
          </ac:spMkLst>
        </pc:spChg>
        <pc:spChg chg="add del mod">
          <ac:chgData name="Steiner Andreas 6206 ED" userId="e6377c33-a923-4f14-8587-531c474c7b48" providerId="ADAL" clId="{6ECD27E6-B224-41CD-B4E0-E297462320DD}" dt="2023-11-24T08:45:26.484" v="60714"/>
          <ac:spMkLst>
            <pc:docMk/>
            <pc:sldMk cId="2637169229" sldId="2147478574"/>
            <ac:spMk id="399" creationId="{D16EA94C-AF14-9711-1C28-8D06883251B2}"/>
          </ac:spMkLst>
        </pc:spChg>
        <pc:spChg chg="add del mod">
          <ac:chgData name="Steiner Andreas 6206 ED" userId="e6377c33-a923-4f14-8587-531c474c7b48" providerId="ADAL" clId="{6ECD27E6-B224-41CD-B4E0-E297462320DD}" dt="2023-11-24T08:45:28.374" v="60869"/>
          <ac:spMkLst>
            <pc:docMk/>
            <pc:sldMk cId="2637169229" sldId="2147478574"/>
            <ac:spMk id="400" creationId="{53F7CFF3-D46C-5D28-4EFA-A3F741C92024}"/>
          </ac:spMkLst>
        </pc:spChg>
        <pc:spChg chg="add del mod">
          <ac:chgData name="Steiner Andreas 6206 ED" userId="e6377c33-a923-4f14-8587-531c474c7b48" providerId="ADAL" clId="{6ECD27E6-B224-41CD-B4E0-E297462320DD}" dt="2023-11-24T08:45:30.197" v="61024"/>
          <ac:spMkLst>
            <pc:docMk/>
            <pc:sldMk cId="2637169229" sldId="2147478574"/>
            <ac:spMk id="401" creationId="{C0162003-E7BA-57BE-CA2D-03D483A30DCD}"/>
          </ac:spMkLst>
        </pc:spChg>
        <pc:spChg chg="add del mod">
          <ac:chgData name="Steiner Andreas 6206 ED" userId="e6377c33-a923-4f14-8587-531c474c7b48" providerId="ADAL" clId="{6ECD27E6-B224-41CD-B4E0-E297462320DD}" dt="2023-11-24T08:45:32.071" v="61179"/>
          <ac:spMkLst>
            <pc:docMk/>
            <pc:sldMk cId="2637169229" sldId="2147478574"/>
            <ac:spMk id="402" creationId="{D5B84EB9-886B-7365-9655-C3D70E8001C5}"/>
          </ac:spMkLst>
        </pc:spChg>
        <pc:spChg chg="add del mod">
          <ac:chgData name="Steiner Andreas 6206 ED" userId="e6377c33-a923-4f14-8587-531c474c7b48" providerId="ADAL" clId="{6ECD27E6-B224-41CD-B4E0-E297462320DD}" dt="2023-11-24T08:45:34.198" v="61334"/>
          <ac:spMkLst>
            <pc:docMk/>
            <pc:sldMk cId="2637169229" sldId="2147478574"/>
            <ac:spMk id="403" creationId="{33515B9F-CF26-98EF-3881-24172ACC421C}"/>
          </ac:spMkLst>
        </pc:spChg>
        <pc:spChg chg="add del mod">
          <ac:chgData name="Steiner Andreas 6206 ED" userId="e6377c33-a923-4f14-8587-531c474c7b48" providerId="ADAL" clId="{6ECD27E6-B224-41CD-B4E0-E297462320DD}" dt="2023-11-24T08:45:36.253" v="61489"/>
          <ac:spMkLst>
            <pc:docMk/>
            <pc:sldMk cId="2637169229" sldId="2147478574"/>
            <ac:spMk id="404" creationId="{5EE3913E-D2BD-697C-5483-65AED4617E49}"/>
          </ac:spMkLst>
        </pc:spChg>
        <pc:spChg chg="add del mod">
          <ac:chgData name="Steiner Andreas 6206 ED" userId="e6377c33-a923-4f14-8587-531c474c7b48" providerId="ADAL" clId="{6ECD27E6-B224-41CD-B4E0-E297462320DD}" dt="2023-11-24T08:45:38.139" v="61644"/>
          <ac:spMkLst>
            <pc:docMk/>
            <pc:sldMk cId="2637169229" sldId="2147478574"/>
            <ac:spMk id="405" creationId="{9977EF78-83FF-9446-D4EE-946C77042117}"/>
          </ac:spMkLst>
        </pc:spChg>
        <pc:spChg chg="add del mod">
          <ac:chgData name="Steiner Andreas 6206 ED" userId="e6377c33-a923-4f14-8587-531c474c7b48" providerId="ADAL" clId="{6ECD27E6-B224-41CD-B4E0-E297462320DD}" dt="2023-11-24T08:45:40.019" v="61799"/>
          <ac:spMkLst>
            <pc:docMk/>
            <pc:sldMk cId="2637169229" sldId="2147478574"/>
            <ac:spMk id="406" creationId="{080A1116-3C2E-F43E-1A89-D20D7EA4C780}"/>
          </ac:spMkLst>
        </pc:spChg>
        <pc:spChg chg="add del mod">
          <ac:chgData name="Steiner Andreas 6206 ED" userId="e6377c33-a923-4f14-8587-531c474c7b48" providerId="ADAL" clId="{6ECD27E6-B224-41CD-B4E0-E297462320DD}" dt="2023-11-24T08:45:42.028" v="61954"/>
          <ac:spMkLst>
            <pc:docMk/>
            <pc:sldMk cId="2637169229" sldId="2147478574"/>
            <ac:spMk id="407" creationId="{20EFA996-F158-8B60-B9DA-970613D40146}"/>
          </ac:spMkLst>
        </pc:spChg>
        <pc:spChg chg="add del mod">
          <ac:chgData name="Steiner Andreas 6206 ED" userId="e6377c33-a923-4f14-8587-531c474c7b48" providerId="ADAL" clId="{6ECD27E6-B224-41CD-B4E0-E297462320DD}" dt="2023-11-24T08:45:44.014" v="62109"/>
          <ac:spMkLst>
            <pc:docMk/>
            <pc:sldMk cId="2637169229" sldId="2147478574"/>
            <ac:spMk id="408" creationId="{75A000AF-3C37-4276-A8B3-53D022843B3D}"/>
          </ac:spMkLst>
        </pc:spChg>
        <pc:spChg chg="add del mod">
          <ac:chgData name="Steiner Andreas 6206 ED" userId="e6377c33-a923-4f14-8587-531c474c7b48" providerId="ADAL" clId="{6ECD27E6-B224-41CD-B4E0-E297462320DD}" dt="2023-11-24T08:45:46.125" v="62264"/>
          <ac:spMkLst>
            <pc:docMk/>
            <pc:sldMk cId="2637169229" sldId="2147478574"/>
            <ac:spMk id="409" creationId="{2FCFBBFB-E395-628B-5F6C-D1A69427F965}"/>
          </ac:spMkLst>
        </pc:spChg>
        <pc:spChg chg="add del mod">
          <ac:chgData name="Steiner Andreas 6206 ED" userId="e6377c33-a923-4f14-8587-531c474c7b48" providerId="ADAL" clId="{6ECD27E6-B224-41CD-B4E0-E297462320DD}" dt="2023-11-24T08:45:48.023" v="62419"/>
          <ac:spMkLst>
            <pc:docMk/>
            <pc:sldMk cId="2637169229" sldId="2147478574"/>
            <ac:spMk id="410" creationId="{1DD151C1-A5D8-EAC4-D937-C9B42D7DF9ED}"/>
          </ac:spMkLst>
        </pc:spChg>
        <pc:spChg chg="add del mod">
          <ac:chgData name="Steiner Andreas 6206 ED" userId="e6377c33-a923-4f14-8587-531c474c7b48" providerId="ADAL" clId="{6ECD27E6-B224-41CD-B4E0-E297462320DD}" dt="2023-11-24T08:45:50.345" v="62574"/>
          <ac:spMkLst>
            <pc:docMk/>
            <pc:sldMk cId="2637169229" sldId="2147478574"/>
            <ac:spMk id="411" creationId="{17CA32A2-4E42-B772-979F-2141F58BA359}"/>
          </ac:spMkLst>
        </pc:spChg>
        <pc:spChg chg="add del mod">
          <ac:chgData name="Steiner Andreas 6206 ED" userId="e6377c33-a923-4f14-8587-531c474c7b48" providerId="ADAL" clId="{6ECD27E6-B224-41CD-B4E0-E297462320DD}" dt="2023-11-24T08:45:52.375" v="62729"/>
          <ac:spMkLst>
            <pc:docMk/>
            <pc:sldMk cId="2637169229" sldId="2147478574"/>
            <ac:spMk id="412" creationId="{8D2BA77F-DE73-E268-404A-6665BA0C3C10}"/>
          </ac:spMkLst>
        </pc:spChg>
        <pc:spChg chg="add del mod">
          <ac:chgData name="Steiner Andreas 6206 ED" userId="e6377c33-a923-4f14-8587-531c474c7b48" providerId="ADAL" clId="{6ECD27E6-B224-41CD-B4E0-E297462320DD}" dt="2023-11-24T08:45:54.394" v="62884"/>
          <ac:spMkLst>
            <pc:docMk/>
            <pc:sldMk cId="2637169229" sldId="2147478574"/>
            <ac:spMk id="413" creationId="{1F0F6EBB-9343-AC59-759B-9380A3CC522E}"/>
          </ac:spMkLst>
        </pc:spChg>
        <pc:spChg chg="add del mod">
          <ac:chgData name="Steiner Andreas 6206 ED" userId="e6377c33-a923-4f14-8587-531c474c7b48" providerId="ADAL" clId="{6ECD27E6-B224-41CD-B4E0-E297462320DD}" dt="2023-11-24T08:45:56.575" v="63039"/>
          <ac:spMkLst>
            <pc:docMk/>
            <pc:sldMk cId="2637169229" sldId="2147478574"/>
            <ac:spMk id="414" creationId="{BF49720C-AACB-2F8F-2395-BB6F4F4E3456}"/>
          </ac:spMkLst>
        </pc:spChg>
        <pc:spChg chg="add del mod">
          <ac:chgData name="Steiner Andreas 6206 ED" userId="e6377c33-a923-4f14-8587-531c474c7b48" providerId="ADAL" clId="{6ECD27E6-B224-41CD-B4E0-E297462320DD}" dt="2023-11-24T08:45:58.607" v="63194"/>
          <ac:spMkLst>
            <pc:docMk/>
            <pc:sldMk cId="2637169229" sldId="2147478574"/>
            <ac:spMk id="415" creationId="{323CE425-6AAC-540E-FE10-70C6CC4D70F3}"/>
          </ac:spMkLst>
        </pc:spChg>
        <pc:spChg chg="add del mod">
          <ac:chgData name="Steiner Andreas 6206 ED" userId="e6377c33-a923-4f14-8587-531c474c7b48" providerId="ADAL" clId="{6ECD27E6-B224-41CD-B4E0-E297462320DD}" dt="2023-11-24T08:46:00.690" v="63349"/>
          <ac:spMkLst>
            <pc:docMk/>
            <pc:sldMk cId="2637169229" sldId="2147478574"/>
            <ac:spMk id="416" creationId="{0303F426-8CD2-22C8-DB83-304F2AB0C5D8}"/>
          </ac:spMkLst>
        </pc:spChg>
        <pc:spChg chg="add del mod">
          <ac:chgData name="Steiner Andreas 6206 ED" userId="e6377c33-a923-4f14-8587-531c474c7b48" providerId="ADAL" clId="{6ECD27E6-B224-41CD-B4E0-E297462320DD}" dt="2023-11-24T08:46:02.765" v="63504"/>
          <ac:spMkLst>
            <pc:docMk/>
            <pc:sldMk cId="2637169229" sldId="2147478574"/>
            <ac:spMk id="417" creationId="{0973EE00-7C4E-D20B-C6FA-189942702208}"/>
          </ac:spMkLst>
        </pc:spChg>
        <pc:spChg chg="add del mod">
          <ac:chgData name="Steiner Andreas 6206 ED" userId="e6377c33-a923-4f14-8587-531c474c7b48" providerId="ADAL" clId="{6ECD27E6-B224-41CD-B4E0-E297462320DD}" dt="2023-11-24T08:46:05.157" v="63659"/>
          <ac:spMkLst>
            <pc:docMk/>
            <pc:sldMk cId="2637169229" sldId="2147478574"/>
            <ac:spMk id="418" creationId="{A2994190-547C-F263-84F8-FAE18F39DB77}"/>
          </ac:spMkLst>
        </pc:spChg>
        <pc:spChg chg="add del mod">
          <ac:chgData name="Steiner Andreas 6206 ED" userId="e6377c33-a923-4f14-8587-531c474c7b48" providerId="ADAL" clId="{6ECD27E6-B224-41CD-B4E0-E297462320DD}" dt="2023-11-24T08:46:07.688" v="63814"/>
          <ac:spMkLst>
            <pc:docMk/>
            <pc:sldMk cId="2637169229" sldId="2147478574"/>
            <ac:spMk id="419" creationId="{9D347357-DF50-5CEF-6D22-4BBB4580680D}"/>
          </ac:spMkLst>
        </pc:spChg>
        <pc:spChg chg="add del mod">
          <ac:chgData name="Steiner Andreas 6206 ED" userId="e6377c33-a923-4f14-8587-531c474c7b48" providerId="ADAL" clId="{6ECD27E6-B224-41CD-B4E0-E297462320DD}" dt="2023-11-24T08:46:09.882" v="63969"/>
          <ac:spMkLst>
            <pc:docMk/>
            <pc:sldMk cId="2637169229" sldId="2147478574"/>
            <ac:spMk id="420" creationId="{ED4D6C1F-3A67-477E-30FA-689FD8D28C41}"/>
          </ac:spMkLst>
        </pc:spChg>
        <pc:spChg chg="add del mod">
          <ac:chgData name="Steiner Andreas 6206 ED" userId="e6377c33-a923-4f14-8587-531c474c7b48" providerId="ADAL" clId="{6ECD27E6-B224-41CD-B4E0-E297462320DD}" dt="2023-11-24T08:46:12.069" v="64124"/>
          <ac:spMkLst>
            <pc:docMk/>
            <pc:sldMk cId="2637169229" sldId="2147478574"/>
            <ac:spMk id="421" creationId="{A0B75259-C624-843D-ECF0-E79EA36DCF58}"/>
          </ac:spMkLst>
        </pc:spChg>
        <pc:spChg chg="add del mod">
          <ac:chgData name="Steiner Andreas 6206 ED" userId="e6377c33-a923-4f14-8587-531c474c7b48" providerId="ADAL" clId="{6ECD27E6-B224-41CD-B4E0-E297462320DD}" dt="2023-11-24T08:46:14.234" v="64279"/>
          <ac:spMkLst>
            <pc:docMk/>
            <pc:sldMk cId="2637169229" sldId="2147478574"/>
            <ac:spMk id="422" creationId="{ED4A14D2-2474-56D7-6C16-E39A381EC31E}"/>
          </ac:spMkLst>
        </pc:spChg>
        <pc:spChg chg="add del mod">
          <ac:chgData name="Steiner Andreas 6206 ED" userId="e6377c33-a923-4f14-8587-531c474c7b48" providerId="ADAL" clId="{6ECD27E6-B224-41CD-B4E0-E297462320DD}" dt="2023-11-24T08:46:16.452" v="64434"/>
          <ac:spMkLst>
            <pc:docMk/>
            <pc:sldMk cId="2637169229" sldId="2147478574"/>
            <ac:spMk id="423" creationId="{C3E002E5-935A-C9A7-647E-CFF1F478B9DE}"/>
          </ac:spMkLst>
        </pc:spChg>
        <pc:spChg chg="add del mod">
          <ac:chgData name="Steiner Andreas 6206 ED" userId="e6377c33-a923-4f14-8587-531c474c7b48" providerId="ADAL" clId="{6ECD27E6-B224-41CD-B4E0-E297462320DD}" dt="2023-11-24T08:46:18.320" v="64589"/>
          <ac:spMkLst>
            <pc:docMk/>
            <pc:sldMk cId="2637169229" sldId="2147478574"/>
            <ac:spMk id="424" creationId="{3D1A9D25-C51E-FEF0-7492-7D106EF829BB}"/>
          </ac:spMkLst>
        </pc:spChg>
        <pc:spChg chg="add del mod">
          <ac:chgData name="Steiner Andreas 6206 ED" userId="e6377c33-a923-4f14-8587-531c474c7b48" providerId="ADAL" clId="{6ECD27E6-B224-41CD-B4E0-E297462320DD}" dt="2023-11-24T08:46:20.848" v="64744"/>
          <ac:spMkLst>
            <pc:docMk/>
            <pc:sldMk cId="2637169229" sldId="2147478574"/>
            <ac:spMk id="425" creationId="{7A748175-ED83-9024-6401-E9653E210CBF}"/>
          </ac:spMkLst>
        </pc:spChg>
        <pc:spChg chg="add del mod">
          <ac:chgData name="Steiner Andreas 6206 ED" userId="e6377c33-a923-4f14-8587-531c474c7b48" providerId="ADAL" clId="{6ECD27E6-B224-41CD-B4E0-E297462320DD}" dt="2023-11-24T08:46:23.093" v="64899"/>
          <ac:spMkLst>
            <pc:docMk/>
            <pc:sldMk cId="2637169229" sldId="2147478574"/>
            <ac:spMk id="426" creationId="{FACBDB97-A236-44D2-1119-92410D3C9ED4}"/>
          </ac:spMkLst>
        </pc:spChg>
        <pc:spChg chg="add del mod">
          <ac:chgData name="Steiner Andreas 6206 ED" userId="e6377c33-a923-4f14-8587-531c474c7b48" providerId="ADAL" clId="{6ECD27E6-B224-41CD-B4E0-E297462320DD}" dt="2023-11-24T08:46:25.358" v="65054"/>
          <ac:spMkLst>
            <pc:docMk/>
            <pc:sldMk cId="2637169229" sldId="2147478574"/>
            <ac:spMk id="427" creationId="{0D1FA0FF-4F27-4557-1E83-9F1C9E0356D7}"/>
          </ac:spMkLst>
        </pc:spChg>
        <pc:spChg chg="add del mod">
          <ac:chgData name="Steiner Andreas 6206 ED" userId="e6377c33-a923-4f14-8587-531c474c7b48" providerId="ADAL" clId="{6ECD27E6-B224-41CD-B4E0-E297462320DD}" dt="2023-11-24T08:46:27.683" v="65209"/>
          <ac:spMkLst>
            <pc:docMk/>
            <pc:sldMk cId="2637169229" sldId="2147478574"/>
            <ac:spMk id="428" creationId="{83AFF8A0-1B80-7837-C304-61DF79E68BAA}"/>
          </ac:spMkLst>
        </pc:spChg>
        <pc:spChg chg="add del mod">
          <ac:chgData name="Steiner Andreas 6206 ED" userId="e6377c33-a923-4f14-8587-531c474c7b48" providerId="ADAL" clId="{6ECD27E6-B224-41CD-B4E0-E297462320DD}" dt="2023-11-24T08:46:29.702" v="65364"/>
          <ac:spMkLst>
            <pc:docMk/>
            <pc:sldMk cId="2637169229" sldId="2147478574"/>
            <ac:spMk id="429" creationId="{9D019881-6081-D042-BD70-F28DE69C820A}"/>
          </ac:spMkLst>
        </pc:spChg>
        <pc:spChg chg="add del mod">
          <ac:chgData name="Steiner Andreas 6206 ED" userId="e6377c33-a923-4f14-8587-531c474c7b48" providerId="ADAL" clId="{6ECD27E6-B224-41CD-B4E0-E297462320DD}" dt="2023-11-24T08:46:32.184" v="65519"/>
          <ac:spMkLst>
            <pc:docMk/>
            <pc:sldMk cId="2637169229" sldId="2147478574"/>
            <ac:spMk id="430" creationId="{330F0F43-7465-42FF-4416-9E1C5587442B}"/>
          </ac:spMkLst>
        </pc:spChg>
        <pc:spChg chg="add del mod">
          <ac:chgData name="Steiner Andreas 6206 ED" userId="e6377c33-a923-4f14-8587-531c474c7b48" providerId="ADAL" clId="{6ECD27E6-B224-41CD-B4E0-E297462320DD}" dt="2023-11-24T08:46:34.250" v="65674"/>
          <ac:spMkLst>
            <pc:docMk/>
            <pc:sldMk cId="2637169229" sldId="2147478574"/>
            <ac:spMk id="431" creationId="{1D16A001-BF20-753F-A94E-83ED8BB2B681}"/>
          </ac:spMkLst>
        </pc:spChg>
        <pc:spChg chg="add del mod">
          <ac:chgData name="Steiner Andreas 6206 ED" userId="e6377c33-a923-4f14-8587-531c474c7b48" providerId="ADAL" clId="{6ECD27E6-B224-41CD-B4E0-E297462320DD}" dt="2023-11-24T08:46:36.184" v="65829"/>
          <ac:spMkLst>
            <pc:docMk/>
            <pc:sldMk cId="2637169229" sldId="2147478574"/>
            <ac:spMk id="432" creationId="{54421A7F-C60D-FB66-65FE-0D42939C6677}"/>
          </ac:spMkLst>
        </pc:spChg>
        <pc:spChg chg="add del mod">
          <ac:chgData name="Steiner Andreas 6206 ED" userId="e6377c33-a923-4f14-8587-531c474c7b48" providerId="ADAL" clId="{6ECD27E6-B224-41CD-B4E0-E297462320DD}" dt="2023-11-24T08:46:38.265" v="65984"/>
          <ac:spMkLst>
            <pc:docMk/>
            <pc:sldMk cId="2637169229" sldId="2147478574"/>
            <ac:spMk id="433" creationId="{CFEB7964-92B5-C781-6F5A-AB64F707C800}"/>
          </ac:spMkLst>
        </pc:spChg>
        <pc:spChg chg="add del mod">
          <ac:chgData name="Steiner Andreas 6206 ED" userId="e6377c33-a923-4f14-8587-531c474c7b48" providerId="ADAL" clId="{6ECD27E6-B224-41CD-B4E0-E297462320DD}" dt="2023-11-24T08:46:40.339" v="66139"/>
          <ac:spMkLst>
            <pc:docMk/>
            <pc:sldMk cId="2637169229" sldId="2147478574"/>
            <ac:spMk id="434" creationId="{FFC71445-292B-52AC-8F78-6F527C07AF44}"/>
          </ac:spMkLst>
        </pc:spChg>
        <pc:spChg chg="add del mod">
          <ac:chgData name="Steiner Andreas 6206 ED" userId="e6377c33-a923-4f14-8587-531c474c7b48" providerId="ADAL" clId="{6ECD27E6-B224-41CD-B4E0-E297462320DD}" dt="2023-11-24T08:46:42.616" v="66294"/>
          <ac:spMkLst>
            <pc:docMk/>
            <pc:sldMk cId="2637169229" sldId="2147478574"/>
            <ac:spMk id="435" creationId="{38779E98-38C0-212A-FBBA-ADEC995E9270}"/>
          </ac:spMkLst>
        </pc:spChg>
        <pc:spChg chg="add del mod">
          <ac:chgData name="Steiner Andreas 6206 ED" userId="e6377c33-a923-4f14-8587-531c474c7b48" providerId="ADAL" clId="{6ECD27E6-B224-41CD-B4E0-E297462320DD}" dt="2023-11-24T08:46:44.730" v="66449"/>
          <ac:spMkLst>
            <pc:docMk/>
            <pc:sldMk cId="2637169229" sldId="2147478574"/>
            <ac:spMk id="436" creationId="{8405F953-861D-FECE-BFB6-1C78518521C5}"/>
          </ac:spMkLst>
        </pc:spChg>
        <pc:spChg chg="add del mod">
          <ac:chgData name="Steiner Andreas 6206 ED" userId="e6377c33-a923-4f14-8587-531c474c7b48" providerId="ADAL" clId="{6ECD27E6-B224-41CD-B4E0-E297462320DD}" dt="2023-11-24T08:46:46.802" v="66604"/>
          <ac:spMkLst>
            <pc:docMk/>
            <pc:sldMk cId="2637169229" sldId="2147478574"/>
            <ac:spMk id="437" creationId="{6E9161BC-5F08-DFF9-255D-C9B1AA815698}"/>
          </ac:spMkLst>
        </pc:spChg>
        <pc:spChg chg="add del mod">
          <ac:chgData name="Steiner Andreas 6206 ED" userId="e6377c33-a923-4f14-8587-531c474c7b48" providerId="ADAL" clId="{6ECD27E6-B224-41CD-B4E0-E297462320DD}" dt="2023-11-24T08:46:48.940" v="66759"/>
          <ac:spMkLst>
            <pc:docMk/>
            <pc:sldMk cId="2637169229" sldId="2147478574"/>
            <ac:spMk id="438" creationId="{029A3250-6EDF-5A11-7A71-FD4E67E9BF96}"/>
          </ac:spMkLst>
        </pc:spChg>
        <pc:spChg chg="add del mod">
          <ac:chgData name="Steiner Andreas 6206 ED" userId="e6377c33-a923-4f14-8587-531c474c7b48" providerId="ADAL" clId="{6ECD27E6-B224-41CD-B4E0-E297462320DD}" dt="2023-11-24T08:46:50.992" v="66914"/>
          <ac:spMkLst>
            <pc:docMk/>
            <pc:sldMk cId="2637169229" sldId="2147478574"/>
            <ac:spMk id="439" creationId="{CE69BA51-E86F-8F3F-6004-895EA6BEAF9B}"/>
          </ac:spMkLst>
        </pc:spChg>
        <pc:spChg chg="add del mod">
          <ac:chgData name="Steiner Andreas 6206 ED" userId="e6377c33-a923-4f14-8587-531c474c7b48" providerId="ADAL" clId="{6ECD27E6-B224-41CD-B4E0-E297462320DD}" dt="2023-11-24T08:46:53.043" v="67069"/>
          <ac:spMkLst>
            <pc:docMk/>
            <pc:sldMk cId="2637169229" sldId="2147478574"/>
            <ac:spMk id="440" creationId="{82096D93-6989-A69D-F9DB-8D8D2DD7713B}"/>
          </ac:spMkLst>
        </pc:spChg>
        <pc:spChg chg="add del mod">
          <ac:chgData name="Steiner Andreas 6206 ED" userId="e6377c33-a923-4f14-8587-531c474c7b48" providerId="ADAL" clId="{6ECD27E6-B224-41CD-B4E0-E297462320DD}" dt="2023-11-24T08:46:55.013" v="67224"/>
          <ac:spMkLst>
            <pc:docMk/>
            <pc:sldMk cId="2637169229" sldId="2147478574"/>
            <ac:spMk id="441" creationId="{1BAC0B82-E4B4-AD3B-58F3-C54F45EA32DD}"/>
          </ac:spMkLst>
        </pc:spChg>
        <pc:spChg chg="add del mod">
          <ac:chgData name="Steiner Andreas 6206 ED" userId="e6377c33-a923-4f14-8587-531c474c7b48" providerId="ADAL" clId="{6ECD27E6-B224-41CD-B4E0-E297462320DD}" dt="2023-11-24T08:46:56.986" v="67379"/>
          <ac:spMkLst>
            <pc:docMk/>
            <pc:sldMk cId="2637169229" sldId="2147478574"/>
            <ac:spMk id="442" creationId="{14410B5A-451C-DE2F-15E8-F73F76AB1EDA}"/>
          </ac:spMkLst>
        </pc:spChg>
        <pc:spChg chg="add del mod">
          <ac:chgData name="Steiner Andreas 6206 ED" userId="e6377c33-a923-4f14-8587-531c474c7b48" providerId="ADAL" clId="{6ECD27E6-B224-41CD-B4E0-E297462320DD}" dt="2023-11-24T08:46:58.850" v="67534"/>
          <ac:spMkLst>
            <pc:docMk/>
            <pc:sldMk cId="2637169229" sldId="2147478574"/>
            <ac:spMk id="443" creationId="{0663D8E7-2659-48F7-80BF-B80FC3A19820}"/>
          </ac:spMkLst>
        </pc:spChg>
        <pc:spChg chg="add del mod">
          <ac:chgData name="Steiner Andreas 6206 ED" userId="e6377c33-a923-4f14-8587-531c474c7b48" providerId="ADAL" clId="{6ECD27E6-B224-41CD-B4E0-E297462320DD}" dt="2023-11-24T08:47:00.958" v="67689"/>
          <ac:spMkLst>
            <pc:docMk/>
            <pc:sldMk cId="2637169229" sldId="2147478574"/>
            <ac:spMk id="444" creationId="{9DA200AD-9001-3BF7-10FE-053F1208B15C}"/>
          </ac:spMkLst>
        </pc:spChg>
        <pc:spChg chg="add del mod">
          <ac:chgData name="Steiner Andreas 6206 ED" userId="e6377c33-a923-4f14-8587-531c474c7b48" providerId="ADAL" clId="{6ECD27E6-B224-41CD-B4E0-E297462320DD}" dt="2023-11-24T08:47:03.113" v="67844"/>
          <ac:spMkLst>
            <pc:docMk/>
            <pc:sldMk cId="2637169229" sldId="2147478574"/>
            <ac:spMk id="445" creationId="{356F69FB-7C99-F033-F930-0F4AD42AB5B3}"/>
          </ac:spMkLst>
        </pc:spChg>
        <pc:spChg chg="add del mod">
          <ac:chgData name="Steiner Andreas 6206 ED" userId="e6377c33-a923-4f14-8587-531c474c7b48" providerId="ADAL" clId="{6ECD27E6-B224-41CD-B4E0-E297462320DD}" dt="2023-11-24T08:47:05.112" v="67999"/>
          <ac:spMkLst>
            <pc:docMk/>
            <pc:sldMk cId="2637169229" sldId="2147478574"/>
            <ac:spMk id="446" creationId="{80839A35-D812-CBFB-0014-C60A5D3BD56E}"/>
          </ac:spMkLst>
        </pc:spChg>
        <pc:spChg chg="add del mod">
          <ac:chgData name="Steiner Andreas 6206 ED" userId="e6377c33-a923-4f14-8587-531c474c7b48" providerId="ADAL" clId="{6ECD27E6-B224-41CD-B4E0-E297462320DD}" dt="2023-11-24T08:47:06.887" v="68154"/>
          <ac:spMkLst>
            <pc:docMk/>
            <pc:sldMk cId="2637169229" sldId="2147478574"/>
            <ac:spMk id="447" creationId="{1577905A-357B-7970-3AB2-BD9012313009}"/>
          </ac:spMkLst>
        </pc:spChg>
        <pc:spChg chg="add del mod">
          <ac:chgData name="Steiner Andreas 6206 ED" userId="e6377c33-a923-4f14-8587-531c474c7b48" providerId="ADAL" clId="{6ECD27E6-B224-41CD-B4E0-E297462320DD}" dt="2023-11-24T08:47:08.779" v="68309"/>
          <ac:spMkLst>
            <pc:docMk/>
            <pc:sldMk cId="2637169229" sldId="2147478574"/>
            <ac:spMk id="448" creationId="{D17C76B7-C759-D8A4-9D97-B8DA2BEBA017}"/>
          </ac:spMkLst>
        </pc:spChg>
        <pc:spChg chg="add del mod">
          <ac:chgData name="Steiner Andreas 6206 ED" userId="e6377c33-a923-4f14-8587-531c474c7b48" providerId="ADAL" clId="{6ECD27E6-B224-41CD-B4E0-E297462320DD}" dt="2023-11-24T08:47:10.660" v="68464"/>
          <ac:spMkLst>
            <pc:docMk/>
            <pc:sldMk cId="2637169229" sldId="2147478574"/>
            <ac:spMk id="449" creationId="{D586FB98-C9F6-D6E9-B98C-A740A9DB7FC5}"/>
          </ac:spMkLst>
        </pc:spChg>
        <pc:spChg chg="add del mod">
          <ac:chgData name="Steiner Andreas 6206 ED" userId="e6377c33-a923-4f14-8587-531c474c7b48" providerId="ADAL" clId="{6ECD27E6-B224-41CD-B4E0-E297462320DD}" dt="2023-11-24T08:47:12.535" v="68619"/>
          <ac:spMkLst>
            <pc:docMk/>
            <pc:sldMk cId="2637169229" sldId="2147478574"/>
            <ac:spMk id="450" creationId="{5F2FA2A1-64FD-F807-81E5-9CD166D04B97}"/>
          </ac:spMkLst>
        </pc:spChg>
        <pc:spChg chg="add del mod">
          <ac:chgData name="Steiner Andreas 6206 ED" userId="e6377c33-a923-4f14-8587-531c474c7b48" providerId="ADAL" clId="{6ECD27E6-B224-41CD-B4E0-E297462320DD}" dt="2023-11-24T08:47:14.695" v="68774"/>
          <ac:spMkLst>
            <pc:docMk/>
            <pc:sldMk cId="2637169229" sldId="2147478574"/>
            <ac:spMk id="451" creationId="{1D728FB3-84C9-FE59-69AF-E3B05A94DC90}"/>
          </ac:spMkLst>
        </pc:spChg>
        <pc:spChg chg="add del mod">
          <ac:chgData name="Steiner Andreas 6206 ED" userId="e6377c33-a923-4f14-8587-531c474c7b48" providerId="ADAL" clId="{6ECD27E6-B224-41CD-B4E0-E297462320DD}" dt="2023-11-24T08:47:16.658" v="68929"/>
          <ac:spMkLst>
            <pc:docMk/>
            <pc:sldMk cId="2637169229" sldId="2147478574"/>
            <ac:spMk id="452" creationId="{7061EACE-4B07-31C3-E3A5-B94EC6184BD1}"/>
          </ac:spMkLst>
        </pc:spChg>
        <pc:spChg chg="add del mod">
          <ac:chgData name="Steiner Andreas 6206 ED" userId="e6377c33-a923-4f14-8587-531c474c7b48" providerId="ADAL" clId="{6ECD27E6-B224-41CD-B4E0-E297462320DD}" dt="2023-11-24T08:47:18.575" v="69084"/>
          <ac:spMkLst>
            <pc:docMk/>
            <pc:sldMk cId="2637169229" sldId="2147478574"/>
            <ac:spMk id="453" creationId="{CC4A0C24-A45F-E333-9238-8A5C51F03CBA}"/>
          </ac:spMkLst>
        </pc:spChg>
        <pc:spChg chg="add del mod">
          <ac:chgData name="Steiner Andreas 6206 ED" userId="e6377c33-a923-4f14-8587-531c474c7b48" providerId="ADAL" clId="{6ECD27E6-B224-41CD-B4E0-E297462320DD}" dt="2023-11-24T08:47:20.563" v="69239"/>
          <ac:spMkLst>
            <pc:docMk/>
            <pc:sldMk cId="2637169229" sldId="2147478574"/>
            <ac:spMk id="454" creationId="{6A3F90F3-273A-C512-2B97-EF7EBE7AFF65}"/>
          </ac:spMkLst>
        </pc:spChg>
        <pc:spChg chg="add del mod">
          <ac:chgData name="Steiner Andreas 6206 ED" userId="e6377c33-a923-4f14-8587-531c474c7b48" providerId="ADAL" clId="{6ECD27E6-B224-41CD-B4E0-E297462320DD}" dt="2023-11-24T08:47:22.944" v="69394"/>
          <ac:spMkLst>
            <pc:docMk/>
            <pc:sldMk cId="2637169229" sldId="2147478574"/>
            <ac:spMk id="455" creationId="{118D14E4-2975-93FB-C872-3A31811DFE27}"/>
          </ac:spMkLst>
        </pc:spChg>
        <pc:spChg chg="add del mod">
          <ac:chgData name="Steiner Andreas 6206 ED" userId="e6377c33-a923-4f14-8587-531c474c7b48" providerId="ADAL" clId="{6ECD27E6-B224-41CD-B4E0-E297462320DD}" dt="2023-11-24T08:47:25.618" v="69549"/>
          <ac:spMkLst>
            <pc:docMk/>
            <pc:sldMk cId="2637169229" sldId="2147478574"/>
            <ac:spMk id="456" creationId="{16AD567E-F28F-FD42-1D59-42E9C5D7B2F5}"/>
          </ac:spMkLst>
        </pc:spChg>
        <pc:spChg chg="add del mod">
          <ac:chgData name="Steiner Andreas 6206 ED" userId="e6377c33-a923-4f14-8587-531c474c7b48" providerId="ADAL" clId="{6ECD27E6-B224-41CD-B4E0-E297462320DD}" dt="2023-11-24T08:47:27.816" v="69704"/>
          <ac:spMkLst>
            <pc:docMk/>
            <pc:sldMk cId="2637169229" sldId="2147478574"/>
            <ac:spMk id="457" creationId="{5912D426-B5E1-C123-173F-57FBA957786F}"/>
          </ac:spMkLst>
        </pc:spChg>
        <pc:spChg chg="add del mod">
          <ac:chgData name="Steiner Andreas 6206 ED" userId="e6377c33-a923-4f14-8587-531c474c7b48" providerId="ADAL" clId="{6ECD27E6-B224-41CD-B4E0-E297462320DD}" dt="2023-11-24T08:47:29.886" v="69859"/>
          <ac:spMkLst>
            <pc:docMk/>
            <pc:sldMk cId="2637169229" sldId="2147478574"/>
            <ac:spMk id="458" creationId="{4EBE54FF-1651-9B90-4BFD-31D80FE25492}"/>
          </ac:spMkLst>
        </pc:spChg>
        <pc:spChg chg="add del mod">
          <ac:chgData name="Steiner Andreas 6206 ED" userId="e6377c33-a923-4f14-8587-531c474c7b48" providerId="ADAL" clId="{6ECD27E6-B224-41CD-B4E0-E297462320DD}" dt="2023-11-24T08:47:31.853" v="70014"/>
          <ac:spMkLst>
            <pc:docMk/>
            <pc:sldMk cId="2637169229" sldId="2147478574"/>
            <ac:spMk id="459" creationId="{AB9C5BAC-B071-B3C8-3759-21115A8A7127}"/>
          </ac:spMkLst>
        </pc:spChg>
        <pc:spChg chg="add del mod">
          <ac:chgData name="Steiner Andreas 6206 ED" userId="e6377c33-a923-4f14-8587-531c474c7b48" providerId="ADAL" clId="{6ECD27E6-B224-41CD-B4E0-E297462320DD}" dt="2023-11-24T08:47:33.842" v="70169"/>
          <ac:spMkLst>
            <pc:docMk/>
            <pc:sldMk cId="2637169229" sldId="2147478574"/>
            <ac:spMk id="460" creationId="{16190027-25A2-0A70-C222-B5015CC3A0B9}"/>
          </ac:spMkLst>
        </pc:spChg>
        <pc:spChg chg="add del mod">
          <ac:chgData name="Steiner Andreas 6206 ED" userId="e6377c33-a923-4f14-8587-531c474c7b48" providerId="ADAL" clId="{6ECD27E6-B224-41CD-B4E0-E297462320DD}" dt="2023-11-24T08:47:36.003" v="70324"/>
          <ac:spMkLst>
            <pc:docMk/>
            <pc:sldMk cId="2637169229" sldId="2147478574"/>
            <ac:spMk id="461" creationId="{5F05C06B-F56D-6F0C-D56B-1CBAACAB63D2}"/>
          </ac:spMkLst>
        </pc:spChg>
        <pc:spChg chg="add del mod">
          <ac:chgData name="Steiner Andreas 6206 ED" userId="e6377c33-a923-4f14-8587-531c474c7b48" providerId="ADAL" clId="{6ECD27E6-B224-41CD-B4E0-E297462320DD}" dt="2023-11-24T08:47:38.102" v="70479"/>
          <ac:spMkLst>
            <pc:docMk/>
            <pc:sldMk cId="2637169229" sldId="2147478574"/>
            <ac:spMk id="462" creationId="{A95D0FD8-D649-D17B-FF29-5090EA861F25}"/>
          </ac:spMkLst>
        </pc:spChg>
        <pc:spChg chg="add del mod">
          <ac:chgData name="Steiner Andreas 6206 ED" userId="e6377c33-a923-4f14-8587-531c474c7b48" providerId="ADAL" clId="{6ECD27E6-B224-41CD-B4E0-E297462320DD}" dt="2023-11-24T08:47:40.184" v="70634"/>
          <ac:spMkLst>
            <pc:docMk/>
            <pc:sldMk cId="2637169229" sldId="2147478574"/>
            <ac:spMk id="463" creationId="{A6C1E025-34EF-DBB1-EAEA-49CB9C51D497}"/>
          </ac:spMkLst>
        </pc:spChg>
        <pc:spChg chg="add del mod">
          <ac:chgData name="Steiner Andreas 6206 ED" userId="e6377c33-a923-4f14-8587-531c474c7b48" providerId="ADAL" clId="{6ECD27E6-B224-41CD-B4E0-E297462320DD}" dt="2023-11-24T08:47:42.106" v="70789"/>
          <ac:spMkLst>
            <pc:docMk/>
            <pc:sldMk cId="2637169229" sldId="2147478574"/>
            <ac:spMk id="464" creationId="{87AA1EBF-0076-993D-3709-BAC28AD20052}"/>
          </ac:spMkLst>
        </pc:spChg>
        <pc:spChg chg="add del mod">
          <ac:chgData name="Steiner Andreas 6206 ED" userId="e6377c33-a923-4f14-8587-531c474c7b48" providerId="ADAL" clId="{6ECD27E6-B224-41CD-B4E0-E297462320DD}" dt="2023-11-24T08:47:44.025" v="70944"/>
          <ac:spMkLst>
            <pc:docMk/>
            <pc:sldMk cId="2637169229" sldId="2147478574"/>
            <ac:spMk id="465" creationId="{A2151F6E-453C-7AA9-6325-E3BEDA797844}"/>
          </ac:spMkLst>
        </pc:spChg>
        <pc:spChg chg="add del mod">
          <ac:chgData name="Steiner Andreas 6206 ED" userId="e6377c33-a923-4f14-8587-531c474c7b48" providerId="ADAL" clId="{6ECD27E6-B224-41CD-B4E0-E297462320DD}" dt="2023-11-24T08:47:45.957" v="71099"/>
          <ac:spMkLst>
            <pc:docMk/>
            <pc:sldMk cId="2637169229" sldId="2147478574"/>
            <ac:spMk id="466" creationId="{454702E4-D6A2-D21B-58D1-949FCD19EB5F}"/>
          </ac:spMkLst>
        </pc:spChg>
        <pc:spChg chg="add del mod">
          <ac:chgData name="Steiner Andreas 6206 ED" userId="e6377c33-a923-4f14-8587-531c474c7b48" providerId="ADAL" clId="{6ECD27E6-B224-41CD-B4E0-E297462320DD}" dt="2023-11-24T08:47:48.042" v="71254"/>
          <ac:spMkLst>
            <pc:docMk/>
            <pc:sldMk cId="2637169229" sldId="2147478574"/>
            <ac:spMk id="467" creationId="{E0E48EFB-FD72-1294-BD48-D7DAE680AAB3}"/>
          </ac:spMkLst>
        </pc:spChg>
        <pc:spChg chg="add del mod">
          <ac:chgData name="Steiner Andreas 6206 ED" userId="e6377c33-a923-4f14-8587-531c474c7b48" providerId="ADAL" clId="{6ECD27E6-B224-41CD-B4E0-E297462320DD}" dt="2023-11-24T08:47:50.149" v="71409"/>
          <ac:spMkLst>
            <pc:docMk/>
            <pc:sldMk cId="2637169229" sldId="2147478574"/>
            <ac:spMk id="468" creationId="{F4DD4A1C-339B-C135-0CCB-FC924850E7FE}"/>
          </ac:spMkLst>
        </pc:spChg>
        <pc:spChg chg="add del mod">
          <ac:chgData name="Steiner Andreas 6206 ED" userId="e6377c33-a923-4f14-8587-531c474c7b48" providerId="ADAL" clId="{6ECD27E6-B224-41CD-B4E0-E297462320DD}" dt="2023-11-24T08:47:52.059" v="71564"/>
          <ac:spMkLst>
            <pc:docMk/>
            <pc:sldMk cId="2637169229" sldId="2147478574"/>
            <ac:spMk id="469" creationId="{9C793AF3-7AD7-D5D3-D336-B67E51CAEE6A}"/>
          </ac:spMkLst>
        </pc:spChg>
        <pc:spChg chg="add del mod">
          <ac:chgData name="Steiner Andreas 6206 ED" userId="e6377c33-a923-4f14-8587-531c474c7b48" providerId="ADAL" clId="{6ECD27E6-B224-41CD-B4E0-E297462320DD}" dt="2023-11-24T08:47:54.008" v="71719"/>
          <ac:spMkLst>
            <pc:docMk/>
            <pc:sldMk cId="2637169229" sldId="2147478574"/>
            <ac:spMk id="470" creationId="{943B322D-7426-FB3D-36FF-607928964F9B}"/>
          </ac:spMkLst>
        </pc:spChg>
        <pc:spChg chg="add del mod">
          <ac:chgData name="Steiner Andreas 6206 ED" userId="e6377c33-a923-4f14-8587-531c474c7b48" providerId="ADAL" clId="{6ECD27E6-B224-41CD-B4E0-E297462320DD}" dt="2023-11-24T08:47:55.844" v="71874"/>
          <ac:spMkLst>
            <pc:docMk/>
            <pc:sldMk cId="2637169229" sldId="2147478574"/>
            <ac:spMk id="471" creationId="{7D2D2E3F-5CA3-FF69-33D4-65007E57E147}"/>
          </ac:spMkLst>
        </pc:spChg>
        <pc:spChg chg="add del mod">
          <ac:chgData name="Steiner Andreas 6206 ED" userId="e6377c33-a923-4f14-8587-531c474c7b48" providerId="ADAL" clId="{6ECD27E6-B224-41CD-B4E0-E297462320DD}" dt="2023-11-24T08:47:57.839" v="72029"/>
          <ac:spMkLst>
            <pc:docMk/>
            <pc:sldMk cId="2637169229" sldId="2147478574"/>
            <ac:spMk id="472" creationId="{75F6642D-C8F6-902D-CBC5-587DD5721142}"/>
          </ac:spMkLst>
        </pc:spChg>
        <pc:spChg chg="add del mod">
          <ac:chgData name="Steiner Andreas 6206 ED" userId="e6377c33-a923-4f14-8587-531c474c7b48" providerId="ADAL" clId="{6ECD27E6-B224-41CD-B4E0-E297462320DD}" dt="2023-11-24T08:47:59.967" v="72184"/>
          <ac:spMkLst>
            <pc:docMk/>
            <pc:sldMk cId="2637169229" sldId="2147478574"/>
            <ac:spMk id="473" creationId="{4DC2CD05-6585-E0E8-9595-EF2574894B3C}"/>
          </ac:spMkLst>
        </pc:spChg>
        <pc:spChg chg="add del mod">
          <ac:chgData name="Steiner Andreas 6206 ED" userId="e6377c33-a923-4f14-8587-531c474c7b48" providerId="ADAL" clId="{6ECD27E6-B224-41CD-B4E0-E297462320DD}" dt="2023-11-24T08:48:02.097" v="72339"/>
          <ac:spMkLst>
            <pc:docMk/>
            <pc:sldMk cId="2637169229" sldId="2147478574"/>
            <ac:spMk id="474" creationId="{A1BF6FDA-2E54-8B86-A058-264AA00369BF}"/>
          </ac:spMkLst>
        </pc:spChg>
        <pc:spChg chg="add del mod">
          <ac:chgData name="Steiner Andreas 6206 ED" userId="e6377c33-a923-4f14-8587-531c474c7b48" providerId="ADAL" clId="{6ECD27E6-B224-41CD-B4E0-E297462320DD}" dt="2023-11-24T08:48:04.123" v="72494"/>
          <ac:spMkLst>
            <pc:docMk/>
            <pc:sldMk cId="2637169229" sldId="2147478574"/>
            <ac:spMk id="475" creationId="{ED50C2F6-2AE8-3341-94EE-81E11D191309}"/>
          </ac:spMkLst>
        </pc:spChg>
        <pc:spChg chg="add del mod">
          <ac:chgData name="Steiner Andreas 6206 ED" userId="e6377c33-a923-4f14-8587-531c474c7b48" providerId="ADAL" clId="{6ECD27E6-B224-41CD-B4E0-E297462320DD}" dt="2023-11-24T08:48:06.329" v="72649"/>
          <ac:spMkLst>
            <pc:docMk/>
            <pc:sldMk cId="2637169229" sldId="2147478574"/>
            <ac:spMk id="476" creationId="{887B104C-E5D8-F61C-43FA-B7A62BA3782C}"/>
          </ac:spMkLst>
        </pc:spChg>
        <pc:spChg chg="add del mod">
          <ac:chgData name="Steiner Andreas 6206 ED" userId="e6377c33-a923-4f14-8587-531c474c7b48" providerId="ADAL" clId="{6ECD27E6-B224-41CD-B4E0-E297462320DD}" dt="2023-11-24T08:48:08.491" v="72804"/>
          <ac:spMkLst>
            <pc:docMk/>
            <pc:sldMk cId="2637169229" sldId="2147478574"/>
            <ac:spMk id="477" creationId="{C072C73C-14CF-C5C8-50BD-D389B57875D5}"/>
          </ac:spMkLst>
        </pc:spChg>
        <pc:spChg chg="add del mod">
          <ac:chgData name="Steiner Andreas 6206 ED" userId="e6377c33-a923-4f14-8587-531c474c7b48" providerId="ADAL" clId="{6ECD27E6-B224-41CD-B4E0-E297462320DD}" dt="2023-11-24T08:48:10.544" v="72959"/>
          <ac:spMkLst>
            <pc:docMk/>
            <pc:sldMk cId="2637169229" sldId="2147478574"/>
            <ac:spMk id="478" creationId="{F69A9A34-9A68-2897-5263-183EE10000B6}"/>
          </ac:spMkLst>
        </pc:spChg>
        <pc:spChg chg="add del mod">
          <ac:chgData name="Steiner Andreas 6206 ED" userId="e6377c33-a923-4f14-8587-531c474c7b48" providerId="ADAL" clId="{6ECD27E6-B224-41CD-B4E0-E297462320DD}" dt="2023-11-24T08:48:12.512" v="73114"/>
          <ac:spMkLst>
            <pc:docMk/>
            <pc:sldMk cId="2637169229" sldId="2147478574"/>
            <ac:spMk id="479" creationId="{BB3EE26D-F71C-1502-C8B8-76F41DAC75FA}"/>
          </ac:spMkLst>
        </pc:spChg>
        <pc:spChg chg="add del mod">
          <ac:chgData name="Steiner Andreas 6206 ED" userId="e6377c33-a923-4f14-8587-531c474c7b48" providerId="ADAL" clId="{6ECD27E6-B224-41CD-B4E0-E297462320DD}" dt="2023-11-24T08:48:15.035" v="73269"/>
          <ac:spMkLst>
            <pc:docMk/>
            <pc:sldMk cId="2637169229" sldId="2147478574"/>
            <ac:spMk id="480" creationId="{6C50773E-F844-0554-DF62-F2F7970CBBE8}"/>
          </ac:spMkLst>
        </pc:spChg>
        <pc:spChg chg="add del mod">
          <ac:chgData name="Steiner Andreas 6206 ED" userId="e6377c33-a923-4f14-8587-531c474c7b48" providerId="ADAL" clId="{6ECD27E6-B224-41CD-B4E0-E297462320DD}" dt="2023-11-24T08:48:17.825" v="73424"/>
          <ac:spMkLst>
            <pc:docMk/>
            <pc:sldMk cId="2637169229" sldId="2147478574"/>
            <ac:spMk id="481" creationId="{EEC3DCD4-4ACD-9C33-CB6B-D1CDD8AC074A}"/>
          </ac:spMkLst>
        </pc:spChg>
        <pc:spChg chg="add del mod">
          <ac:chgData name="Steiner Andreas 6206 ED" userId="e6377c33-a923-4f14-8587-531c474c7b48" providerId="ADAL" clId="{6ECD27E6-B224-41CD-B4E0-E297462320DD}" dt="2023-11-24T08:48:20.351" v="73579"/>
          <ac:spMkLst>
            <pc:docMk/>
            <pc:sldMk cId="2637169229" sldId="2147478574"/>
            <ac:spMk id="482" creationId="{511DA94E-255C-FB4F-3C43-2F88B2E96ABF}"/>
          </ac:spMkLst>
        </pc:spChg>
        <pc:spChg chg="add del mod">
          <ac:chgData name="Steiner Andreas 6206 ED" userId="e6377c33-a923-4f14-8587-531c474c7b48" providerId="ADAL" clId="{6ECD27E6-B224-41CD-B4E0-E297462320DD}" dt="2023-11-24T08:48:22.488" v="73734"/>
          <ac:spMkLst>
            <pc:docMk/>
            <pc:sldMk cId="2637169229" sldId="2147478574"/>
            <ac:spMk id="483" creationId="{C0420347-B8CD-5CFC-E2E7-2BD090BAF4A4}"/>
          </ac:spMkLst>
        </pc:spChg>
        <pc:spChg chg="add del mod">
          <ac:chgData name="Steiner Andreas 6206 ED" userId="e6377c33-a923-4f14-8587-531c474c7b48" providerId="ADAL" clId="{6ECD27E6-B224-41CD-B4E0-E297462320DD}" dt="2023-11-24T08:48:24.563" v="73889"/>
          <ac:spMkLst>
            <pc:docMk/>
            <pc:sldMk cId="2637169229" sldId="2147478574"/>
            <ac:spMk id="484" creationId="{ED3D8B11-B058-6EC9-85AB-59E3F42EA850}"/>
          </ac:spMkLst>
        </pc:spChg>
        <pc:spChg chg="add del mod">
          <ac:chgData name="Steiner Andreas 6206 ED" userId="e6377c33-a923-4f14-8587-531c474c7b48" providerId="ADAL" clId="{6ECD27E6-B224-41CD-B4E0-E297462320DD}" dt="2023-11-24T08:48:26.670" v="74044"/>
          <ac:spMkLst>
            <pc:docMk/>
            <pc:sldMk cId="2637169229" sldId="2147478574"/>
            <ac:spMk id="485" creationId="{B3C7D3DE-9994-6D00-335B-566D7BDB38FD}"/>
          </ac:spMkLst>
        </pc:spChg>
        <pc:spChg chg="add del mod">
          <ac:chgData name="Steiner Andreas 6206 ED" userId="e6377c33-a923-4f14-8587-531c474c7b48" providerId="ADAL" clId="{6ECD27E6-B224-41CD-B4E0-E297462320DD}" dt="2023-11-24T08:48:28.676" v="74199"/>
          <ac:spMkLst>
            <pc:docMk/>
            <pc:sldMk cId="2637169229" sldId="2147478574"/>
            <ac:spMk id="486" creationId="{541D8B19-7DF6-9572-EED1-1602401999A1}"/>
          </ac:spMkLst>
        </pc:spChg>
        <pc:spChg chg="add del mod">
          <ac:chgData name="Steiner Andreas 6206 ED" userId="e6377c33-a923-4f14-8587-531c474c7b48" providerId="ADAL" clId="{6ECD27E6-B224-41CD-B4E0-E297462320DD}" dt="2023-11-24T08:48:30.551" v="74354"/>
          <ac:spMkLst>
            <pc:docMk/>
            <pc:sldMk cId="2637169229" sldId="2147478574"/>
            <ac:spMk id="487" creationId="{F15C67DD-2A81-2E0D-ACB5-34D159151639}"/>
          </ac:spMkLst>
        </pc:spChg>
        <pc:spChg chg="add del mod">
          <ac:chgData name="Steiner Andreas 6206 ED" userId="e6377c33-a923-4f14-8587-531c474c7b48" providerId="ADAL" clId="{6ECD27E6-B224-41CD-B4E0-E297462320DD}" dt="2023-11-24T08:48:32.527" v="74509"/>
          <ac:spMkLst>
            <pc:docMk/>
            <pc:sldMk cId="2637169229" sldId="2147478574"/>
            <ac:spMk id="488" creationId="{D831B285-91C5-1B89-74BF-25B488C1D878}"/>
          </ac:spMkLst>
        </pc:spChg>
        <pc:spChg chg="add del mod">
          <ac:chgData name="Steiner Andreas 6206 ED" userId="e6377c33-a923-4f14-8587-531c474c7b48" providerId="ADAL" clId="{6ECD27E6-B224-41CD-B4E0-E297462320DD}" dt="2023-11-24T08:48:34.807" v="74664"/>
          <ac:spMkLst>
            <pc:docMk/>
            <pc:sldMk cId="2637169229" sldId="2147478574"/>
            <ac:spMk id="489" creationId="{E22E0595-D749-F1EE-7D95-2FB0673937D2}"/>
          </ac:spMkLst>
        </pc:spChg>
        <pc:spChg chg="add del mod">
          <ac:chgData name="Steiner Andreas 6206 ED" userId="e6377c33-a923-4f14-8587-531c474c7b48" providerId="ADAL" clId="{6ECD27E6-B224-41CD-B4E0-E297462320DD}" dt="2023-11-24T08:48:36.936" v="74819"/>
          <ac:spMkLst>
            <pc:docMk/>
            <pc:sldMk cId="2637169229" sldId="2147478574"/>
            <ac:spMk id="490" creationId="{DE6929D6-7F04-7160-5442-693C52EDC682}"/>
          </ac:spMkLst>
        </pc:spChg>
        <pc:spChg chg="add del mod">
          <ac:chgData name="Steiner Andreas 6206 ED" userId="e6377c33-a923-4f14-8587-531c474c7b48" providerId="ADAL" clId="{6ECD27E6-B224-41CD-B4E0-E297462320DD}" dt="2023-11-24T08:48:39.002" v="74974"/>
          <ac:spMkLst>
            <pc:docMk/>
            <pc:sldMk cId="2637169229" sldId="2147478574"/>
            <ac:spMk id="491" creationId="{88E6DC84-0AB6-924D-1068-D0FCD2DAC5C4}"/>
          </ac:spMkLst>
        </pc:spChg>
        <pc:spChg chg="add del mod">
          <ac:chgData name="Steiner Andreas 6206 ED" userId="e6377c33-a923-4f14-8587-531c474c7b48" providerId="ADAL" clId="{6ECD27E6-B224-41CD-B4E0-E297462320DD}" dt="2023-11-24T08:48:41.132" v="75129"/>
          <ac:spMkLst>
            <pc:docMk/>
            <pc:sldMk cId="2637169229" sldId="2147478574"/>
            <ac:spMk id="492" creationId="{5FBF7AE0-D683-D90C-79DE-151E5064040B}"/>
          </ac:spMkLst>
        </pc:spChg>
        <pc:spChg chg="add del mod">
          <ac:chgData name="Steiner Andreas 6206 ED" userId="e6377c33-a923-4f14-8587-531c474c7b48" providerId="ADAL" clId="{6ECD27E6-B224-41CD-B4E0-E297462320DD}" dt="2023-11-24T08:48:43.567" v="75284"/>
          <ac:spMkLst>
            <pc:docMk/>
            <pc:sldMk cId="2637169229" sldId="2147478574"/>
            <ac:spMk id="493" creationId="{7B9B2E79-5A28-EE14-5B12-BC098E193693}"/>
          </ac:spMkLst>
        </pc:spChg>
        <pc:spChg chg="add del mod">
          <ac:chgData name="Steiner Andreas 6206 ED" userId="e6377c33-a923-4f14-8587-531c474c7b48" providerId="ADAL" clId="{6ECD27E6-B224-41CD-B4E0-E297462320DD}" dt="2023-11-24T08:48:45.881" v="75439"/>
          <ac:spMkLst>
            <pc:docMk/>
            <pc:sldMk cId="2637169229" sldId="2147478574"/>
            <ac:spMk id="494" creationId="{5F7A74FA-FE21-083A-F368-E02AE7799041}"/>
          </ac:spMkLst>
        </pc:spChg>
        <pc:spChg chg="add del mod">
          <ac:chgData name="Steiner Andreas 6206 ED" userId="e6377c33-a923-4f14-8587-531c474c7b48" providerId="ADAL" clId="{6ECD27E6-B224-41CD-B4E0-E297462320DD}" dt="2023-11-24T08:48:47.917" v="75594"/>
          <ac:spMkLst>
            <pc:docMk/>
            <pc:sldMk cId="2637169229" sldId="2147478574"/>
            <ac:spMk id="495" creationId="{31675C60-C2D1-7B10-15BC-C67885FC677F}"/>
          </ac:spMkLst>
        </pc:spChg>
        <pc:spChg chg="add del mod">
          <ac:chgData name="Steiner Andreas 6206 ED" userId="e6377c33-a923-4f14-8587-531c474c7b48" providerId="ADAL" clId="{6ECD27E6-B224-41CD-B4E0-E297462320DD}" dt="2023-11-24T08:48:49.872" v="75749"/>
          <ac:spMkLst>
            <pc:docMk/>
            <pc:sldMk cId="2637169229" sldId="2147478574"/>
            <ac:spMk id="496" creationId="{A7D3DF29-E086-6902-0EC8-D354C17F8AE5}"/>
          </ac:spMkLst>
        </pc:spChg>
        <pc:spChg chg="add del mod">
          <ac:chgData name="Steiner Andreas 6206 ED" userId="e6377c33-a923-4f14-8587-531c474c7b48" providerId="ADAL" clId="{6ECD27E6-B224-41CD-B4E0-E297462320DD}" dt="2023-11-24T08:48:52.111" v="75904"/>
          <ac:spMkLst>
            <pc:docMk/>
            <pc:sldMk cId="2637169229" sldId="2147478574"/>
            <ac:spMk id="497" creationId="{ADB2C986-1847-398D-4829-8A0814ADBD75}"/>
          </ac:spMkLst>
        </pc:spChg>
        <pc:spChg chg="add del mod">
          <ac:chgData name="Steiner Andreas 6206 ED" userId="e6377c33-a923-4f14-8587-531c474c7b48" providerId="ADAL" clId="{6ECD27E6-B224-41CD-B4E0-E297462320DD}" dt="2023-11-24T08:48:54.013" v="76059"/>
          <ac:spMkLst>
            <pc:docMk/>
            <pc:sldMk cId="2637169229" sldId="2147478574"/>
            <ac:spMk id="498" creationId="{96A1B6EE-EE58-7E7E-9B87-70BC1BFEDD23}"/>
          </ac:spMkLst>
        </pc:spChg>
        <pc:spChg chg="add del mod">
          <ac:chgData name="Steiner Andreas 6206 ED" userId="e6377c33-a923-4f14-8587-531c474c7b48" providerId="ADAL" clId="{6ECD27E6-B224-41CD-B4E0-E297462320DD}" dt="2023-11-24T08:48:56.015" v="76214"/>
          <ac:spMkLst>
            <pc:docMk/>
            <pc:sldMk cId="2637169229" sldId="2147478574"/>
            <ac:spMk id="499" creationId="{C6D5812A-FECC-84E1-6586-0581BED208C0}"/>
          </ac:spMkLst>
        </pc:spChg>
        <pc:spChg chg="add del mod">
          <ac:chgData name="Steiner Andreas 6206 ED" userId="e6377c33-a923-4f14-8587-531c474c7b48" providerId="ADAL" clId="{6ECD27E6-B224-41CD-B4E0-E297462320DD}" dt="2023-11-24T08:48:57.956" v="76369"/>
          <ac:spMkLst>
            <pc:docMk/>
            <pc:sldMk cId="2637169229" sldId="2147478574"/>
            <ac:spMk id="500" creationId="{495EE858-A74C-6C2A-D35C-B44FFD6BBD59}"/>
          </ac:spMkLst>
        </pc:spChg>
        <pc:spChg chg="add del mod">
          <ac:chgData name="Steiner Andreas 6206 ED" userId="e6377c33-a923-4f14-8587-531c474c7b48" providerId="ADAL" clId="{6ECD27E6-B224-41CD-B4E0-E297462320DD}" dt="2023-11-24T08:49:00.007" v="76524"/>
          <ac:spMkLst>
            <pc:docMk/>
            <pc:sldMk cId="2637169229" sldId="2147478574"/>
            <ac:spMk id="501" creationId="{A03E38A1-DE8E-BF81-C135-349C1F17F1CE}"/>
          </ac:spMkLst>
        </pc:spChg>
        <pc:spChg chg="add del mod">
          <ac:chgData name="Steiner Andreas 6206 ED" userId="e6377c33-a923-4f14-8587-531c474c7b48" providerId="ADAL" clId="{6ECD27E6-B224-41CD-B4E0-E297462320DD}" dt="2023-11-24T08:49:01.987" v="76679"/>
          <ac:spMkLst>
            <pc:docMk/>
            <pc:sldMk cId="2637169229" sldId="2147478574"/>
            <ac:spMk id="502" creationId="{D575C712-BB52-7194-5E5D-9B37E1D7BC58}"/>
          </ac:spMkLst>
        </pc:spChg>
        <pc:spChg chg="add del mod">
          <ac:chgData name="Steiner Andreas 6206 ED" userId="e6377c33-a923-4f14-8587-531c474c7b48" providerId="ADAL" clId="{6ECD27E6-B224-41CD-B4E0-E297462320DD}" dt="2023-11-24T08:49:03.950" v="76834"/>
          <ac:spMkLst>
            <pc:docMk/>
            <pc:sldMk cId="2637169229" sldId="2147478574"/>
            <ac:spMk id="503" creationId="{E843FF16-2600-6034-7A82-3AB793059AE0}"/>
          </ac:spMkLst>
        </pc:spChg>
        <pc:spChg chg="add del mod">
          <ac:chgData name="Steiner Andreas 6206 ED" userId="e6377c33-a923-4f14-8587-531c474c7b48" providerId="ADAL" clId="{6ECD27E6-B224-41CD-B4E0-E297462320DD}" dt="2023-11-24T08:49:05.847" v="76989"/>
          <ac:spMkLst>
            <pc:docMk/>
            <pc:sldMk cId="2637169229" sldId="2147478574"/>
            <ac:spMk id="504" creationId="{E12BE55D-2A43-A0DE-5F68-766AA96C421A}"/>
          </ac:spMkLst>
        </pc:spChg>
        <pc:spChg chg="add del mod">
          <ac:chgData name="Steiner Andreas 6206 ED" userId="e6377c33-a923-4f14-8587-531c474c7b48" providerId="ADAL" clId="{6ECD27E6-B224-41CD-B4E0-E297462320DD}" dt="2023-11-24T08:49:07.956" v="77144"/>
          <ac:spMkLst>
            <pc:docMk/>
            <pc:sldMk cId="2637169229" sldId="2147478574"/>
            <ac:spMk id="505" creationId="{D0154B7E-14CA-F4A0-564F-0BD620F7BAC8}"/>
          </ac:spMkLst>
        </pc:spChg>
        <pc:spChg chg="add del mod">
          <ac:chgData name="Steiner Andreas 6206 ED" userId="e6377c33-a923-4f14-8587-531c474c7b48" providerId="ADAL" clId="{6ECD27E6-B224-41CD-B4E0-E297462320DD}" dt="2023-11-24T08:49:09.839" v="77299"/>
          <ac:spMkLst>
            <pc:docMk/>
            <pc:sldMk cId="2637169229" sldId="2147478574"/>
            <ac:spMk id="506" creationId="{2B37FEBC-3E17-0579-77BE-B82F95EEBD89}"/>
          </ac:spMkLst>
        </pc:spChg>
        <pc:spChg chg="add del mod">
          <ac:chgData name="Steiner Andreas 6206 ED" userId="e6377c33-a923-4f14-8587-531c474c7b48" providerId="ADAL" clId="{6ECD27E6-B224-41CD-B4E0-E297462320DD}" dt="2023-11-24T08:49:11.616" v="77454"/>
          <ac:spMkLst>
            <pc:docMk/>
            <pc:sldMk cId="2637169229" sldId="2147478574"/>
            <ac:spMk id="507" creationId="{DF45A99C-2804-D541-3A4E-3212B5CEEFFF}"/>
          </ac:spMkLst>
        </pc:spChg>
        <pc:spChg chg="add del mod">
          <ac:chgData name="Steiner Andreas 6206 ED" userId="e6377c33-a923-4f14-8587-531c474c7b48" providerId="ADAL" clId="{6ECD27E6-B224-41CD-B4E0-E297462320DD}" dt="2023-11-24T08:49:13.724" v="77609"/>
          <ac:spMkLst>
            <pc:docMk/>
            <pc:sldMk cId="2637169229" sldId="2147478574"/>
            <ac:spMk id="508" creationId="{7291FE46-43CE-3F56-2DE5-B73ACD91D785}"/>
          </ac:spMkLst>
        </pc:spChg>
        <pc:spChg chg="add del mod">
          <ac:chgData name="Steiner Andreas 6206 ED" userId="e6377c33-a923-4f14-8587-531c474c7b48" providerId="ADAL" clId="{6ECD27E6-B224-41CD-B4E0-E297462320DD}" dt="2023-11-24T08:49:15.716" v="77764"/>
          <ac:spMkLst>
            <pc:docMk/>
            <pc:sldMk cId="2637169229" sldId="2147478574"/>
            <ac:spMk id="509" creationId="{FEF46986-47C4-F277-0CDD-CFD53890A6F0}"/>
          </ac:spMkLst>
        </pc:spChg>
        <pc:spChg chg="add del mod">
          <ac:chgData name="Steiner Andreas 6206 ED" userId="e6377c33-a923-4f14-8587-531c474c7b48" providerId="ADAL" clId="{6ECD27E6-B224-41CD-B4E0-E297462320DD}" dt="2023-11-24T08:49:17.744" v="77919"/>
          <ac:spMkLst>
            <pc:docMk/>
            <pc:sldMk cId="2637169229" sldId="2147478574"/>
            <ac:spMk id="510" creationId="{DC7DEDC5-59E1-B0C1-009E-E9EF93B66EDA}"/>
          </ac:spMkLst>
        </pc:spChg>
        <pc:spChg chg="add del mod">
          <ac:chgData name="Steiner Andreas 6206 ED" userId="e6377c33-a923-4f14-8587-531c474c7b48" providerId="ADAL" clId="{6ECD27E6-B224-41CD-B4E0-E297462320DD}" dt="2023-11-24T08:49:19.796" v="78074"/>
          <ac:spMkLst>
            <pc:docMk/>
            <pc:sldMk cId="2637169229" sldId="2147478574"/>
            <ac:spMk id="511" creationId="{CAD31AA9-8E2A-5863-A918-D1A78C2984ED}"/>
          </ac:spMkLst>
        </pc:spChg>
        <pc:spChg chg="add del mod">
          <ac:chgData name="Steiner Andreas 6206 ED" userId="e6377c33-a923-4f14-8587-531c474c7b48" providerId="ADAL" clId="{6ECD27E6-B224-41CD-B4E0-E297462320DD}" dt="2023-11-24T08:49:21.690" v="78229"/>
          <ac:spMkLst>
            <pc:docMk/>
            <pc:sldMk cId="2637169229" sldId="2147478574"/>
            <ac:spMk id="512" creationId="{E427F11F-BD3E-E0F1-7E2C-86CF69C53A81}"/>
          </ac:spMkLst>
        </pc:spChg>
        <pc:spChg chg="add del mod">
          <ac:chgData name="Steiner Andreas 6206 ED" userId="e6377c33-a923-4f14-8587-531c474c7b48" providerId="ADAL" clId="{6ECD27E6-B224-41CD-B4E0-E297462320DD}" dt="2023-11-24T08:49:23.598" v="78384"/>
          <ac:spMkLst>
            <pc:docMk/>
            <pc:sldMk cId="2637169229" sldId="2147478574"/>
            <ac:spMk id="513" creationId="{79499A40-D025-3C8B-5E15-A7D16F603E69}"/>
          </ac:spMkLst>
        </pc:spChg>
        <pc:spChg chg="add del mod">
          <ac:chgData name="Steiner Andreas 6206 ED" userId="e6377c33-a923-4f14-8587-531c474c7b48" providerId="ADAL" clId="{6ECD27E6-B224-41CD-B4E0-E297462320DD}" dt="2023-11-24T08:49:25.469" v="78539"/>
          <ac:spMkLst>
            <pc:docMk/>
            <pc:sldMk cId="2637169229" sldId="2147478574"/>
            <ac:spMk id="514" creationId="{D7ED6154-4983-99A5-E879-916C26AF4449}"/>
          </ac:spMkLst>
        </pc:spChg>
        <pc:spChg chg="add del mod">
          <ac:chgData name="Steiner Andreas 6206 ED" userId="e6377c33-a923-4f14-8587-531c474c7b48" providerId="ADAL" clId="{6ECD27E6-B224-41CD-B4E0-E297462320DD}" dt="2023-11-24T08:49:27.541" v="78694"/>
          <ac:spMkLst>
            <pc:docMk/>
            <pc:sldMk cId="2637169229" sldId="2147478574"/>
            <ac:spMk id="515" creationId="{42B83825-CA9A-A868-B675-872306E11EE9}"/>
          </ac:spMkLst>
        </pc:spChg>
        <pc:spChg chg="add del mod">
          <ac:chgData name="Steiner Andreas 6206 ED" userId="e6377c33-a923-4f14-8587-531c474c7b48" providerId="ADAL" clId="{6ECD27E6-B224-41CD-B4E0-E297462320DD}" dt="2023-11-24T08:49:29.569" v="78849"/>
          <ac:spMkLst>
            <pc:docMk/>
            <pc:sldMk cId="2637169229" sldId="2147478574"/>
            <ac:spMk id="516" creationId="{0E25CB06-A30F-2229-039D-029183E9992D}"/>
          </ac:spMkLst>
        </pc:spChg>
        <pc:spChg chg="add del mod">
          <ac:chgData name="Steiner Andreas 6206 ED" userId="e6377c33-a923-4f14-8587-531c474c7b48" providerId="ADAL" clId="{6ECD27E6-B224-41CD-B4E0-E297462320DD}" dt="2023-11-24T08:49:31.499" v="79004"/>
          <ac:spMkLst>
            <pc:docMk/>
            <pc:sldMk cId="2637169229" sldId="2147478574"/>
            <ac:spMk id="517" creationId="{006B970E-142D-58E0-05B7-DE2911EC42E5}"/>
          </ac:spMkLst>
        </pc:spChg>
        <pc:spChg chg="add del mod">
          <ac:chgData name="Steiner Andreas 6206 ED" userId="e6377c33-a923-4f14-8587-531c474c7b48" providerId="ADAL" clId="{6ECD27E6-B224-41CD-B4E0-E297462320DD}" dt="2023-11-24T08:49:33.402" v="79159"/>
          <ac:spMkLst>
            <pc:docMk/>
            <pc:sldMk cId="2637169229" sldId="2147478574"/>
            <ac:spMk id="518" creationId="{61ADF8ED-997A-8E5A-1B71-4B8FF79662AE}"/>
          </ac:spMkLst>
        </pc:spChg>
        <pc:spChg chg="add del mod">
          <ac:chgData name="Steiner Andreas 6206 ED" userId="e6377c33-a923-4f14-8587-531c474c7b48" providerId="ADAL" clId="{6ECD27E6-B224-41CD-B4E0-E297462320DD}" dt="2023-11-24T08:49:35.306" v="79314"/>
          <ac:spMkLst>
            <pc:docMk/>
            <pc:sldMk cId="2637169229" sldId="2147478574"/>
            <ac:spMk id="519" creationId="{3F042FEF-ADF5-3E53-A678-9C330839262A}"/>
          </ac:spMkLst>
        </pc:spChg>
        <pc:spChg chg="add del mod">
          <ac:chgData name="Steiner Andreas 6206 ED" userId="e6377c33-a923-4f14-8587-531c474c7b48" providerId="ADAL" clId="{6ECD27E6-B224-41CD-B4E0-E297462320DD}" dt="2023-11-24T08:49:37.136" v="79469"/>
          <ac:spMkLst>
            <pc:docMk/>
            <pc:sldMk cId="2637169229" sldId="2147478574"/>
            <ac:spMk id="520" creationId="{F6E95439-7304-1C16-1A68-D1515547C220}"/>
          </ac:spMkLst>
        </pc:spChg>
        <pc:spChg chg="add del mod">
          <ac:chgData name="Steiner Andreas 6206 ED" userId="e6377c33-a923-4f14-8587-531c474c7b48" providerId="ADAL" clId="{6ECD27E6-B224-41CD-B4E0-E297462320DD}" dt="2023-11-24T08:49:39.104" v="79624"/>
          <ac:spMkLst>
            <pc:docMk/>
            <pc:sldMk cId="2637169229" sldId="2147478574"/>
            <ac:spMk id="521" creationId="{EA034399-60E3-BA06-85B8-5ABDE95A49BE}"/>
          </ac:spMkLst>
        </pc:spChg>
        <pc:spChg chg="add del mod">
          <ac:chgData name="Steiner Andreas 6206 ED" userId="e6377c33-a923-4f14-8587-531c474c7b48" providerId="ADAL" clId="{6ECD27E6-B224-41CD-B4E0-E297462320DD}" dt="2023-11-24T08:49:41.195" v="79779"/>
          <ac:spMkLst>
            <pc:docMk/>
            <pc:sldMk cId="2637169229" sldId="2147478574"/>
            <ac:spMk id="522" creationId="{96CAC219-F28C-96F9-1A35-CBAAEC53BCBE}"/>
          </ac:spMkLst>
        </pc:spChg>
        <pc:spChg chg="add del mod">
          <ac:chgData name="Steiner Andreas 6206 ED" userId="e6377c33-a923-4f14-8587-531c474c7b48" providerId="ADAL" clId="{6ECD27E6-B224-41CD-B4E0-E297462320DD}" dt="2023-11-24T08:49:43.104" v="79934"/>
          <ac:spMkLst>
            <pc:docMk/>
            <pc:sldMk cId="2637169229" sldId="2147478574"/>
            <ac:spMk id="523" creationId="{52803E35-A612-F85E-0A3B-1112C471EB96}"/>
          </ac:spMkLst>
        </pc:spChg>
        <pc:spChg chg="add del mod">
          <ac:chgData name="Steiner Andreas 6206 ED" userId="e6377c33-a923-4f14-8587-531c474c7b48" providerId="ADAL" clId="{6ECD27E6-B224-41CD-B4E0-E297462320DD}" dt="2023-11-24T08:49:45.047" v="80089"/>
          <ac:spMkLst>
            <pc:docMk/>
            <pc:sldMk cId="2637169229" sldId="2147478574"/>
            <ac:spMk id="524" creationId="{90796A22-22E2-FFE1-680B-7D94469269BB}"/>
          </ac:spMkLst>
        </pc:spChg>
        <pc:spChg chg="add del mod">
          <ac:chgData name="Steiner Andreas 6206 ED" userId="e6377c33-a923-4f14-8587-531c474c7b48" providerId="ADAL" clId="{6ECD27E6-B224-41CD-B4E0-E297462320DD}" dt="2023-11-24T08:49:47.008" v="80244"/>
          <ac:spMkLst>
            <pc:docMk/>
            <pc:sldMk cId="2637169229" sldId="2147478574"/>
            <ac:spMk id="525" creationId="{8288890C-13F7-D13B-47AA-3CA88DBF5A52}"/>
          </ac:spMkLst>
        </pc:spChg>
        <pc:spChg chg="add del mod">
          <ac:chgData name="Steiner Andreas 6206 ED" userId="e6377c33-a923-4f14-8587-531c474c7b48" providerId="ADAL" clId="{6ECD27E6-B224-41CD-B4E0-E297462320DD}" dt="2023-11-24T08:49:48.882" v="80399"/>
          <ac:spMkLst>
            <pc:docMk/>
            <pc:sldMk cId="2637169229" sldId="2147478574"/>
            <ac:spMk id="526" creationId="{7B4E64C4-6613-0F21-5DC2-886B5A748382}"/>
          </ac:spMkLst>
        </pc:spChg>
        <pc:spChg chg="add del mod">
          <ac:chgData name="Steiner Andreas 6206 ED" userId="e6377c33-a923-4f14-8587-531c474c7b48" providerId="ADAL" clId="{6ECD27E6-B224-41CD-B4E0-E297462320DD}" dt="2023-11-24T08:49:50.782" v="80554"/>
          <ac:spMkLst>
            <pc:docMk/>
            <pc:sldMk cId="2637169229" sldId="2147478574"/>
            <ac:spMk id="527" creationId="{A18D673C-DE36-8441-ED33-601383A769E9}"/>
          </ac:spMkLst>
        </pc:spChg>
        <pc:spChg chg="add del mod">
          <ac:chgData name="Steiner Andreas 6206 ED" userId="e6377c33-a923-4f14-8587-531c474c7b48" providerId="ADAL" clId="{6ECD27E6-B224-41CD-B4E0-E297462320DD}" dt="2023-11-24T08:49:52.711" v="80709"/>
          <ac:spMkLst>
            <pc:docMk/>
            <pc:sldMk cId="2637169229" sldId="2147478574"/>
            <ac:spMk id="528" creationId="{ACDA2824-EAAC-0C0D-9E09-2FD9D3F15D4A}"/>
          </ac:spMkLst>
        </pc:spChg>
        <pc:spChg chg="add del mod">
          <ac:chgData name="Steiner Andreas 6206 ED" userId="e6377c33-a923-4f14-8587-531c474c7b48" providerId="ADAL" clId="{6ECD27E6-B224-41CD-B4E0-E297462320DD}" dt="2023-11-24T08:49:54.640" v="80864"/>
          <ac:spMkLst>
            <pc:docMk/>
            <pc:sldMk cId="2637169229" sldId="2147478574"/>
            <ac:spMk id="529" creationId="{933870FD-38BA-1D77-D6FE-C4525AF555BC}"/>
          </ac:spMkLst>
        </pc:spChg>
        <pc:spChg chg="add del mod">
          <ac:chgData name="Steiner Andreas 6206 ED" userId="e6377c33-a923-4f14-8587-531c474c7b48" providerId="ADAL" clId="{6ECD27E6-B224-41CD-B4E0-E297462320DD}" dt="2023-11-24T08:49:56.515" v="81019"/>
          <ac:spMkLst>
            <pc:docMk/>
            <pc:sldMk cId="2637169229" sldId="2147478574"/>
            <ac:spMk id="530" creationId="{207AF5B5-BB9D-9786-8658-B2FDD68FD3AE}"/>
          </ac:spMkLst>
        </pc:spChg>
        <pc:spChg chg="add del mod">
          <ac:chgData name="Steiner Andreas 6206 ED" userId="e6377c33-a923-4f14-8587-531c474c7b48" providerId="ADAL" clId="{6ECD27E6-B224-41CD-B4E0-E297462320DD}" dt="2023-11-24T08:49:58.407" v="81174"/>
          <ac:spMkLst>
            <pc:docMk/>
            <pc:sldMk cId="2637169229" sldId="2147478574"/>
            <ac:spMk id="531" creationId="{5C275C7E-7B22-BB42-110B-EF0068013D27}"/>
          </ac:spMkLst>
        </pc:spChg>
        <pc:spChg chg="add del mod">
          <ac:chgData name="Steiner Andreas 6206 ED" userId="e6377c33-a923-4f14-8587-531c474c7b48" providerId="ADAL" clId="{6ECD27E6-B224-41CD-B4E0-E297462320DD}" dt="2023-11-24T08:50:00.333" v="81329"/>
          <ac:spMkLst>
            <pc:docMk/>
            <pc:sldMk cId="2637169229" sldId="2147478574"/>
            <ac:spMk id="532" creationId="{9EB9E03D-9B4E-823A-3167-97F386BF0281}"/>
          </ac:spMkLst>
        </pc:spChg>
        <pc:spChg chg="add del mod">
          <ac:chgData name="Steiner Andreas 6206 ED" userId="e6377c33-a923-4f14-8587-531c474c7b48" providerId="ADAL" clId="{6ECD27E6-B224-41CD-B4E0-E297462320DD}" dt="2023-11-24T08:50:02.408" v="81484"/>
          <ac:spMkLst>
            <pc:docMk/>
            <pc:sldMk cId="2637169229" sldId="2147478574"/>
            <ac:spMk id="533" creationId="{C3659AB9-235C-E29C-5167-A46845D72C7A}"/>
          </ac:spMkLst>
        </pc:spChg>
        <pc:spChg chg="add del mod">
          <ac:chgData name="Steiner Andreas 6206 ED" userId="e6377c33-a923-4f14-8587-531c474c7b48" providerId="ADAL" clId="{6ECD27E6-B224-41CD-B4E0-E297462320DD}" dt="2023-11-24T08:50:04.475" v="81639"/>
          <ac:spMkLst>
            <pc:docMk/>
            <pc:sldMk cId="2637169229" sldId="2147478574"/>
            <ac:spMk id="534" creationId="{389A221C-6518-E2A1-48F8-479872868D3F}"/>
          </ac:spMkLst>
        </pc:spChg>
        <pc:spChg chg="add del mod">
          <ac:chgData name="Steiner Andreas 6206 ED" userId="e6377c33-a923-4f14-8587-531c474c7b48" providerId="ADAL" clId="{6ECD27E6-B224-41CD-B4E0-E297462320DD}" dt="2023-11-24T08:50:06.414" v="81794"/>
          <ac:spMkLst>
            <pc:docMk/>
            <pc:sldMk cId="2637169229" sldId="2147478574"/>
            <ac:spMk id="535" creationId="{B3AE7298-297E-9400-EF9B-E74BA8EC5E34}"/>
          </ac:spMkLst>
        </pc:spChg>
        <pc:spChg chg="add del mod">
          <ac:chgData name="Steiner Andreas 6206 ED" userId="e6377c33-a923-4f14-8587-531c474c7b48" providerId="ADAL" clId="{6ECD27E6-B224-41CD-B4E0-E297462320DD}" dt="2023-11-24T08:50:08.298" v="81949"/>
          <ac:spMkLst>
            <pc:docMk/>
            <pc:sldMk cId="2637169229" sldId="2147478574"/>
            <ac:spMk id="536" creationId="{B3E607B6-F3D1-5D65-1675-5FF22AD12B53}"/>
          </ac:spMkLst>
        </pc:spChg>
        <pc:spChg chg="add del mod">
          <ac:chgData name="Steiner Andreas 6206 ED" userId="e6377c33-a923-4f14-8587-531c474c7b48" providerId="ADAL" clId="{6ECD27E6-B224-41CD-B4E0-E297462320DD}" dt="2023-11-24T08:50:10.194" v="82104"/>
          <ac:spMkLst>
            <pc:docMk/>
            <pc:sldMk cId="2637169229" sldId="2147478574"/>
            <ac:spMk id="537" creationId="{76697B83-954B-FC24-53A1-AA38098E393A}"/>
          </ac:spMkLst>
        </pc:spChg>
        <pc:spChg chg="add del mod">
          <ac:chgData name="Steiner Andreas 6206 ED" userId="e6377c33-a923-4f14-8587-531c474c7b48" providerId="ADAL" clId="{6ECD27E6-B224-41CD-B4E0-E297462320DD}" dt="2023-11-24T08:50:12.110" v="82259"/>
          <ac:spMkLst>
            <pc:docMk/>
            <pc:sldMk cId="2637169229" sldId="2147478574"/>
            <ac:spMk id="538" creationId="{ED84C160-337B-8254-7795-2A8F81FB500B}"/>
          </ac:spMkLst>
        </pc:spChg>
        <pc:spChg chg="add del mod">
          <ac:chgData name="Steiner Andreas 6206 ED" userId="e6377c33-a923-4f14-8587-531c474c7b48" providerId="ADAL" clId="{6ECD27E6-B224-41CD-B4E0-E297462320DD}" dt="2023-11-24T08:50:14.176" v="82414"/>
          <ac:spMkLst>
            <pc:docMk/>
            <pc:sldMk cId="2637169229" sldId="2147478574"/>
            <ac:spMk id="539" creationId="{62058012-4D1A-1918-CAE2-548953F8665D}"/>
          </ac:spMkLst>
        </pc:spChg>
        <pc:spChg chg="add del mod">
          <ac:chgData name="Steiner Andreas 6206 ED" userId="e6377c33-a923-4f14-8587-531c474c7b48" providerId="ADAL" clId="{6ECD27E6-B224-41CD-B4E0-E297462320DD}" dt="2023-11-24T08:50:16.124" v="82569"/>
          <ac:spMkLst>
            <pc:docMk/>
            <pc:sldMk cId="2637169229" sldId="2147478574"/>
            <ac:spMk id="540" creationId="{9BADFE6D-073A-730B-33F7-5B1F16D30653}"/>
          </ac:spMkLst>
        </pc:spChg>
        <pc:spChg chg="add del mod">
          <ac:chgData name="Steiner Andreas 6206 ED" userId="e6377c33-a923-4f14-8587-531c474c7b48" providerId="ADAL" clId="{6ECD27E6-B224-41CD-B4E0-E297462320DD}" dt="2023-11-24T08:50:18.111" v="82724"/>
          <ac:spMkLst>
            <pc:docMk/>
            <pc:sldMk cId="2637169229" sldId="2147478574"/>
            <ac:spMk id="541" creationId="{7516272A-54E8-8A98-6101-FD1A896EE24C}"/>
          </ac:spMkLst>
        </pc:spChg>
        <pc:spChg chg="add del mod">
          <ac:chgData name="Steiner Andreas 6206 ED" userId="e6377c33-a923-4f14-8587-531c474c7b48" providerId="ADAL" clId="{6ECD27E6-B224-41CD-B4E0-E297462320DD}" dt="2023-11-24T08:50:20.314" v="82879"/>
          <ac:spMkLst>
            <pc:docMk/>
            <pc:sldMk cId="2637169229" sldId="2147478574"/>
            <ac:spMk id="542" creationId="{0AC93A0A-55F0-452F-68D3-4CAC51D0134F}"/>
          </ac:spMkLst>
        </pc:spChg>
        <pc:spChg chg="add del mod">
          <ac:chgData name="Steiner Andreas 6206 ED" userId="e6377c33-a923-4f14-8587-531c474c7b48" providerId="ADAL" clId="{6ECD27E6-B224-41CD-B4E0-E297462320DD}" dt="2023-11-24T08:50:22.246" v="83034"/>
          <ac:spMkLst>
            <pc:docMk/>
            <pc:sldMk cId="2637169229" sldId="2147478574"/>
            <ac:spMk id="543" creationId="{5585AD0A-7423-73B8-E165-669C2D3B2A81}"/>
          </ac:spMkLst>
        </pc:spChg>
        <pc:spChg chg="add del mod">
          <ac:chgData name="Steiner Andreas 6206 ED" userId="e6377c33-a923-4f14-8587-531c474c7b48" providerId="ADAL" clId="{6ECD27E6-B224-41CD-B4E0-E297462320DD}" dt="2023-11-24T08:50:24.337" v="83189"/>
          <ac:spMkLst>
            <pc:docMk/>
            <pc:sldMk cId="2637169229" sldId="2147478574"/>
            <ac:spMk id="544" creationId="{DE8C0469-C117-5AB6-AC4D-46B486213F15}"/>
          </ac:spMkLst>
        </pc:spChg>
        <pc:spChg chg="add del mod">
          <ac:chgData name="Steiner Andreas 6206 ED" userId="e6377c33-a923-4f14-8587-531c474c7b48" providerId="ADAL" clId="{6ECD27E6-B224-41CD-B4E0-E297462320DD}" dt="2023-11-24T08:50:26.343" v="83344"/>
          <ac:spMkLst>
            <pc:docMk/>
            <pc:sldMk cId="2637169229" sldId="2147478574"/>
            <ac:spMk id="545" creationId="{6251CEBC-EA06-BDAB-2193-5133631AAF49}"/>
          </ac:spMkLst>
        </pc:spChg>
        <pc:spChg chg="add del mod">
          <ac:chgData name="Steiner Andreas 6206 ED" userId="e6377c33-a923-4f14-8587-531c474c7b48" providerId="ADAL" clId="{6ECD27E6-B224-41CD-B4E0-E297462320DD}" dt="2023-11-24T08:50:28.276" v="83499"/>
          <ac:spMkLst>
            <pc:docMk/>
            <pc:sldMk cId="2637169229" sldId="2147478574"/>
            <ac:spMk id="546" creationId="{0789ECE1-7A9F-A7E3-20F8-B73ED4F48AF6}"/>
          </ac:spMkLst>
        </pc:spChg>
        <pc:spChg chg="add del mod">
          <ac:chgData name="Steiner Andreas 6206 ED" userId="e6377c33-a923-4f14-8587-531c474c7b48" providerId="ADAL" clId="{6ECD27E6-B224-41CD-B4E0-E297462320DD}" dt="2023-11-24T08:50:30.188" v="83654"/>
          <ac:spMkLst>
            <pc:docMk/>
            <pc:sldMk cId="2637169229" sldId="2147478574"/>
            <ac:spMk id="547" creationId="{F0EF8B1D-2BC4-C17A-BED3-9F2EE32BB4BE}"/>
          </ac:spMkLst>
        </pc:spChg>
        <pc:spChg chg="add del mod">
          <ac:chgData name="Steiner Andreas 6206 ED" userId="e6377c33-a923-4f14-8587-531c474c7b48" providerId="ADAL" clId="{6ECD27E6-B224-41CD-B4E0-E297462320DD}" dt="2023-11-24T08:50:32.234" v="83809"/>
          <ac:spMkLst>
            <pc:docMk/>
            <pc:sldMk cId="2637169229" sldId="2147478574"/>
            <ac:spMk id="548" creationId="{5A8A1E28-8EB0-74EB-3A80-11EEBDF1CCFE}"/>
          </ac:spMkLst>
        </pc:spChg>
        <pc:spChg chg="add del mod">
          <ac:chgData name="Steiner Andreas 6206 ED" userId="e6377c33-a923-4f14-8587-531c474c7b48" providerId="ADAL" clId="{6ECD27E6-B224-41CD-B4E0-E297462320DD}" dt="2023-11-24T08:50:34.264" v="83964"/>
          <ac:spMkLst>
            <pc:docMk/>
            <pc:sldMk cId="2637169229" sldId="2147478574"/>
            <ac:spMk id="549" creationId="{C0B0E46A-3230-1F14-2444-E3DAB1B0F92F}"/>
          </ac:spMkLst>
        </pc:spChg>
        <pc:spChg chg="add del mod">
          <ac:chgData name="Steiner Andreas 6206 ED" userId="e6377c33-a923-4f14-8587-531c474c7b48" providerId="ADAL" clId="{6ECD27E6-B224-41CD-B4E0-E297462320DD}" dt="2023-11-24T08:50:36.506" v="84119"/>
          <ac:spMkLst>
            <pc:docMk/>
            <pc:sldMk cId="2637169229" sldId="2147478574"/>
            <ac:spMk id="550" creationId="{B25C99C2-4ED2-EA4E-8BE2-8ECFB248F81D}"/>
          </ac:spMkLst>
        </pc:spChg>
        <pc:spChg chg="add del mod">
          <ac:chgData name="Steiner Andreas 6206 ED" userId="e6377c33-a923-4f14-8587-531c474c7b48" providerId="ADAL" clId="{6ECD27E6-B224-41CD-B4E0-E297462320DD}" dt="2023-11-24T08:50:38.467" v="84274"/>
          <ac:spMkLst>
            <pc:docMk/>
            <pc:sldMk cId="2637169229" sldId="2147478574"/>
            <ac:spMk id="551" creationId="{AB61120F-7C13-652B-0B01-AD7FE18DC12A}"/>
          </ac:spMkLst>
        </pc:spChg>
        <pc:spChg chg="add del mod">
          <ac:chgData name="Steiner Andreas 6206 ED" userId="e6377c33-a923-4f14-8587-531c474c7b48" providerId="ADAL" clId="{6ECD27E6-B224-41CD-B4E0-E297462320DD}" dt="2023-11-24T08:50:40.450" v="84429"/>
          <ac:spMkLst>
            <pc:docMk/>
            <pc:sldMk cId="2637169229" sldId="2147478574"/>
            <ac:spMk id="552" creationId="{5962E38A-5B1D-2CB4-2381-9D424BF63360}"/>
          </ac:spMkLst>
        </pc:spChg>
        <pc:spChg chg="add del mod">
          <ac:chgData name="Steiner Andreas 6206 ED" userId="e6377c33-a923-4f14-8587-531c474c7b48" providerId="ADAL" clId="{6ECD27E6-B224-41CD-B4E0-E297462320DD}" dt="2023-11-24T08:50:42.448" v="84584"/>
          <ac:spMkLst>
            <pc:docMk/>
            <pc:sldMk cId="2637169229" sldId="2147478574"/>
            <ac:spMk id="553" creationId="{8F989ADC-E8CC-5A57-2900-396FA7734244}"/>
          </ac:spMkLst>
        </pc:spChg>
        <pc:spChg chg="add del mod">
          <ac:chgData name="Steiner Andreas 6206 ED" userId="e6377c33-a923-4f14-8587-531c474c7b48" providerId="ADAL" clId="{6ECD27E6-B224-41CD-B4E0-E297462320DD}" dt="2023-11-24T08:50:44.614" v="84739"/>
          <ac:spMkLst>
            <pc:docMk/>
            <pc:sldMk cId="2637169229" sldId="2147478574"/>
            <ac:spMk id="554" creationId="{306E4428-BE8D-EECA-D0A8-601D5379374D}"/>
          </ac:spMkLst>
        </pc:spChg>
        <pc:spChg chg="add del mod">
          <ac:chgData name="Steiner Andreas 6206 ED" userId="e6377c33-a923-4f14-8587-531c474c7b48" providerId="ADAL" clId="{6ECD27E6-B224-41CD-B4E0-E297462320DD}" dt="2023-11-24T08:50:46.715" v="84894"/>
          <ac:spMkLst>
            <pc:docMk/>
            <pc:sldMk cId="2637169229" sldId="2147478574"/>
            <ac:spMk id="555" creationId="{872C0883-CE3D-7D52-4B47-DA4A4D7B317C}"/>
          </ac:spMkLst>
        </pc:spChg>
        <pc:spChg chg="add del mod">
          <ac:chgData name="Steiner Andreas 6206 ED" userId="e6377c33-a923-4f14-8587-531c474c7b48" providerId="ADAL" clId="{6ECD27E6-B224-41CD-B4E0-E297462320DD}" dt="2023-11-24T08:50:48.845" v="85049"/>
          <ac:spMkLst>
            <pc:docMk/>
            <pc:sldMk cId="2637169229" sldId="2147478574"/>
            <ac:spMk id="556" creationId="{46BD7413-3F60-36A7-739E-B653D784A21D}"/>
          </ac:spMkLst>
        </pc:spChg>
        <pc:spChg chg="add del mod">
          <ac:chgData name="Steiner Andreas 6206 ED" userId="e6377c33-a923-4f14-8587-531c474c7b48" providerId="ADAL" clId="{6ECD27E6-B224-41CD-B4E0-E297462320DD}" dt="2023-11-24T08:50:50.944" v="85204"/>
          <ac:spMkLst>
            <pc:docMk/>
            <pc:sldMk cId="2637169229" sldId="2147478574"/>
            <ac:spMk id="557" creationId="{111FFCAD-110F-A267-1F1B-B3D6B6ACB1EA}"/>
          </ac:spMkLst>
        </pc:spChg>
        <pc:spChg chg="add del mod">
          <ac:chgData name="Steiner Andreas 6206 ED" userId="e6377c33-a923-4f14-8587-531c474c7b48" providerId="ADAL" clId="{6ECD27E6-B224-41CD-B4E0-E297462320DD}" dt="2023-11-24T08:50:53.064" v="85359"/>
          <ac:spMkLst>
            <pc:docMk/>
            <pc:sldMk cId="2637169229" sldId="2147478574"/>
            <ac:spMk id="558" creationId="{F6F5CE7D-82E5-95B5-B190-42DA7586A02E}"/>
          </ac:spMkLst>
        </pc:spChg>
        <pc:spChg chg="add del mod">
          <ac:chgData name="Steiner Andreas 6206 ED" userId="e6377c33-a923-4f14-8587-531c474c7b48" providerId="ADAL" clId="{6ECD27E6-B224-41CD-B4E0-E297462320DD}" dt="2023-11-24T08:50:54.977" v="85514"/>
          <ac:spMkLst>
            <pc:docMk/>
            <pc:sldMk cId="2637169229" sldId="2147478574"/>
            <ac:spMk id="559" creationId="{5D3C2572-7C47-EDB8-A9DE-CF05F2405CE7}"/>
          </ac:spMkLst>
        </pc:spChg>
        <pc:spChg chg="add del mod">
          <ac:chgData name="Steiner Andreas 6206 ED" userId="e6377c33-a923-4f14-8587-531c474c7b48" providerId="ADAL" clId="{6ECD27E6-B224-41CD-B4E0-E297462320DD}" dt="2023-11-24T08:50:56.880" v="85669"/>
          <ac:spMkLst>
            <pc:docMk/>
            <pc:sldMk cId="2637169229" sldId="2147478574"/>
            <ac:spMk id="560" creationId="{B4BCC5B4-802F-89BF-BCA8-3E9A1E581D17}"/>
          </ac:spMkLst>
        </pc:spChg>
        <pc:spChg chg="add del mod">
          <ac:chgData name="Steiner Andreas 6206 ED" userId="e6377c33-a923-4f14-8587-531c474c7b48" providerId="ADAL" clId="{6ECD27E6-B224-41CD-B4E0-E297462320DD}" dt="2023-11-24T08:50:59.075" v="85824"/>
          <ac:spMkLst>
            <pc:docMk/>
            <pc:sldMk cId="2637169229" sldId="2147478574"/>
            <ac:spMk id="561" creationId="{BD0A8A86-AEA3-2C22-8F74-3E7B9D9B82FC}"/>
          </ac:spMkLst>
        </pc:spChg>
        <pc:spChg chg="add del mod">
          <ac:chgData name="Steiner Andreas 6206 ED" userId="e6377c33-a923-4f14-8587-531c474c7b48" providerId="ADAL" clId="{6ECD27E6-B224-41CD-B4E0-E297462320DD}" dt="2023-11-24T08:51:01.021" v="85979"/>
          <ac:spMkLst>
            <pc:docMk/>
            <pc:sldMk cId="2637169229" sldId="2147478574"/>
            <ac:spMk id="562" creationId="{F2D9460D-8B0F-227A-7032-F5048C9943E0}"/>
          </ac:spMkLst>
        </pc:spChg>
        <pc:spChg chg="add del mod">
          <ac:chgData name="Steiner Andreas 6206 ED" userId="e6377c33-a923-4f14-8587-531c474c7b48" providerId="ADAL" clId="{6ECD27E6-B224-41CD-B4E0-E297462320DD}" dt="2023-11-24T08:51:03.005" v="86134"/>
          <ac:spMkLst>
            <pc:docMk/>
            <pc:sldMk cId="2637169229" sldId="2147478574"/>
            <ac:spMk id="563" creationId="{F6165CA3-1C82-F49F-6255-9B5E9C353A9D}"/>
          </ac:spMkLst>
        </pc:spChg>
        <pc:spChg chg="add del mod">
          <ac:chgData name="Steiner Andreas 6206 ED" userId="e6377c33-a923-4f14-8587-531c474c7b48" providerId="ADAL" clId="{6ECD27E6-B224-41CD-B4E0-E297462320DD}" dt="2023-11-24T08:51:04.876" v="86289"/>
          <ac:spMkLst>
            <pc:docMk/>
            <pc:sldMk cId="2637169229" sldId="2147478574"/>
            <ac:spMk id="564" creationId="{3C459E71-44C8-F8DD-E296-C63712AAAB28}"/>
          </ac:spMkLst>
        </pc:spChg>
        <pc:spChg chg="add del mod">
          <ac:chgData name="Steiner Andreas 6206 ED" userId="e6377c33-a923-4f14-8587-531c474c7b48" providerId="ADAL" clId="{6ECD27E6-B224-41CD-B4E0-E297462320DD}" dt="2023-11-24T08:51:06.770" v="86444"/>
          <ac:spMkLst>
            <pc:docMk/>
            <pc:sldMk cId="2637169229" sldId="2147478574"/>
            <ac:spMk id="565" creationId="{7A150006-3693-79E8-43F1-5F6ADE1A7439}"/>
          </ac:spMkLst>
        </pc:spChg>
        <pc:spChg chg="add del mod">
          <ac:chgData name="Steiner Andreas 6206 ED" userId="e6377c33-a923-4f14-8587-531c474c7b48" providerId="ADAL" clId="{6ECD27E6-B224-41CD-B4E0-E297462320DD}" dt="2023-11-24T08:51:08.758" v="86599"/>
          <ac:spMkLst>
            <pc:docMk/>
            <pc:sldMk cId="2637169229" sldId="2147478574"/>
            <ac:spMk id="566" creationId="{16EB2180-3CC3-8253-6A30-8AA43E350FC5}"/>
          </ac:spMkLst>
        </pc:spChg>
        <pc:spChg chg="add del mod">
          <ac:chgData name="Steiner Andreas 6206 ED" userId="e6377c33-a923-4f14-8587-531c474c7b48" providerId="ADAL" clId="{6ECD27E6-B224-41CD-B4E0-E297462320DD}" dt="2023-11-24T08:51:10.789" v="86754"/>
          <ac:spMkLst>
            <pc:docMk/>
            <pc:sldMk cId="2637169229" sldId="2147478574"/>
            <ac:spMk id="567" creationId="{2A89BC69-64D4-FD74-02CE-316F13C2EDB5}"/>
          </ac:spMkLst>
        </pc:spChg>
        <pc:spChg chg="add del mod">
          <ac:chgData name="Steiner Andreas 6206 ED" userId="e6377c33-a923-4f14-8587-531c474c7b48" providerId="ADAL" clId="{6ECD27E6-B224-41CD-B4E0-E297462320DD}" dt="2023-11-24T08:51:12.685" v="86909"/>
          <ac:spMkLst>
            <pc:docMk/>
            <pc:sldMk cId="2637169229" sldId="2147478574"/>
            <ac:spMk id="568" creationId="{AC141C33-A748-8DFB-D274-12A5859F38B1}"/>
          </ac:spMkLst>
        </pc:spChg>
        <pc:spChg chg="add del mod">
          <ac:chgData name="Steiner Andreas 6206 ED" userId="e6377c33-a923-4f14-8587-531c474c7b48" providerId="ADAL" clId="{6ECD27E6-B224-41CD-B4E0-E297462320DD}" dt="2023-11-24T08:51:14.873" v="87064"/>
          <ac:spMkLst>
            <pc:docMk/>
            <pc:sldMk cId="2637169229" sldId="2147478574"/>
            <ac:spMk id="569" creationId="{62928F74-930F-55E7-BE4B-4572ECC1910D}"/>
          </ac:spMkLst>
        </pc:spChg>
        <pc:spChg chg="add del mod">
          <ac:chgData name="Steiner Andreas 6206 ED" userId="e6377c33-a923-4f14-8587-531c474c7b48" providerId="ADAL" clId="{6ECD27E6-B224-41CD-B4E0-E297462320DD}" dt="2023-11-24T08:51:16.961" v="87219"/>
          <ac:spMkLst>
            <pc:docMk/>
            <pc:sldMk cId="2637169229" sldId="2147478574"/>
            <ac:spMk id="570" creationId="{80F7ACDD-131A-B698-E5A4-881355857F04}"/>
          </ac:spMkLst>
        </pc:spChg>
        <pc:spChg chg="add del mod">
          <ac:chgData name="Steiner Andreas 6206 ED" userId="e6377c33-a923-4f14-8587-531c474c7b48" providerId="ADAL" clId="{6ECD27E6-B224-41CD-B4E0-E297462320DD}" dt="2023-11-24T08:51:18.877" v="87374"/>
          <ac:spMkLst>
            <pc:docMk/>
            <pc:sldMk cId="2637169229" sldId="2147478574"/>
            <ac:spMk id="571" creationId="{3FCCC14C-109F-96C5-63BF-718A8181EAEA}"/>
          </ac:spMkLst>
        </pc:spChg>
        <pc:spChg chg="add del mod">
          <ac:chgData name="Steiner Andreas 6206 ED" userId="e6377c33-a923-4f14-8587-531c474c7b48" providerId="ADAL" clId="{6ECD27E6-B224-41CD-B4E0-E297462320DD}" dt="2023-11-24T08:51:20.936" v="87529"/>
          <ac:spMkLst>
            <pc:docMk/>
            <pc:sldMk cId="2637169229" sldId="2147478574"/>
            <ac:spMk id="572" creationId="{4E6997EF-8B78-57DD-D7A6-65458C58C409}"/>
          </ac:spMkLst>
        </pc:spChg>
        <pc:spChg chg="add del mod">
          <ac:chgData name="Steiner Andreas 6206 ED" userId="e6377c33-a923-4f14-8587-531c474c7b48" providerId="ADAL" clId="{6ECD27E6-B224-41CD-B4E0-E297462320DD}" dt="2023-11-24T08:51:22.888" v="87684"/>
          <ac:spMkLst>
            <pc:docMk/>
            <pc:sldMk cId="2637169229" sldId="2147478574"/>
            <ac:spMk id="573" creationId="{DCB98C0B-D1C9-A268-27F2-001DE9AD3AFF}"/>
          </ac:spMkLst>
        </pc:spChg>
        <pc:spChg chg="add del mod">
          <ac:chgData name="Steiner Andreas 6206 ED" userId="e6377c33-a923-4f14-8587-531c474c7b48" providerId="ADAL" clId="{6ECD27E6-B224-41CD-B4E0-E297462320DD}" dt="2023-11-24T08:51:24.798" v="87839"/>
          <ac:spMkLst>
            <pc:docMk/>
            <pc:sldMk cId="2637169229" sldId="2147478574"/>
            <ac:spMk id="574" creationId="{49643A93-4D98-8C67-7F47-6A3A25A8AB7A}"/>
          </ac:spMkLst>
        </pc:spChg>
        <pc:spChg chg="add del mod">
          <ac:chgData name="Steiner Andreas 6206 ED" userId="e6377c33-a923-4f14-8587-531c474c7b48" providerId="ADAL" clId="{6ECD27E6-B224-41CD-B4E0-E297462320DD}" dt="2023-11-24T08:51:26.670" v="87994"/>
          <ac:spMkLst>
            <pc:docMk/>
            <pc:sldMk cId="2637169229" sldId="2147478574"/>
            <ac:spMk id="575" creationId="{6F58E489-6914-17F7-4371-EC3C3E09D968}"/>
          </ac:spMkLst>
        </pc:spChg>
        <pc:spChg chg="add del mod">
          <ac:chgData name="Steiner Andreas 6206 ED" userId="e6377c33-a923-4f14-8587-531c474c7b48" providerId="ADAL" clId="{6ECD27E6-B224-41CD-B4E0-E297462320DD}" dt="2023-11-24T08:51:28.581" v="88149"/>
          <ac:spMkLst>
            <pc:docMk/>
            <pc:sldMk cId="2637169229" sldId="2147478574"/>
            <ac:spMk id="576" creationId="{7ED64340-FEF3-67D9-3FC9-32487B44C98B}"/>
          </ac:spMkLst>
        </pc:spChg>
        <pc:spChg chg="add del mod">
          <ac:chgData name="Steiner Andreas 6206 ED" userId="e6377c33-a923-4f14-8587-531c474c7b48" providerId="ADAL" clId="{6ECD27E6-B224-41CD-B4E0-E297462320DD}" dt="2023-11-24T08:51:30.555" v="88304"/>
          <ac:spMkLst>
            <pc:docMk/>
            <pc:sldMk cId="2637169229" sldId="2147478574"/>
            <ac:spMk id="577" creationId="{6CF0A3BB-E019-39A2-A9E4-9536123B0E3A}"/>
          </ac:spMkLst>
        </pc:spChg>
        <pc:spChg chg="add del mod">
          <ac:chgData name="Steiner Andreas 6206 ED" userId="e6377c33-a923-4f14-8587-531c474c7b48" providerId="ADAL" clId="{6ECD27E6-B224-41CD-B4E0-E297462320DD}" dt="2023-11-24T08:51:32.710" v="88459"/>
          <ac:spMkLst>
            <pc:docMk/>
            <pc:sldMk cId="2637169229" sldId="2147478574"/>
            <ac:spMk id="578" creationId="{96B45CF1-B7A5-A295-1939-B621BCDACCE8}"/>
          </ac:spMkLst>
        </pc:spChg>
        <pc:spChg chg="add del mod">
          <ac:chgData name="Steiner Andreas 6206 ED" userId="e6377c33-a923-4f14-8587-531c474c7b48" providerId="ADAL" clId="{6ECD27E6-B224-41CD-B4E0-E297462320DD}" dt="2023-11-24T08:51:34.676" v="88614"/>
          <ac:spMkLst>
            <pc:docMk/>
            <pc:sldMk cId="2637169229" sldId="2147478574"/>
            <ac:spMk id="579" creationId="{ECD40263-0EDA-03D2-91F8-7F7892B23290}"/>
          </ac:spMkLst>
        </pc:spChg>
        <pc:spChg chg="add del mod">
          <ac:chgData name="Steiner Andreas 6206 ED" userId="e6377c33-a923-4f14-8587-531c474c7b48" providerId="ADAL" clId="{6ECD27E6-B224-41CD-B4E0-E297462320DD}" dt="2023-11-24T08:51:36.549" v="88769"/>
          <ac:spMkLst>
            <pc:docMk/>
            <pc:sldMk cId="2637169229" sldId="2147478574"/>
            <ac:spMk id="580" creationId="{BC536BD3-C684-86A1-8638-E335CCC3B181}"/>
          </ac:spMkLst>
        </pc:spChg>
        <pc:spChg chg="add del mod">
          <ac:chgData name="Steiner Andreas 6206 ED" userId="e6377c33-a923-4f14-8587-531c474c7b48" providerId="ADAL" clId="{6ECD27E6-B224-41CD-B4E0-E297462320DD}" dt="2023-11-24T08:51:38.493" v="88924"/>
          <ac:spMkLst>
            <pc:docMk/>
            <pc:sldMk cId="2637169229" sldId="2147478574"/>
            <ac:spMk id="581" creationId="{79743706-21F5-DD22-5F37-4317C95FF380}"/>
          </ac:spMkLst>
        </pc:spChg>
        <pc:spChg chg="add del mod">
          <ac:chgData name="Steiner Andreas 6206 ED" userId="e6377c33-a923-4f14-8587-531c474c7b48" providerId="ADAL" clId="{6ECD27E6-B224-41CD-B4E0-E297462320DD}" dt="2023-11-24T08:51:40.428" v="89079"/>
          <ac:spMkLst>
            <pc:docMk/>
            <pc:sldMk cId="2637169229" sldId="2147478574"/>
            <ac:spMk id="582" creationId="{7F5E517B-B83D-5797-A380-61A639B812B1}"/>
          </ac:spMkLst>
        </pc:spChg>
        <pc:spChg chg="add del mod">
          <ac:chgData name="Steiner Andreas 6206 ED" userId="e6377c33-a923-4f14-8587-531c474c7b48" providerId="ADAL" clId="{6ECD27E6-B224-41CD-B4E0-E297462320DD}" dt="2023-11-24T08:51:42.432" v="89234"/>
          <ac:spMkLst>
            <pc:docMk/>
            <pc:sldMk cId="2637169229" sldId="2147478574"/>
            <ac:spMk id="583" creationId="{00D5F17F-DCA9-6DCA-3B10-F650F7431423}"/>
          </ac:spMkLst>
        </pc:spChg>
        <pc:spChg chg="add del mod">
          <ac:chgData name="Steiner Andreas 6206 ED" userId="e6377c33-a923-4f14-8587-531c474c7b48" providerId="ADAL" clId="{6ECD27E6-B224-41CD-B4E0-E297462320DD}" dt="2023-11-24T08:51:44.544" v="89389"/>
          <ac:spMkLst>
            <pc:docMk/>
            <pc:sldMk cId="2637169229" sldId="2147478574"/>
            <ac:spMk id="584" creationId="{DAB8A55E-586E-82D2-73FA-4D6D1935E83D}"/>
          </ac:spMkLst>
        </pc:spChg>
        <pc:spChg chg="add del mod">
          <ac:chgData name="Steiner Andreas 6206 ED" userId="e6377c33-a923-4f14-8587-531c474c7b48" providerId="ADAL" clId="{6ECD27E6-B224-41CD-B4E0-E297462320DD}" dt="2023-11-24T08:51:46.505" v="89544"/>
          <ac:spMkLst>
            <pc:docMk/>
            <pc:sldMk cId="2637169229" sldId="2147478574"/>
            <ac:spMk id="585" creationId="{4FF39719-008F-9288-82E9-9C27E9DB77A0}"/>
          </ac:spMkLst>
        </pc:spChg>
        <pc:spChg chg="add del mod">
          <ac:chgData name="Steiner Andreas 6206 ED" userId="e6377c33-a923-4f14-8587-531c474c7b48" providerId="ADAL" clId="{6ECD27E6-B224-41CD-B4E0-E297462320DD}" dt="2023-11-24T08:51:48.397" v="89699"/>
          <ac:spMkLst>
            <pc:docMk/>
            <pc:sldMk cId="2637169229" sldId="2147478574"/>
            <ac:spMk id="586" creationId="{C07A442A-379A-B790-0D36-D93FFA65A9C3}"/>
          </ac:spMkLst>
        </pc:spChg>
        <pc:spChg chg="add del mod">
          <ac:chgData name="Steiner Andreas 6206 ED" userId="e6377c33-a923-4f14-8587-531c474c7b48" providerId="ADAL" clId="{6ECD27E6-B224-41CD-B4E0-E297462320DD}" dt="2023-11-24T08:51:50.320" v="89854"/>
          <ac:spMkLst>
            <pc:docMk/>
            <pc:sldMk cId="2637169229" sldId="2147478574"/>
            <ac:spMk id="587" creationId="{C2A09C0B-7F3E-E3F3-CB46-6969847DF9A7}"/>
          </ac:spMkLst>
        </pc:spChg>
        <pc:spChg chg="add del mod">
          <ac:chgData name="Steiner Andreas 6206 ED" userId="e6377c33-a923-4f14-8587-531c474c7b48" providerId="ADAL" clId="{6ECD27E6-B224-41CD-B4E0-E297462320DD}" dt="2023-11-24T08:51:52.224" v="90009"/>
          <ac:spMkLst>
            <pc:docMk/>
            <pc:sldMk cId="2637169229" sldId="2147478574"/>
            <ac:spMk id="588" creationId="{B4260097-8526-BF32-7C13-46079D631DED}"/>
          </ac:spMkLst>
        </pc:spChg>
        <pc:spChg chg="add del mod">
          <ac:chgData name="Steiner Andreas 6206 ED" userId="e6377c33-a923-4f14-8587-531c474c7b48" providerId="ADAL" clId="{6ECD27E6-B224-41CD-B4E0-E297462320DD}" dt="2023-11-24T08:51:54.211" v="90164"/>
          <ac:spMkLst>
            <pc:docMk/>
            <pc:sldMk cId="2637169229" sldId="2147478574"/>
            <ac:spMk id="589" creationId="{8776F8A5-FFF7-DCC3-E22D-504D880C5D58}"/>
          </ac:spMkLst>
        </pc:spChg>
        <pc:spChg chg="add del mod">
          <ac:chgData name="Steiner Andreas 6206 ED" userId="e6377c33-a923-4f14-8587-531c474c7b48" providerId="ADAL" clId="{6ECD27E6-B224-41CD-B4E0-E297462320DD}" dt="2023-11-24T08:51:56.197" v="90319"/>
          <ac:spMkLst>
            <pc:docMk/>
            <pc:sldMk cId="2637169229" sldId="2147478574"/>
            <ac:spMk id="590" creationId="{83AC83C2-EB59-A813-8219-77B7F7EDC3B3}"/>
          </ac:spMkLst>
        </pc:spChg>
        <pc:spChg chg="add del mod">
          <ac:chgData name="Steiner Andreas 6206 ED" userId="e6377c33-a923-4f14-8587-531c474c7b48" providerId="ADAL" clId="{6ECD27E6-B224-41CD-B4E0-E297462320DD}" dt="2023-11-24T08:51:58.127" v="90474"/>
          <ac:spMkLst>
            <pc:docMk/>
            <pc:sldMk cId="2637169229" sldId="2147478574"/>
            <ac:spMk id="591" creationId="{54C8F8CB-0E93-E53F-BEB2-6CE2E1B1D6C2}"/>
          </ac:spMkLst>
        </pc:spChg>
        <pc:spChg chg="add del mod">
          <ac:chgData name="Steiner Andreas 6206 ED" userId="e6377c33-a923-4f14-8587-531c474c7b48" providerId="ADAL" clId="{6ECD27E6-B224-41CD-B4E0-E297462320DD}" dt="2023-11-24T08:52:00.252" v="90629"/>
          <ac:spMkLst>
            <pc:docMk/>
            <pc:sldMk cId="2637169229" sldId="2147478574"/>
            <ac:spMk id="592" creationId="{E396D409-0BD2-F38C-A2BB-48E1D468022F}"/>
          </ac:spMkLst>
        </pc:spChg>
        <pc:spChg chg="add del mod">
          <ac:chgData name="Steiner Andreas 6206 ED" userId="e6377c33-a923-4f14-8587-531c474c7b48" providerId="ADAL" clId="{6ECD27E6-B224-41CD-B4E0-E297462320DD}" dt="2023-11-24T08:52:02.207" v="90784"/>
          <ac:spMkLst>
            <pc:docMk/>
            <pc:sldMk cId="2637169229" sldId="2147478574"/>
            <ac:spMk id="593" creationId="{6F695B26-C76F-8659-EB06-9A0ABFE328CF}"/>
          </ac:spMkLst>
        </pc:spChg>
        <pc:spChg chg="add del mod">
          <ac:chgData name="Steiner Andreas 6206 ED" userId="e6377c33-a923-4f14-8587-531c474c7b48" providerId="ADAL" clId="{6ECD27E6-B224-41CD-B4E0-E297462320DD}" dt="2023-11-24T08:52:04.132" v="90939"/>
          <ac:spMkLst>
            <pc:docMk/>
            <pc:sldMk cId="2637169229" sldId="2147478574"/>
            <ac:spMk id="594" creationId="{A92A800C-48EB-951C-1E4F-A0F35A292C75}"/>
          </ac:spMkLst>
        </pc:spChg>
        <pc:spChg chg="add del mod">
          <ac:chgData name="Steiner Andreas 6206 ED" userId="e6377c33-a923-4f14-8587-531c474c7b48" providerId="ADAL" clId="{6ECD27E6-B224-41CD-B4E0-E297462320DD}" dt="2023-11-24T08:52:06.330" v="91094"/>
          <ac:spMkLst>
            <pc:docMk/>
            <pc:sldMk cId="2637169229" sldId="2147478574"/>
            <ac:spMk id="595" creationId="{A03C73A0-01B1-F2B2-013E-BAC60BEAF79F}"/>
          </ac:spMkLst>
        </pc:spChg>
        <pc:spChg chg="add del mod">
          <ac:chgData name="Steiner Andreas 6206 ED" userId="e6377c33-a923-4f14-8587-531c474c7b48" providerId="ADAL" clId="{6ECD27E6-B224-41CD-B4E0-E297462320DD}" dt="2023-11-24T08:52:08.296" v="91249"/>
          <ac:spMkLst>
            <pc:docMk/>
            <pc:sldMk cId="2637169229" sldId="2147478574"/>
            <ac:spMk id="596" creationId="{770D90BC-6219-2960-2F4C-9D55416C008A}"/>
          </ac:spMkLst>
        </pc:spChg>
        <pc:spChg chg="add del mod">
          <ac:chgData name="Steiner Andreas 6206 ED" userId="e6377c33-a923-4f14-8587-531c474c7b48" providerId="ADAL" clId="{6ECD27E6-B224-41CD-B4E0-E297462320DD}" dt="2023-11-24T08:52:10.182" v="91404"/>
          <ac:spMkLst>
            <pc:docMk/>
            <pc:sldMk cId="2637169229" sldId="2147478574"/>
            <ac:spMk id="597" creationId="{0A8AD5CF-7798-14F3-D273-7474BDAA175B}"/>
          </ac:spMkLst>
        </pc:spChg>
        <pc:spChg chg="add del mod">
          <ac:chgData name="Steiner Andreas 6206 ED" userId="e6377c33-a923-4f14-8587-531c474c7b48" providerId="ADAL" clId="{6ECD27E6-B224-41CD-B4E0-E297462320DD}" dt="2023-11-24T08:52:12.035" v="91559"/>
          <ac:spMkLst>
            <pc:docMk/>
            <pc:sldMk cId="2637169229" sldId="2147478574"/>
            <ac:spMk id="598" creationId="{84788969-61F3-C3D6-6BF3-D31233D8502E}"/>
          </ac:spMkLst>
        </pc:spChg>
        <pc:spChg chg="add del mod">
          <ac:chgData name="Steiner Andreas 6206 ED" userId="e6377c33-a923-4f14-8587-531c474c7b48" providerId="ADAL" clId="{6ECD27E6-B224-41CD-B4E0-E297462320DD}" dt="2023-11-24T08:52:13.976" v="91714"/>
          <ac:spMkLst>
            <pc:docMk/>
            <pc:sldMk cId="2637169229" sldId="2147478574"/>
            <ac:spMk id="599" creationId="{1D560570-9FCC-A55C-E618-9AAF6646505E}"/>
          </ac:spMkLst>
        </pc:spChg>
        <pc:spChg chg="add del mod">
          <ac:chgData name="Steiner Andreas 6206 ED" userId="e6377c33-a923-4f14-8587-531c474c7b48" providerId="ADAL" clId="{6ECD27E6-B224-41CD-B4E0-E297462320DD}" dt="2023-11-24T08:52:15.885" v="91869"/>
          <ac:spMkLst>
            <pc:docMk/>
            <pc:sldMk cId="2637169229" sldId="2147478574"/>
            <ac:spMk id="600" creationId="{B9138DB7-30F3-7BC6-26B5-63BCAFA646BC}"/>
          </ac:spMkLst>
        </pc:spChg>
        <pc:spChg chg="add del mod">
          <ac:chgData name="Steiner Andreas 6206 ED" userId="e6377c33-a923-4f14-8587-531c474c7b48" providerId="ADAL" clId="{6ECD27E6-B224-41CD-B4E0-E297462320DD}" dt="2023-11-24T08:52:18.043" v="92024"/>
          <ac:spMkLst>
            <pc:docMk/>
            <pc:sldMk cId="2637169229" sldId="2147478574"/>
            <ac:spMk id="601" creationId="{F5DBA683-8BE3-DE1B-2663-3881C13BC45A}"/>
          </ac:spMkLst>
        </pc:spChg>
        <pc:spChg chg="add del mod">
          <ac:chgData name="Steiner Andreas 6206 ED" userId="e6377c33-a923-4f14-8587-531c474c7b48" providerId="ADAL" clId="{6ECD27E6-B224-41CD-B4E0-E297462320DD}" dt="2023-11-24T08:52:20.010" v="92179"/>
          <ac:spMkLst>
            <pc:docMk/>
            <pc:sldMk cId="2637169229" sldId="2147478574"/>
            <ac:spMk id="602" creationId="{89DFDFA6-59A4-E641-1588-7AB91DF4FD63}"/>
          </ac:spMkLst>
        </pc:spChg>
        <pc:spChg chg="add del mod">
          <ac:chgData name="Steiner Andreas 6206 ED" userId="e6377c33-a923-4f14-8587-531c474c7b48" providerId="ADAL" clId="{6ECD27E6-B224-41CD-B4E0-E297462320DD}" dt="2023-11-24T08:52:21.847" v="92334"/>
          <ac:spMkLst>
            <pc:docMk/>
            <pc:sldMk cId="2637169229" sldId="2147478574"/>
            <ac:spMk id="603" creationId="{B026602B-F8D8-DE98-6CA5-1467B860712E}"/>
          </ac:spMkLst>
        </pc:spChg>
        <pc:spChg chg="add del mod">
          <ac:chgData name="Steiner Andreas 6206 ED" userId="e6377c33-a923-4f14-8587-531c474c7b48" providerId="ADAL" clId="{6ECD27E6-B224-41CD-B4E0-E297462320DD}" dt="2023-11-24T08:52:23.908" v="92489"/>
          <ac:spMkLst>
            <pc:docMk/>
            <pc:sldMk cId="2637169229" sldId="2147478574"/>
            <ac:spMk id="604" creationId="{DD82F1E7-277B-4465-CC55-8E4A0F39D244}"/>
          </ac:spMkLst>
        </pc:spChg>
        <pc:spChg chg="add del mod">
          <ac:chgData name="Steiner Andreas 6206 ED" userId="e6377c33-a923-4f14-8587-531c474c7b48" providerId="ADAL" clId="{6ECD27E6-B224-41CD-B4E0-E297462320DD}" dt="2023-11-24T08:52:25.781" v="92644"/>
          <ac:spMkLst>
            <pc:docMk/>
            <pc:sldMk cId="2637169229" sldId="2147478574"/>
            <ac:spMk id="605" creationId="{D980743B-408A-D589-1523-548557BB0771}"/>
          </ac:spMkLst>
        </pc:spChg>
        <pc:spChg chg="add del mod">
          <ac:chgData name="Steiner Andreas 6206 ED" userId="e6377c33-a923-4f14-8587-531c474c7b48" providerId="ADAL" clId="{6ECD27E6-B224-41CD-B4E0-E297462320DD}" dt="2023-11-24T08:52:27.652" v="92799"/>
          <ac:spMkLst>
            <pc:docMk/>
            <pc:sldMk cId="2637169229" sldId="2147478574"/>
            <ac:spMk id="606" creationId="{6A52608F-68CB-62DA-A52E-6E8640C041A7}"/>
          </ac:spMkLst>
        </pc:spChg>
        <pc:spChg chg="add del mod">
          <ac:chgData name="Steiner Andreas 6206 ED" userId="e6377c33-a923-4f14-8587-531c474c7b48" providerId="ADAL" clId="{6ECD27E6-B224-41CD-B4E0-E297462320DD}" dt="2023-11-24T08:52:29.749" v="92954"/>
          <ac:spMkLst>
            <pc:docMk/>
            <pc:sldMk cId="2637169229" sldId="2147478574"/>
            <ac:spMk id="607" creationId="{B40C05BB-021A-8C28-9BB0-EB513C4539B6}"/>
          </ac:spMkLst>
        </pc:spChg>
        <pc:spChg chg="add del mod">
          <ac:chgData name="Steiner Andreas 6206 ED" userId="e6377c33-a923-4f14-8587-531c474c7b48" providerId="ADAL" clId="{6ECD27E6-B224-41CD-B4E0-E297462320DD}" dt="2023-11-24T08:52:31.673" v="93109"/>
          <ac:spMkLst>
            <pc:docMk/>
            <pc:sldMk cId="2637169229" sldId="2147478574"/>
            <ac:spMk id="608" creationId="{227B3274-432A-1919-2F07-C72F71C7FE55}"/>
          </ac:spMkLst>
        </pc:spChg>
        <pc:spChg chg="add del mod">
          <ac:chgData name="Steiner Andreas 6206 ED" userId="e6377c33-a923-4f14-8587-531c474c7b48" providerId="ADAL" clId="{6ECD27E6-B224-41CD-B4E0-E297462320DD}" dt="2023-11-24T08:52:33.597" v="93264"/>
          <ac:spMkLst>
            <pc:docMk/>
            <pc:sldMk cId="2637169229" sldId="2147478574"/>
            <ac:spMk id="609" creationId="{8ACAE7E6-191F-DFB0-3D0E-FB665B6D1B08}"/>
          </ac:spMkLst>
        </pc:spChg>
        <pc:spChg chg="add del mod">
          <ac:chgData name="Steiner Andreas 6206 ED" userId="e6377c33-a923-4f14-8587-531c474c7b48" providerId="ADAL" clId="{6ECD27E6-B224-41CD-B4E0-E297462320DD}" dt="2023-11-24T08:52:35.496" v="93419"/>
          <ac:spMkLst>
            <pc:docMk/>
            <pc:sldMk cId="2637169229" sldId="2147478574"/>
            <ac:spMk id="610" creationId="{3F31515D-025A-8FDB-2632-36ACA18BDFF4}"/>
          </ac:spMkLst>
        </pc:spChg>
        <pc:spChg chg="add del mod">
          <ac:chgData name="Steiner Andreas 6206 ED" userId="e6377c33-a923-4f14-8587-531c474c7b48" providerId="ADAL" clId="{6ECD27E6-B224-41CD-B4E0-E297462320DD}" dt="2023-11-24T08:52:37.417" v="93574"/>
          <ac:spMkLst>
            <pc:docMk/>
            <pc:sldMk cId="2637169229" sldId="2147478574"/>
            <ac:spMk id="611" creationId="{42E7809D-6B7D-6F03-E5D3-5629469AB294}"/>
          </ac:spMkLst>
        </pc:spChg>
        <pc:spChg chg="add del mod">
          <ac:chgData name="Steiner Andreas 6206 ED" userId="e6377c33-a923-4f14-8587-531c474c7b48" providerId="ADAL" clId="{6ECD27E6-B224-41CD-B4E0-E297462320DD}" dt="2023-11-24T08:52:39.331" v="93729"/>
          <ac:spMkLst>
            <pc:docMk/>
            <pc:sldMk cId="2637169229" sldId="2147478574"/>
            <ac:spMk id="612" creationId="{87F6762E-CD82-EDD9-5E92-D1585EEA1E0C}"/>
          </ac:spMkLst>
        </pc:spChg>
        <pc:spChg chg="add del mod">
          <ac:chgData name="Steiner Andreas 6206 ED" userId="e6377c33-a923-4f14-8587-531c474c7b48" providerId="ADAL" clId="{6ECD27E6-B224-41CD-B4E0-E297462320DD}" dt="2023-11-24T08:52:41.381" v="93884"/>
          <ac:spMkLst>
            <pc:docMk/>
            <pc:sldMk cId="2637169229" sldId="2147478574"/>
            <ac:spMk id="613" creationId="{55D4C677-B70D-8A98-B692-163B18656F86}"/>
          </ac:spMkLst>
        </pc:spChg>
        <pc:spChg chg="add del mod">
          <ac:chgData name="Steiner Andreas 6206 ED" userId="e6377c33-a923-4f14-8587-531c474c7b48" providerId="ADAL" clId="{6ECD27E6-B224-41CD-B4E0-E297462320DD}" dt="2023-11-24T08:52:43.328" v="94039"/>
          <ac:spMkLst>
            <pc:docMk/>
            <pc:sldMk cId="2637169229" sldId="2147478574"/>
            <ac:spMk id="614" creationId="{5B196C5F-A623-3DE8-EB12-0D698467688C}"/>
          </ac:spMkLst>
        </pc:spChg>
        <pc:spChg chg="add del mod">
          <ac:chgData name="Steiner Andreas 6206 ED" userId="e6377c33-a923-4f14-8587-531c474c7b48" providerId="ADAL" clId="{6ECD27E6-B224-41CD-B4E0-E297462320DD}" dt="2023-11-24T08:52:45.266" v="94194"/>
          <ac:spMkLst>
            <pc:docMk/>
            <pc:sldMk cId="2637169229" sldId="2147478574"/>
            <ac:spMk id="615" creationId="{FD3ED5B8-68B4-BFBE-D777-3A5BE54E6FFA}"/>
          </ac:spMkLst>
        </pc:spChg>
        <pc:spChg chg="add del mod">
          <ac:chgData name="Steiner Andreas 6206 ED" userId="e6377c33-a923-4f14-8587-531c474c7b48" providerId="ADAL" clId="{6ECD27E6-B224-41CD-B4E0-E297462320DD}" dt="2023-11-24T08:52:47.228" v="94349"/>
          <ac:spMkLst>
            <pc:docMk/>
            <pc:sldMk cId="2637169229" sldId="2147478574"/>
            <ac:spMk id="616" creationId="{035C63F6-4BF1-601B-F768-5E64468B5131}"/>
          </ac:spMkLst>
        </pc:spChg>
        <pc:spChg chg="add del mod">
          <ac:chgData name="Steiner Andreas 6206 ED" userId="e6377c33-a923-4f14-8587-531c474c7b48" providerId="ADAL" clId="{6ECD27E6-B224-41CD-B4E0-E297462320DD}" dt="2023-11-24T08:52:49.307" v="94504"/>
          <ac:spMkLst>
            <pc:docMk/>
            <pc:sldMk cId="2637169229" sldId="2147478574"/>
            <ac:spMk id="617" creationId="{8B81374E-0266-07BF-E93D-499942608872}"/>
          </ac:spMkLst>
        </pc:spChg>
        <pc:spChg chg="add del mod">
          <ac:chgData name="Steiner Andreas 6206 ED" userId="e6377c33-a923-4f14-8587-531c474c7b48" providerId="ADAL" clId="{6ECD27E6-B224-41CD-B4E0-E297462320DD}" dt="2023-11-24T08:52:51.506" v="94659"/>
          <ac:spMkLst>
            <pc:docMk/>
            <pc:sldMk cId="2637169229" sldId="2147478574"/>
            <ac:spMk id="618" creationId="{2C36EBBE-CF67-E945-8DAC-8877F1B3C4FD}"/>
          </ac:spMkLst>
        </pc:spChg>
        <pc:spChg chg="add del mod">
          <ac:chgData name="Steiner Andreas 6206 ED" userId="e6377c33-a923-4f14-8587-531c474c7b48" providerId="ADAL" clId="{6ECD27E6-B224-41CD-B4E0-E297462320DD}" dt="2023-11-24T08:52:53.451" v="94814"/>
          <ac:spMkLst>
            <pc:docMk/>
            <pc:sldMk cId="2637169229" sldId="2147478574"/>
            <ac:spMk id="619" creationId="{C8B8E917-582B-0960-F450-4C0D2D291351}"/>
          </ac:spMkLst>
        </pc:spChg>
        <pc:spChg chg="add del mod">
          <ac:chgData name="Steiner Andreas 6206 ED" userId="e6377c33-a923-4f14-8587-531c474c7b48" providerId="ADAL" clId="{6ECD27E6-B224-41CD-B4E0-E297462320DD}" dt="2023-11-24T08:52:55.388" v="94969"/>
          <ac:spMkLst>
            <pc:docMk/>
            <pc:sldMk cId="2637169229" sldId="2147478574"/>
            <ac:spMk id="620" creationId="{8C41AC71-3A0C-A830-BFE3-64A3F26C9A6E}"/>
          </ac:spMkLst>
        </pc:spChg>
        <pc:spChg chg="add del mod">
          <ac:chgData name="Steiner Andreas 6206 ED" userId="e6377c33-a923-4f14-8587-531c474c7b48" providerId="ADAL" clId="{6ECD27E6-B224-41CD-B4E0-E297462320DD}" dt="2023-11-24T08:52:57.418" v="95124"/>
          <ac:spMkLst>
            <pc:docMk/>
            <pc:sldMk cId="2637169229" sldId="2147478574"/>
            <ac:spMk id="621" creationId="{C38950AF-EC5E-8EAF-59C7-D534DB4B48BE}"/>
          </ac:spMkLst>
        </pc:spChg>
        <pc:spChg chg="add del mod">
          <ac:chgData name="Steiner Andreas 6206 ED" userId="e6377c33-a923-4f14-8587-531c474c7b48" providerId="ADAL" clId="{6ECD27E6-B224-41CD-B4E0-E297462320DD}" dt="2023-11-24T08:52:59.370" v="95279"/>
          <ac:spMkLst>
            <pc:docMk/>
            <pc:sldMk cId="2637169229" sldId="2147478574"/>
            <ac:spMk id="622" creationId="{450D4AFA-8F02-58C1-87C4-7D0786B64FE2}"/>
          </ac:spMkLst>
        </pc:spChg>
        <pc:spChg chg="add del mod">
          <ac:chgData name="Steiner Andreas 6206 ED" userId="e6377c33-a923-4f14-8587-531c474c7b48" providerId="ADAL" clId="{6ECD27E6-B224-41CD-B4E0-E297462320DD}" dt="2023-11-24T08:53:01.376" v="95434"/>
          <ac:spMkLst>
            <pc:docMk/>
            <pc:sldMk cId="2637169229" sldId="2147478574"/>
            <ac:spMk id="623" creationId="{30903EA6-5F1E-644B-D1A1-6643FA579FA9}"/>
          </ac:spMkLst>
        </pc:spChg>
        <pc:spChg chg="add del mod">
          <ac:chgData name="Steiner Andreas 6206 ED" userId="e6377c33-a923-4f14-8587-531c474c7b48" providerId="ADAL" clId="{6ECD27E6-B224-41CD-B4E0-E297462320DD}" dt="2023-11-24T08:53:03.500" v="95589"/>
          <ac:spMkLst>
            <pc:docMk/>
            <pc:sldMk cId="2637169229" sldId="2147478574"/>
            <ac:spMk id="624" creationId="{05CD9473-A1BC-21FD-9CF3-E433F97985F9}"/>
          </ac:spMkLst>
        </pc:spChg>
        <pc:spChg chg="add del mod">
          <ac:chgData name="Steiner Andreas 6206 ED" userId="e6377c33-a923-4f14-8587-531c474c7b48" providerId="ADAL" clId="{6ECD27E6-B224-41CD-B4E0-E297462320DD}" dt="2023-11-24T08:53:05.461" v="95744"/>
          <ac:spMkLst>
            <pc:docMk/>
            <pc:sldMk cId="2637169229" sldId="2147478574"/>
            <ac:spMk id="625" creationId="{88464DDF-51DD-8C03-1433-B37A4C7A7466}"/>
          </ac:spMkLst>
        </pc:spChg>
        <pc:spChg chg="add del mod">
          <ac:chgData name="Steiner Andreas 6206 ED" userId="e6377c33-a923-4f14-8587-531c474c7b48" providerId="ADAL" clId="{6ECD27E6-B224-41CD-B4E0-E297462320DD}" dt="2023-11-24T08:53:07.338" v="95899"/>
          <ac:spMkLst>
            <pc:docMk/>
            <pc:sldMk cId="2637169229" sldId="2147478574"/>
            <ac:spMk id="626" creationId="{5712DBD6-27A4-91D5-F997-DBA632DC9793}"/>
          </ac:spMkLst>
        </pc:spChg>
        <pc:spChg chg="add del mod">
          <ac:chgData name="Steiner Andreas 6206 ED" userId="e6377c33-a923-4f14-8587-531c474c7b48" providerId="ADAL" clId="{6ECD27E6-B224-41CD-B4E0-E297462320DD}" dt="2023-11-24T08:53:09.277" v="96054"/>
          <ac:spMkLst>
            <pc:docMk/>
            <pc:sldMk cId="2637169229" sldId="2147478574"/>
            <ac:spMk id="627" creationId="{D32B92B7-9122-B4CC-F1D0-3AE9719FDE3B}"/>
          </ac:spMkLst>
        </pc:spChg>
        <pc:spChg chg="add del mod">
          <ac:chgData name="Steiner Andreas 6206 ED" userId="e6377c33-a923-4f14-8587-531c474c7b48" providerId="ADAL" clId="{6ECD27E6-B224-41CD-B4E0-E297462320DD}" dt="2023-11-24T08:53:11.225" v="96209"/>
          <ac:spMkLst>
            <pc:docMk/>
            <pc:sldMk cId="2637169229" sldId="2147478574"/>
            <ac:spMk id="628" creationId="{80D338A7-41E9-8378-AF77-98BCE33A2B35}"/>
          </ac:spMkLst>
        </pc:spChg>
        <pc:spChg chg="add del mod">
          <ac:chgData name="Steiner Andreas 6206 ED" userId="e6377c33-a923-4f14-8587-531c474c7b48" providerId="ADAL" clId="{6ECD27E6-B224-41CD-B4E0-E297462320DD}" dt="2023-11-24T08:53:13.217" v="96364"/>
          <ac:spMkLst>
            <pc:docMk/>
            <pc:sldMk cId="2637169229" sldId="2147478574"/>
            <ac:spMk id="629" creationId="{BB2852DE-212C-DDB3-28CE-1115EF2ECAB5}"/>
          </ac:spMkLst>
        </pc:spChg>
        <pc:spChg chg="add del mod">
          <ac:chgData name="Steiner Andreas 6206 ED" userId="e6377c33-a923-4f14-8587-531c474c7b48" providerId="ADAL" clId="{6ECD27E6-B224-41CD-B4E0-E297462320DD}" dt="2023-11-24T08:53:15.303" v="96519"/>
          <ac:spMkLst>
            <pc:docMk/>
            <pc:sldMk cId="2637169229" sldId="2147478574"/>
            <ac:spMk id="630" creationId="{562E770C-19EC-A6FD-924B-F3B7B1D4159B}"/>
          </ac:spMkLst>
        </pc:spChg>
        <pc:spChg chg="add del mod">
          <ac:chgData name="Steiner Andreas 6206 ED" userId="e6377c33-a923-4f14-8587-531c474c7b48" providerId="ADAL" clId="{6ECD27E6-B224-41CD-B4E0-E297462320DD}" dt="2023-11-24T08:53:17.266" v="96674"/>
          <ac:spMkLst>
            <pc:docMk/>
            <pc:sldMk cId="2637169229" sldId="2147478574"/>
            <ac:spMk id="631" creationId="{CCC1F5CB-DBE6-B796-4030-3E7BDE05B7F7}"/>
          </ac:spMkLst>
        </pc:spChg>
        <pc:spChg chg="add del mod">
          <ac:chgData name="Steiner Andreas 6206 ED" userId="e6377c33-a923-4f14-8587-531c474c7b48" providerId="ADAL" clId="{6ECD27E6-B224-41CD-B4E0-E297462320DD}" dt="2023-11-24T08:53:19.236" v="96829"/>
          <ac:spMkLst>
            <pc:docMk/>
            <pc:sldMk cId="2637169229" sldId="2147478574"/>
            <ac:spMk id="632" creationId="{FC6B6DE3-F953-5AA7-683F-772FD12F3E3B}"/>
          </ac:spMkLst>
        </pc:spChg>
        <pc:spChg chg="add del mod">
          <ac:chgData name="Steiner Andreas 6206 ED" userId="e6377c33-a923-4f14-8587-531c474c7b48" providerId="ADAL" clId="{6ECD27E6-B224-41CD-B4E0-E297462320DD}" dt="2023-11-24T08:53:21.190" v="96984"/>
          <ac:spMkLst>
            <pc:docMk/>
            <pc:sldMk cId="2637169229" sldId="2147478574"/>
            <ac:spMk id="633" creationId="{3931E22A-4B62-AC05-EE8B-2CC905CA42C1}"/>
          </ac:spMkLst>
        </pc:spChg>
        <pc:spChg chg="add del mod">
          <ac:chgData name="Steiner Andreas 6206 ED" userId="e6377c33-a923-4f14-8587-531c474c7b48" providerId="ADAL" clId="{6ECD27E6-B224-41CD-B4E0-E297462320DD}" dt="2023-11-24T08:53:23.152" v="97139"/>
          <ac:spMkLst>
            <pc:docMk/>
            <pc:sldMk cId="2637169229" sldId="2147478574"/>
            <ac:spMk id="634" creationId="{F159F06D-0211-A9D5-2453-7378988A550A}"/>
          </ac:spMkLst>
        </pc:spChg>
        <pc:spChg chg="add del mod">
          <ac:chgData name="Steiner Andreas 6206 ED" userId="e6377c33-a923-4f14-8587-531c474c7b48" providerId="ADAL" clId="{6ECD27E6-B224-41CD-B4E0-E297462320DD}" dt="2023-11-24T08:53:25.268" v="97294"/>
          <ac:spMkLst>
            <pc:docMk/>
            <pc:sldMk cId="2637169229" sldId="2147478574"/>
            <ac:spMk id="635" creationId="{B169A893-2373-281C-A672-7E7C71E6744A}"/>
          </ac:spMkLst>
        </pc:spChg>
        <pc:spChg chg="add del mod">
          <ac:chgData name="Steiner Andreas 6206 ED" userId="e6377c33-a923-4f14-8587-531c474c7b48" providerId="ADAL" clId="{6ECD27E6-B224-41CD-B4E0-E297462320DD}" dt="2023-11-24T08:53:27.257" v="97449"/>
          <ac:spMkLst>
            <pc:docMk/>
            <pc:sldMk cId="2637169229" sldId="2147478574"/>
            <ac:spMk id="636" creationId="{70A2A0C4-DAA4-6458-AA9D-78BEABC265B9}"/>
          </ac:spMkLst>
        </pc:spChg>
        <pc:spChg chg="add del mod">
          <ac:chgData name="Steiner Andreas 6206 ED" userId="e6377c33-a923-4f14-8587-531c474c7b48" providerId="ADAL" clId="{6ECD27E6-B224-41CD-B4E0-E297462320DD}" dt="2023-11-24T08:53:29.147" v="97604"/>
          <ac:spMkLst>
            <pc:docMk/>
            <pc:sldMk cId="2637169229" sldId="2147478574"/>
            <ac:spMk id="637" creationId="{04F3391F-2153-21C7-443E-1780C3E6901F}"/>
          </ac:spMkLst>
        </pc:spChg>
        <pc:spChg chg="add del mod">
          <ac:chgData name="Steiner Andreas 6206 ED" userId="e6377c33-a923-4f14-8587-531c474c7b48" providerId="ADAL" clId="{6ECD27E6-B224-41CD-B4E0-E297462320DD}" dt="2023-11-24T08:53:31.046" v="97759"/>
          <ac:spMkLst>
            <pc:docMk/>
            <pc:sldMk cId="2637169229" sldId="2147478574"/>
            <ac:spMk id="638" creationId="{8D520C86-9F9C-2016-FE76-6A9B057E2481}"/>
          </ac:spMkLst>
        </pc:spChg>
        <pc:spChg chg="add del mod">
          <ac:chgData name="Steiner Andreas 6206 ED" userId="e6377c33-a923-4f14-8587-531c474c7b48" providerId="ADAL" clId="{6ECD27E6-B224-41CD-B4E0-E297462320DD}" dt="2023-11-24T08:53:32.979" v="97914"/>
          <ac:spMkLst>
            <pc:docMk/>
            <pc:sldMk cId="2637169229" sldId="2147478574"/>
            <ac:spMk id="639" creationId="{69ABE8BB-C286-5EBC-9DAA-A25A916A7C04}"/>
          </ac:spMkLst>
        </pc:spChg>
        <pc:spChg chg="add del mod">
          <ac:chgData name="Steiner Andreas 6206 ED" userId="e6377c33-a923-4f14-8587-531c474c7b48" providerId="ADAL" clId="{6ECD27E6-B224-41CD-B4E0-E297462320DD}" dt="2023-11-24T08:53:34.909" v="98069"/>
          <ac:spMkLst>
            <pc:docMk/>
            <pc:sldMk cId="2637169229" sldId="2147478574"/>
            <ac:spMk id="640" creationId="{CFA9CDA6-8A87-4231-A534-DE48BDCADFEC}"/>
          </ac:spMkLst>
        </pc:spChg>
        <pc:spChg chg="add del mod">
          <ac:chgData name="Steiner Andreas 6206 ED" userId="e6377c33-a923-4f14-8587-531c474c7b48" providerId="ADAL" clId="{6ECD27E6-B224-41CD-B4E0-E297462320DD}" dt="2023-11-24T08:53:37.005" v="98224"/>
          <ac:spMkLst>
            <pc:docMk/>
            <pc:sldMk cId="2637169229" sldId="2147478574"/>
            <ac:spMk id="641" creationId="{9E715B20-4E75-7ED1-0509-853E5FCDA53A}"/>
          </ac:spMkLst>
        </pc:spChg>
        <pc:spChg chg="add del mod">
          <ac:chgData name="Steiner Andreas 6206 ED" userId="e6377c33-a923-4f14-8587-531c474c7b48" providerId="ADAL" clId="{6ECD27E6-B224-41CD-B4E0-E297462320DD}" dt="2023-11-24T08:53:38.920" v="98379"/>
          <ac:spMkLst>
            <pc:docMk/>
            <pc:sldMk cId="2637169229" sldId="2147478574"/>
            <ac:spMk id="642" creationId="{C9DD5E75-BD30-7D7E-3F08-A2C21E4EF526}"/>
          </ac:spMkLst>
        </pc:spChg>
        <pc:spChg chg="add del mod">
          <ac:chgData name="Steiner Andreas 6206 ED" userId="e6377c33-a923-4f14-8587-531c474c7b48" providerId="ADAL" clId="{6ECD27E6-B224-41CD-B4E0-E297462320DD}" dt="2023-11-24T08:53:40.879" v="98534"/>
          <ac:spMkLst>
            <pc:docMk/>
            <pc:sldMk cId="2637169229" sldId="2147478574"/>
            <ac:spMk id="643" creationId="{6FEC6FE2-2528-4929-3C28-470C85CBD481}"/>
          </ac:spMkLst>
        </pc:spChg>
        <pc:spChg chg="add del mod">
          <ac:chgData name="Steiner Andreas 6206 ED" userId="e6377c33-a923-4f14-8587-531c474c7b48" providerId="ADAL" clId="{6ECD27E6-B224-41CD-B4E0-E297462320DD}" dt="2023-11-24T08:53:42.824" v="98689"/>
          <ac:spMkLst>
            <pc:docMk/>
            <pc:sldMk cId="2637169229" sldId="2147478574"/>
            <ac:spMk id="644" creationId="{BCBD2991-CE99-18F1-1167-06B4FDC10EA7}"/>
          </ac:spMkLst>
        </pc:spChg>
        <pc:spChg chg="add del mod">
          <ac:chgData name="Steiner Andreas 6206 ED" userId="e6377c33-a923-4f14-8587-531c474c7b48" providerId="ADAL" clId="{6ECD27E6-B224-41CD-B4E0-E297462320DD}" dt="2023-11-24T08:53:44.772" v="98844"/>
          <ac:spMkLst>
            <pc:docMk/>
            <pc:sldMk cId="2637169229" sldId="2147478574"/>
            <ac:spMk id="645" creationId="{D98E0DE1-9AD2-909F-7619-C905ABCDA539}"/>
          </ac:spMkLst>
        </pc:spChg>
        <pc:spChg chg="add del mod">
          <ac:chgData name="Steiner Andreas 6206 ED" userId="e6377c33-a923-4f14-8587-531c474c7b48" providerId="ADAL" clId="{6ECD27E6-B224-41CD-B4E0-E297462320DD}" dt="2023-11-24T08:53:46.711" v="98999"/>
          <ac:spMkLst>
            <pc:docMk/>
            <pc:sldMk cId="2637169229" sldId="2147478574"/>
            <ac:spMk id="646" creationId="{0D67E1A2-E588-89F7-03A2-AE5E4D47E08C}"/>
          </ac:spMkLst>
        </pc:spChg>
        <pc:spChg chg="add del mod">
          <ac:chgData name="Steiner Andreas 6206 ED" userId="e6377c33-a923-4f14-8587-531c474c7b48" providerId="ADAL" clId="{6ECD27E6-B224-41CD-B4E0-E297462320DD}" dt="2023-11-24T08:53:48.771" v="99154"/>
          <ac:spMkLst>
            <pc:docMk/>
            <pc:sldMk cId="2637169229" sldId="2147478574"/>
            <ac:spMk id="647" creationId="{7480190B-142A-06E8-0438-9A43D7C345D9}"/>
          </ac:spMkLst>
        </pc:spChg>
        <pc:spChg chg="add del mod">
          <ac:chgData name="Steiner Andreas 6206 ED" userId="e6377c33-a923-4f14-8587-531c474c7b48" providerId="ADAL" clId="{6ECD27E6-B224-41CD-B4E0-E297462320DD}" dt="2023-11-24T08:53:50.722" v="99309"/>
          <ac:spMkLst>
            <pc:docMk/>
            <pc:sldMk cId="2637169229" sldId="2147478574"/>
            <ac:spMk id="648" creationId="{8B6E1C03-2658-8E95-7A21-E33FA9D92A3B}"/>
          </ac:spMkLst>
        </pc:spChg>
        <pc:spChg chg="add del mod">
          <ac:chgData name="Steiner Andreas 6206 ED" userId="e6377c33-a923-4f14-8587-531c474c7b48" providerId="ADAL" clId="{6ECD27E6-B224-41CD-B4E0-E297462320DD}" dt="2023-11-24T08:53:52.711" v="99464"/>
          <ac:spMkLst>
            <pc:docMk/>
            <pc:sldMk cId="2637169229" sldId="2147478574"/>
            <ac:spMk id="649" creationId="{2AFAD2FA-8ADC-6577-6F2F-B0C1ACCF89AA}"/>
          </ac:spMkLst>
        </pc:spChg>
        <pc:spChg chg="add del mod">
          <ac:chgData name="Steiner Andreas 6206 ED" userId="e6377c33-a923-4f14-8587-531c474c7b48" providerId="ADAL" clId="{6ECD27E6-B224-41CD-B4E0-E297462320DD}" dt="2023-11-24T08:53:54.670" v="99619"/>
          <ac:spMkLst>
            <pc:docMk/>
            <pc:sldMk cId="2637169229" sldId="2147478574"/>
            <ac:spMk id="650" creationId="{E7DDC9CE-B9EF-9EA8-071F-99745F0D09CE}"/>
          </ac:spMkLst>
        </pc:spChg>
        <pc:spChg chg="add del mod">
          <ac:chgData name="Steiner Andreas 6206 ED" userId="e6377c33-a923-4f14-8587-531c474c7b48" providerId="ADAL" clId="{6ECD27E6-B224-41CD-B4E0-E297462320DD}" dt="2023-11-24T08:53:56.600" v="99774"/>
          <ac:spMkLst>
            <pc:docMk/>
            <pc:sldMk cId="2637169229" sldId="2147478574"/>
            <ac:spMk id="651" creationId="{B2A8716F-4653-3FAD-2D16-09351380E8AA}"/>
          </ac:spMkLst>
        </pc:spChg>
        <pc:spChg chg="add del mod">
          <ac:chgData name="Steiner Andreas 6206 ED" userId="e6377c33-a923-4f14-8587-531c474c7b48" providerId="ADAL" clId="{6ECD27E6-B224-41CD-B4E0-E297462320DD}" dt="2023-11-24T08:53:58.677" v="99929"/>
          <ac:spMkLst>
            <pc:docMk/>
            <pc:sldMk cId="2637169229" sldId="2147478574"/>
            <ac:spMk id="652" creationId="{B128EF70-88D7-3442-17BE-045CEDBCE00B}"/>
          </ac:spMkLst>
        </pc:spChg>
        <pc:spChg chg="add del mod">
          <ac:chgData name="Steiner Andreas 6206 ED" userId="e6377c33-a923-4f14-8587-531c474c7b48" providerId="ADAL" clId="{6ECD27E6-B224-41CD-B4E0-E297462320DD}" dt="2023-11-24T08:54:00.776" v="100084"/>
          <ac:spMkLst>
            <pc:docMk/>
            <pc:sldMk cId="2637169229" sldId="2147478574"/>
            <ac:spMk id="653" creationId="{CE5E05B7-6E7C-E770-4678-E92FAD220FE3}"/>
          </ac:spMkLst>
        </pc:spChg>
        <pc:spChg chg="add del mod">
          <ac:chgData name="Steiner Andreas 6206 ED" userId="e6377c33-a923-4f14-8587-531c474c7b48" providerId="ADAL" clId="{6ECD27E6-B224-41CD-B4E0-E297462320DD}" dt="2023-11-24T08:54:02.770" v="100239"/>
          <ac:spMkLst>
            <pc:docMk/>
            <pc:sldMk cId="2637169229" sldId="2147478574"/>
            <ac:spMk id="654" creationId="{8723F96D-0300-846B-3910-A6047EDEBA4E}"/>
          </ac:spMkLst>
        </pc:spChg>
        <pc:spChg chg="add del mod">
          <ac:chgData name="Steiner Andreas 6206 ED" userId="e6377c33-a923-4f14-8587-531c474c7b48" providerId="ADAL" clId="{6ECD27E6-B224-41CD-B4E0-E297462320DD}" dt="2023-11-24T08:54:04.719" v="100394"/>
          <ac:spMkLst>
            <pc:docMk/>
            <pc:sldMk cId="2637169229" sldId="2147478574"/>
            <ac:spMk id="655" creationId="{FD724C45-EA99-ADF9-ED5A-513D5C2E2BE6}"/>
          </ac:spMkLst>
        </pc:spChg>
        <pc:spChg chg="add del mod">
          <ac:chgData name="Steiner Andreas 6206 ED" userId="e6377c33-a923-4f14-8587-531c474c7b48" providerId="ADAL" clId="{6ECD27E6-B224-41CD-B4E0-E297462320DD}" dt="2023-11-24T08:54:06.691" v="100549"/>
          <ac:spMkLst>
            <pc:docMk/>
            <pc:sldMk cId="2637169229" sldId="2147478574"/>
            <ac:spMk id="656" creationId="{FA29D5F8-D5F2-07D1-1957-D8C921D247B7}"/>
          </ac:spMkLst>
        </pc:spChg>
        <pc:spChg chg="add del mod">
          <ac:chgData name="Steiner Andreas 6206 ED" userId="e6377c33-a923-4f14-8587-531c474c7b48" providerId="ADAL" clId="{6ECD27E6-B224-41CD-B4E0-E297462320DD}" dt="2023-11-24T08:54:08.678" v="100704"/>
          <ac:spMkLst>
            <pc:docMk/>
            <pc:sldMk cId="2637169229" sldId="2147478574"/>
            <ac:spMk id="657" creationId="{0B90135C-2C81-B353-5D5A-C21B48EECE60}"/>
          </ac:spMkLst>
        </pc:spChg>
        <pc:spChg chg="add del mod">
          <ac:chgData name="Steiner Andreas 6206 ED" userId="e6377c33-a923-4f14-8587-531c474c7b48" providerId="ADAL" clId="{6ECD27E6-B224-41CD-B4E0-E297462320DD}" dt="2023-11-24T08:54:10.815" v="100859"/>
          <ac:spMkLst>
            <pc:docMk/>
            <pc:sldMk cId="2637169229" sldId="2147478574"/>
            <ac:spMk id="658" creationId="{ED955285-A8C1-716E-C0B2-430698C1C836}"/>
          </ac:spMkLst>
        </pc:spChg>
        <pc:spChg chg="add del mod">
          <ac:chgData name="Steiner Andreas 6206 ED" userId="e6377c33-a923-4f14-8587-531c474c7b48" providerId="ADAL" clId="{6ECD27E6-B224-41CD-B4E0-E297462320DD}" dt="2023-11-24T08:54:12.737" v="101014"/>
          <ac:spMkLst>
            <pc:docMk/>
            <pc:sldMk cId="2637169229" sldId="2147478574"/>
            <ac:spMk id="659" creationId="{FD55BDA9-C7F3-D3A5-8A7B-6486717B97E5}"/>
          </ac:spMkLst>
        </pc:spChg>
        <pc:spChg chg="add del mod">
          <ac:chgData name="Steiner Andreas 6206 ED" userId="e6377c33-a923-4f14-8587-531c474c7b48" providerId="ADAL" clId="{6ECD27E6-B224-41CD-B4E0-E297462320DD}" dt="2023-11-24T08:54:14.708" v="101169"/>
          <ac:spMkLst>
            <pc:docMk/>
            <pc:sldMk cId="2637169229" sldId="2147478574"/>
            <ac:spMk id="660" creationId="{FE533240-7844-17B1-B9AC-387CE734370A}"/>
          </ac:spMkLst>
        </pc:spChg>
        <pc:spChg chg="add del mod">
          <ac:chgData name="Steiner Andreas 6206 ED" userId="e6377c33-a923-4f14-8587-531c474c7b48" providerId="ADAL" clId="{6ECD27E6-B224-41CD-B4E0-E297462320DD}" dt="2023-11-24T08:54:16.591" v="101324"/>
          <ac:spMkLst>
            <pc:docMk/>
            <pc:sldMk cId="2637169229" sldId="2147478574"/>
            <ac:spMk id="661" creationId="{1BC4CCB2-02F4-C24A-DF53-B09E8DA3B532}"/>
          </ac:spMkLst>
        </pc:spChg>
        <pc:spChg chg="add del mod">
          <ac:chgData name="Steiner Andreas 6206 ED" userId="e6377c33-a923-4f14-8587-531c474c7b48" providerId="ADAL" clId="{6ECD27E6-B224-41CD-B4E0-E297462320DD}" dt="2023-11-24T08:54:18.509" v="101479"/>
          <ac:spMkLst>
            <pc:docMk/>
            <pc:sldMk cId="2637169229" sldId="2147478574"/>
            <ac:spMk id="662" creationId="{870625A3-3711-6675-DB57-DD6C8727671D}"/>
          </ac:spMkLst>
        </pc:spChg>
        <pc:spChg chg="add del mod">
          <ac:chgData name="Steiner Andreas 6206 ED" userId="e6377c33-a923-4f14-8587-531c474c7b48" providerId="ADAL" clId="{6ECD27E6-B224-41CD-B4E0-E297462320DD}" dt="2023-11-24T08:54:20.473" v="101634"/>
          <ac:spMkLst>
            <pc:docMk/>
            <pc:sldMk cId="2637169229" sldId="2147478574"/>
            <ac:spMk id="663" creationId="{59DE14A5-FAA7-1CAC-6F31-AA94053DF141}"/>
          </ac:spMkLst>
        </pc:spChg>
        <pc:spChg chg="add del mod">
          <ac:chgData name="Steiner Andreas 6206 ED" userId="e6377c33-a923-4f14-8587-531c474c7b48" providerId="ADAL" clId="{6ECD27E6-B224-41CD-B4E0-E297462320DD}" dt="2023-11-24T08:54:22.577" v="101789"/>
          <ac:spMkLst>
            <pc:docMk/>
            <pc:sldMk cId="2637169229" sldId="2147478574"/>
            <ac:spMk id="664" creationId="{5EB788AB-B288-F515-A389-6C523229FA78}"/>
          </ac:spMkLst>
        </pc:spChg>
        <pc:spChg chg="add del mod">
          <ac:chgData name="Steiner Andreas 6206 ED" userId="e6377c33-a923-4f14-8587-531c474c7b48" providerId="ADAL" clId="{6ECD27E6-B224-41CD-B4E0-E297462320DD}" dt="2023-11-24T08:54:24.544" v="101944"/>
          <ac:spMkLst>
            <pc:docMk/>
            <pc:sldMk cId="2637169229" sldId="2147478574"/>
            <ac:spMk id="665" creationId="{3731588D-D170-5201-EE00-0D2A8B0FFCE1}"/>
          </ac:spMkLst>
        </pc:spChg>
        <pc:spChg chg="add del mod">
          <ac:chgData name="Steiner Andreas 6206 ED" userId="e6377c33-a923-4f14-8587-531c474c7b48" providerId="ADAL" clId="{6ECD27E6-B224-41CD-B4E0-E297462320DD}" dt="2023-11-24T08:54:26.493" v="102099"/>
          <ac:spMkLst>
            <pc:docMk/>
            <pc:sldMk cId="2637169229" sldId="2147478574"/>
            <ac:spMk id="666" creationId="{D3C72F0B-7141-557E-DF60-65D5ACEF4764}"/>
          </ac:spMkLst>
        </pc:spChg>
        <pc:spChg chg="add del mod">
          <ac:chgData name="Steiner Andreas 6206 ED" userId="e6377c33-a923-4f14-8587-531c474c7b48" providerId="ADAL" clId="{6ECD27E6-B224-41CD-B4E0-E297462320DD}" dt="2023-11-24T08:54:28.450" v="102254"/>
          <ac:spMkLst>
            <pc:docMk/>
            <pc:sldMk cId="2637169229" sldId="2147478574"/>
            <ac:spMk id="667" creationId="{51372B61-0CA9-25D3-3A85-A62E3D1E752E}"/>
          </ac:spMkLst>
        </pc:spChg>
        <pc:spChg chg="add del mod">
          <ac:chgData name="Steiner Andreas 6206 ED" userId="e6377c33-a923-4f14-8587-531c474c7b48" providerId="ADAL" clId="{6ECD27E6-B224-41CD-B4E0-E297462320DD}" dt="2023-11-24T08:54:30.376" v="102409"/>
          <ac:spMkLst>
            <pc:docMk/>
            <pc:sldMk cId="2637169229" sldId="2147478574"/>
            <ac:spMk id="668" creationId="{F8FEC264-FBAA-DF27-258E-5962E2F61BC4}"/>
          </ac:spMkLst>
        </pc:spChg>
        <pc:spChg chg="add del mod">
          <ac:chgData name="Steiner Andreas 6206 ED" userId="e6377c33-a923-4f14-8587-531c474c7b48" providerId="ADAL" clId="{6ECD27E6-B224-41CD-B4E0-E297462320DD}" dt="2023-11-24T08:54:32.537" v="102564"/>
          <ac:spMkLst>
            <pc:docMk/>
            <pc:sldMk cId="2637169229" sldId="2147478574"/>
            <ac:spMk id="669" creationId="{93579439-09AD-826D-B6EB-66B860DB6676}"/>
          </ac:spMkLst>
        </pc:spChg>
        <pc:spChg chg="add del mod">
          <ac:chgData name="Steiner Andreas 6206 ED" userId="e6377c33-a923-4f14-8587-531c474c7b48" providerId="ADAL" clId="{6ECD27E6-B224-41CD-B4E0-E297462320DD}" dt="2023-11-24T08:54:34.510" v="102719"/>
          <ac:spMkLst>
            <pc:docMk/>
            <pc:sldMk cId="2637169229" sldId="2147478574"/>
            <ac:spMk id="670" creationId="{E1093537-DC3E-9200-962D-7F2312768AA3}"/>
          </ac:spMkLst>
        </pc:spChg>
        <pc:spChg chg="add del mod">
          <ac:chgData name="Steiner Andreas 6206 ED" userId="e6377c33-a923-4f14-8587-531c474c7b48" providerId="ADAL" clId="{6ECD27E6-B224-41CD-B4E0-E297462320DD}" dt="2023-11-24T08:54:36.438" v="102874"/>
          <ac:spMkLst>
            <pc:docMk/>
            <pc:sldMk cId="2637169229" sldId="2147478574"/>
            <ac:spMk id="671" creationId="{DC80EB18-0D85-2262-20FA-04B7CA549F1A}"/>
          </ac:spMkLst>
        </pc:spChg>
        <pc:spChg chg="add del mod">
          <ac:chgData name="Steiner Andreas 6206 ED" userId="e6377c33-a923-4f14-8587-531c474c7b48" providerId="ADAL" clId="{6ECD27E6-B224-41CD-B4E0-E297462320DD}" dt="2023-11-24T08:54:38.664" v="103029"/>
          <ac:spMkLst>
            <pc:docMk/>
            <pc:sldMk cId="2637169229" sldId="2147478574"/>
            <ac:spMk id="672" creationId="{DCA225E6-D6CD-AE22-23E6-234838AD2C6E}"/>
          </ac:spMkLst>
        </pc:spChg>
        <pc:spChg chg="add del mod">
          <ac:chgData name="Steiner Andreas 6206 ED" userId="e6377c33-a923-4f14-8587-531c474c7b48" providerId="ADAL" clId="{6ECD27E6-B224-41CD-B4E0-E297462320DD}" dt="2023-11-24T08:54:40.816" v="103184"/>
          <ac:spMkLst>
            <pc:docMk/>
            <pc:sldMk cId="2637169229" sldId="2147478574"/>
            <ac:spMk id="673" creationId="{0DA9C492-A2CC-BECF-5AC9-9D844BFA58C7}"/>
          </ac:spMkLst>
        </pc:spChg>
        <pc:spChg chg="add del mod">
          <ac:chgData name="Steiner Andreas 6206 ED" userId="e6377c33-a923-4f14-8587-531c474c7b48" providerId="ADAL" clId="{6ECD27E6-B224-41CD-B4E0-E297462320DD}" dt="2023-11-24T08:54:42.729" v="103339"/>
          <ac:spMkLst>
            <pc:docMk/>
            <pc:sldMk cId="2637169229" sldId="2147478574"/>
            <ac:spMk id="674" creationId="{88E0CC90-1B27-9F8C-5858-D8B995BFAFC1}"/>
          </ac:spMkLst>
        </pc:spChg>
        <pc:spChg chg="add del mod">
          <ac:chgData name="Steiner Andreas 6206 ED" userId="e6377c33-a923-4f14-8587-531c474c7b48" providerId="ADAL" clId="{6ECD27E6-B224-41CD-B4E0-E297462320DD}" dt="2023-11-24T08:54:44.997" v="103494"/>
          <ac:spMkLst>
            <pc:docMk/>
            <pc:sldMk cId="2637169229" sldId="2147478574"/>
            <ac:spMk id="675" creationId="{EB40A13D-EBBF-13B3-E39D-885F1A51ADEF}"/>
          </ac:spMkLst>
        </pc:spChg>
        <pc:spChg chg="add del mod">
          <ac:chgData name="Steiner Andreas 6206 ED" userId="e6377c33-a923-4f14-8587-531c474c7b48" providerId="ADAL" clId="{6ECD27E6-B224-41CD-B4E0-E297462320DD}" dt="2023-11-24T08:54:47.233" v="103649"/>
          <ac:spMkLst>
            <pc:docMk/>
            <pc:sldMk cId="2637169229" sldId="2147478574"/>
            <ac:spMk id="676" creationId="{BEC67F18-0EC7-249A-FD16-A0FD9646C02B}"/>
          </ac:spMkLst>
        </pc:spChg>
        <pc:spChg chg="add del mod">
          <ac:chgData name="Steiner Andreas 6206 ED" userId="e6377c33-a923-4f14-8587-531c474c7b48" providerId="ADAL" clId="{6ECD27E6-B224-41CD-B4E0-E297462320DD}" dt="2023-11-24T08:54:49.357" v="103804"/>
          <ac:spMkLst>
            <pc:docMk/>
            <pc:sldMk cId="2637169229" sldId="2147478574"/>
            <ac:spMk id="677" creationId="{44B6E80E-D666-9CE8-173E-CC10394C37CA}"/>
          </ac:spMkLst>
        </pc:spChg>
        <pc:spChg chg="add del mod">
          <ac:chgData name="Steiner Andreas 6206 ED" userId="e6377c33-a923-4f14-8587-531c474c7b48" providerId="ADAL" clId="{6ECD27E6-B224-41CD-B4E0-E297462320DD}" dt="2023-11-24T08:54:51.719" v="103959"/>
          <ac:spMkLst>
            <pc:docMk/>
            <pc:sldMk cId="2637169229" sldId="2147478574"/>
            <ac:spMk id="678" creationId="{D5E93566-233B-ECD8-A73A-64DDE90CDCED}"/>
          </ac:spMkLst>
        </pc:spChg>
        <pc:spChg chg="add del mod">
          <ac:chgData name="Steiner Andreas 6206 ED" userId="e6377c33-a923-4f14-8587-531c474c7b48" providerId="ADAL" clId="{6ECD27E6-B224-41CD-B4E0-E297462320DD}" dt="2023-11-24T08:54:53.778" v="104114"/>
          <ac:spMkLst>
            <pc:docMk/>
            <pc:sldMk cId="2637169229" sldId="2147478574"/>
            <ac:spMk id="679" creationId="{6DEE37CA-F4E0-5315-E1D3-917189CF3B73}"/>
          </ac:spMkLst>
        </pc:spChg>
        <pc:spChg chg="add del mod">
          <ac:chgData name="Steiner Andreas 6206 ED" userId="e6377c33-a923-4f14-8587-531c474c7b48" providerId="ADAL" clId="{6ECD27E6-B224-41CD-B4E0-E297462320DD}" dt="2023-11-24T08:54:55.902" v="104269"/>
          <ac:spMkLst>
            <pc:docMk/>
            <pc:sldMk cId="2637169229" sldId="2147478574"/>
            <ac:spMk id="680" creationId="{2724F03C-BD15-954D-D4B9-AE0277F3258C}"/>
          </ac:spMkLst>
        </pc:spChg>
        <pc:spChg chg="add del mod">
          <ac:chgData name="Steiner Andreas 6206 ED" userId="e6377c33-a923-4f14-8587-531c474c7b48" providerId="ADAL" clId="{6ECD27E6-B224-41CD-B4E0-E297462320DD}" dt="2023-11-24T08:54:57.977" v="104424"/>
          <ac:spMkLst>
            <pc:docMk/>
            <pc:sldMk cId="2637169229" sldId="2147478574"/>
            <ac:spMk id="681" creationId="{A7A25849-7EC5-0E2D-EAD0-E40369D43140}"/>
          </ac:spMkLst>
        </pc:spChg>
        <pc:spChg chg="add del mod">
          <ac:chgData name="Steiner Andreas 6206 ED" userId="e6377c33-a923-4f14-8587-531c474c7b48" providerId="ADAL" clId="{6ECD27E6-B224-41CD-B4E0-E297462320DD}" dt="2023-11-24T08:54:59.985" v="104579"/>
          <ac:spMkLst>
            <pc:docMk/>
            <pc:sldMk cId="2637169229" sldId="2147478574"/>
            <ac:spMk id="682" creationId="{EA1D7963-7686-6239-977B-43F3D2893275}"/>
          </ac:spMkLst>
        </pc:spChg>
        <pc:spChg chg="add del mod">
          <ac:chgData name="Steiner Andreas 6206 ED" userId="e6377c33-a923-4f14-8587-531c474c7b48" providerId="ADAL" clId="{6ECD27E6-B224-41CD-B4E0-E297462320DD}" dt="2023-11-24T08:55:01.936" v="104734"/>
          <ac:spMkLst>
            <pc:docMk/>
            <pc:sldMk cId="2637169229" sldId="2147478574"/>
            <ac:spMk id="683" creationId="{37860425-8474-37FF-CF0A-4B1695471C72}"/>
          </ac:spMkLst>
        </pc:spChg>
        <pc:spChg chg="add del mod">
          <ac:chgData name="Steiner Andreas 6206 ED" userId="e6377c33-a923-4f14-8587-531c474c7b48" providerId="ADAL" clId="{6ECD27E6-B224-41CD-B4E0-E297462320DD}" dt="2023-11-24T08:55:03.903" v="104889"/>
          <ac:spMkLst>
            <pc:docMk/>
            <pc:sldMk cId="2637169229" sldId="2147478574"/>
            <ac:spMk id="684" creationId="{74605D74-30D8-08FD-AB30-6F164F88F7BA}"/>
          </ac:spMkLst>
        </pc:spChg>
        <pc:spChg chg="add del mod">
          <ac:chgData name="Steiner Andreas 6206 ED" userId="e6377c33-a923-4f14-8587-531c474c7b48" providerId="ADAL" clId="{6ECD27E6-B224-41CD-B4E0-E297462320DD}" dt="2023-11-24T08:55:06.024" v="105044"/>
          <ac:spMkLst>
            <pc:docMk/>
            <pc:sldMk cId="2637169229" sldId="2147478574"/>
            <ac:spMk id="685" creationId="{4DA5750F-A1A8-8B4E-64E6-31D916A70908}"/>
          </ac:spMkLst>
        </pc:spChg>
        <pc:spChg chg="add del mod">
          <ac:chgData name="Steiner Andreas 6206 ED" userId="e6377c33-a923-4f14-8587-531c474c7b48" providerId="ADAL" clId="{6ECD27E6-B224-41CD-B4E0-E297462320DD}" dt="2023-11-24T08:55:08.117" v="105199"/>
          <ac:spMkLst>
            <pc:docMk/>
            <pc:sldMk cId="2637169229" sldId="2147478574"/>
            <ac:spMk id="686" creationId="{D87E7380-D233-206D-BFDE-6FEEF770341D}"/>
          </ac:spMkLst>
        </pc:spChg>
        <pc:spChg chg="add del mod">
          <ac:chgData name="Steiner Andreas 6206 ED" userId="e6377c33-a923-4f14-8587-531c474c7b48" providerId="ADAL" clId="{6ECD27E6-B224-41CD-B4E0-E297462320DD}" dt="2023-11-24T08:55:10.106" v="105354"/>
          <ac:spMkLst>
            <pc:docMk/>
            <pc:sldMk cId="2637169229" sldId="2147478574"/>
            <ac:spMk id="687" creationId="{74092F01-5F8B-0083-B62B-8CFEB363CAF0}"/>
          </ac:spMkLst>
        </pc:spChg>
        <pc:spChg chg="add del mod">
          <ac:chgData name="Steiner Andreas 6206 ED" userId="e6377c33-a923-4f14-8587-531c474c7b48" providerId="ADAL" clId="{6ECD27E6-B224-41CD-B4E0-E297462320DD}" dt="2023-11-24T08:55:12.092" v="105509"/>
          <ac:spMkLst>
            <pc:docMk/>
            <pc:sldMk cId="2637169229" sldId="2147478574"/>
            <ac:spMk id="688" creationId="{B6BBBDE7-617C-8C49-F93A-217961AB651E}"/>
          </ac:spMkLst>
        </pc:spChg>
        <pc:spChg chg="add del mod">
          <ac:chgData name="Steiner Andreas 6206 ED" userId="e6377c33-a923-4f14-8587-531c474c7b48" providerId="ADAL" clId="{6ECD27E6-B224-41CD-B4E0-E297462320DD}" dt="2023-11-24T08:55:14.122" v="105664"/>
          <ac:spMkLst>
            <pc:docMk/>
            <pc:sldMk cId="2637169229" sldId="2147478574"/>
            <ac:spMk id="689" creationId="{D01DEEBB-637F-DFF5-163D-0A7C48A5F96D}"/>
          </ac:spMkLst>
        </pc:spChg>
        <pc:spChg chg="add del mod">
          <ac:chgData name="Steiner Andreas 6206 ED" userId="e6377c33-a923-4f14-8587-531c474c7b48" providerId="ADAL" clId="{6ECD27E6-B224-41CD-B4E0-E297462320DD}" dt="2023-11-24T08:55:16.215" v="105819"/>
          <ac:spMkLst>
            <pc:docMk/>
            <pc:sldMk cId="2637169229" sldId="2147478574"/>
            <ac:spMk id="690" creationId="{C3A8E21F-7D95-35C7-EBE0-E65F8560457F}"/>
          </ac:spMkLst>
        </pc:spChg>
        <pc:spChg chg="add del mod">
          <ac:chgData name="Steiner Andreas 6206 ED" userId="e6377c33-a923-4f14-8587-531c474c7b48" providerId="ADAL" clId="{6ECD27E6-B224-41CD-B4E0-E297462320DD}" dt="2023-11-24T08:55:18.254" v="105974"/>
          <ac:spMkLst>
            <pc:docMk/>
            <pc:sldMk cId="2637169229" sldId="2147478574"/>
            <ac:spMk id="691" creationId="{0C29422E-1920-E0D2-401C-9C1F58ECACD6}"/>
          </ac:spMkLst>
        </pc:spChg>
        <pc:spChg chg="add del mod">
          <ac:chgData name="Steiner Andreas 6206 ED" userId="e6377c33-a923-4f14-8587-531c474c7b48" providerId="ADAL" clId="{6ECD27E6-B224-41CD-B4E0-E297462320DD}" dt="2023-11-24T08:55:20.272" v="106129"/>
          <ac:spMkLst>
            <pc:docMk/>
            <pc:sldMk cId="2637169229" sldId="2147478574"/>
            <ac:spMk id="692" creationId="{F10B2786-731E-1A51-FE25-E67603BA5E5B}"/>
          </ac:spMkLst>
        </pc:spChg>
        <pc:spChg chg="add del mod">
          <ac:chgData name="Steiner Andreas 6206 ED" userId="e6377c33-a923-4f14-8587-531c474c7b48" providerId="ADAL" clId="{6ECD27E6-B224-41CD-B4E0-E297462320DD}" dt="2023-11-24T08:55:22.213" v="106284"/>
          <ac:spMkLst>
            <pc:docMk/>
            <pc:sldMk cId="2637169229" sldId="2147478574"/>
            <ac:spMk id="693" creationId="{6D5C3C26-2DA9-805E-961E-20D6E5807721}"/>
          </ac:spMkLst>
        </pc:spChg>
        <pc:spChg chg="add del mod">
          <ac:chgData name="Steiner Andreas 6206 ED" userId="e6377c33-a923-4f14-8587-531c474c7b48" providerId="ADAL" clId="{6ECD27E6-B224-41CD-B4E0-E297462320DD}" dt="2023-11-24T08:55:24.224" v="106439"/>
          <ac:spMkLst>
            <pc:docMk/>
            <pc:sldMk cId="2637169229" sldId="2147478574"/>
            <ac:spMk id="694" creationId="{DBA941BA-4EAA-B449-DD76-A48CDE0F03E1}"/>
          </ac:spMkLst>
        </pc:spChg>
        <pc:spChg chg="add del mod">
          <ac:chgData name="Steiner Andreas 6206 ED" userId="e6377c33-a923-4f14-8587-531c474c7b48" providerId="ADAL" clId="{6ECD27E6-B224-41CD-B4E0-E297462320DD}" dt="2023-11-24T08:55:26.193" v="106594"/>
          <ac:spMkLst>
            <pc:docMk/>
            <pc:sldMk cId="2637169229" sldId="2147478574"/>
            <ac:spMk id="695" creationId="{C5AA1EBB-F4E9-4D56-E0EA-D9BFB55C2007}"/>
          </ac:spMkLst>
        </pc:spChg>
        <pc:spChg chg="add del mod">
          <ac:chgData name="Steiner Andreas 6206 ED" userId="e6377c33-a923-4f14-8587-531c474c7b48" providerId="ADAL" clId="{6ECD27E6-B224-41CD-B4E0-E297462320DD}" dt="2023-11-24T08:55:28.345" v="106749"/>
          <ac:spMkLst>
            <pc:docMk/>
            <pc:sldMk cId="2637169229" sldId="2147478574"/>
            <ac:spMk id="696" creationId="{AA4275FF-BDB7-A4CB-E565-2B05CBB6BDB3}"/>
          </ac:spMkLst>
        </pc:spChg>
        <pc:spChg chg="add del mod">
          <ac:chgData name="Steiner Andreas 6206 ED" userId="e6377c33-a923-4f14-8587-531c474c7b48" providerId="ADAL" clId="{6ECD27E6-B224-41CD-B4E0-E297462320DD}" dt="2023-11-24T08:55:30.319" v="106904"/>
          <ac:spMkLst>
            <pc:docMk/>
            <pc:sldMk cId="2637169229" sldId="2147478574"/>
            <ac:spMk id="697" creationId="{44A48D44-7EE0-067E-4491-8A52DD70D68A}"/>
          </ac:spMkLst>
        </pc:spChg>
        <pc:spChg chg="add del mod">
          <ac:chgData name="Steiner Andreas 6206 ED" userId="e6377c33-a923-4f14-8587-531c474c7b48" providerId="ADAL" clId="{6ECD27E6-B224-41CD-B4E0-E297462320DD}" dt="2023-11-24T08:55:32.515" v="107059"/>
          <ac:spMkLst>
            <pc:docMk/>
            <pc:sldMk cId="2637169229" sldId="2147478574"/>
            <ac:spMk id="698" creationId="{664982FA-1C8D-580D-1836-088FD271D1B8}"/>
          </ac:spMkLst>
        </pc:spChg>
        <pc:spChg chg="add del mod">
          <ac:chgData name="Steiner Andreas 6206 ED" userId="e6377c33-a923-4f14-8587-531c474c7b48" providerId="ADAL" clId="{6ECD27E6-B224-41CD-B4E0-E297462320DD}" dt="2023-11-24T08:55:34.413" v="107214"/>
          <ac:spMkLst>
            <pc:docMk/>
            <pc:sldMk cId="2637169229" sldId="2147478574"/>
            <ac:spMk id="699" creationId="{AEB57A9A-E581-35C8-508D-29271B50851E}"/>
          </ac:spMkLst>
        </pc:spChg>
        <pc:spChg chg="add del mod">
          <ac:chgData name="Steiner Andreas 6206 ED" userId="e6377c33-a923-4f14-8587-531c474c7b48" providerId="ADAL" clId="{6ECD27E6-B224-41CD-B4E0-E297462320DD}" dt="2023-11-24T08:55:36.347" v="107369"/>
          <ac:spMkLst>
            <pc:docMk/>
            <pc:sldMk cId="2637169229" sldId="2147478574"/>
            <ac:spMk id="700" creationId="{90E90511-DFCA-9789-1F26-BD3BC73D6B18}"/>
          </ac:spMkLst>
        </pc:spChg>
        <pc:spChg chg="add del mod">
          <ac:chgData name="Steiner Andreas 6206 ED" userId="e6377c33-a923-4f14-8587-531c474c7b48" providerId="ADAL" clId="{6ECD27E6-B224-41CD-B4E0-E297462320DD}" dt="2023-11-24T08:55:38.373" v="107524"/>
          <ac:spMkLst>
            <pc:docMk/>
            <pc:sldMk cId="2637169229" sldId="2147478574"/>
            <ac:spMk id="701" creationId="{852A7209-F7FE-5D92-346B-27FD9ED29B6D}"/>
          </ac:spMkLst>
        </pc:spChg>
        <pc:spChg chg="add del mod">
          <ac:chgData name="Steiner Andreas 6206 ED" userId="e6377c33-a923-4f14-8587-531c474c7b48" providerId="ADAL" clId="{6ECD27E6-B224-41CD-B4E0-E297462320DD}" dt="2023-11-24T08:55:40.418" v="107679"/>
          <ac:spMkLst>
            <pc:docMk/>
            <pc:sldMk cId="2637169229" sldId="2147478574"/>
            <ac:spMk id="702" creationId="{FF653581-AA09-329D-443A-F8B25D0975F5}"/>
          </ac:spMkLst>
        </pc:spChg>
        <pc:spChg chg="add del mod">
          <ac:chgData name="Steiner Andreas 6206 ED" userId="e6377c33-a923-4f14-8587-531c474c7b48" providerId="ADAL" clId="{6ECD27E6-B224-41CD-B4E0-E297462320DD}" dt="2023-11-24T08:55:42.300" v="107834"/>
          <ac:spMkLst>
            <pc:docMk/>
            <pc:sldMk cId="2637169229" sldId="2147478574"/>
            <ac:spMk id="703" creationId="{13444300-FB22-02CE-3431-43F7C30AB7F6}"/>
          </ac:spMkLst>
        </pc:spChg>
        <pc:spChg chg="add del mod">
          <ac:chgData name="Steiner Andreas 6206 ED" userId="e6377c33-a923-4f14-8587-531c474c7b48" providerId="ADAL" clId="{6ECD27E6-B224-41CD-B4E0-E297462320DD}" dt="2023-11-24T08:55:44.272" v="107989"/>
          <ac:spMkLst>
            <pc:docMk/>
            <pc:sldMk cId="2637169229" sldId="2147478574"/>
            <ac:spMk id="704" creationId="{6B74B8EB-3560-599F-2E75-2BFE19F80E65}"/>
          </ac:spMkLst>
        </pc:spChg>
        <pc:spChg chg="add del mod">
          <ac:chgData name="Steiner Andreas 6206 ED" userId="e6377c33-a923-4f14-8587-531c474c7b48" providerId="ADAL" clId="{6ECD27E6-B224-41CD-B4E0-E297462320DD}" dt="2023-11-24T08:55:46.580" v="108144"/>
          <ac:spMkLst>
            <pc:docMk/>
            <pc:sldMk cId="2637169229" sldId="2147478574"/>
            <ac:spMk id="705" creationId="{3509A36B-93A0-7FE6-8B30-1B611CC967B0}"/>
          </ac:spMkLst>
        </pc:spChg>
        <pc:spChg chg="add del mod">
          <ac:chgData name="Steiner Andreas 6206 ED" userId="e6377c33-a923-4f14-8587-531c474c7b48" providerId="ADAL" clId="{6ECD27E6-B224-41CD-B4E0-E297462320DD}" dt="2023-11-24T08:55:48.802" v="108299"/>
          <ac:spMkLst>
            <pc:docMk/>
            <pc:sldMk cId="2637169229" sldId="2147478574"/>
            <ac:spMk id="706" creationId="{FE9536C1-DB2F-7A53-5BF1-9986F307B384}"/>
          </ac:spMkLst>
        </pc:spChg>
        <pc:spChg chg="add del mod">
          <ac:chgData name="Steiner Andreas 6206 ED" userId="e6377c33-a923-4f14-8587-531c474c7b48" providerId="ADAL" clId="{6ECD27E6-B224-41CD-B4E0-E297462320DD}" dt="2023-11-24T08:55:51.236" v="108454"/>
          <ac:spMkLst>
            <pc:docMk/>
            <pc:sldMk cId="2637169229" sldId="2147478574"/>
            <ac:spMk id="707" creationId="{D0B7B9CF-CF9A-41AD-E085-57921142C0B7}"/>
          </ac:spMkLst>
        </pc:spChg>
        <pc:spChg chg="add del mod">
          <ac:chgData name="Steiner Andreas 6206 ED" userId="e6377c33-a923-4f14-8587-531c474c7b48" providerId="ADAL" clId="{6ECD27E6-B224-41CD-B4E0-E297462320DD}" dt="2023-11-24T08:55:53.277" v="108609"/>
          <ac:spMkLst>
            <pc:docMk/>
            <pc:sldMk cId="2637169229" sldId="2147478574"/>
            <ac:spMk id="708" creationId="{8DE4F0B7-3888-51DF-5474-9486874202CE}"/>
          </ac:spMkLst>
        </pc:spChg>
        <pc:spChg chg="add del mod">
          <ac:chgData name="Steiner Andreas 6206 ED" userId="e6377c33-a923-4f14-8587-531c474c7b48" providerId="ADAL" clId="{6ECD27E6-B224-41CD-B4E0-E297462320DD}" dt="2023-11-24T08:55:55.409" v="108764"/>
          <ac:spMkLst>
            <pc:docMk/>
            <pc:sldMk cId="2637169229" sldId="2147478574"/>
            <ac:spMk id="709" creationId="{4EF1E753-F593-0987-C0F7-9BCA13118D90}"/>
          </ac:spMkLst>
        </pc:spChg>
        <pc:spChg chg="add del mod">
          <ac:chgData name="Steiner Andreas 6206 ED" userId="e6377c33-a923-4f14-8587-531c474c7b48" providerId="ADAL" clId="{6ECD27E6-B224-41CD-B4E0-E297462320DD}" dt="2023-11-24T08:55:57.424" v="108919"/>
          <ac:spMkLst>
            <pc:docMk/>
            <pc:sldMk cId="2637169229" sldId="2147478574"/>
            <ac:spMk id="710" creationId="{0C05B52D-51C4-95C3-F232-59C757904F18}"/>
          </ac:spMkLst>
        </pc:spChg>
        <pc:spChg chg="add del mod">
          <ac:chgData name="Steiner Andreas 6206 ED" userId="e6377c33-a923-4f14-8587-531c474c7b48" providerId="ADAL" clId="{6ECD27E6-B224-41CD-B4E0-E297462320DD}" dt="2023-11-24T08:55:59.512" v="109074"/>
          <ac:spMkLst>
            <pc:docMk/>
            <pc:sldMk cId="2637169229" sldId="2147478574"/>
            <ac:spMk id="711" creationId="{1AC150D7-7ACD-C759-D860-48548D64316D}"/>
          </ac:spMkLst>
        </pc:spChg>
        <pc:spChg chg="add del mod">
          <ac:chgData name="Steiner Andreas 6206 ED" userId="e6377c33-a923-4f14-8587-531c474c7b48" providerId="ADAL" clId="{6ECD27E6-B224-41CD-B4E0-E297462320DD}" dt="2023-11-24T08:56:01.881" v="109229"/>
          <ac:spMkLst>
            <pc:docMk/>
            <pc:sldMk cId="2637169229" sldId="2147478574"/>
            <ac:spMk id="712" creationId="{CE8D94F9-9B38-5D6C-01B4-A6BC2569FB0E}"/>
          </ac:spMkLst>
        </pc:spChg>
        <pc:spChg chg="add del mod">
          <ac:chgData name="Steiner Andreas 6206 ED" userId="e6377c33-a923-4f14-8587-531c474c7b48" providerId="ADAL" clId="{6ECD27E6-B224-41CD-B4E0-E297462320DD}" dt="2023-11-24T08:56:04.134" v="109384"/>
          <ac:spMkLst>
            <pc:docMk/>
            <pc:sldMk cId="2637169229" sldId="2147478574"/>
            <ac:spMk id="713" creationId="{53241588-217D-B62C-DA64-8080AE332A87}"/>
          </ac:spMkLst>
        </pc:spChg>
        <pc:spChg chg="add del mod">
          <ac:chgData name="Steiner Andreas 6206 ED" userId="e6377c33-a923-4f14-8587-531c474c7b48" providerId="ADAL" clId="{6ECD27E6-B224-41CD-B4E0-E297462320DD}" dt="2023-11-24T08:56:06.434" v="109539"/>
          <ac:spMkLst>
            <pc:docMk/>
            <pc:sldMk cId="2637169229" sldId="2147478574"/>
            <ac:spMk id="714" creationId="{51CE3993-3E6E-B039-9BE5-16271A874EA3}"/>
          </ac:spMkLst>
        </pc:spChg>
        <pc:spChg chg="add del mod">
          <ac:chgData name="Steiner Andreas 6206 ED" userId="e6377c33-a923-4f14-8587-531c474c7b48" providerId="ADAL" clId="{6ECD27E6-B224-41CD-B4E0-E297462320DD}" dt="2023-11-24T08:56:08.721" v="109694"/>
          <ac:spMkLst>
            <pc:docMk/>
            <pc:sldMk cId="2637169229" sldId="2147478574"/>
            <ac:spMk id="715" creationId="{912BFD43-2929-9FB0-871C-1CB273DE93DB}"/>
          </ac:spMkLst>
        </pc:spChg>
        <pc:spChg chg="add del mod">
          <ac:chgData name="Steiner Andreas 6206 ED" userId="e6377c33-a923-4f14-8587-531c474c7b48" providerId="ADAL" clId="{6ECD27E6-B224-41CD-B4E0-E297462320DD}" dt="2023-11-24T08:56:10.766" v="109849"/>
          <ac:spMkLst>
            <pc:docMk/>
            <pc:sldMk cId="2637169229" sldId="2147478574"/>
            <ac:spMk id="716" creationId="{8039F979-87F8-6653-7A94-EA1FF8731664}"/>
          </ac:spMkLst>
        </pc:spChg>
        <pc:spChg chg="add del mod">
          <ac:chgData name="Steiner Andreas 6206 ED" userId="e6377c33-a923-4f14-8587-531c474c7b48" providerId="ADAL" clId="{6ECD27E6-B224-41CD-B4E0-E297462320DD}" dt="2023-11-24T08:56:12.881" v="110004"/>
          <ac:spMkLst>
            <pc:docMk/>
            <pc:sldMk cId="2637169229" sldId="2147478574"/>
            <ac:spMk id="717" creationId="{644DD463-3BBB-FAE6-2D0C-8DD42AAE0054}"/>
          </ac:spMkLst>
        </pc:spChg>
        <pc:spChg chg="add del mod">
          <ac:chgData name="Steiner Andreas 6206 ED" userId="e6377c33-a923-4f14-8587-531c474c7b48" providerId="ADAL" clId="{6ECD27E6-B224-41CD-B4E0-E297462320DD}" dt="2023-11-24T08:56:15.008" v="110159"/>
          <ac:spMkLst>
            <pc:docMk/>
            <pc:sldMk cId="2637169229" sldId="2147478574"/>
            <ac:spMk id="718" creationId="{1CF8612E-E751-576B-5401-5E1F3FADBDC4}"/>
          </ac:spMkLst>
        </pc:spChg>
        <pc:spChg chg="add del mod">
          <ac:chgData name="Steiner Andreas 6206 ED" userId="e6377c33-a923-4f14-8587-531c474c7b48" providerId="ADAL" clId="{6ECD27E6-B224-41CD-B4E0-E297462320DD}" dt="2023-11-24T08:56:16.988" v="110314"/>
          <ac:spMkLst>
            <pc:docMk/>
            <pc:sldMk cId="2637169229" sldId="2147478574"/>
            <ac:spMk id="719" creationId="{AED128B6-9E9B-150C-ABC6-634A27343A12}"/>
          </ac:spMkLst>
        </pc:spChg>
        <pc:spChg chg="add del mod">
          <ac:chgData name="Steiner Andreas 6206 ED" userId="e6377c33-a923-4f14-8587-531c474c7b48" providerId="ADAL" clId="{6ECD27E6-B224-41CD-B4E0-E297462320DD}" dt="2023-11-24T08:56:18.967" v="110469"/>
          <ac:spMkLst>
            <pc:docMk/>
            <pc:sldMk cId="2637169229" sldId="2147478574"/>
            <ac:spMk id="720" creationId="{C8F6B5E3-F5EE-39CB-1BAB-66FC4532306D}"/>
          </ac:spMkLst>
        </pc:spChg>
        <pc:spChg chg="add del mod">
          <ac:chgData name="Steiner Andreas 6206 ED" userId="e6377c33-a923-4f14-8587-531c474c7b48" providerId="ADAL" clId="{6ECD27E6-B224-41CD-B4E0-E297462320DD}" dt="2023-11-24T08:56:20.911" v="110624"/>
          <ac:spMkLst>
            <pc:docMk/>
            <pc:sldMk cId="2637169229" sldId="2147478574"/>
            <ac:spMk id="721" creationId="{625E8ECB-B057-414C-20C4-109628EA8EE7}"/>
          </ac:spMkLst>
        </pc:spChg>
        <pc:spChg chg="add del mod">
          <ac:chgData name="Steiner Andreas 6206 ED" userId="e6377c33-a923-4f14-8587-531c474c7b48" providerId="ADAL" clId="{6ECD27E6-B224-41CD-B4E0-E297462320DD}" dt="2023-11-24T08:56:23.046" v="110779"/>
          <ac:spMkLst>
            <pc:docMk/>
            <pc:sldMk cId="2637169229" sldId="2147478574"/>
            <ac:spMk id="722" creationId="{A146971A-963B-8DD0-4652-782A4DBE86DE}"/>
          </ac:spMkLst>
        </pc:spChg>
        <pc:spChg chg="add del mod">
          <ac:chgData name="Steiner Andreas 6206 ED" userId="e6377c33-a923-4f14-8587-531c474c7b48" providerId="ADAL" clId="{6ECD27E6-B224-41CD-B4E0-E297462320DD}" dt="2023-11-24T08:56:25.252" v="110934"/>
          <ac:spMkLst>
            <pc:docMk/>
            <pc:sldMk cId="2637169229" sldId="2147478574"/>
            <ac:spMk id="723" creationId="{EE54A94E-6D36-B736-AB6C-043A8D598099}"/>
          </ac:spMkLst>
        </pc:spChg>
        <pc:spChg chg="add del mod">
          <ac:chgData name="Steiner Andreas 6206 ED" userId="e6377c33-a923-4f14-8587-531c474c7b48" providerId="ADAL" clId="{6ECD27E6-B224-41CD-B4E0-E297462320DD}" dt="2023-11-24T08:56:27.273" v="111089"/>
          <ac:spMkLst>
            <pc:docMk/>
            <pc:sldMk cId="2637169229" sldId="2147478574"/>
            <ac:spMk id="724" creationId="{68516EFC-3D49-B543-2891-9EAB181F9D64}"/>
          </ac:spMkLst>
        </pc:spChg>
        <pc:spChg chg="add del mod">
          <ac:chgData name="Steiner Andreas 6206 ED" userId="e6377c33-a923-4f14-8587-531c474c7b48" providerId="ADAL" clId="{6ECD27E6-B224-41CD-B4E0-E297462320DD}" dt="2023-11-24T08:56:29.307" v="111244"/>
          <ac:spMkLst>
            <pc:docMk/>
            <pc:sldMk cId="2637169229" sldId="2147478574"/>
            <ac:spMk id="725" creationId="{FEE6886A-3BD4-8447-5AFA-F09ACE912CA5}"/>
          </ac:spMkLst>
        </pc:spChg>
        <pc:spChg chg="add del mod">
          <ac:chgData name="Steiner Andreas 6206 ED" userId="e6377c33-a923-4f14-8587-531c474c7b48" providerId="ADAL" clId="{6ECD27E6-B224-41CD-B4E0-E297462320DD}" dt="2023-11-24T08:56:31.417" v="111399"/>
          <ac:spMkLst>
            <pc:docMk/>
            <pc:sldMk cId="2637169229" sldId="2147478574"/>
            <ac:spMk id="726" creationId="{CEADD8BD-97DC-1177-A466-585FD7F9C782}"/>
          </ac:spMkLst>
        </pc:spChg>
        <pc:spChg chg="add del mod">
          <ac:chgData name="Steiner Andreas 6206 ED" userId="e6377c33-a923-4f14-8587-531c474c7b48" providerId="ADAL" clId="{6ECD27E6-B224-41CD-B4E0-E297462320DD}" dt="2023-11-24T08:56:33.644" v="111554"/>
          <ac:spMkLst>
            <pc:docMk/>
            <pc:sldMk cId="2637169229" sldId="2147478574"/>
            <ac:spMk id="727" creationId="{33653F59-A182-5F31-2AED-FB31443347C0}"/>
          </ac:spMkLst>
        </pc:spChg>
        <pc:spChg chg="add del mod">
          <ac:chgData name="Steiner Andreas 6206 ED" userId="e6377c33-a923-4f14-8587-531c474c7b48" providerId="ADAL" clId="{6ECD27E6-B224-41CD-B4E0-E297462320DD}" dt="2023-11-24T08:56:35.824" v="111709"/>
          <ac:spMkLst>
            <pc:docMk/>
            <pc:sldMk cId="2637169229" sldId="2147478574"/>
            <ac:spMk id="728" creationId="{96C9366E-CBB5-BC34-FEE3-647E65BB25D5}"/>
          </ac:spMkLst>
        </pc:spChg>
        <pc:spChg chg="add del mod">
          <ac:chgData name="Steiner Andreas 6206 ED" userId="e6377c33-a923-4f14-8587-531c474c7b48" providerId="ADAL" clId="{6ECD27E6-B224-41CD-B4E0-E297462320DD}" dt="2023-11-24T08:56:37.891" v="111864"/>
          <ac:spMkLst>
            <pc:docMk/>
            <pc:sldMk cId="2637169229" sldId="2147478574"/>
            <ac:spMk id="729" creationId="{E1A63720-76F6-44F5-05CD-74291DB0C449}"/>
          </ac:spMkLst>
        </pc:spChg>
        <pc:spChg chg="add del mod">
          <ac:chgData name="Steiner Andreas 6206 ED" userId="e6377c33-a923-4f14-8587-531c474c7b48" providerId="ADAL" clId="{6ECD27E6-B224-41CD-B4E0-E297462320DD}" dt="2023-11-24T08:56:40.045" v="112019"/>
          <ac:spMkLst>
            <pc:docMk/>
            <pc:sldMk cId="2637169229" sldId="2147478574"/>
            <ac:spMk id="730" creationId="{FEBF28C9-936F-FDFD-C0BC-6139B61C92DE}"/>
          </ac:spMkLst>
        </pc:spChg>
        <pc:spChg chg="add del mod">
          <ac:chgData name="Steiner Andreas 6206 ED" userId="e6377c33-a923-4f14-8587-531c474c7b48" providerId="ADAL" clId="{6ECD27E6-B224-41CD-B4E0-E297462320DD}" dt="2023-11-24T08:56:41.995" v="112174"/>
          <ac:spMkLst>
            <pc:docMk/>
            <pc:sldMk cId="2637169229" sldId="2147478574"/>
            <ac:spMk id="731" creationId="{F1B04FBC-E9EC-01FC-9557-72790557FB34}"/>
          </ac:spMkLst>
        </pc:spChg>
        <pc:spChg chg="add del mod">
          <ac:chgData name="Steiner Andreas 6206 ED" userId="e6377c33-a923-4f14-8587-531c474c7b48" providerId="ADAL" clId="{6ECD27E6-B224-41CD-B4E0-E297462320DD}" dt="2023-11-24T08:56:43.993" v="112329"/>
          <ac:spMkLst>
            <pc:docMk/>
            <pc:sldMk cId="2637169229" sldId="2147478574"/>
            <ac:spMk id="732" creationId="{0C3FAFD4-26AF-FBD5-AB5C-851D8DEE69A2}"/>
          </ac:spMkLst>
        </pc:spChg>
        <pc:spChg chg="add del mod">
          <ac:chgData name="Steiner Andreas 6206 ED" userId="e6377c33-a923-4f14-8587-531c474c7b48" providerId="ADAL" clId="{6ECD27E6-B224-41CD-B4E0-E297462320DD}" dt="2023-11-24T08:56:46.026" v="112484"/>
          <ac:spMkLst>
            <pc:docMk/>
            <pc:sldMk cId="2637169229" sldId="2147478574"/>
            <ac:spMk id="733" creationId="{1F279D74-7412-872F-E132-3759667EC507}"/>
          </ac:spMkLst>
        </pc:spChg>
        <pc:spChg chg="add del mod">
          <ac:chgData name="Steiner Andreas 6206 ED" userId="e6377c33-a923-4f14-8587-531c474c7b48" providerId="ADAL" clId="{6ECD27E6-B224-41CD-B4E0-E297462320DD}" dt="2023-11-24T08:56:48.237" v="112639"/>
          <ac:spMkLst>
            <pc:docMk/>
            <pc:sldMk cId="2637169229" sldId="2147478574"/>
            <ac:spMk id="734" creationId="{2732453F-9895-2681-5AF3-6FB23DBCE474}"/>
          </ac:spMkLst>
        </pc:spChg>
        <pc:spChg chg="add del mod">
          <ac:chgData name="Steiner Andreas 6206 ED" userId="e6377c33-a923-4f14-8587-531c474c7b48" providerId="ADAL" clId="{6ECD27E6-B224-41CD-B4E0-E297462320DD}" dt="2023-11-24T08:56:50.293" v="112794"/>
          <ac:spMkLst>
            <pc:docMk/>
            <pc:sldMk cId="2637169229" sldId="2147478574"/>
            <ac:spMk id="735" creationId="{61AB3666-CEC4-34B9-14DD-C230672B92D7}"/>
          </ac:spMkLst>
        </pc:spChg>
        <pc:spChg chg="add del mod">
          <ac:chgData name="Steiner Andreas 6206 ED" userId="e6377c33-a923-4f14-8587-531c474c7b48" providerId="ADAL" clId="{6ECD27E6-B224-41CD-B4E0-E297462320DD}" dt="2023-11-24T08:56:52.222" v="112949"/>
          <ac:spMkLst>
            <pc:docMk/>
            <pc:sldMk cId="2637169229" sldId="2147478574"/>
            <ac:spMk id="736" creationId="{23315051-4355-0193-4DEE-F86F85F90FE5}"/>
          </ac:spMkLst>
        </pc:spChg>
        <pc:spChg chg="add del mod">
          <ac:chgData name="Steiner Andreas 6206 ED" userId="e6377c33-a923-4f14-8587-531c474c7b48" providerId="ADAL" clId="{6ECD27E6-B224-41CD-B4E0-E297462320DD}" dt="2023-11-24T08:56:54.343" v="113104"/>
          <ac:spMkLst>
            <pc:docMk/>
            <pc:sldMk cId="2637169229" sldId="2147478574"/>
            <ac:spMk id="737" creationId="{30FBCFE1-95AB-3509-A048-2EDB974CC11E}"/>
          </ac:spMkLst>
        </pc:spChg>
        <pc:spChg chg="add del mod">
          <ac:chgData name="Steiner Andreas 6206 ED" userId="e6377c33-a923-4f14-8587-531c474c7b48" providerId="ADAL" clId="{6ECD27E6-B224-41CD-B4E0-E297462320DD}" dt="2023-11-24T08:56:56.302" v="113259"/>
          <ac:spMkLst>
            <pc:docMk/>
            <pc:sldMk cId="2637169229" sldId="2147478574"/>
            <ac:spMk id="738" creationId="{24151044-F3FE-3595-0474-B6BFCF2327BF}"/>
          </ac:spMkLst>
        </pc:spChg>
        <pc:spChg chg="add del mod">
          <ac:chgData name="Steiner Andreas 6206 ED" userId="e6377c33-a923-4f14-8587-531c474c7b48" providerId="ADAL" clId="{6ECD27E6-B224-41CD-B4E0-E297462320DD}" dt="2023-11-24T08:56:58.421" v="113414"/>
          <ac:spMkLst>
            <pc:docMk/>
            <pc:sldMk cId="2637169229" sldId="2147478574"/>
            <ac:spMk id="739" creationId="{21F2C03D-F795-4A90-9B50-E6AC476F5B31}"/>
          </ac:spMkLst>
        </pc:spChg>
        <pc:spChg chg="add del mod">
          <ac:chgData name="Steiner Andreas 6206 ED" userId="e6377c33-a923-4f14-8587-531c474c7b48" providerId="ADAL" clId="{6ECD27E6-B224-41CD-B4E0-E297462320DD}" dt="2023-11-24T08:57:00.727" v="113569"/>
          <ac:spMkLst>
            <pc:docMk/>
            <pc:sldMk cId="2637169229" sldId="2147478574"/>
            <ac:spMk id="740" creationId="{CED3C57D-2BA7-07F9-2C15-7F7C3658D0B0}"/>
          </ac:spMkLst>
        </pc:spChg>
        <pc:spChg chg="add del mod">
          <ac:chgData name="Steiner Andreas 6206 ED" userId="e6377c33-a923-4f14-8587-531c474c7b48" providerId="ADAL" clId="{6ECD27E6-B224-41CD-B4E0-E297462320DD}" dt="2023-11-24T08:57:03.101" v="113724"/>
          <ac:spMkLst>
            <pc:docMk/>
            <pc:sldMk cId="2637169229" sldId="2147478574"/>
            <ac:spMk id="741" creationId="{96B5D4BC-2DF7-08FF-D4C5-855785FCDE66}"/>
          </ac:spMkLst>
        </pc:spChg>
        <pc:spChg chg="add del mod">
          <ac:chgData name="Steiner Andreas 6206 ED" userId="e6377c33-a923-4f14-8587-531c474c7b48" providerId="ADAL" clId="{6ECD27E6-B224-41CD-B4E0-E297462320DD}" dt="2023-11-24T09:02:21.581" v="113879"/>
          <ac:spMkLst>
            <pc:docMk/>
            <pc:sldMk cId="2637169229" sldId="2147478574"/>
            <ac:spMk id="742" creationId="{C25C92BE-7FE4-4713-D97E-85551E2F028B}"/>
          </ac:spMkLst>
        </pc:spChg>
        <pc:spChg chg="add del mod">
          <ac:chgData name="Steiner Andreas 6206 ED" userId="e6377c33-a923-4f14-8587-531c474c7b48" providerId="ADAL" clId="{6ECD27E6-B224-41CD-B4E0-E297462320DD}" dt="2023-11-24T09:02:27.499" v="114034"/>
          <ac:spMkLst>
            <pc:docMk/>
            <pc:sldMk cId="2637169229" sldId="2147478574"/>
            <ac:spMk id="743" creationId="{35B42E47-ACC8-49C8-32B1-E65E0D145B6C}"/>
          </ac:spMkLst>
        </pc:spChg>
        <pc:spChg chg="add del mod">
          <ac:chgData name="Steiner Andreas 6206 ED" userId="e6377c33-a923-4f14-8587-531c474c7b48" providerId="ADAL" clId="{6ECD27E6-B224-41CD-B4E0-E297462320DD}" dt="2023-11-24T09:02:30.061" v="114189"/>
          <ac:spMkLst>
            <pc:docMk/>
            <pc:sldMk cId="2637169229" sldId="2147478574"/>
            <ac:spMk id="744" creationId="{D007237D-0DC7-7AE8-C42C-66EA507125E3}"/>
          </ac:spMkLst>
        </pc:spChg>
        <pc:spChg chg="add del mod">
          <ac:chgData name="Steiner Andreas 6206 ED" userId="e6377c33-a923-4f14-8587-531c474c7b48" providerId="ADAL" clId="{6ECD27E6-B224-41CD-B4E0-E297462320DD}" dt="2023-11-24T09:02:33.313" v="114344"/>
          <ac:spMkLst>
            <pc:docMk/>
            <pc:sldMk cId="2637169229" sldId="2147478574"/>
            <ac:spMk id="745" creationId="{169396FB-2D66-0BE8-E834-C96C2155D1D5}"/>
          </ac:spMkLst>
        </pc:spChg>
        <pc:spChg chg="add del mod">
          <ac:chgData name="Steiner Andreas 6206 ED" userId="e6377c33-a923-4f14-8587-531c474c7b48" providerId="ADAL" clId="{6ECD27E6-B224-41CD-B4E0-E297462320DD}" dt="2023-11-24T09:02:36.758" v="114499"/>
          <ac:spMkLst>
            <pc:docMk/>
            <pc:sldMk cId="2637169229" sldId="2147478574"/>
            <ac:spMk id="746" creationId="{9834EEB0-FADC-50CD-0305-12EE84F3A21F}"/>
          </ac:spMkLst>
        </pc:spChg>
        <pc:spChg chg="add del mod">
          <ac:chgData name="Steiner Andreas 6206 ED" userId="e6377c33-a923-4f14-8587-531c474c7b48" providerId="ADAL" clId="{6ECD27E6-B224-41CD-B4E0-E297462320DD}" dt="2023-11-24T11:31:22.543" v="114654"/>
          <ac:spMkLst>
            <pc:docMk/>
            <pc:sldMk cId="2637169229" sldId="2147478574"/>
            <ac:spMk id="747" creationId="{27BE6655-F586-65E7-DA7A-EC991D3F8FAC}"/>
          </ac:spMkLst>
        </pc:spChg>
        <pc:spChg chg="add del mod">
          <ac:chgData name="Steiner Andreas 6206 ED" userId="e6377c33-a923-4f14-8587-531c474c7b48" providerId="ADAL" clId="{6ECD27E6-B224-41CD-B4E0-E297462320DD}" dt="2023-11-24T11:33:29.857" v="114809"/>
          <ac:spMkLst>
            <pc:docMk/>
            <pc:sldMk cId="2637169229" sldId="2147478574"/>
            <ac:spMk id="748" creationId="{8979AD52-680B-9CFC-D6F0-3936C205B3E1}"/>
          </ac:spMkLst>
        </pc:spChg>
        <pc:spChg chg="add del mod">
          <ac:chgData name="Steiner Andreas 6206 ED" userId="e6377c33-a923-4f14-8587-531c474c7b48" providerId="ADAL" clId="{6ECD27E6-B224-41CD-B4E0-E297462320DD}" dt="2023-11-24T11:33:36.342" v="114964"/>
          <ac:spMkLst>
            <pc:docMk/>
            <pc:sldMk cId="2637169229" sldId="2147478574"/>
            <ac:spMk id="749" creationId="{07F83988-8D39-433B-8B02-7C116ABFE87F}"/>
          </ac:spMkLst>
        </pc:spChg>
        <pc:spChg chg="add del mod">
          <ac:chgData name="Steiner Andreas 6206 ED" userId="e6377c33-a923-4f14-8587-531c474c7b48" providerId="ADAL" clId="{6ECD27E6-B224-41CD-B4E0-E297462320DD}" dt="2023-11-24T11:33:39.462" v="115119"/>
          <ac:spMkLst>
            <pc:docMk/>
            <pc:sldMk cId="2637169229" sldId="2147478574"/>
            <ac:spMk id="750" creationId="{70024421-6150-C6F7-6EAD-2639A7C14938}"/>
          </ac:spMkLst>
        </pc:spChg>
        <pc:spChg chg="add del mod">
          <ac:chgData name="Steiner Andreas 6206 ED" userId="e6377c33-a923-4f14-8587-531c474c7b48" providerId="ADAL" clId="{6ECD27E6-B224-41CD-B4E0-E297462320DD}" dt="2023-11-24T11:33:43.017" v="115274"/>
          <ac:spMkLst>
            <pc:docMk/>
            <pc:sldMk cId="2637169229" sldId="2147478574"/>
            <ac:spMk id="751" creationId="{1BE73DB5-2909-D0D0-BA4A-065709EBEF29}"/>
          </ac:spMkLst>
        </pc:spChg>
        <pc:spChg chg="add del mod">
          <ac:chgData name="Steiner Andreas 6206 ED" userId="e6377c33-a923-4f14-8587-531c474c7b48" providerId="ADAL" clId="{6ECD27E6-B224-41CD-B4E0-E297462320DD}" dt="2023-11-24T11:33:46.229" v="115429"/>
          <ac:spMkLst>
            <pc:docMk/>
            <pc:sldMk cId="2637169229" sldId="2147478574"/>
            <ac:spMk id="752" creationId="{215B4712-5C46-5760-1D00-18B52C8B95F7}"/>
          </ac:spMkLst>
        </pc:spChg>
        <pc:spChg chg="add del mod">
          <ac:chgData name="Steiner Andreas 6206 ED" userId="e6377c33-a923-4f14-8587-531c474c7b48" providerId="ADAL" clId="{6ECD27E6-B224-41CD-B4E0-E297462320DD}" dt="2023-11-24T11:33:49.325" v="115584"/>
          <ac:spMkLst>
            <pc:docMk/>
            <pc:sldMk cId="2637169229" sldId="2147478574"/>
            <ac:spMk id="753" creationId="{0F4020E2-5F7F-3413-7C54-8920C7B76564}"/>
          </ac:spMkLst>
        </pc:spChg>
        <pc:spChg chg="add del mod">
          <ac:chgData name="Steiner Andreas 6206 ED" userId="e6377c33-a923-4f14-8587-531c474c7b48" providerId="ADAL" clId="{6ECD27E6-B224-41CD-B4E0-E297462320DD}" dt="2023-11-24T11:33:52" v="115739"/>
          <ac:spMkLst>
            <pc:docMk/>
            <pc:sldMk cId="2637169229" sldId="2147478574"/>
            <ac:spMk id="754" creationId="{AF17E025-88BF-3513-FD3C-D757E5286420}"/>
          </ac:spMkLst>
        </pc:spChg>
        <pc:spChg chg="add del mod">
          <ac:chgData name="Steiner Andreas 6206 ED" userId="e6377c33-a923-4f14-8587-531c474c7b48" providerId="ADAL" clId="{6ECD27E6-B224-41CD-B4E0-E297462320DD}" dt="2023-11-24T11:33:54.834" v="115894"/>
          <ac:spMkLst>
            <pc:docMk/>
            <pc:sldMk cId="2637169229" sldId="2147478574"/>
            <ac:spMk id="755" creationId="{86C52255-4149-97C2-5E6A-2AF7FCFE2091}"/>
          </ac:spMkLst>
        </pc:spChg>
        <pc:spChg chg="add del mod">
          <ac:chgData name="Steiner Andreas 6206 ED" userId="e6377c33-a923-4f14-8587-531c474c7b48" providerId="ADAL" clId="{6ECD27E6-B224-41CD-B4E0-E297462320DD}" dt="2023-11-24T11:33:57.349" v="116049"/>
          <ac:spMkLst>
            <pc:docMk/>
            <pc:sldMk cId="2637169229" sldId="2147478574"/>
            <ac:spMk id="756" creationId="{CE5A18DF-9FAE-7043-C877-9CE5ABF32751}"/>
          </ac:spMkLst>
        </pc:spChg>
        <pc:spChg chg="add del mod">
          <ac:chgData name="Steiner Andreas 6206 ED" userId="e6377c33-a923-4f14-8587-531c474c7b48" providerId="ADAL" clId="{6ECD27E6-B224-41CD-B4E0-E297462320DD}" dt="2023-11-24T11:33:59.696" v="116204"/>
          <ac:spMkLst>
            <pc:docMk/>
            <pc:sldMk cId="2637169229" sldId="2147478574"/>
            <ac:spMk id="757" creationId="{F1012857-FF2B-446F-4932-1C4551B4E20E}"/>
          </ac:spMkLst>
        </pc:spChg>
        <pc:spChg chg="add del mod">
          <ac:chgData name="Steiner Andreas 6206 ED" userId="e6377c33-a923-4f14-8587-531c474c7b48" providerId="ADAL" clId="{6ECD27E6-B224-41CD-B4E0-E297462320DD}" dt="2023-11-24T11:34:02.062" v="116359"/>
          <ac:spMkLst>
            <pc:docMk/>
            <pc:sldMk cId="2637169229" sldId="2147478574"/>
            <ac:spMk id="758" creationId="{F408FA91-5FEE-E502-A283-CE9D2A0B23AE}"/>
          </ac:spMkLst>
        </pc:spChg>
        <pc:spChg chg="add del mod">
          <ac:chgData name="Steiner Andreas 6206 ED" userId="e6377c33-a923-4f14-8587-531c474c7b48" providerId="ADAL" clId="{6ECD27E6-B224-41CD-B4E0-E297462320DD}" dt="2023-11-24T11:34:04.370" v="116514"/>
          <ac:spMkLst>
            <pc:docMk/>
            <pc:sldMk cId="2637169229" sldId="2147478574"/>
            <ac:spMk id="759" creationId="{5B2708FB-C945-7302-504C-31788CE6030A}"/>
          </ac:spMkLst>
        </pc:spChg>
        <pc:spChg chg="add del mod">
          <ac:chgData name="Steiner Andreas 6206 ED" userId="e6377c33-a923-4f14-8587-531c474c7b48" providerId="ADAL" clId="{6ECD27E6-B224-41CD-B4E0-E297462320DD}" dt="2023-11-24T11:34:06.835" v="116669"/>
          <ac:spMkLst>
            <pc:docMk/>
            <pc:sldMk cId="2637169229" sldId="2147478574"/>
            <ac:spMk id="760" creationId="{D7D7AE58-C985-7B94-EBF6-45C5D47A4F6B}"/>
          </ac:spMkLst>
        </pc:spChg>
        <pc:spChg chg="add del mod">
          <ac:chgData name="Steiner Andreas 6206 ED" userId="e6377c33-a923-4f14-8587-531c474c7b48" providerId="ADAL" clId="{6ECD27E6-B224-41CD-B4E0-E297462320DD}" dt="2023-11-24T11:34:09.460" v="116824"/>
          <ac:spMkLst>
            <pc:docMk/>
            <pc:sldMk cId="2637169229" sldId="2147478574"/>
            <ac:spMk id="761" creationId="{674437A2-451C-55B8-74B2-8F848CCF65E7}"/>
          </ac:spMkLst>
        </pc:spChg>
        <pc:spChg chg="add del mod">
          <ac:chgData name="Steiner Andreas 6206 ED" userId="e6377c33-a923-4f14-8587-531c474c7b48" providerId="ADAL" clId="{6ECD27E6-B224-41CD-B4E0-E297462320DD}" dt="2023-11-24T11:34:11.431" v="116979"/>
          <ac:spMkLst>
            <pc:docMk/>
            <pc:sldMk cId="2637169229" sldId="2147478574"/>
            <ac:spMk id="762" creationId="{5DFED751-1AC0-B99C-80E7-969E13CF9F12}"/>
          </ac:spMkLst>
        </pc:spChg>
        <pc:spChg chg="add del mod">
          <ac:chgData name="Steiner Andreas 6206 ED" userId="e6377c33-a923-4f14-8587-531c474c7b48" providerId="ADAL" clId="{6ECD27E6-B224-41CD-B4E0-E297462320DD}" dt="2023-11-24T11:34:13.181" v="117134"/>
          <ac:spMkLst>
            <pc:docMk/>
            <pc:sldMk cId="2637169229" sldId="2147478574"/>
            <ac:spMk id="763" creationId="{4FE7B563-93E1-40DD-F604-71886E9A4A97}"/>
          </ac:spMkLst>
        </pc:spChg>
        <pc:spChg chg="add del mod">
          <ac:chgData name="Steiner Andreas 6206 ED" userId="e6377c33-a923-4f14-8587-531c474c7b48" providerId="ADAL" clId="{6ECD27E6-B224-41CD-B4E0-E297462320DD}" dt="2023-11-24T11:34:14.981" v="117289"/>
          <ac:spMkLst>
            <pc:docMk/>
            <pc:sldMk cId="2637169229" sldId="2147478574"/>
            <ac:spMk id="764" creationId="{73A5DDFF-61C5-1D27-5341-B3A36FB61DBB}"/>
          </ac:spMkLst>
        </pc:spChg>
        <pc:spChg chg="add del mod">
          <ac:chgData name="Steiner Andreas 6206 ED" userId="e6377c33-a923-4f14-8587-531c474c7b48" providerId="ADAL" clId="{6ECD27E6-B224-41CD-B4E0-E297462320DD}" dt="2023-11-24T11:34:16.753" v="117444"/>
          <ac:spMkLst>
            <pc:docMk/>
            <pc:sldMk cId="2637169229" sldId="2147478574"/>
            <ac:spMk id="765" creationId="{4542DE52-02E2-0DFB-FED9-A1FE3986A140}"/>
          </ac:spMkLst>
        </pc:spChg>
        <pc:spChg chg="add del mod">
          <ac:chgData name="Steiner Andreas 6206 ED" userId="e6377c33-a923-4f14-8587-531c474c7b48" providerId="ADAL" clId="{6ECD27E6-B224-41CD-B4E0-E297462320DD}" dt="2023-11-24T11:34:18.588" v="117599"/>
          <ac:spMkLst>
            <pc:docMk/>
            <pc:sldMk cId="2637169229" sldId="2147478574"/>
            <ac:spMk id="766" creationId="{F2EE3EBB-AFCC-C15D-C53F-B1BBCAC009E9}"/>
          </ac:spMkLst>
        </pc:spChg>
        <pc:spChg chg="add del mod">
          <ac:chgData name="Steiner Andreas 6206 ED" userId="e6377c33-a923-4f14-8587-531c474c7b48" providerId="ADAL" clId="{6ECD27E6-B224-41CD-B4E0-E297462320DD}" dt="2023-11-24T11:34:20.691" v="117754"/>
          <ac:spMkLst>
            <pc:docMk/>
            <pc:sldMk cId="2637169229" sldId="2147478574"/>
            <ac:spMk id="767" creationId="{332C1EE1-96B5-6940-75C2-2C0B94E60577}"/>
          </ac:spMkLst>
        </pc:spChg>
        <pc:spChg chg="add del mod">
          <ac:chgData name="Steiner Andreas 6206 ED" userId="e6377c33-a923-4f14-8587-531c474c7b48" providerId="ADAL" clId="{6ECD27E6-B224-41CD-B4E0-E297462320DD}" dt="2023-11-24T11:34:22.619" v="117909"/>
          <ac:spMkLst>
            <pc:docMk/>
            <pc:sldMk cId="2637169229" sldId="2147478574"/>
            <ac:spMk id="768" creationId="{A8CC7C49-A17F-A0FD-28ED-F6358D95A128}"/>
          </ac:spMkLst>
        </pc:spChg>
        <pc:spChg chg="add del mod">
          <ac:chgData name="Steiner Andreas 6206 ED" userId="e6377c33-a923-4f14-8587-531c474c7b48" providerId="ADAL" clId="{6ECD27E6-B224-41CD-B4E0-E297462320DD}" dt="2023-11-24T11:34:24.734" v="118064"/>
          <ac:spMkLst>
            <pc:docMk/>
            <pc:sldMk cId="2637169229" sldId="2147478574"/>
            <ac:spMk id="769" creationId="{AA171131-B949-D0EB-B0F6-7C97B3FC8DE9}"/>
          </ac:spMkLst>
        </pc:spChg>
        <pc:spChg chg="add del mod">
          <ac:chgData name="Steiner Andreas 6206 ED" userId="e6377c33-a923-4f14-8587-531c474c7b48" providerId="ADAL" clId="{6ECD27E6-B224-41CD-B4E0-E297462320DD}" dt="2023-11-24T11:34:27.276" v="118219"/>
          <ac:spMkLst>
            <pc:docMk/>
            <pc:sldMk cId="2637169229" sldId="2147478574"/>
            <ac:spMk id="770" creationId="{97142E4F-3242-4004-CFFC-C36E2136C8F7}"/>
          </ac:spMkLst>
        </pc:spChg>
        <pc:spChg chg="add del mod">
          <ac:chgData name="Steiner Andreas 6206 ED" userId="e6377c33-a923-4f14-8587-531c474c7b48" providerId="ADAL" clId="{6ECD27E6-B224-41CD-B4E0-E297462320DD}" dt="2023-11-24T11:34:29.343" v="118374"/>
          <ac:spMkLst>
            <pc:docMk/>
            <pc:sldMk cId="2637169229" sldId="2147478574"/>
            <ac:spMk id="771" creationId="{9CCA0189-D0D3-DEDE-83FD-1ABA401F1BDD}"/>
          </ac:spMkLst>
        </pc:spChg>
        <pc:spChg chg="add del mod">
          <ac:chgData name="Steiner Andreas 6206 ED" userId="e6377c33-a923-4f14-8587-531c474c7b48" providerId="ADAL" clId="{6ECD27E6-B224-41CD-B4E0-E297462320DD}" dt="2023-11-24T11:34:31.611" v="118529"/>
          <ac:spMkLst>
            <pc:docMk/>
            <pc:sldMk cId="2637169229" sldId="2147478574"/>
            <ac:spMk id="772" creationId="{BCACC479-68FA-815B-89F7-6C745141223A}"/>
          </ac:spMkLst>
        </pc:spChg>
        <pc:spChg chg="add del mod">
          <ac:chgData name="Steiner Andreas 6206 ED" userId="e6377c33-a923-4f14-8587-531c474c7b48" providerId="ADAL" clId="{6ECD27E6-B224-41CD-B4E0-E297462320DD}" dt="2023-11-24T11:34:33.588" v="118684"/>
          <ac:spMkLst>
            <pc:docMk/>
            <pc:sldMk cId="2637169229" sldId="2147478574"/>
            <ac:spMk id="773" creationId="{E2D6E6A2-63F4-E625-B02F-0FE04A1E4521}"/>
          </ac:spMkLst>
        </pc:spChg>
        <pc:spChg chg="add del mod">
          <ac:chgData name="Steiner Andreas 6206 ED" userId="e6377c33-a923-4f14-8587-531c474c7b48" providerId="ADAL" clId="{6ECD27E6-B224-41CD-B4E0-E297462320DD}" dt="2023-11-24T11:34:35.566" v="118839"/>
          <ac:spMkLst>
            <pc:docMk/>
            <pc:sldMk cId="2637169229" sldId="2147478574"/>
            <ac:spMk id="774" creationId="{C791D87E-5DDE-E045-D40E-56D4EBBE4568}"/>
          </ac:spMkLst>
        </pc:spChg>
        <pc:spChg chg="add del mod">
          <ac:chgData name="Steiner Andreas 6206 ED" userId="e6377c33-a923-4f14-8587-531c474c7b48" providerId="ADAL" clId="{6ECD27E6-B224-41CD-B4E0-E297462320DD}" dt="2023-11-24T11:34:37.666" v="118994"/>
          <ac:spMkLst>
            <pc:docMk/>
            <pc:sldMk cId="2637169229" sldId="2147478574"/>
            <ac:spMk id="775" creationId="{C71F41C8-E749-9E76-A64F-08B0657BB251}"/>
          </ac:spMkLst>
        </pc:spChg>
        <pc:spChg chg="add del mod">
          <ac:chgData name="Steiner Andreas 6206 ED" userId="e6377c33-a923-4f14-8587-531c474c7b48" providerId="ADAL" clId="{6ECD27E6-B224-41CD-B4E0-E297462320DD}" dt="2023-11-24T11:34:39.618" v="119149"/>
          <ac:spMkLst>
            <pc:docMk/>
            <pc:sldMk cId="2637169229" sldId="2147478574"/>
            <ac:spMk id="776" creationId="{243BC847-B82A-BB7C-72C9-E97244450D7F}"/>
          </ac:spMkLst>
        </pc:spChg>
        <pc:spChg chg="add del mod">
          <ac:chgData name="Steiner Andreas 6206 ED" userId="e6377c33-a923-4f14-8587-531c474c7b48" providerId="ADAL" clId="{6ECD27E6-B224-41CD-B4E0-E297462320DD}" dt="2023-11-24T11:34:41.763" v="119304"/>
          <ac:spMkLst>
            <pc:docMk/>
            <pc:sldMk cId="2637169229" sldId="2147478574"/>
            <ac:spMk id="777" creationId="{F51990E1-E7BA-83B7-148F-0A423880F9E8}"/>
          </ac:spMkLst>
        </pc:spChg>
        <pc:spChg chg="add del mod">
          <ac:chgData name="Steiner Andreas 6206 ED" userId="e6377c33-a923-4f14-8587-531c474c7b48" providerId="ADAL" clId="{6ECD27E6-B224-41CD-B4E0-E297462320DD}" dt="2023-11-24T11:34:43.931" v="119459"/>
          <ac:spMkLst>
            <pc:docMk/>
            <pc:sldMk cId="2637169229" sldId="2147478574"/>
            <ac:spMk id="778" creationId="{51719D86-7F12-A213-8B29-096DF3D1A085}"/>
          </ac:spMkLst>
        </pc:spChg>
        <pc:spChg chg="add del mod">
          <ac:chgData name="Steiner Andreas 6206 ED" userId="e6377c33-a923-4f14-8587-531c474c7b48" providerId="ADAL" clId="{6ECD27E6-B224-41CD-B4E0-E297462320DD}" dt="2023-11-24T11:34:45.935" v="119614"/>
          <ac:spMkLst>
            <pc:docMk/>
            <pc:sldMk cId="2637169229" sldId="2147478574"/>
            <ac:spMk id="779" creationId="{D5025D41-47DA-86D1-3BB9-F22504D9A3EB}"/>
          </ac:spMkLst>
        </pc:spChg>
        <pc:spChg chg="add del mod">
          <ac:chgData name="Steiner Andreas 6206 ED" userId="e6377c33-a923-4f14-8587-531c474c7b48" providerId="ADAL" clId="{6ECD27E6-B224-41CD-B4E0-E297462320DD}" dt="2023-11-24T11:34:47.866" v="119769"/>
          <ac:spMkLst>
            <pc:docMk/>
            <pc:sldMk cId="2637169229" sldId="2147478574"/>
            <ac:spMk id="780" creationId="{5F79CAD5-836C-491C-305D-F18B8747DFB9}"/>
          </ac:spMkLst>
        </pc:spChg>
        <pc:spChg chg="add del mod">
          <ac:chgData name="Steiner Andreas 6206 ED" userId="e6377c33-a923-4f14-8587-531c474c7b48" providerId="ADAL" clId="{6ECD27E6-B224-41CD-B4E0-E297462320DD}" dt="2023-11-24T11:34:50.057" v="119924"/>
          <ac:spMkLst>
            <pc:docMk/>
            <pc:sldMk cId="2637169229" sldId="2147478574"/>
            <ac:spMk id="781" creationId="{D7639A4F-890A-D86D-CBFB-A185F5A82C0B}"/>
          </ac:spMkLst>
        </pc:spChg>
        <pc:spChg chg="add del mod">
          <ac:chgData name="Steiner Andreas 6206 ED" userId="e6377c33-a923-4f14-8587-531c474c7b48" providerId="ADAL" clId="{6ECD27E6-B224-41CD-B4E0-E297462320DD}" dt="2023-11-24T11:34:52.131" v="120079"/>
          <ac:spMkLst>
            <pc:docMk/>
            <pc:sldMk cId="2637169229" sldId="2147478574"/>
            <ac:spMk id="782" creationId="{B7E21AA8-4D51-58F4-9726-673A70449164}"/>
          </ac:spMkLst>
        </pc:spChg>
        <pc:spChg chg="add del mod">
          <ac:chgData name="Steiner Andreas 6206 ED" userId="e6377c33-a923-4f14-8587-531c474c7b48" providerId="ADAL" clId="{6ECD27E6-B224-41CD-B4E0-E297462320DD}" dt="2023-11-24T11:34:54.111" v="120234"/>
          <ac:spMkLst>
            <pc:docMk/>
            <pc:sldMk cId="2637169229" sldId="2147478574"/>
            <ac:spMk id="783" creationId="{D343F803-0FFE-541E-7859-73208482803E}"/>
          </ac:spMkLst>
        </pc:spChg>
        <pc:spChg chg="add del mod">
          <ac:chgData name="Steiner Andreas 6206 ED" userId="e6377c33-a923-4f14-8587-531c474c7b48" providerId="ADAL" clId="{6ECD27E6-B224-41CD-B4E0-E297462320DD}" dt="2023-11-24T11:34:55.978" v="120389"/>
          <ac:spMkLst>
            <pc:docMk/>
            <pc:sldMk cId="2637169229" sldId="2147478574"/>
            <ac:spMk id="784" creationId="{F65670B7-9B42-CABA-6849-DFA07683BF33}"/>
          </ac:spMkLst>
        </pc:spChg>
        <pc:spChg chg="add del mod">
          <ac:chgData name="Steiner Andreas 6206 ED" userId="e6377c33-a923-4f14-8587-531c474c7b48" providerId="ADAL" clId="{6ECD27E6-B224-41CD-B4E0-E297462320DD}" dt="2023-11-24T11:34:57.793" v="120544"/>
          <ac:spMkLst>
            <pc:docMk/>
            <pc:sldMk cId="2637169229" sldId="2147478574"/>
            <ac:spMk id="785" creationId="{55563CC5-2CF3-1E60-7DA1-76E653B8799C}"/>
          </ac:spMkLst>
        </pc:spChg>
        <pc:spChg chg="add del mod">
          <ac:chgData name="Steiner Andreas 6206 ED" userId="e6377c33-a923-4f14-8587-531c474c7b48" providerId="ADAL" clId="{6ECD27E6-B224-41CD-B4E0-E297462320DD}" dt="2023-11-24T11:34:59.676" v="120699"/>
          <ac:spMkLst>
            <pc:docMk/>
            <pc:sldMk cId="2637169229" sldId="2147478574"/>
            <ac:spMk id="786" creationId="{02BD7F8E-ACA6-C7AC-FE8B-383690DD49D1}"/>
          </ac:spMkLst>
        </pc:spChg>
        <pc:spChg chg="add del mod">
          <ac:chgData name="Steiner Andreas 6206 ED" userId="e6377c33-a923-4f14-8587-531c474c7b48" providerId="ADAL" clId="{6ECD27E6-B224-41CD-B4E0-E297462320DD}" dt="2023-11-24T11:35:01.499" v="120854"/>
          <ac:spMkLst>
            <pc:docMk/>
            <pc:sldMk cId="2637169229" sldId="2147478574"/>
            <ac:spMk id="787" creationId="{F2FB3E15-CDA9-F7C8-16C5-E57FDECF3B23}"/>
          </ac:spMkLst>
        </pc:spChg>
        <pc:spChg chg="add del mod">
          <ac:chgData name="Steiner Andreas 6206 ED" userId="e6377c33-a923-4f14-8587-531c474c7b48" providerId="ADAL" clId="{6ECD27E6-B224-41CD-B4E0-E297462320DD}" dt="2023-11-24T11:35:03.387" v="121009"/>
          <ac:spMkLst>
            <pc:docMk/>
            <pc:sldMk cId="2637169229" sldId="2147478574"/>
            <ac:spMk id="788" creationId="{93206DCC-DB82-9294-D0EE-0F3B4B535CBC}"/>
          </ac:spMkLst>
        </pc:spChg>
        <pc:spChg chg="add del mod">
          <ac:chgData name="Steiner Andreas 6206 ED" userId="e6377c33-a923-4f14-8587-531c474c7b48" providerId="ADAL" clId="{6ECD27E6-B224-41CD-B4E0-E297462320DD}" dt="2023-11-24T11:35:05.285" v="121164"/>
          <ac:spMkLst>
            <pc:docMk/>
            <pc:sldMk cId="2637169229" sldId="2147478574"/>
            <ac:spMk id="789" creationId="{E0EBBC0A-A6DF-7F69-50DA-4029AE77AC62}"/>
          </ac:spMkLst>
        </pc:spChg>
        <pc:spChg chg="add del mod">
          <ac:chgData name="Steiner Andreas 6206 ED" userId="e6377c33-a923-4f14-8587-531c474c7b48" providerId="ADAL" clId="{6ECD27E6-B224-41CD-B4E0-E297462320DD}" dt="2023-11-24T11:35:07.405" v="121319"/>
          <ac:spMkLst>
            <pc:docMk/>
            <pc:sldMk cId="2637169229" sldId="2147478574"/>
            <ac:spMk id="790" creationId="{572018C6-F623-4A5F-CBE2-753C9C6FAE4D}"/>
          </ac:spMkLst>
        </pc:spChg>
        <pc:spChg chg="add del mod">
          <ac:chgData name="Steiner Andreas 6206 ED" userId="e6377c33-a923-4f14-8587-531c474c7b48" providerId="ADAL" clId="{6ECD27E6-B224-41CD-B4E0-E297462320DD}" dt="2023-11-24T11:35:09.438" v="121474"/>
          <ac:spMkLst>
            <pc:docMk/>
            <pc:sldMk cId="2637169229" sldId="2147478574"/>
            <ac:spMk id="791" creationId="{B7C9DF5E-6086-2D5F-AEF2-4E2A0C6B6613}"/>
          </ac:spMkLst>
        </pc:spChg>
        <pc:spChg chg="add del mod">
          <ac:chgData name="Steiner Andreas 6206 ED" userId="e6377c33-a923-4f14-8587-531c474c7b48" providerId="ADAL" clId="{6ECD27E6-B224-41CD-B4E0-E297462320DD}" dt="2023-11-24T11:35:11.384" v="121629"/>
          <ac:spMkLst>
            <pc:docMk/>
            <pc:sldMk cId="2637169229" sldId="2147478574"/>
            <ac:spMk id="792" creationId="{CA4CDA15-27AF-C9DF-F8EC-A712535FD8F3}"/>
          </ac:spMkLst>
        </pc:spChg>
        <pc:spChg chg="add del mod">
          <ac:chgData name="Steiner Andreas 6206 ED" userId="e6377c33-a923-4f14-8587-531c474c7b48" providerId="ADAL" clId="{6ECD27E6-B224-41CD-B4E0-E297462320DD}" dt="2023-11-24T11:35:13.131" v="121784"/>
          <ac:spMkLst>
            <pc:docMk/>
            <pc:sldMk cId="2637169229" sldId="2147478574"/>
            <ac:spMk id="793" creationId="{D2E7A380-361E-4849-50F8-4CAA352C1BAA}"/>
          </ac:spMkLst>
        </pc:spChg>
        <pc:spChg chg="add del mod">
          <ac:chgData name="Steiner Andreas 6206 ED" userId="e6377c33-a923-4f14-8587-531c474c7b48" providerId="ADAL" clId="{6ECD27E6-B224-41CD-B4E0-E297462320DD}" dt="2023-11-24T11:35:15.075" v="121939"/>
          <ac:spMkLst>
            <pc:docMk/>
            <pc:sldMk cId="2637169229" sldId="2147478574"/>
            <ac:spMk id="794" creationId="{D7E702A7-7A16-CBEE-06ED-814E3CDCD5B6}"/>
          </ac:spMkLst>
        </pc:spChg>
        <pc:spChg chg="add del mod">
          <ac:chgData name="Steiner Andreas 6206 ED" userId="e6377c33-a923-4f14-8587-531c474c7b48" providerId="ADAL" clId="{6ECD27E6-B224-41CD-B4E0-E297462320DD}" dt="2023-11-24T11:35:16.759" v="122094"/>
          <ac:spMkLst>
            <pc:docMk/>
            <pc:sldMk cId="2637169229" sldId="2147478574"/>
            <ac:spMk id="795" creationId="{0D64925C-31CB-2643-9E0F-ED165F36D285}"/>
          </ac:spMkLst>
        </pc:spChg>
        <pc:spChg chg="add del mod">
          <ac:chgData name="Steiner Andreas 6206 ED" userId="e6377c33-a923-4f14-8587-531c474c7b48" providerId="ADAL" clId="{6ECD27E6-B224-41CD-B4E0-E297462320DD}" dt="2023-11-24T11:35:18.465" v="122249"/>
          <ac:spMkLst>
            <pc:docMk/>
            <pc:sldMk cId="2637169229" sldId="2147478574"/>
            <ac:spMk id="796" creationId="{515B0EC7-4201-D804-658A-FA763F54073A}"/>
          </ac:spMkLst>
        </pc:spChg>
        <pc:spChg chg="add del mod">
          <ac:chgData name="Steiner Andreas 6206 ED" userId="e6377c33-a923-4f14-8587-531c474c7b48" providerId="ADAL" clId="{6ECD27E6-B224-41CD-B4E0-E297462320DD}" dt="2023-11-24T11:35:20.088" v="122404"/>
          <ac:spMkLst>
            <pc:docMk/>
            <pc:sldMk cId="2637169229" sldId="2147478574"/>
            <ac:spMk id="797" creationId="{92C076AD-65F9-D2E4-0EBF-6427B7F916B4}"/>
          </ac:spMkLst>
        </pc:spChg>
        <pc:spChg chg="add del mod">
          <ac:chgData name="Steiner Andreas 6206 ED" userId="e6377c33-a923-4f14-8587-531c474c7b48" providerId="ADAL" clId="{6ECD27E6-B224-41CD-B4E0-E297462320DD}" dt="2023-11-24T11:35:21.711" v="122559"/>
          <ac:spMkLst>
            <pc:docMk/>
            <pc:sldMk cId="2637169229" sldId="2147478574"/>
            <ac:spMk id="798" creationId="{0F1A04D7-8C18-97DF-7044-2AE53F247D2E}"/>
          </ac:spMkLst>
        </pc:spChg>
        <pc:spChg chg="add del mod">
          <ac:chgData name="Steiner Andreas 6206 ED" userId="e6377c33-a923-4f14-8587-531c474c7b48" providerId="ADAL" clId="{6ECD27E6-B224-41CD-B4E0-E297462320DD}" dt="2023-11-24T11:35:23.433" v="122714"/>
          <ac:spMkLst>
            <pc:docMk/>
            <pc:sldMk cId="2637169229" sldId="2147478574"/>
            <ac:spMk id="799" creationId="{B380DC42-D413-2B54-0080-4500A55177DC}"/>
          </ac:spMkLst>
        </pc:spChg>
        <pc:spChg chg="add del mod">
          <ac:chgData name="Steiner Andreas 6206 ED" userId="e6377c33-a923-4f14-8587-531c474c7b48" providerId="ADAL" clId="{6ECD27E6-B224-41CD-B4E0-E297462320DD}" dt="2023-11-24T11:35:25.469" v="122869"/>
          <ac:spMkLst>
            <pc:docMk/>
            <pc:sldMk cId="2637169229" sldId="2147478574"/>
            <ac:spMk id="800" creationId="{9012278A-401B-EC09-710F-58982AFA3171}"/>
          </ac:spMkLst>
        </pc:spChg>
        <pc:spChg chg="add del mod">
          <ac:chgData name="Steiner Andreas 6206 ED" userId="e6377c33-a923-4f14-8587-531c474c7b48" providerId="ADAL" clId="{6ECD27E6-B224-41CD-B4E0-E297462320DD}" dt="2023-11-24T11:35:27.481" v="123024"/>
          <ac:spMkLst>
            <pc:docMk/>
            <pc:sldMk cId="2637169229" sldId="2147478574"/>
            <ac:spMk id="801" creationId="{750A78C8-3F1B-D0F4-EFF9-624280E471B7}"/>
          </ac:spMkLst>
        </pc:spChg>
        <pc:spChg chg="add del mod">
          <ac:chgData name="Steiner Andreas 6206 ED" userId="e6377c33-a923-4f14-8587-531c474c7b48" providerId="ADAL" clId="{6ECD27E6-B224-41CD-B4E0-E297462320DD}" dt="2023-11-24T11:35:29.371" v="123179"/>
          <ac:spMkLst>
            <pc:docMk/>
            <pc:sldMk cId="2637169229" sldId="2147478574"/>
            <ac:spMk id="802" creationId="{622BDD5A-E194-9902-85C1-1AA2F72407B5}"/>
          </ac:spMkLst>
        </pc:spChg>
        <pc:spChg chg="add del mod">
          <ac:chgData name="Steiner Andreas 6206 ED" userId="e6377c33-a923-4f14-8587-531c474c7b48" providerId="ADAL" clId="{6ECD27E6-B224-41CD-B4E0-E297462320DD}" dt="2023-11-24T11:35:31.103" v="123334"/>
          <ac:spMkLst>
            <pc:docMk/>
            <pc:sldMk cId="2637169229" sldId="2147478574"/>
            <ac:spMk id="803" creationId="{54353405-39A6-F7C3-586C-851086204FD5}"/>
          </ac:spMkLst>
        </pc:spChg>
        <pc:spChg chg="add del mod">
          <ac:chgData name="Steiner Andreas 6206 ED" userId="e6377c33-a923-4f14-8587-531c474c7b48" providerId="ADAL" clId="{6ECD27E6-B224-41CD-B4E0-E297462320DD}" dt="2023-11-24T11:35:34.030" v="123489"/>
          <ac:spMkLst>
            <pc:docMk/>
            <pc:sldMk cId="2637169229" sldId="2147478574"/>
            <ac:spMk id="804" creationId="{9E7C652D-F6A2-D4B6-C647-055DEBFC86BB}"/>
          </ac:spMkLst>
        </pc:spChg>
        <pc:spChg chg="add del mod">
          <ac:chgData name="Steiner Andreas 6206 ED" userId="e6377c33-a923-4f14-8587-531c474c7b48" providerId="ADAL" clId="{6ECD27E6-B224-41CD-B4E0-E297462320DD}" dt="2023-11-24T11:35:35.852" v="123644"/>
          <ac:spMkLst>
            <pc:docMk/>
            <pc:sldMk cId="2637169229" sldId="2147478574"/>
            <ac:spMk id="805" creationId="{3D8EBD7C-82C8-6362-F0C7-D64B4CE3EE95}"/>
          </ac:spMkLst>
        </pc:spChg>
        <pc:spChg chg="add del mod">
          <ac:chgData name="Steiner Andreas 6206 ED" userId="e6377c33-a923-4f14-8587-531c474c7b48" providerId="ADAL" clId="{6ECD27E6-B224-41CD-B4E0-E297462320DD}" dt="2023-11-24T11:35:37.526" v="123799"/>
          <ac:spMkLst>
            <pc:docMk/>
            <pc:sldMk cId="2637169229" sldId="2147478574"/>
            <ac:spMk id="806" creationId="{ADC52525-8034-2403-A146-E201BEDCA5AC}"/>
          </ac:spMkLst>
        </pc:spChg>
        <pc:spChg chg="add del mod">
          <ac:chgData name="Steiner Andreas 6206 ED" userId="e6377c33-a923-4f14-8587-531c474c7b48" providerId="ADAL" clId="{6ECD27E6-B224-41CD-B4E0-E297462320DD}" dt="2023-11-24T11:35:39.160" v="123954"/>
          <ac:spMkLst>
            <pc:docMk/>
            <pc:sldMk cId="2637169229" sldId="2147478574"/>
            <ac:spMk id="807" creationId="{4413B210-12E2-ECBE-E93C-D954126D5F31}"/>
          </ac:spMkLst>
        </pc:spChg>
        <pc:spChg chg="add del mod">
          <ac:chgData name="Steiner Andreas 6206 ED" userId="e6377c33-a923-4f14-8587-531c474c7b48" providerId="ADAL" clId="{6ECD27E6-B224-41CD-B4E0-E297462320DD}" dt="2023-11-24T11:35:40.872" v="124109"/>
          <ac:spMkLst>
            <pc:docMk/>
            <pc:sldMk cId="2637169229" sldId="2147478574"/>
            <ac:spMk id="808" creationId="{557B5ED3-39A6-C28B-169A-52FDC678D43D}"/>
          </ac:spMkLst>
        </pc:spChg>
        <pc:spChg chg="add del mod">
          <ac:chgData name="Steiner Andreas 6206 ED" userId="e6377c33-a923-4f14-8587-531c474c7b48" providerId="ADAL" clId="{6ECD27E6-B224-41CD-B4E0-E297462320DD}" dt="2023-11-24T11:35:42.463" v="124264"/>
          <ac:spMkLst>
            <pc:docMk/>
            <pc:sldMk cId="2637169229" sldId="2147478574"/>
            <ac:spMk id="809" creationId="{82441976-9837-9142-073E-C8DC1A0C31D8}"/>
          </ac:spMkLst>
        </pc:spChg>
        <pc:spChg chg="add del mod">
          <ac:chgData name="Steiner Andreas 6206 ED" userId="e6377c33-a923-4f14-8587-531c474c7b48" providerId="ADAL" clId="{6ECD27E6-B224-41CD-B4E0-E297462320DD}" dt="2023-11-24T11:35:44.148" v="124419"/>
          <ac:spMkLst>
            <pc:docMk/>
            <pc:sldMk cId="2637169229" sldId="2147478574"/>
            <ac:spMk id="810" creationId="{22D2823E-9A61-E8CB-9874-7440C9445C1D}"/>
          </ac:spMkLst>
        </pc:spChg>
        <pc:spChg chg="add del mod">
          <ac:chgData name="Steiner Andreas 6206 ED" userId="e6377c33-a923-4f14-8587-531c474c7b48" providerId="ADAL" clId="{6ECD27E6-B224-41CD-B4E0-E297462320DD}" dt="2023-11-24T11:35:45.794" v="124574"/>
          <ac:spMkLst>
            <pc:docMk/>
            <pc:sldMk cId="2637169229" sldId="2147478574"/>
            <ac:spMk id="811" creationId="{CD868608-7F0C-B04E-9FFB-3DCF293B3975}"/>
          </ac:spMkLst>
        </pc:spChg>
        <pc:spChg chg="add del mod">
          <ac:chgData name="Steiner Andreas 6206 ED" userId="e6377c33-a923-4f14-8587-531c474c7b48" providerId="ADAL" clId="{6ECD27E6-B224-41CD-B4E0-E297462320DD}" dt="2023-11-24T11:35:47.501" v="124729"/>
          <ac:spMkLst>
            <pc:docMk/>
            <pc:sldMk cId="2637169229" sldId="2147478574"/>
            <ac:spMk id="812" creationId="{F90EEC1E-704B-7B88-A6C9-FAF50DD20C7C}"/>
          </ac:spMkLst>
        </pc:spChg>
        <pc:spChg chg="add del mod">
          <ac:chgData name="Steiner Andreas 6206 ED" userId="e6377c33-a923-4f14-8587-531c474c7b48" providerId="ADAL" clId="{6ECD27E6-B224-41CD-B4E0-E297462320DD}" dt="2023-11-24T11:35:49.287" v="124884"/>
          <ac:spMkLst>
            <pc:docMk/>
            <pc:sldMk cId="2637169229" sldId="2147478574"/>
            <ac:spMk id="813" creationId="{A6C57609-8982-2D3F-F322-51087C131061}"/>
          </ac:spMkLst>
        </pc:spChg>
        <pc:spChg chg="add del mod">
          <ac:chgData name="Steiner Andreas 6206 ED" userId="e6377c33-a923-4f14-8587-531c474c7b48" providerId="ADAL" clId="{6ECD27E6-B224-41CD-B4E0-E297462320DD}" dt="2023-11-24T11:35:51.202" v="125039"/>
          <ac:spMkLst>
            <pc:docMk/>
            <pc:sldMk cId="2637169229" sldId="2147478574"/>
            <ac:spMk id="814" creationId="{E86833E8-6BDD-43F5-B8DA-5BF58A962C5B}"/>
          </ac:spMkLst>
        </pc:spChg>
        <pc:spChg chg="add del mod">
          <ac:chgData name="Steiner Andreas 6206 ED" userId="e6377c33-a923-4f14-8587-531c474c7b48" providerId="ADAL" clId="{6ECD27E6-B224-41CD-B4E0-E297462320DD}" dt="2023-11-24T11:35:52.922" v="125194"/>
          <ac:spMkLst>
            <pc:docMk/>
            <pc:sldMk cId="2637169229" sldId="2147478574"/>
            <ac:spMk id="815" creationId="{FC404A39-5F47-B05E-0B5C-BCD5351DEA6A}"/>
          </ac:spMkLst>
        </pc:spChg>
        <pc:spChg chg="add del mod">
          <ac:chgData name="Steiner Andreas 6206 ED" userId="e6377c33-a923-4f14-8587-531c474c7b48" providerId="ADAL" clId="{6ECD27E6-B224-41CD-B4E0-E297462320DD}" dt="2023-11-24T11:35:54.936" v="125349"/>
          <ac:spMkLst>
            <pc:docMk/>
            <pc:sldMk cId="2637169229" sldId="2147478574"/>
            <ac:spMk id="816" creationId="{D345BA92-2B58-7964-0E02-555104EBDC9C}"/>
          </ac:spMkLst>
        </pc:spChg>
        <pc:spChg chg="add del mod">
          <ac:chgData name="Steiner Andreas 6206 ED" userId="e6377c33-a923-4f14-8587-531c474c7b48" providerId="ADAL" clId="{6ECD27E6-B224-41CD-B4E0-E297462320DD}" dt="2023-11-24T11:35:57.122" v="125504"/>
          <ac:spMkLst>
            <pc:docMk/>
            <pc:sldMk cId="2637169229" sldId="2147478574"/>
            <ac:spMk id="817" creationId="{7F941E5B-8380-53EF-2ED8-C9C741AA6C45}"/>
          </ac:spMkLst>
        </pc:spChg>
        <pc:spChg chg="add del mod">
          <ac:chgData name="Steiner Andreas 6206 ED" userId="e6377c33-a923-4f14-8587-531c474c7b48" providerId="ADAL" clId="{6ECD27E6-B224-41CD-B4E0-E297462320DD}" dt="2023-11-24T11:35:58.895" v="125659"/>
          <ac:spMkLst>
            <pc:docMk/>
            <pc:sldMk cId="2637169229" sldId="2147478574"/>
            <ac:spMk id="818" creationId="{4B17C384-6531-B544-3C5F-BD73485757C4}"/>
          </ac:spMkLst>
        </pc:spChg>
        <pc:spChg chg="add del mod">
          <ac:chgData name="Steiner Andreas 6206 ED" userId="e6377c33-a923-4f14-8587-531c474c7b48" providerId="ADAL" clId="{6ECD27E6-B224-41CD-B4E0-E297462320DD}" dt="2023-11-24T11:36:00.631" v="125814"/>
          <ac:spMkLst>
            <pc:docMk/>
            <pc:sldMk cId="2637169229" sldId="2147478574"/>
            <ac:spMk id="819" creationId="{CA3B7DC7-BA99-6A0F-8A0E-DB4FDC133360}"/>
          </ac:spMkLst>
        </pc:spChg>
        <pc:spChg chg="add del mod">
          <ac:chgData name="Steiner Andreas 6206 ED" userId="e6377c33-a923-4f14-8587-531c474c7b48" providerId="ADAL" clId="{6ECD27E6-B224-41CD-B4E0-E297462320DD}" dt="2023-11-24T11:36:02.364" v="125969"/>
          <ac:spMkLst>
            <pc:docMk/>
            <pc:sldMk cId="2637169229" sldId="2147478574"/>
            <ac:spMk id="820" creationId="{499B7505-6325-EBDD-A35B-14B1899515C8}"/>
          </ac:spMkLst>
        </pc:spChg>
        <pc:spChg chg="add del mod">
          <ac:chgData name="Steiner Andreas 6206 ED" userId="e6377c33-a923-4f14-8587-531c474c7b48" providerId="ADAL" clId="{6ECD27E6-B224-41CD-B4E0-E297462320DD}" dt="2023-11-24T11:36:04.114" v="126124"/>
          <ac:spMkLst>
            <pc:docMk/>
            <pc:sldMk cId="2637169229" sldId="2147478574"/>
            <ac:spMk id="821" creationId="{96BC7477-62BF-CBA9-CE39-4097EFEEE64E}"/>
          </ac:spMkLst>
        </pc:spChg>
        <pc:spChg chg="add del mod">
          <ac:chgData name="Steiner Andreas 6206 ED" userId="e6377c33-a923-4f14-8587-531c474c7b48" providerId="ADAL" clId="{6ECD27E6-B224-41CD-B4E0-E297462320DD}" dt="2023-11-24T11:36:05.892" v="126279"/>
          <ac:spMkLst>
            <pc:docMk/>
            <pc:sldMk cId="2637169229" sldId="2147478574"/>
            <ac:spMk id="822" creationId="{34351C7A-2640-7059-4172-1C43372C637C}"/>
          </ac:spMkLst>
        </pc:spChg>
        <pc:spChg chg="add del mod">
          <ac:chgData name="Steiner Andreas 6206 ED" userId="e6377c33-a923-4f14-8587-531c474c7b48" providerId="ADAL" clId="{6ECD27E6-B224-41CD-B4E0-E297462320DD}" dt="2023-11-24T11:36:07.580" v="126434"/>
          <ac:spMkLst>
            <pc:docMk/>
            <pc:sldMk cId="2637169229" sldId="2147478574"/>
            <ac:spMk id="823" creationId="{805A7FC7-C944-FD1E-70A3-342B6368F4FC}"/>
          </ac:spMkLst>
        </pc:spChg>
        <pc:spChg chg="add del mod">
          <ac:chgData name="Steiner Andreas 6206 ED" userId="e6377c33-a923-4f14-8587-531c474c7b48" providerId="ADAL" clId="{6ECD27E6-B224-41CD-B4E0-E297462320DD}" dt="2023-11-24T11:36:09.421" v="126589"/>
          <ac:spMkLst>
            <pc:docMk/>
            <pc:sldMk cId="2637169229" sldId="2147478574"/>
            <ac:spMk id="824" creationId="{9B197CCD-67C0-C2CD-6562-5074CDBDDD50}"/>
          </ac:spMkLst>
        </pc:spChg>
        <pc:spChg chg="add del mod">
          <ac:chgData name="Steiner Andreas 6206 ED" userId="e6377c33-a923-4f14-8587-531c474c7b48" providerId="ADAL" clId="{6ECD27E6-B224-41CD-B4E0-E297462320DD}" dt="2023-11-24T11:36:11.231" v="126744"/>
          <ac:spMkLst>
            <pc:docMk/>
            <pc:sldMk cId="2637169229" sldId="2147478574"/>
            <ac:spMk id="825" creationId="{8AA9E917-EE99-8DB7-FA7E-E2BD3B79C41C}"/>
          </ac:spMkLst>
        </pc:spChg>
        <pc:spChg chg="add del mod">
          <ac:chgData name="Steiner Andreas 6206 ED" userId="e6377c33-a923-4f14-8587-531c474c7b48" providerId="ADAL" clId="{6ECD27E6-B224-41CD-B4E0-E297462320DD}" dt="2023-11-24T11:36:13.137" v="126899"/>
          <ac:spMkLst>
            <pc:docMk/>
            <pc:sldMk cId="2637169229" sldId="2147478574"/>
            <ac:spMk id="826" creationId="{2937DC4A-2682-B5DB-B8F6-4767C921A1D1}"/>
          </ac:spMkLst>
        </pc:spChg>
        <pc:spChg chg="add del mod">
          <ac:chgData name="Steiner Andreas 6206 ED" userId="e6377c33-a923-4f14-8587-531c474c7b48" providerId="ADAL" clId="{6ECD27E6-B224-41CD-B4E0-E297462320DD}" dt="2023-11-24T11:36:15.016" v="127054"/>
          <ac:spMkLst>
            <pc:docMk/>
            <pc:sldMk cId="2637169229" sldId="2147478574"/>
            <ac:spMk id="827" creationId="{D8A04A06-346E-858D-7ECA-A76A8EB9E240}"/>
          </ac:spMkLst>
        </pc:spChg>
        <pc:spChg chg="add del mod">
          <ac:chgData name="Steiner Andreas 6206 ED" userId="e6377c33-a923-4f14-8587-531c474c7b48" providerId="ADAL" clId="{6ECD27E6-B224-41CD-B4E0-E297462320DD}" dt="2023-11-24T11:36:17.590" v="127209"/>
          <ac:spMkLst>
            <pc:docMk/>
            <pc:sldMk cId="2637169229" sldId="2147478574"/>
            <ac:spMk id="828" creationId="{78CB29B6-0804-B840-673A-374699F780DB}"/>
          </ac:spMkLst>
        </pc:spChg>
        <pc:spChg chg="add del mod">
          <ac:chgData name="Steiner Andreas 6206 ED" userId="e6377c33-a923-4f14-8587-531c474c7b48" providerId="ADAL" clId="{6ECD27E6-B224-41CD-B4E0-E297462320DD}" dt="2023-11-24T11:36:20.169" v="127364"/>
          <ac:spMkLst>
            <pc:docMk/>
            <pc:sldMk cId="2637169229" sldId="2147478574"/>
            <ac:spMk id="829" creationId="{8F1F32F9-3D67-17FC-1BBF-386F4D6F427F}"/>
          </ac:spMkLst>
        </pc:spChg>
        <pc:spChg chg="add del mod">
          <ac:chgData name="Steiner Andreas 6206 ED" userId="e6377c33-a923-4f14-8587-531c474c7b48" providerId="ADAL" clId="{6ECD27E6-B224-41CD-B4E0-E297462320DD}" dt="2023-11-24T11:36:22.507" v="127519"/>
          <ac:spMkLst>
            <pc:docMk/>
            <pc:sldMk cId="2637169229" sldId="2147478574"/>
            <ac:spMk id="830" creationId="{05A63E16-EBA4-EA56-891E-44A91FEE276D}"/>
          </ac:spMkLst>
        </pc:spChg>
        <pc:spChg chg="add del mod">
          <ac:chgData name="Steiner Andreas 6206 ED" userId="e6377c33-a923-4f14-8587-531c474c7b48" providerId="ADAL" clId="{6ECD27E6-B224-41CD-B4E0-E297462320DD}" dt="2023-11-24T11:36:25.651" v="127674"/>
          <ac:spMkLst>
            <pc:docMk/>
            <pc:sldMk cId="2637169229" sldId="2147478574"/>
            <ac:spMk id="831" creationId="{3C654F10-241D-FF10-2752-5EB06AA9978E}"/>
          </ac:spMkLst>
        </pc:spChg>
        <pc:spChg chg="add del mod">
          <ac:chgData name="Steiner Andreas 6206 ED" userId="e6377c33-a923-4f14-8587-531c474c7b48" providerId="ADAL" clId="{6ECD27E6-B224-41CD-B4E0-E297462320DD}" dt="2023-11-24T11:36:28.470" v="127829"/>
          <ac:spMkLst>
            <pc:docMk/>
            <pc:sldMk cId="2637169229" sldId="2147478574"/>
            <ac:spMk id="832" creationId="{1688C161-6652-EB7F-359B-A06AD40E5E89}"/>
          </ac:spMkLst>
        </pc:spChg>
        <pc:spChg chg="add del mod">
          <ac:chgData name="Steiner Andreas 6206 ED" userId="e6377c33-a923-4f14-8587-531c474c7b48" providerId="ADAL" clId="{6ECD27E6-B224-41CD-B4E0-E297462320DD}" dt="2023-11-24T11:36:31.132" v="127984"/>
          <ac:spMkLst>
            <pc:docMk/>
            <pc:sldMk cId="2637169229" sldId="2147478574"/>
            <ac:spMk id="833" creationId="{C6438F18-A83F-D342-FBD7-3CB78EFE15FC}"/>
          </ac:spMkLst>
        </pc:spChg>
        <pc:spChg chg="add del mod">
          <ac:chgData name="Steiner Andreas 6206 ED" userId="e6377c33-a923-4f14-8587-531c474c7b48" providerId="ADAL" clId="{6ECD27E6-B224-41CD-B4E0-E297462320DD}" dt="2023-11-24T11:36:33.398" v="128139"/>
          <ac:spMkLst>
            <pc:docMk/>
            <pc:sldMk cId="2637169229" sldId="2147478574"/>
            <ac:spMk id="834" creationId="{58011004-E6D6-C67D-6FE0-A571CA3406B4}"/>
          </ac:spMkLst>
        </pc:spChg>
        <pc:spChg chg="add del mod">
          <ac:chgData name="Steiner Andreas 6206 ED" userId="e6377c33-a923-4f14-8587-531c474c7b48" providerId="ADAL" clId="{6ECD27E6-B224-41CD-B4E0-E297462320DD}" dt="2023-11-24T11:36:35.457" v="128294"/>
          <ac:spMkLst>
            <pc:docMk/>
            <pc:sldMk cId="2637169229" sldId="2147478574"/>
            <ac:spMk id="835" creationId="{68B72DF0-E772-F332-2201-4CEBCB3C9A57}"/>
          </ac:spMkLst>
        </pc:spChg>
        <pc:spChg chg="add del mod">
          <ac:chgData name="Steiner Andreas 6206 ED" userId="e6377c33-a923-4f14-8587-531c474c7b48" providerId="ADAL" clId="{6ECD27E6-B224-41CD-B4E0-E297462320DD}" dt="2023-11-24T11:36:37.566" v="128449"/>
          <ac:spMkLst>
            <pc:docMk/>
            <pc:sldMk cId="2637169229" sldId="2147478574"/>
            <ac:spMk id="836" creationId="{AB9526C0-4B0F-7018-2018-21DC65035E2A}"/>
          </ac:spMkLst>
        </pc:spChg>
        <pc:spChg chg="add del mod">
          <ac:chgData name="Steiner Andreas 6206 ED" userId="e6377c33-a923-4f14-8587-531c474c7b48" providerId="ADAL" clId="{6ECD27E6-B224-41CD-B4E0-E297462320DD}" dt="2023-11-24T11:36:39.782" v="128604"/>
          <ac:spMkLst>
            <pc:docMk/>
            <pc:sldMk cId="2637169229" sldId="2147478574"/>
            <ac:spMk id="837" creationId="{2386BC33-5C1F-F7FF-F856-9FA1B7058D0C}"/>
          </ac:spMkLst>
        </pc:spChg>
        <pc:spChg chg="add del mod">
          <ac:chgData name="Steiner Andreas 6206 ED" userId="e6377c33-a923-4f14-8587-531c474c7b48" providerId="ADAL" clId="{6ECD27E6-B224-41CD-B4E0-E297462320DD}" dt="2023-11-24T11:36:42.334" v="128759"/>
          <ac:spMkLst>
            <pc:docMk/>
            <pc:sldMk cId="2637169229" sldId="2147478574"/>
            <ac:spMk id="838" creationId="{63BADD04-0DE2-83AE-0EB2-3164112BA965}"/>
          </ac:spMkLst>
        </pc:spChg>
        <pc:spChg chg="add del mod">
          <ac:chgData name="Steiner Andreas 6206 ED" userId="e6377c33-a923-4f14-8587-531c474c7b48" providerId="ADAL" clId="{6ECD27E6-B224-41CD-B4E0-E297462320DD}" dt="2023-11-24T11:36:44.635" v="128914"/>
          <ac:spMkLst>
            <pc:docMk/>
            <pc:sldMk cId="2637169229" sldId="2147478574"/>
            <ac:spMk id="839" creationId="{B609EF65-D174-DE11-EB11-B1DCB0D87A05}"/>
          </ac:spMkLst>
        </pc:spChg>
        <pc:spChg chg="add del mod">
          <ac:chgData name="Steiner Andreas 6206 ED" userId="e6377c33-a923-4f14-8587-531c474c7b48" providerId="ADAL" clId="{6ECD27E6-B224-41CD-B4E0-E297462320DD}" dt="2023-11-24T11:36:46.605" v="129069"/>
          <ac:spMkLst>
            <pc:docMk/>
            <pc:sldMk cId="2637169229" sldId="2147478574"/>
            <ac:spMk id="840" creationId="{D5E9DCFC-3B39-7142-3F9A-CE462E5AA63B}"/>
          </ac:spMkLst>
        </pc:spChg>
        <pc:spChg chg="add del mod">
          <ac:chgData name="Steiner Andreas 6206 ED" userId="e6377c33-a923-4f14-8587-531c474c7b48" providerId="ADAL" clId="{6ECD27E6-B224-41CD-B4E0-E297462320DD}" dt="2023-11-24T11:36:48.567" v="129224"/>
          <ac:spMkLst>
            <pc:docMk/>
            <pc:sldMk cId="2637169229" sldId="2147478574"/>
            <ac:spMk id="841" creationId="{6A729E9D-1319-FB02-C6C8-BBF043DBEEBB}"/>
          </ac:spMkLst>
        </pc:spChg>
        <pc:spChg chg="add del mod">
          <ac:chgData name="Steiner Andreas 6206 ED" userId="e6377c33-a923-4f14-8587-531c474c7b48" providerId="ADAL" clId="{6ECD27E6-B224-41CD-B4E0-E297462320DD}" dt="2023-11-24T11:36:50.547" v="129379"/>
          <ac:spMkLst>
            <pc:docMk/>
            <pc:sldMk cId="2637169229" sldId="2147478574"/>
            <ac:spMk id="842" creationId="{1A856072-2541-20B8-1F43-D99B5F0CF0FD}"/>
          </ac:spMkLst>
        </pc:spChg>
        <pc:spChg chg="add del mod">
          <ac:chgData name="Steiner Andreas 6206 ED" userId="e6377c33-a923-4f14-8587-531c474c7b48" providerId="ADAL" clId="{6ECD27E6-B224-41CD-B4E0-E297462320DD}" dt="2023-11-24T11:36:52.681" v="129534"/>
          <ac:spMkLst>
            <pc:docMk/>
            <pc:sldMk cId="2637169229" sldId="2147478574"/>
            <ac:spMk id="843" creationId="{231348AF-9E61-B73C-848B-13CD3A0EE365}"/>
          </ac:spMkLst>
        </pc:spChg>
        <pc:spChg chg="add del mod">
          <ac:chgData name="Steiner Andreas 6206 ED" userId="e6377c33-a923-4f14-8587-531c474c7b48" providerId="ADAL" clId="{6ECD27E6-B224-41CD-B4E0-E297462320DD}" dt="2023-11-24T11:36:55.568" v="129689"/>
          <ac:spMkLst>
            <pc:docMk/>
            <pc:sldMk cId="2637169229" sldId="2147478574"/>
            <ac:spMk id="844" creationId="{76171B51-0453-4C21-CEF6-70E32F8E3791}"/>
          </ac:spMkLst>
        </pc:spChg>
        <pc:spChg chg="add del mod">
          <ac:chgData name="Steiner Andreas 6206 ED" userId="e6377c33-a923-4f14-8587-531c474c7b48" providerId="ADAL" clId="{6ECD27E6-B224-41CD-B4E0-E297462320DD}" dt="2023-11-24T11:36:57.819" v="129844"/>
          <ac:spMkLst>
            <pc:docMk/>
            <pc:sldMk cId="2637169229" sldId="2147478574"/>
            <ac:spMk id="845" creationId="{8F07539B-9505-8AEA-DDBC-FCDEE4384DED}"/>
          </ac:spMkLst>
        </pc:spChg>
        <pc:spChg chg="add del mod">
          <ac:chgData name="Steiner Andreas 6206 ED" userId="e6377c33-a923-4f14-8587-531c474c7b48" providerId="ADAL" clId="{6ECD27E6-B224-41CD-B4E0-E297462320DD}" dt="2023-11-24T11:37:00.160" v="129999"/>
          <ac:spMkLst>
            <pc:docMk/>
            <pc:sldMk cId="2637169229" sldId="2147478574"/>
            <ac:spMk id="846" creationId="{255763D8-F898-F975-37E0-D9512BF7E068}"/>
          </ac:spMkLst>
        </pc:spChg>
        <pc:spChg chg="add del mod">
          <ac:chgData name="Steiner Andreas 6206 ED" userId="e6377c33-a923-4f14-8587-531c474c7b48" providerId="ADAL" clId="{6ECD27E6-B224-41CD-B4E0-E297462320DD}" dt="2023-11-24T11:37:01.980" v="130154"/>
          <ac:spMkLst>
            <pc:docMk/>
            <pc:sldMk cId="2637169229" sldId="2147478574"/>
            <ac:spMk id="847" creationId="{488ED82E-685B-87A2-89FA-100FAEB9333C}"/>
          </ac:spMkLst>
        </pc:spChg>
        <pc:spChg chg="add del mod">
          <ac:chgData name="Steiner Andreas 6206 ED" userId="e6377c33-a923-4f14-8587-531c474c7b48" providerId="ADAL" clId="{6ECD27E6-B224-41CD-B4E0-E297462320DD}" dt="2023-11-24T11:37:03.720" v="130309"/>
          <ac:spMkLst>
            <pc:docMk/>
            <pc:sldMk cId="2637169229" sldId="2147478574"/>
            <ac:spMk id="848" creationId="{7FD5A604-462B-6C33-1A2E-7484360F4C4A}"/>
          </ac:spMkLst>
        </pc:spChg>
        <pc:spChg chg="add del mod">
          <ac:chgData name="Steiner Andreas 6206 ED" userId="e6377c33-a923-4f14-8587-531c474c7b48" providerId="ADAL" clId="{6ECD27E6-B224-41CD-B4E0-E297462320DD}" dt="2023-11-24T11:37:05.602" v="130464"/>
          <ac:spMkLst>
            <pc:docMk/>
            <pc:sldMk cId="2637169229" sldId="2147478574"/>
            <ac:spMk id="849" creationId="{9BDDCD71-629E-1722-DEE8-2B6480D6C09A}"/>
          </ac:spMkLst>
        </pc:spChg>
        <pc:spChg chg="add del mod">
          <ac:chgData name="Steiner Andreas 6206 ED" userId="e6377c33-a923-4f14-8587-531c474c7b48" providerId="ADAL" clId="{6ECD27E6-B224-41CD-B4E0-E297462320DD}" dt="2023-11-24T11:37:07.362" v="130619"/>
          <ac:spMkLst>
            <pc:docMk/>
            <pc:sldMk cId="2637169229" sldId="2147478574"/>
            <ac:spMk id="850" creationId="{EC3BE53F-91CF-4080-9EBC-1DDBEA67AC48}"/>
          </ac:spMkLst>
        </pc:spChg>
        <pc:spChg chg="add del mod">
          <ac:chgData name="Steiner Andreas 6206 ED" userId="e6377c33-a923-4f14-8587-531c474c7b48" providerId="ADAL" clId="{6ECD27E6-B224-41CD-B4E0-E297462320DD}" dt="2023-11-24T11:37:09.081" v="130774"/>
          <ac:spMkLst>
            <pc:docMk/>
            <pc:sldMk cId="2637169229" sldId="2147478574"/>
            <ac:spMk id="851" creationId="{BDD21DAE-0681-33C8-7E92-B55C9354053D}"/>
          </ac:spMkLst>
        </pc:spChg>
        <pc:spChg chg="add del mod">
          <ac:chgData name="Steiner Andreas 6206 ED" userId="e6377c33-a923-4f14-8587-531c474c7b48" providerId="ADAL" clId="{6ECD27E6-B224-41CD-B4E0-E297462320DD}" dt="2023-11-24T11:37:10.748" v="130929"/>
          <ac:spMkLst>
            <pc:docMk/>
            <pc:sldMk cId="2637169229" sldId="2147478574"/>
            <ac:spMk id="852" creationId="{7E7E3917-59E6-6FCE-5C93-34E5503FE93B}"/>
          </ac:spMkLst>
        </pc:spChg>
        <pc:spChg chg="add del mod">
          <ac:chgData name="Steiner Andreas 6206 ED" userId="e6377c33-a923-4f14-8587-531c474c7b48" providerId="ADAL" clId="{6ECD27E6-B224-41CD-B4E0-E297462320DD}" dt="2023-11-24T11:37:12.440" v="131084"/>
          <ac:spMkLst>
            <pc:docMk/>
            <pc:sldMk cId="2637169229" sldId="2147478574"/>
            <ac:spMk id="853" creationId="{B9AA7712-3CD6-12DA-A135-7420A56A3F22}"/>
          </ac:spMkLst>
        </pc:spChg>
        <pc:spChg chg="add del mod">
          <ac:chgData name="Steiner Andreas 6206 ED" userId="e6377c33-a923-4f14-8587-531c474c7b48" providerId="ADAL" clId="{6ECD27E6-B224-41CD-B4E0-E297462320DD}" dt="2023-11-24T11:37:14.118" v="131239"/>
          <ac:spMkLst>
            <pc:docMk/>
            <pc:sldMk cId="2637169229" sldId="2147478574"/>
            <ac:spMk id="854" creationId="{882666E6-CEFD-3022-56F6-71A703470F5F}"/>
          </ac:spMkLst>
        </pc:spChg>
        <pc:spChg chg="add del mod">
          <ac:chgData name="Steiner Andreas 6206 ED" userId="e6377c33-a923-4f14-8587-531c474c7b48" providerId="ADAL" clId="{6ECD27E6-B224-41CD-B4E0-E297462320DD}" dt="2023-11-24T11:37:16.161" v="131394"/>
          <ac:spMkLst>
            <pc:docMk/>
            <pc:sldMk cId="2637169229" sldId="2147478574"/>
            <ac:spMk id="855" creationId="{876FAC58-0734-E58E-361B-6CCA99547D2D}"/>
          </ac:spMkLst>
        </pc:spChg>
        <pc:spChg chg="add del mod">
          <ac:chgData name="Steiner Andreas 6206 ED" userId="e6377c33-a923-4f14-8587-531c474c7b48" providerId="ADAL" clId="{6ECD27E6-B224-41CD-B4E0-E297462320DD}" dt="2023-11-24T11:37:18.150" v="131549"/>
          <ac:spMkLst>
            <pc:docMk/>
            <pc:sldMk cId="2637169229" sldId="2147478574"/>
            <ac:spMk id="856" creationId="{3E30448D-0460-4435-7808-ED6E3F304EB7}"/>
          </ac:spMkLst>
        </pc:spChg>
        <pc:spChg chg="add del mod">
          <ac:chgData name="Steiner Andreas 6206 ED" userId="e6377c33-a923-4f14-8587-531c474c7b48" providerId="ADAL" clId="{6ECD27E6-B224-41CD-B4E0-E297462320DD}" dt="2023-11-24T11:37:20.034" v="131704"/>
          <ac:spMkLst>
            <pc:docMk/>
            <pc:sldMk cId="2637169229" sldId="2147478574"/>
            <ac:spMk id="857" creationId="{FC308B98-B870-3096-90EB-1A508E9E7309}"/>
          </ac:spMkLst>
        </pc:spChg>
        <pc:spChg chg="add del mod">
          <ac:chgData name="Steiner Andreas 6206 ED" userId="e6377c33-a923-4f14-8587-531c474c7b48" providerId="ADAL" clId="{6ECD27E6-B224-41CD-B4E0-E297462320DD}" dt="2023-11-24T11:37:21.946" v="131859"/>
          <ac:spMkLst>
            <pc:docMk/>
            <pc:sldMk cId="2637169229" sldId="2147478574"/>
            <ac:spMk id="858" creationId="{C01B0A96-BF41-01F1-9051-32EFCC304F5A}"/>
          </ac:spMkLst>
        </pc:spChg>
        <pc:spChg chg="add del mod">
          <ac:chgData name="Steiner Andreas 6206 ED" userId="e6377c33-a923-4f14-8587-531c474c7b48" providerId="ADAL" clId="{6ECD27E6-B224-41CD-B4E0-E297462320DD}" dt="2023-11-24T11:37:23.709" v="132014"/>
          <ac:spMkLst>
            <pc:docMk/>
            <pc:sldMk cId="2637169229" sldId="2147478574"/>
            <ac:spMk id="859" creationId="{6FC769DC-C68A-DACB-57EF-9BD5BDA65B34}"/>
          </ac:spMkLst>
        </pc:spChg>
        <pc:spChg chg="add del mod">
          <ac:chgData name="Steiner Andreas 6206 ED" userId="e6377c33-a923-4f14-8587-531c474c7b48" providerId="ADAL" clId="{6ECD27E6-B224-41CD-B4E0-E297462320DD}" dt="2023-11-24T11:37:25.432" v="132169"/>
          <ac:spMkLst>
            <pc:docMk/>
            <pc:sldMk cId="2637169229" sldId="2147478574"/>
            <ac:spMk id="860" creationId="{3578FE87-5711-ED69-790F-EE140CA36E56}"/>
          </ac:spMkLst>
        </pc:spChg>
        <pc:spChg chg="add del mod">
          <ac:chgData name="Steiner Andreas 6206 ED" userId="e6377c33-a923-4f14-8587-531c474c7b48" providerId="ADAL" clId="{6ECD27E6-B224-41CD-B4E0-E297462320DD}" dt="2023-11-24T11:37:27.399" v="132324"/>
          <ac:spMkLst>
            <pc:docMk/>
            <pc:sldMk cId="2637169229" sldId="2147478574"/>
            <ac:spMk id="861" creationId="{7A814C42-7D79-501D-92D8-6279204314E0}"/>
          </ac:spMkLst>
        </pc:spChg>
        <pc:spChg chg="add del mod">
          <ac:chgData name="Steiner Andreas 6206 ED" userId="e6377c33-a923-4f14-8587-531c474c7b48" providerId="ADAL" clId="{6ECD27E6-B224-41CD-B4E0-E297462320DD}" dt="2023-11-24T11:37:30.089" v="132479"/>
          <ac:spMkLst>
            <pc:docMk/>
            <pc:sldMk cId="2637169229" sldId="2147478574"/>
            <ac:spMk id="862" creationId="{2B2AE1A5-0F62-8AE3-A48A-717DFBF17F01}"/>
          </ac:spMkLst>
        </pc:spChg>
        <pc:spChg chg="add del mod">
          <ac:chgData name="Steiner Andreas 6206 ED" userId="e6377c33-a923-4f14-8587-531c474c7b48" providerId="ADAL" clId="{6ECD27E6-B224-41CD-B4E0-E297462320DD}" dt="2023-11-24T11:37:32.712" v="132634"/>
          <ac:spMkLst>
            <pc:docMk/>
            <pc:sldMk cId="2637169229" sldId="2147478574"/>
            <ac:spMk id="863" creationId="{F12ED705-D136-B31C-7AF9-196BCB6DB6D9}"/>
          </ac:spMkLst>
        </pc:spChg>
        <pc:spChg chg="add del mod">
          <ac:chgData name="Steiner Andreas 6206 ED" userId="e6377c33-a923-4f14-8587-531c474c7b48" providerId="ADAL" clId="{6ECD27E6-B224-41CD-B4E0-E297462320DD}" dt="2023-11-24T11:37:35.584" v="132789"/>
          <ac:spMkLst>
            <pc:docMk/>
            <pc:sldMk cId="2637169229" sldId="2147478574"/>
            <ac:spMk id="864" creationId="{60E656E5-85AA-7014-6F9A-2BC7459896A8}"/>
          </ac:spMkLst>
        </pc:spChg>
        <pc:spChg chg="add del mod">
          <ac:chgData name="Steiner Andreas 6206 ED" userId="e6377c33-a923-4f14-8587-531c474c7b48" providerId="ADAL" clId="{6ECD27E6-B224-41CD-B4E0-E297462320DD}" dt="2023-11-24T11:37:38.301" v="132944"/>
          <ac:spMkLst>
            <pc:docMk/>
            <pc:sldMk cId="2637169229" sldId="2147478574"/>
            <ac:spMk id="865" creationId="{4D425AA1-8568-75FE-F89D-BD7D6956612C}"/>
          </ac:spMkLst>
        </pc:spChg>
        <pc:spChg chg="add del mod">
          <ac:chgData name="Steiner Andreas 6206 ED" userId="e6377c33-a923-4f14-8587-531c474c7b48" providerId="ADAL" clId="{6ECD27E6-B224-41CD-B4E0-E297462320DD}" dt="2023-11-24T11:37:40.854" v="133099"/>
          <ac:spMkLst>
            <pc:docMk/>
            <pc:sldMk cId="2637169229" sldId="2147478574"/>
            <ac:spMk id="866" creationId="{C7B7DAFC-CA65-5743-83D0-A95A95FE425B}"/>
          </ac:spMkLst>
        </pc:spChg>
        <pc:spChg chg="add del mod">
          <ac:chgData name="Steiner Andreas 6206 ED" userId="e6377c33-a923-4f14-8587-531c474c7b48" providerId="ADAL" clId="{6ECD27E6-B224-41CD-B4E0-E297462320DD}" dt="2023-11-24T11:37:43.851" v="133254"/>
          <ac:spMkLst>
            <pc:docMk/>
            <pc:sldMk cId="2637169229" sldId="2147478574"/>
            <ac:spMk id="867" creationId="{6DD26AA2-C330-AB2F-7778-5CE571107FD1}"/>
          </ac:spMkLst>
        </pc:spChg>
        <pc:spChg chg="add del mod">
          <ac:chgData name="Steiner Andreas 6206 ED" userId="e6377c33-a923-4f14-8587-531c474c7b48" providerId="ADAL" clId="{6ECD27E6-B224-41CD-B4E0-E297462320DD}" dt="2023-11-24T11:37:48.033" v="133409"/>
          <ac:spMkLst>
            <pc:docMk/>
            <pc:sldMk cId="2637169229" sldId="2147478574"/>
            <ac:spMk id="868" creationId="{3F6BA219-C156-69F9-7E9A-A6FC8329BBFD}"/>
          </ac:spMkLst>
        </pc:spChg>
        <pc:spChg chg="add del mod">
          <ac:chgData name="Steiner Andreas 6206 ED" userId="e6377c33-a923-4f14-8587-531c474c7b48" providerId="ADAL" clId="{6ECD27E6-B224-41CD-B4E0-E297462320DD}" dt="2023-11-24T11:37:51.167" v="133564"/>
          <ac:spMkLst>
            <pc:docMk/>
            <pc:sldMk cId="2637169229" sldId="2147478574"/>
            <ac:spMk id="869" creationId="{2A9A1B9D-FDFE-4D81-4E50-90720CC7D45C}"/>
          </ac:spMkLst>
        </pc:spChg>
        <pc:spChg chg="add del mod">
          <ac:chgData name="Steiner Andreas 6206 ED" userId="e6377c33-a923-4f14-8587-531c474c7b48" providerId="ADAL" clId="{6ECD27E6-B224-41CD-B4E0-E297462320DD}" dt="2023-11-24T11:37:54.079" v="133719"/>
          <ac:spMkLst>
            <pc:docMk/>
            <pc:sldMk cId="2637169229" sldId="2147478574"/>
            <ac:spMk id="870" creationId="{D59F6A7B-B69C-99B6-84A2-5666EB43E375}"/>
          </ac:spMkLst>
        </pc:spChg>
        <pc:spChg chg="add del mod">
          <ac:chgData name="Steiner Andreas 6206 ED" userId="e6377c33-a923-4f14-8587-531c474c7b48" providerId="ADAL" clId="{6ECD27E6-B224-41CD-B4E0-E297462320DD}" dt="2023-11-24T11:37:56.421" v="133874"/>
          <ac:spMkLst>
            <pc:docMk/>
            <pc:sldMk cId="2637169229" sldId="2147478574"/>
            <ac:spMk id="871" creationId="{54750663-B344-51EE-B869-6C0D9E20D833}"/>
          </ac:spMkLst>
        </pc:spChg>
        <pc:spChg chg="add del mod">
          <ac:chgData name="Steiner Andreas 6206 ED" userId="e6377c33-a923-4f14-8587-531c474c7b48" providerId="ADAL" clId="{6ECD27E6-B224-41CD-B4E0-E297462320DD}" dt="2023-11-24T11:37:59.028" v="134029"/>
          <ac:spMkLst>
            <pc:docMk/>
            <pc:sldMk cId="2637169229" sldId="2147478574"/>
            <ac:spMk id="872" creationId="{739D82AD-C47F-7932-9734-03079B6668CD}"/>
          </ac:spMkLst>
        </pc:spChg>
        <pc:spChg chg="add del mod">
          <ac:chgData name="Steiner Andreas 6206 ED" userId="e6377c33-a923-4f14-8587-531c474c7b48" providerId="ADAL" clId="{6ECD27E6-B224-41CD-B4E0-E297462320DD}" dt="2023-11-24T11:38:01.292" v="134184"/>
          <ac:spMkLst>
            <pc:docMk/>
            <pc:sldMk cId="2637169229" sldId="2147478574"/>
            <ac:spMk id="873" creationId="{F3E2ADEE-BB38-1636-F1B6-0FBD3D1DC2D3}"/>
          </ac:spMkLst>
        </pc:spChg>
        <pc:spChg chg="add del mod">
          <ac:chgData name="Steiner Andreas 6206 ED" userId="e6377c33-a923-4f14-8587-531c474c7b48" providerId="ADAL" clId="{6ECD27E6-B224-41CD-B4E0-E297462320DD}" dt="2023-11-24T11:38:03.843" v="134339"/>
          <ac:spMkLst>
            <pc:docMk/>
            <pc:sldMk cId="2637169229" sldId="2147478574"/>
            <ac:spMk id="874" creationId="{FAF72DCE-2413-4930-E3EC-667689D6571D}"/>
          </ac:spMkLst>
        </pc:spChg>
        <pc:spChg chg="add del mod">
          <ac:chgData name="Steiner Andreas 6206 ED" userId="e6377c33-a923-4f14-8587-531c474c7b48" providerId="ADAL" clId="{6ECD27E6-B224-41CD-B4E0-E297462320DD}" dt="2023-11-24T11:38:06.201" v="134494"/>
          <ac:spMkLst>
            <pc:docMk/>
            <pc:sldMk cId="2637169229" sldId="2147478574"/>
            <ac:spMk id="875" creationId="{F1921F0A-18AE-95EE-30FC-8BB5C6EAE1E4}"/>
          </ac:spMkLst>
        </pc:spChg>
        <pc:spChg chg="add del mod">
          <ac:chgData name="Steiner Andreas 6206 ED" userId="e6377c33-a923-4f14-8587-531c474c7b48" providerId="ADAL" clId="{6ECD27E6-B224-41CD-B4E0-E297462320DD}" dt="2023-11-24T11:38:08.979" v="134649"/>
          <ac:spMkLst>
            <pc:docMk/>
            <pc:sldMk cId="2637169229" sldId="2147478574"/>
            <ac:spMk id="876" creationId="{2FF61FE1-F29E-8349-514F-572BD42E189A}"/>
          </ac:spMkLst>
        </pc:spChg>
        <pc:spChg chg="add del mod">
          <ac:chgData name="Steiner Andreas 6206 ED" userId="e6377c33-a923-4f14-8587-531c474c7b48" providerId="ADAL" clId="{6ECD27E6-B224-41CD-B4E0-E297462320DD}" dt="2023-11-24T11:38:11.921" v="134804"/>
          <ac:spMkLst>
            <pc:docMk/>
            <pc:sldMk cId="2637169229" sldId="2147478574"/>
            <ac:spMk id="877" creationId="{1BAEDCD6-A90A-B4FE-9174-A8F00B426906}"/>
          </ac:spMkLst>
        </pc:spChg>
        <pc:spChg chg="add del mod">
          <ac:chgData name="Steiner Andreas 6206 ED" userId="e6377c33-a923-4f14-8587-531c474c7b48" providerId="ADAL" clId="{6ECD27E6-B224-41CD-B4E0-E297462320DD}" dt="2023-11-24T11:38:14.155" v="134959"/>
          <ac:spMkLst>
            <pc:docMk/>
            <pc:sldMk cId="2637169229" sldId="2147478574"/>
            <ac:spMk id="878" creationId="{5DBAFE8D-405A-10D0-66B4-3F98FCB3EE4D}"/>
          </ac:spMkLst>
        </pc:spChg>
        <pc:spChg chg="add del mod">
          <ac:chgData name="Steiner Andreas 6206 ED" userId="e6377c33-a923-4f14-8587-531c474c7b48" providerId="ADAL" clId="{6ECD27E6-B224-41CD-B4E0-E297462320DD}" dt="2023-11-24T11:38:16.655" v="135114"/>
          <ac:spMkLst>
            <pc:docMk/>
            <pc:sldMk cId="2637169229" sldId="2147478574"/>
            <ac:spMk id="879" creationId="{7B396531-0ADA-7D60-CD6F-424322D78323}"/>
          </ac:spMkLst>
        </pc:spChg>
        <pc:spChg chg="add del mod">
          <ac:chgData name="Steiner Andreas 6206 ED" userId="e6377c33-a923-4f14-8587-531c474c7b48" providerId="ADAL" clId="{6ECD27E6-B224-41CD-B4E0-E297462320DD}" dt="2023-11-24T11:38:19.434" v="135269"/>
          <ac:spMkLst>
            <pc:docMk/>
            <pc:sldMk cId="2637169229" sldId="2147478574"/>
            <ac:spMk id="880" creationId="{3E0B2BB2-E04B-A84E-AE7F-35C015A97E61}"/>
          </ac:spMkLst>
        </pc:spChg>
        <pc:spChg chg="add del mod">
          <ac:chgData name="Steiner Andreas 6206 ED" userId="e6377c33-a923-4f14-8587-531c474c7b48" providerId="ADAL" clId="{6ECD27E6-B224-41CD-B4E0-E297462320DD}" dt="2023-11-24T11:38:22.010" v="135424"/>
          <ac:spMkLst>
            <pc:docMk/>
            <pc:sldMk cId="2637169229" sldId="2147478574"/>
            <ac:spMk id="881" creationId="{1B20997B-CB8D-8F0F-AC0B-3FD94620BEE4}"/>
          </ac:spMkLst>
        </pc:spChg>
        <pc:spChg chg="add del mod">
          <ac:chgData name="Steiner Andreas 6206 ED" userId="e6377c33-a923-4f14-8587-531c474c7b48" providerId="ADAL" clId="{6ECD27E6-B224-41CD-B4E0-E297462320DD}" dt="2023-11-24T11:38:24.863" v="135579"/>
          <ac:spMkLst>
            <pc:docMk/>
            <pc:sldMk cId="2637169229" sldId="2147478574"/>
            <ac:spMk id="882" creationId="{F1038C3C-1CBC-B6B4-BB27-EADB1E9DCCAE}"/>
          </ac:spMkLst>
        </pc:spChg>
        <pc:spChg chg="add del mod">
          <ac:chgData name="Steiner Andreas 6206 ED" userId="e6377c33-a923-4f14-8587-531c474c7b48" providerId="ADAL" clId="{6ECD27E6-B224-41CD-B4E0-E297462320DD}" dt="2023-11-24T11:38:27.636" v="135734"/>
          <ac:spMkLst>
            <pc:docMk/>
            <pc:sldMk cId="2637169229" sldId="2147478574"/>
            <ac:spMk id="883" creationId="{858BB45A-ABAF-A2D3-8C2F-D1C18492C23A}"/>
          </ac:spMkLst>
        </pc:spChg>
        <pc:spChg chg="add del mod">
          <ac:chgData name="Steiner Andreas 6206 ED" userId="e6377c33-a923-4f14-8587-531c474c7b48" providerId="ADAL" clId="{6ECD27E6-B224-41CD-B4E0-E297462320DD}" dt="2023-11-24T11:38:30.314" v="135889"/>
          <ac:spMkLst>
            <pc:docMk/>
            <pc:sldMk cId="2637169229" sldId="2147478574"/>
            <ac:spMk id="884" creationId="{D8D3C0C7-12C1-8D1F-02F2-9503BA904FD6}"/>
          </ac:spMkLst>
        </pc:spChg>
        <pc:spChg chg="add del mod">
          <ac:chgData name="Steiner Andreas 6206 ED" userId="e6377c33-a923-4f14-8587-531c474c7b48" providerId="ADAL" clId="{6ECD27E6-B224-41CD-B4E0-E297462320DD}" dt="2023-11-24T11:38:32.637" v="136044"/>
          <ac:spMkLst>
            <pc:docMk/>
            <pc:sldMk cId="2637169229" sldId="2147478574"/>
            <ac:spMk id="885" creationId="{121C3387-F354-3EB1-6FA1-2D575D30D7A4}"/>
          </ac:spMkLst>
        </pc:spChg>
        <pc:spChg chg="add del mod">
          <ac:chgData name="Steiner Andreas 6206 ED" userId="e6377c33-a923-4f14-8587-531c474c7b48" providerId="ADAL" clId="{6ECD27E6-B224-41CD-B4E0-E297462320DD}" dt="2023-11-24T11:38:35.129" v="136199"/>
          <ac:spMkLst>
            <pc:docMk/>
            <pc:sldMk cId="2637169229" sldId="2147478574"/>
            <ac:spMk id="886" creationId="{9FB5B7F1-856F-87DE-1E3F-6A209E22ED95}"/>
          </ac:spMkLst>
        </pc:spChg>
        <pc:spChg chg="add del mod">
          <ac:chgData name="Steiner Andreas 6206 ED" userId="e6377c33-a923-4f14-8587-531c474c7b48" providerId="ADAL" clId="{6ECD27E6-B224-41CD-B4E0-E297462320DD}" dt="2023-11-24T11:38:37.855" v="136354"/>
          <ac:spMkLst>
            <pc:docMk/>
            <pc:sldMk cId="2637169229" sldId="2147478574"/>
            <ac:spMk id="887" creationId="{0F2DA6A9-61E9-ACC6-16E0-92ACF1EAC77F}"/>
          </ac:spMkLst>
        </pc:spChg>
        <pc:spChg chg="add del mod">
          <ac:chgData name="Steiner Andreas 6206 ED" userId="e6377c33-a923-4f14-8587-531c474c7b48" providerId="ADAL" clId="{6ECD27E6-B224-41CD-B4E0-E297462320DD}" dt="2023-11-24T11:38:40.534" v="136509"/>
          <ac:spMkLst>
            <pc:docMk/>
            <pc:sldMk cId="2637169229" sldId="2147478574"/>
            <ac:spMk id="888" creationId="{3A306C74-0CA8-E1E5-0F2B-FB1E1CDA5755}"/>
          </ac:spMkLst>
        </pc:spChg>
        <pc:spChg chg="add del mod">
          <ac:chgData name="Steiner Andreas 6206 ED" userId="e6377c33-a923-4f14-8587-531c474c7b48" providerId="ADAL" clId="{6ECD27E6-B224-41CD-B4E0-E297462320DD}" dt="2023-11-24T11:38:42.940" v="136664"/>
          <ac:spMkLst>
            <pc:docMk/>
            <pc:sldMk cId="2637169229" sldId="2147478574"/>
            <ac:spMk id="889" creationId="{5FFCEE0B-579E-D62D-6848-E8A798ECA976}"/>
          </ac:spMkLst>
        </pc:spChg>
        <pc:spChg chg="add del mod">
          <ac:chgData name="Steiner Andreas 6206 ED" userId="e6377c33-a923-4f14-8587-531c474c7b48" providerId="ADAL" clId="{6ECD27E6-B224-41CD-B4E0-E297462320DD}" dt="2023-11-24T11:38:45.307" v="136819"/>
          <ac:spMkLst>
            <pc:docMk/>
            <pc:sldMk cId="2637169229" sldId="2147478574"/>
            <ac:spMk id="890" creationId="{7DDC768E-CD65-E8ED-4FE4-578196BF8E96}"/>
          </ac:spMkLst>
        </pc:spChg>
        <pc:spChg chg="add del mod">
          <ac:chgData name="Steiner Andreas 6206 ED" userId="e6377c33-a923-4f14-8587-531c474c7b48" providerId="ADAL" clId="{6ECD27E6-B224-41CD-B4E0-E297462320DD}" dt="2023-11-24T11:38:47.698" v="136974"/>
          <ac:spMkLst>
            <pc:docMk/>
            <pc:sldMk cId="2637169229" sldId="2147478574"/>
            <ac:spMk id="891" creationId="{7EDA47E4-3AD9-0696-F948-3A3C97DCCF17}"/>
          </ac:spMkLst>
        </pc:spChg>
        <pc:spChg chg="add del mod">
          <ac:chgData name="Steiner Andreas 6206 ED" userId="e6377c33-a923-4f14-8587-531c474c7b48" providerId="ADAL" clId="{6ECD27E6-B224-41CD-B4E0-E297462320DD}" dt="2023-11-24T11:38:50.717" v="137129"/>
          <ac:spMkLst>
            <pc:docMk/>
            <pc:sldMk cId="2637169229" sldId="2147478574"/>
            <ac:spMk id="892" creationId="{12B987D7-23A4-43A6-C5D2-6E50EE759AA9}"/>
          </ac:spMkLst>
        </pc:spChg>
        <pc:spChg chg="add del mod">
          <ac:chgData name="Steiner Andreas 6206 ED" userId="e6377c33-a923-4f14-8587-531c474c7b48" providerId="ADAL" clId="{6ECD27E6-B224-41CD-B4E0-E297462320DD}" dt="2023-11-24T11:38:53.127" v="137284"/>
          <ac:spMkLst>
            <pc:docMk/>
            <pc:sldMk cId="2637169229" sldId="2147478574"/>
            <ac:spMk id="893" creationId="{C4A1E432-C773-C005-FF7A-50AA12E204EA}"/>
          </ac:spMkLst>
        </pc:spChg>
        <pc:spChg chg="add del mod">
          <ac:chgData name="Steiner Andreas 6206 ED" userId="e6377c33-a923-4f14-8587-531c474c7b48" providerId="ADAL" clId="{6ECD27E6-B224-41CD-B4E0-E297462320DD}" dt="2023-11-24T11:38:55.603" v="137439"/>
          <ac:spMkLst>
            <pc:docMk/>
            <pc:sldMk cId="2637169229" sldId="2147478574"/>
            <ac:spMk id="894" creationId="{242C9DB0-A660-5414-3403-133C87CEF2AC}"/>
          </ac:spMkLst>
        </pc:spChg>
        <pc:spChg chg="add del mod">
          <ac:chgData name="Steiner Andreas 6206 ED" userId="e6377c33-a923-4f14-8587-531c474c7b48" providerId="ADAL" clId="{6ECD27E6-B224-41CD-B4E0-E297462320DD}" dt="2023-11-24T11:38:58.212" v="137594"/>
          <ac:spMkLst>
            <pc:docMk/>
            <pc:sldMk cId="2637169229" sldId="2147478574"/>
            <ac:spMk id="895" creationId="{1902902F-EE47-6DC8-AC5B-BEB066292AC3}"/>
          </ac:spMkLst>
        </pc:spChg>
        <pc:spChg chg="add del mod">
          <ac:chgData name="Steiner Andreas 6206 ED" userId="e6377c33-a923-4f14-8587-531c474c7b48" providerId="ADAL" clId="{6ECD27E6-B224-41CD-B4E0-E297462320DD}" dt="2023-11-24T11:39:00.457" v="137749"/>
          <ac:spMkLst>
            <pc:docMk/>
            <pc:sldMk cId="2637169229" sldId="2147478574"/>
            <ac:spMk id="896" creationId="{F8F6E88D-C683-72FC-35DE-9BA1A6ED5455}"/>
          </ac:spMkLst>
        </pc:spChg>
        <pc:spChg chg="add del mod">
          <ac:chgData name="Steiner Andreas 6206 ED" userId="e6377c33-a923-4f14-8587-531c474c7b48" providerId="ADAL" clId="{6ECD27E6-B224-41CD-B4E0-E297462320DD}" dt="2023-11-24T11:39:03.468" v="137904"/>
          <ac:spMkLst>
            <pc:docMk/>
            <pc:sldMk cId="2637169229" sldId="2147478574"/>
            <ac:spMk id="897" creationId="{7028971F-A58F-D6FE-344C-3899BA2F392B}"/>
          </ac:spMkLst>
        </pc:spChg>
        <pc:spChg chg="add del mod">
          <ac:chgData name="Steiner Andreas 6206 ED" userId="e6377c33-a923-4f14-8587-531c474c7b48" providerId="ADAL" clId="{6ECD27E6-B224-41CD-B4E0-E297462320DD}" dt="2023-11-24T11:39:06.147" v="138059"/>
          <ac:spMkLst>
            <pc:docMk/>
            <pc:sldMk cId="2637169229" sldId="2147478574"/>
            <ac:spMk id="898" creationId="{66E73F32-145C-877A-49D2-D85B37E55BEB}"/>
          </ac:spMkLst>
        </pc:spChg>
        <pc:spChg chg="add del mod">
          <ac:chgData name="Steiner Andreas 6206 ED" userId="e6377c33-a923-4f14-8587-531c474c7b48" providerId="ADAL" clId="{6ECD27E6-B224-41CD-B4E0-E297462320DD}" dt="2023-11-24T11:39:08.654" v="138214"/>
          <ac:spMkLst>
            <pc:docMk/>
            <pc:sldMk cId="2637169229" sldId="2147478574"/>
            <ac:spMk id="899" creationId="{79BA6B6A-D7E3-FE53-33C8-B2ADA950AC20}"/>
          </ac:spMkLst>
        </pc:spChg>
        <pc:spChg chg="add del mod">
          <ac:chgData name="Steiner Andreas 6206 ED" userId="e6377c33-a923-4f14-8587-531c474c7b48" providerId="ADAL" clId="{6ECD27E6-B224-41CD-B4E0-E297462320DD}" dt="2023-11-24T11:39:11.004" v="138369"/>
          <ac:spMkLst>
            <pc:docMk/>
            <pc:sldMk cId="2637169229" sldId="2147478574"/>
            <ac:spMk id="900" creationId="{B179C885-B851-1D1F-6DE9-D5A7A60687A8}"/>
          </ac:spMkLst>
        </pc:spChg>
        <pc:spChg chg="add del mod">
          <ac:chgData name="Steiner Andreas 6206 ED" userId="e6377c33-a923-4f14-8587-531c474c7b48" providerId="ADAL" clId="{6ECD27E6-B224-41CD-B4E0-E297462320DD}" dt="2023-11-24T11:39:13.457" v="138524"/>
          <ac:spMkLst>
            <pc:docMk/>
            <pc:sldMk cId="2637169229" sldId="2147478574"/>
            <ac:spMk id="901" creationId="{4E441A5E-E740-1B37-0322-162841FE4BAD}"/>
          </ac:spMkLst>
        </pc:spChg>
        <pc:spChg chg="add del mod">
          <ac:chgData name="Steiner Andreas 6206 ED" userId="e6377c33-a923-4f14-8587-531c474c7b48" providerId="ADAL" clId="{6ECD27E6-B224-41CD-B4E0-E297462320DD}" dt="2023-11-24T11:39:16.154" v="138679"/>
          <ac:spMkLst>
            <pc:docMk/>
            <pc:sldMk cId="2637169229" sldId="2147478574"/>
            <ac:spMk id="902" creationId="{0286454D-5EAB-2F02-2ADA-8DDA103A0D47}"/>
          </ac:spMkLst>
        </pc:spChg>
        <pc:spChg chg="add del mod">
          <ac:chgData name="Steiner Andreas 6206 ED" userId="e6377c33-a923-4f14-8587-531c474c7b48" providerId="ADAL" clId="{6ECD27E6-B224-41CD-B4E0-E297462320DD}" dt="2023-11-24T11:39:19.013" v="138834"/>
          <ac:spMkLst>
            <pc:docMk/>
            <pc:sldMk cId="2637169229" sldId="2147478574"/>
            <ac:spMk id="903" creationId="{7D0E6F9B-AFE0-212E-38B8-C1AA02149892}"/>
          </ac:spMkLst>
        </pc:spChg>
        <pc:spChg chg="add del mod">
          <ac:chgData name="Steiner Andreas 6206 ED" userId="e6377c33-a923-4f14-8587-531c474c7b48" providerId="ADAL" clId="{6ECD27E6-B224-41CD-B4E0-E297462320DD}" dt="2023-11-24T11:39:21.652" v="138989"/>
          <ac:spMkLst>
            <pc:docMk/>
            <pc:sldMk cId="2637169229" sldId="2147478574"/>
            <ac:spMk id="904" creationId="{B7932C20-F376-7D5E-FF65-800A534D5826}"/>
          </ac:spMkLst>
        </pc:spChg>
        <pc:spChg chg="add del mod">
          <ac:chgData name="Steiner Andreas 6206 ED" userId="e6377c33-a923-4f14-8587-531c474c7b48" providerId="ADAL" clId="{6ECD27E6-B224-41CD-B4E0-E297462320DD}" dt="2023-11-24T11:39:24.222" v="139144"/>
          <ac:spMkLst>
            <pc:docMk/>
            <pc:sldMk cId="2637169229" sldId="2147478574"/>
            <ac:spMk id="905" creationId="{35D4FAE1-1604-0936-20C7-139659D19FA0}"/>
          </ac:spMkLst>
        </pc:spChg>
        <pc:spChg chg="add del mod">
          <ac:chgData name="Steiner Andreas 6206 ED" userId="e6377c33-a923-4f14-8587-531c474c7b48" providerId="ADAL" clId="{6ECD27E6-B224-41CD-B4E0-E297462320DD}" dt="2023-11-24T11:39:27.002" v="139299"/>
          <ac:spMkLst>
            <pc:docMk/>
            <pc:sldMk cId="2637169229" sldId="2147478574"/>
            <ac:spMk id="906" creationId="{C3ACA1BA-8EF6-D97D-277C-8277F92E12E7}"/>
          </ac:spMkLst>
        </pc:spChg>
        <pc:spChg chg="add del mod">
          <ac:chgData name="Steiner Andreas 6206 ED" userId="e6377c33-a923-4f14-8587-531c474c7b48" providerId="ADAL" clId="{6ECD27E6-B224-41CD-B4E0-E297462320DD}" dt="2023-11-24T11:39:29.641" v="139454"/>
          <ac:spMkLst>
            <pc:docMk/>
            <pc:sldMk cId="2637169229" sldId="2147478574"/>
            <ac:spMk id="907" creationId="{8FE9CAA9-A12A-83A4-052E-DE8F625235B8}"/>
          </ac:spMkLst>
        </pc:spChg>
        <pc:spChg chg="add del mod">
          <ac:chgData name="Steiner Andreas 6206 ED" userId="e6377c33-a923-4f14-8587-531c474c7b48" providerId="ADAL" clId="{6ECD27E6-B224-41CD-B4E0-E297462320DD}" dt="2023-11-24T11:39:32.674" v="139609"/>
          <ac:spMkLst>
            <pc:docMk/>
            <pc:sldMk cId="2637169229" sldId="2147478574"/>
            <ac:spMk id="908" creationId="{FF17BA77-8872-F789-5F52-B520676D1D46}"/>
          </ac:spMkLst>
        </pc:spChg>
        <pc:spChg chg="add del mod">
          <ac:chgData name="Steiner Andreas 6206 ED" userId="e6377c33-a923-4f14-8587-531c474c7b48" providerId="ADAL" clId="{6ECD27E6-B224-41CD-B4E0-E297462320DD}" dt="2023-11-24T11:39:35.377" v="139764"/>
          <ac:spMkLst>
            <pc:docMk/>
            <pc:sldMk cId="2637169229" sldId="2147478574"/>
            <ac:spMk id="909" creationId="{ED47AA99-B97F-5BF2-0967-784B9801964E}"/>
          </ac:spMkLst>
        </pc:spChg>
        <pc:spChg chg="add del mod">
          <ac:chgData name="Steiner Andreas 6206 ED" userId="e6377c33-a923-4f14-8587-531c474c7b48" providerId="ADAL" clId="{6ECD27E6-B224-41CD-B4E0-E297462320DD}" dt="2023-11-24T11:39:38.299" v="139919"/>
          <ac:spMkLst>
            <pc:docMk/>
            <pc:sldMk cId="2637169229" sldId="2147478574"/>
            <ac:spMk id="910" creationId="{9E5A0F11-EF11-7233-ABB8-0232C7DE3CE1}"/>
          </ac:spMkLst>
        </pc:spChg>
        <pc:spChg chg="add del mod">
          <ac:chgData name="Steiner Andreas 6206 ED" userId="e6377c33-a923-4f14-8587-531c474c7b48" providerId="ADAL" clId="{6ECD27E6-B224-41CD-B4E0-E297462320DD}" dt="2023-11-24T11:39:40.966" v="140074"/>
          <ac:spMkLst>
            <pc:docMk/>
            <pc:sldMk cId="2637169229" sldId="2147478574"/>
            <ac:spMk id="911" creationId="{1263F3DB-41A5-3C6D-3630-F07EAD878D3C}"/>
          </ac:spMkLst>
        </pc:spChg>
        <pc:spChg chg="add del mod">
          <ac:chgData name="Steiner Andreas 6206 ED" userId="e6377c33-a923-4f14-8587-531c474c7b48" providerId="ADAL" clId="{6ECD27E6-B224-41CD-B4E0-E297462320DD}" dt="2023-11-24T11:39:43.580" v="140229"/>
          <ac:spMkLst>
            <pc:docMk/>
            <pc:sldMk cId="2637169229" sldId="2147478574"/>
            <ac:spMk id="912" creationId="{EE8ACCB3-9686-6E79-49F0-E1A3CBC5FE50}"/>
          </ac:spMkLst>
        </pc:spChg>
        <pc:spChg chg="add del mod">
          <ac:chgData name="Steiner Andreas 6206 ED" userId="e6377c33-a923-4f14-8587-531c474c7b48" providerId="ADAL" clId="{6ECD27E6-B224-41CD-B4E0-E297462320DD}" dt="2023-11-24T11:39:46.162" v="140384"/>
          <ac:spMkLst>
            <pc:docMk/>
            <pc:sldMk cId="2637169229" sldId="2147478574"/>
            <ac:spMk id="913" creationId="{51F7DC60-6B06-2A6F-316D-66C53A98DD05}"/>
          </ac:spMkLst>
        </pc:spChg>
        <pc:spChg chg="add del mod">
          <ac:chgData name="Steiner Andreas 6206 ED" userId="e6377c33-a923-4f14-8587-531c474c7b48" providerId="ADAL" clId="{6ECD27E6-B224-41CD-B4E0-E297462320DD}" dt="2023-11-24T11:39:48.587" v="140539"/>
          <ac:spMkLst>
            <pc:docMk/>
            <pc:sldMk cId="2637169229" sldId="2147478574"/>
            <ac:spMk id="914" creationId="{E8887393-59AE-AEF6-59D0-802E516B3420}"/>
          </ac:spMkLst>
        </pc:spChg>
        <pc:spChg chg="add del mod">
          <ac:chgData name="Steiner Andreas 6206 ED" userId="e6377c33-a923-4f14-8587-531c474c7b48" providerId="ADAL" clId="{6ECD27E6-B224-41CD-B4E0-E297462320DD}" dt="2023-11-24T11:39:51.593" v="140694"/>
          <ac:spMkLst>
            <pc:docMk/>
            <pc:sldMk cId="2637169229" sldId="2147478574"/>
            <ac:spMk id="915" creationId="{5FD80DBC-B14E-816E-67BD-F323EE363CEE}"/>
          </ac:spMkLst>
        </pc:spChg>
        <pc:spChg chg="add del mod">
          <ac:chgData name="Steiner Andreas 6206 ED" userId="e6377c33-a923-4f14-8587-531c474c7b48" providerId="ADAL" clId="{6ECD27E6-B224-41CD-B4E0-E297462320DD}" dt="2023-11-24T11:39:54.469" v="140849"/>
          <ac:spMkLst>
            <pc:docMk/>
            <pc:sldMk cId="2637169229" sldId="2147478574"/>
            <ac:spMk id="916" creationId="{D9528102-1798-62F3-A193-A58419656FB7}"/>
          </ac:spMkLst>
        </pc:spChg>
        <pc:spChg chg="add del mod">
          <ac:chgData name="Steiner Andreas 6206 ED" userId="e6377c33-a923-4f14-8587-531c474c7b48" providerId="ADAL" clId="{6ECD27E6-B224-41CD-B4E0-E297462320DD}" dt="2023-11-24T11:39:56.988" v="141004"/>
          <ac:spMkLst>
            <pc:docMk/>
            <pc:sldMk cId="2637169229" sldId="2147478574"/>
            <ac:spMk id="917" creationId="{832A6BBF-DDE7-1BBC-B24A-3B0EBA4FA315}"/>
          </ac:spMkLst>
        </pc:spChg>
        <pc:spChg chg="add del mod">
          <ac:chgData name="Steiner Andreas 6206 ED" userId="e6377c33-a923-4f14-8587-531c474c7b48" providerId="ADAL" clId="{6ECD27E6-B224-41CD-B4E0-E297462320DD}" dt="2023-11-24T11:39:59.351" v="141159"/>
          <ac:spMkLst>
            <pc:docMk/>
            <pc:sldMk cId="2637169229" sldId="2147478574"/>
            <ac:spMk id="918" creationId="{9475EB1F-7258-F796-F704-8A506523A468}"/>
          </ac:spMkLst>
        </pc:spChg>
        <pc:spChg chg="add del mod">
          <ac:chgData name="Steiner Andreas 6206 ED" userId="e6377c33-a923-4f14-8587-531c474c7b48" providerId="ADAL" clId="{6ECD27E6-B224-41CD-B4E0-E297462320DD}" dt="2023-11-24T11:40:02.115" v="141314"/>
          <ac:spMkLst>
            <pc:docMk/>
            <pc:sldMk cId="2637169229" sldId="2147478574"/>
            <ac:spMk id="919" creationId="{ED3E018C-17FA-12F1-3055-76EE940A8396}"/>
          </ac:spMkLst>
        </pc:spChg>
        <pc:spChg chg="add del mod">
          <ac:chgData name="Steiner Andreas 6206 ED" userId="e6377c33-a923-4f14-8587-531c474c7b48" providerId="ADAL" clId="{6ECD27E6-B224-41CD-B4E0-E297462320DD}" dt="2023-11-24T11:40:04.956" v="141469"/>
          <ac:spMkLst>
            <pc:docMk/>
            <pc:sldMk cId="2637169229" sldId="2147478574"/>
            <ac:spMk id="920" creationId="{FF73AF03-9A3D-DD95-BF65-FD3EDA2AB189}"/>
          </ac:spMkLst>
        </pc:spChg>
        <pc:spChg chg="add del mod">
          <ac:chgData name="Steiner Andreas 6206 ED" userId="e6377c33-a923-4f14-8587-531c474c7b48" providerId="ADAL" clId="{6ECD27E6-B224-41CD-B4E0-E297462320DD}" dt="2023-11-24T11:40:07.714" v="141624"/>
          <ac:spMkLst>
            <pc:docMk/>
            <pc:sldMk cId="2637169229" sldId="2147478574"/>
            <ac:spMk id="921" creationId="{792934AA-23C9-D18C-9F4A-B03909AFEDD4}"/>
          </ac:spMkLst>
        </pc:spChg>
        <pc:spChg chg="add del mod">
          <ac:chgData name="Steiner Andreas 6206 ED" userId="e6377c33-a923-4f14-8587-531c474c7b48" providerId="ADAL" clId="{6ECD27E6-B224-41CD-B4E0-E297462320DD}" dt="2023-11-24T11:40:10.146" v="141779"/>
          <ac:spMkLst>
            <pc:docMk/>
            <pc:sldMk cId="2637169229" sldId="2147478574"/>
            <ac:spMk id="922" creationId="{81B56056-2FC4-1920-7E54-4F2466B8903E}"/>
          </ac:spMkLst>
        </pc:spChg>
        <pc:spChg chg="add del mod">
          <ac:chgData name="Steiner Andreas 6206 ED" userId="e6377c33-a923-4f14-8587-531c474c7b48" providerId="ADAL" clId="{6ECD27E6-B224-41CD-B4E0-E297462320DD}" dt="2023-11-24T11:40:12.633" v="141934"/>
          <ac:spMkLst>
            <pc:docMk/>
            <pc:sldMk cId="2637169229" sldId="2147478574"/>
            <ac:spMk id="923" creationId="{0FA05918-3B88-164A-C116-5FE6913C9464}"/>
          </ac:spMkLst>
        </pc:spChg>
        <pc:spChg chg="add del mod">
          <ac:chgData name="Steiner Andreas 6206 ED" userId="e6377c33-a923-4f14-8587-531c474c7b48" providerId="ADAL" clId="{6ECD27E6-B224-41CD-B4E0-E297462320DD}" dt="2023-11-24T11:40:16.380" v="142089"/>
          <ac:spMkLst>
            <pc:docMk/>
            <pc:sldMk cId="2637169229" sldId="2147478574"/>
            <ac:spMk id="924" creationId="{E3A41520-D71C-BD10-7DD7-6618A8CCA606}"/>
          </ac:spMkLst>
        </pc:spChg>
        <pc:spChg chg="add del mod">
          <ac:chgData name="Steiner Andreas 6206 ED" userId="e6377c33-a923-4f14-8587-531c474c7b48" providerId="ADAL" clId="{6ECD27E6-B224-41CD-B4E0-E297462320DD}" dt="2023-11-24T11:40:19.740" v="142244"/>
          <ac:spMkLst>
            <pc:docMk/>
            <pc:sldMk cId="2637169229" sldId="2147478574"/>
            <ac:spMk id="925" creationId="{AF7B575D-9FE7-C129-2E1F-ADDD640EBF41}"/>
          </ac:spMkLst>
        </pc:spChg>
        <pc:spChg chg="add del mod">
          <ac:chgData name="Steiner Andreas 6206 ED" userId="e6377c33-a923-4f14-8587-531c474c7b48" providerId="ADAL" clId="{6ECD27E6-B224-41CD-B4E0-E297462320DD}" dt="2023-11-24T11:40:22.536" v="142399"/>
          <ac:spMkLst>
            <pc:docMk/>
            <pc:sldMk cId="2637169229" sldId="2147478574"/>
            <ac:spMk id="926" creationId="{0905A3E3-80F2-832A-F24C-C4253A49121D}"/>
          </ac:spMkLst>
        </pc:spChg>
        <pc:spChg chg="add del mod">
          <ac:chgData name="Steiner Andreas 6206 ED" userId="e6377c33-a923-4f14-8587-531c474c7b48" providerId="ADAL" clId="{6ECD27E6-B224-41CD-B4E0-E297462320DD}" dt="2023-11-24T11:40:25.217" v="142554"/>
          <ac:spMkLst>
            <pc:docMk/>
            <pc:sldMk cId="2637169229" sldId="2147478574"/>
            <ac:spMk id="927" creationId="{EFA00AE3-7947-A2DF-6A83-A4648A61AA71}"/>
          </ac:spMkLst>
        </pc:spChg>
        <pc:spChg chg="add del mod">
          <ac:chgData name="Steiner Andreas 6206 ED" userId="e6377c33-a923-4f14-8587-531c474c7b48" providerId="ADAL" clId="{6ECD27E6-B224-41CD-B4E0-E297462320DD}" dt="2023-11-24T11:40:28.337" v="142709"/>
          <ac:spMkLst>
            <pc:docMk/>
            <pc:sldMk cId="2637169229" sldId="2147478574"/>
            <ac:spMk id="928" creationId="{66BB62D6-5E87-44BB-AE7C-4E7CC61BF060}"/>
          </ac:spMkLst>
        </pc:spChg>
        <pc:spChg chg="add del mod">
          <ac:chgData name="Steiner Andreas 6206 ED" userId="e6377c33-a923-4f14-8587-531c474c7b48" providerId="ADAL" clId="{6ECD27E6-B224-41CD-B4E0-E297462320DD}" dt="2023-11-24T11:40:31.002" v="142864"/>
          <ac:spMkLst>
            <pc:docMk/>
            <pc:sldMk cId="2637169229" sldId="2147478574"/>
            <ac:spMk id="929" creationId="{D3E93200-9B29-350A-2116-E0D8DF530606}"/>
          </ac:spMkLst>
        </pc:spChg>
        <pc:spChg chg="add del mod">
          <ac:chgData name="Steiner Andreas 6206 ED" userId="e6377c33-a923-4f14-8587-531c474c7b48" providerId="ADAL" clId="{6ECD27E6-B224-41CD-B4E0-E297462320DD}" dt="2023-11-24T11:40:33.568" v="143019"/>
          <ac:spMkLst>
            <pc:docMk/>
            <pc:sldMk cId="2637169229" sldId="2147478574"/>
            <ac:spMk id="930" creationId="{DF14F476-1974-E4C4-06A5-C4F24266F812}"/>
          </ac:spMkLst>
        </pc:spChg>
        <pc:spChg chg="add del mod">
          <ac:chgData name="Steiner Andreas 6206 ED" userId="e6377c33-a923-4f14-8587-531c474c7b48" providerId="ADAL" clId="{6ECD27E6-B224-41CD-B4E0-E297462320DD}" dt="2023-11-24T11:40:36.307" v="143174"/>
          <ac:spMkLst>
            <pc:docMk/>
            <pc:sldMk cId="2637169229" sldId="2147478574"/>
            <ac:spMk id="931" creationId="{1E119DC7-43BD-A710-08A1-D9E6AD1BAA31}"/>
          </ac:spMkLst>
        </pc:spChg>
        <pc:spChg chg="add del mod">
          <ac:chgData name="Steiner Andreas 6206 ED" userId="e6377c33-a923-4f14-8587-531c474c7b48" providerId="ADAL" clId="{6ECD27E6-B224-41CD-B4E0-E297462320DD}" dt="2023-11-24T11:40:39.316" v="143329"/>
          <ac:spMkLst>
            <pc:docMk/>
            <pc:sldMk cId="2637169229" sldId="2147478574"/>
            <ac:spMk id="932" creationId="{5427A42E-63BD-406D-5D4D-86D514D0CBE5}"/>
          </ac:spMkLst>
        </pc:spChg>
        <pc:spChg chg="add del mod">
          <ac:chgData name="Steiner Andreas 6206 ED" userId="e6377c33-a923-4f14-8587-531c474c7b48" providerId="ADAL" clId="{6ECD27E6-B224-41CD-B4E0-E297462320DD}" dt="2023-11-24T11:40:42.300" v="143484"/>
          <ac:spMkLst>
            <pc:docMk/>
            <pc:sldMk cId="2637169229" sldId="2147478574"/>
            <ac:spMk id="933" creationId="{FED0B83F-7AFA-0CD1-8FA7-4949691A6FCE}"/>
          </ac:spMkLst>
        </pc:spChg>
        <pc:spChg chg="add del mod">
          <ac:chgData name="Steiner Andreas 6206 ED" userId="e6377c33-a923-4f14-8587-531c474c7b48" providerId="ADAL" clId="{6ECD27E6-B224-41CD-B4E0-E297462320DD}" dt="2023-11-24T11:40:44.968" v="143639"/>
          <ac:spMkLst>
            <pc:docMk/>
            <pc:sldMk cId="2637169229" sldId="2147478574"/>
            <ac:spMk id="934" creationId="{FD843526-E96E-EB84-E1EE-0B9CE99AB72E}"/>
          </ac:spMkLst>
        </pc:spChg>
        <pc:spChg chg="add del mod">
          <ac:chgData name="Steiner Andreas 6206 ED" userId="e6377c33-a923-4f14-8587-531c474c7b48" providerId="ADAL" clId="{6ECD27E6-B224-41CD-B4E0-E297462320DD}" dt="2023-11-24T11:40:47.725" v="143794"/>
          <ac:spMkLst>
            <pc:docMk/>
            <pc:sldMk cId="2637169229" sldId="2147478574"/>
            <ac:spMk id="935" creationId="{8A8DA61F-8310-68C1-D544-149DEE3A7EC1}"/>
          </ac:spMkLst>
        </pc:spChg>
        <pc:spChg chg="add del mod">
          <ac:chgData name="Steiner Andreas 6206 ED" userId="e6377c33-a923-4f14-8587-531c474c7b48" providerId="ADAL" clId="{6ECD27E6-B224-41CD-B4E0-E297462320DD}" dt="2023-11-24T11:40:50.480" v="143949"/>
          <ac:spMkLst>
            <pc:docMk/>
            <pc:sldMk cId="2637169229" sldId="2147478574"/>
            <ac:spMk id="936" creationId="{1470B77C-04AA-B5BB-B58C-A2713DA92202}"/>
          </ac:spMkLst>
        </pc:spChg>
        <pc:spChg chg="add del mod">
          <ac:chgData name="Steiner Andreas 6206 ED" userId="e6377c33-a923-4f14-8587-531c474c7b48" providerId="ADAL" clId="{6ECD27E6-B224-41CD-B4E0-E297462320DD}" dt="2023-11-24T11:40:53.355" v="144104"/>
          <ac:spMkLst>
            <pc:docMk/>
            <pc:sldMk cId="2637169229" sldId="2147478574"/>
            <ac:spMk id="937" creationId="{1C404CEB-E596-2398-C7F5-198C7BA025FA}"/>
          </ac:spMkLst>
        </pc:spChg>
        <pc:spChg chg="add del mod">
          <ac:chgData name="Steiner Andreas 6206 ED" userId="e6377c33-a923-4f14-8587-531c474c7b48" providerId="ADAL" clId="{6ECD27E6-B224-41CD-B4E0-E297462320DD}" dt="2023-11-24T11:40:56.023" v="144259"/>
          <ac:spMkLst>
            <pc:docMk/>
            <pc:sldMk cId="2637169229" sldId="2147478574"/>
            <ac:spMk id="938" creationId="{6B56A276-ABB0-7AFE-B354-766D8EB414DE}"/>
          </ac:spMkLst>
        </pc:spChg>
        <pc:spChg chg="add del mod">
          <ac:chgData name="Steiner Andreas 6206 ED" userId="e6377c33-a923-4f14-8587-531c474c7b48" providerId="ADAL" clId="{6ECD27E6-B224-41CD-B4E0-E297462320DD}" dt="2023-11-24T11:40:58.609" v="144414"/>
          <ac:spMkLst>
            <pc:docMk/>
            <pc:sldMk cId="2637169229" sldId="2147478574"/>
            <ac:spMk id="939" creationId="{5269046E-03C9-3F4A-418C-F8B34CB0E8F5}"/>
          </ac:spMkLst>
        </pc:spChg>
        <pc:spChg chg="add del mod">
          <ac:chgData name="Steiner Andreas 6206 ED" userId="e6377c33-a923-4f14-8587-531c474c7b48" providerId="ADAL" clId="{6ECD27E6-B224-41CD-B4E0-E297462320DD}" dt="2023-11-24T11:41:01.178" v="144569"/>
          <ac:spMkLst>
            <pc:docMk/>
            <pc:sldMk cId="2637169229" sldId="2147478574"/>
            <ac:spMk id="940" creationId="{FD7C1599-3803-0144-E5FD-6062192C0E6F}"/>
          </ac:spMkLst>
        </pc:spChg>
        <pc:spChg chg="add del mod">
          <ac:chgData name="Steiner Andreas 6206 ED" userId="e6377c33-a923-4f14-8587-531c474c7b48" providerId="ADAL" clId="{6ECD27E6-B224-41CD-B4E0-E297462320DD}" dt="2023-11-24T11:41:03.840" v="144724"/>
          <ac:spMkLst>
            <pc:docMk/>
            <pc:sldMk cId="2637169229" sldId="2147478574"/>
            <ac:spMk id="941" creationId="{040146D2-D5BF-7DCA-EEFA-3EDFFD2D207B}"/>
          </ac:spMkLst>
        </pc:spChg>
        <pc:spChg chg="add del mod">
          <ac:chgData name="Steiner Andreas 6206 ED" userId="e6377c33-a923-4f14-8587-531c474c7b48" providerId="ADAL" clId="{6ECD27E6-B224-41CD-B4E0-E297462320DD}" dt="2023-11-24T11:41:06.999" v="144879"/>
          <ac:spMkLst>
            <pc:docMk/>
            <pc:sldMk cId="2637169229" sldId="2147478574"/>
            <ac:spMk id="942" creationId="{4BA51FC4-E3A9-3A26-4578-520843CC963E}"/>
          </ac:spMkLst>
        </pc:spChg>
        <pc:spChg chg="add del mod">
          <ac:chgData name="Steiner Andreas 6206 ED" userId="e6377c33-a923-4f14-8587-531c474c7b48" providerId="ADAL" clId="{6ECD27E6-B224-41CD-B4E0-E297462320DD}" dt="2023-11-24T11:41:10.119" v="145034"/>
          <ac:spMkLst>
            <pc:docMk/>
            <pc:sldMk cId="2637169229" sldId="2147478574"/>
            <ac:spMk id="943" creationId="{50735B2E-7278-2100-7886-3512705C280D}"/>
          </ac:spMkLst>
        </pc:spChg>
        <pc:spChg chg="add del mod">
          <ac:chgData name="Steiner Andreas 6206 ED" userId="e6377c33-a923-4f14-8587-531c474c7b48" providerId="ADAL" clId="{6ECD27E6-B224-41CD-B4E0-E297462320DD}" dt="2023-11-24T11:41:12.960" v="145189"/>
          <ac:spMkLst>
            <pc:docMk/>
            <pc:sldMk cId="2637169229" sldId="2147478574"/>
            <ac:spMk id="944" creationId="{2CB28648-9538-8BAB-AA06-AE4CD3C902A8}"/>
          </ac:spMkLst>
        </pc:spChg>
        <pc:spChg chg="add del mod">
          <ac:chgData name="Steiner Andreas 6206 ED" userId="e6377c33-a923-4f14-8587-531c474c7b48" providerId="ADAL" clId="{6ECD27E6-B224-41CD-B4E0-E297462320DD}" dt="2023-11-24T11:41:16.001" v="145344"/>
          <ac:spMkLst>
            <pc:docMk/>
            <pc:sldMk cId="2637169229" sldId="2147478574"/>
            <ac:spMk id="945" creationId="{38FA7C35-BA5D-4B42-E924-B8B20C818BB8}"/>
          </ac:spMkLst>
        </pc:spChg>
        <pc:spChg chg="add del mod">
          <ac:chgData name="Steiner Andreas 6206 ED" userId="e6377c33-a923-4f14-8587-531c474c7b48" providerId="ADAL" clId="{6ECD27E6-B224-41CD-B4E0-E297462320DD}" dt="2023-11-24T11:41:19.209" v="145499"/>
          <ac:spMkLst>
            <pc:docMk/>
            <pc:sldMk cId="2637169229" sldId="2147478574"/>
            <ac:spMk id="946" creationId="{4EF3108D-6019-EA62-DF99-B072B22FCB5F}"/>
          </ac:spMkLst>
        </pc:spChg>
        <pc:spChg chg="add del mod">
          <ac:chgData name="Steiner Andreas 6206 ED" userId="e6377c33-a923-4f14-8587-531c474c7b48" providerId="ADAL" clId="{6ECD27E6-B224-41CD-B4E0-E297462320DD}" dt="2023-11-24T11:41:21.752" v="145654"/>
          <ac:spMkLst>
            <pc:docMk/>
            <pc:sldMk cId="2637169229" sldId="2147478574"/>
            <ac:spMk id="947" creationId="{11D08B94-DB25-06AA-6B70-459ABBFE8803}"/>
          </ac:spMkLst>
        </pc:spChg>
        <pc:spChg chg="add del mod">
          <ac:chgData name="Steiner Andreas 6206 ED" userId="e6377c33-a923-4f14-8587-531c474c7b48" providerId="ADAL" clId="{6ECD27E6-B224-41CD-B4E0-E297462320DD}" dt="2023-11-24T11:41:25.634" v="145809"/>
          <ac:spMkLst>
            <pc:docMk/>
            <pc:sldMk cId="2637169229" sldId="2147478574"/>
            <ac:spMk id="948" creationId="{57417ECF-7669-0286-18A1-5B1512081A85}"/>
          </ac:spMkLst>
        </pc:spChg>
        <pc:spChg chg="add del mod">
          <ac:chgData name="Steiner Andreas 6206 ED" userId="e6377c33-a923-4f14-8587-531c474c7b48" providerId="ADAL" clId="{6ECD27E6-B224-41CD-B4E0-E297462320DD}" dt="2023-11-24T11:41:28.633" v="145964"/>
          <ac:spMkLst>
            <pc:docMk/>
            <pc:sldMk cId="2637169229" sldId="2147478574"/>
            <ac:spMk id="949" creationId="{2428738E-4DE1-0BC1-15CD-06A3B05FB990}"/>
          </ac:spMkLst>
        </pc:spChg>
        <pc:spChg chg="add del mod">
          <ac:chgData name="Steiner Andreas 6206 ED" userId="e6377c33-a923-4f14-8587-531c474c7b48" providerId="ADAL" clId="{6ECD27E6-B224-41CD-B4E0-E297462320DD}" dt="2023-11-24T11:41:31.348" v="146119"/>
          <ac:spMkLst>
            <pc:docMk/>
            <pc:sldMk cId="2637169229" sldId="2147478574"/>
            <ac:spMk id="950" creationId="{B65472FF-77CE-FE64-BDC9-20A4FD20B386}"/>
          </ac:spMkLst>
        </pc:spChg>
        <pc:spChg chg="add del mod">
          <ac:chgData name="Steiner Andreas 6206 ED" userId="e6377c33-a923-4f14-8587-531c474c7b48" providerId="ADAL" clId="{6ECD27E6-B224-41CD-B4E0-E297462320DD}" dt="2023-11-24T11:41:33.533" v="146274"/>
          <ac:spMkLst>
            <pc:docMk/>
            <pc:sldMk cId="2637169229" sldId="2147478574"/>
            <ac:spMk id="951" creationId="{C153DC9F-423F-D327-07EA-93D6CC8A027F}"/>
          </ac:spMkLst>
        </pc:spChg>
        <pc:spChg chg="add del mod">
          <ac:chgData name="Steiner Andreas 6206 ED" userId="e6377c33-a923-4f14-8587-531c474c7b48" providerId="ADAL" clId="{6ECD27E6-B224-41CD-B4E0-E297462320DD}" dt="2023-11-24T11:41:35.657" v="146429"/>
          <ac:spMkLst>
            <pc:docMk/>
            <pc:sldMk cId="2637169229" sldId="2147478574"/>
            <ac:spMk id="952" creationId="{4CB911AA-8684-61FF-ACC3-FC357367DC9F}"/>
          </ac:spMkLst>
        </pc:spChg>
        <pc:spChg chg="add del mod">
          <ac:chgData name="Steiner Andreas 6206 ED" userId="e6377c33-a923-4f14-8587-531c474c7b48" providerId="ADAL" clId="{6ECD27E6-B224-41CD-B4E0-E297462320DD}" dt="2023-11-24T11:41:37.863" v="146584"/>
          <ac:spMkLst>
            <pc:docMk/>
            <pc:sldMk cId="2637169229" sldId="2147478574"/>
            <ac:spMk id="953" creationId="{3178479D-DB7A-5FE6-89D2-4059FEF6EBC6}"/>
          </ac:spMkLst>
        </pc:spChg>
        <pc:spChg chg="add del mod">
          <ac:chgData name="Steiner Andreas 6206 ED" userId="e6377c33-a923-4f14-8587-531c474c7b48" providerId="ADAL" clId="{6ECD27E6-B224-41CD-B4E0-E297462320DD}" dt="2023-11-24T11:41:40.627" v="146739"/>
          <ac:spMkLst>
            <pc:docMk/>
            <pc:sldMk cId="2637169229" sldId="2147478574"/>
            <ac:spMk id="954" creationId="{92935A20-B471-D6F4-3803-8C0824A66E42}"/>
          </ac:spMkLst>
        </pc:spChg>
        <pc:spChg chg="add del mod">
          <ac:chgData name="Steiner Andreas 6206 ED" userId="e6377c33-a923-4f14-8587-531c474c7b48" providerId="ADAL" clId="{6ECD27E6-B224-41CD-B4E0-E297462320DD}" dt="2023-11-24T11:41:42.791" v="146894"/>
          <ac:spMkLst>
            <pc:docMk/>
            <pc:sldMk cId="2637169229" sldId="2147478574"/>
            <ac:spMk id="955" creationId="{D5C2FDAE-A3CE-7ED7-5212-63F77D456106}"/>
          </ac:spMkLst>
        </pc:spChg>
        <pc:spChg chg="add del mod">
          <ac:chgData name="Steiner Andreas 6206 ED" userId="e6377c33-a923-4f14-8587-531c474c7b48" providerId="ADAL" clId="{6ECD27E6-B224-41CD-B4E0-E297462320DD}" dt="2023-11-24T11:41:44.863" v="147049"/>
          <ac:spMkLst>
            <pc:docMk/>
            <pc:sldMk cId="2637169229" sldId="2147478574"/>
            <ac:spMk id="956" creationId="{8CFC1872-A4FB-8616-A96F-DDD141B80043}"/>
          </ac:spMkLst>
        </pc:spChg>
        <pc:spChg chg="add del mod">
          <ac:chgData name="Steiner Andreas 6206 ED" userId="e6377c33-a923-4f14-8587-531c474c7b48" providerId="ADAL" clId="{6ECD27E6-B224-41CD-B4E0-E297462320DD}" dt="2023-11-24T11:41:47.372" v="147204"/>
          <ac:spMkLst>
            <pc:docMk/>
            <pc:sldMk cId="2637169229" sldId="2147478574"/>
            <ac:spMk id="957" creationId="{2828DB61-963D-0B12-C21C-10D71B81E5A3}"/>
          </ac:spMkLst>
        </pc:spChg>
        <pc:spChg chg="add del mod">
          <ac:chgData name="Steiner Andreas 6206 ED" userId="e6377c33-a923-4f14-8587-531c474c7b48" providerId="ADAL" clId="{6ECD27E6-B224-41CD-B4E0-E297462320DD}" dt="2023-11-24T11:41:49.488" v="147359"/>
          <ac:spMkLst>
            <pc:docMk/>
            <pc:sldMk cId="2637169229" sldId="2147478574"/>
            <ac:spMk id="958" creationId="{7ABE3ABF-C59B-0F60-B194-C20DFAD23DF3}"/>
          </ac:spMkLst>
        </pc:spChg>
        <pc:spChg chg="add del mod">
          <ac:chgData name="Steiner Andreas 6206 ED" userId="e6377c33-a923-4f14-8587-531c474c7b48" providerId="ADAL" clId="{6ECD27E6-B224-41CD-B4E0-E297462320DD}" dt="2023-11-24T11:41:51.807" v="147514"/>
          <ac:spMkLst>
            <pc:docMk/>
            <pc:sldMk cId="2637169229" sldId="2147478574"/>
            <ac:spMk id="959" creationId="{6AA4FC34-4239-0010-F232-F9334C72D195}"/>
          </ac:spMkLst>
        </pc:spChg>
        <pc:spChg chg="add del mod">
          <ac:chgData name="Steiner Andreas 6206 ED" userId="e6377c33-a923-4f14-8587-531c474c7b48" providerId="ADAL" clId="{6ECD27E6-B224-41CD-B4E0-E297462320DD}" dt="2023-11-24T11:41:54.232" v="147669"/>
          <ac:spMkLst>
            <pc:docMk/>
            <pc:sldMk cId="2637169229" sldId="2147478574"/>
            <ac:spMk id="960" creationId="{853B3933-120F-00D5-6FBD-E67741C0FF1F}"/>
          </ac:spMkLst>
        </pc:spChg>
        <pc:spChg chg="add del mod">
          <ac:chgData name="Steiner Andreas 6206 ED" userId="e6377c33-a923-4f14-8587-531c474c7b48" providerId="ADAL" clId="{6ECD27E6-B224-41CD-B4E0-E297462320DD}" dt="2023-11-24T11:41:57.328" v="147824"/>
          <ac:spMkLst>
            <pc:docMk/>
            <pc:sldMk cId="2637169229" sldId="2147478574"/>
            <ac:spMk id="961" creationId="{02E107EF-A14A-616C-FF4F-24666F356DD5}"/>
          </ac:spMkLst>
        </pc:spChg>
        <pc:spChg chg="add del mod">
          <ac:chgData name="Steiner Andreas 6206 ED" userId="e6377c33-a923-4f14-8587-531c474c7b48" providerId="ADAL" clId="{6ECD27E6-B224-41CD-B4E0-E297462320DD}" dt="2023-11-24T11:42:00.699" v="147979"/>
          <ac:spMkLst>
            <pc:docMk/>
            <pc:sldMk cId="2637169229" sldId="2147478574"/>
            <ac:spMk id="962" creationId="{18F7CF78-7334-0D37-1FCF-EBE23C06536F}"/>
          </ac:spMkLst>
        </pc:spChg>
        <pc:spChg chg="add del mod">
          <ac:chgData name="Steiner Andreas 6206 ED" userId="e6377c33-a923-4f14-8587-531c474c7b48" providerId="ADAL" clId="{6ECD27E6-B224-41CD-B4E0-E297462320DD}" dt="2023-11-24T11:42:04.019" v="148134"/>
          <ac:spMkLst>
            <pc:docMk/>
            <pc:sldMk cId="2637169229" sldId="2147478574"/>
            <ac:spMk id="963" creationId="{BD08523F-B785-D4CE-28B4-9BD0C7AE5776}"/>
          </ac:spMkLst>
        </pc:spChg>
        <pc:spChg chg="add del mod">
          <ac:chgData name="Steiner Andreas 6206 ED" userId="e6377c33-a923-4f14-8587-531c474c7b48" providerId="ADAL" clId="{6ECD27E6-B224-41CD-B4E0-E297462320DD}" dt="2023-11-24T11:42:06.515" v="148289"/>
          <ac:spMkLst>
            <pc:docMk/>
            <pc:sldMk cId="2637169229" sldId="2147478574"/>
            <ac:spMk id="964" creationId="{8858402A-7573-06B1-784D-702754D96C65}"/>
          </ac:spMkLst>
        </pc:spChg>
        <pc:spChg chg="add del mod">
          <ac:chgData name="Steiner Andreas 6206 ED" userId="e6377c33-a923-4f14-8587-531c474c7b48" providerId="ADAL" clId="{6ECD27E6-B224-41CD-B4E0-E297462320DD}" dt="2023-11-24T11:42:08.776" v="148444"/>
          <ac:spMkLst>
            <pc:docMk/>
            <pc:sldMk cId="2637169229" sldId="2147478574"/>
            <ac:spMk id="965" creationId="{1E8F964B-EFDD-FF89-471D-76538B7342E1}"/>
          </ac:spMkLst>
        </pc:spChg>
        <pc:spChg chg="add del mod">
          <ac:chgData name="Steiner Andreas 6206 ED" userId="e6377c33-a923-4f14-8587-531c474c7b48" providerId="ADAL" clId="{6ECD27E6-B224-41CD-B4E0-E297462320DD}" dt="2023-11-24T11:42:11.371" v="148599"/>
          <ac:spMkLst>
            <pc:docMk/>
            <pc:sldMk cId="2637169229" sldId="2147478574"/>
            <ac:spMk id="966" creationId="{F82C99C8-489E-772E-53FC-639E4907CD39}"/>
          </ac:spMkLst>
        </pc:spChg>
        <pc:spChg chg="add del mod">
          <ac:chgData name="Steiner Andreas 6206 ED" userId="e6377c33-a923-4f14-8587-531c474c7b48" providerId="ADAL" clId="{6ECD27E6-B224-41CD-B4E0-E297462320DD}" dt="2023-11-24T11:42:13.974" v="148754"/>
          <ac:spMkLst>
            <pc:docMk/>
            <pc:sldMk cId="2637169229" sldId="2147478574"/>
            <ac:spMk id="967" creationId="{08C96746-5AA1-8D05-EEEE-D6CC24BC9E3A}"/>
          </ac:spMkLst>
        </pc:spChg>
        <pc:spChg chg="add del mod">
          <ac:chgData name="Steiner Andreas 6206 ED" userId="e6377c33-a923-4f14-8587-531c474c7b48" providerId="ADAL" clId="{6ECD27E6-B224-41CD-B4E0-E297462320DD}" dt="2023-11-24T11:42:16.284" v="148909"/>
          <ac:spMkLst>
            <pc:docMk/>
            <pc:sldMk cId="2637169229" sldId="2147478574"/>
            <ac:spMk id="968" creationId="{2C211524-1943-9753-C9FB-F9241B5CDD27}"/>
          </ac:spMkLst>
        </pc:spChg>
        <pc:spChg chg="add del mod">
          <ac:chgData name="Steiner Andreas 6206 ED" userId="e6377c33-a923-4f14-8587-531c474c7b48" providerId="ADAL" clId="{6ECD27E6-B224-41CD-B4E0-E297462320DD}" dt="2023-11-24T11:42:18.391" v="149064"/>
          <ac:spMkLst>
            <pc:docMk/>
            <pc:sldMk cId="2637169229" sldId="2147478574"/>
            <ac:spMk id="969" creationId="{9B453908-A99F-C189-9D6A-25F44D0F11F2}"/>
          </ac:spMkLst>
        </pc:spChg>
        <pc:spChg chg="add del mod">
          <ac:chgData name="Steiner Andreas 6206 ED" userId="e6377c33-a923-4f14-8587-531c474c7b48" providerId="ADAL" clId="{6ECD27E6-B224-41CD-B4E0-E297462320DD}" dt="2023-11-24T11:42:20.442" v="149219"/>
          <ac:spMkLst>
            <pc:docMk/>
            <pc:sldMk cId="2637169229" sldId="2147478574"/>
            <ac:spMk id="970" creationId="{0E709714-4857-1657-AC7A-96D165D71FF2}"/>
          </ac:spMkLst>
        </pc:spChg>
        <pc:spChg chg="add del mod">
          <ac:chgData name="Steiner Andreas 6206 ED" userId="e6377c33-a923-4f14-8587-531c474c7b48" providerId="ADAL" clId="{6ECD27E6-B224-41CD-B4E0-E297462320DD}" dt="2023-11-24T11:42:22.502" v="149374"/>
          <ac:spMkLst>
            <pc:docMk/>
            <pc:sldMk cId="2637169229" sldId="2147478574"/>
            <ac:spMk id="971" creationId="{2D404AA1-806D-8B74-4558-8699120E8096}"/>
          </ac:spMkLst>
        </pc:spChg>
        <pc:spChg chg="add del mod">
          <ac:chgData name="Steiner Andreas 6206 ED" userId="e6377c33-a923-4f14-8587-531c474c7b48" providerId="ADAL" clId="{6ECD27E6-B224-41CD-B4E0-E297462320DD}" dt="2023-11-24T11:42:24.456" v="149529"/>
          <ac:spMkLst>
            <pc:docMk/>
            <pc:sldMk cId="2637169229" sldId="2147478574"/>
            <ac:spMk id="972" creationId="{77F966CE-4B40-A607-08D5-545F421134A0}"/>
          </ac:spMkLst>
        </pc:spChg>
        <pc:spChg chg="add del mod">
          <ac:chgData name="Steiner Andreas 6206 ED" userId="e6377c33-a923-4f14-8587-531c474c7b48" providerId="ADAL" clId="{6ECD27E6-B224-41CD-B4E0-E297462320DD}" dt="2023-11-24T11:42:26.387" v="149684"/>
          <ac:spMkLst>
            <pc:docMk/>
            <pc:sldMk cId="2637169229" sldId="2147478574"/>
            <ac:spMk id="973" creationId="{7ED64961-CF40-EC1B-8786-224029B7C816}"/>
          </ac:spMkLst>
        </pc:spChg>
        <pc:spChg chg="add del mod">
          <ac:chgData name="Steiner Andreas 6206 ED" userId="e6377c33-a923-4f14-8587-531c474c7b48" providerId="ADAL" clId="{6ECD27E6-B224-41CD-B4E0-E297462320DD}" dt="2023-11-24T11:42:29.498" v="149839"/>
          <ac:spMkLst>
            <pc:docMk/>
            <pc:sldMk cId="2637169229" sldId="2147478574"/>
            <ac:spMk id="974" creationId="{0D828BCE-A694-8EC4-EF75-C38B5A2388ED}"/>
          </ac:spMkLst>
        </pc:spChg>
        <pc:spChg chg="add del mod">
          <ac:chgData name="Steiner Andreas 6206 ED" userId="e6377c33-a923-4f14-8587-531c474c7b48" providerId="ADAL" clId="{6ECD27E6-B224-41CD-B4E0-E297462320DD}" dt="2023-11-24T11:42:32.480" v="149994"/>
          <ac:spMkLst>
            <pc:docMk/>
            <pc:sldMk cId="2637169229" sldId="2147478574"/>
            <ac:spMk id="975" creationId="{F9119D12-FD02-1ABB-EFA4-F80520BD3C00}"/>
          </ac:spMkLst>
        </pc:spChg>
        <pc:spChg chg="add del mod">
          <ac:chgData name="Steiner Andreas 6206 ED" userId="e6377c33-a923-4f14-8587-531c474c7b48" providerId="ADAL" clId="{6ECD27E6-B224-41CD-B4E0-E297462320DD}" dt="2023-11-24T11:42:35.748" v="150149"/>
          <ac:spMkLst>
            <pc:docMk/>
            <pc:sldMk cId="2637169229" sldId="2147478574"/>
            <ac:spMk id="976" creationId="{15916EE2-94EC-16EB-FEF7-91BDC4834C53}"/>
          </ac:spMkLst>
        </pc:spChg>
        <pc:spChg chg="add del mod">
          <ac:chgData name="Steiner Andreas 6206 ED" userId="e6377c33-a923-4f14-8587-531c474c7b48" providerId="ADAL" clId="{6ECD27E6-B224-41CD-B4E0-E297462320DD}" dt="2023-11-24T11:42:38.045" v="150304"/>
          <ac:spMkLst>
            <pc:docMk/>
            <pc:sldMk cId="2637169229" sldId="2147478574"/>
            <ac:spMk id="977" creationId="{C9B5411E-9CCB-95C9-CACF-F49FA6C143DC}"/>
          </ac:spMkLst>
        </pc:spChg>
        <pc:spChg chg="add del mod">
          <ac:chgData name="Steiner Andreas 6206 ED" userId="e6377c33-a923-4f14-8587-531c474c7b48" providerId="ADAL" clId="{6ECD27E6-B224-41CD-B4E0-E297462320DD}" dt="2023-11-24T11:42:40.148" v="150459"/>
          <ac:spMkLst>
            <pc:docMk/>
            <pc:sldMk cId="2637169229" sldId="2147478574"/>
            <ac:spMk id="978" creationId="{40FA90C2-ABDF-D961-724A-E79DB1FC5287}"/>
          </ac:spMkLst>
        </pc:spChg>
        <pc:spChg chg="add del mod">
          <ac:chgData name="Steiner Andreas 6206 ED" userId="e6377c33-a923-4f14-8587-531c474c7b48" providerId="ADAL" clId="{6ECD27E6-B224-41CD-B4E0-E297462320DD}" dt="2023-11-24T11:42:42.205" v="150614"/>
          <ac:spMkLst>
            <pc:docMk/>
            <pc:sldMk cId="2637169229" sldId="2147478574"/>
            <ac:spMk id="979" creationId="{7C3087F4-9B88-936B-B50A-6CF84F3DB251}"/>
          </ac:spMkLst>
        </pc:spChg>
        <pc:spChg chg="add del mod">
          <ac:chgData name="Steiner Andreas 6206 ED" userId="e6377c33-a923-4f14-8587-531c474c7b48" providerId="ADAL" clId="{6ECD27E6-B224-41CD-B4E0-E297462320DD}" dt="2023-11-24T11:42:44.302" v="150769"/>
          <ac:spMkLst>
            <pc:docMk/>
            <pc:sldMk cId="2637169229" sldId="2147478574"/>
            <ac:spMk id="980" creationId="{31C8FBC8-C222-3F17-E731-33D489E5AEBB}"/>
          </ac:spMkLst>
        </pc:spChg>
        <pc:spChg chg="add del mod">
          <ac:chgData name="Steiner Andreas 6206 ED" userId="e6377c33-a923-4f14-8587-531c474c7b48" providerId="ADAL" clId="{6ECD27E6-B224-41CD-B4E0-E297462320DD}" dt="2023-11-24T11:42:46.552" v="150924"/>
          <ac:spMkLst>
            <pc:docMk/>
            <pc:sldMk cId="2637169229" sldId="2147478574"/>
            <ac:spMk id="981" creationId="{873B6C6F-11EE-DC37-0B99-C66BEF66508F}"/>
          </ac:spMkLst>
        </pc:spChg>
        <pc:spChg chg="add del mod">
          <ac:chgData name="Steiner Andreas 6206 ED" userId="e6377c33-a923-4f14-8587-531c474c7b48" providerId="ADAL" clId="{6ECD27E6-B224-41CD-B4E0-E297462320DD}" dt="2023-11-24T11:42:48.785" v="151079"/>
          <ac:spMkLst>
            <pc:docMk/>
            <pc:sldMk cId="2637169229" sldId="2147478574"/>
            <ac:spMk id="982" creationId="{2FDBD0BE-AE2F-3D6E-9BF7-60771118BFDA}"/>
          </ac:spMkLst>
        </pc:spChg>
        <pc:spChg chg="add del mod">
          <ac:chgData name="Steiner Andreas 6206 ED" userId="e6377c33-a923-4f14-8587-531c474c7b48" providerId="ADAL" clId="{6ECD27E6-B224-41CD-B4E0-E297462320DD}" dt="2023-11-24T11:42:51.030" v="151234"/>
          <ac:spMkLst>
            <pc:docMk/>
            <pc:sldMk cId="2637169229" sldId="2147478574"/>
            <ac:spMk id="983" creationId="{4AA63068-5F0F-7653-338E-62812E6A2C57}"/>
          </ac:spMkLst>
        </pc:spChg>
        <pc:spChg chg="add del mod">
          <ac:chgData name="Steiner Andreas 6206 ED" userId="e6377c33-a923-4f14-8587-531c474c7b48" providerId="ADAL" clId="{6ECD27E6-B224-41CD-B4E0-E297462320DD}" dt="2023-11-24T11:42:53.379" v="151389"/>
          <ac:spMkLst>
            <pc:docMk/>
            <pc:sldMk cId="2637169229" sldId="2147478574"/>
            <ac:spMk id="984" creationId="{295C9CA3-FC24-8640-9205-5569A7401EB0}"/>
          </ac:spMkLst>
        </pc:spChg>
        <pc:spChg chg="add del mod">
          <ac:chgData name="Steiner Andreas 6206 ED" userId="e6377c33-a923-4f14-8587-531c474c7b48" providerId="ADAL" clId="{6ECD27E6-B224-41CD-B4E0-E297462320DD}" dt="2023-11-24T11:42:55.613" v="151544"/>
          <ac:spMkLst>
            <pc:docMk/>
            <pc:sldMk cId="2637169229" sldId="2147478574"/>
            <ac:spMk id="985" creationId="{00BC9F3F-FA7C-D432-9F58-4176CC313832}"/>
          </ac:spMkLst>
        </pc:spChg>
        <pc:spChg chg="add del mod">
          <ac:chgData name="Steiner Andreas 6206 ED" userId="e6377c33-a923-4f14-8587-531c474c7b48" providerId="ADAL" clId="{6ECD27E6-B224-41CD-B4E0-E297462320DD}" dt="2023-11-24T11:42:58.072" v="151699"/>
          <ac:spMkLst>
            <pc:docMk/>
            <pc:sldMk cId="2637169229" sldId="2147478574"/>
            <ac:spMk id="986" creationId="{A8D1E0FE-74FC-CCD2-CD5F-C7F6A5417BF6}"/>
          </ac:spMkLst>
        </pc:spChg>
        <pc:spChg chg="add del mod">
          <ac:chgData name="Steiner Andreas 6206 ED" userId="e6377c33-a923-4f14-8587-531c474c7b48" providerId="ADAL" clId="{6ECD27E6-B224-41CD-B4E0-E297462320DD}" dt="2023-11-24T11:43:01.793" v="151854"/>
          <ac:spMkLst>
            <pc:docMk/>
            <pc:sldMk cId="2637169229" sldId="2147478574"/>
            <ac:spMk id="987" creationId="{9C8EFD05-2668-C502-A284-5D11706D3A50}"/>
          </ac:spMkLst>
        </pc:spChg>
        <pc:spChg chg="add del mod">
          <ac:chgData name="Steiner Andreas 6206 ED" userId="e6377c33-a923-4f14-8587-531c474c7b48" providerId="ADAL" clId="{6ECD27E6-B224-41CD-B4E0-E297462320DD}" dt="2023-11-24T11:43:04.079" v="152009"/>
          <ac:spMkLst>
            <pc:docMk/>
            <pc:sldMk cId="2637169229" sldId="2147478574"/>
            <ac:spMk id="988" creationId="{EA73E9DA-1E65-4C84-6F96-974C2E51746A}"/>
          </ac:spMkLst>
        </pc:spChg>
        <pc:spChg chg="add del mod">
          <ac:chgData name="Steiner Andreas 6206 ED" userId="e6377c33-a923-4f14-8587-531c474c7b48" providerId="ADAL" clId="{6ECD27E6-B224-41CD-B4E0-E297462320DD}" dt="2023-11-24T11:43:06.308" v="152164"/>
          <ac:spMkLst>
            <pc:docMk/>
            <pc:sldMk cId="2637169229" sldId="2147478574"/>
            <ac:spMk id="989" creationId="{884A9F69-DB96-661F-AF79-F9F1F328BD38}"/>
          </ac:spMkLst>
        </pc:spChg>
        <pc:spChg chg="add del mod">
          <ac:chgData name="Steiner Andreas 6206 ED" userId="e6377c33-a923-4f14-8587-531c474c7b48" providerId="ADAL" clId="{6ECD27E6-B224-41CD-B4E0-E297462320DD}" dt="2023-11-24T11:43:08.425" v="152319"/>
          <ac:spMkLst>
            <pc:docMk/>
            <pc:sldMk cId="2637169229" sldId="2147478574"/>
            <ac:spMk id="990" creationId="{9A1B7506-793E-401B-78D6-619D75D77FD9}"/>
          </ac:spMkLst>
        </pc:spChg>
        <pc:spChg chg="add del mod">
          <ac:chgData name="Steiner Andreas 6206 ED" userId="e6377c33-a923-4f14-8587-531c474c7b48" providerId="ADAL" clId="{6ECD27E6-B224-41CD-B4E0-E297462320DD}" dt="2023-11-24T11:43:10.573" v="152474"/>
          <ac:spMkLst>
            <pc:docMk/>
            <pc:sldMk cId="2637169229" sldId="2147478574"/>
            <ac:spMk id="991" creationId="{09A842CF-34E0-DF38-03C5-4E0D1E3E4636}"/>
          </ac:spMkLst>
        </pc:spChg>
        <pc:spChg chg="add del mod">
          <ac:chgData name="Steiner Andreas 6206 ED" userId="e6377c33-a923-4f14-8587-531c474c7b48" providerId="ADAL" clId="{6ECD27E6-B224-41CD-B4E0-E297462320DD}" dt="2023-11-24T11:43:12.794" v="152629"/>
          <ac:spMkLst>
            <pc:docMk/>
            <pc:sldMk cId="2637169229" sldId="2147478574"/>
            <ac:spMk id="992" creationId="{3A63ECAA-51A4-4972-6A39-BC3F9C72BA5B}"/>
          </ac:spMkLst>
        </pc:spChg>
        <pc:spChg chg="add del mod">
          <ac:chgData name="Steiner Andreas 6206 ED" userId="e6377c33-a923-4f14-8587-531c474c7b48" providerId="ADAL" clId="{6ECD27E6-B224-41CD-B4E0-E297462320DD}" dt="2023-11-24T11:43:15.122" v="152784"/>
          <ac:spMkLst>
            <pc:docMk/>
            <pc:sldMk cId="2637169229" sldId="2147478574"/>
            <ac:spMk id="993" creationId="{FBD7AA27-457B-A0AC-C36B-D2DBE7CFD7C7}"/>
          </ac:spMkLst>
        </pc:spChg>
        <pc:spChg chg="add del mod">
          <ac:chgData name="Steiner Andreas 6206 ED" userId="e6377c33-a923-4f14-8587-531c474c7b48" providerId="ADAL" clId="{6ECD27E6-B224-41CD-B4E0-E297462320DD}" dt="2023-11-24T11:43:18.183" v="152939"/>
          <ac:spMkLst>
            <pc:docMk/>
            <pc:sldMk cId="2637169229" sldId="2147478574"/>
            <ac:spMk id="994" creationId="{C3149915-7C6D-38A5-C3BF-A38CA41CE3FD}"/>
          </ac:spMkLst>
        </pc:spChg>
        <pc:spChg chg="add del mod">
          <ac:chgData name="Steiner Andreas 6206 ED" userId="e6377c33-a923-4f14-8587-531c474c7b48" providerId="ADAL" clId="{6ECD27E6-B224-41CD-B4E0-E297462320DD}" dt="2023-11-24T11:43:22.356" v="153094"/>
          <ac:spMkLst>
            <pc:docMk/>
            <pc:sldMk cId="2637169229" sldId="2147478574"/>
            <ac:spMk id="995" creationId="{F200AE0F-7B33-B13C-D4B0-37B265FE2C5B}"/>
          </ac:spMkLst>
        </pc:spChg>
        <pc:spChg chg="add del mod">
          <ac:chgData name="Steiner Andreas 6206 ED" userId="e6377c33-a923-4f14-8587-531c474c7b48" providerId="ADAL" clId="{6ECD27E6-B224-41CD-B4E0-E297462320DD}" dt="2023-11-24T11:43:24.840" v="153249"/>
          <ac:spMkLst>
            <pc:docMk/>
            <pc:sldMk cId="2637169229" sldId="2147478574"/>
            <ac:spMk id="996" creationId="{77BB7E65-19F6-5E62-269F-6A8C2FDD4ED8}"/>
          </ac:spMkLst>
        </pc:spChg>
        <pc:spChg chg="add del mod">
          <ac:chgData name="Steiner Andreas 6206 ED" userId="e6377c33-a923-4f14-8587-531c474c7b48" providerId="ADAL" clId="{6ECD27E6-B224-41CD-B4E0-E297462320DD}" dt="2023-11-24T11:43:27.091" v="153404"/>
          <ac:spMkLst>
            <pc:docMk/>
            <pc:sldMk cId="2637169229" sldId="2147478574"/>
            <ac:spMk id="997" creationId="{48641E83-838C-529A-8531-52602C2F7BE5}"/>
          </ac:spMkLst>
        </pc:spChg>
        <pc:spChg chg="add del mod">
          <ac:chgData name="Steiner Andreas 6206 ED" userId="e6377c33-a923-4f14-8587-531c474c7b48" providerId="ADAL" clId="{6ECD27E6-B224-41CD-B4E0-E297462320DD}" dt="2023-11-24T11:43:29.362" v="153559"/>
          <ac:spMkLst>
            <pc:docMk/>
            <pc:sldMk cId="2637169229" sldId="2147478574"/>
            <ac:spMk id="998" creationId="{A6695629-61BA-F31C-3243-0029D7EC82A6}"/>
          </ac:spMkLst>
        </pc:spChg>
        <pc:spChg chg="add del mod">
          <ac:chgData name="Steiner Andreas 6206 ED" userId="e6377c33-a923-4f14-8587-531c474c7b48" providerId="ADAL" clId="{6ECD27E6-B224-41CD-B4E0-E297462320DD}" dt="2023-11-24T11:43:31.611" v="153714"/>
          <ac:spMkLst>
            <pc:docMk/>
            <pc:sldMk cId="2637169229" sldId="2147478574"/>
            <ac:spMk id="999" creationId="{AF7A4B1A-8BB7-5763-C6F1-5222B8D0E20F}"/>
          </ac:spMkLst>
        </pc:spChg>
        <pc:spChg chg="add del mod">
          <ac:chgData name="Steiner Andreas 6206 ED" userId="e6377c33-a923-4f14-8587-531c474c7b48" providerId="ADAL" clId="{6ECD27E6-B224-41CD-B4E0-E297462320DD}" dt="2023-11-24T11:43:34.318" v="153869"/>
          <ac:spMkLst>
            <pc:docMk/>
            <pc:sldMk cId="2637169229" sldId="2147478574"/>
            <ac:spMk id="1000" creationId="{95CB189D-A6F9-54CB-655C-CB32812C4091}"/>
          </ac:spMkLst>
        </pc:spChg>
        <pc:spChg chg="add del mod">
          <ac:chgData name="Steiner Andreas 6206 ED" userId="e6377c33-a923-4f14-8587-531c474c7b48" providerId="ADAL" clId="{6ECD27E6-B224-41CD-B4E0-E297462320DD}" dt="2023-11-24T11:43:36.490" v="154024"/>
          <ac:spMkLst>
            <pc:docMk/>
            <pc:sldMk cId="2637169229" sldId="2147478574"/>
            <ac:spMk id="1001" creationId="{29330953-8F52-E20F-BD91-79AAA522F2FF}"/>
          </ac:spMkLst>
        </pc:spChg>
        <pc:spChg chg="add del mod">
          <ac:chgData name="Steiner Andreas 6206 ED" userId="e6377c33-a923-4f14-8587-531c474c7b48" providerId="ADAL" clId="{6ECD27E6-B224-41CD-B4E0-E297462320DD}" dt="2023-11-24T11:43:38.685" v="154179"/>
          <ac:spMkLst>
            <pc:docMk/>
            <pc:sldMk cId="2637169229" sldId="2147478574"/>
            <ac:spMk id="1002" creationId="{919AC6F4-DC43-D173-7826-C0B8151C2FF0}"/>
          </ac:spMkLst>
        </pc:spChg>
        <pc:spChg chg="add del mod">
          <ac:chgData name="Steiner Andreas 6206 ED" userId="e6377c33-a923-4f14-8587-531c474c7b48" providerId="ADAL" clId="{6ECD27E6-B224-41CD-B4E0-E297462320DD}" dt="2023-11-24T11:43:40.990" v="154334"/>
          <ac:spMkLst>
            <pc:docMk/>
            <pc:sldMk cId="2637169229" sldId="2147478574"/>
            <ac:spMk id="1003" creationId="{DC1298E0-C2D7-30B3-85C2-29B1D8D95891}"/>
          </ac:spMkLst>
        </pc:spChg>
        <pc:spChg chg="add del mod">
          <ac:chgData name="Steiner Andreas 6206 ED" userId="e6377c33-a923-4f14-8587-531c474c7b48" providerId="ADAL" clId="{6ECD27E6-B224-41CD-B4E0-E297462320DD}" dt="2023-11-24T11:43:43.970" v="154489"/>
          <ac:spMkLst>
            <pc:docMk/>
            <pc:sldMk cId="2637169229" sldId="2147478574"/>
            <ac:spMk id="1004" creationId="{329F0928-C38E-F2D3-3C49-48194EA9598F}"/>
          </ac:spMkLst>
        </pc:spChg>
        <pc:spChg chg="add del mod">
          <ac:chgData name="Steiner Andreas 6206 ED" userId="e6377c33-a923-4f14-8587-531c474c7b48" providerId="ADAL" clId="{6ECD27E6-B224-41CD-B4E0-E297462320DD}" dt="2023-11-24T11:43:46.315" v="154644"/>
          <ac:spMkLst>
            <pc:docMk/>
            <pc:sldMk cId="2637169229" sldId="2147478574"/>
            <ac:spMk id="1005" creationId="{83B83678-B2C9-8805-288A-3C3420E802C2}"/>
          </ac:spMkLst>
        </pc:spChg>
        <pc:spChg chg="add del mod">
          <ac:chgData name="Steiner Andreas 6206 ED" userId="e6377c33-a923-4f14-8587-531c474c7b48" providerId="ADAL" clId="{6ECD27E6-B224-41CD-B4E0-E297462320DD}" dt="2023-11-24T11:43:48.615" v="154799"/>
          <ac:spMkLst>
            <pc:docMk/>
            <pc:sldMk cId="2637169229" sldId="2147478574"/>
            <ac:spMk id="1006" creationId="{ED76CC8F-EFBA-E20A-B259-DB40019EFC83}"/>
          </ac:spMkLst>
        </pc:spChg>
        <pc:spChg chg="add del mod">
          <ac:chgData name="Steiner Andreas 6206 ED" userId="e6377c33-a923-4f14-8587-531c474c7b48" providerId="ADAL" clId="{6ECD27E6-B224-41CD-B4E0-E297462320DD}" dt="2023-11-24T11:43:50.666" v="154954"/>
          <ac:spMkLst>
            <pc:docMk/>
            <pc:sldMk cId="2637169229" sldId="2147478574"/>
            <ac:spMk id="1007" creationId="{26E1FDB4-18C1-EAC7-A3BD-BF2DB0604AD3}"/>
          </ac:spMkLst>
        </pc:spChg>
        <pc:spChg chg="add del mod">
          <ac:chgData name="Steiner Andreas 6206 ED" userId="e6377c33-a923-4f14-8587-531c474c7b48" providerId="ADAL" clId="{6ECD27E6-B224-41CD-B4E0-E297462320DD}" dt="2023-11-24T11:43:52.854" v="155109"/>
          <ac:spMkLst>
            <pc:docMk/>
            <pc:sldMk cId="2637169229" sldId="2147478574"/>
            <ac:spMk id="1008" creationId="{16E4993F-65B3-64D4-4EE1-C11A2663D4BF}"/>
          </ac:spMkLst>
        </pc:spChg>
        <pc:spChg chg="add del mod">
          <ac:chgData name="Steiner Andreas 6206 ED" userId="e6377c33-a923-4f14-8587-531c474c7b48" providerId="ADAL" clId="{6ECD27E6-B224-41CD-B4E0-E297462320DD}" dt="2023-11-24T11:43:55.860" v="155264"/>
          <ac:spMkLst>
            <pc:docMk/>
            <pc:sldMk cId="2637169229" sldId="2147478574"/>
            <ac:spMk id="1009" creationId="{586D4A04-D867-38F9-9085-3BFE8EDC2B8C}"/>
          </ac:spMkLst>
        </pc:spChg>
        <pc:spChg chg="add del mod">
          <ac:chgData name="Steiner Andreas 6206 ED" userId="e6377c33-a923-4f14-8587-531c474c7b48" providerId="ADAL" clId="{6ECD27E6-B224-41CD-B4E0-E297462320DD}" dt="2023-11-24T11:43:58.212" v="155419"/>
          <ac:spMkLst>
            <pc:docMk/>
            <pc:sldMk cId="2637169229" sldId="2147478574"/>
            <ac:spMk id="1010" creationId="{DFAF85C6-4BB3-0D94-5C7C-645AB133BE0E}"/>
          </ac:spMkLst>
        </pc:spChg>
        <pc:spChg chg="add del mod">
          <ac:chgData name="Steiner Andreas 6206 ED" userId="e6377c33-a923-4f14-8587-531c474c7b48" providerId="ADAL" clId="{6ECD27E6-B224-41CD-B4E0-E297462320DD}" dt="2023-11-24T11:44:00.311" v="155574"/>
          <ac:spMkLst>
            <pc:docMk/>
            <pc:sldMk cId="2637169229" sldId="2147478574"/>
            <ac:spMk id="1011" creationId="{1ACA86D5-5167-6C3A-6624-C4147C562ECE}"/>
          </ac:spMkLst>
        </pc:spChg>
        <pc:spChg chg="add del mod">
          <ac:chgData name="Steiner Andreas 6206 ED" userId="e6377c33-a923-4f14-8587-531c474c7b48" providerId="ADAL" clId="{6ECD27E6-B224-41CD-B4E0-E297462320DD}" dt="2023-11-24T11:44:02.316" v="155729"/>
          <ac:spMkLst>
            <pc:docMk/>
            <pc:sldMk cId="2637169229" sldId="2147478574"/>
            <ac:spMk id="1012" creationId="{32C36D4D-ABF4-EC04-6D18-ACBDEE9DCFF8}"/>
          </ac:spMkLst>
        </pc:spChg>
        <pc:spChg chg="add del mod">
          <ac:chgData name="Steiner Andreas 6206 ED" userId="e6377c33-a923-4f14-8587-531c474c7b48" providerId="ADAL" clId="{6ECD27E6-B224-41CD-B4E0-E297462320DD}" dt="2023-11-24T11:44:04.359" v="155884"/>
          <ac:spMkLst>
            <pc:docMk/>
            <pc:sldMk cId="2637169229" sldId="2147478574"/>
            <ac:spMk id="1013" creationId="{94CE1483-7290-B8F9-3DF5-A6DFDB2EFADE}"/>
          </ac:spMkLst>
        </pc:spChg>
        <pc:spChg chg="add del mod">
          <ac:chgData name="Steiner Andreas 6206 ED" userId="e6377c33-a923-4f14-8587-531c474c7b48" providerId="ADAL" clId="{6ECD27E6-B224-41CD-B4E0-E297462320DD}" dt="2023-11-24T11:44:06.371" v="156039"/>
          <ac:spMkLst>
            <pc:docMk/>
            <pc:sldMk cId="2637169229" sldId="2147478574"/>
            <ac:spMk id="1014" creationId="{F79DC7E5-8F31-A395-23BE-962977C94E34}"/>
          </ac:spMkLst>
        </pc:spChg>
        <pc:spChg chg="add del mod">
          <ac:chgData name="Steiner Andreas 6206 ED" userId="e6377c33-a923-4f14-8587-531c474c7b48" providerId="ADAL" clId="{6ECD27E6-B224-41CD-B4E0-E297462320DD}" dt="2023-11-24T11:44:08.555" v="156194"/>
          <ac:spMkLst>
            <pc:docMk/>
            <pc:sldMk cId="2637169229" sldId="2147478574"/>
            <ac:spMk id="1015" creationId="{8D9E290A-A5E3-0F29-BF45-0B624AA20E3F}"/>
          </ac:spMkLst>
        </pc:spChg>
        <pc:spChg chg="add del mod">
          <ac:chgData name="Steiner Andreas 6206 ED" userId="e6377c33-a923-4f14-8587-531c474c7b48" providerId="ADAL" clId="{6ECD27E6-B224-41CD-B4E0-E297462320DD}" dt="2023-11-24T11:44:10.607" v="156349"/>
          <ac:spMkLst>
            <pc:docMk/>
            <pc:sldMk cId="2637169229" sldId="2147478574"/>
            <ac:spMk id="1016" creationId="{94C2D9F0-2CBE-A217-9775-0C5A90C1082D}"/>
          </ac:spMkLst>
        </pc:spChg>
        <pc:spChg chg="add del mod">
          <ac:chgData name="Steiner Andreas 6206 ED" userId="e6377c33-a923-4f14-8587-531c474c7b48" providerId="ADAL" clId="{6ECD27E6-B224-41CD-B4E0-E297462320DD}" dt="2023-11-24T11:44:12.621" v="156504"/>
          <ac:spMkLst>
            <pc:docMk/>
            <pc:sldMk cId="2637169229" sldId="2147478574"/>
            <ac:spMk id="1017" creationId="{B3E7B6D3-6014-CF60-1E95-36A76201EB4D}"/>
          </ac:spMkLst>
        </pc:spChg>
        <pc:spChg chg="add del mod">
          <ac:chgData name="Steiner Andreas 6206 ED" userId="e6377c33-a923-4f14-8587-531c474c7b48" providerId="ADAL" clId="{6ECD27E6-B224-41CD-B4E0-E297462320DD}" dt="2023-11-24T11:44:14.612" v="156659"/>
          <ac:spMkLst>
            <pc:docMk/>
            <pc:sldMk cId="2637169229" sldId="2147478574"/>
            <ac:spMk id="1018" creationId="{AE8E8706-96FD-2F1A-9D3D-878AF4280DBF}"/>
          </ac:spMkLst>
        </pc:spChg>
        <pc:spChg chg="add del mod">
          <ac:chgData name="Steiner Andreas 6206 ED" userId="e6377c33-a923-4f14-8587-531c474c7b48" providerId="ADAL" clId="{6ECD27E6-B224-41CD-B4E0-E297462320DD}" dt="2023-11-24T11:44:16.609" v="156814"/>
          <ac:spMkLst>
            <pc:docMk/>
            <pc:sldMk cId="2637169229" sldId="2147478574"/>
            <ac:spMk id="1019" creationId="{8AB42597-2AD3-7C07-4955-A48578C88BD0}"/>
          </ac:spMkLst>
        </pc:spChg>
        <pc:spChg chg="add del mod">
          <ac:chgData name="Steiner Andreas 6206 ED" userId="e6377c33-a923-4f14-8587-531c474c7b48" providerId="ADAL" clId="{6ECD27E6-B224-41CD-B4E0-E297462320DD}" dt="2023-11-24T11:44:18.700" v="156969"/>
          <ac:spMkLst>
            <pc:docMk/>
            <pc:sldMk cId="2637169229" sldId="2147478574"/>
            <ac:spMk id="1020" creationId="{CE115AC2-2E58-CA4F-2D90-684952203948}"/>
          </ac:spMkLst>
        </pc:spChg>
        <pc:spChg chg="add del mod">
          <ac:chgData name="Steiner Andreas 6206 ED" userId="e6377c33-a923-4f14-8587-531c474c7b48" providerId="ADAL" clId="{6ECD27E6-B224-41CD-B4E0-E297462320DD}" dt="2023-11-24T11:44:20.818" v="157124"/>
          <ac:spMkLst>
            <pc:docMk/>
            <pc:sldMk cId="2637169229" sldId="2147478574"/>
            <ac:spMk id="1021" creationId="{4C656292-5649-822B-CFEA-5DB13C33E458}"/>
          </ac:spMkLst>
        </pc:spChg>
        <pc:spChg chg="add del mod">
          <ac:chgData name="Steiner Andreas 6206 ED" userId="e6377c33-a923-4f14-8587-531c474c7b48" providerId="ADAL" clId="{6ECD27E6-B224-41CD-B4E0-E297462320DD}" dt="2023-11-24T11:44:23.146" v="157279"/>
          <ac:spMkLst>
            <pc:docMk/>
            <pc:sldMk cId="2637169229" sldId="2147478574"/>
            <ac:spMk id="1022" creationId="{467C4BDC-348C-B24A-17E7-2173A73035A7}"/>
          </ac:spMkLst>
        </pc:spChg>
        <pc:spChg chg="add del mod">
          <ac:chgData name="Steiner Andreas 6206 ED" userId="e6377c33-a923-4f14-8587-531c474c7b48" providerId="ADAL" clId="{6ECD27E6-B224-41CD-B4E0-E297462320DD}" dt="2023-11-24T11:44:25.299" v="157434"/>
          <ac:spMkLst>
            <pc:docMk/>
            <pc:sldMk cId="2637169229" sldId="2147478574"/>
            <ac:spMk id="1023" creationId="{63E807AF-8C15-0F30-1B17-A799F3E9E791}"/>
          </ac:spMkLst>
        </pc:spChg>
        <pc:spChg chg="add del mod">
          <ac:chgData name="Steiner Andreas 6206 ED" userId="e6377c33-a923-4f14-8587-531c474c7b48" providerId="ADAL" clId="{6ECD27E6-B224-41CD-B4E0-E297462320DD}" dt="2023-11-24T11:44:30.705" v="157589"/>
          <ac:spMkLst>
            <pc:docMk/>
            <pc:sldMk cId="2637169229" sldId="2147478574"/>
            <ac:spMk id="1024" creationId="{6D390E85-3C57-B680-D9AB-9D4067D66DC3}"/>
          </ac:spMkLst>
        </pc:spChg>
        <pc:spChg chg="add mod">
          <ac:chgData name="Steiner Andreas 6206 ED" userId="e6377c33-a923-4f14-8587-531c474c7b48" providerId="ADAL" clId="{6ECD27E6-B224-41CD-B4E0-E297462320DD}" dt="2023-11-24T11:44:30.705" v="157590"/>
          <ac:spMkLst>
            <pc:docMk/>
            <pc:sldMk cId="2637169229" sldId="2147478574"/>
            <ac:spMk id="1025" creationId="{939DAAE7-F9CD-474A-3848-646F246E6BAA}"/>
          </ac:spMkLst>
        </pc:spChg>
      </pc:sldChg>
      <pc:sldChg chg="addSp delSp modSp mod">
        <pc:chgData name="Steiner Andreas 6206 ED" userId="e6377c33-a923-4f14-8587-531c474c7b48" providerId="ADAL" clId="{6ECD27E6-B224-41CD-B4E0-E297462320DD}" dt="2023-11-24T11:44:30.462" v="157533"/>
        <pc:sldMkLst>
          <pc:docMk/>
          <pc:sldMk cId="1226083679" sldId="2147478575"/>
        </pc:sldMkLst>
        <pc:spChg chg="mod">
          <ac:chgData name="Steiner Andreas 6206 ED" userId="e6377c33-a923-4f14-8587-531c474c7b48" providerId="ADAL" clId="{6ECD27E6-B224-41CD-B4E0-E297462320DD}" dt="2023-11-24T11:44:30.458" v="157529" actId="20577"/>
          <ac:spMkLst>
            <pc:docMk/>
            <pc:sldMk cId="1226083679" sldId="2147478575"/>
            <ac:spMk id="3" creationId="{395DC4DF-F772-E3DD-09E2-FAC2C1156DCB}"/>
          </ac:spMkLst>
        </pc:spChg>
        <pc:spChg chg="del">
          <ac:chgData name="Steiner Andreas 6206 ED" userId="e6377c33-a923-4f14-8587-531c474c7b48" providerId="ADAL" clId="{6ECD27E6-B224-41CD-B4E0-E297462320DD}" dt="2023-11-23T19:49:53.388" v="15"/>
          <ac:spMkLst>
            <pc:docMk/>
            <pc:sldMk cId="1226083679" sldId="2147478575"/>
            <ac:spMk id="5" creationId="{630B821C-A7EE-F3A1-7B2B-BA27900218ED}"/>
          </ac:spMkLst>
        </pc:spChg>
        <pc:spChg chg="add del mod">
          <ac:chgData name="Steiner Andreas 6206 ED" userId="e6377c33-a923-4f14-8587-531c474c7b48" providerId="ADAL" clId="{6ECD27E6-B224-41CD-B4E0-E297462320DD}" dt="2023-11-23T19:49:53.390" v="18"/>
          <ac:spMkLst>
            <pc:docMk/>
            <pc:sldMk cId="1226083679" sldId="2147478575"/>
            <ac:spMk id="7" creationId="{97CBA7B8-7C57-1142-EBAB-D59CC603D752}"/>
          </ac:spMkLst>
        </pc:spChg>
        <pc:spChg chg="add del mod">
          <ac:chgData name="Steiner Andreas 6206 ED" userId="e6377c33-a923-4f14-8587-531c474c7b48" providerId="ADAL" clId="{6ECD27E6-B224-41CD-B4E0-E297462320DD}" dt="2023-11-23T19:49:54.321" v="207"/>
          <ac:spMkLst>
            <pc:docMk/>
            <pc:sldMk cId="1226083679" sldId="2147478575"/>
            <ac:spMk id="8" creationId="{CC841E18-F308-33FE-D17B-7B2389604410}"/>
          </ac:spMkLst>
        </pc:spChg>
        <pc:spChg chg="add del mod">
          <ac:chgData name="Steiner Andreas 6206 ED" userId="e6377c33-a923-4f14-8587-531c474c7b48" providerId="ADAL" clId="{6ECD27E6-B224-41CD-B4E0-E297462320DD}" dt="2023-11-23T19:50:25.027" v="362"/>
          <ac:spMkLst>
            <pc:docMk/>
            <pc:sldMk cId="1226083679" sldId="2147478575"/>
            <ac:spMk id="9" creationId="{466ECEBF-2DA3-7113-C6F7-496814ED5BC5}"/>
          </ac:spMkLst>
        </pc:spChg>
        <pc:spChg chg="add del mod">
          <ac:chgData name="Steiner Andreas 6206 ED" userId="e6377c33-a923-4f14-8587-531c474c7b48" providerId="ADAL" clId="{6ECD27E6-B224-41CD-B4E0-E297462320DD}" dt="2023-11-23T19:50:34.841" v="517"/>
          <ac:spMkLst>
            <pc:docMk/>
            <pc:sldMk cId="1226083679" sldId="2147478575"/>
            <ac:spMk id="10" creationId="{DBA40B94-428E-08EB-D6F0-E5EDD60BCBFF}"/>
          </ac:spMkLst>
        </pc:spChg>
        <pc:spChg chg="add del mod">
          <ac:chgData name="Steiner Andreas 6206 ED" userId="e6377c33-a923-4f14-8587-531c474c7b48" providerId="ADAL" clId="{6ECD27E6-B224-41CD-B4E0-E297462320DD}" dt="2023-11-23T19:50:46.512" v="672"/>
          <ac:spMkLst>
            <pc:docMk/>
            <pc:sldMk cId="1226083679" sldId="2147478575"/>
            <ac:spMk id="13" creationId="{111E7324-DF51-FAFF-C15B-A6193FCA9279}"/>
          </ac:spMkLst>
        </pc:spChg>
        <pc:spChg chg="add del mod">
          <ac:chgData name="Steiner Andreas 6206 ED" userId="e6377c33-a923-4f14-8587-531c474c7b48" providerId="ADAL" clId="{6ECD27E6-B224-41CD-B4E0-E297462320DD}" dt="2023-11-23T19:50:58.215" v="827"/>
          <ac:spMkLst>
            <pc:docMk/>
            <pc:sldMk cId="1226083679" sldId="2147478575"/>
            <ac:spMk id="14" creationId="{E3DBE846-9662-F3F2-7DAA-B636D4849D3D}"/>
          </ac:spMkLst>
        </pc:spChg>
        <pc:spChg chg="add del mod">
          <ac:chgData name="Steiner Andreas 6206 ED" userId="e6377c33-a923-4f14-8587-531c474c7b48" providerId="ADAL" clId="{6ECD27E6-B224-41CD-B4E0-E297462320DD}" dt="2023-11-23T19:51:08.898" v="982"/>
          <ac:spMkLst>
            <pc:docMk/>
            <pc:sldMk cId="1226083679" sldId="2147478575"/>
            <ac:spMk id="15" creationId="{7E7422C8-8F14-3C1E-E046-FCFDE35D634E}"/>
          </ac:spMkLst>
        </pc:spChg>
        <pc:spChg chg="add del mod">
          <ac:chgData name="Steiner Andreas 6206 ED" userId="e6377c33-a923-4f14-8587-531c474c7b48" providerId="ADAL" clId="{6ECD27E6-B224-41CD-B4E0-E297462320DD}" dt="2023-11-23T19:51:19.875" v="1137"/>
          <ac:spMkLst>
            <pc:docMk/>
            <pc:sldMk cId="1226083679" sldId="2147478575"/>
            <ac:spMk id="16" creationId="{EEA2A6CA-4E84-7CFF-524A-89E3383FA399}"/>
          </ac:spMkLst>
        </pc:spChg>
        <pc:spChg chg="add del mod">
          <ac:chgData name="Steiner Andreas 6206 ED" userId="e6377c33-a923-4f14-8587-531c474c7b48" providerId="ADAL" clId="{6ECD27E6-B224-41CD-B4E0-E297462320DD}" dt="2023-11-23T19:51:31.424" v="1292"/>
          <ac:spMkLst>
            <pc:docMk/>
            <pc:sldMk cId="1226083679" sldId="2147478575"/>
            <ac:spMk id="17" creationId="{C64DDDD0-F36F-5248-2BC6-56468B6214B0}"/>
          </ac:spMkLst>
        </pc:spChg>
        <pc:spChg chg="add del mod">
          <ac:chgData name="Steiner Andreas 6206 ED" userId="e6377c33-a923-4f14-8587-531c474c7b48" providerId="ADAL" clId="{6ECD27E6-B224-41CD-B4E0-E297462320DD}" dt="2023-11-23T19:51:42.015" v="1447"/>
          <ac:spMkLst>
            <pc:docMk/>
            <pc:sldMk cId="1226083679" sldId="2147478575"/>
            <ac:spMk id="18" creationId="{94862A9D-99FE-6754-560A-14B5B2EBAE8B}"/>
          </ac:spMkLst>
        </pc:spChg>
        <pc:spChg chg="add del mod">
          <ac:chgData name="Steiner Andreas 6206 ED" userId="e6377c33-a923-4f14-8587-531c474c7b48" providerId="ADAL" clId="{6ECD27E6-B224-41CD-B4E0-E297462320DD}" dt="2023-11-23T19:51:53.459" v="1602"/>
          <ac:spMkLst>
            <pc:docMk/>
            <pc:sldMk cId="1226083679" sldId="2147478575"/>
            <ac:spMk id="19" creationId="{8955D5EB-76DA-6FA4-0D4C-92A4DC08B806}"/>
          </ac:spMkLst>
        </pc:spChg>
        <pc:spChg chg="add del mod">
          <ac:chgData name="Steiner Andreas 6206 ED" userId="e6377c33-a923-4f14-8587-531c474c7b48" providerId="ADAL" clId="{6ECD27E6-B224-41CD-B4E0-E297462320DD}" dt="2023-11-23T19:52:05.014" v="1757"/>
          <ac:spMkLst>
            <pc:docMk/>
            <pc:sldMk cId="1226083679" sldId="2147478575"/>
            <ac:spMk id="20" creationId="{96558CA2-D8D8-125B-A965-FCAC27C2EFCB}"/>
          </ac:spMkLst>
        </pc:spChg>
        <pc:spChg chg="add del mod">
          <ac:chgData name="Steiner Andreas 6206 ED" userId="e6377c33-a923-4f14-8587-531c474c7b48" providerId="ADAL" clId="{6ECD27E6-B224-41CD-B4E0-E297462320DD}" dt="2023-11-23T19:52:16.696" v="1912"/>
          <ac:spMkLst>
            <pc:docMk/>
            <pc:sldMk cId="1226083679" sldId="2147478575"/>
            <ac:spMk id="21" creationId="{7F9E5F4A-82F0-5909-A906-8659BC84BAB1}"/>
          </ac:spMkLst>
        </pc:spChg>
        <pc:spChg chg="add del mod">
          <ac:chgData name="Steiner Andreas 6206 ED" userId="e6377c33-a923-4f14-8587-531c474c7b48" providerId="ADAL" clId="{6ECD27E6-B224-41CD-B4E0-E297462320DD}" dt="2023-11-23T19:52:28.409" v="2067"/>
          <ac:spMkLst>
            <pc:docMk/>
            <pc:sldMk cId="1226083679" sldId="2147478575"/>
            <ac:spMk id="22" creationId="{F30997C3-B32A-4C02-C0F7-0F85683B569A}"/>
          </ac:spMkLst>
        </pc:spChg>
        <pc:spChg chg="add del mod">
          <ac:chgData name="Steiner Andreas 6206 ED" userId="e6377c33-a923-4f14-8587-531c474c7b48" providerId="ADAL" clId="{6ECD27E6-B224-41CD-B4E0-E297462320DD}" dt="2023-11-23T19:52:40.083" v="2222"/>
          <ac:spMkLst>
            <pc:docMk/>
            <pc:sldMk cId="1226083679" sldId="2147478575"/>
            <ac:spMk id="23" creationId="{E5A9F9E4-6BF4-EEE8-9DD2-360735D2B4FD}"/>
          </ac:spMkLst>
        </pc:spChg>
        <pc:spChg chg="add del mod">
          <ac:chgData name="Steiner Andreas 6206 ED" userId="e6377c33-a923-4f14-8587-531c474c7b48" providerId="ADAL" clId="{6ECD27E6-B224-41CD-B4E0-E297462320DD}" dt="2023-11-23T19:52:51.568" v="2377"/>
          <ac:spMkLst>
            <pc:docMk/>
            <pc:sldMk cId="1226083679" sldId="2147478575"/>
            <ac:spMk id="24" creationId="{4B36371C-A12F-A706-4B10-77E4DC419CD4}"/>
          </ac:spMkLst>
        </pc:spChg>
        <pc:spChg chg="add del mod">
          <ac:chgData name="Steiner Andreas 6206 ED" userId="e6377c33-a923-4f14-8587-531c474c7b48" providerId="ADAL" clId="{6ECD27E6-B224-41CD-B4E0-E297462320DD}" dt="2023-11-23T19:53:03.144" v="2532"/>
          <ac:spMkLst>
            <pc:docMk/>
            <pc:sldMk cId="1226083679" sldId="2147478575"/>
            <ac:spMk id="25" creationId="{DAF190E8-FB5C-6F7C-502E-8D64BA85058B}"/>
          </ac:spMkLst>
        </pc:spChg>
        <pc:spChg chg="add del mod">
          <ac:chgData name="Steiner Andreas 6206 ED" userId="e6377c33-a923-4f14-8587-531c474c7b48" providerId="ADAL" clId="{6ECD27E6-B224-41CD-B4E0-E297462320DD}" dt="2023-11-23T19:53:14.897" v="2687"/>
          <ac:spMkLst>
            <pc:docMk/>
            <pc:sldMk cId="1226083679" sldId="2147478575"/>
            <ac:spMk id="26" creationId="{D21D792D-1026-F48F-CD2B-22160486C4D5}"/>
          </ac:spMkLst>
        </pc:spChg>
        <pc:spChg chg="add del mod">
          <ac:chgData name="Steiner Andreas 6206 ED" userId="e6377c33-a923-4f14-8587-531c474c7b48" providerId="ADAL" clId="{6ECD27E6-B224-41CD-B4E0-E297462320DD}" dt="2023-11-23T19:53:26.577" v="2842"/>
          <ac:spMkLst>
            <pc:docMk/>
            <pc:sldMk cId="1226083679" sldId="2147478575"/>
            <ac:spMk id="27" creationId="{833731C2-AFE6-6B9A-22E6-F5688A8C2F74}"/>
          </ac:spMkLst>
        </pc:spChg>
        <pc:spChg chg="add del mod">
          <ac:chgData name="Steiner Andreas 6206 ED" userId="e6377c33-a923-4f14-8587-531c474c7b48" providerId="ADAL" clId="{6ECD27E6-B224-41CD-B4E0-E297462320DD}" dt="2023-11-23T19:53:38.225" v="2997"/>
          <ac:spMkLst>
            <pc:docMk/>
            <pc:sldMk cId="1226083679" sldId="2147478575"/>
            <ac:spMk id="28" creationId="{F4F8F752-6521-0DE6-4378-96317D6FC8A8}"/>
          </ac:spMkLst>
        </pc:spChg>
        <pc:spChg chg="add del mod">
          <ac:chgData name="Steiner Andreas 6206 ED" userId="e6377c33-a923-4f14-8587-531c474c7b48" providerId="ADAL" clId="{6ECD27E6-B224-41CD-B4E0-E297462320DD}" dt="2023-11-23T19:53:49.893" v="3152"/>
          <ac:spMkLst>
            <pc:docMk/>
            <pc:sldMk cId="1226083679" sldId="2147478575"/>
            <ac:spMk id="29" creationId="{98C2DDE6-89E6-25B0-AC72-7AAA9C6D0FEE}"/>
          </ac:spMkLst>
        </pc:spChg>
        <pc:spChg chg="add del mod">
          <ac:chgData name="Steiner Andreas 6206 ED" userId="e6377c33-a923-4f14-8587-531c474c7b48" providerId="ADAL" clId="{6ECD27E6-B224-41CD-B4E0-E297462320DD}" dt="2023-11-23T19:54:01.575" v="3307"/>
          <ac:spMkLst>
            <pc:docMk/>
            <pc:sldMk cId="1226083679" sldId="2147478575"/>
            <ac:spMk id="30" creationId="{68BD1189-A297-0C50-1FC3-34EE4CA5649A}"/>
          </ac:spMkLst>
        </pc:spChg>
        <pc:spChg chg="add del mod">
          <ac:chgData name="Steiner Andreas 6206 ED" userId="e6377c33-a923-4f14-8587-531c474c7b48" providerId="ADAL" clId="{6ECD27E6-B224-41CD-B4E0-E297462320DD}" dt="2023-11-23T19:54:13.264" v="3462"/>
          <ac:spMkLst>
            <pc:docMk/>
            <pc:sldMk cId="1226083679" sldId="2147478575"/>
            <ac:spMk id="31" creationId="{56553C75-93DD-9613-198D-D40FDA32B35C}"/>
          </ac:spMkLst>
        </pc:spChg>
        <pc:spChg chg="add del mod">
          <ac:chgData name="Steiner Andreas 6206 ED" userId="e6377c33-a923-4f14-8587-531c474c7b48" providerId="ADAL" clId="{6ECD27E6-B224-41CD-B4E0-E297462320DD}" dt="2023-11-23T19:54:24.925" v="3617"/>
          <ac:spMkLst>
            <pc:docMk/>
            <pc:sldMk cId="1226083679" sldId="2147478575"/>
            <ac:spMk id="32" creationId="{BFA39422-D6AF-5B6D-0363-EA5FF11BCE68}"/>
          </ac:spMkLst>
        </pc:spChg>
        <pc:spChg chg="add del mod">
          <ac:chgData name="Steiner Andreas 6206 ED" userId="e6377c33-a923-4f14-8587-531c474c7b48" providerId="ADAL" clId="{6ECD27E6-B224-41CD-B4E0-E297462320DD}" dt="2023-11-23T19:54:36.628" v="3772"/>
          <ac:spMkLst>
            <pc:docMk/>
            <pc:sldMk cId="1226083679" sldId="2147478575"/>
            <ac:spMk id="33" creationId="{95FD98C5-56F2-2624-17A9-2C9AC9C1F3D3}"/>
          </ac:spMkLst>
        </pc:spChg>
        <pc:spChg chg="add del mod">
          <ac:chgData name="Steiner Andreas 6206 ED" userId="e6377c33-a923-4f14-8587-531c474c7b48" providerId="ADAL" clId="{6ECD27E6-B224-41CD-B4E0-E297462320DD}" dt="2023-11-23T19:54:48.055" v="3927"/>
          <ac:spMkLst>
            <pc:docMk/>
            <pc:sldMk cId="1226083679" sldId="2147478575"/>
            <ac:spMk id="34" creationId="{B5751198-E41F-4AE3-4621-2743A484D63F}"/>
          </ac:spMkLst>
        </pc:spChg>
        <pc:spChg chg="add del mod">
          <ac:chgData name="Steiner Andreas 6206 ED" userId="e6377c33-a923-4f14-8587-531c474c7b48" providerId="ADAL" clId="{6ECD27E6-B224-41CD-B4E0-E297462320DD}" dt="2023-11-23T19:54:59.599" v="4082"/>
          <ac:spMkLst>
            <pc:docMk/>
            <pc:sldMk cId="1226083679" sldId="2147478575"/>
            <ac:spMk id="35" creationId="{3B407742-D5C4-3570-6163-7E369DC990CF}"/>
          </ac:spMkLst>
        </pc:spChg>
        <pc:spChg chg="add del mod">
          <ac:chgData name="Steiner Andreas 6206 ED" userId="e6377c33-a923-4f14-8587-531c474c7b48" providerId="ADAL" clId="{6ECD27E6-B224-41CD-B4E0-E297462320DD}" dt="2023-11-23T19:55:11.346" v="4237"/>
          <ac:spMkLst>
            <pc:docMk/>
            <pc:sldMk cId="1226083679" sldId="2147478575"/>
            <ac:spMk id="36" creationId="{EB44E82D-8D41-1242-3A11-75581EEFDC3C}"/>
          </ac:spMkLst>
        </pc:spChg>
        <pc:spChg chg="add del mod">
          <ac:chgData name="Steiner Andreas 6206 ED" userId="e6377c33-a923-4f14-8587-531c474c7b48" providerId="ADAL" clId="{6ECD27E6-B224-41CD-B4E0-E297462320DD}" dt="2023-11-23T19:55:23.031" v="4392"/>
          <ac:spMkLst>
            <pc:docMk/>
            <pc:sldMk cId="1226083679" sldId="2147478575"/>
            <ac:spMk id="37" creationId="{82AA6267-4526-90EF-C8DB-EA08DD2F385B}"/>
          </ac:spMkLst>
        </pc:spChg>
        <pc:spChg chg="add del mod">
          <ac:chgData name="Steiner Andreas 6206 ED" userId="e6377c33-a923-4f14-8587-531c474c7b48" providerId="ADAL" clId="{6ECD27E6-B224-41CD-B4E0-E297462320DD}" dt="2023-11-23T19:55:34.668" v="4547"/>
          <ac:spMkLst>
            <pc:docMk/>
            <pc:sldMk cId="1226083679" sldId="2147478575"/>
            <ac:spMk id="38" creationId="{AEABCCDC-AC37-2B3C-1958-9129BC354A0F}"/>
          </ac:spMkLst>
        </pc:spChg>
        <pc:spChg chg="add del mod">
          <ac:chgData name="Steiner Andreas 6206 ED" userId="e6377c33-a923-4f14-8587-531c474c7b48" providerId="ADAL" clId="{6ECD27E6-B224-41CD-B4E0-E297462320DD}" dt="2023-11-23T19:55:46.099" v="4702"/>
          <ac:spMkLst>
            <pc:docMk/>
            <pc:sldMk cId="1226083679" sldId="2147478575"/>
            <ac:spMk id="39" creationId="{13B7218F-6442-7953-A1EE-8A4CAF2D285A}"/>
          </ac:spMkLst>
        </pc:spChg>
        <pc:spChg chg="add del mod">
          <ac:chgData name="Steiner Andreas 6206 ED" userId="e6377c33-a923-4f14-8587-531c474c7b48" providerId="ADAL" clId="{6ECD27E6-B224-41CD-B4E0-E297462320DD}" dt="2023-11-23T19:55:57.669" v="4857"/>
          <ac:spMkLst>
            <pc:docMk/>
            <pc:sldMk cId="1226083679" sldId="2147478575"/>
            <ac:spMk id="40" creationId="{735F2187-A39E-3156-3A77-7FC2E72AF9D1}"/>
          </ac:spMkLst>
        </pc:spChg>
        <pc:spChg chg="add del mod">
          <ac:chgData name="Steiner Andreas 6206 ED" userId="e6377c33-a923-4f14-8587-531c474c7b48" providerId="ADAL" clId="{6ECD27E6-B224-41CD-B4E0-E297462320DD}" dt="2023-11-23T19:56:09.343" v="5012"/>
          <ac:spMkLst>
            <pc:docMk/>
            <pc:sldMk cId="1226083679" sldId="2147478575"/>
            <ac:spMk id="41" creationId="{8D2D6BA1-9626-DB4C-1AE5-8766D8C70AEC}"/>
          </ac:spMkLst>
        </pc:spChg>
        <pc:spChg chg="add del mod">
          <ac:chgData name="Steiner Andreas 6206 ED" userId="e6377c33-a923-4f14-8587-531c474c7b48" providerId="ADAL" clId="{6ECD27E6-B224-41CD-B4E0-E297462320DD}" dt="2023-11-23T19:56:21.039" v="5167"/>
          <ac:spMkLst>
            <pc:docMk/>
            <pc:sldMk cId="1226083679" sldId="2147478575"/>
            <ac:spMk id="42" creationId="{58B0D4B0-87C0-C09A-99C3-FF48283E31DB}"/>
          </ac:spMkLst>
        </pc:spChg>
        <pc:spChg chg="add del mod">
          <ac:chgData name="Steiner Andreas 6206 ED" userId="e6377c33-a923-4f14-8587-531c474c7b48" providerId="ADAL" clId="{6ECD27E6-B224-41CD-B4E0-E297462320DD}" dt="2023-11-23T19:56:32.732" v="5322"/>
          <ac:spMkLst>
            <pc:docMk/>
            <pc:sldMk cId="1226083679" sldId="2147478575"/>
            <ac:spMk id="43" creationId="{31837DCD-DBEA-CA77-B64A-8CA43489B9E0}"/>
          </ac:spMkLst>
        </pc:spChg>
        <pc:spChg chg="add del mod">
          <ac:chgData name="Steiner Andreas 6206 ED" userId="e6377c33-a923-4f14-8587-531c474c7b48" providerId="ADAL" clId="{6ECD27E6-B224-41CD-B4E0-E297462320DD}" dt="2023-11-23T19:56:44.174" v="5477"/>
          <ac:spMkLst>
            <pc:docMk/>
            <pc:sldMk cId="1226083679" sldId="2147478575"/>
            <ac:spMk id="44" creationId="{DAEDA301-05B2-353D-3FF1-02568CAA1411}"/>
          </ac:spMkLst>
        </pc:spChg>
        <pc:spChg chg="add del mod">
          <ac:chgData name="Steiner Andreas 6206 ED" userId="e6377c33-a923-4f14-8587-531c474c7b48" providerId="ADAL" clId="{6ECD27E6-B224-41CD-B4E0-E297462320DD}" dt="2023-11-23T19:56:54.456" v="5632"/>
          <ac:spMkLst>
            <pc:docMk/>
            <pc:sldMk cId="1226083679" sldId="2147478575"/>
            <ac:spMk id="45" creationId="{2A484DFA-7470-DB04-9CF7-FE8490152C25}"/>
          </ac:spMkLst>
        </pc:spChg>
        <pc:spChg chg="add del mod">
          <ac:chgData name="Steiner Andreas 6206 ED" userId="e6377c33-a923-4f14-8587-531c474c7b48" providerId="ADAL" clId="{6ECD27E6-B224-41CD-B4E0-E297462320DD}" dt="2023-11-23T19:57:05.919" v="5787"/>
          <ac:spMkLst>
            <pc:docMk/>
            <pc:sldMk cId="1226083679" sldId="2147478575"/>
            <ac:spMk id="46" creationId="{00AD016D-6E8A-19B0-8596-BAD93FA67296}"/>
          </ac:spMkLst>
        </pc:spChg>
        <pc:spChg chg="add del mod">
          <ac:chgData name="Steiner Andreas 6206 ED" userId="e6377c33-a923-4f14-8587-531c474c7b48" providerId="ADAL" clId="{6ECD27E6-B224-41CD-B4E0-E297462320DD}" dt="2023-11-23T19:57:17.576" v="5942"/>
          <ac:spMkLst>
            <pc:docMk/>
            <pc:sldMk cId="1226083679" sldId="2147478575"/>
            <ac:spMk id="47" creationId="{B8040B55-0D09-1B45-8644-DA308D49AB6A}"/>
          </ac:spMkLst>
        </pc:spChg>
        <pc:spChg chg="add del mod">
          <ac:chgData name="Steiner Andreas 6206 ED" userId="e6377c33-a923-4f14-8587-531c474c7b48" providerId="ADAL" clId="{6ECD27E6-B224-41CD-B4E0-E297462320DD}" dt="2023-11-23T19:57:29.135" v="6097"/>
          <ac:spMkLst>
            <pc:docMk/>
            <pc:sldMk cId="1226083679" sldId="2147478575"/>
            <ac:spMk id="48" creationId="{FCF20C8E-86EC-CBE2-60DF-F6685EB7A59E}"/>
          </ac:spMkLst>
        </pc:spChg>
        <pc:spChg chg="add del mod">
          <ac:chgData name="Steiner Andreas 6206 ED" userId="e6377c33-a923-4f14-8587-531c474c7b48" providerId="ADAL" clId="{6ECD27E6-B224-41CD-B4E0-E297462320DD}" dt="2023-11-23T19:57:40.694" v="6252"/>
          <ac:spMkLst>
            <pc:docMk/>
            <pc:sldMk cId="1226083679" sldId="2147478575"/>
            <ac:spMk id="49" creationId="{96CC51AA-0F3C-CB12-FE38-01A7D0ACE204}"/>
          </ac:spMkLst>
        </pc:spChg>
        <pc:spChg chg="add del mod">
          <ac:chgData name="Steiner Andreas 6206 ED" userId="e6377c33-a923-4f14-8587-531c474c7b48" providerId="ADAL" clId="{6ECD27E6-B224-41CD-B4E0-E297462320DD}" dt="2023-11-23T19:57:52.367" v="6407"/>
          <ac:spMkLst>
            <pc:docMk/>
            <pc:sldMk cId="1226083679" sldId="2147478575"/>
            <ac:spMk id="50" creationId="{ABDF4B83-D903-CE05-C667-ADAADC9EFEB5}"/>
          </ac:spMkLst>
        </pc:spChg>
        <pc:spChg chg="add del mod">
          <ac:chgData name="Steiner Andreas 6206 ED" userId="e6377c33-a923-4f14-8587-531c474c7b48" providerId="ADAL" clId="{6ECD27E6-B224-41CD-B4E0-E297462320DD}" dt="2023-11-23T19:58:04.051" v="6562"/>
          <ac:spMkLst>
            <pc:docMk/>
            <pc:sldMk cId="1226083679" sldId="2147478575"/>
            <ac:spMk id="51" creationId="{94151A61-D61C-0760-95D6-8524EA7AB733}"/>
          </ac:spMkLst>
        </pc:spChg>
        <pc:spChg chg="add del mod">
          <ac:chgData name="Steiner Andreas 6206 ED" userId="e6377c33-a923-4f14-8587-531c474c7b48" providerId="ADAL" clId="{6ECD27E6-B224-41CD-B4E0-E297462320DD}" dt="2023-11-23T19:58:15.520" v="6717"/>
          <ac:spMkLst>
            <pc:docMk/>
            <pc:sldMk cId="1226083679" sldId="2147478575"/>
            <ac:spMk id="52" creationId="{BBF79F0E-BD86-BBF6-E335-72D49B4D8A0C}"/>
          </ac:spMkLst>
        </pc:spChg>
        <pc:spChg chg="add del mod">
          <ac:chgData name="Steiner Andreas 6206 ED" userId="e6377c33-a923-4f14-8587-531c474c7b48" providerId="ADAL" clId="{6ECD27E6-B224-41CD-B4E0-E297462320DD}" dt="2023-11-23T19:58:27.588" v="6872"/>
          <ac:spMkLst>
            <pc:docMk/>
            <pc:sldMk cId="1226083679" sldId="2147478575"/>
            <ac:spMk id="53" creationId="{8296ABD6-82F5-9C4E-C362-F448B21D208C}"/>
          </ac:spMkLst>
        </pc:spChg>
        <pc:spChg chg="add del mod">
          <ac:chgData name="Steiner Andreas 6206 ED" userId="e6377c33-a923-4f14-8587-531c474c7b48" providerId="ADAL" clId="{6ECD27E6-B224-41CD-B4E0-E297462320DD}" dt="2023-11-23T19:58:39.290" v="7027"/>
          <ac:spMkLst>
            <pc:docMk/>
            <pc:sldMk cId="1226083679" sldId="2147478575"/>
            <ac:spMk id="54" creationId="{2B0EBABA-7961-D7F1-F5C1-976E2416B47A}"/>
          </ac:spMkLst>
        </pc:spChg>
        <pc:spChg chg="add del mod">
          <ac:chgData name="Steiner Andreas 6206 ED" userId="e6377c33-a923-4f14-8587-531c474c7b48" providerId="ADAL" clId="{6ECD27E6-B224-41CD-B4E0-E297462320DD}" dt="2023-11-23T19:58:51.011" v="7182"/>
          <ac:spMkLst>
            <pc:docMk/>
            <pc:sldMk cId="1226083679" sldId="2147478575"/>
            <ac:spMk id="55" creationId="{048859BD-1F0C-0219-63DF-AC7410AC3BAE}"/>
          </ac:spMkLst>
        </pc:spChg>
        <pc:spChg chg="add del mod">
          <ac:chgData name="Steiner Andreas 6206 ED" userId="e6377c33-a923-4f14-8587-531c474c7b48" providerId="ADAL" clId="{6ECD27E6-B224-41CD-B4E0-E297462320DD}" dt="2023-11-23T19:59:02.462" v="7337"/>
          <ac:spMkLst>
            <pc:docMk/>
            <pc:sldMk cId="1226083679" sldId="2147478575"/>
            <ac:spMk id="56" creationId="{F5785A0D-9278-5814-9FE5-A516182717BB}"/>
          </ac:spMkLst>
        </pc:spChg>
        <pc:spChg chg="add del mod">
          <ac:chgData name="Steiner Andreas 6206 ED" userId="e6377c33-a923-4f14-8587-531c474c7b48" providerId="ADAL" clId="{6ECD27E6-B224-41CD-B4E0-E297462320DD}" dt="2023-11-24T08:31:41.157" v="7492"/>
          <ac:spMkLst>
            <pc:docMk/>
            <pc:sldMk cId="1226083679" sldId="2147478575"/>
            <ac:spMk id="57" creationId="{9DBFAA86-5E17-F8AB-35E4-3AC292A1E06E}"/>
          </ac:spMkLst>
        </pc:spChg>
        <pc:spChg chg="add del mod">
          <ac:chgData name="Steiner Andreas 6206 ED" userId="e6377c33-a923-4f14-8587-531c474c7b48" providerId="ADAL" clId="{6ECD27E6-B224-41CD-B4E0-E297462320DD}" dt="2023-11-24T08:31:45.018" v="7647"/>
          <ac:spMkLst>
            <pc:docMk/>
            <pc:sldMk cId="1226083679" sldId="2147478575"/>
            <ac:spMk id="58" creationId="{5BF9F7F9-CDC9-18AE-2743-9805CDC166EC}"/>
          </ac:spMkLst>
        </pc:spChg>
        <pc:spChg chg="add del mod">
          <ac:chgData name="Steiner Andreas 6206 ED" userId="e6377c33-a923-4f14-8587-531c474c7b48" providerId="ADAL" clId="{6ECD27E6-B224-41CD-B4E0-E297462320DD}" dt="2023-11-24T08:31:46.857" v="7802"/>
          <ac:spMkLst>
            <pc:docMk/>
            <pc:sldMk cId="1226083679" sldId="2147478575"/>
            <ac:spMk id="59" creationId="{D3FF6466-D0AA-4111-618E-47CC1A480757}"/>
          </ac:spMkLst>
        </pc:spChg>
        <pc:spChg chg="add del mod">
          <ac:chgData name="Steiner Andreas 6206 ED" userId="e6377c33-a923-4f14-8587-531c474c7b48" providerId="ADAL" clId="{6ECD27E6-B224-41CD-B4E0-E297462320DD}" dt="2023-11-24T08:31:48.692" v="7957"/>
          <ac:spMkLst>
            <pc:docMk/>
            <pc:sldMk cId="1226083679" sldId="2147478575"/>
            <ac:spMk id="60" creationId="{DC5B9B55-B8AF-21A9-B94E-35F5F21C8E44}"/>
          </ac:spMkLst>
        </pc:spChg>
        <pc:spChg chg="add del mod">
          <ac:chgData name="Steiner Andreas 6206 ED" userId="e6377c33-a923-4f14-8587-531c474c7b48" providerId="ADAL" clId="{6ECD27E6-B224-41CD-B4E0-E297462320DD}" dt="2023-11-24T08:31:50.582" v="8112"/>
          <ac:spMkLst>
            <pc:docMk/>
            <pc:sldMk cId="1226083679" sldId="2147478575"/>
            <ac:spMk id="61" creationId="{CD473069-758C-6B06-1480-896AF5935ACF}"/>
          </ac:spMkLst>
        </pc:spChg>
        <pc:spChg chg="add del mod">
          <ac:chgData name="Steiner Andreas 6206 ED" userId="e6377c33-a923-4f14-8587-531c474c7b48" providerId="ADAL" clId="{6ECD27E6-B224-41CD-B4E0-E297462320DD}" dt="2023-11-24T08:31:52.356" v="8267"/>
          <ac:spMkLst>
            <pc:docMk/>
            <pc:sldMk cId="1226083679" sldId="2147478575"/>
            <ac:spMk id="62" creationId="{18E2BAA1-DD8D-398D-DFA2-B3060662FBCF}"/>
          </ac:spMkLst>
        </pc:spChg>
        <pc:spChg chg="add del mod">
          <ac:chgData name="Steiner Andreas 6206 ED" userId="e6377c33-a923-4f14-8587-531c474c7b48" providerId="ADAL" clId="{6ECD27E6-B224-41CD-B4E0-E297462320DD}" dt="2023-11-24T08:31:54.189" v="8422"/>
          <ac:spMkLst>
            <pc:docMk/>
            <pc:sldMk cId="1226083679" sldId="2147478575"/>
            <ac:spMk id="63" creationId="{916A6755-CCA1-5075-FE14-B554E718796A}"/>
          </ac:spMkLst>
        </pc:spChg>
        <pc:spChg chg="add del mod">
          <ac:chgData name="Steiner Andreas 6206 ED" userId="e6377c33-a923-4f14-8587-531c474c7b48" providerId="ADAL" clId="{6ECD27E6-B224-41CD-B4E0-E297462320DD}" dt="2023-11-24T08:31:56.028" v="8577"/>
          <ac:spMkLst>
            <pc:docMk/>
            <pc:sldMk cId="1226083679" sldId="2147478575"/>
            <ac:spMk id="64" creationId="{DED65A80-0D2F-30BF-F175-8EB4062804DA}"/>
          </ac:spMkLst>
        </pc:spChg>
        <pc:spChg chg="add del mod">
          <ac:chgData name="Steiner Andreas 6206 ED" userId="e6377c33-a923-4f14-8587-531c474c7b48" providerId="ADAL" clId="{6ECD27E6-B224-41CD-B4E0-E297462320DD}" dt="2023-11-24T08:31:57.867" v="8732"/>
          <ac:spMkLst>
            <pc:docMk/>
            <pc:sldMk cId="1226083679" sldId="2147478575"/>
            <ac:spMk id="65" creationId="{AAFC90DE-0493-4B28-115C-0F788391915F}"/>
          </ac:spMkLst>
        </pc:spChg>
        <pc:spChg chg="add del mod">
          <ac:chgData name="Steiner Andreas 6206 ED" userId="e6377c33-a923-4f14-8587-531c474c7b48" providerId="ADAL" clId="{6ECD27E6-B224-41CD-B4E0-E297462320DD}" dt="2023-11-24T08:32:00.387" v="8887"/>
          <ac:spMkLst>
            <pc:docMk/>
            <pc:sldMk cId="1226083679" sldId="2147478575"/>
            <ac:spMk id="66" creationId="{3149B1DD-88B2-525F-6731-893D0AA2A1AD}"/>
          </ac:spMkLst>
        </pc:spChg>
        <pc:spChg chg="add del mod">
          <ac:chgData name="Steiner Andreas 6206 ED" userId="e6377c33-a923-4f14-8587-531c474c7b48" providerId="ADAL" clId="{6ECD27E6-B224-41CD-B4E0-E297462320DD}" dt="2023-11-24T08:32:02.842" v="9042"/>
          <ac:spMkLst>
            <pc:docMk/>
            <pc:sldMk cId="1226083679" sldId="2147478575"/>
            <ac:spMk id="67" creationId="{8D698D4B-20E3-9D3E-16B6-6020D5D5F6B5}"/>
          </ac:spMkLst>
        </pc:spChg>
        <pc:spChg chg="add del mod">
          <ac:chgData name="Steiner Andreas 6206 ED" userId="e6377c33-a923-4f14-8587-531c474c7b48" providerId="ADAL" clId="{6ECD27E6-B224-41CD-B4E0-E297462320DD}" dt="2023-11-24T08:32:04.943" v="9197"/>
          <ac:spMkLst>
            <pc:docMk/>
            <pc:sldMk cId="1226083679" sldId="2147478575"/>
            <ac:spMk id="68" creationId="{F6FB3984-9DC5-6A76-8166-3BD88F06DE70}"/>
          </ac:spMkLst>
        </pc:spChg>
        <pc:spChg chg="add del mod">
          <ac:chgData name="Steiner Andreas 6206 ED" userId="e6377c33-a923-4f14-8587-531c474c7b48" providerId="ADAL" clId="{6ECD27E6-B224-41CD-B4E0-E297462320DD}" dt="2023-11-24T08:32:06.843" v="9352"/>
          <ac:spMkLst>
            <pc:docMk/>
            <pc:sldMk cId="1226083679" sldId="2147478575"/>
            <ac:spMk id="69" creationId="{2FA9B9A0-E6C4-9191-469A-B5748E1C8609}"/>
          </ac:spMkLst>
        </pc:spChg>
        <pc:spChg chg="add del mod">
          <ac:chgData name="Steiner Andreas 6206 ED" userId="e6377c33-a923-4f14-8587-531c474c7b48" providerId="ADAL" clId="{6ECD27E6-B224-41CD-B4E0-E297462320DD}" dt="2023-11-24T08:32:09.163" v="9507"/>
          <ac:spMkLst>
            <pc:docMk/>
            <pc:sldMk cId="1226083679" sldId="2147478575"/>
            <ac:spMk id="70" creationId="{C0D42C4E-C8A5-7517-D999-6F61B277F305}"/>
          </ac:spMkLst>
        </pc:spChg>
        <pc:spChg chg="add del mod">
          <ac:chgData name="Steiner Andreas 6206 ED" userId="e6377c33-a923-4f14-8587-531c474c7b48" providerId="ADAL" clId="{6ECD27E6-B224-41CD-B4E0-E297462320DD}" dt="2023-11-24T08:32:11.411" v="9662"/>
          <ac:spMkLst>
            <pc:docMk/>
            <pc:sldMk cId="1226083679" sldId="2147478575"/>
            <ac:spMk id="71" creationId="{88CB88CC-4787-9919-CE4D-D637B8F1254A}"/>
          </ac:spMkLst>
        </pc:spChg>
        <pc:spChg chg="add del mod">
          <ac:chgData name="Steiner Andreas 6206 ED" userId="e6377c33-a923-4f14-8587-531c474c7b48" providerId="ADAL" clId="{6ECD27E6-B224-41CD-B4E0-E297462320DD}" dt="2023-11-24T08:32:13.706" v="9817"/>
          <ac:spMkLst>
            <pc:docMk/>
            <pc:sldMk cId="1226083679" sldId="2147478575"/>
            <ac:spMk id="72" creationId="{38309FEC-5A12-CBF7-AF74-2F140511C2FA}"/>
          </ac:spMkLst>
        </pc:spChg>
        <pc:spChg chg="add del mod">
          <ac:chgData name="Steiner Andreas 6206 ED" userId="e6377c33-a923-4f14-8587-531c474c7b48" providerId="ADAL" clId="{6ECD27E6-B224-41CD-B4E0-E297462320DD}" dt="2023-11-24T08:32:15.580" v="9972"/>
          <ac:spMkLst>
            <pc:docMk/>
            <pc:sldMk cId="1226083679" sldId="2147478575"/>
            <ac:spMk id="73" creationId="{4F0C5106-F7C0-B5D1-5C7D-253655EDC626}"/>
          </ac:spMkLst>
        </pc:spChg>
        <pc:spChg chg="add del mod">
          <ac:chgData name="Steiner Andreas 6206 ED" userId="e6377c33-a923-4f14-8587-531c474c7b48" providerId="ADAL" clId="{6ECD27E6-B224-41CD-B4E0-E297462320DD}" dt="2023-11-24T08:32:17.647" v="10127"/>
          <ac:spMkLst>
            <pc:docMk/>
            <pc:sldMk cId="1226083679" sldId="2147478575"/>
            <ac:spMk id="74" creationId="{50990C96-AE4B-3ACA-B924-A2F37E8E33C6}"/>
          </ac:spMkLst>
        </pc:spChg>
        <pc:spChg chg="add del mod">
          <ac:chgData name="Steiner Andreas 6206 ED" userId="e6377c33-a923-4f14-8587-531c474c7b48" providerId="ADAL" clId="{6ECD27E6-B224-41CD-B4E0-E297462320DD}" dt="2023-11-24T08:32:19.605" v="10282"/>
          <ac:spMkLst>
            <pc:docMk/>
            <pc:sldMk cId="1226083679" sldId="2147478575"/>
            <ac:spMk id="75" creationId="{B281B3BD-D77D-1F31-C2EC-1F861C4D72B7}"/>
          </ac:spMkLst>
        </pc:spChg>
        <pc:spChg chg="add del mod">
          <ac:chgData name="Steiner Andreas 6206 ED" userId="e6377c33-a923-4f14-8587-531c474c7b48" providerId="ADAL" clId="{6ECD27E6-B224-41CD-B4E0-E297462320DD}" dt="2023-11-24T08:32:21.558" v="10437"/>
          <ac:spMkLst>
            <pc:docMk/>
            <pc:sldMk cId="1226083679" sldId="2147478575"/>
            <ac:spMk id="76" creationId="{922BFC7A-D789-E977-55DC-A1C4FBD469BF}"/>
          </ac:spMkLst>
        </pc:spChg>
        <pc:spChg chg="add del mod">
          <ac:chgData name="Steiner Andreas 6206 ED" userId="e6377c33-a923-4f14-8587-531c474c7b48" providerId="ADAL" clId="{6ECD27E6-B224-41CD-B4E0-E297462320DD}" dt="2023-11-24T08:32:23.627" v="10592"/>
          <ac:spMkLst>
            <pc:docMk/>
            <pc:sldMk cId="1226083679" sldId="2147478575"/>
            <ac:spMk id="77" creationId="{57FA75DD-A186-0245-1AE6-600B182DC183}"/>
          </ac:spMkLst>
        </pc:spChg>
        <pc:spChg chg="add del mod">
          <ac:chgData name="Steiner Andreas 6206 ED" userId="e6377c33-a923-4f14-8587-531c474c7b48" providerId="ADAL" clId="{6ECD27E6-B224-41CD-B4E0-E297462320DD}" dt="2023-11-24T08:32:25.688" v="10747"/>
          <ac:spMkLst>
            <pc:docMk/>
            <pc:sldMk cId="1226083679" sldId="2147478575"/>
            <ac:spMk id="78" creationId="{44C4A6CB-9C88-B6FB-BB41-E15E5E522C9D}"/>
          </ac:spMkLst>
        </pc:spChg>
        <pc:spChg chg="add del mod">
          <ac:chgData name="Steiner Andreas 6206 ED" userId="e6377c33-a923-4f14-8587-531c474c7b48" providerId="ADAL" clId="{6ECD27E6-B224-41CD-B4E0-E297462320DD}" dt="2023-11-24T08:32:27.663" v="10902"/>
          <ac:spMkLst>
            <pc:docMk/>
            <pc:sldMk cId="1226083679" sldId="2147478575"/>
            <ac:spMk id="79" creationId="{145D8CB2-B652-946B-4C89-72E49461DC6D}"/>
          </ac:spMkLst>
        </pc:spChg>
        <pc:spChg chg="add del mod">
          <ac:chgData name="Steiner Andreas 6206 ED" userId="e6377c33-a923-4f14-8587-531c474c7b48" providerId="ADAL" clId="{6ECD27E6-B224-41CD-B4E0-E297462320DD}" dt="2023-11-24T08:32:29.609" v="11057"/>
          <ac:spMkLst>
            <pc:docMk/>
            <pc:sldMk cId="1226083679" sldId="2147478575"/>
            <ac:spMk id="80" creationId="{135061AC-5041-8319-478C-451235817BFE}"/>
          </ac:spMkLst>
        </pc:spChg>
        <pc:spChg chg="add del mod">
          <ac:chgData name="Steiner Andreas 6206 ED" userId="e6377c33-a923-4f14-8587-531c474c7b48" providerId="ADAL" clId="{6ECD27E6-B224-41CD-B4E0-E297462320DD}" dt="2023-11-24T08:32:31.544" v="11212"/>
          <ac:spMkLst>
            <pc:docMk/>
            <pc:sldMk cId="1226083679" sldId="2147478575"/>
            <ac:spMk id="81" creationId="{8DE18EBC-CEC9-87A7-C89D-B4D1BA5DD7CB}"/>
          </ac:spMkLst>
        </pc:spChg>
        <pc:spChg chg="add del mod">
          <ac:chgData name="Steiner Andreas 6206 ED" userId="e6377c33-a923-4f14-8587-531c474c7b48" providerId="ADAL" clId="{6ECD27E6-B224-41CD-B4E0-E297462320DD}" dt="2023-11-24T08:32:33.885" v="11367"/>
          <ac:spMkLst>
            <pc:docMk/>
            <pc:sldMk cId="1226083679" sldId="2147478575"/>
            <ac:spMk id="82" creationId="{75841326-8C8E-9421-6D9C-743A91425395}"/>
          </ac:spMkLst>
        </pc:spChg>
        <pc:spChg chg="add del mod">
          <ac:chgData name="Steiner Andreas 6206 ED" userId="e6377c33-a923-4f14-8587-531c474c7b48" providerId="ADAL" clId="{6ECD27E6-B224-41CD-B4E0-E297462320DD}" dt="2023-11-24T08:32:36.378" v="11522"/>
          <ac:spMkLst>
            <pc:docMk/>
            <pc:sldMk cId="1226083679" sldId="2147478575"/>
            <ac:spMk id="83" creationId="{2BFCECE9-C383-D18A-AA75-01EF4D655505}"/>
          </ac:spMkLst>
        </pc:spChg>
        <pc:spChg chg="add del mod">
          <ac:chgData name="Steiner Andreas 6206 ED" userId="e6377c33-a923-4f14-8587-531c474c7b48" providerId="ADAL" clId="{6ECD27E6-B224-41CD-B4E0-E297462320DD}" dt="2023-11-24T08:32:38.321" v="11677"/>
          <ac:spMkLst>
            <pc:docMk/>
            <pc:sldMk cId="1226083679" sldId="2147478575"/>
            <ac:spMk id="84" creationId="{BFAA5348-CB1D-BEB4-9702-7B0D3F8E8F77}"/>
          </ac:spMkLst>
        </pc:spChg>
        <pc:spChg chg="add del mod">
          <ac:chgData name="Steiner Andreas 6206 ED" userId="e6377c33-a923-4f14-8587-531c474c7b48" providerId="ADAL" clId="{6ECD27E6-B224-41CD-B4E0-E297462320DD}" dt="2023-11-24T08:32:40.391" v="11832"/>
          <ac:spMkLst>
            <pc:docMk/>
            <pc:sldMk cId="1226083679" sldId="2147478575"/>
            <ac:spMk id="85" creationId="{C760E0C0-F241-B1B8-E7B2-0761282659E5}"/>
          </ac:spMkLst>
        </pc:spChg>
        <pc:spChg chg="add del mod">
          <ac:chgData name="Steiner Andreas 6206 ED" userId="e6377c33-a923-4f14-8587-531c474c7b48" providerId="ADAL" clId="{6ECD27E6-B224-41CD-B4E0-E297462320DD}" dt="2023-11-24T08:32:42.601" v="11987"/>
          <ac:spMkLst>
            <pc:docMk/>
            <pc:sldMk cId="1226083679" sldId="2147478575"/>
            <ac:spMk id="86" creationId="{4302BCDD-7A5E-B215-6CB0-D0AE23AD7E87}"/>
          </ac:spMkLst>
        </pc:spChg>
        <pc:spChg chg="add del mod">
          <ac:chgData name="Steiner Andreas 6206 ED" userId="e6377c33-a923-4f14-8587-531c474c7b48" providerId="ADAL" clId="{6ECD27E6-B224-41CD-B4E0-E297462320DD}" dt="2023-11-24T08:32:44.719" v="12142"/>
          <ac:spMkLst>
            <pc:docMk/>
            <pc:sldMk cId="1226083679" sldId="2147478575"/>
            <ac:spMk id="87" creationId="{00F356CB-541B-5951-25C3-7E43CD3F4513}"/>
          </ac:spMkLst>
        </pc:spChg>
        <pc:spChg chg="add del mod">
          <ac:chgData name="Steiner Andreas 6206 ED" userId="e6377c33-a923-4f14-8587-531c474c7b48" providerId="ADAL" clId="{6ECD27E6-B224-41CD-B4E0-E297462320DD}" dt="2023-11-24T08:32:46.832" v="12297"/>
          <ac:spMkLst>
            <pc:docMk/>
            <pc:sldMk cId="1226083679" sldId="2147478575"/>
            <ac:spMk id="88" creationId="{30F6BC50-52B8-6D91-36CB-12996A37EA70}"/>
          </ac:spMkLst>
        </pc:spChg>
        <pc:spChg chg="add del mod">
          <ac:chgData name="Steiner Andreas 6206 ED" userId="e6377c33-a923-4f14-8587-531c474c7b48" providerId="ADAL" clId="{6ECD27E6-B224-41CD-B4E0-E297462320DD}" dt="2023-11-24T08:32:48.992" v="12452"/>
          <ac:spMkLst>
            <pc:docMk/>
            <pc:sldMk cId="1226083679" sldId="2147478575"/>
            <ac:spMk id="89" creationId="{0A6585AC-6AED-D3DF-AE2B-719316DC40E0}"/>
          </ac:spMkLst>
        </pc:spChg>
        <pc:spChg chg="add del mod">
          <ac:chgData name="Steiner Andreas 6206 ED" userId="e6377c33-a923-4f14-8587-531c474c7b48" providerId="ADAL" clId="{6ECD27E6-B224-41CD-B4E0-E297462320DD}" dt="2023-11-24T08:32:50.952" v="12607"/>
          <ac:spMkLst>
            <pc:docMk/>
            <pc:sldMk cId="1226083679" sldId="2147478575"/>
            <ac:spMk id="90" creationId="{9B4DF265-A5F2-9E6D-7175-E1B54826CBFA}"/>
          </ac:spMkLst>
        </pc:spChg>
        <pc:spChg chg="add del mod">
          <ac:chgData name="Steiner Andreas 6206 ED" userId="e6377c33-a923-4f14-8587-531c474c7b48" providerId="ADAL" clId="{6ECD27E6-B224-41CD-B4E0-E297462320DD}" dt="2023-11-24T08:32:52.955" v="12762"/>
          <ac:spMkLst>
            <pc:docMk/>
            <pc:sldMk cId="1226083679" sldId="2147478575"/>
            <ac:spMk id="91" creationId="{B3363CF1-7AE4-2C1C-08B2-9D748BBDEF61}"/>
          </ac:spMkLst>
        </pc:spChg>
        <pc:spChg chg="add del mod">
          <ac:chgData name="Steiner Andreas 6206 ED" userId="e6377c33-a923-4f14-8587-531c474c7b48" providerId="ADAL" clId="{6ECD27E6-B224-41CD-B4E0-E297462320DD}" dt="2023-11-24T08:32:54.936" v="12917"/>
          <ac:spMkLst>
            <pc:docMk/>
            <pc:sldMk cId="1226083679" sldId="2147478575"/>
            <ac:spMk id="92" creationId="{98CBFBC9-7D34-93BD-9744-87EB46C28DBC}"/>
          </ac:spMkLst>
        </pc:spChg>
        <pc:spChg chg="add del mod">
          <ac:chgData name="Steiner Andreas 6206 ED" userId="e6377c33-a923-4f14-8587-531c474c7b48" providerId="ADAL" clId="{6ECD27E6-B224-41CD-B4E0-E297462320DD}" dt="2023-11-24T08:32:56.879" v="13072"/>
          <ac:spMkLst>
            <pc:docMk/>
            <pc:sldMk cId="1226083679" sldId="2147478575"/>
            <ac:spMk id="93" creationId="{414A1389-31FE-0704-14F1-DB7484A0C48B}"/>
          </ac:spMkLst>
        </pc:spChg>
        <pc:spChg chg="add del mod">
          <ac:chgData name="Steiner Andreas 6206 ED" userId="e6377c33-a923-4f14-8587-531c474c7b48" providerId="ADAL" clId="{6ECD27E6-B224-41CD-B4E0-E297462320DD}" dt="2023-11-24T08:32:58.946" v="13227"/>
          <ac:spMkLst>
            <pc:docMk/>
            <pc:sldMk cId="1226083679" sldId="2147478575"/>
            <ac:spMk id="94" creationId="{3E18AD40-7065-9384-9FD8-F5CA085160D2}"/>
          </ac:spMkLst>
        </pc:spChg>
        <pc:spChg chg="add del mod">
          <ac:chgData name="Steiner Andreas 6206 ED" userId="e6377c33-a923-4f14-8587-531c474c7b48" providerId="ADAL" clId="{6ECD27E6-B224-41CD-B4E0-E297462320DD}" dt="2023-11-24T08:33:01.040" v="13382"/>
          <ac:spMkLst>
            <pc:docMk/>
            <pc:sldMk cId="1226083679" sldId="2147478575"/>
            <ac:spMk id="95" creationId="{07EFDA20-DE96-46EF-387E-D1729F955BC6}"/>
          </ac:spMkLst>
        </pc:spChg>
        <pc:spChg chg="add del mod">
          <ac:chgData name="Steiner Andreas 6206 ED" userId="e6377c33-a923-4f14-8587-531c474c7b48" providerId="ADAL" clId="{6ECD27E6-B224-41CD-B4E0-E297462320DD}" dt="2023-11-24T08:33:03.341" v="13537"/>
          <ac:spMkLst>
            <pc:docMk/>
            <pc:sldMk cId="1226083679" sldId="2147478575"/>
            <ac:spMk id="96" creationId="{B95702D9-6E42-061A-6280-4892359713DC}"/>
          </ac:spMkLst>
        </pc:spChg>
        <pc:spChg chg="add del mod">
          <ac:chgData name="Steiner Andreas 6206 ED" userId="e6377c33-a923-4f14-8587-531c474c7b48" providerId="ADAL" clId="{6ECD27E6-B224-41CD-B4E0-E297462320DD}" dt="2023-11-24T08:33:05.732" v="13692"/>
          <ac:spMkLst>
            <pc:docMk/>
            <pc:sldMk cId="1226083679" sldId="2147478575"/>
            <ac:spMk id="97" creationId="{FB51B12F-7CA8-0D49-F829-A708B57DE961}"/>
          </ac:spMkLst>
        </pc:spChg>
        <pc:spChg chg="add del mod">
          <ac:chgData name="Steiner Andreas 6206 ED" userId="e6377c33-a923-4f14-8587-531c474c7b48" providerId="ADAL" clId="{6ECD27E6-B224-41CD-B4E0-E297462320DD}" dt="2023-11-24T08:33:07.968" v="13847"/>
          <ac:spMkLst>
            <pc:docMk/>
            <pc:sldMk cId="1226083679" sldId="2147478575"/>
            <ac:spMk id="98" creationId="{A26DE71C-1FC9-07CE-D4C8-42A47C13DF88}"/>
          </ac:spMkLst>
        </pc:spChg>
        <pc:spChg chg="add del mod">
          <ac:chgData name="Steiner Andreas 6206 ED" userId="e6377c33-a923-4f14-8587-531c474c7b48" providerId="ADAL" clId="{6ECD27E6-B224-41CD-B4E0-E297462320DD}" dt="2023-11-24T08:33:10.419" v="14002"/>
          <ac:spMkLst>
            <pc:docMk/>
            <pc:sldMk cId="1226083679" sldId="2147478575"/>
            <ac:spMk id="99" creationId="{6D615FB1-9848-0825-4932-D3F7D86E97EE}"/>
          </ac:spMkLst>
        </pc:spChg>
        <pc:spChg chg="add del mod">
          <ac:chgData name="Steiner Andreas 6206 ED" userId="e6377c33-a923-4f14-8587-531c474c7b48" providerId="ADAL" clId="{6ECD27E6-B224-41CD-B4E0-E297462320DD}" dt="2023-11-24T08:33:12.429" v="14157"/>
          <ac:spMkLst>
            <pc:docMk/>
            <pc:sldMk cId="1226083679" sldId="2147478575"/>
            <ac:spMk id="100" creationId="{61425E53-21D7-918B-2A0E-DF4DEB7C5ECB}"/>
          </ac:spMkLst>
        </pc:spChg>
        <pc:spChg chg="add del mod">
          <ac:chgData name="Steiner Andreas 6206 ED" userId="e6377c33-a923-4f14-8587-531c474c7b48" providerId="ADAL" clId="{6ECD27E6-B224-41CD-B4E0-E297462320DD}" dt="2023-11-24T08:33:14.336" v="14312"/>
          <ac:spMkLst>
            <pc:docMk/>
            <pc:sldMk cId="1226083679" sldId="2147478575"/>
            <ac:spMk id="101" creationId="{60EE5D18-6B4C-6B7F-5CA2-620DF503517F}"/>
          </ac:spMkLst>
        </pc:spChg>
        <pc:spChg chg="add del mod">
          <ac:chgData name="Steiner Andreas 6206 ED" userId="e6377c33-a923-4f14-8587-531c474c7b48" providerId="ADAL" clId="{6ECD27E6-B224-41CD-B4E0-E297462320DD}" dt="2023-11-24T08:33:16.321" v="14467"/>
          <ac:spMkLst>
            <pc:docMk/>
            <pc:sldMk cId="1226083679" sldId="2147478575"/>
            <ac:spMk id="102" creationId="{AA5A5769-19FA-0648-FA5C-B81021600A53}"/>
          </ac:spMkLst>
        </pc:spChg>
        <pc:spChg chg="add del mod">
          <ac:chgData name="Steiner Andreas 6206 ED" userId="e6377c33-a923-4f14-8587-531c474c7b48" providerId="ADAL" clId="{6ECD27E6-B224-41CD-B4E0-E297462320DD}" dt="2023-11-24T08:33:18.559" v="14622"/>
          <ac:spMkLst>
            <pc:docMk/>
            <pc:sldMk cId="1226083679" sldId="2147478575"/>
            <ac:spMk id="103" creationId="{F0471114-531D-B753-CB73-98BF2ED39170}"/>
          </ac:spMkLst>
        </pc:spChg>
        <pc:spChg chg="add del mod">
          <ac:chgData name="Steiner Andreas 6206 ED" userId="e6377c33-a923-4f14-8587-531c474c7b48" providerId="ADAL" clId="{6ECD27E6-B224-41CD-B4E0-E297462320DD}" dt="2023-11-24T08:33:20.769" v="14777"/>
          <ac:spMkLst>
            <pc:docMk/>
            <pc:sldMk cId="1226083679" sldId="2147478575"/>
            <ac:spMk id="104" creationId="{F6C92B5A-79A0-4A6B-FAA5-FD80AD5B2E5A}"/>
          </ac:spMkLst>
        </pc:spChg>
        <pc:spChg chg="add del mod">
          <ac:chgData name="Steiner Andreas 6206 ED" userId="e6377c33-a923-4f14-8587-531c474c7b48" providerId="ADAL" clId="{6ECD27E6-B224-41CD-B4E0-E297462320DD}" dt="2023-11-24T08:33:23.273" v="14932"/>
          <ac:spMkLst>
            <pc:docMk/>
            <pc:sldMk cId="1226083679" sldId="2147478575"/>
            <ac:spMk id="105" creationId="{484C67FD-B143-1312-3DEF-C2FF935DF2D8}"/>
          </ac:spMkLst>
        </pc:spChg>
        <pc:spChg chg="add del mod">
          <ac:chgData name="Steiner Andreas 6206 ED" userId="e6377c33-a923-4f14-8587-531c474c7b48" providerId="ADAL" clId="{6ECD27E6-B224-41CD-B4E0-E297462320DD}" dt="2023-11-24T08:33:25.697" v="15087"/>
          <ac:spMkLst>
            <pc:docMk/>
            <pc:sldMk cId="1226083679" sldId="2147478575"/>
            <ac:spMk id="106" creationId="{95EB53B2-0EBD-507B-2156-26FD2836C1C7}"/>
          </ac:spMkLst>
        </pc:spChg>
        <pc:spChg chg="add del mod">
          <ac:chgData name="Steiner Andreas 6206 ED" userId="e6377c33-a923-4f14-8587-531c474c7b48" providerId="ADAL" clId="{6ECD27E6-B224-41CD-B4E0-E297462320DD}" dt="2023-11-24T08:33:27.890" v="15242"/>
          <ac:spMkLst>
            <pc:docMk/>
            <pc:sldMk cId="1226083679" sldId="2147478575"/>
            <ac:spMk id="107" creationId="{A41E5831-4321-D884-7424-737F9DF28592}"/>
          </ac:spMkLst>
        </pc:spChg>
        <pc:spChg chg="add del mod">
          <ac:chgData name="Steiner Andreas 6206 ED" userId="e6377c33-a923-4f14-8587-531c474c7b48" providerId="ADAL" clId="{6ECD27E6-B224-41CD-B4E0-E297462320DD}" dt="2023-11-24T08:33:30.392" v="15397"/>
          <ac:spMkLst>
            <pc:docMk/>
            <pc:sldMk cId="1226083679" sldId="2147478575"/>
            <ac:spMk id="108" creationId="{E47E9920-FD14-1CEF-5FDD-48B50A6A5B9E}"/>
          </ac:spMkLst>
        </pc:spChg>
        <pc:spChg chg="add del mod">
          <ac:chgData name="Steiner Andreas 6206 ED" userId="e6377c33-a923-4f14-8587-531c474c7b48" providerId="ADAL" clId="{6ECD27E6-B224-41CD-B4E0-E297462320DD}" dt="2023-11-24T08:33:33.088" v="15552"/>
          <ac:spMkLst>
            <pc:docMk/>
            <pc:sldMk cId="1226083679" sldId="2147478575"/>
            <ac:spMk id="109" creationId="{F6E949E1-367A-C72D-BBBE-92CBD427743D}"/>
          </ac:spMkLst>
        </pc:spChg>
        <pc:spChg chg="add del mod">
          <ac:chgData name="Steiner Andreas 6206 ED" userId="e6377c33-a923-4f14-8587-531c474c7b48" providerId="ADAL" clId="{6ECD27E6-B224-41CD-B4E0-E297462320DD}" dt="2023-11-24T08:33:35.565" v="15707"/>
          <ac:spMkLst>
            <pc:docMk/>
            <pc:sldMk cId="1226083679" sldId="2147478575"/>
            <ac:spMk id="110" creationId="{41626730-7E5E-0C1A-305F-214322C7AC67}"/>
          </ac:spMkLst>
        </pc:spChg>
        <pc:spChg chg="add del mod">
          <ac:chgData name="Steiner Andreas 6206 ED" userId="e6377c33-a923-4f14-8587-531c474c7b48" providerId="ADAL" clId="{6ECD27E6-B224-41CD-B4E0-E297462320DD}" dt="2023-11-24T08:33:37.733" v="15862"/>
          <ac:spMkLst>
            <pc:docMk/>
            <pc:sldMk cId="1226083679" sldId="2147478575"/>
            <ac:spMk id="111" creationId="{E6754DDD-D66B-8823-D67C-800EDFB83DCA}"/>
          </ac:spMkLst>
        </pc:spChg>
        <pc:spChg chg="add del mod">
          <ac:chgData name="Steiner Andreas 6206 ED" userId="e6377c33-a923-4f14-8587-531c474c7b48" providerId="ADAL" clId="{6ECD27E6-B224-41CD-B4E0-E297462320DD}" dt="2023-11-24T08:33:40.011" v="16017"/>
          <ac:spMkLst>
            <pc:docMk/>
            <pc:sldMk cId="1226083679" sldId="2147478575"/>
            <ac:spMk id="112" creationId="{D71C2CC6-D9A7-570C-9E06-D32F87FBDD28}"/>
          </ac:spMkLst>
        </pc:spChg>
        <pc:spChg chg="add del mod">
          <ac:chgData name="Steiner Andreas 6206 ED" userId="e6377c33-a923-4f14-8587-531c474c7b48" providerId="ADAL" clId="{6ECD27E6-B224-41CD-B4E0-E297462320DD}" dt="2023-11-24T08:33:42.484" v="16172"/>
          <ac:spMkLst>
            <pc:docMk/>
            <pc:sldMk cId="1226083679" sldId="2147478575"/>
            <ac:spMk id="113" creationId="{9C22245E-7545-7D40-5C90-518C45185920}"/>
          </ac:spMkLst>
        </pc:spChg>
        <pc:spChg chg="add del mod">
          <ac:chgData name="Steiner Andreas 6206 ED" userId="e6377c33-a923-4f14-8587-531c474c7b48" providerId="ADAL" clId="{6ECD27E6-B224-41CD-B4E0-E297462320DD}" dt="2023-11-24T08:33:45.202" v="16327"/>
          <ac:spMkLst>
            <pc:docMk/>
            <pc:sldMk cId="1226083679" sldId="2147478575"/>
            <ac:spMk id="114" creationId="{60F839DA-4352-DF7B-E99F-8D48D36888CF}"/>
          </ac:spMkLst>
        </pc:spChg>
        <pc:spChg chg="add del mod">
          <ac:chgData name="Steiner Andreas 6206 ED" userId="e6377c33-a923-4f14-8587-531c474c7b48" providerId="ADAL" clId="{6ECD27E6-B224-41CD-B4E0-E297462320DD}" dt="2023-11-24T08:33:47.391" v="16482"/>
          <ac:spMkLst>
            <pc:docMk/>
            <pc:sldMk cId="1226083679" sldId="2147478575"/>
            <ac:spMk id="115" creationId="{9F07BB80-7F3E-EBC7-657F-AEA14FD3F3C8}"/>
          </ac:spMkLst>
        </pc:spChg>
        <pc:spChg chg="add del mod">
          <ac:chgData name="Steiner Andreas 6206 ED" userId="e6377c33-a923-4f14-8587-531c474c7b48" providerId="ADAL" clId="{6ECD27E6-B224-41CD-B4E0-E297462320DD}" dt="2023-11-24T08:33:49.983" v="16637"/>
          <ac:spMkLst>
            <pc:docMk/>
            <pc:sldMk cId="1226083679" sldId="2147478575"/>
            <ac:spMk id="116" creationId="{8E8D4055-65E3-F490-BA18-1B4B147DD530}"/>
          </ac:spMkLst>
        </pc:spChg>
        <pc:spChg chg="add del mod">
          <ac:chgData name="Steiner Andreas 6206 ED" userId="e6377c33-a923-4f14-8587-531c474c7b48" providerId="ADAL" clId="{6ECD27E6-B224-41CD-B4E0-E297462320DD}" dt="2023-11-24T08:33:52.550" v="16792"/>
          <ac:spMkLst>
            <pc:docMk/>
            <pc:sldMk cId="1226083679" sldId="2147478575"/>
            <ac:spMk id="117" creationId="{1E12DFE8-FB8F-523F-9070-917764B491FC}"/>
          </ac:spMkLst>
        </pc:spChg>
        <pc:spChg chg="add del mod">
          <ac:chgData name="Steiner Andreas 6206 ED" userId="e6377c33-a923-4f14-8587-531c474c7b48" providerId="ADAL" clId="{6ECD27E6-B224-41CD-B4E0-E297462320DD}" dt="2023-11-24T08:33:54.708" v="16947"/>
          <ac:spMkLst>
            <pc:docMk/>
            <pc:sldMk cId="1226083679" sldId="2147478575"/>
            <ac:spMk id="118" creationId="{B58BACE9-0C85-7E30-36AA-7213247FECF3}"/>
          </ac:spMkLst>
        </pc:spChg>
        <pc:spChg chg="add del mod">
          <ac:chgData name="Steiner Andreas 6206 ED" userId="e6377c33-a923-4f14-8587-531c474c7b48" providerId="ADAL" clId="{6ECD27E6-B224-41CD-B4E0-E297462320DD}" dt="2023-11-24T08:33:57.027" v="17102"/>
          <ac:spMkLst>
            <pc:docMk/>
            <pc:sldMk cId="1226083679" sldId="2147478575"/>
            <ac:spMk id="119" creationId="{5217CCC1-1223-F207-8C79-5DB5652AED9A}"/>
          </ac:spMkLst>
        </pc:spChg>
        <pc:spChg chg="add del mod">
          <ac:chgData name="Steiner Andreas 6206 ED" userId="e6377c33-a923-4f14-8587-531c474c7b48" providerId="ADAL" clId="{6ECD27E6-B224-41CD-B4E0-E297462320DD}" dt="2023-11-24T08:33:59.523" v="17257"/>
          <ac:spMkLst>
            <pc:docMk/>
            <pc:sldMk cId="1226083679" sldId="2147478575"/>
            <ac:spMk id="120" creationId="{52670350-8F06-A0F0-E93C-F68C13D80B3C}"/>
          </ac:spMkLst>
        </pc:spChg>
        <pc:spChg chg="add del mod">
          <ac:chgData name="Steiner Andreas 6206 ED" userId="e6377c33-a923-4f14-8587-531c474c7b48" providerId="ADAL" clId="{6ECD27E6-B224-41CD-B4E0-E297462320DD}" dt="2023-11-24T08:34:01.488" v="17412"/>
          <ac:spMkLst>
            <pc:docMk/>
            <pc:sldMk cId="1226083679" sldId="2147478575"/>
            <ac:spMk id="121" creationId="{F304C819-3031-F275-DF24-645AF5046B0E}"/>
          </ac:spMkLst>
        </pc:spChg>
        <pc:spChg chg="add del mod">
          <ac:chgData name="Steiner Andreas 6206 ED" userId="e6377c33-a923-4f14-8587-531c474c7b48" providerId="ADAL" clId="{6ECD27E6-B224-41CD-B4E0-E297462320DD}" dt="2023-11-24T08:34:03.872" v="17567"/>
          <ac:spMkLst>
            <pc:docMk/>
            <pc:sldMk cId="1226083679" sldId="2147478575"/>
            <ac:spMk id="122" creationId="{7367ADC6-284E-6911-33C9-6AB499D23327}"/>
          </ac:spMkLst>
        </pc:spChg>
        <pc:spChg chg="add del mod">
          <ac:chgData name="Steiner Andreas 6206 ED" userId="e6377c33-a923-4f14-8587-531c474c7b48" providerId="ADAL" clId="{6ECD27E6-B224-41CD-B4E0-E297462320DD}" dt="2023-11-24T08:34:05.813" v="17722"/>
          <ac:spMkLst>
            <pc:docMk/>
            <pc:sldMk cId="1226083679" sldId="2147478575"/>
            <ac:spMk id="123" creationId="{318E5BA5-3AD3-DC5A-E361-93C7A829D8B0}"/>
          </ac:spMkLst>
        </pc:spChg>
        <pc:spChg chg="add del mod">
          <ac:chgData name="Steiner Andreas 6206 ED" userId="e6377c33-a923-4f14-8587-531c474c7b48" providerId="ADAL" clId="{6ECD27E6-B224-41CD-B4E0-E297462320DD}" dt="2023-11-24T08:34:07.901" v="17877"/>
          <ac:spMkLst>
            <pc:docMk/>
            <pc:sldMk cId="1226083679" sldId="2147478575"/>
            <ac:spMk id="124" creationId="{5FDD122C-DBBE-1169-665F-48C9E83206BA}"/>
          </ac:spMkLst>
        </pc:spChg>
        <pc:spChg chg="add del mod">
          <ac:chgData name="Steiner Andreas 6206 ED" userId="e6377c33-a923-4f14-8587-531c474c7b48" providerId="ADAL" clId="{6ECD27E6-B224-41CD-B4E0-E297462320DD}" dt="2023-11-24T08:34:09.856" v="18032"/>
          <ac:spMkLst>
            <pc:docMk/>
            <pc:sldMk cId="1226083679" sldId="2147478575"/>
            <ac:spMk id="125" creationId="{885D04D4-7646-965B-1174-3BACC3A5700C}"/>
          </ac:spMkLst>
        </pc:spChg>
        <pc:spChg chg="add del mod">
          <ac:chgData name="Steiner Andreas 6206 ED" userId="e6377c33-a923-4f14-8587-531c474c7b48" providerId="ADAL" clId="{6ECD27E6-B224-41CD-B4E0-E297462320DD}" dt="2023-11-24T08:34:11.905" v="18187"/>
          <ac:spMkLst>
            <pc:docMk/>
            <pc:sldMk cId="1226083679" sldId="2147478575"/>
            <ac:spMk id="126" creationId="{0B986C75-6DB6-DE05-2523-A84AEE3249A8}"/>
          </ac:spMkLst>
        </pc:spChg>
        <pc:spChg chg="add del mod">
          <ac:chgData name="Steiner Andreas 6206 ED" userId="e6377c33-a923-4f14-8587-531c474c7b48" providerId="ADAL" clId="{6ECD27E6-B224-41CD-B4E0-E297462320DD}" dt="2023-11-24T08:34:14.172" v="18342"/>
          <ac:spMkLst>
            <pc:docMk/>
            <pc:sldMk cId="1226083679" sldId="2147478575"/>
            <ac:spMk id="127" creationId="{55949911-9F95-DE3C-F27C-A05D55D10626}"/>
          </ac:spMkLst>
        </pc:spChg>
        <pc:spChg chg="add del mod">
          <ac:chgData name="Steiner Andreas 6206 ED" userId="e6377c33-a923-4f14-8587-531c474c7b48" providerId="ADAL" clId="{6ECD27E6-B224-41CD-B4E0-E297462320DD}" dt="2023-11-24T08:34:16.292" v="18497"/>
          <ac:spMkLst>
            <pc:docMk/>
            <pc:sldMk cId="1226083679" sldId="2147478575"/>
            <ac:spMk id="128" creationId="{9DF9F951-2E8F-FE1B-3081-F06A898BC51A}"/>
          </ac:spMkLst>
        </pc:spChg>
        <pc:spChg chg="add del mod">
          <ac:chgData name="Steiner Andreas 6206 ED" userId="e6377c33-a923-4f14-8587-531c474c7b48" providerId="ADAL" clId="{6ECD27E6-B224-41CD-B4E0-E297462320DD}" dt="2023-11-24T08:34:18.418" v="18652"/>
          <ac:spMkLst>
            <pc:docMk/>
            <pc:sldMk cId="1226083679" sldId="2147478575"/>
            <ac:spMk id="129" creationId="{CB127D46-B366-89E5-A392-E81F4D265E63}"/>
          </ac:spMkLst>
        </pc:spChg>
        <pc:spChg chg="add del mod">
          <ac:chgData name="Steiner Andreas 6206 ED" userId="e6377c33-a923-4f14-8587-531c474c7b48" providerId="ADAL" clId="{6ECD27E6-B224-41CD-B4E0-E297462320DD}" dt="2023-11-24T08:34:20.604" v="18807"/>
          <ac:spMkLst>
            <pc:docMk/>
            <pc:sldMk cId="1226083679" sldId="2147478575"/>
            <ac:spMk id="130" creationId="{0D2FE13E-F03B-CDBC-1EFA-74B836AF0CBF}"/>
          </ac:spMkLst>
        </pc:spChg>
        <pc:spChg chg="add del mod">
          <ac:chgData name="Steiner Andreas 6206 ED" userId="e6377c33-a923-4f14-8587-531c474c7b48" providerId="ADAL" clId="{6ECD27E6-B224-41CD-B4E0-E297462320DD}" dt="2023-11-24T08:34:22.555" v="18962"/>
          <ac:spMkLst>
            <pc:docMk/>
            <pc:sldMk cId="1226083679" sldId="2147478575"/>
            <ac:spMk id="131" creationId="{A1FF5A5A-18A7-6306-0611-0B9163633976}"/>
          </ac:spMkLst>
        </pc:spChg>
        <pc:spChg chg="add del mod">
          <ac:chgData name="Steiner Andreas 6206 ED" userId="e6377c33-a923-4f14-8587-531c474c7b48" providerId="ADAL" clId="{6ECD27E6-B224-41CD-B4E0-E297462320DD}" dt="2023-11-24T08:34:25.794" v="19117"/>
          <ac:spMkLst>
            <pc:docMk/>
            <pc:sldMk cId="1226083679" sldId="2147478575"/>
            <ac:spMk id="132" creationId="{3E0DF324-41BA-D739-AADC-0DDBE5BCFA72}"/>
          </ac:spMkLst>
        </pc:spChg>
        <pc:spChg chg="add del mod">
          <ac:chgData name="Steiner Andreas 6206 ED" userId="e6377c33-a923-4f14-8587-531c474c7b48" providerId="ADAL" clId="{6ECD27E6-B224-41CD-B4E0-E297462320DD}" dt="2023-11-24T08:34:28.571" v="19272"/>
          <ac:spMkLst>
            <pc:docMk/>
            <pc:sldMk cId="1226083679" sldId="2147478575"/>
            <ac:spMk id="133" creationId="{0ACE84CA-83DE-1D88-FF5C-6F4C2260ADBF}"/>
          </ac:spMkLst>
        </pc:spChg>
        <pc:spChg chg="add del mod">
          <ac:chgData name="Steiner Andreas 6206 ED" userId="e6377c33-a923-4f14-8587-531c474c7b48" providerId="ADAL" clId="{6ECD27E6-B224-41CD-B4E0-E297462320DD}" dt="2023-11-24T08:34:31.224" v="19427"/>
          <ac:spMkLst>
            <pc:docMk/>
            <pc:sldMk cId="1226083679" sldId="2147478575"/>
            <ac:spMk id="134" creationId="{7A0E99B8-8851-FA11-AD7C-CD65444A27EA}"/>
          </ac:spMkLst>
        </pc:spChg>
        <pc:spChg chg="add del mod">
          <ac:chgData name="Steiner Andreas 6206 ED" userId="e6377c33-a923-4f14-8587-531c474c7b48" providerId="ADAL" clId="{6ECD27E6-B224-41CD-B4E0-E297462320DD}" dt="2023-11-24T08:34:33.423" v="19582"/>
          <ac:spMkLst>
            <pc:docMk/>
            <pc:sldMk cId="1226083679" sldId="2147478575"/>
            <ac:spMk id="135" creationId="{488D8B9D-AE35-FE2A-6CB7-8326FFCFEC5D}"/>
          </ac:spMkLst>
        </pc:spChg>
        <pc:spChg chg="add del mod">
          <ac:chgData name="Steiner Andreas 6206 ED" userId="e6377c33-a923-4f14-8587-531c474c7b48" providerId="ADAL" clId="{6ECD27E6-B224-41CD-B4E0-E297462320DD}" dt="2023-11-24T08:34:35.637" v="19737"/>
          <ac:spMkLst>
            <pc:docMk/>
            <pc:sldMk cId="1226083679" sldId="2147478575"/>
            <ac:spMk id="136" creationId="{DAB274AB-C9AA-08E1-DB8D-1721E962BEBC}"/>
          </ac:spMkLst>
        </pc:spChg>
        <pc:spChg chg="add del mod">
          <ac:chgData name="Steiner Andreas 6206 ED" userId="e6377c33-a923-4f14-8587-531c474c7b48" providerId="ADAL" clId="{6ECD27E6-B224-41CD-B4E0-E297462320DD}" dt="2023-11-24T08:34:37.919" v="19892"/>
          <ac:spMkLst>
            <pc:docMk/>
            <pc:sldMk cId="1226083679" sldId="2147478575"/>
            <ac:spMk id="137" creationId="{B68089D4-2047-DCC4-DDCC-0F47B6EAD9E3}"/>
          </ac:spMkLst>
        </pc:spChg>
        <pc:spChg chg="add del mod">
          <ac:chgData name="Steiner Andreas 6206 ED" userId="e6377c33-a923-4f14-8587-531c474c7b48" providerId="ADAL" clId="{6ECD27E6-B224-41CD-B4E0-E297462320DD}" dt="2023-11-24T08:34:40.213" v="20047"/>
          <ac:spMkLst>
            <pc:docMk/>
            <pc:sldMk cId="1226083679" sldId="2147478575"/>
            <ac:spMk id="138" creationId="{7F52F33D-EF97-7D12-2C79-137394F9B950}"/>
          </ac:spMkLst>
        </pc:spChg>
        <pc:spChg chg="add del mod">
          <ac:chgData name="Steiner Andreas 6206 ED" userId="e6377c33-a923-4f14-8587-531c474c7b48" providerId="ADAL" clId="{6ECD27E6-B224-41CD-B4E0-E297462320DD}" dt="2023-11-24T08:34:42.871" v="20202"/>
          <ac:spMkLst>
            <pc:docMk/>
            <pc:sldMk cId="1226083679" sldId="2147478575"/>
            <ac:spMk id="139" creationId="{A25CF3CF-8E9B-543F-0C3E-EFE54B631155}"/>
          </ac:spMkLst>
        </pc:spChg>
        <pc:spChg chg="add del mod">
          <ac:chgData name="Steiner Andreas 6206 ED" userId="e6377c33-a923-4f14-8587-531c474c7b48" providerId="ADAL" clId="{6ECD27E6-B224-41CD-B4E0-E297462320DD}" dt="2023-11-24T08:34:45.303" v="20357"/>
          <ac:spMkLst>
            <pc:docMk/>
            <pc:sldMk cId="1226083679" sldId="2147478575"/>
            <ac:spMk id="140" creationId="{D5B1A643-24F5-1BFB-742E-A46A106FA1D3}"/>
          </ac:spMkLst>
        </pc:spChg>
        <pc:spChg chg="add del mod">
          <ac:chgData name="Steiner Andreas 6206 ED" userId="e6377c33-a923-4f14-8587-531c474c7b48" providerId="ADAL" clId="{6ECD27E6-B224-41CD-B4E0-E297462320DD}" dt="2023-11-24T08:34:47.537" v="20512"/>
          <ac:spMkLst>
            <pc:docMk/>
            <pc:sldMk cId="1226083679" sldId="2147478575"/>
            <ac:spMk id="141" creationId="{E02E4D8B-97FC-28CC-17CD-EBA5CD66BFA4}"/>
          </ac:spMkLst>
        </pc:spChg>
        <pc:spChg chg="add del mod">
          <ac:chgData name="Steiner Andreas 6206 ED" userId="e6377c33-a923-4f14-8587-531c474c7b48" providerId="ADAL" clId="{6ECD27E6-B224-41CD-B4E0-E297462320DD}" dt="2023-11-24T08:34:49.837" v="20667"/>
          <ac:spMkLst>
            <pc:docMk/>
            <pc:sldMk cId="1226083679" sldId="2147478575"/>
            <ac:spMk id="142" creationId="{87B8EDEA-37AD-3AB3-12E6-2E98C473A678}"/>
          </ac:spMkLst>
        </pc:spChg>
        <pc:spChg chg="add del mod">
          <ac:chgData name="Steiner Andreas 6206 ED" userId="e6377c33-a923-4f14-8587-531c474c7b48" providerId="ADAL" clId="{6ECD27E6-B224-41CD-B4E0-E297462320DD}" dt="2023-11-24T08:34:52.460" v="20822"/>
          <ac:spMkLst>
            <pc:docMk/>
            <pc:sldMk cId="1226083679" sldId="2147478575"/>
            <ac:spMk id="143" creationId="{BEDF85BE-499B-F865-36A9-7D43220BE83C}"/>
          </ac:spMkLst>
        </pc:spChg>
        <pc:spChg chg="add del mod">
          <ac:chgData name="Steiner Andreas 6206 ED" userId="e6377c33-a923-4f14-8587-531c474c7b48" providerId="ADAL" clId="{6ECD27E6-B224-41CD-B4E0-E297462320DD}" dt="2023-11-24T08:34:54.987" v="20977"/>
          <ac:spMkLst>
            <pc:docMk/>
            <pc:sldMk cId="1226083679" sldId="2147478575"/>
            <ac:spMk id="144" creationId="{5F1E2C73-3833-20AA-AB9F-45B293060246}"/>
          </ac:spMkLst>
        </pc:spChg>
        <pc:spChg chg="add del mod">
          <ac:chgData name="Steiner Andreas 6206 ED" userId="e6377c33-a923-4f14-8587-531c474c7b48" providerId="ADAL" clId="{6ECD27E6-B224-41CD-B4E0-E297462320DD}" dt="2023-11-24T08:34:57.304" v="21132"/>
          <ac:spMkLst>
            <pc:docMk/>
            <pc:sldMk cId="1226083679" sldId="2147478575"/>
            <ac:spMk id="145" creationId="{9D317174-E1ED-BA73-5697-DC8F02DCA9B6}"/>
          </ac:spMkLst>
        </pc:spChg>
        <pc:spChg chg="add del mod">
          <ac:chgData name="Steiner Andreas 6206 ED" userId="e6377c33-a923-4f14-8587-531c474c7b48" providerId="ADAL" clId="{6ECD27E6-B224-41CD-B4E0-E297462320DD}" dt="2023-11-24T08:34:59.780" v="21287"/>
          <ac:spMkLst>
            <pc:docMk/>
            <pc:sldMk cId="1226083679" sldId="2147478575"/>
            <ac:spMk id="146" creationId="{9B304CF6-7564-5A05-5EDB-3C016922E382}"/>
          </ac:spMkLst>
        </pc:spChg>
        <pc:spChg chg="add del mod">
          <ac:chgData name="Steiner Andreas 6206 ED" userId="e6377c33-a923-4f14-8587-531c474c7b48" providerId="ADAL" clId="{6ECD27E6-B224-41CD-B4E0-E297462320DD}" dt="2023-11-24T08:35:02.384" v="21442"/>
          <ac:spMkLst>
            <pc:docMk/>
            <pc:sldMk cId="1226083679" sldId="2147478575"/>
            <ac:spMk id="147" creationId="{36FF3043-33FA-EF46-9980-705C7FDCA471}"/>
          </ac:spMkLst>
        </pc:spChg>
        <pc:spChg chg="add del mod">
          <ac:chgData name="Steiner Andreas 6206 ED" userId="e6377c33-a923-4f14-8587-531c474c7b48" providerId="ADAL" clId="{6ECD27E6-B224-41CD-B4E0-E297462320DD}" dt="2023-11-24T08:35:04.842" v="21597"/>
          <ac:spMkLst>
            <pc:docMk/>
            <pc:sldMk cId="1226083679" sldId="2147478575"/>
            <ac:spMk id="148" creationId="{8692EF36-77A0-1565-E5B0-760F0E8F8FA2}"/>
          </ac:spMkLst>
        </pc:spChg>
        <pc:spChg chg="add del mod">
          <ac:chgData name="Steiner Andreas 6206 ED" userId="e6377c33-a923-4f14-8587-531c474c7b48" providerId="ADAL" clId="{6ECD27E6-B224-41CD-B4E0-E297462320DD}" dt="2023-11-24T08:35:07.386" v="21752"/>
          <ac:spMkLst>
            <pc:docMk/>
            <pc:sldMk cId="1226083679" sldId="2147478575"/>
            <ac:spMk id="149" creationId="{72D9F9B2-B6D0-B4AA-5A92-79A7E0C1A6B4}"/>
          </ac:spMkLst>
        </pc:spChg>
        <pc:spChg chg="add del mod">
          <ac:chgData name="Steiner Andreas 6206 ED" userId="e6377c33-a923-4f14-8587-531c474c7b48" providerId="ADAL" clId="{6ECD27E6-B224-41CD-B4E0-E297462320DD}" dt="2023-11-24T08:35:10.010" v="21907"/>
          <ac:spMkLst>
            <pc:docMk/>
            <pc:sldMk cId="1226083679" sldId="2147478575"/>
            <ac:spMk id="150" creationId="{5225F917-8079-85EF-F012-043BC17D1050}"/>
          </ac:spMkLst>
        </pc:spChg>
        <pc:spChg chg="add del mod">
          <ac:chgData name="Steiner Andreas 6206 ED" userId="e6377c33-a923-4f14-8587-531c474c7b48" providerId="ADAL" clId="{6ECD27E6-B224-41CD-B4E0-E297462320DD}" dt="2023-11-24T08:35:12.445" v="22062"/>
          <ac:spMkLst>
            <pc:docMk/>
            <pc:sldMk cId="1226083679" sldId="2147478575"/>
            <ac:spMk id="151" creationId="{DE04F242-C1EE-9006-AD31-A192280E7B63}"/>
          </ac:spMkLst>
        </pc:spChg>
        <pc:spChg chg="add del mod">
          <ac:chgData name="Steiner Andreas 6206 ED" userId="e6377c33-a923-4f14-8587-531c474c7b48" providerId="ADAL" clId="{6ECD27E6-B224-41CD-B4E0-E297462320DD}" dt="2023-11-24T08:35:14.577" v="22217"/>
          <ac:spMkLst>
            <pc:docMk/>
            <pc:sldMk cId="1226083679" sldId="2147478575"/>
            <ac:spMk id="152" creationId="{2982ECE5-6309-A835-7969-5C64E83E1421}"/>
          </ac:spMkLst>
        </pc:spChg>
        <pc:spChg chg="add del mod">
          <ac:chgData name="Steiner Andreas 6206 ED" userId="e6377c33-a923-4f14-8587-531c474c7b48" providerId="ADAL" clId="{6ECD27E6-B224-41CD-B4E0-E297462320DD}" dt="2023-11-24T08:35:16.885" v="22372"/>
          <ac:spMkLst>
            <pc:docMk/>
            <pc:sldMk cId="1226083679" sldId="2147478575"/>
            <ac:spMk id="153" creationId="{A6C25756-CA46-0DA9-A0EB-5C76D32073E6}"/>
          </ac:spMkLst>
        </pc:spChg>
        <pc:spChg chg="add del mod">
          <ac:chgData name="Steiner Andreas 6206 ED" userId="e6377c33-a923-4f14-8587-531c474c7b48" providerId="ADAL" clId="{6ECD27E6-B224-41CD-B4E0-E297462320DD}" dt="2023-11-24T08:35:19.326" v="22527"/>
          <ac:spMkLst>
            <pc:docMk/>
            <pc:sldMk cId="1226083679" sldId="2147478575"/>
            <ac:spMk id="154" creationId="{321F0DD6-9B95-64E5-3379-0BC9577129DC}"/>
          </ac:spMkLst>
        </pc:spChg>
        <pc:spChg chg="add del mod">
          <ac:chgData name="Steiner Andreas 6206 ED" userId="e6377c33-a923-4f14-8587-531c474c7b48" providerId="ADAL" clId="{6ECD27E6-B224-41CD-B4E0-E297462320DD}" dt="2023-11-24T08:35:21.788" v="22682"/>
          <ac:spMkLst>
            <pc:docMk/>
            <pc:sldMk cId="1226083679" sldId="2147478575"/>
            <ac:spMk id="155" creationId="{BA2121F3-681A-1864-E0C8-208F2C955FBD}"/>
          </ac:spMkLst>
        </pc:spChg>
        <pc:spChg chg="add del mod">
          <ac:chgData name="Steiner Andreas 6206 ED" userId="e6377c33-a923-4f14-8587-531c474c7b48" providerId="ADAL" clId="{6ECD27E6-B224-41CD-B4E0-E297462320DD}" dt="2023-11-24T08:35:24.115" v="22837"/>
          <ac:spMkLst>
            <pc:docMk/>
            <pc:sldMk cId="1226083679" sldId="2147478575"/>
            <ac:spMk id="156" creationId="{651E47FD-B4E3-B348-2756-27988A307AA6}"/>
          </ac:spMkLst>
        </pc:spChg>
        <pc:spChg chg="add del mod">
          <ac:chgData name="Steiner Andreas 6206 ED" userId="e6377c33-a923-4f14-8587-531c474c7b48" providerId="ADAL" clId="{6ECD27E6-B224-41CD-B4E0-E297462320DD}" dt="2023-11-24T08:35:26.731" v="22992"/>
          <ac:spMkLst>
            <pc:docMk/>
            <pc:sldMk cId="1226083679" sldId="2147478575"/>
            <ac:spMk id="157" creationId="{4470644F-EA73-F427-0F8E-BBB9BDC687EC}"/>
          </ac:spMkLst>
        </pc:spChg>
        <pc:spChg chg="add del mod">
          <ac:chgData name="Steiner Andreas 6206 ED" userId="e6377c33-a923-4f14-8587-531c474c7b48" providerId="ADAL" clId="{6ECD27E6-B224-41CD-B4E0-E297462320DD}" dt="2023-11-24T08:35:29.311" v="23147"/>
          <ac:spMkLst>
            <pc:docMk/>
            <pc:sldMk cId="1226083679" sldId="2147478575"/>
            <ac:spMk id="158" creationId="{03A6537F-7351-C0B8-0432-DDD9356F42F0}"/>
          </ac:spMkLst>
        </pc:spChg>
        <pc:spChg chg="add del mod">
          <ac:chgData name="Steiner Andreas 6206 ED" userId="e6377c33-a923-4f14-8587-531c474c7b48" providerId="ADAL" clId="{6ECD27E6-B224-41CD-B4E0-E297462320DD}" dt="2023-11-24T08:35:31.797" v="23302"/>
          <ac:spMkLst>
            <pc:docMk/>
            <pc:sldMk cId="1226083679" sldId="2147478575"/>
            <ac:spMk id="159" creationId="{91C260F2-794A-0EC1-953E-0AF1B5DB595F}"/>
          </ac:spMkLst>
        </pc:spChg>
        <pc:spChg chg="add del mod">
          <ac:chgData name="Steiner Andreas 6206 ED" userId="e6377c33-a923-4f14-8587-531c474c7b48" providerId="ADAL" clId="{6ECD27E6-B224-41CD-B4E0-E297462320DD}" dt="2023-11-24T08:35:34.214" v="23457"/>
          <ac:spMkLst>
            <pc:docMk/>
            <pc:sldMk cId="1226083679" sldId="2147478575"/>
            <ac:spMk id="160" creationId="{E9E0F44E-AC4E-790D-2354-5A9F902922A8}"/>
          </ac:spMkLst>
        </pc:spChg>
        <pc:spChg chg="add del mod">
          <ac:chgData name="Steiner Andreas 6206 ED" userId="e6377c33-a923-4f14-8587-531c474c7b48" providerId="ADAL" clId="{6ECD27E6-B224-41CD-B4E0-E297462320DD}" dt="2023-11-24T08:35:36.534" v="23612"/>
          <ac:spMkLst>
            <pc:docMk/>
            <pc:sldMk cId="1226083679" sldId="2147478575"/>
            <ac:spMk id="161" creationId="{419A6698-6244-DA29-20B0-80F661120AB6}"/>
          </ac:spMkLst>
        </pc:spChg>
        <pc:spChg chg="add del mod">
          <ac:chgData name="Steiner Andreas 6206 ED" userId="e6377c33-a923-4f14-8587-531c474c7b48" providerId="ADAL" clId="{6ECD27E6-B224-41CD-B4E0-E297462320DD}" dt="2023-11-24T08:35:38.889" v="23767"/>
          <ac:spMkLst>
            <pc:docMk/>
            <pc:sldMk cId="1226083679" sldId="2147478575"/>
            <ac:spMk id="162" creationId="{1FE06FF8-8E07-FE9A-69AB-E2BB6573A95A}"/>
          </ac:spMkLst>
        </pc:spChg>
        <pc:spChg chg="add del mod">
          <ac:chgData name="Steiner Andreas 6206 ED" userId="e6377c33-a923-4f14-8587-531c474c7b48" providerId="ADAL" clId="{6ECD27E6-B224-41CD-B4E0-E297462320DD}" dt="2023-11-24T08:35:41.599" v="23922"/>
          <ac:spMkLst>
            <pc:docMk/>
            <pc:sldMk cId="1226083679" sldId="2147478575"/>
            <ac:spMk id="163" creationId="{78D5FA8C-0A55-FF4C-E87E-79E1E44C6755}"/>
          </ac:spMkLst>
        </pc:spChg>
        <pc:spChg chg="add del mod">
          <ac:chgData name="Steiner Andreas 6206 ED" userId="e6377c33-a923-4f14-8587-531c474c7b48" providerId="ADAL" clId="{6ECD27E6-B224-41CD-B4E0-E297462320DD}" dt="2023-11-24T08:35:44.011" v="24077"/>
          <ac:spMkLst>
            <pc:docMk/>
            <pc:sldMk cId="1226083679" sldId="2147478575"/>
            <ac:spMk id="164" creationId="{3CE7E5B0-C841-3812-FC9D-153D87B62082}"/>
          </ac:spMkLst>
        </pc:spChg>
        <pc:spChg chg="add del mod">
          <ac:chgData name="Steiner Andreas 6206 ED" userId="e6377c33-a923-4f14-8587-531c474c7b48" providerId="ADAL" clId="{6ECD27E6-B224-41CD-B4E0-E297462320DD}" dt="2023-11-24T08:35:46.382" v="24232"/>
          <ac:spMkLst>
            <pc:docMk/>
            <pc:sldMk cId="1226083679" sldId="2147478575"/>
            <ac:spMk id="165" creationId="{45F85DFA-7AD4-2208-DB90-0970045F1DD6}"/>
          </ac:spMkLst>
        </pc:spChg>
        <pc:spChg chg="add del mod">
          <ac:chgData name="Steiner Andreas 6206 ED" userId="e6377c33-a923-4f14-8587-531c474c7b48" providerId="ADAL" clId="{6ECD27E6-B224-41CD-B4E0-E297462320DD}" dt="2023-11-24T08:35:48.573" v="24387"/>
          <ac:spMkLst>
            <pc:docMk/>
            <pc:sldMk cId="1226083679" sldId="2147478575"/>
            <ac:spMk id="166" creationId="{A84D4210-8EE9-17E6-E4B6-7020E2D4A38A}"/>
          </ac:spMkLst>
        </pc:spChg>
        <pc:spChg chg="add del mod">
          <ac:chgData name="Steiner Andreas 6206 ED" userId="e6377c33-a923-4f14-8587-531c474c7b48" providerId="ADAL" clId="{6ECD27E6-B224-41CD-B4E0-E297462320DD}" dt="2023-11-24T08:35:50.881" v="24542"/>
          <ac:spMkLst>
            <pc:docMk/>
            <pc:sldMk cId="1226083679" sldId="2147478575"/>
            <ac:spMk id="167" creationId="{7A67E916-567E-9882-6D13-473A859D6B10}"/>
          </ac:spMkLst>
        </pc:spChg>
        <pc:spChg chg="add del mod">
          <ac:chgData name="Steiner Andreas 6206 ED" userId="e6377c33-a923-4f14-8587-531c474c7b48" providerId="ADAL" clId="{6ECD27E6-B224-41CD-B4E0-E297462320DD}" dt="2023-11-24T08:35:53.732" v="24697"/>
          <ac:spMkLst>
            <pc:docMk/>
            <pc:sldMk cId="1226083679" sldId="2147478575"/>
            <ac:spMk id="168" creationId="{CF34E996-6848-E026-227B-F495373B5C8F}"/>
          </ac:spMkLst>
        </pc:spChg>
        <pc:spChg chg="add del mod">
          <ac:chgData name="Steiner Andreas 6206 ED" userId="e6377c33-a923-4f14-8587-531c474c7b48" providerId="ADAL" clId="{6ECD27E6-B224-41CD-B4E0-E297462320DD}" dt="2023-11-24T08:35:56.308" v="24852"/>
          <ac:spMkLst>
            <pc:docMk/>
            <pc:sldMk cId="1226083679" sldId="2147478575"/>
            <ac:spMk id="169" creationId="{2D6EBA98-6128-CA8C-65B7-7F316707E3A3}"/>
          </ac:spMkLst>
        </pc:spChg>
        <pc:spChg chg="add del mod">
          <ac:chgData name="Steiner Andreas 6206 ED" userId="e6377c33-a923-4f14-8587-531c474c7b48" providerId="ADAL" clId="{6ECD27E6-B224-41CD-B4E0-E297462320DD}" dt="2023-11-24T08:35:58.782" v="25007"/>
          <ac:spMkLst>
            <pc:docMk/>
            <pc:sldMk cId="1226083679" sldId="2147478575"/>
            <ac:spMk id="170" creationId="{00B2791E-752C-2BAF-FBE3-A568A021824A}"/>
          </ac:spMkLst>
        </pc:spChg>
        <pc:spChg chg="add del mod">
          <ac:chgData name="Steiner Andreas 6206 ED" userId="e6377c33-a923-4f14-8587-531c474c7b48" providerId="ADAL" clId="{6ECD27E6-B224-41CD-B4E0-E297462320DD}" dt="2023-11-24T08:36:01.238" v="25162"/>
          <ac:spMkLst>
            <pc:docMk/>
            <pc:sldMk cId="1226083679" sldId="2147478575"/>
            <ac:spMk id="171" creationId="{133969F5-1EE7-510F-F68A-DFCD1191E198}"/>
          </ac:spMkLst>
        </pc:spChg>
        <pc:spChg chg="add del mod">
          <ac:chgData name="Steiner Andreas 6206 ED" userId="e6377c33-a923-4f14-8587-531c474c7b48" providerId="ADAL" clId="{6ECD27E6-B224-41CD-B4E0-E297462320DD}" dt="2023-11-24T08:36:03.732" v="25317"/>
          <ac:spMkLst>
            <pc:docMk/>
            <pc:sldMk cId="1226083679" sldId="2147478575"/>
            <ac:spMk id="172" creationId="{F4BF0BE9-F48E-7F93-5357-BE4B7DD89A0A}"/>
          </ac:spMkLst>
        </pc:spChg>
        <pc:spChg chg="add del mod">
          <ac:chgData name="Steiner Andreas 6206 ED" userId="e6377c33-a923-4f14-8587-531c474c7b48" providerId="ADAL" clId="{6ECD27E6-B224-41CD-B4E0-E297462320DD}" dt="2023-11-24T08:36:06.393" v="25472"/>
          <ac:spMkLst>
            <pc:docMk/>
            <pc:sldMk cId="1226083679" sldId="2147478575"/>
            <ac:spMk id="173" creationId="{15295FBD-8AA3-EEFC-D8E5-4D8AF4C5E1AD}"/>
          </ac:spMkLst>
        </pc:spChg>
        <pc:spChg chg="add del mod">
          <ac:chgData name="Steiner Andreas 6206 ED" userId="e6377c33-a923-4f14-8587-531c474c7b48" providerId="ADAL" clId="{6ECD27E6-B224-41CD-B4E0-E297462320DD}" dt="2023-11-24T08:36:08.928" v="25627"/>
          <ac:spMkLst>
            <pc:docMk/>
            <pc:sldMk cId="1226083679" sldId="2147478575"/>
            <ac:spMk id="174" creationId="{6CA65677-0C6A-C873-0844-12BEFF3B44F8}"/>
          </ac:spMkLst>
        </pc:spChg>
        <pc:spChg chg="add del mod">
          <ac:chgData name="Steiner Andreas 6206 ED" userId="e6377c33-a923-4f14-8587-531c474c7b48" providerId="ADAL" clId="{6ECD27E6-B224-41CD-B4E0-E297462320DD}" dt="2023-11-24T08:36:11.374" v="25782"/>
          <ac:spMkLst>
            <pc:docMk/>
            <pc:sldMk cId="1226083679" sldId="2147478575"/>
            <ac:spMk id="175" creationId="{A84C4F15-7747-DB52-99BA-841EE1273A69}"/>
          </ac:spMkLst>
        </pc:spChg>
        <pc:spChg chg="add del mod">
          <ac:chgData name="Steiner Andreas 6206 ED" userId="e6377c33-a923-4f14-8587-531c474c7b48" providerId="ADAL" clId="{6ECD27E6-B224-41CD-B4E0-E297462320DD}" dt="2023-11-24T08:36:13.829" v="25937"/>
          <ac:spMkLst>
            <pc:docMk/>
            <pc:sldMk cId="1226083679" sldId="2147478575"/>
            <ac:spMk id="176" creationId="{EFC5769A-6EB3-A0C9-FAB5-ECE75DF01478}"/>
          </ac:spMkLst>
        </pc:spChg>
        <pc:spChg chg="add del mod">
          <ac:chgData name="Steiner Andreas 6206 ED" userId="e6377c33-a923-4f14-8587-531c474c7b48" providerId="ADAL" clId="{6ECD27E6-B224-41CD-B4E0-E297462320DD}" dt="2023-11-24T08:36:16.461" v="26092"/>
          <ac:spMkLst>
            <pc:docMk/>
            <pc:sldMk cId="1226083679" sldId="2147478575"/>
            <ac:spMk id="177" creationId="{A80FCAC4-EBE8-1B4A-4731-C71A55611D43}"/>
          </ac:spMkLst>
        </pc:spChg>
        <pc:spChg chg="add del mod">
          <ac:chgData name="Steiner Andreas 6206 ED" userId="e6377c33-a923-4f14-8587-531c474c7b48" providerId="ADAL" clId="{6ECD27E6-B224-41CD-B4E0-E297462320DD}" dt="2023-11-24T08:36:19.048" v="26247"/>
          <ac:spMkLst>
            <pc:docMk/>
            <pc:sldMk cId="1226083679" sldId="2147478575"/>
            <ac:spMk id="178" creationId="{495AC440-2C62-3717-7E3D-B8F99BA8DB8C}"/>
          </ac:spMkLst>
        </pc:spChg>
        <pc:spChg chg="add del mod">
          <ac:chgData name="Steiner Andreas 6206 ED" userId="e6377c33-a923-4f14-8587-531c474c7b48" providerId="ADAL" clId="{6ECD27E6-B224-41CD-B4E0-E297462320DD}" dt="2023-11-24T08:36:21.369" v="26402"/>
          <ac:spMkLst>
            <pc:docMk/>
            <pc:sldMk cId="1226083679" sldId="2147478575"/>
            <ac:spMk id="179" creationId="{20B5D582-AC5F-580F-41B5-9177539B49A1}"/>
          </ac:spMkLst>
        </pc:spChg>
        <pc:spChg chg="add del mod">
          <ac:chgData name="Steiner Andreas 6206 ED" userId="e6377c33-a923-4f14-8587-531c474c7b48" providerId="ADAL" clId="{6ECD27E6-B224-41CD-B4E0-E297462320DD}" dt="2023-11-24T08:36:23.794" v="26557"/>
          <ac:spMkLst>
            <pc:docMk/>
            <pc:sldMk cId="1226083679" sldId="2147478575"/>
            <ac:spMk id="180" creationId="{ED894E54-B2EC-F0BF-41B2-721A7D22C899}"/>
          </ac:spMkLst>
        </pc:spChg>
        <pc:spChg chg="add del mod">
          <ac:chgData name="Steiner Andreas 6206 ED" userId="e6377c33-a923-4f14-8587-531c474c7b48" providerId="ADAL" clId="{6ECD27E6-B224-41CD-B4E0-E297462320DD}" dt="2023-11-24T08:36:26.351" v="26712"/>
          <ac:spMkLst>
            <pc:docMk/>
            <pc:sldMk cId="1226083679" sldId="2147478575"/>
            <ac:spMk id="181" creationId="{87CCDAF4-07B6-162E-1478-E06348C74E20}"/>
          </ac:spMkLst>
        </pc:spChg>
        <pc:spChg chg="add del mod">
          <ac:chgData name="Steiner Andreas 6206 ED" userId="e6377c33-a923-4f14-8587-531c474c7b48" providerId="ADAL" clId="{6ECD27E6-B224-41CD-B4E0-E297462320DD}" dt="2023-11-24T08:36:29.115" v="26867"/>
          <ac:spMkLst>
            <pc:docMk/>
            <pc:sldMk cId="1226083679" sldId="2147478575"/>
            <ac:spMk id="182" creationId="{82493F32-9F4D-A9A9-8437-68CE3B9D9CA6}"/>
          </ac:spMkLst>
        </pc:spChg>
        <pc:spChg chg="add del mod">
          <ac:chgData name="Steiner Andreas 6206 ED" userId="e6377c33-a923-4f14-8587-531c474c7b48" providerId="ADAL" clId="{6ECD27E6-B224-41CD-B4E0-E297462320DD}" dt="2023-11-24T08:36:31.814" v="27022"/>
          <ac:spMkLst>
            <pc:docMk/>
            <pc:sldMk cId="1226083679" sldId="2147478575"/>
            <ac:spMk id="183" creationId="{920433FA-E8F3-350B-A8F2-2A32D228330C}"/>
          </ac:spMkLst>
        </pc:spChg>
        <pc:spChg chg="add del mod">
          <ac:chgData name="Steiner Andreas 6206 ED" userId="e6377c33-a923-4f14-8587-531c474c7b48" providerId="ADAL" clId="{6ECD27E6-B224-41CD-B4E0-E297462320DD}" dt="2023-11-24T08:36:34.502" v="27177"/>
          <ac:spMkLst>
            <pc:docMk/>
            <pc:sldMk cId="1226083679" sldId="2147478575"/>
            <ac:spMk id="184" creationId="{CABD5826-0721-6D35-E522-DCB75EB9F6A8}"/>
          </ac:spMkLst>
        </pc:spChg>
        <pc:spChg chg="add del mod">
          <ac:chgData name="Steiner Andreas 6206 ED" userId="e6377c33-a923-4f14-8587-531c474c7b48" providerId="ADAL" clId="{6ECD27E6-B224-41CD-B4E0-E297462320DD}" dt="2023-11-24T08:36:37.029" v="27332"/>
          <ac:spMkLst>
            <pc:docMk/>
            <pc:sldMk cId="1226083679" sldId="2147478575"/>
            <ac:spMk id="185" creationId="{024275EA-5767-A71D-A6D7-E6CB805144AD}"/>
          </ac:spMkLst>
        </pc:spChg>
        <pc:spChg chg="add del mod">
          <ac:chgData name="Steiner Andreas 6206 ED" userId="e6377c33-a923-4f14-8587-531c474c7b48" providerId="ADAL" clId="{6ECD27E6-B224-41CD-B4E0-E297462320DD}" dt="2023-11-24T08:36:39.549" v="27487"/>
          <ac:spMkLst>
            <pc:docMk/>
            <pc:sldMk cId="1226083679" sldId="2147478575"/>
            <ac:spMk id="186" creationId="{A126B845-54C9-925E-8DED-923496252FB9}"/>
          </ac:spMkLst>
        </pc:spChg>
        <pc:spChg chg="add del mod">
          <ac:chgData name="Steiner Andreas 6206 ED" userId="e6377c33-a923-4f14-8587-531c474c7b48" providerId="ADAL" clId="{6ECD27E6-B224-41CD-B4E0-E297462320DD}" dt="2023-11-24T08:36:42.373" v="27642"/>
          <ac:spMkLst>
            <pc:docMk/>
            <pc:sldMk cId="1226083679" sldId="2147478575"/>
            <ac:spMk id="187" creationId="{07F75141-397E-695F-881F-45341507B9DB}"/>
          </ac:spMkLst>
        </pc:spChg>
        <pc:spChg chg="add del mod">
          <ac:chgData name="Steiner Andreas 6206 ED" userId="e6377c33-a923-4f14-8587-531c474c7b48" providerId="ADAL" clId="{6ECD27E6-B224-41CD-B4E0-E297462320DD}" dt="2023-11-24T08:36:44.894" v="27797"/>
          <ac:spMkLst>
            <pc:docMk/>
            <pc:sldMk cId="1226083679" sldId="2147478575"/>
            <ac:spMk id="188" creationId="{28F15ABA-C318-2C88-D0E6-75E7EE37D484}"/>
          </ac:spMkLst>
        </pc:spChg>
        <pc:spChg chg="add del mod">
          <ac:chgData name="Steiner Andreas 6206 ED" userId="e6377c33-a923-4f14-8587-531c474c7b48" providerId="ADAL" clId="{6ECD27E6-B224-41CD-B4E0-E297462320DD}" dt="2023-11-24T08:36:47.248" v="27952"/>
          <ac:spMkLst>
            <pc:docMk/>
            <pc:sldMk cId="1226083679" sldId="2147478575"/>
            <ac:spMk id="189" creationId="{B3B51BC8-CD84-000D-A5A2-B7AE45676A77}"/>
          </ac:spMkLst>
        </pc:spChg>
        <pc:spChg chg="add del mod">
          <ac:chgData name="Steiner Andreas 6206 ED" userId="e6377c33-a923-4f14-8587-531c474c7b48" providerId="ADAL" clId="{6ECD27E6-B224-41CD-B4E0-E297462320DD}" dt="2023-11-24T08:36:49.702" v="28107"/>
          <ac:spMkLst>
            <pc:docMk/>
            <pc:sldMk cId="1226083679" sldId="2147478575"/>
            <ac:spMk id="190" creationId="{28F64A06-B8D6-3F9A-8148-E4A78263FDF2}"/>
          </ac:spMkLst>
        </pc:spChg>
        <pc:spChg chg="add del mod">
          <ac:chgData name="Steiner Andreas 6206 ED" userId="e6377c33-a923-4f14-8587-531c474c7b48" providerId="ADAL" clId="{6ECD27E6-B224-41CD-B4E0-E297462320DD}" dt="2023-11-24T08:36:52.594" v="28262"/>
          <ac:spMkLst>
            <pc:docMk/>
            <pc:sldMk cId="1226083679" sldId="2147478575"/>
            <ac:spMk id="191" creationId="{2F403FB7-4370-653D-8941-E71B00138058}"/>
          </ac:spMkLst>
        </pc:spChg>
        <pc:spChg chg="add del mod">
          <ac:chgData name="Steiner Andreas 6206 ED" userId="e6377c33-a923-4f14-8587-531c474c7b48" providerId="ADAL" clId="{6ECD27E6-B224-41CD-B4E0-E297462320DD}" dt="2023-11-24T08:36:55.807" v="28417"/>
          <ac:spMkLst>
            <pc:docMk/>
            <pc:sldMk cId="1226083679" sldId="2147478575"/>
            <ac:spMk id="192" creationId="{92D414E4-1814-ED70-EE95-34E49C6B08D2}"/>
          </ac:spMkLst>
        </pc:spChg>
        <pc:spChg chg="add del mod">
          <ac:chgData name="Steiner Andreas 6206 ED" userId="e6377c33-a923-4f14-8587-531c474c7b48" providerId="ADAL" clId="{6ECD27E6-B224-41CD-B4E0-E297462320DD}" dt="2023-11-24T08:36:58.561" v="28572"/>
          <ac:spMkLst>
            <pc:docMk/>
            <pc:sldMk cId="1226083679" sldId="2147478575"/>
            <ac:spMk id="193" creationId="{75D2A04A-8827-EC28-6DA8-CAB5E785C94B}"/>
          </ac:spMkLst>
        </pc:spChg>
        <pc:spChg chg="add del mod">
          <ac:chgData name="Steiner Andreas 6206 ED" userId="e6377c33-a923-4f14-8587-531c474c7b48" providerId="ADAL" clId="{6ECD27E6-B224-41CD-B4E0-E297462320DD}" dt="2023-11-24T08:37:01.410" v="28727"/>
          <ac:spMkLst>
            <pc:docMk/>
            <pc:sldMk cId="1226083679" sldId="2147478575"/>
            <ac:spMk id="194" creationId="{0C3039FE-8123-C876-1C93-DE0218428BF2}"/>
          </ac:spMkLst>
        </pc:spChg>
        <pc:spChg chg="add del mod">
          <ac:chgData name="Steiner Andreas 6206 ED" userId="e6377c33-a923-4f14-8587-531c474c7b48" providerId="ADAL" clId="{6ECD27E6-B224-41CD-B4E0-E297462320DD}" dt="2023-11-24T08:37:04.024" v="28882"/>
          <ac:spMkLst>
            <pc:docMk/>
            <pc:sldMk cId="1226083679" sldId="2147478575"/>
            <ac:spMk id="195" creationId="{7E4EFCDC-1692-DF8C-F917-48F10AC36939}"/>
          </ac:spMkLst>
        </pc:spChg>
        <pc:spChg chg="add del mod">
          <ac:chgData name="Steiner Andreas 6206 ED" userId="e6377c33-a923-4f14-8587-531c474c7b48" providerId="ADAL" clId="{6ECD27E6-B224-41CD-B4E0-E297462320DD}" dt="2023-11-24T08:37:06.920" v="29037"/>
          <ac:spMkLst>
            <pc:docMk/>
            <pc:sldMk cId="1226083679" sldId="2147478575"/>
            <ac:spMk id="196" creationId="{4790C1DD-B8A6-3955-AE6C-6072D61298AE}"/>
          </ac:spMkLst>
        </pc:spChg>
        <pc:spChg chg="add del mod">
          <ac:chgData name="Steiner Andreas 6206 ED" userId="e6377c33-a923-4f14-8587-531c474c7b48" providerId="ADAL" clId="{6ECD27E6-B224-41CD-B4E0-E297462320DD}" dt="2023-11-24T08:37:09.528" v="29192"/>
          <ac:spMkLst>
            <pc:docMk/>
            <pc:sldMk cId="1226083679" sldId="2147478575"/>
            <ac:spMk id="197" creationId="{E7FDFED4-CE40-14FD-D744-5BBE06F27C5A}"/>
          </ac:spMkLst>
        </pc:spChg>
        <pc:spChg chg="add del mod">
          <ac:chgData name="Steiner Andreas 6206 ED" userId="e6377c33-a923-4f14-8587-531c474c7b48" providerId="ADAL" clId="{6ECD27E6-B224-41CD-B4E0-E297462320DD}" dt="2023-11-24T08:37:12.299" v="29347"/>
          <ac:spMkLst>
            <pc:docMk/>
            <pc:sldMk cId="1226083679" sldId="2147478575"/>
            <ac:spMk id="198" creationId="{486BD598-092C-0C8D-166D-9D5D1DE02472}"/>
          </ac:spMkLst>
        </pc:spChg>
        <pc:spChg chg="add del mod">
          <ac:chgData name="Steiner Andreas 6206 ED" userId="e6377c33-a923-4f14-8587-531c474c7b48" providerId="ADAL" clId="{6ECD27E6-B224-41CD-B4E0-E297462320DD}" dt="2023-11-24T08:37:15.361" v="29502"/>
          <ac:spMkLst>
            <pc:docMk/>
            <pc:sldMk cId="1226083679" sldId="2147478575"/>
            <ac:spMk id="199" creationId="{FD232CCA-15B5-7456-942D-C1CA899B0C52}"/>
          </ac:spMkLst>
        </pc:spChg>
        <pc:spChg chg="add del mod">
          <ac:chgData name="Steiner Andreas 6206 ED" userId="e6377c33-a923-4f14-8587-531c474c7b48" providerId="ADAL" clId="{6ECD27E6-B224-41CD-B4E0-E297462320DD}" dt="2023-11-24T08:37:18.388" v="29657"/>
          <ac:spMkLst>
            <pc:docMk/>
            <pc:sldMk cId="1226083679" sldId="2147478575"/>
            <ac:spMk id="200" creationId="{16BD6B5E-961F-1A6B-BD34-F9DC978DA232}"/>
          </ac:spMkLst>
        </pc:spChg>
        <pc:spChg chg="add del mod">
          <ac:chgData name="Steiner Andreas 6206 ED" userId="e6377c33-a923-4f14-8587-531c474c7b48" providerId="ADAL" clId="{6ECD27E6-B224-41CD-B4E0-E297462320DD}" dt="2023-11-24T08:37:20.867" v="29812"/>
          <ac:spMkLst>
            <pc:docMk/>
            <pc:sldMk cId="1226083679" sldId="2147478575"/>
            <ac:spMk id="201" creationId="{DFB19989-EF8F-A1B3-790F-BB7BA68EC8AC}"/>
          </ac:spMkLst>
        </pc:spChg>
        <pc:spChg chg="add del mod">
          <ac:chgData name="Steiner Andreas 6206 ED" userId="e6377c33-a923-4f14-8587-531c474c7b48" providerId="ADAL" clId="{6ECD27E6-B224-41CD-B4E0-E297462320DD}" dt="2023-11-24T08:37:23.662" v="29967"/>
          <ac:spMkLst>
            <pc:docMk/>
            <pc:sldMk cId="1226083679" sldId="2147478575"/>
            <ac:spMk id="202" creationId="{41EF7B20-AE8F-AAAD-CD3E-00CA198AFD7D}"/>
          </ac:spMkLst>
        </pc:spChg>
        <pc:spChg chg="add del mod">
          <ac:chgData name="Steiner Andreas 6206 ED" userId="e6377c33-a923-4f14-8587-531c474c7b48" providerId="ADAL" clId="{6ECD27E6-B224-41CD-B4E0-E297462320DD}" dt="2023-11-24T08:37:26.243" v="30122"/>
          <ac:spMkLst>
            <pc:docMk/>
            <pc:sldMk cId="1226083679" sldId="2147478575"/>
            <ac:spMk id="203" creationId="{C1909DF1-3E79-E813-B312-9EFED557CB37}"/>
          </ac:spMkLst>
        </pc:spChg>
        <pc:spChg chg="add del mod">
          <ac:chgData name="Steiner Andreas 6206 ED" userId="e6377c33-a923-4f14-8587-531c474c7b48" providerId="ADAL" clId="{6ECD27E6-B224-41CD-B4E0-E297462320DD}" dt="2023-11-24T08:37:29.304" v="30277"/>
          <ac:spMkLst>
            <pc:docMk/>
            <pc:sldMk cId="1226083679" sldId="2147478575"/>
            <ac:spMk id="204" creationId="{F4E2CCF1-A1C1-433E-FCB2-42A4929AE1EE}"/>
          </ac:spMkLst>
        </pc:spChg>
        <pc:spChg chg="add del mod">
          <ac:chgData name="Steiner Andreas 6206 ED" userId="e6377c33-a923-4f14-8587-531c474c7b48" providerId="ADAL" clId="{6ECD27E6-B224-41CD-B4E0-E297462320DD}" dt="2023-11-24T08:37:32.416" v="30432"/>
          <ac:spMkLst>
            <pc:docMk/>
            <pc:sldMk cId="1226083679" sldId="2147478575"/>
            <ac:spMk id="205" creationId="{117ED4B4-B19A-178F-3D4A-8058F50A07C8}"/>
          </ac:spMkLst>
        </pc:spChg>
        <pc:spChg chg="add del mod">
          <ac:chgData name="Steiner Andreas 6206 ED" userId="e6377c33-a923-4f14-8587-531c474c7b48" providerId="ADAL" clId="{6ECD27E6-B224-41CD-B4E0-E297462320DD}" dt="2023-11-24T08:37:35.013" v="30587"/>
          <ac:spMkLst>
            <pc:docMk/>
            <pc:sldMk cId="1226083679" sldId="2147478575"/>
            <ac:spMk id="206" creationId="{E14E0137-392C-F750-A631-7ED1926882D3}"/>
          </ac:spMkLst>
        </pc:spChg>
        <pc:spChg chg="add del mod">
          <ac:chgData name="Steiner Andreas 6206 ED" userId="e6377c33-a923-4f14-8587-531c474c7b48" providerId="ADAL" clId="{6ECD27E6-B224-41CD-B4E0-E297462320DD}" dt="2023-11-24T08:37:37.700" v="30742"/>
          <ac:spMkLst>
            <pc:docMk/>
            <pc:sldMk cId="1226083679" sldId="2147478575"/>
            <ac:spMk id="207" creationId="{7932377A-2C8A-9AE3-E580-4B9512B3F29E}"/>
          </ac:spMkLst>
        </pc:spChg>
        <pc:spChg chg="add del mod">
          <ac:chgData name="Steiner Andreas 6206 ED" userId="e6377c33-a923-4f14-8587-531c474c7b48" providerId="ADAL" clId="{6ECD27E6-B224-41CD-B4E0-E297462320DD}" dt="2023-11-24T08:37:40.898" v="30897"/>
          <ac:spMkLst>
            <pc:docMk/>
            <pc:sldMk cId="1226083679" sldId="2147478575"/>
            <ac:spMk id="208" creationId="{458FD529-9BEA-72AC-0135-33F477C86808}"/>
          </ac:spMkLst>
        </pc:spChg>
        <pc:spChg chg="add del mod">
          <ac:chgData name="Steiner Andreas 6206 ED" userId="e6377c33-a923-4f14-8587-531c474c7b48" providerId="ADAL" clId="{6ECD27E6-B224-41CD-B4E0-E297462320DD}" dt="2023-11-24T08:37:44.508" v="31052"/>
          <ac:spMkLst>
            <pc:docMk/>
            <pc:sldMk cId="1226083679" sldId="2147478575"/>
            <ac:spMk id="209" creationId="{4C7058EF-77D2-5B12-8B72-3D460BB1B100}"/>
          </ac:spMkLst>
        </pc:spChg>
        <pc:spChg chg="add del mod">
          <ac:chgData name="Steiner Andreas 6206 ED" userId="e6377c33-a923-4f14-8587-531c474c7b48" providerId="ADAL" clId="{6ECD27E6-B224-41CD-B4E0-E297462320DD}" dt="2023-11-24T08:37:47.375" v="31207"/>
          <ac:spMkLst>
            <pc:docMk/>
            <pc:sldMk cId="1226083679" sldId="2147478575"/>
            <ac:spMk id="210" creationId="{6EAF3A22-9406-D0CF-4596-7BF1B8905C0B}"/>
          </ac:spMkLst>
        </pc:spChg>
        <pc:spChg chg="add del mod">
          <ac:chgData name="Steiner Andreas 6206 ED" userId="e6377c33-a923-4f14-8587-531c474c7b48" providerId="ADAL" clId="{6ECD27E6-B224-41CD-B4E0-E297462320DD}" dt="2023-11-24T08:37:50.153" v="31362"/>
          <ac:spMkLst>
            <pc:docMk/>
            <pc:sldMk cId="1226083679" sldId="2147478575"/>
            <ac:spMk id="211" creationId="{589EFEDC-04A7-2886-61C1-B3545FD13760}"/>
          </ac:spMkLst>
        </pc:spChg>
        <pc:spChg chg="add del mod">
          <ac:chgData name="Steiner Andreas 6206 ED" userId="e6377c33-a923-4f14-8587-531c474c7b48" providerId="ADAL" clId="{6ECD27E6-B224-41CD-B4E0-E297462320DD}" dt="2023-11-24T08:37:52.803" v="31517"/>
          <ac:spMkLst>
            <pc:docMk/>
            <pc:sldMk cId="1226083679" sldId="2147478575"/>
            <ac:spMk id="212" creationId="{4B93B34A-6E4E-7BF4-FD8B-ADD5E0BD7BD8}"/>
          </ac:spMkLst>
        </pc:spChg>
        <pc:spChg chg="add del mod">
          <ac:chgData name="Steiner Andreas 6206 ED" userId="e6377c33-a923-4f14-8587-531c474c7b48" providerId="ADAL" clId="{6ECD27E6-B224-41CD-B4E0-E297462320DD}" dt="2023-11-24T08:37:56.670" v="31672"/>
          <ac:spMkLst>
            <pc:docMk/>
            <pc:sldMk cId="1226083679" sldId="2147478575"/>
            <ac:spMk id="213" creationId="{DFD3956A-3879-FF6C-ECB4-D0F49CB671FF}"/>
          </ac:spMkLst>
        </pc:spChg>
        <pc:spChg chg="add del mod">
          <ac:chgData name="Steiner Andreas 6206 ED" userId="e6377c33-a923-4f14-8587-531c474c7b48" providerId="ADAL" clId="{6ECD27E6-B224-41CD-B4E0-E297462320DD}" dt="2023-11-24T08:37:59.574" v="31827"/>
          <ac:spMkLst>
            <pc:docMk/>
            <pc:sldMk cId="1226083679" sldId="2147478575"/>
            <ac:spMk id="214" creationId="{E1BDB33A-B83D-A550-6036-92FBA0D7D2EF}"/>
          </ac:spMkLst>
        </pc:spChg>
        <pc:spChg chg="add del mod">
          <ac:chgData name="Steiner Andreas 6206 ED" userId="e6377c33-a923-4f14-8587-531c474c7b48" providerId="ADAL" clId="{6ECD27E6-B224-41CD-B4E0-E297462320DD}" dt="2023-11-24T08:38:02.597" v="31982"/>
          <ac:spMkLst>
            <pc:docMk/>
            <pc:sldMk cId="1226083679" sldId="2147478575"/>
            <ac:spMk id="215" creationId="{E6D51438-FF49-464D-2C4B-15C57402E6E7}"/>
          </ac:spMkLst>
        </pc:spChg>
        <pc:spChg chg="add del mod">
          <ac:chgData name="Steiner Andreas 6206 ED" userId="e6377c33-a923-4f14-8587-531c474c7b48" providerId="ADAL" clId="{6ECD27E6-B224-41CD-B4E0-E297462320DD}" dt="2023-11-24T08:38:05.492" v="32137"/>
          <ac:spMkLst>
            <pc:docMk/>
            <pc:sldMk cId="1226083679" sldId="2147478575"/>
            <ac:spMk id="216" creationId="{16DAC0D4-181B-4627-7F0F-D0E67C7CB43D}"/>
          </ac:spMkLst>
        </pc:spChg>
        <pc:spChg chg="add del mod">
          <ac:chgData name="Steiner Andreas 6206 ED" userId="e6377c33-a923-4f14-8587-531c474c7b48" providerId="ADAL" clId="{6ECD27E6-B224-41CD-B4E0-E297462320DD}" dt="2023-11-24T08:38:08.543" v="32292"/>
          <ac:spMkLst>
            <pc:docMk/>
            <pc:sldMk cId="1226083679" sldId="2147478575"/>
            <ac:spMk id="217" creationId="{F8FF2196-E453-4EED-8867-D0A6A3BBD1B6}"/>
          </ac:spMkLst>
        </pc:spChg>
        <pc:spChg chg="add del mod">
          <ac:chgData name="Steiner Andreas 6206 ED" userId="e6377c33-a923-4f14-8587-531c474c7b48" providerId="ADAL" clId="{6ECD27E6-B224-41CD-B4E0-E297462320DD}" dt="2023-11-24T08:38:11.351" v="32447"/>
          <ac:spMkLst>
            <pc:docMk/>
            <pc:sldMk cId="1226083679" sldId="2147478575"/>
            <ac:spMk id="218" creationId="{9F82B2BC-1862-6D1C-B71B-D957EE89CCCB}"/>
          </ac:spMkLst>
        </pc:spChg>
        <pc:spChg chg="add del mod">
          <ac:chgData name="Steiner Andreas 6206 ED" userId="e6377c33-a923-4f14-8587-531c474c7b48" providerId="ADAL" clId="{6ECD27E6-B224-41CD-B4E0-E297462320DD}" dt="2023-11-24T08:38:14.015" v="32602"/>
          <ac:spMkLst>
            <pc:docMk/>
            <pc:sldMk cId="1226083679" sldId="2147478575"/>
            <ac:spMk id="219" creationId="{6EB7E032-46D2-F11B-6B28-84520BEE30EA}"/>
          </ac:spMkLst>
        </pc:spChg>
        <pc:spChg chg="add del mod">
          <ac:chgData name="Steiner Andreas 6206 ED" userId="e6377c33-a923-4f14-8587-531c474c7b48" providerId="ADAL" clId="{6ECD27E6-B224-41CD-B4E0-E297462320DD}" dt="2023-11-24T08:38:16.709" v="32757"/>
          <ac:spMkLst>
            <pc:docMk/>
            <pc:sldMk cId="1226083679" sldId="2147478575"/>
            <ac:spMk id="220" creationId="{0F3DE0FA-7362-CF8B-E6E4-B54F527463FF}"/>
          </ac:spMkLst>
        </pc:spChg>
        <pc:spChg chg="add del mod">
          <ac:chgData name="Steiner Andreas 6206 ED" userId="e6377c33-a923-4f14-8587-531c474c7b48" providerId="ADAL" clId="{6ECD27E6-B224-41CD-B4E0-E297462320DD}" dt="2023-11-24T08:38:19.517" v="32912"/>
          <ac:spMkLst>
            <pc:docMk/>
            <pc:sldMk cId="1226083679" sldId="2147478575"/>
            <ac:spMk id="221" creationId="{C8646984-27AC-2022-1DEA-E181AB261032}"/>
          </ac:spMkLst>
        </pc:spChg>
        <pc:spChg chg="add del mod">
          <ac:chgData name="Steiner Andreas 6206 ED" userId="e6377c33-a923-4f14-8587-531c474c7b48" providerId="ADAL" clId="{6ECD27E6-B224-41CD-B4E0-E297462320DD}" dt="2023-11-24T08:38:22.448" v="33067"/>
          <ac:spMkLst>
            <pc:docMk/>
            <pc:sldMk cId="1226083679" sldId="2147478575"/>
            <ac:spMk id="222" creationId="{CCB44C6F-0CDE-59A9-9AFA-ECE178D1B490}"/>
          </ac:spMkLst>
        </pc:spChg>
        <pc:spChg chg="add del mod">
          <ac:chgData name="Steiner Andreas 6206 ED" userId="e6377c33-a923-4f14-8587-531c474c7b48" providerId="ADAL" clId="{6ECD27E6-B224-41CD-B4E0-E297462320DD}" dt="2023-11-24T08:38:25.300" v="33222"/>
          <ac:spMkLst>
            <pc:docMk/>
            <pc:sldMk cId="1226083679" sldId="2147478575"/>
            <ac:spMk id="223" creationId="{1AC92EA2-19BD-DFC5-900C-31FC98EAD8F5}"/>
          </ac:spMkLst>
        </pc:spChg>
        <pc:spChg chg="add del mod">
          <ac:chgData name="Steiner Andreas 6206 ED" userId="e6377c33-a923-4f14-8587-531c474c7b48" providerId="ADAL" clId="{6ECD27E6-B224-41CD-B4E0-E297462320DD}" dt="2023-11-24T08:38:28.865" v="33377"/>
          <ac:spMkLst>
            <pc:docMk/>
            <pc:sldMk cId="1226083679" sldId="2147478575"/>
            <ac:spMk id="224" creationId="{CA8B32C3-EDEC-BC62-5093-F401D916AA71}"/>
          </ac:spMkLst>
        </pc:spChg>
        <pc:spChg chg="add del mod">
          <ac:chgData name="Steiner Andreas 6206 ED" userId="e6377c33-a923-4f14-8587-531c474c7b48" providerId="ADAL" clId="{6ECD27E6-B224-41CD-B4E0-E297462320DD}" dt="2023-11-24T08:38:31.991" v="33532"/>
          <ac:spMkLst>
            <pc:docMk/>
            <pc:sldMk cId="1226083679" sldId="2147478575"/>
            <ac:spMk id="225" creationId="{3FAB0C0B-A83E-6D28-961C-07F7F2902616}"/>
          </ac:spMkLst>
        </pc:spChg>
        <pc:spChg chg="add del mod">
          <ac:chgData name="Steiner Andreas 6206 ED" userId="e6377c33-a923-4f14-8587-531c474c7b48" providerId="ADAL" clId="{6ECD27E6-B224-41CD-B4E0-E297462320DD}" dt="2023-11-24T08:38:34.799" v="33687"/>
          <ac:spMkLst>
            <pc:docMk/>
            <pc:sldMk cId="1226083679" sldId="2147478575"/>
            <ac:spMk id="226" creationId="{9AB68A62-0C02-9647-6B90-BBF56D6DDC9A}"/>
          </ac:spMkLst>
        </pc:spChg>
        <pc:spChg chg="add del mod">
          <ac:chgData name="Steiner Andreas 6206 ED" userId="e6377c33-a923-4f14-8587-531c474c7b48" providerId="ADAL" clId="{6ECD27E6-B224-41CD-B4E0-E297462320DD}" dt="2023-11-24T08:38:37.453" v="33842"/>
          <ac:spMkLst>
            <pc:docMk/>
            <pc:sldMk cId="1226083679" sldId="2147478575"/>
            <ac:spMk id="227" creationId="{1D7E6DC6-379D-007B-3137-6FFAA5BB70B5}"/>
          </ac:spMkLst>
        </pc:spChg>
        <pc:spChg chg="add del mod">
          <ac:chgData name="Steiner Andreas 6206 ED" userId="e6377c33-a923-4f14-8587-531c474c7b48" providerId="ADAL" clId="{6ECD27E6-B224-41CD-B4E0-E297462320DD}" dt="2023-11-24T08:38:39.937" v="33997"/>
          <ac:spMkLst>
            <pc:docMk/>
            <pc:sldMk cId="1226083679" sldId="2147478575"/>
            <ac:spMk id="228" creationId="{9E18BB55-A228-3CB5-32C5-FDC10ADBDD7F}"/>
          </ac:spMkLst>
        </pc:spChg>
        <pc:spChg chg="add del mod">
          <ac:chgData name="Steiner Andreas 6206 ED" userId="e6377c33-a923-4f14-8587-531c474c7b48" providerId="ADAL" clId="{6ECD27E6-B224-41CD-B4E0-E297462320DD}" dt="2023-11-24T08:38:42.496" v="34152"/>
          <ac:spMkLst>
            <pc:docMk/>
            <pc:sldMk cId="1226083679" sldId="2147478575"/>
            <ac:spMk id="229" creationId="{77291CC1-F8A3-0BBB-8197-8C5B3751517B}"/>
          </ac:spMkLst>
        </pc:spChg>
        <pc:spChg chg="add del mod">
          <ac:chgData name="Steiner Andreas 6206 ED" userId="e6377c33-a923-4f14-8587-531c474c7b48" providerId="ADAL" clId="{6ECD27E6-B224-41CD-B4E0-E297462320DD}" dt="2023-11-24T08:38:46.478" v="34307"/>
          <ac:spMkLst>
            <pc:docMk/>
            <pc:sldMk cId="1226083679" sldId="2147478575"/>
            <ac:spMk id="230" creationId="{BE841C2A-552C-A92A-4FD2-3CB0159BD13D}"/>
          </ac:spMkLst>
        </pc:spChg>
        <pc:spChg chg="add del mod">
          <ac:chgData name="Steiner Andreas 6206 ED" userId="e6377c33-a923-4f14-8587-531c474c7b48" providerId="ADAL" clId="{6ECD27E6-B224-41CD-B4E0-E297462320DD}" dt="2023-11-24T08:38:49.229" v="34462"/>
          <ac:spMkLst>
            <pc:docMk/>
            <pc:sldMk cId="1226083679" sldId="2147478575"/>
            <ac:spMk id="231" creationId="{07F85B13-DF24-9A5F-4F80-F0B16AD8F513}"/>
          </ac:spMkLst>
        </pc:spChg>
        <pc:spChg chg="add del mod">
          <ac:chgData name="Steiner Andreas 6206 ED" userId="e6377c33-a923-4f14-8587-531c474c7b48" providerId="ADAL" clId="{6ECD27E6-B224-41CD-B4E0-E297462320DD}" dt="2023-11-24T08:38:51.990" v="34617"/>
          <ac:spMkLst>
            <pc:docMk/>
            <pc:sldMk cId="1226083679" sldId="2147478575"/>
            <ac:spMk id="232" creationId="{D84CFFFD-1A17-D699-9C4C-2CEF6CCDFDAE}"/>
          </ac:spMkLst>
        </pc:spChg>
        <pc:spChg chg="add del mod">
          <ac:chgData name="Steiner Andreas 6206 ED" userId="e6377c33-a923-4f14-8587-531c474c7b48" providerId="ADAL" clId="{6ECD27E6-B224-41CD-B4E0-E297462320DD}" dt="2023-11-24T08:38:54.874" v="34772"/>
          <ac:spMkLst>
            <pc:docMk/>
            <pc:sldMk cId="1226083679" sldId="2147478575"/>
            <ac:spMk id="233" creationId="{3A0E564E-531E-93C2-6893-56989D933E70}"/>
          </ac:spMkLst>
        </pc:spChg>
        <pc:spChg chg="add del mod">
          <ac:chgData name="Steiner Andreas 6206 ED" userId="e6377c33-a923-4f14-8587-531c474c7b48" providerId="ADAL" clId="{6ECD27E6-B224-41CD-B4E0-E297462320DD}" dt="2023-11-24T08:38:57.971" v="34927"/>
          <ac:spMkLst>
            <pc:docMk/>
            <pc:sldMk cId="1226083679" sldId="2147478575"/>
            <ac:spMk id="234" creationId="{571E5014-242C-111B-5C14-FE60AE0A7E1A}"/>
          </ac:spMkLst>
        </pc:spChg>
        <pc:spChg chg="add del mod">
          <ac:chgData name="Steiner Andreas 6206 ED" userId="e6377c33-a923-4f14-8587-531c474c7b48" providerId="ADAL" clId="{6ECD27E6-B224-41CD-B4E0-E297462320DD}" dt="2023-11-24T08:39:01.389" v="35082"/>
          <ac:spMkLst>
            <pc:docMk/>
            <pc:sldMk cId="1226083679" sldId="2147478575"/>
            <ac:spMk id="235" creationId="{75721359-59FC-C44F-5833-CE00B27B042F}"/>
          </ac:spMkLst>
        </pc:spChg>
        <pc:spChg chg="add del mod">
          <ac:chgData name="Steiner Andreas 6206 ED" userId="e6377c33-a923-4f14-8587-531c474c7b48" providerId="ADAL" clId="{6ECD27E6-B224-41CD-B4E0-E297462320DD}" dt="2023-11-24T08:39:04.788" v="35237"/>
          <ac:spMkLst>
            <pc:docMk/>
            <pc:sldMk cId="1226083679" sldId="2147478575"/>
            <ac:spMk id="236" creationId="{77AFE73D-E024-3674-C7E3-778A1026951B}"/>
          </ac:spMkLst>
        </pc:spChg>
        <pc:spChg chg="add del mod">
          <ac:chgData name="Steiner Andreas 6206 ED" userId="e6377c33-a923-4f14-8587-531c474c7b48" providerId="ADAL" clId="{6ECD27E6-B224-41CD-B4E0-E297462320DD}" dt="2023-11-24T08:39:07.631" v="35392"/>
          <ac:spMkLst>
            <pc:docMk/>
            <pc:sldMk cId="1226083679" sldId="2147478575"/>
            <ac:spMk id="237" creationId="{B65E7942-9B0C-344C-7368-93163C07BC08}"/>
          </ac:spMkLst>
        </pc:spChg>
        <pc:spChg chg="add del mod">
          <ac:chgData name="Steiner Andreas 6206 ED" userId="e6377c33-a923-4f14-8587-531c474c7b48" providerId="ADAL" clId="{6ECD27E6-B224-41CD-B4E0-E297462320DD}" dt="2023-11-24T08:39:12.186" v="35547"/>
          <ac:spMkLst>
            <pc:docMk/>
            <pc:sldMk cId="1226083679" sldId="2147478575"/>
            <ac:spMk id="238" creationId="{3F4E276D-F557-5BB6-29B5-25C03830D8FD}"/>
          </ac:spMkLst>
        </pc:spChg>
        <pc:spChg chg="add del mod">
          <ac:chgData name="Steiner Andreas 6206 ED" userId="e6377c33-a923-4f14-8587-531c474c7b48" providerId="ADAL" clId="{6ECD27E6-B224-41CD-B4E0-E297462320DD}" dt="2023-11-24T08:39:15.071" v="35702"/>
          <ac:spMkLst>
            <pc:docMk/>
            <pc:sldMk cId="1226083679" sldId="2147478575"/>
            <ac:spMk id="239" creationId="{F2262D90-E225-C247-2698-32FEF57A6066}"/>
          </ac:spMkLst>
        </pc:spChg>
        <pc:spChg chg="add del mod">
          <ac:chgData name="Steiner Andreas 6206 ED" userId="e6377c33-a923-4f14-8587-531c474c7b48" providerId="ADAL" clId="{6ECD27E6-B224-41CD-B4E0-E297462320DD}" dt="2023-11-24T08:39:17.631" v="35857"/>
          <ac:spMkLst>
            <pc:docMk/>
            <pc:sldMk cId="1226083679" sldId="2147478575"/>
            <ac:spMk id="240" creationId="{80B46A14-72C9-D374-8F34-352D051985FE}"/>
          </ac:spMkLst>
        </pc:spChg>
        <pc:spChg chg="add del mod">
          <ac:chgData name="Steiner Andreas 6206 ED" userId="e6377c33-a923-4f14-8587-531c474c7b48" providerId="ADAL" clId="{6ECD27E6-B224-41CD-B4E0-E297462320DD}" dt="2023-11-24T08:39:20.329" v="36012"/>
          <ac:spMkLst>
            <pc:docMk/>
            <pc:sldMk cId="1226083679" sldId="2147478575"/>
            <ac:spMk id="241" creationId="{2403D154-EE66-1CFC-C817-24375987F997}"/>
          </ac:spMkLst>
        </pc:spChg>
        <pc:spChg chg="add del mod">
          <ac:chgData name="Steiner Andreas 6206 ED" userId="e6377c33-a923-4f14-8587-531c474c7b48" providerId="ADAL" clId="{6ECD27E6-B224-41CD-B4E0-E297462320DD}" dt="2023-11-24T08:39:23.310" v="36167"/>
          <ac:spMkLst>
            <pc:docMk/>
            <pc:sldMk cId="1226083679" sldId="2147478575"/>
            <ac:spMk id="242" creationId="{7D35F5E7-1437-8CFB-B1CB-A46A52111ADE}"/>
          </ac:spMkLst>
        </pc:spChg>
        <pc:spChg chg="add del mod">
          <ac:chgData name="Steiner Andreas 6206 ED" userId="e6377c33-a923-4f14-8587-531c474c7b48" providerId="ADAL" clId="{6ECD27E6-B224-41CD-B4E0-E297462320DD}" dt="2023-11-24T08:39:26.217" v="36322"/>
          <ac:spMkLst>
            <pc:docMk/>
            <pc:sldMk cId="1226083679" sldId="2147478575"/>
            <ac:spMk id="243" creationId="{90AB4F1A-C1A2-D397-3EFD-343C6EDCD52E}"/>
          </ac:spMkLst>
        </pc:spChg>
        <pc:spChg chg="add del mod">
          <ac:chgData name="Steiner Andreas 6206 ED" userId="e6377c33-a923-4f14-8587-531c474c7b48" providerId="ADAL" clId="{6ECD27E6-B224-41CD-B4E0-E297462320DD}" dt="2023-11-24T08:39:28.944" v="36477"/>
          <ac:spMkLst>
            <pc:docMk/>
            <pc:sldMk cId="1226083679" sldId="2147478575"/>
            <ac:spMk id="244" creationId="{2F094561-A941-8142-EC48-8D1D92AA5A83}"/>
          </ac:spMkLst>
        </pc:spChg>
        <pc:spChg chg="add del mod">
          <ac:chgData name="Steiner Andreas 6206 ED" userId="e6377c33-a923-4f14-8587-531c474c7b48" providerId="ADAL" clId="{6ECD27E6-B224-41CD-B4E0-E297462320DD}" dt="2023-11-24T08:39:31.540" v="36632"/>
          <ac:spMkLst>
            <pc:docMk/>
            <pc:sldMk cId="1226083679" sldId="2147478575"/>
            <ac:spMk id="245" creationId="{CF968762-448C-9AF7-609A-18EED4A05FFE}"/>
          </ac:spMkLst>
        </pc:spChg>
        <pc:spChg chg="add del mod">
          <ac:chgData name="Steiner Andreas 6206 ED" userId="e6377c33-a923-4f14-8587-531c474c7b48" providerId="ADAL" clId="{6ECD27E6-B224-41CD-B4E0-E297462320DD}" dt="2023-11-24T08:39:34.087" v="36787"/>
          <ac:spMkLst>
            <pc:docMk/>
            <pc:sldMk cId="1226083679" sldId="2147478575"/>
            <ac:spMk id="246" creationId="{42167E31-3BEB-FAF7-08F6-C47FA0BD1441}"/>
          </ac:spMkLst>
        </pc:spChg>
        <pc:spChg chg="add del mod">
          <ac:chgData name="Steiner Andreas 6206 ED" userId="e6377c33-a923-4f14-8587-531c474c7b48" providerId="ADAL" clId="{6ECD27E6-B224-41CD-B4E0-E297462320DD}" dt="2023-11-24T08:39:36.959" v="36942"/>
          <ac:spMkLst>
            <pc:docMk/>
            <pc:sldMk cId="1226083679" sldId="2147478575"/>
            <ac:spMk id="247" creationId="{A15B3F6E-5C1C-A0A5-4079-6BB4B9B5C8EB}"/>
          </ac:spMkLst>
        </pc:spChg>
        <pc:spChg chg="add del mod">
          <ac:chgData name="Steiner Andreas 6206 ED" userId="e6377c33-a923-4f14-8587-531c474c7b48" providerId="ADAL" clId="{6ECD27E6-B224-41CD-B4E0-E297462320DD}" dt="2023-11-24T08:39:39.620" v="37097"/>
          <ac:spMkLst>
            <pc:docMk/>
            <pc:sldMk cId="1226083679" sldId="2147478575"/>
            <ac:spMk id="248" creationId="{58C1D52B-62F8-6228-6B18-646E0BF8BB8E}"/>
          </ac:spMkLst>
        </pc:spChg>
        <pc:spChg chg="add del mod">
          <ac:chgData name="Steiner Andreas 6206 ED" userId="e6377c33-a923-4f14-8587-531c474c7b48" providerId="ADAL" clId="{6ECD27E6-B224-41CD-B4E0-E297462320DD}" dt="2023-11-24T08:39:42.109" v="37252"/>
          <ac:spMkLst>
            <pc:docMk/>
            <pc:sldMk cId="1226083679" sldId="2147478575"/>
            <ac:spMk id="249" creationId="{BB6F06FE-DC4C-1093-2032-2BC8D519B5E8}"/>
          </ac:spMkLst>
        </pc:spChg>
        <pc:spChg chg="add del mod">
          <ac:chgData name="Steiner Andreas 6206 ED" userId="e6377c33-a923-4f14-8587-531c474c7b48" providerId="ADAL" clId="{6ECD27E6-B224-41CD-B4E0-E297462320DD}" dt="2023-11-24T08:39:44.640" v="37407"/>
          <ac:spMkLst>
            <pc:docMk/>
            <pc:sldMk cId="1226083679" sldId="2147478575"/>
            <ac:spMk id="250" creationId="{0500CEF5-E6A2-FD82-39D7-B785FA84D483}"/>
          </ac:spMkLst>
        </pc:spChg>
        <pc:spChg chg="add del mod">
          <ac:chgData name="Steiner Andreas 6206 ED" userId="e6377c33-a923-4f14-8587-531c474c7b48" providerId="ADAL" clId="{6ECD27E6-B224-41CD-B4E0-E297462320DD}" dt="2023-11-24T08:39:47.492" v="37562"/>
          <ac:spMkLst>
            <pc:docMk/>
            <pc:sldMk cId="1226083679" sldId="2147478575"/>
            <ac:spMk id="251" creationId="{2895118A-A8A0-7364-7A2F-8F8D98BE45F1}"/>
          </ac:spMkLst>
        </pc:spChg>
        <pc:spChg chg="add del mod">
          <ac:chgData name="Steiner Andreas 6206 ED" userId="e6377c33-a923-4f14-8587-531c474c7b48" providerId="ADAL" clId="{6ECD27E6-B224-41CD-B4E0-E297462320DD}" dt="2023-11-24T08:39:50.358" v="37717"/>
          <ac:spMkLst>
            <pc:docMk/>
            <pc:sldMk cId="1226083679" sldId="2147478575"/>
            <ac:spMk id="252" creationId="{22E69EFD-BF0E-A443-7BA4-695CFB448146}"/>
          </ac:spMkLst>
        </pc:spChg>
        <pc:spChg chg="add del mod">
          <ac:chgData name="Steiner Andreas 6206 ED" userId="e6377c33-a923-4f14-8587-531c474c7b48" providerId="ADAL" clId="{6ECD27E6-B224-41CD-B4E0-E297462320DD}" dt="2023-11-24T08:39:52.896" v="37872"/>
          <ac:spMkLst>
            <pc:docMk/>
            <pc:sldMk cId="1226083679" sldId="2147478575"/>
            <ac:spMk id="253" creationId="{179470B5-7B57-9269-DF25-9C3ED3784A1A}"/>
          </ac:spMkLst>
        </pc:spChg>
        <pc:spChg chg="add del mod">
          <ac:chgData name="Steiner Andreas 6206 ED" userId="e6377c33-a923-4f14-8587-531c474c7b48" providerId="ADAL" clId="{6ECD27E6-B224-41CD-B4E0-E297462320DD}" dt="2023-11-24T08:39:55.897" v="38027"/>
          <ac:spMkLst>
            <pc:docMk/>
            <pc:sldMk cId="1226083679" sldId="2147478575"/>
            <ac:spMk id="254" creationId="{506E2153-78BE-CEC0-7C10-A2F3B60C1F56}"/>
          </ac:spMkLst>
        </pc:spChg>
        <pc:spChg chg="add del mod">
          <ac:chgData name="Steiner Andreas 6206 ED" userId="e6377c33-a923-4f14-8587-531c474c7b48" providerId="ADAL" clId="{6ECD27E6-B224-41CD-B4E0-E297462320DD}" dt="2023-11-24T08:39:58.848" v="38182"/>
          <ac:spMkLst>
            <pc:docMk/>
            <pc:sldMk cId="1226083679" sldId="2147478575"/>
            <ac:spMk id="255" creationId="{7CBC9604-AFAF-8231-F067-FC183A5F4787}"/>
          </ac:spMkLst>
        </pc:spChg>
        <pc:spChg chg="add del mod">
          <ac:chgData name="Steiner Andreas 6206 ED" userId="e6377c33-a923-4f14-8587-531c474c7b48" providerId="ADAL" clId="{6ECD27E6-B224-41CD-B4E0-E297462320DD}" dt="2023-11-24T08:40:02.446" v="38337"/>
          <ac:spMkLst>
            <pc:docMk/>
            <pc:sldMk cId="1226083679" sldId="2147478575"/>
            <ac:spMk id="256" creationId="{BA4A75F6-4618-26C5-CCF2-988BCCE796C5}"/>
          </ac:spMkLst>
        </pc:spChg>
        <pc:spChg chg="add del mod">
          <ac:chgData name="Steiner Andreas 6206 ED" userId="e6377c33-a923-4f14-8587-531c474c7b48" providerId="ADAL" clId="{6ECD27E6-B224-41CD-B4E0-E297462320DD}" dt="2023-11-24T08:40:05.137" v="38492"/>
          <ac:spMkLst>
            <pc:docMk/>
            <pc:sldMk cId="1226083679" sldId="2147478575"/>
            <ac:spMk id="257" creationId="{48A27776-F9EB-CA73-D2CD-8367486E4351}"/>
          </ac:spMkLst>
        </pc:spChg>
        <pc:spChg chg="add del mod">
          <ac:chgData name="Steiner Andreas 6206 ED" userId="e6377c33-a923-4f14-8587-531c474c7b48" providerId="ADAL" clId="{6ECD27E6-B224-41CD-B4E0-E297462320DD}" dt="2023-11-24T08:40:07.687" v="38647"/>
          <ac:spMkLst>
            <pc:docMk/>
            <pc:sldMk cId="1226083679" sldId="2147478575"/>
            <ac:spMk id="258" creationId="{EB90826B-2921-6B59-5AA5-8521CDC23B7B}"/>
          </ac:spMkLst>
        </pc:spChg>
        <pc:spChg chg="add del mod">
          <ac:chgData name="Steiner Andreas 6206 ED" userId="e6377c33-a923-4f14-8587-531c474c7b48" providerId="ADAL" clId="{6ECD27E6-B224-41CD-B4E0-E297462320DD}" dt="2023-11-24T08:40:10.381" v="38802"/>
          <ac:spMkLst>
            <pc:docMk/>
            <pc:sldMk cId="1226083679" sldId="2147478575"/>
            <ac:spMk id="259" creationId="{00B54BA0-3247-666C-D7A5-D2EAFCE8DFCE}"/>
          </ac:spMkLst>
        </pc:spChg>
        <pc:spChg chg="add del mod">
          <ac:chgData name="Steiner Andreas 6206 ED" userId="e6377c33-a923-4f14-8587-531c474c7b48" providerId="ADAL" clId="{6ECD27E6-B224-41CD-B4E0-E297462320DD}" dt="2023-11-24T08:40:13.455" v="38957"/>
          <ac:spMkLst>
            <pc:docMk/>
            <pc:sldMk cId="1226083679" sldId="2147478575"/>
            <ac:spMk id="260" creationId="{23CB9447-9027-7779-1EA5-EE53B704C081}"/>
          </ac:spMkLst>
        </pc:spChg>
        <pc:spChg chg="add del mod">
          <ac:chgData name="Steiner Andreas 6206 ED" userId="e6377c33-a923-4f14-8587-531c474c7b48" providerId="ADAL" clId="{6ECD27E6-B224-41CD-B4E0-E297462320DD}" dt="2023-11-24T08:40:16.270" v="39112"/>
          <ac:spMkLst>
            <pc:docMk/>
            <pc:sldMk cId="1226083679" sldId="2147478575"/>
            <ac:spMk id="261" creationId="{A838A4EB-D8CC-E72F-71F7-DCC68637B8CB}"/>
          </ac:spMkLst>
        </pc:spChg>
        <pc:spChg chg="add del mod">
          <ac:chgData name="Steiner Andreas 6206 ED" userId="e6377c33-a923-4f14-8587-531c474c7b48" providerId="ADAL" clId="{6ECD27E6-B224-41CD-B4E0-E297462320DD}" dt="2023-11-24T08:40:18.817" v="39267"/>
          <ac:spMkLst>
            <pc:docMk/>
            <pc:sldMk cId="1226083679" sldId="2147478575"/>
            <ac:spMk id="262" creationId="{1B871056-0118-5275-96C9-6829C282834A}"/>
          </ac:spMkLst>
        </pc:spChg>
        <pc:spChg chg="add del mod">
          <ac:chgData name="Steiner Andreas 6206 ED" userId="e6377c33-a923-4f14-8587-531c474c7b48" providerId="ADAL" clId="{6ECD27E6-B224-41CD-B4E0-E297462320DD}" dt="2023-11-24T08:40:21.235" v="39422"/>
          <ac:spMkLst>
            <pc:docMk/>
            <pc:sldMk cId="1226083679" sldId="2147478575"/>
            <ac:spMk id="263" creationId="{8AB87EC5-2E36-4908-12CF-8D61ED74D03C}"/>
          </ac:spMkLst>
        </pc:spChg>
        <pc:spChg chg="add del mod">
          <ac:chgData name="Steiner Andreas 6206 ED" userId="e6377c33-a923-4f14-8587-531c474c7b48" providerId="ADAL" clId="{6ECD27E6-B224-41CD-B4E0-E297462320DD}" dt="2023-11-24T08:40:23.753" v="39577"/>
          <ac:spMkLst>
            <pc:docMk/>
            <pc:sldMk cId="1226083679" sldId="2147478575"/>
            <ac:spMk id="264" creationId="{6D7D184A-17A2-238D-275F-92D8D46DBF8F}"/>
          </ac:spMkLst>
        </pc:spChg>
        <pc:spChg chg="add del mod">
          <ac:chgData name="Steiner Andreas 6206 ED" userId="e6377c33-a923-4f14-8587-531c474c7b48" providerId="ADAL" clId="{6ECD27E6-B224-41CD-B4E0-E297462320DD}" dt="2023-11-24T08:40:26.811" v="39732"/>
          <ac:spMkLst>
            <pc:docMk/>
            <pc:sldMk cId="1226083679" sldId="2147478575"/>
            <ac:spMk id="265" creationId="{0FDD6F88-51C3-A9E0-9175-244056E5C68A}"/>
          </ac:spMkLst>
        </pc:spChg>
        <pc:spChg chg="add del mod">
          <ac:chgData name="Steiner Andreas 6206 ED" userId="e6377c33-a923-4f14-8587-531c474c7b48" providerId="ADAL" clId="{6ECD27E6-B224-41CD-B4E0-E297462320DD}" dt="2023-11-24T08:40:29.455" v="39887"/>
          <ac:spMkLst>
            <pc:docMk/>
            <pc:sldMk cId="1226083679" sldId="2147478575"/>
            <ac:spMk id="266" creationId="{8F6838D0-E6A9-1D4A-7C2A-5E5F3548D4E2}"/>
          </ac:spMkLst>
        </pc:spChg>
        <pc:spChg chg="add del mod">
          <ac:chgData name="Steiner Andreas 6206 ED" userId="e6377c33-a923-4f14-8587-531c474c7b48" providerId="ADAL" clId="{6ECD27E6-B224-41CD-B4E0-E297462320DD}" dt="2023-11-24T08:40:32.014" v="40042"/>
          <ac:spMkLst>
            <pc:docMk/>
            <pc:sldMk cId="1226083679" sldId="2147478575"/>
            <ac:spMk id="267" creationId="{CF515BF2-57EE-535F-C21C-6B18B08155FD}"/>
          </ac:spMkLst>
        </pc:spChg>
        <pc:spChg chg="add del mod">
          <ac:chgData name="Steiner Andreas 6206 ED" userId="e6377c33-a923-4f14-8587-531c474c7b48" providerId="ADAL" clId="{6ECD27E6-B224-41CD-B4E0-E297462320DD}" dt="2023-11-24T08:40:34.600" v="40197"/>
          <ac:spMkLst>
            <pc:docMk/>
            <pc:sldMk cId="1226083679" sldId="2147478575"/>
            <ac:spMk id="268" creationId="{631D2F3D-43D3-E060-BF74-D94D9322A086}"/>
          </ac:spMkLst>
        </pc:spChg>
        <pc:spChg chg="add del mod">
          <ac:chgData name="Steiner Andreas 6206 ED" userId="e6377c33-a923-4f14-8587-531c474c7b48" providerId="ADAL" clId="{6ECD27E6-B224-41CD-B4E0-E297462320DD}" dt="2023-11-24T08:40:37.786" v="40352"/>
          <ac:spMkLst>
            <pc:docMk/>
            <pc:sldMk cId="1226083679" sldId="2147478575"/>
            <ac:spMk id="269" creationId="{3611FF7A-CCFD-2002-95EF-BE7699D67A92}"/>
          </ac:spMkLst>
        </pc:spChg>
        <pc:spChg chg="add del mod">
          <ac:chgData name="Steiner Andreas 6206 ED" userId="e6377c33-a923-4f14-8587-531c474c7b48" providerId="ADAL" clId="{6ECD27E6-B224-41CD-B4E0-E297462320DD}" dt="2023-11-24T08:40:40.604" v="40507"/>
          <ac:spMkLst>
            <pc:docMk/>
            <pc:sldMk cId="1226083679" sldId="2147478575"/>
            <ac:spMk id="270" creationId="{501370F7-1E14-8D52-1BB3-D662FC232F36}"/>
          </ac:spMkLst>
        </pc:spChg>
        <pc:spChg chg="add del mod">
          <ac:chgData name="Steiner Andreas 6206 ED" userId="e6377c33-a923-4f14-8587-531c474c7b48" providerId="ADAL" clId="{6ECD27E6-B224-41CD-B4E0-E297462320DD}" dt="2023-11-24T08:40:43.532" v="40662"/>
          <ac:spMkLst>
            <pc:docMk/>
            <pc:sldMk cId="1226083679" sldId="2147478575"/>
            <ac:spMk id="271" creationId="{7B9D6B51-642F-52A9-E681-DF864551A79A}"/>
          </ac:spMkLst>
        </pc:spChg>
        <pc:spChg chg="add del mod">
          <ac:chgData name="Steiner Andreas 6206 ED" userId="e6377c33-a923-4f14-8587-531c474c7b48" providerId="ADAL" clId="{6ECD27E6-B224-41CD-B4E0-E297462320DD}" dt="2023-11-24T08:40:45.982" v="40817"/>
          <ac:spMkLst>
            <pc:docMk/>
            <pc:sldMk cId="1226083679" sldId="2147478575"/>
            <ac:spMk id="272" creationId="{20CDA0A8-E271-1B57-A444-6D758CE2630D}"/>
          </ac:spMkLst>
        </pc:spChg>
        <pc:spChg chg="add del mod">
          <ac:chgData name="Steiner Andreas 6206 ED" userId="e6377c33-a923-4f14-8587-531c474c7b48" providerId="ADAL" clId="{6ECD27E6-B224-41CD-B4E0-E297462320DD}" dt="2023-11-24T08:40:48.644" v="40972"/>
          <ac:spMkLst>
            <pc:docMk/>
            <pc:sldMk cId="1226083679" sldId="2147478575"/>
            <ac:spMk id="273" creationId="{678B6D9F-D9A8-F881-32CA-3ACA08928FB2}"/>
          </ac:spMkLst>
        </pc:spChg>
        <pc:spChg chg="add del mod">
          <ac:chgData name="Steiner Andreas 6206 ED" userId="e6377c33-a923-4f14-8587-531c474c7b48" providerId="ADAL" clId="{6ECD27E6-B224-41CD-B4E0-E297462320DD}" dt="2023-11-24T08:40:51.620" v="41127"/>
          <ac:spMkLst>
            <pc:docMk/>
            <pc:sldMk cId="1226083679" sldId="2147478575"/>
            <ac:spMk id="274" creationId="{81A55345-B841-B999-6081-50A786CD9C1B}"/>
          </ac:spMkLst>
        </pc:spChg>
        <pc:spChg chg="add del mod">
          <ac:chgData name="Steiner Andreas 6206 ED" userId="e6377c33-a923-4f14-8587-531c474c7b48" providerId="ADAL" clId="{6ECD27E6-B224-41CD-B4E0-E297462320DD}" dt="2023-11-24T08:40:54.134" v="41282"/>
          <ac:spMkLst>
            <pc:docMk/>
            <pc:sldMk cId="1226083679" sldId="2147478575"/>
            <ac:spMk id="275" creationId="{9FC2AFF4-828A-52B2-B33C-4FC1445CF220}"/>
          </ac:spMkLst>
        </pc:spChg>
        <pc:spChg chg="add del mod">
          <ac:chgData name="Steiner Andreas 6206 ED" userId="e6377c33-a923-4f14-8587-531c474c7b48" providerId="ADAL" clId="{6ECD27E6-B224-41CD-B4E0-E297462320DD}" dt="2023-11-24T08:40:56.587" v="41437"/>
          <ac:spMkLst>
            <pc:docMk/>
            <pc:sldMk cId="1226083679" sldId="2147478575"/>
            <ac:spMk id="276" creationId="{961E0E8C-FA58-06D7-1274-5D3D348E3386}"/>
          </ac:spMkLst>
        </pc:spChg>
        <pc:spChg chg="add del mod">
          <ac:chgData name="Steiner Andreas 6206 ED" userId="e6377c33-a923-4f14-8587-531c474c7b48" providerId="ADAL" clId="{6ECD27E6-B224-41CD-B4E0-E297462320DD}" dt="2023-11-24T08:40:59.298" v="41592"/>
          <ac:spMkLst>
            <pc:docMk/>
            <pc:sldMk cId="1226083679" sldId="2147478575"/>
            <ac:spMk id="277" creationId="{4921ABE3-CD92-24EE-71F7-61C1709EFC98}"/>
          </ac:spMkLst>
        </pc:spChg>
        <pc:spChg chg="add del mod">
          <ac:chgData name="Steiner Andreas 6206 ED" userId="e6377c33-a923-4f14-8587-531c474c7b48" providerId="ADAL" clId="{6ECD27E6-B224-41CD-B4E0-E297462320DD}" dt="2023-11-24T08:41:02.200" v="41747"/>
          <ac:spMkLst>
            <pc:docMk/>
            <pc:sldMk cId="1226083679" sldId="2147478575"/>
            <ac:spMk id="278" creationId="{E9923B81-2886-EF3B-D724-869914BD89F3}"/>
          </ac:spMkLst>
        </pc:spChg>
        <pc:spChg chg="add del mod">
          <ac:chgData name="Steiner Andreas 6206 ED" userId="e6377c33-a923-4f14-8587-531c474c7b48" providerId="ADAL" clId="{6ECD27E6-B224-41CD-B4E0-E297462320DD}" dt="2023-11-24T08:41:05.002" v="41902"/>
          <ac:spMkLst>
            <pc:docMk/>
            <pc:sldMk cId="1226083679" sldId="2147478575"/>
            <ac:spMk id="279" creationId="{AC482BEB-6AA7-222F-47A2-31A89042FFFD}"/>
          </ac:spMkLst>
        </pc:spChg>
        <pc:spChg chg="add del mod">
          <ac:chgData name="Steiner Andreas 6206 ED" userId="e6377c33-a923-4f14-8587-531c474c7b48" providerId="ADAL" clId="{6ECD27E6-B224-41CD-B4E0-E297462320DD}" dt="2023-11-24T08:41:07.879" v="42057"/>
          <ac:spMkLst>
            <pc:docMk/>
            <pc:sldMk cId="1226083679" sldId="2147478575"/>
            <ac:spMk id="280" creationId="{F21344F8-B3A0-11CF-4045-610890F12AB8}"/>
          </ac:spMkLst>
        </pc:spChg>
        <pc:spChg chg="add del mod">
          <ac:chgData name="Steiner Andreas 6206 ED" userId="e6377c33-a923-4f14-8587-531c474c7b48" providerId="ADAL" clId="{6ECD27E6-B224-41CD-B4E0-E297462320DD}" dt="2023-11-24T08:41:12.034" v="42212"/>
          <ac:spMkLst>
            <pc:docMk/>
            <pc:sldMk cId="1226083679" sldId="2147478575"/>
            <ac:spMk id="281" creationId="{D5B344C0-733B-B950-EF09-5348AECE5887}"/>
          </ac:spMkLst>
        </pc:spChg>
        <pc:spChg chg="add del mod">
          <ac:chgData name="Steiner Andreas 6206 ED" userId="e6377c33-a923-4f14-8587-531c474c7b48" providerId="ADAL" clId="{6ECD27E6-B224-41CD-B4E0-E297462320DD}" dt="2023-11-24T08:41:15.028" v="42367"/>
          <ac:spMkLst>
            <pc:docMk/>
            <pc:sldMk cId="1226083679" sldId="2147478575"/>
            <ac:spMk id="282" creationId="{EEA025B9-CD21-14CA-2D0E-E968F908A15F}"/>
          </ac:spMkLst>
        </pc:spChg>
        <pc:spChg chg="add del mod">
          <ac:chgData name="Steiner Andreas 6206 ED" userId="e6377c33-a923-4f14-8587-531c474c7b48" providerId="ADAL" clId="{6ECD27E6-B224-41CD-B4E0-E297462320DD}" dt="2023-11-24T08:41:17.208" v="42522"/>
          <ac:spMkLst>
            <pc:docMk/>
            <pc:sldMk cId="1226083679" sldId="2147478575"/>
            <ac:spMk id="283" creationId="{EC062160-BDD5-CB61-33D6-ECA1237348F5}"/>
          </ac:spMkLst>
        </pc:spChg>
        <pc:spChg chg="add del mod">
          <ac:chgData name="Steiner Andreas 6206 ED" userId="e6377c33-a923-4f14-8587-531c474c7b48" providerId="ADAL" clId="{6ECD27E6-B224-41CD-B4E0-E297462320DD}" dt="2023-11-24T08:41:19.620" v="42677"/>
          <ac:spMkLst>
            <pc:docMk/>
            <pc:sldMk cId="1226083679" sldId="2147478575"/>
            <ac:spMk id="284" creationId="{67488AA4-F063-F65E-75E8-FF153D2CCAFA}"/>
          </ac:spMkLst>
        </pc:spChg>
        <pc:spChg chg="add del mod">
          <ac:chgData name="Steiner Andreas 6206 ED" userId="e6377c33-a923-4f14-8587-531c474c7b48" providerId="ADAL" clId="{6ECD27E6-B224-41CD-B4E0-E297462320DD}" dt="2023-11-24T08:41:21.961" v="42832"/>
          <ac:spMkLst>
            <pc:docMk/>
            <pc:sldMk cId="1226083679" sldId="2147478575"/>
            <ac:spMk id="285" creationId="{4B63EAD0-6E72-8BD5-2FDF-0865A5882EB9}"/>
          </ac:spMkLst>
        </pc:spChg>
        <pc:spChg chg="add del mod">
          <ac:chgData name="Steiner Andreas 6206 ED" userId="e6377c33-a923-4f14-8587-531c474c7b48" providerId="ADAL" clId="{6ECD27E6-B224-41CD-B4E0-E297462320DD}" dt="2023-11-24T08:41:24.093" v="42987"/>
          <ac:spMkLst>
            <pc:docMk/>
            <pc:sldMk cId="1226083679" sldId="2147478575"/>
            <ac:spMk id="286" creationId="{7787482A-E504-9621-7CE8-FD01A8A83435}"/>
          </ac:spMkLst>
        </pc:spChg>
        <pc:spChg chg="add del mod">
          <ac:chgData name="Steiner Andreas 6206 ED" userId="e6377c33-a923-4f14-8587-531c474c7b48" providerId="ADAL" clId="{6ECD27E6-B224-41CD-B4E0-E297462320DD}" dt="2023-11-24T08:41:26.481" v="43142"/>
          <ac:spMkLst>
            <pc:docMk/>
            <pc:sldMk cId="1226083679" sldId="2147478575"/>
            <ac:spMk id="287" creationId="{371B01C2-5DE7-7386-635E-8D66F3D2394D}"/>
          </ac:spMkLst>
        </pc:spChg>
        <pc:spChg chg="add del mod">
          <ac:chgData name="Steiner Andreas 6206 ED" userId="e6377c33-a923-4f14-8587-531c474c7b48" providerId="ADAL" clId="{6ECD27E6-B224-41CD-B4E0-E297462320DD}" dt="2023-11-24T08:41:28.785" v="43297"/>
          <ac:spMkLst>
            <pc:docMk/>
            <pc:sldMk cId="1226083679" sldId="2147478575"/>
            <ac:spMk id="288" creationId="{4494E448-C523-C51F-62ED-58E9320EF3CD}"/>
          </ac:spMkLst>
        </pc:spChg>
        <pc:spChg chg="add del mod">
          <ac:chgData name="Steiner Andreas 6206 ED" userId="e6377c33-a923-4f14-8587-531c474c7b48" providerId="ADAL" clId="{6ECD27E6-B224-41CD-B4E0-E297462320DD}" dt="2023-11-24T08:41:30.938" v="43452"/>
          <ac:spMkLst>
            <pc:docMk/>
            <pc:sldMk cId="1226083679" sldId="2147478575"/>
            <ac:spMk id="289" creationId="{B8F1E3BA-AF7D-B066-BCE3-2C51B17414B6}"/>
          </ac:spMkLst>
        </pc:spChg>
        <pc:spChg chg="add del mod">
          <ac:chgData name="Steiner Andreas 6206 ED" userId="e6377c33-a923-4f14-8587-531c474c7b48" providerId="ADAL" clId="{6ECD27E6-B224-41CD-B4E0-E297462320DD}" dt="2023-11-24T08:41:35.021" v="43607"/>
          <ac:spMkLst>
            <pc:docMk/>
            <pc:sldMk cId="1226083679" sldId="2147478575"/>
            <ac:spMk id="290" creationId="{F1AEB48E-46A1-2F46-D9FB-3C656CF8579D}"/>
          </ac:spMkLst>
        </pc:spChg>
        <pc:spChg chg="add del mod">
          <ac:chgData name="Steiner Andreas 6206 ED" userId="e6377c33-a923-4f14-8587-531c474c7b48" providerId="ADAL" clId="{6ECD27E6-B224-41CD-B4E0-E297462320DD}" dt="2023-11-24T08:41:38.086" v="43762"/>
          <ac:spMkLst>
            <pc:docMk/>
            <pc:sldMk cId="1226083679" sldId="2147478575"/>
            <ac:spMk id="291" creationId="{778956C2-5D79-FF9F-A6F3-6E29384AC2B9}"/>
          </ac:spMkLst>
        </pc:spChg>
        <pc:spChg chg="add del mod">
          <ac:chgData name="Steiner Andreas 6206 ED" userId="e6377c33-a923-4f14-8587-531c474c7b48" providerId="ADAL" clId="{6ECD27E6-B224-41CD-B4E0-E297462320DD}" dt="2023-11-24T08:41:40.644" v="43917"/>
          <ac:spMkLst>
            <pc:docMk/>
            <pc:sldMk cId="1226083679" sldId="2147478575"/>
            <ac:spMk id="292" creationId="{EABED7F1-5A60-8FC0-CCA8-776836E7CA8A}"/>
          </ac:spMkLst>
        </pc:spChg>
        <pc:spChg chg="add del mod">
          <ac:chgData name="Steiner Andreas 6206 ED" userId="e6377c33-a923-4f14-8587-531c474c7b48" providerId="ADAL" clId="{6ECD27E6-B224-41CD-B4E0-E297462320DD}" dt="2023-11-24T08:41:43.020" v="44072"/>
          <ac:spMkLst>
            <pc:docMk/>
            <pc:sldMk cId="1226083679" sldId="2147478575"/>
            <ac:spMk id="293" creationId="{5769CF57-F491-91AD-F2AA-EBA739F4CE73}"/>
          </ac:spMkLst>
        </pc:spChg>
        <pc:spChg chg="add del mod">
          <ac:chgData name="Steiner Andreas 6206 ED" userId="e6377c33-a923-4f14-8587-531c474c7b48" providerId="ADAL" clId="{6ECD27E6-B224-41CD-B4E0-E297462320DD}" dt="2023-11-24T08:41:44.959" v="44227"/>
          <ac:spMkLst>
            <pc:docMk/>
            <pc:sldMk cId="1226083679" sldId="2147478575"/>
            <ac:spMk id="294" creationId="{230D192C-3AB0-5DEF-3FDB-EBEE8E59C8B6}"/>
          </ac:spMkLst>
        </pc:spChg>
        <pc:spChg chg="add del mod">
          <ac:chgData name="Steiner Andreas 6206 ED" userId="e6377c33-a923-4f14-8587-531c474c7b48" providerId="ADAL" clId="{6ECD27E6-B224-41CD-B4E0-E297462320DD}" dt="2023-11-24T08:41:46.872" v="44382"/>
          <ac:spMkLst>
            <pc:docMk/>
            <pc:sldMk cId="1226083679" sldId="2147478575"/>
            <ac:spMk id="295" creationId="{7562271C-ABB1-E5BC-323D-59D1D20377C1}"/>
          </ac:spMkLst>
        </pc:spChg>
        <pc:spChg chg="add del mod">
          <ac:chgData name="Steiner Andreas 6206 ED" userId="e6377c33-a923-4f14-8587-531c474c7b48" providerId="ADAL" clId="{6ECD27E6-B224-41CD-B4E0-E297462320DD}" dt="2023-11-24T08:41:48.872" v="44537"/>
          <ac:spMkLst>
            <pc:docMk/>
            <pc:sldMk cId="1226083679" sldId="2147478575"/>
            <ac:spMk id="296" creationId="{6972CAAA-1B7E-FC7E-59EC-08162DF9582D}"/>
          </ac:spMkLst>
        </pc:spChg>
        <pc:spChg chg="add del mod">
          <ac:chgData name="Steiner Andreas 6206 ED" userId="e6377c33-a923-4f14-8587-531c474c7b48" providerId="ADAL" clId="{6ECD27E6-B224-41CD-B4E0-E297462320DD}" dt="2023-11-24T08:41:50.769" v="44692"/>
          <ac:spMkLst>
            <pc:docMk/>
            <pc:sldMk cId="1226083679" sldId="2147478575"/>
            <ac:spMk id="297" creationId="{9CEB1F44-9B09-B526-12EC-47FF6CE910B8}"/>
          </ac:spMkLst>
        </pc:spChg>
        <pc:spChg chg="add del mod">
          <ac:chgData name="Steiner Andreas 6206 ED" userId="e6377c33-a923-4f14-8587-531c474c7b48" providerId="ADAL" clId="{6ECD27E6-B224-41CD-B4E0-E297462320DD}" dt="2023-11-24T08:41:53.066" v="44847"/>
          <ac:spMkLst>
            <pc:docMk/>
            <pc:sldMk cId="1226083679" sldId="2147478575"/>
            <ac:spMk id="298" creationId="{BCA39D0B-DD9D-24F3-67EC-0B15D1E0A617}"/>
          </ac:spMkLst>
        </pc:spChg>
        <pc:spChg chg="add del mod">
          <ac:chgData name="Steiner Andreas 6206 ED" userId="e6377c33-a923-4f14-8587-531c474c7b48" providerId="ADAL" clId="{6ECD27E6-B224-41CD-B4E0-E297462320DD}" dt="2023-11-24T08:41:55.015" v="45002"/>
          <ac:spMkLst>
            <pc:docMk/>
            <pc:sldMk cId="1226083679" sldId="2147478575"/>
            <ac:spMk id="299" creationId="{17C972B1-92F7-3B64-2C5A-03BC60EA60E0}"/>
          </ac:spMkLst>
        </pc:spChg>
        <pc:spChg chg="add del mod">
          <ac:chgData name="Steiner Andreas 6206 ED" userId="e6377c33-a923-4f14-8587-531c474c7b48" providerId="ADAL" clId="{6ECD27E6-B224-41CD-B4E0-E297462320DD}" dt="2023-11-24T08:41:57.274" v="45157"/>
          <ac:spMkLst>
            <pc:docMk/>
            <pc:sldMk cId="1226083679" sldId="2147478575"/>
            <ac:spMk id="300" creationId="{12EE0761-7C03-FFD9-FF45-FA4EED09417B}"/>
          </ac:spMkLst>
        </pc:spChg>
        <pc:spChg chg="add del mod">
          <ac:chgData name="Steiner Andreas 6206 ED" userId="e6377c33-a923-4f14-8587-531c474c7b48" providerId="ADAL" clId="{6ECD27E6-B224-41CD-B4E0-E297462320DD}" dt="2023-11-24T08:41:59.346" v="45312"/>
          <ac:spMkLst>
            <pc:docMk/>
            <pc:sldMk cId="1226083679" sldId="2147478575"/>
            <ac:spMk id="301" creationId="{CD174168-9C8D-EBCD-7F60-0DDA5BE6A040}"/>
          </ac:spMkLst>
        </pc:spChg>
        <pc:spChg chg="add del mod">
          <ac:chgData name="Steiner Andreas 6206 ED" userId="e6377c33-a923-4f14-8587-531c474c7b48" providerId="ADAL" clId="{6ECD27E6-B224-41CD-B4E0-E297462320DD}" dt="2023-11-24T08:42:01.690" v="45467"/>
          <ac:spMkLst>
            <pc:docMk/>
            <pc:sldMk cId="1226083679" sldId="2147478575"/>
            <ac:spMk id="302" creationId="{2BC7B650-75E3-38B1-FA7B-ABAC34AB77F8}"/>
          </ac:spMkLst>
        </pc:spChg>
        <pc:spChg chg="add del mod">
          <ac:chgData name="Steiner Andreas 6206 ED" userId="e6377c33-a923-4f14-8587-531c474c7b48" providerId="ADAL" clId="{6ECD27E6-B224-41CD-B4E0-E297462320DD}" dt="2023-11-24T08:42:03.694" v="45622"/>
          <ac:spMkLst>
            <pc:docMk/>
            <pc:sldMk cId="1226083679" sldId="2147478575"/>
            <ac:spMk id="303" creationId="{B277058A-3CD0-71FE-3161-ADCD34A5676F}"/>
          </ac:spMkLst>
        </pc:spChg>
        <pc:spChg chg="add del mod">
          <ac:chgData name="Steiner Andreas 6206 ED" userId="e6377c33-a923-4f14-8587-531c474c7b48" providerId="ADAL" clId="{6ECD27E6-B224-41CD-B4E0-E297462320DD}" dt="2023-11-24T08:42:05.665" v="45777"/>
          <ac:spMkLst>
            <pc:docMk/>
            <pc:sldMk cId="1226083679" sldId="2147478575"/>
            <ac:spMk id="304" creationId="{1DEECCD3-5227-9F56-B4E6-E4AE10BAFB06}"/>
          </ac:spMkLst>
        </pc:spChg>
        <pc:spChg chg="add del mod">
          <ac:chgData name="Steiner Andreas 6206 ED" userId="e6377c33-a923-4f14-8587-531c474c7b48" providerId="ADAL" clId="{6ECD27E6-B224-41CD-B4E0-E297462320DD}" dt="2023-11-24T08:42:07.564" v="45932"/>
          <ac:spMkLst>
            <pc:docMk/>
            <pc:sldMk cId="1226083679" sldId="2147478575"/>
            <ac:spMk id="305" creationId="{9A1318F3-453F-4013-363E-24A945E83D6E}"/>
          </ac:spMkLst>
        </pc:spChg>
        <pc:spChg chg="add del mod">
          <ac:chgData name="Steiner Andreas 6206 ED" userId="e6377c33-a923-4f14-8587-531c474c7b48" providerId="ADAL" clId="{6ECD27E6-B224-41CD-B4E0-E297462320DD}" dt="2023-11-24T08:42:09.466" v="46087"/>
          <ac:spMkLst>
            <pc:docMk/>
            <pc:sldMk cId="1226083679" sldId="2147478575"/>
            <ac:spMk id="306" creationId="{3922DF47-0498-70AA-A4E9-EF62166A8A44}"/>
          </ac:spMkLst>
        </pc:spChg>
        <pc:spChg chg="add del mod">
          <ac:chgData name="Steiner Andreas 6206 ED" userId="e6377c33-a923-4f14-8587-531c474c7b48" providerId="ADAL" clId="{6ECD27E6-B224-41CD-B4E0-E297462320DD}" dt="2023-11-24T08:42:11.721" v="46242"/>
          <ac:spMkLst>
            <pc:docMk/>
            <pc:sldMk cId="1226083679" sldId="2147478575"/>
            <ac:spMk id="307" creationId="{4FC3E6AE-BEC7-B252-6A84-05AB2E9CA1E3}"/>
          </ac:spMkLst>
        </pc:spChg>
        <pc:spChg chg="add del mod">
          <ac:chgData name="Steiner Andreas 6206 ED" userId="e6377c33-a923-4f14-8587-531c474c7b48" providerId="ADAL" clId="{6ECD27E6-B224-41CD-B4E0-E297462320DD}" dt="2023-11-24T08:42:14.034" v="46397"/>
          <ac:spMkLst>
            <pc:docMk/>
            <pc:sldMk cId="1226083679" sldId="2147478575"/>
            <ac:spMk id="308" creationId="{1848CAF2-1831-83F0-BC48-4E9EC427F9CC}"/>
          </ac:spMkLst>
        </pc:spChg>
        <pc:spChg chg="add del mod">
          <ac:chgData name="Steiner Andreas 6206 ED" userId="e6377c33-a923-4f14-8587-531c474c7b48" providerId="ADAL" clId="{6ECD27E6-B224-41CD-B4E0-E297462320DD}" dt="2023-11-24T08:42:16.734" v="46552"/>
          <ac:spMkLst>
            <pc:docMk/>
            <pc:sldMk cId="1226083679" sldId="2147478575"/>
            <ac:spMk id="309" creationId="{ABFA2E17-E551-8BB4-90F2-D48CCFCF0E3A}"/>
          </ac:spMkLst>
        </pc:spChg>
        <pc:spChg chg="add del mod">
          <ac:chgData name="Steiner Andreas 6206 ED" userId="e6377c33-a923-4f14-8587-531c474c7b48" providerId="ADAL" clId="{6ECD27E6-B224-41CD-B4E0-E297462320DD}" dt="2023-11-24T08:42:18.816" v="46707"/>
          <ac:spMkLst>
            <pc:docMk/>
            <pc:sldMk cId="1226083679" sldId="2147478575"/>
            <ac:spMk id="310" creationId="{9D3C761F-02C0-13DA-9AF6-BE4F19162809}"/>
          </ac:spMkLst>
        </pc:spChg>
        <pc:spChg chg="add del mod">
          <ac:chgData name="Steiner Andreas 6206 ED" userId="e6377c33-a923-4f14-8587-531c474c7b48" providerId="ADAL" clId="{6ECD27E6-B224-41CD-B4E0-E297462320DD}" dt="2023-11-24T08:42:21.087" v="46862"/>
          <ac:spMkLst>
            <pc:docMk/>
            <pc:sldMk cId="1226083679" sldId="2147478575"/>
            <ac:spMk id="311" creationId="{42706643-C6D8-F736-498A-188B42159990}"/>
          </ac:spMkLst>
        </pc:spChg>
        <pc:spChg chg="add del mod">
          <ac:chgData name="Steiner Andreas 6206 ED" userId="e6377c33-a923-4f14-8587-531c474c7b48" providerId="ADAL" clId="{6ECD27E6-B224-41CD-B4E0-E297462320DD}" dt="2023-11-24T08:42:23.713" v="47017"/>
          <ac:spMkLst>
            <pc:docMk/>
            <pc:sldMk cId="1226083679" sldId="2147478575"/>
            <ac:spMk id="312" creationId="{E3BC4BC9-DFB4-E869-30B2-B7714AF5CC93}"/>
          </ac:spMkLst>
        </pc:spChg>
        <pc:spChg chg="add del mod">
          <ac:chgData name="Steiner Andreas 6206 ED" userId="e6377c33-a923-4f14-8587-531c474c7b48" providerId="ADAL" clId="{6ECD27E6-B224-41CD-B4E0-E297462320DD}" dt="2023-11-24T08:42:25.816" v="47172"/>
          <ac:spMkLst>
            <pc:docMk/>
            <pc:sldMk cId="1226083679" sldId="2147478575"/>
            <ac:spMk id="313" creationId="{303F30F4-C3CA-6D7A-4F38-890328E0FBC6}"/>
          </ac:spMkLst>
        </pc:spChg>
        <pc:spChg chg="add del mod">
          <ac:chgData name="Steiner Andreas 6206 ED" userId="e6377c33-a923-4f14-8587-531c474c7b48" providerId="ADAL" clId="{6ECD27E6-B224-41CD-B4E0-E297462320DD}" dt="2023-11-24T08:42:27.707" v="47327"/>
          <ac:spMkLst>
            <pc:docMk/>
            <pc:sldMk cId="1226083679" sldId="2147478575"/>
            <ac:spMk id="314" creationId="{3C2AA76D-521F-628F-F53B-9EC00BA7B388}"/>
          </ac:spMkLst>
        </pc:spChg>
        <pc:spChg chg="add del mod">
          <ac:chgData name="Steiner Andreas 6206 ED" userId="e6377c33-a923-4f14-8587-531c474c7b48" providerId="ADAL" clId="{6ECD27E6-B224-41CD-B4E0-E297462320DD}" dt="2023-11-24T08:42:29.438" v="47482"/>
          <ac:spMkLst>
            <pc:docMk/>
            <pc:sldMk cId="1226083679" sldId="2147478575"/>
            <ac:spMk id="315" creationId="{180E4B33-5D3E-D6E9-61B2-D03E8A342134}"/>
          </ac:spMkLst>
        </pc:spChg>
        <pc:spChg chg="add del mod">
          <ac:chgData name="Steiner Andreas 6206 ED" userId="e6377c33-a923-4f14-8587-531c474c7b48" providerId="ADAL" clId="{6ECD27E6-B224-41CD-B4E0-E297462320DD}" dt="2023-11-24T08:42:31.347" v="47637"/>
          <ac:spMkLst>
            <pc:docMk/>
            <pc:sldMk cId="1226083679" sldId="2147478575"/>
            <ac:spMk id="316" creationId="{3A3AF9A9-7336-FE1B-D656-57585E8133DB}"/>
          </ac:spMkLst>
        </pc:spChg>
        <pc:spChg chg="add del mod">
          <ac:chgData name="Steiner Andreas 6206 ED" userId="e6377c33-a923-4f14-8587-531c474c7b48" providerId="ADAL" clId="{6ECD27E6-B224-41CD-B4E0-E297462320DD}" dt="2023-11-24T08:42:33.324" v="47792"/>
          <ac:spMkLst>
            <pc:docMk/>
            <pc:sldMk cId="1226083679" sldId="2147478575"/>
            <ac:spMk id="317" creationId="{D2D38B17-BD7D-65AC-9A5A-B057EB4C3534}"/>
          </ac:spMkLst>
        </pc:spChg>
        <pc:spChg chg="add del mod">
          <ac:chgData name="Steiner Andreas 6206 ED" userId="e6377c33-a923-4f14-8587-531c474c7b48" providerId="ADAL" clId="{6ECD27E6-B224-41CD-B4E0-E297462320DD}" dt="2023-11-24T08:42:35.417" v="47947"/>
          <ac:spMkLst>
            <pc:docMk/>
            <pc:sldMk cId="1226083679" sldId="2147478575"/>
            <ac:spMk id="318" creationId="{D921FC13-1D82-D2EF-3348-E85DB6A75FDD}"/>
          </ac:spMkLst>
        </pc:spChg>
        <pc:spChg chg="add del mod">
          <ac:chgData name="Steiner Andreas 6206 ED" userId="e6377c33-a923-4f14-8587-531c474c7b48" providerId="ADAL" clId="{6ECD27E6-B224-41CD-B4E0-E297462320DD}" dt="2023-11-24T08:42:37.307" v="48102"/>
          <ac:spMkLst>
            <pc:docMk/>
            <pc:sldMk cId="1226083679" sldId="2147478575"/>
            <ac:spMk id="319" creationId="{02125C65-3301-260D-0D27-E0B62FDA8758}"/>
          </ac:spMkLst>
        </pc:spChg>
        <pc:spChg chg="add del mod">
          <ac:chgData name="Steiner Andreas 6206 ED" userId="e6377c33-a923-4f14-8587-531c474c7b48" providerId="ADAL" clId="{6ECD27E6-B224-41CD-B4E0-E297462320DD}" dt="2023-11-24T08:42:39.169" v="48257"/>
          <ac:spMkLst>
            <pc:docMk/>
            <pc:sldMk cId="1226083679" sldId="2147478575"/>
            <ac:spMk id="320" creationId="{934CC95A-102E-F70D-B112-B17B70149496}"/>
          </ac:spMkLst>
        </pc:spChg>
        <pc:spChg chg="add del mod">
          <ac:chgData name="Steiner Andreas 6206 ED" userId="e6377c33-a923-4f14-8587-531c474c7b48" providerId="ADAL" clId="{6ECD27E6-B224-41CD-B4E0-E297462320DD}" dt="2023-11-24T08:42:41.252" v="48412"/>
          <ac:spMkLst>
            <pc:docMk/>
            <pc:sldMk cId="1226083679" sldId="2147478575"/>
            <ac:spMk id="321" creationId="{FFC22245-A6AA-0EE2-1BE5-727D9994C453}"/>
          </ac:spMkLst>
        </pc:spChg>
        <pc:spChg chg="add del mod">
          <ac:chgData name="Steiner Andreas 6206 ED" userId="e6377c33-a923-4f14-8587-531c474c7b48" providerId="ADAL" clId="{6ECD27E6-B224-41CD-B4E0-E297462320DD}" dt="2023-11-24T08:42:43.360" v="48567"/>
          <ac:spMkLst>
            <pc:docMk/>
            <pc:sldMk cId="1226083679" sldId="2147478575"/>
            <ac:spMk id="322" creationId="{A5200100-C521-D76F-6396-B8EFCA9563C8}"/>
          </ac:spMkLst>
        </pc:spChg>
        <pc:spChg chg="add del mod">
          <ac:chgData name="Steiner Andreas 6206 ED" userId="e6377c33-a923-4f14-8587-531c474c7b48" providerId="ADAL" clId="{6ECD27E6-B224-41CD-B4E0-E297462320DD}" dt="2023-11-24T08:42:45.356" v="48722"/>
          <ac:spMkLst>
            <pc:docMk/>
            <pc:sldMk cId="1226083679" sldId="2147478575"/>
            <ac:spMk id="323" creationId="{1E2D51CD-A980-7150-2116-56491A829974}"/>
          </ac:spMkLst>
        </pc:spChg>
        <pc:spChg chg="add del mod">
          <ac:chgData name="Steiner Andreas 6206 ED" userId="e6377c33-a923-4f14-8587-531c474c7b48" providerId="ADAL" clId="{6ECD27E6-B224-41CD-B4E0-E297462320DD}" dt="2023-11-24T08:42:47.300" v="48877"/>
          <ac:spMkLst>
            <pc:docMk/>
            <pc:sldMk cId="1226083679" sldId="2147478575"/>
            <ac:spMk id="324" creationId="{6783C73B-6DC2-9E42-7736-CF1FBAAF901E}"/>
          </ac:spMkLst>
        </pc:spChg>
        <pc:spChg chg="add del mod">
          <ac:chgData name="Steiner Andreas 6206 ED" userId="e6377c33-a923-4f14-8587-531c474c7b48" providerId="ADAL" clId="{6ECD27E6-B224-41CD-B4E0-E297462320DD}" dt="2023-11-24T08:42:49.137" v="49032"/>
          <ac:spMkLst>
            <pc:docMk/>
            <pc:sldMk cId="1226083679" sldId="2147478575"/>
            <ac:spMk id="325" creationId="{A5825698-B29C-0FE2-CD2D-318CAF56C0B2}"/>
          </ac:spMkLst>
        </pc:spChg>
        <pc:spChg chg="add del mod">
          <ac:chgData name="Steiner Andreas 6206 ED" userId="e6377c33-a923-4f14-8587-531c474c7b48" providerId="ADAL" clId="{6ECD27E6-B224-41CD-B4E0-E297462320DD}" dt="2023-11-24T08:42:50.981" v="49187"/>
          <ac:spMkLst>
            <pc:docMk/>
            <pc:sldMk cId="1226083679" sldId="2147478575"/>
            <ac:spMk id="326" creationId="{EB2915B6-05E5-AF2D-5250-795412B62F0D}"/>
          </ac:spMkLst>
        </pc:spChg>
        <pc:spChg chg="add del mod">
          <ac:chgData name="Steiner Andreas 6206 ED" userId="e6377c33-a923-4f14-8587-531c474c7b48" providerId="ADAL" clId="{6ECD27E6-B224-41CD-B4E0-E297462320DD}" dt="2023-11-24T08:42:53.050" v="49342"/>
          <ac:spMkLst>
            <pc:docMk/>
            <pc:sldMk cId="1226083679" sldId="2147478575"/>
            <ac:spMk id="327" creationId="{6B9583A8-3EC2-56D3-93C3-E3430481AB94}"/>
          </ac:spMkLst>
        </pc:spChg>
        <pc:spChg chg="add del mod">
          <ac:chgData name="Steiner Andreas 6206 ED" userId="e6377c33-a923-4f14-8587-531c474c7b48" providerId="ADAL" clId="{6ECD27E6-B224-41CD-B4E0-E297462320DD}" dt="2023-11-24T08:42:55.610" v="49497"/>
          <ac:spMkLst>
            <pc:docMk/>
            <pc:sldMk cId="1226083679" sldId="2147478575"/>
            <ac:spMk id="328" creationId="{6CD9E963-1E76-FDF7-B01A-E2E2FC9E2F5C}"/>
          </ac:spMkLst>
        </pc:spChg>
        <pc:spChg chg="add del mod">
          <ac:chgData name="Steiner Andreas 6206 ED" userId="e6377c33-a923-4f14-8587-531c474c7b48" providerId="ADAL" clId="{6ECD27E6-B224-41CD-B4E0-E297462320DD}" dt="2023-11-24T08:42:57.755" v="49652"/>
          <ac:spMkLst>
            <pc:docMk/>
            <pc:sldMk cId="1226083679" sldId="2147478575"/>
            <ac:spMk id="329" creationId="{BA9E14CB-32AA-B852-518D-60280FC07F36}"/>
          </ac:spMkLst>
        </pc:spChg>
        <pc:spChg chg="add del mod">
          <ac:chgData name="Steiner Andreas 6206 ED" userId="e6377c33-a923-4f14-8587-531c474c7b48" providerId="ADAL" clId="{6ECD27E6-B224-41CD-B4E0-E297462320DD}" dt="2023-11-24T08:42:59.709" v="49807"/>
          <ac:spMkLst>
            <pc:docMk/>
            <pc:sldMk cId="1226083679" sldId="2147478575"/>
            <ac:spMk id="330" creationId="{43BE92BD-7445-97F1-8280-DBC1BEEB75E4}"/>
          </ac:spMkLst>
        </pc:spChg>
        <pc:spChg chg="add del mod">
          <ac:chgData name="Steiner Andreas 6206 ED" userId="e6377c33-a923-4f14-8587-531c474c7b48" providerId="ADAL" clId="{6ECD27E6-B224-41CD-B4E0-E297462320DD}" dt="2023-11-24T08:43:01.689" v="49962"/>
          <ac:spMkLst>
            <pc:docMk/>
            <pc:sldMk cId="1226083679" sldId="2147478575"/>
            <ac:spMk id="331" creationId="{3D9210BD-AF93-99A2-39A9-643064FDB787}"/>
          </ac:spMkLst>
        </pc:spChg>
        <pc:spChg chg="add del mod">
          <ac:chgData name="Steiner Andreas 6206 ED" userId="e6377c33-a923-4f14-8587-531c474c7b48" providerId="ADAL" clId="{6ECD27E6-B224-41CD-B4E0-E297462320DD}" dt="2023-11-24T08:43:03.687" v="50117"/>
          <ac:spMkLst>
            <pc:docMk/>
            <pc:sldMk cId="1226083679" sldId="2147478575"/>
            <ac:spMk id="332" creationId="{E73DE387-09D9-3412-D194-8E44C8CCACB1}"/>
          </ac:spMkLst>
        </pc:spChg>
        <pc:spChg chg="add del mod">
          <ac:chgData name="Steiner Andreas 6206 ED" userId="e6377c33-a923-4f14-8587-531c474c7b48" providerId="ADAL" clId="{6ECD27E6-B224-41CD-B4E0-E297462320DD}" dt="2023-11-24T08:43:05.547" v="50272"/>
          <ac:spMkLst>
            <pc:docMk/>
            <pc:sldMk cId="1226083679" sldId="2147478575"/>
            <ac:spMk id="333" creationId="{15559EB9-3940-6359-DD26-76787129D9C1}"/>
          </ac:spMkLst>
        </pc:spChg>
        <pc:spChg chg="add del mod">
          <ac:chgData name="Steiner Andreas 6206 ED" userId="e6377c33-a923-4f14-8587-531c474c7b48" providerId="ADAL" clId="{6ECD27E6-B224-41CD-B4E0-E297462320DD}" dt="2023-11-24T08:43:07.680" v="50427"/>
          <ac:spMkLst>
            <pc:docMk/>
            <pc:sldMk cId="1226083679" sldId="2147478575"/>
            <ac:spMk id="334" creationId="{313ECEF1-F3AF-0B4B-197A-C4065BC7A098}"/>
          </ac:spMkLst>
        </pc:spChg>
        <pc:spChg chg="add del mod">
          <ac:chgData name="Steiner Andreas 6206 ED" userId="e6377c33-a923-4f14-8587-531c474c7b48" providerId="ADAL" clId="{6ECD27E6-B224-41CD-B4E0-E297462320DD}" dt="2023-11-24T08:43:09.852" v="50582"/>
          <ac:spMkLst>
            <pc:docMk/>
            <pc:sldMk cId="1226083679" sldId="2147478575"/>
            <ac:spMk id="335" creationId="{DF673F5A-C4C8-36A1-C546-87FE5FEF5257}"/>
          </ac:spMkLst>
        </pc:spChg>
        <pc:spChg chg="add del mod">
          <ac:chgData name="Steiner Andreas 6206 ED" userId="e6377c33-a923-4f14-8587-531c474c7b48" providerId="ADAL" clId="{6ECD27E6-B224-41CD-B4E0-E297462320DD}" dt="2023-11-24T08:43:11.671" v="50737"/>
          <ac:spMkLst>
            <pc:docMk/>
            <pc:sldMk cId="1226083679" sldId="2147478575"/>
            <ac:spMk id="336" creationId="{4B918F93-3B72-DDD3-AD40-563D1BB36300}"/>
          </ac:spMkLst>
        </pc:spChg>
        <pc:spChg chg="add del mod">
          <ac:chgData name="Steiner Andreas 6206 ED" userId="e6377c33-a923-4f14-8587-531c474c7b48" providerId="ADAL" clId="{6ECD27E6-B224-41CD-B4E0-E297462320DD}" dt="2023-11-24T08:43:13.716" v="50892"/>
          <ac:spMkLst>
            <pc:docMk/>
            <pc:sldMk cId="1226083679" sldId="2147478575"/>
            <ac:spMk id="337" creationId="{F4948736-B9FF-1BF9-9F3C-F79D599D1513}"/>
          </ac:spMkLst>
        </pc:spChg>
        <pc:spChg chg="add del mod">
          <ac:chgData name="Steiner Andreas 6206 ED" userId="e6377c33-a923-4f14-8587-531c474c7b48" providerId="ADAL" clId="{6ECD27E6-B224-41CD-B4E0-E297462320DD}" dt="2023-11-24T08:43:15.657" v="51047"/>
          <ac:spMkLst>
            <pc:docMk/>
            <pc:sldMk cId="1226083679" sldId="2147478575"/>
            <ac:spMk id="338" creationId="{25143E8E-2916-79D9-435D-9EC480ED9988}"/>
          </ac:spMkLst>
        </pc:spChg>
        <pc:spChg chg="add del mod">
          <ac:chgData name="Steiner Andreas 6206 ED" userId="e6377c33-a923-4f14-8587-531c474c7b48" providerId="ADAL" clId="{6ECD27E6-B224-41CD-B4E0-E297462320DD}" dt="2023-11-24T08:43:17.792" v="51202"/>
          <ac:spMkLst>
            <pc:docMk/>
            <pc:sldMk cId="1226083679" sldId="2147478575"/>
            <ac:spMk id="339" creationId="{F8F7AFF0-1873-2A00-94E1-A60101BABAAD}"/>
          </ac:spMkLst>
        </pc:spChg>
        <pc:spChg chg="add del mod">
          <ac:chgData name="Steiner Andreas 6206 ED" userId="e6377c33-a923-4f14-8587-531c474c7b48" providerId="ADAL" clId="{6ECD27E6-B224-41CD-B4E0-E297462320DD}" dt="2023-11-24T08:43:19.747" v="51357"/>
          <ac:spMkLst>
            <pc:docMk/>
            <pc:sldMk cId="1226083679" sldId="2147478575"/>
            <ac:spMk id="340" creationId="{65BF749B-6801-E1F3-BAAA-AA96219AF1B7}"/>
          </ac:spMkLst>
        </pc:spChg>
        <pc:spChg chg="add del mod">
          <ac:chgData name="Steiner Andreas 6206 ED" userId="e6377c33-a923-4f14-8587-531c474c7b48" providerId="ADAL" clId="{6ECD27E6-B224-41CD-B4E0-E297462320DD}" dt="2023-11-24T08:43:21.686" v="51512"/>
          <ac:spMkLst>
            <pc:docMk/>
            <pc:sldMk cId="1226083679" sldId="2147478575"/>
            <ac:spMk id="341" creationId="{0B426005-2713-18A4-CF75-9BCB5CFAA90C}"/>
          </ac:spMkLst>
        </pc:spChg>
        <pc:spChg chg="add del mod">
          <ac:chgData name="Steiner Andreas 6206 ED" userId="e6377c33-a923-4f14-8587-531c474c7b48" providerId="ADAL" clId="{6ECD27E6-B224-41CD-B4E0-E297462320DD}" dt="2023-11-24T08:43:23.614" v="51667"/>
          <ac:spMkLst>
            <pc:docMk/>
            <pc:sldMk cId="1226083679" sldId="2147478575"/>
            <ac:spMk id="342" creationId="{C050D7DB-3C2B-E3DF-2867-D2929A499E9C}"/>
          </ac:spMkLst>
        </pc:spChg>
        <pc:spChg chg="add del mod">
          <ac:chgData name="Steiner Andreas 6206 ED" userId="e6377c33-a923-4f14-8587-531c474c7b48" providerId="ADAL" clId="{6ECD27E6-B224-41CD-B4E0-E297462320DD}" dt="2023-11-24T08:43:25.504" v="51822"/>
          <ac:spMkLst>
            <pc:docMk/>
            <pc:sldMk cId="1226083679" sldId="2147478575"/>
            <ac:spMk id="343" creationId="{B1AF13A8-D4A6-D19B-4BC6-9451AD2B4221}"/>
          </ac:spMkLst>
        </pc:spChg>
        <pc:spChg chg="add del mod">
          <ac:chgData name="Steiner Andreas 6206 ED" userId="e6377c33-a923-4f14-8587-531c474c7b48" providerId="ADAL" clId="{6ECD27E6-B224-41CD-B4E0-E297462320DD}" dt="2023-11-24T08:43:27.337" v="51977"/>
          <ac:spMkLst>
            <pc:docMk/>
            <pc:sldMk cId="1226083679" sldId="2147478575"/>
            <ac:spMk id="344" creationId="{CDEBC797-6032-AA88-96C2-D33189C76621}"/>
          </ac:spMkLst>
        </pc:spChg>
        <pc:spChg chg="add del mod">
          <ac:chgData name="Steiner Andreas 6206 ED" userId="e6377c33-a923-4f14-8587-531c474c7b48" providerId="ADAL" clId="{6ECD27E6-B224-41CD-B4E0-E297462320DD}" dt="2023-11-24T08:43:29.161" v="52132"/>
          <ac:spMkLst>
            <pc:docMk/>
            <pc:sldMk cId="1226083679" sldId="2147478575"/>
            <ac:spMk id="345" creationId="{06217469-A099-B042-213D-74DC32EB028F}"/>
          </ac:spMkLst>
        </pc:spChg>
        <pc:spChg chg="add del mod">
          <ac:chgData name="Steiner Andreas 6206 ED" userId="e6377c33-a923-4f14-8587-531c474c7b48" providerId="ADAL" clId="{6ECD27E6-B224-41CD-B4E0-E297462320DD}" dt="2023-11-24T08:43:31.595" v="52287"/>
          <ac:spMkLst>
            <pc:docMk/>
            <pc:sldMk cId="1226083679" sldId="2147478575"/>
            <ac:spMk id="346" creationId="{7F621D69-E063-BB3E-C840-FEE2CD5F7B2D}"/>
          </ac:spMkLst>
        </pc:spChg>
        <pc:spChg chg="add del mod">
          <ac:chgData name="Steiner Andreas 6206 ED" userId="e6377c33-a923-4f14-8587-531c474c7b48" providerId="ADAL" clId="{6ECD27E6-B224-41CD-B4E0-E297462320DD}" dt="2023-11-24T08:43:34.276" v="52442"/>
          <ac:spMkLst>
            <pc:docMk/>
            <pc:sldMk cId="1226083679" sldId="2147478575"/>
            <ac:spMk id="347" creationId="{B5DCF76D-ECD7-9269-DFBA-847FC1F6C3D5}"/>
          </ac:spMkLst>
        </pc:spChg>
        <pc:spChg chg="add del mod">
          <ac:chgData name="Steiner Andreas 6206 ED" userId="e6377c33-a923-4f14-8587-531c474c7b48" providerId="ADAL" clId="{6ECD27E6-B224-41CD-B4E0-E297462320DD}" dt="2023-11-24T08:43:36.402" v="52597"/>
          <ac:spMkLst>
            <pc:docMk/>
            <pc:sldMk cId="1226083679" sldId="2147478575"/>
            <ac:spMk id="348" creationId="{4329F58C-FA5D-157A-3F85-65CFADF23670}"/>
          </ac:spMkLst>
        </pc:spChg>
        <pc:spChg chg="add del mod">
          <ac:chgData name="Steiner Andreas 6206 ED" userId="e6377c33-a923-4f14-8587-531c474c7b48" providerId="ADAL" clId="{6ECD27E6-B224-41CD-B4E0-E297462320DD}" dt="2023-11-24T08:43:38.347" v="52752"/>
          <ac:spMkLst>
            <pc:docMk/>
            <pc:sldMk cId="1226083679" sldId="2147478575"/>
            <ac:spMk id="349" creationId="{1389E6F4-90B1-79C4-F9C1-B5BCC9F37C98}"/>
          </ac:spMkLst>
        </pc:spChg>
        <pc:spChg chg="add del mod">
          <ac:chgData name="Steiner Andreas 6206 ED" userId="e6377c33-a923-4f14-8587-531c474c7b48" providerId="ADAL" clId="{6ECD27E6-B224-41CD-B4E0-E297462320DD}" dt="2023-11-24T08:43:40.625" v="52907"/>
          <ac:spMkLst>
            <pc:docMk/>
            <pc:sldMk cId="1226083679" sldId="2147478575"/>
            <ac:spMk id="350" creationId="{B6F3A685-4FE6-B22A-D972-78C7EA3E89AE}"/>
          </ac:spMkLst>
        </pc:spChg>
        <pc:spChg chg="add del mod">
          <ac:chgData name="Steiner Andreas 6206 ED" userId="e6377c33-a923-4f14-8587-531c474c7b48" providerId="ADAL" clId="{6ECD27E6-B224-41CD-B4E0-E297462320DD}" dt="2023-11-24T08:43:42.626" v="53062"/>
          <ac:spMkLst>
            <pc:docMk/>
            <pc:sldMk cId="1226083679" sldId="2147478575"/>
            <ac:spMk id="351" creationId="{18A96A81-650B-457B-DA74-AC1E9183683F}"/>
          </ac:spMkLst>
        </pc:spChg>
        <pc:spChg chg="add del mod">
          <ac:chgData name="Steiner Andreas 6206 ED" userId="e6377c33-a923-4f14-8587-531c474c7b48" providerId="ADAL" clId="{6ECD27E6-B224-41CD-B4E0-E297462320DD}" dt="2023-11-24T08:43:44.470" v="53217"/>
          <ac:spMkLst>
            <pc:docMk/>
            <pc:sldMk cId="1226083679" sldId="2147478575"/>
            <ac:spMk id="352" creationId="{8A962B67-4013-E7E9-701C-5B537CDF3F8D}"/>
          </ac:spMkLst>
        </pc:spChg>
        <pc:spChg chg="add del mod">
          <ac:chgData name="Steiner Andreas 6206 ED" userId="e6377c33-a923-4f14-8587-531c474c7b48" providerId="ADAL" clId="{6ECD27E6-B224-41CD-B4E0-E297462320DD}" dt="2023-11-24T08:43:46.208" v="53372"/>
          <ac:spMkLst>
            <pc:docMk/>
            <pc:sldMk cId="1226083679" sldId="2147478575"/>
            <ac:spMk id="353" creationId="{4A3D0A97-1B22-FD42-B64F-379A1D55D96F}"/>
          </ac:spMkLst>
        </pc:spChg>
        <pc:spChg chg="add del mod">
          <ac:chgData name="Steiner Andreas 6206 ED" userId="e6377c33-a923-4f14-8587-531c474c7b48" providerId="ADAL" clId="{6ECD27E6-B224-41CD-B4E0-E297462320DD}" dt="2023-11-24T08:43:48.159" v="53527"/>
          <ac:spMkLst>
            <pc:docMk/>
            <pc:sldMk cId="1226083679" sldId="2147478575"/>
            <ac:spMk id="354" creationId="{607B339C-0DA2-4F9E-A9F1-93E2C52941A4}"/>
          </ac:spMkLst>
        </pc:spChg>
        <pc:spChg chg="add del mod">
          <ac:chgData name="Steiner Andreas 6206 ED" userId="e6377c33-a923-4f14-8587-531c474c7b48" providerId="ADAL" clId="{6ECD27E6-B224-41CD-B4E0-E297462320DD}" dt="2023-11-24T08:43:50.147" v="53682"/>
          <ac:spMkLst>
            <pc:docMk/>
            <pc:sldMk cId="1226083679" sldId="2147478575"/>
            <ac:spMk id="355" creationId="{FD32CDFC-9BF1-F790-9548-118000F0D807}"/>
          </ac:spMkLst>
        </pc:spChg>
        <pc:spChg chg="add del mod">
          <ac:chgData name="Steiner Andreas 6206 ED" userId="e6377c33-a923-4f14-8587-531c474c7b48" providerId="ADAL" clId="{6ECD27E6-B224-41CD-B4E0-E297462320DD}" dt="2023-11-24T08:43:52.109" v="53837"/>
          <ac:spMkLst>
            <pc:docMk/>
            <pc:sldMk cId="1226083679" sldId="2147478575"/>
            <ac:spMk id="356" creationId="{561938D8-0318-30C9-8DE5-F1DCFD012C8A}"/>
          </ac:spMkLst>
        </pc:spChg>
        <pc:spChg chg="add del mod">
          <ac:chgData name="Steiner Andreas 6206 ED" userId="e6377c33-a923-4f14-8587-531c474c7b48" providerId="ADAL" clId="{6ECD27E6-B224-41CD-B4E0-E297462320DD}" dt="2023-11-24T08:43:54.896" v="53992"/>
          <ac:spMkLst>
            <pc:docMk/>
            <pc:sldMk cId="1226083679" sldId="2147478575"/>
            <ac:spMk id="357" creationId="{2D239BE8-FC00-AE5E-E288-F0373668A644}"/>
          </ac:spMkLst>
        </pc:spChg>
        <pc:spChg chg="add del mod">
          <ac:chgData name="Steiner Andreas 6206 ED" userId="e6377c33-a923-4f14-8587-531c474c7b48" providerId="ADAL" clId="{6ECD27E6-B224-41CD-B4E0-E297462320DD}" dt="2023-11-24T08:43:56.987" v="54147"/>
          <ac:spMkLst>
            <pc:docMk/>
            <pc:sldMk cId="1226083679" sldId="2147478575"/>
            <ac:spMk id="358" creationId="{B2CD7937-1112-1126-57FB-44E678B95B3A}"/>
          </ac:spMkLst>
        </pc:spChg>
        <pc:spChg chg="add del mod">
          <ac:chgData name="Steiner Andreas 6206 ED" userId="e6377c33-a923-4f14-8587-531c474c7b48" providerId="ADAL" clId="{6ECD27E6-B224-41CD-B4E0-E297462320DD}" dt="2023-11-24T08:43:59.093" v="54302"/>
          <ac:spMkLst>
            <pc:docMk/>
            <pc:sldMk cId="1226083679" sldId="2147478575"/>
            <ac:spMk id="359" creationId="{957913F1-3F73-BA31-DEEA-C54E157AD992}"/>
          </ac:spMkLst>
        </pc:spChg>
        <pc:spChg chg="add del mod">
          <ac:chgData name="Steiner Andreas 6206 ED" userId="e6377c33-a923-4f14-8587-531c474c7b48" providerId="ADAL" clId="{6ECD27E6-B224-41CD-B4E0-E297462320DD}" dt="2023-11-24T08:44:01.396" v="54457"/>
          <ac:spMkLst>
            <pc:docMk/>
            <pc:sldMk cId="1226083679" sldId="2147478575"/>
            <ac:spMk id="360" creationId="{7BF96D45-4E33-05F3-7B7E-70CDCBD7BF60}"/>
          </ac:spMkLst>
        </pc:spChg>
        <pc:spChg chg="add del mod">
          <ac:chgData name="Steiner Andreas 6206 ED" userId="e6377c33-a923-4f14-8587-531c474c7b48" providerId="ADAL" clId="{6ECD27E6-B224-41CD-B4E0-E297462320DD}" dt="2023-11-24T08:44:03.521" v="54612"/>
          <ac:spMkLst>
            <pc:docMk/>
            <pc:sldMk cId="1226083679" sldId="2147478575"/>
            <ac:spMk id="361" creationId="{7EB08FB0-4930-65F4-2F98-4F24B0EE9BD8}"/>
          </ac:spMkLst>
        </pc:spChg>
        <pc:spChg chg="add del mod">
          <ac:chgData name="Steiner Andreas 6206 ED" userId="e6377c33-a923-4f14-8587-531c474c7b48" providerId="ADAL" clId="{6ECD27E6-B224-41CD-B4E0-E297462320DD}" dt="2023-11-24T08:44:05.653" v="54767"/>
          <ac:spMkLst>
            <pc:docMk/>
            <pc:sldMk cId="1226083679" sldId="2147478575"/>
            <ac:spMk id="362" creationId="{0B82F2E0-E273-A2AE-7C17-444C71277FA2}"/>
          </ac:spMkLst>
        </pc:spChg>
        <pc:spChg chg="add del mod">
          <ac:chgData name="Steiner Andreas 6206 ED" userId="e6377c33-a923-4f14-8587-531c474c7b48" providerId="ADAL" clId="{6ECD27E6-B224-41CD-B4E0-E297462320DD}" dt="2023-11-24T08:44:07.617" v="54922"/>
          <ac:spMkLst>
            <pc:docMk/>
            <pc:sldMk cId="1226083679" sldId="2147478575"/>
            <ac:spMk id="363" creationId="{4B9EA002-1965-52E2-036E-D92B7023B58F}"/>
          </ac:spMkLst>
        </pc:spChg>
        <pc:spChg chg="add del mod">
          <ac:chgData name="Steiner Andreas 6206 ED" userId="e6377c33-a923-4f14-8587-531c474c7b48" providerId="ADAL" clId="{6ECD27E6-B224-41CD-B4E0-E297462320DD}" dt="2023-11-24T08:44:09.638" v="55077"/>
          <ac:spMkLst>
            <pc:docMk/>
            <pc:sldMk cId="1226083679" sldId="2147478575"/>
            <ac:spMk id="364" creationId="{BF6B3967-3FF9-EFCF-0B7C-113CC28EE93D}"/>
          </ac:spMkLst>
        </pc:spChg>
        <pc:spChg chg="add del mod">
          <ac:chgData name="Steiner Andreas 6206 ED" userId="e6377c33-a923-4f14-8587-531c474c7b48" providerId="ADAL" clId="{6ECD27E6-B224-41CD-B4E0-E297462320DD}" dt="2023-11-24T08:44:11.561" v="55232"/>
          <ac:spMkLst>
            <pc:docMk/>
            <pc:sldMk cId="1226083679" sldId="2147478575"/>
            <ac:spMk id="365" creationId="{B75C8964-11C6-5C78-D0A1-46AE6B850F83}"/>
          </ac:spMkLst>
        </pc:spChg>
        <pc:spChg chg="add del mod">
          <ac:chgData name="Steiner Andreas 6206 ED" userId="e6377c33-a923-4f14-8587-531c474c7b48" providerId="ADAL" clId="{6ECD27E6-B224-41CD-B4E0-E297462320DD}" dt="2023-11-24T08:44:13.782" v="55387"/>
          <ac:spMkLst>
            <pc:docMk/>
            <pc:sldMk cId="1226083679" sldId="2147478575"/>
            <ac:spMk id="366" creationId="{60F2CD2F-C039-146A-E28F-3C0FE863C35E}"/>
          </ac:spMkLst>
        </pc:spChg>
        <pc:spChg chg="add del mod">
          <ac:chgData name="Steiner Andreas 6206 ED" userId="e6377c33-a923-4f14-8587-531c474c7b48" providerId="ADAL" clId="{6ECD27E6-B224-41CD-B4E0-E297462320DD}" dt="2023-11-24T08:44:15.818" v="55542"/>
          <ac:spMkLst>
            <pc:docMk/>
            <pc:sldMk cId="1226083679" sldId="2147478575"/>
            <ac:spMk id="367" creationId="{A423ED62-C3A1-03B7-3E40-D142464E936A}"/>
          </ac:spMkLst>
        </pc:spChg>
        <pc:spChg chg="add del mod">
          <ac:chgData name="Steiner Andreas 6206 ED" userId="e6377c33-a923-4f14-8587-531c474c7b48" providerId="ADAL" clId="{6ECD27E6-B224-41CD-B4E0-E297462320DD}" dt="2023-11-24T08:44:18.296" v="55697"/>
          <ac:spMkLst>
            <pc:docMk/>
            <pc:sldMk cId="1226083679" sldId="2147478575"/>
            <ac:spMk id="368" creationId="{4AB62C9A-7991-600E-7B1D-F8D4558553C5}"/>
          </ac:spMkLst>
        </pc:spChg>
        <pc:spChg chg="add del mod">
          <ac:chgData name="Steiner Andreas 6206 ED" userId="e6377c33-a923-4f14-8587-531c474c7b48" providerId="ADAL" clId="{6ECD27E6-B224-41CD-B4E0-E297462320DD}" dt="2023-11-24T08:44:21.029" v="55852"/>
          <ac:spMkLst>
            <pc:docMk/>
            <pc:sldMk cId="1226083679" sldId="2147478575"/>
            <ac:spMk id="369" creationId="{31806F60-3715-B986-E364-AA59339806CF}"/>
          </ac:spMkLst>
        </pc:spChg>
        <pc:spChg chg="add del mod">
          <ac:chgData name="Steiner Andreas 6206 ED" userId="e6377c33-a923-4f14-8587-531c474c7b48" providerId="ADAL" clId="{6ECD27E6-B224-41CD-B4E0-E297462320DD}" dt="2023-11-24T08:44:23.574" v="56007"/>
          <ac:spMkLst>
            <pc:docMk/>
            <pc:sldMk cId="1226083679" sldId="2147478575"/>
            <ac:spMk id="370" creationId="{F5DA2B9A-4682-E5F6-2190-8E6021C8EFD2}"/>
          </ac:spMkLst>
        </pc:spChg>
        <pc:spChg chg="add del mod">
          <ac:chgData name="Steiner Andreas 6206 ED" userId="e6377c33-a923-4f14-8587-531c474c7b48" providerId="ADAL" clId="{6ECD27E6-B224-41CD-B4E0-E297462320DD}" dt="2023-11-24T08:44:25.489" v="56162"/>
          <ac:spMkLst>
            <pc:docMk/>
            <pc:sldMk cId="1226083679" sldId="2147478575"/>
            <ac:spMk id="371" creationId="{EAE45869-F12E-5EBC-C073-8A5039DAB840}"/>
          </ac:spMkLst>
        </pc:spChg>
        <pc:spChg chg="add del mod">
          <ac:chgData name="Steiner Andreas 6206 ED" userId="e6377c33-a923-4f14-8587-531c474c7b48" providerId="ADAL" clId="{6ECD27E6-B224-41CD-B4E0-E297462320DD}" dt="2023-11-24T08:44:27.698" v="56317"/>
          <ac:spMkLst>
            <pc:docMk/>
            <pc:sldMk cId="1226083679" sldId="2147478575"/>
            <ac:spMk id="372" creationId="{21FF7AB1-7AE2-4CD2-4D8A-244624C3716A}"/>
          </ac:spMkLst>
        </pc:spChg>
        <pc:spChg chg="add del mod">
          <ac:chgData name="Steiner Andreas 6206 ED" userId="e6377c33-a923-4f14-8587-531c474c7b48" providerId="ADAL" clId="{6ECD27E6-B224-41CD-B4E0-E297462320DD}" dt="2023-11-24T08:44:29.720" v="56472"/>
          <ac:spMkLst>
            <pc:docMk/>
            <pc:sldMk cId="1226083679" sldId="2147478575"/>
            <ac:spMk id="373" creationId="{DE1105A3-A86D-804D-5283-C7BDA33FE458}"/>
          </ac:spMkLst>
        </pc:spChg>
        <pc:spChg chg="add del mod">
          <ac:chgData name="Steiner Andreas 6206 ED" userId="e6377c33-a923-4f14-8587-531c474c7b48" providerId="ADAL" clId="{6ECD27E6-B224-41CD-B4E0-E297462320DD}" dt="2023-11-24T08:44:31.688" v="56627"/>
          <ac:spMkLst>
            <pc:docMk/>
            <pc:sldMk cId="1226083679" sldId="2147478575"/>
            <ac:spMk id="374" creationId="{3089A968-13C4-A40B-059D-EEB8441EBA96}"/>
          </ac:spMkLst>
        </pc:spChg>
        <pc:spChg chg="add del mod">
          <ac:chgData name="Steiner Andreas 6206 ED" userId="e6377c33-a923-4f14-8587-531c474c7b48" providerId="ADAL" clId="{6ECD27E6-B224-41CD-B4E0-E297462320DD}" dt="2023-11-24T08:44:33.627" v="56782"/>
          <ac:spMkLst>
            <pc:docMk/>
            <pc:sldMk cId="1226083679" sldId="2147478575"/>
            <ac:spMk id="375" creationId="{C2951CC6-2232-16ED-7221-155C27BD70D6}"/>
          </ac:spMkLst>
        </pc:spChg>
        <pc:spChg chg="add del mod">
          <ac:chgData name="Steiner Andreas 6206 ED" userId="e6377c33-a923-4f14-8587-531c474c7b48" providerId="ADAL" clId="{6ECD27E6-B224-41CD-B4E0-E297462320DD}" dt="2023-11-24T08:44:35.890" v="56937"/>
          <ac:spMkLst>
            <pc:docMk/>
            <pc:sldMk cId="1226083679" sldId="2147478575"/>
            <ac:spMk id="376" creationId="{2928A59D-2FA2-DF04-0525-49D04481052F}"/>
          </ac:spMkLst>
        </pc:spChg>
        <pc:spChg chg="add del mod">
          <ac:chgData name="Steiner Andreas 6206 ED" userId="e6377c33-a923-4f14-8587-531c474c7b48" providerId="ADAL" clId="{6ECD27E6-B224-41CD-B4E0-E297462320DD}" dt="2023-11-24T08:44:38.513" v="57092"/>
          <ac:spMkLst>
            <pc:docMk/>
            <pc:sldMk cId="1226083679" sldId="2147478575"/>
            <ac:spMk id="377" creationId="{506FC632-7BFF-42F7-7F21-9E18B72ABC68}"/>
          </ac:spMkLst>
        </pc:spChg>
        <pc:spChg chg="add del mod">
          <ac:chgData name="Steiner Andreas 6206 ED" userId="e6377c33-a923-4f14-8587-531c474c7b48" providerId="ADAL" clId="{6ECD27E6-B224-41CD-B4E0-E297462320DD}" dt="2023-11-24T08:44:40.900" v="57247"/>
          <ac:spMkLst>
            <pc:docMk/>
            <pc:sldMk cId="1226083679" sldId="2147478575"/>
            <ac:spMk id="378" creationId="{3BF4A4F3-9D87-28F9-2837-7C12D3A52A07}"/>
          </ac:spMkLst>
        </pc:spChg>
        <pc:spChg chg="add del mod">
          <ac:chgData name="Steiner Andreas 6206 ED" userId="e6377c33-a923-4f14-8587-531c474c7b48" providerId="ADAL" clId="{6ECD27E6-B224-41CD-B4E0-E297462320DD}" dt="2023-11-24T08:44:43.131" v="57402"/>
          <ac:spMkLst>
            <pc:docMk/>
            <pc:sldMk cId="1226083679" sldId="2147478575"/>
            <ac:spMk id="379" creationId="{B8E7350C-3134-772B-1DB3-9B8423017117}"/>
          </ac:spMkLst>
        </pc:spChg>
        <pc:spChg chg="add del mod">
          <ac:chgData name="Steiner Andreas 6206 ED" userId="e6377c33-a923-4f14-8587-531c474c7b48" providerId="ADAL" clId="{6ECD27E6-B224-41CD-B4E0-E297462320DD}" dt="2023-11-24T08:44:45.301" v="57557"/>
          <ac:spMkLst>
            <pc:docMk/>
            <pc:sldMk cId="1226083679" sldId="2147478575"/>
            <ac:spMk id="380" creationId="{DFBA1B9C-2D32-D77F-D87D-CB7452BC8591}"/>
          </ac:spMkLst>
        </pc:spChg>
        <pc:spChg chg="add del mod">
          <ac:chgData name="Steiner Andreas 6206 ED" userId="e6377c33-a923-4f14-8587-531c474c7b48" providerId="ADAL" clId="{6ECD27E6-B224-41CD-B4E0-E297462320DD}" dt="2023-11-24T08:44:47.798" v="57712"/>
          <ac:spMkLst>
            <pc:docMk/>
            <pc:sldMk cId="1226083679" sldId="2147478575"/>
            <ac:spMk id="381" creationId="{1EB32BDA-49E9-8334-5209-A66B9B8E81B1}"/>
          </ac:spMkLst>
        </pc:spChg>
        <pc:spChg chg="add del mod">
          <ac:chgData name="Steiner Andreas 6206 ED" userId="e6377c33-a923-4f14-8587-531c474c7b48" providerId="ADAL" clId="{6ECD27E6-B224-41CD-B4E0-E297462320DD}" dt="2023-11-24T08:44:50.295" v="57867"/>
          <ac:spMkLst>
            <pc:docMk/>
            <pc:sldMk cId="1226083679" sldId="2147478575"/>
            <ac:spMk id="382" creationId="{DA21A238-6A3F-5151-7180-472E1E08B49A}"/>
          </ac:spMkLst>
        </pc:spChg>
        <pc:spChg chg="add del mod">
          <ac:chgData name="Steiner Andreas 6206 ED" userId="e6377c33-a923-4f14-8587-531c474c7b48" providerId="ADAL" clId="{6ECD27E6-B224-41CD-B4E0-E297462320DD}" dt="2023-11-24T08:44:52.455" v="58022"/>
          <ac:spMkLst>
            <pc:docMk/>
            <pc:sldMk cId="1226083679" sldId="2147478575"/>
            <ac:spMk id="383" creationId="{3F2EEE88-6A46-F50F-B248-9A0DA7961858}"/>
          </ac:spMkLst>
        </pc:spChg>
        <pc:spChg chg="add del mod">
          <ac:chgData name="Steiner Andreas 6206 ED" userId="e6377c33-a923-4f14-8587-531c474c7b48" providerId="ADAL" clId="{6ECD27E6-B224-41CD-B4E0-E297462320DD}" dt="2023-11-24T08:44:54.646" v="58177"/>
          <ac:spMkLst>
            <pc:docMk/>
            <pc:sldMk cId="1226083679" sldId="2147478575"/>
            <ac:spMk id="384" creationId="{FEFE84A8-08FC-3BD0-83DE-D8A96B31B4CC}"/>
          </ac:spMkLst>
        </pc:spChg>
        <pc:spChg chg="add del mod">
          <ac:chgData name="Steiner Andreas 6206 ED" userId="e6377c33-a923-4f14-8587-531c474c7b48" providerId="ADAL" clId="{6ECD27E6-B224-41CD-B4E0-E297462320DD}" dt="2023-11-24T08:44:56.706" v="58332"/>
          <ac:spMkLst>
            <pc:docMk/>
            <pc:sldMk cId="1226083679" sldId="2147478575"/>
            <ac:spMk id="385" creationId="{9A011C1E-78AB-EC78-CCE1-0C025256EBD8}"/>
          </ac:spMkLst>
        </pc:spChg>
        <pc:spChg chg="add del mod">
          <ac:chgData name="Steiner Andreas 6206 ED" userId="e6377c33-a923-4f14-8587-531c474c7b48" providerId="ADAL" clId="{6ECD27E6-B224-41CD-B4E0-E297462320DD}" dt="2023-11-24T08:44:58.634" v="58487"/>
          <ac:spMkLst>
            <pc:docMk/>
            <pc:sldMk cId="1226083679" sldId="2147478575"/>
            <ac:spMk id="386" creationId="{5E5B2D56-3EB2-E093-90D7-DD5EFAB55BC1}"/>
          </ac:spMkLst>
        </pc:spChg>
        <pc:spChg chg="add del mod">
          <ac:chgData name="Steiner Andreas 6206 ED" userId="e6377c33-a923-4f14-8587-531c474c7b48" providerId="ADAL" clId="{6ECD27E6-B224-41CD-B4E0-E297462320DD}" dt="2023-11-24T08:45:00.759" v="58642"/>
          <ac:spMkLst>
            <pc:docMk/>
            <pc:sldMk cId="1226083679" sldId="2147478575"/>
            <ac:spMk id="387" creationId="{542B7402-6A22-2E9C-3136-B6E0BE14F2F3}"/>
          </ac:spMkLst>
        </pc:spChg>
        <pc:spChg chg="add del mod">
          <ac:chgData name="Steiner Andreas 6206 ED" userId="e6377c33-a923-4f14-8587-531c474c7b48" providerId="ADAL" clId="{6ECD27E6-B224-41CD-B4E0-E297462320DD}" dt="2023-11-24T08:45:02.723" v="58797"/>
          <ac:spMkLst>
            <pc:docMk/>
            <pc:sldMk cId="1226083679" sldId="2147478575"/>
            <ac:spMk id="388" creationId="{FDA9AFA0-7E74-319A-DC87-52C3E18BB2E1}"/>
          </ac:spMkLst>
        </pc:spChg>
        <pc:spChg chg="add del mod">
          <ac:chgData name="Steiner Andreas 6206 ED" userId="e6377c33-a923-4f14-8587-531c474c7b48" providerId="ADAL" clId="{6ECD27E6-B224-41CD-B4E0-E297462320DD}" dt="2023-11-24T08:45:04.586" v="58952"/>
          <ac:spMkLst>
            <pc:docMk/>
            <pc:sldMk cId="1226083679" sldId="2147478575"/>
            <ac:spMk id="389" creationId="{49E1DB48-CC1C-922F-00B0-B5547E26085D}"/>
          </ac:spMkLst>
        </pc:spChg>
        <pc:spChg chg="add del mod">
          <ac:chgData name="Steiner Andreas 6206 ED" userId="e6377c33-a923-4f14-8587-531c474c7b48" providerId="ADAL" clId="{6ECD27E6-B224-41CD-B4E0-E297462320DD}" dt="2023-11-24T08:45:06.436" v="59107"/>
          <ac:spMkLst>
            <pc:docMk/>
            <pc:sldMk cId="1226083679" sldId="2147478575"/>
            <ac:spMk id="390" creationId="{3FC3183B-8B89-3A68-3A6E-E4F6BE2E2131}"/>
          </ac:spMkLst>
        </pc:spChg>
        <pc:spChg chg="add del mod">
          <ac:chgData name="Steiner Andreas 6206 ED" userId="e6377c33-a923-4f14-8587-531c474c7b48" providerId="ADAL" clId="{6ECD27E6-B224-41CD-B4E0-E297462320DD}" dt="2023-11-24T08:45:08.285" v="59262"/>
          <ac:spMkLst>
            <pc:docMk/>
            <pc:sldMk cId="1226083679" sldId="2147478575"/>
            <ac:spMk id="391" creationId="{DE2D855B-73D4-9770-F2D8-7B65C8624268}"/>
          </ac:spMkLst>
        </pc:spChg>
        <pc:spChg chg="add del mod">
          <ac:chgData name="Steiner Andreas 6206 ED" userId="e6377c33-a923-4f14-8587-531c474c7b48" providerId="ADAL" clId="{6ECD27E6-B224-41CD-B4E0-E297462320DD}" dt="2023-11-24T08:45:10.076" v="59417"/>
          <ac:spMkLst>
            <pc:docMk/>
            <pc:sldMk cId="1226083679" sldId="2147478575"/>
            <ac:spMk id="392" creationId="{97A4251A-E070-B171-3AEB-EDD5DDD3A189}"/>
          </ac:spMkLst>
        </pc:spChg>
        <pc:spChg chg="add del mod">
          <ac:chgData name="Steiner Andreas 6206 ED" userId="e6377c33-a923-4f14-8587-531c474c7b48" providerId="ADAL" clId="{6ECD27E6-B224-41CD-B4E0-E297462320DD}" dt="2023-11-24T08:45:12.154" v="59572"/>
          <ac:spMkLst>
            <pc:docMk/>
            <pc:sldMk cId="1226083679" sldId="2147478575"/>
            <ac:spMk id="393" creationId="{526CF635-342E-E35F-DD75-EE51EC885C23}"/>
          </ac:spMkLst>
        </pc:spChg>
        <pc:spChg chg="add del mod">
          <ac:chgData name="Steiner Andreas 6206 ED" userId="e6377c33-a923-4f14-8587-531c474c7b48" providerId="ADAL" clId="{6ECD27E6-B224-41CD-B4E0-E297462320DD}" dt="2023-11-24T08:45:14.075" v="59727"/>
          <ac:spMkLst>
            <pc:docMk/>
            <pc:sldMk cId="1226083679" sldId="2147478575"/>
            <ac:spMk id="394" creationId="{CBFBD983-E0A4-D042-9F85-0AC6A50357E8}"/>
          </ac:spMkLst>
        </pc:spChg>
        <pc:spChg chg="add del mod">
          <ac:chgData name="Steiner Andreas 6206 ED" userId="e6377c33-a923-4f14-8587-531c474c7b48" providerId="ADAL" clId="{6ECD27E6-B224-41CD-B4E0-E297462320DD}" dt="2023-11-24T08:45:16.154" v="59882"/>
          <ac:spMkLst>
            <pc:docMk/>
            <pc:sldMk cId="1226083679" sldId="2147478575"/>
            <ac:spMk id="395" creationId="{16C23C92-4FDB-C928-8D05-857C3B66C404}"/>
          </ac:spMkLst>
        </pc:spChg>
        <pc:spChg chg="add del mod">
          <ac:chgData name="Steiner Andreas 6206 ED" userId="e6377c33-a923-4f14-8587-531c474c7b48" providerId="ADAL" clId="{6ECD27E6-B224-41CD-B4E0-E297462320DD}" dt="2023-11-24T08:45:18.102" v="60037"/>
          <ac:spMkLst>
            <pc:docMk/>
            <pc:sldMk cId="1226083679" sldId="2147478575"/>
            <ac:spMk id="396" creationId="{2E39C639-25E2-5877-BF29-48F3C094DE5C}"/>
          </ac:spMkLst>
        </pc:spChg>
        <pc:spChg chg="add del mod">
          <ac:chgData name="Steiner Andreas 6206 ED" userId="e6377c33-a923-4f14-8587-531c474c7b48" providerId="ADAL" clId="{6ECD27E6-B224-41CD-B4E0-E297462320DD}" dt="2023-11-24T08:45:20" v="60192"/>
          <ac:spMkLst>
            <pc:docMk/>
            <pc:sldMk cId="1226083679" sldId="2147478575"/>
            <ac:spMk id="397" creationId="{8AC35E78-4F81-D3B9-AF1A-164920A64AA4}"/>
          </ac:spMkLst>
        </pc:spChg>
        <pc:spChg chg="add del mod">
          <ac:chgData name="Steiner Andreas 6206 ED" userId="e6377c33-a923-4f14-8587-531c474c7b48" providerId="ADAL" clId="{6ECD27E6-B224-41CD-B4E0-E297462320DD}" dt="2023-11-24T08:45:22.068" v="60347"/>
          <ac:spMkLst>
            <pc:docMk/>
            <pc:sldMk cId="1226083679" sldId="2147478575"/>
            <ac:spMk id="398" creationId="{F26F931F-9300-8E5C-C771-20B9574137BC}"/>
          </ac:spMkLst>
        </pc:spChg>
        <pc:spChg chg="add del mod">
          <ac:chgData name="Steiner Andreas 6206 ED" userId="e6377c33-a923-4f14-8587-531c474c7b48" providerId="ADAL" clId="{6ECD27E6-B224-41CD-B4E0-E297462320DD}" dt="2023-11-24T08:45:24.291" v="60502"/>
          <ac:spMkLst>
            <pc:docMk/>
            <pc:sldMk cId="1226083679" sldId="2147478575"/>
            <ac:spMk id="399" creationId="{5ED601BF-4A56-FE3F-142F-46A6DEBDA3B6}"/>
          </ac:spMkLst>
        </pc:spChg>
        <pc:spChg chg="add del mod">
          <ac:chgData name="Steiner Andreas 6206 ED" userId="e6377c33-a923-4f14-8587-531c474c7b48" providerId="ADAL" clId="{6ECD27E6-B224-41CD-B4E0-E297462320DD}" dt="2023-11-24T08:45:26.309" v="60657"/>
          <ac:spMkLst>
            <pc:docMk/>
            <pc:sldMk cId="1226083679" sldId="2147478575"/>
            <ac:spMk id="400" creationId="{468B1CE3-F543-77C0-6145-E553103693A1}"/>
          </ac:spMkLst>
        </pc:spChg>
        <pc:spChg chg="add del mod">
          <ac:chgData name="Steiner Andreas 6206 ED" userId="e6377c33-a923-4f14-8587-531c474c7b48" providerId="ADAL" clId="{6ECD27E6-B224-41CD-B4E0-E297462320DD}" dt="2023-11-24T08:45:28.212" v="60812"/>
          <ac:spMkLst>
            <pc:docMk/>
            <pc:sldMk cId="1226083679" sldId="2147478575"/>
            <ac:spMk id="401" creationId="{F80D7696-D606-40C4-830C-BC9AA1886D02}"/>
          </ac:spMkLst>
        </pc:spChg>
        <pc:spChg chg="add del mod">
          <ac:chgData name="Steiner Andreas 6206 ED" userId="e6377c33-a923-4f14-8587-531c474c7b48" providerId="ADAL" clId="{6ECD27E6-B224-41CD-B4E0-E297462320DD}" dt="2023-11-24T08:45:30.035" v="60967"/>
          <ac:spMkLst>
            <pc:docMk/>
            <pc:sldMk cId="1226083679" sldId="2147478575"/>
            <ac:spMk id="402" creationId="{7AA00BE1-4628-C0C5-6D93-8DEA325913F6}"/>
          </ac:spMkLst>
        </pc:spChg>
        <pc:spChg chg="add del mod">
          <ac:chgData name="Steiner Andreas 6206 ED" userId="e6377c33-a923-4f14-8587-531c474c7b48" providerId="ADAL" clId="{6ECD27E6-B224-41CD-B4E0-E297462320DD}" dt="2023-11-24T08:45:31.899" v="61122"/>
          <ac:spMkLst>
            <pc:docMk/>
            <pc:sldMk cId="1226083679" sldId="2147478575"/>
            <ac:spMk id="403" creationId="{5190337A-9747-AE37-12E3-D137623F5907}"/>
          </ac:spMkLst>
        </pc:spChg>
        <pc:spChg chg="add del mod">
          <ac:chgData name="Steiner Andreas 6206 ED" userId="e6377c33-a923-4f14-8587-531c474c7b48" providerId="ADAL" clId="{6ECD27E6-B224-41CD-B4E0-E297462320DD}" dt="2023-11-24T08:45:33.948" v="61277"/>
          <ac:spMkLst>
            <pc:docMk/>
            <pc:sldMk cId="1226083679" sldId="2147478575"/>
            <ac:spMk id="404" creationId="{7ADF970F-4E00-00AE-8BF3-D913D18F8AD5}"/>
          </ac:spMkLst>
        </pc:spChg>
        <pc:spChg chg="add del mod">
          <ac:chgData name="Steiner Andreas 6206 ED" userId="e6377c33-a923-4f14-8587-531c474c7b48" providerId="ADAL" clId="{6ECD27E6-B224-41CD-B4E0-E297462320DD}" dt="2023-11-24T08:45:36.031" v="61432"/>
          <ac:spMkLst>
            <pc:docMk/>
            <pc:sldMk cId="1226083679" sldId="2147478575"/>
            <ac:spMk id="405" creationId="{EBF91C15-7C1C-E51C-8529-A5BA8A35F2D2}"/>
          </ac:spMkLst>
        </pc:spChg>
        <pc:spChg chg="add del mod">
          <ac:chgData name="Steiner Andreas 6206 ED" userId="e6377c33-a923-4f14-8587-531c474c7b48" providerId="ADAL" clId="{6ECD27E6-B224-41CD-B4E0-E297462320DD}" dt="2023-11-24T08:45:37.980" v="61587"/>
          <ac:spMkLst>
            <pc:docMk/>
            <pc:sldMk cId="1226083679" sldId="2147478575"/>
            <ac:spMk id="406" creationId="{E28130C8-EB52-2CEC-C277-53E66653B3F1}"/>
          </ac:spMkLst>
        </pc:spChg>
        <pc:spChg chg="add del mod">
          <ac:chgData name="Steiner Andreas 6206 ED" userId="e6377c33-a923-4f14-8587-531c474c7b48" providerId="ADAL" clId="{6ECD27E6-B224-41CD-B4E0-E297462320DD}" dt="2023-11-24T08:45:39.841" v="61742"/>
          <ac:spMkLst>
            <pc:docMk/>
            <pc:sldMk cId="1226083679" sldId="2147478575"/>
            <ac:spMk id="407" creationId="{E1C4025E-63AA-5F34-F76A-E5D3363F96A3}"/>
          </ac:spMkLst>
        </pc:spChg>
        <pc:spChg chg="add del mod">
          <ac:chgData name="Steiner Andreas 6206 ED" userId="e6377c33-a923-4f14-8587-531c474c7b48" providerId="ADAL" clId="{6ECD27E6-B224-41CD-B4E0-E297462320DD}" dt="2023-11-24T08:45:41.827" v="61897"/>
          <ac:spMkLst>
            <pc:docMk/>
            <pc:sldMk cId="1226083679" sldId="2147478575"/>
            <ac:spMk id="408" creationId="{9328B40D-A2D0-5402-D4F6-30F9D23D0BA7}"/>
          </ac:spMkLst>
        </pc:spChg>
        <pc:spChg chg="add del mod">
          <ac:chgData name="Steiner Andreas 6206 ED" userId="e6377c33-a923-4f14-8587-531c474c7b48" providerId="ADAL" clId="{6ECD27E6-B224-41CD-B4E0-E297462320DD}" dt="2023-11-24T08:45:43.844" v="62052"/>
          <ac:spMkLst>
            <pc:docMk/>
            <pc:sldMk cId="1226083679" sldId="2147478575"/>
            <ac:spMk id="409" creationId="{733A5022-8625-043D-5B58-4192893CC2CC}"/>
          </ac:spMkLst>
        </pc:spChg>
        <pc:spChg chg="add del mod">
          <ac:chgData name="Steiner Andreas 6206 ED" userId="e6377c33-a923-4f14-8587-531c474c7b48" providerId="ADAL" clId="{6ECD27E6-B224-41CD-B4E0-E297462320DD}" dt="2023-11-24T08:45:45.935" v="62207"/>
          <ac:spMkLst>
            <pc:docMk/>
            <pc:sldMk cId="1226083679" sldId="2147478575"/>
            <ac:spMk id="410" creationId="{2A4E3CFF-94EA-2096-8FA1-EE637C50835F}"/>
          </ac:spMkLst>
        </pc:spChg>
        <pc:spChg chg="add del mod">
          <ac:chgData name="Steiner Andreas 6206 ED" userId="e6377c33-a923-4f14-8587-531c474c7b48" providerId="ADAL" clId="{6ECD27E6-B224-41CD-B4E0-E297462320DD}" dt="2023-11-24T08:45:47.828" v="62362"/>
          <ac:spMkLst>
            <pc:docMk/>
            <pc:sldMk cId="1226083679" sldId="2147478575"/>
            <ac:spMk id="411" creationId="{4AC68B10-16F4-EE4D-2673-C0D9B3DF9F31}"/>
          </ac:spMkLst>
        </pc:spChg>
        <pc:spChg chg="add del mod">
          <ac:chgData name="Steiner Andreas 6206 ED" userId="e6377c33-a923-4f14-8587-531c474c7b48" providerId="ADAL" clId="{6ECD27E6-B224-41CD-B4E0-E297462320DD}" dt="2023-11-24T08:45:50.066" v="62517"/>
          <ac:spMkLst>
            <pc:docMk/>
            <pc:sldMk cId="1226083679" sldId="2147478575"/>
            <ac:spMk id="412" creationId="{1050AFC3-55AF-8C42-DFAD-ED6DD6006792}"/>
          </ac:spMkLst>
        </pc:spChg>
        <pc:spChg chg="add del mod">
          <ac:chgData name="Steiner Andreas 6206 ED" userId="e6377c33-a923-4f14-8587-531c474c7b48" providerId="ADAL" clId="{6ECD27E6-B224-41CD-B4E0-E297462320DD}" dt="2023-11-24T08:45:52.187" v="62672"/>
          <ac:spMkLst>
            <pc:docMk/>
            <pc:sldMk cId="1226083679" sldId="2147478575"/>
            <ac:spMk id="413" creationId="{EA4BA5FE-56B3-601C-254A-CCF5CCC4EFBE}"/>
          </ac:spMkLst>
        </pc:spChg>
        <pc:spChg chg="add del mod">
          <ac:chgData name="Steiner Andreas 6206 ED" userId="e6377c33-a923-4f14-8587-531c474c7b48" providerId="ADAL" clId="{6ECD27E6-B224-41CD-B4E0-E297462320DD}" dt="2023-11-24T08:45:54.182" v="62827"/>
          <ac:spMkLst>
            <pc:docMk/>
            <pc:sldMk cId="1226083679" sldId="2147478575"/>
            <ac:spMk id="414" creationId="{429F1211-ED63-48C7-4D4D-27FEAE32C128}"/>
          </ac:spMkLst>
        </pc:spChg>
        <pc:spChg chg="add del mod">
          <ac:chgData name="Steiner Andreas 6206 ED" userId="e6377c33-a923-4f14-8587-531c474c7b48" providerId="ADAL" clId="{6ECD27E6-B224-41CD-B4E0-E297462320DD}" dt="2023-11-24T08:45:56.309" v="62982"/>
          <ac:spMkLst>
            <pc:docMk/>
            <pc:sldMk cId="1226083679" sldId="2147478575"/>
            <ac:spMk id="415" creationId="{C91FE6A6-B3A9-5E78-54A8-8C473117706D}"/>
          </ac:spMkLst>
        </pc:spChg>
        <pc:spChg chg="add del mod">
          <ac:chgData name="Steiner Andreas 6206 ED" userId="e6377c33-a923-4f14-8587-531c474c7b48" providerId="ADAL" clId="{6ECD27E6-B224-41CD-B4E0-E297462320DD}" dt="2023-11-24T08:45:58.416" v="63137"/>
          <ac:spMkLst>
            <pc:docMk/>
            <pc:sldMk cId="1226083679" sldId="2147478575"/>
            <ac:spMk id="416" creationId="{706BC3E0-3774-723D-4672-7911276ABBF5}"/>
          </ac:spMkLst>
        </pc:spChg>
        <pc:spChg chg="add del mod">
          <ac:chgData name="Steiner Andreas 6206 ED" userId="e6377c33-a923-4f14-8587-531c474c7b48" providerId="ADAL" clId="{6ECD27E6-B224-41CD-B4E0-E297462320DD}" dt="2023-11-24T08:46:00.488" v="63292"/>
          <ac:spMkLst>
            <pc:docMk/>
            <pc:sldMk cId="1226083679" sldId="2147478575"/>
            <ac:spMk id="417" creationId="{EA2AD87C-E49A-E073-59DF-D17EBC5D1A60}"/>
          </ac:spMkLst>
        </pc:spChg>
        <pc:spChg chg="add del mod">
          <ac:chgData name="Steiner Andreas 6206 ED" userId="e6377c33-a923-4f14-8587-531c474c7b48" providerId="ADAL" clId="{6ECD27E6-B224-41CD-B4E0-E297462320DD}" dt="2023-11-24T08:46:02.568" v="63447"/>
          <ac:spMkLst>
            <pc:docMk/>
            <pc:sldMk cId="1226083679" sldId="2147478575"/>
            <ac:spMk id="418" creationId="{B3D141BE-3681-D444-ACAE-2FDBBB5BEC4D}"/>
          </ac:spMkLst>
        </pc:spChg>
        <pc:spChg chg="add del mod">
          <ac:chgData name="Steiner Andreas 6206 ED" userId="e6377c33-a923-4f14-8587-531c474c7b48" providerId="ADAL" clId="{6ECD27E6-B224-41CD-B4E0-E297462320DD}" dt="2023-11-24T08:46:04.749" v="63602"/>
          <ac:spMkLst>
            <pc:docMk/>
            <pc:sldMk cId="1226083679" sldId="2147478575"/>
            <ac:spMk id="419" creationId="{50ED7D19-1B0B-DF4D-872E-8664CF8BDF2C}"/>
          </ac:spMkLst>
        </pc:spChg>
        <pc:spChg chg="add del mod">
          <ac:chgData name="Steiner Andreas 6206 ED" userId="e6377c33-a923-4f14-8587-531c474c7b48" providerId="ADAL" clId="{6ECD27E6-B224-41CD-B4E0-E297462320DD}" dt="2023-11-24T08:46:07.455" v="63757"/>
          <ac:spMkLst>
            <pc:docMk/>
            <pc:sldMk cId="1226083679" sldId="2147478575"/>
            <ac:spMk id="420" creationId="{01B730C0-9A7D-09E1-E181-5AF2D439D032}"/>
          </ac:spMkLst>
        </pc:spChg>
        <pc:spChg chg="add del mod">
          <ac:chgData name="Steiner Andreas 6206 ED" userId="e6377c33-a923-4f14-8587-531c474c7b48" providerId="ADAL" clId="{6ECD27E6-B224-41CD-B4E0-E297462320DD}" dt="2023-11-24T08:46:09.659" v="63912"/>
          <ac:spMkLst>
            <pc:docMk/>
            <pc:sldMk cId="1226083679" sldId="2147478575"/>
            <ac:spMk id="421" creationId="{1A3FFA36-6504-381E-8FAF-CFC33EE706EC}"/>
          </ac:spMkLst>
        </pc:spChg>
        <pc:spChg chg="add del mod">
          <ac:chgData name="Steiner Andreas 6206 ED" userId="e6377c33-a923-4f14-8587-531c474c7b48" providerId="ADAL" clId="{6ECD27E6-B224-41CD-B4E0-E297462320DD}" dt="2023-11-24T08:46:11.810" v="64067"/>
          <ac:spMkLst>
            <pc:docMk/>
            <pc:sldMk cId="1226083679" sldId="2147478575"/>
            <ac:spMk id="422" creationId="{EB09B76E-6817-5B9C-1E48-00099B27D869}"/>
          </ac:spMkLst>
        </pc:spChg>
        <pc:spChg chg="add del mod">
          <ac:chgData name="Steiner Andreas 6206 ED" userId="e6377c33-a923-4f14-8587-531c474c7b48" providerId="ADAL" clId="{6ECD27E6-B224-41CD-B4E0-E297462320DD}" dt="2023-11-24T08:46:13.979" v="64222"/>
          <ac:spMkLst>
            <pc:docMk/>
            <pc:sldMk cId="1226083679" sldId="2147478575"/>
            <ac:spMk id="423" creationId="{96917B4E-0D4B-0A70-C367-BA723398F7B1}"/>
          </ac:spMkLst>
        </pc:spChg>
        <pc:spChg chg="add del mod">
          <ac:chgData name="Steiner Andreas 6206 ED" userId="e6377c33-a923-4f14-8587-531c474c7b48" providerId="ADAL" clId="{6ECD27E6-B224-41CD-B4E0-E297462320DD}" dt="2023-11-24T08:46:16.221" v="64377"/>
          <ac:spMkLst>
            <pc:docMk/>
            <pc:sldMk cId="1226083679" sldId="2147478575"/>
            <ac:spMk id="424" creationId="{F271A4B6-E10B-235A-5434-0298BCDC9036}"/>
          </ac:spMkLst>
        </pc:spChg>
        <pc:spChg chg="add del mod">
          <ac:chgData name="Steiner Andreas 6206 ED" userId="e6377c33-a923-4f14-8587-531c474c7b48" providerId="ADAL" clId="{6ECD27E6-B224-41CD-B4E0-E297462320DD}" dt="2023-11-24T08:46:18.128" v="64532"/>
          <ac:spMkLst>
            <pc:docMk/>
            <pc:sldMk cId="1226083679" sldId="2147478575"/>
            <ac:spMk id="425" creationId="{6580A53C-9C06-ED14-0081-938344D9F347}"/>
          </ac:spMkLst>
        </pc:spChg>
        <pc:spChg chg="add del mod">
          <ac:chgData name="Steiner Andreas 6206 ED" userId="e6377c33-a923-4f14-8587-531c474c7b48" providerId="ADAL" clId="{6ECD27E6-B224-41CD-B4E0-E297462320DD}" dt="2023-11-24T08:46:20.543" v="64687"/>
          <ac:spMkLst>
            <pc:docMk/>
            <pc:sldMk cId="1226083679" sldId="2147478575"/>
            <ac:spMk id="426" creationId="{2443F347-1EB6-0436-5D1A-4E27E70DFFC6}"/>
          </ac:spMkLst>
        </pc:spChg>
        <pc:spChg chg="add del mod">
          <ac:chgData name="Steiner Andreas 6206 ED" userId="e6377c33-a923-4f14-8587-531c474c7b48" providerId="ADAL" clId="{6ECD27E6-B224-41CD-B4E0-E297462320DD}" dt="2023-11-24T08:46:22.873" v="64842"/>
          <ac:spMkLst>
            <pc:docMk/>
            <pc:sldMk cId="1226083679" sldId="2147478575"/>
            <ac:spMk id="427" creationId="{58E333D2-34A5-56A9-11F8-82C18A715530}"/>
          </ac:spMkLst>
        </pc:spChg>
        <pc:spChg chg="add del mod">
          <ac:chgData name="Steiner Andreas 6206 ED" userId="e6377c33-a923-4f14-8587-531c474c7b48" providerId="ADAL" clId="{6ECD27E6-B224-41CD-B4E0-E297462320DD}" dt="2023-11-24T08:46:25.137" v="64997"/>
          <ac:spMkLst>
            <pc:docMk/>
            <pc:sldMk cId="1226083679" sldId="2147478575"/>
            <ac:spMk id="428" creationId="{F53553B9-2350-C9FC-5EE3-C540C37717DF}"/>
          </ac:spMkLst>
        </pc:spChg>
        <pc:spChg chg="add del mod">
          <ac:chgData name="Steiner Andreas 6206 ED" userId="e6377c33-a923-4f14-8587-531c474c7b48" providerId="ADAL" clId="{6ECD27E6-B224-41CD-B4E0-E297462320DD}" dt="2023-11-24T08:46:27.486" v="65152"/>
          <ac:spMkLst>
            <pc:docMk/>
            <pc:sldMk cId="1226083679" sldId="2147478575"/>
            <ac:spMk id="429" creationId="{FF6D3644-06E4-8352-E5BA-2E30120DB003}"/>
          </ac:spMkLst>
        </pc:spChg>
        <pc:spChg chg="add del mod">
          <ac:chgData name="Steiner Andreas 6206 ED" userId="e6377c33-a923-4f14-8587-531c474c7b48" providerId="ADAL" clId="{6ECD27E6-B224-41CD-B4E0-E297462320DD}" dt="2023-11-24T08:46:29.479" v="65307"/>
          <ac:spMkLst>
            <pc:docMk/>
            <pc:sldMk cId="1226083679" sldId="2147478575"/>
            <ac:spMk id="430" creationId="{A8877D8F-EC10-B413-3C92-81A592BF1E90}"/>
          </ac:spMkLst>
        </pc:spChg>
        <pc:spChg chg="add del mod">
          <ac:chgData name="Steiner Andreas 6206 ED" userId="e6377c33-a923-4f14-8587-531c474c7b48" providerId="ADAL" clId="{6ECD27E6-B224-41CD-B4E0-E297462320DD}" dt="2023-11-24T08:46:31.926" v="65462"/>
          <ac:spMkLst>
            <pc:docMk/>
            <pc:sldMk cId="1226083679" sldId="2147478575"/>
            <ac:spMk id="431" creationId="{D622E973-02A4-7463-2FFD-1778433C92D2}"/>
          </ac:spMkLst>
        </pc:spChg>
        <pc:spChg chg="add del mod">
          <ac:chgData name="Steiner Andreas 6206 ED" userId="e6377c33-a923-4f14-8587-531c474c7b48" providerId="ADAL" clId="{6ECD27E6-B224-41CD-B4E0-E297462320DD}" dt="2023-11-24T08:46:34.059" v="65617"/>
          <ac:spMkLst>
            <pc:docMk/>
            <pc:sldMk cId="1226083679" sldId="2147478575"/>
            <ac:spMk id="432" creationId="{7103E3D1-912C-E006-7C50-B66E0D34D039}"/>
          </ac:spMkLst>
        </pc:spChg>
        <pc:spChg chg="add del mod">
          <ac:chgData name="Steiner Andreas 6206 ED" userId="e6377c33-a923-4f14-8587-531c474c7b48" providerId="ADAL" clId="{6ECD27E6-B224-41CD-B4E0-E297462320DD}" dt="2023-11-24T08:46:36.001" v="65772"/>
          <ac:spMkLst>
            <pc:docMk/>
            <pc:sldMk cId="1226083679" sldId="2147478575"/>
            <ac:spMk id="433" creationId="{D454330B-5F32-9924-EADB-1BD8D5B83DD4}"/>
          </ac:spMkLst>
        </pc:spChg>
        <pc:spChg chg="add del mod">
          <ac:chgData name="Steiner Andreas 6206 ED" userId="e6377c33-a923-4f14-8587-531c474c7b48" providerId="ADAL" clId="{6ECD27E6-B224-41CD-B4E0-E297462320DD}" dt="2023-11-24T08:46:38.057" v="65927"/>
          <ac:spMkLst>
            <pc:docMk/>
            <pc:sldMk cId="1226083679" sldId="2147478575"/>
            <ac:spMk id="434" creationId="{3E2F003A-8A10-B5A8-68EB-683E8D88B430}"/>
          </ac:spMkLst>
        </pc:spChg>
        <pc:spChg chg="add del mod">
          <ac:chgData name="Steiner Andreas 6206 ED" userId="e6377c33-a923-4f14-8587-531c474c7b48" providerId="ADAL" clId="{6ECD27E6-B224-41CD-B4E0-E297462320DD}" dt="2023-11-24T08:46:40.124" v="66082"/>
          <ac:spMkLst>
            <pc:docMk/>
            <pc:sldMk cId="1226083679" sldId="2147478575"/>
            <ac:spMk id="435" creationId="{7CB6B8DE-FD78-9363-B85A-A60A1569BFED}"/>
          </ac:spMkLst>
        </pc:spChg>
        <pc:spChg chg="add del mod">
          <ac:chgData name="Steiner Andreas 6206 ED" userId="e6377c33-a923-4f14-8587-531c474c7b48" providerId="ADAL" clId="{6ECD27E6-B224-41CD-B4E0-E297462320DD}" dt="2023-11-24T08:46:42.369" v="66237"/>
          <ac:spMkLst>
            <pc:docMk/>
            <pc:sldMk cId="1226083679" sldId="2147478575"/>
            <ac:spMk id="436" creationId="{135B586E-4228-FDF7-D55B-F42468D8DF98}"/>
          </ac:spMkLst>
        </pc:spChg>
        <pc:spChg chg="add del mod">
          <ac:chgData name="Steiner Andreas 6206 ED" userId="e6377c33-a923-4f14-8587-531c474c7b48" providerId="ADAL" clId="{6ECD27E6-B224-41CD-B4E0-E297462320DD}" dt="2023-11-24T08:46:44.523" v="66392"/>
          <ac:spMkLst>
            <pc:docMk/>
            <pc:sldMk cId="1226083679" sldId="2147478575"/>
            <ac:spMk id="437" creationId="{E8F0A215-892C-EEDF-B4BA-47616B57EB0E}"/>
          </ac:spMkLst>
        </pc:spChg>
        <pc:spChg chg="add del mod">
          <ac:chgData name="Steiner Andreas 6206 ED" userId="e6377c33-a923-4f14-8587-531c474c7b48" providerId="ADAL" clId="{6ECD27E6-B224-41CD-B4E0-E297462320DD}" dt="2023-11-24T08:46:46.589" v="66547"/>
          <ac:spMkLst>
            <pc:docMk/>
            <pc:sldMk cId="1226083679" sldId="2147478575"/>
            <ac:spMk id="438" creationId="{2E774BE6-2F94-7BE7-F559-C7DFD1D086F4}"/>
          </ac:spMkLst>
        </pc:spChg>
        <pc:spChg chg="add del mod">
          <ac:chgData name="Steiner Andreas 6206 ED" userId="e6377c33-a923-4f14-8587-531c474c7b48" providerId="ADAL" clId="{6ECD27E6-B224-41CD-B4E0-E297462320DD}" dt="2023-11-24T08:46:48.641" v="66702"/>
          <ac:spMkLst>
            <pc:docMk/>
            <pc:sldMk cId="1226083679" sldId="2147478575"/>
            <ac:spMk id="439" creationId="{E28A2B11-6218-13FD-4864-59FDE5D6F92E}"/>
          </ac:spMkLst>
        </pc:spChg>
        <pc:spChg chg="add del mod">
          <ac:chgData name="Steiner Andreas 6206 ED" userId="e6377c33-a923-4f14-8587-531c474c7b48" providerId="ADAL" clId="{6ECD27E6-B224-41CD-B4E0-E297462320DD}" dt="2023-11-24T08:46:50.668" v="66857"/>
          <ac:spMkLst>
            <pc:docMk/>
            <pc:sldMk cId="1226083679" sldId="2147478575"/>
            <ac:spMk id="440" creationId="{9FAEA340-C784-E855-0DE8-891B1A1423D8}"/>
          </ac:spMkLst>
        </pc:spChg>
        <pc:spChg chg="add del mod">
          <ac:chgData name="Steiner Andreas 6206 ED" userId="e6377c33-a923-4f14-8587-531c474c7b48" providerId="ADAL" clId="{6ECD27E6-B224-41CD-B4E0-E297462320DD}" dt="2023-11-24T08:46:52.870" v="67012"/>
          <ac:spMkLst>
            <pc:docMk/>
            <pc:sldMk cId="1226083679" sldId="2147478575"/>
            <ac:spMk id="441" creationId="{A31F6305-1962-ECC2-65E8-DB0FD8CD6748}"/>
          </ac:spMkLst>
        </pc:spChg>
        <pc:spChg chg="add del mod">
          <ac:chgData name="Steiner Andreas 6206 ED" userId="e6377c33-a923-4f14-8587-531c474c7b48" providerId="ADAL" clId="{6ECD27E6-B224-41CD-B4E0-E297462320DD}" dt="2023-11-24T08:46:54.786" v="67167"/>
          <ac:spMkLst>
            <pc:docMk/>
            <pc:sldMk cId="1226083679" sldId="2147478575"/>
            <ac:spMk id="442" creationId="{77E8DDF8-932A-10FE-C07E-73091318BA3F}"/>
          </ac:spMkLst>
        </pc:spChg>
        <pc:spChg chg="add del mod">
          <ac:chgData name="Steiner Andreas 6206 ED" userId="e6377c33-a923-4f14-8587-531c474c7b48" providerId="ADAL" clId="{6ECD27E6-B224-41CD-B4E0-E297462320DD}" dt="2023-11-24T08:46:56.802" v="67322"/>
          <ac:spMkLst>
            <pc:docMk/>
            <pc:sldMk cId="1226083679" sldId="2147478575"/>
            <ac:spMk id="443" creationId="{BE77132F-C05F-86DA-74C5-9FE2EBF83010}"/>
          </ac:spMkLst>
        </pc:spChg>
        <pc:spChg chg="add del mod">
          <ac:chgData name="Steiner Andreas 6206 ED" userId="e6377c33-a923-4f14-8587-531c474c7b48" providerId="ADAL" clId="{6ECD27E6-B224-41CD-B4E0-E297462320DD}" dt="2023-11-24T08:46:58.676" v="67477"/>
          <ac:spMkLst>
            <pc:docMk/>
            <pc:sldMk cId="1226083679" sldId="2147478575"/>
            <ac:spMk id="444" creationId="{10482895-B0C4-29CC-A100-BC3FE7A185CF}"/>
          </ac:spMkLst>
        </pc:spChg>
        <pc:spChg chg="add del mod">
          <ac:chgData name="Steiner Andreas 6206 ED" userId="e6377c33-a923-4f14-8587-531c474c7b48" providerId="ADAL" clId="{6ECD27E6-B224-41CD-B4E0-E297462320DD}" dt="2023-11-24T08:47:00.750" v="67632"/>
          <ac:spMkLst>
            <pc:docMk/>
            <pc:sldMk cId="1226083679" sldId="2147478575"/>
            <ac:spMk id="445" creationId="{E6F602AC-B6FD-2B1F-8F2B-FB86E7823ED8}"/>
          </ac:spMkLst>
        </pc:spChg>
        <pc:spChg chg="add del mod">
          <ac:chgData name="Steiner Andreas 6206 ED" userId="e6377c33-a923-4f14-8587-531c474c7b48" providerId="ADAL" clId="{6ECD27E6-B224-41CD-B4E0-E297462320DD}" dt="2023-11-24T08:47:02.874" v="67787"/>
          <ac:spMkLst>
            <pc:docMk/>
            <pc:sldMk cId="1226083679" sldId="2147478575"/>
            <ac:spMk id="446" creationId="{26B78962-E6FC-AC4A-06D5-348DC29139D2}"/>
          </ac:spMkLst>
        </pc:spChg>
        <pc:spChg chg="add del mod">
          <ac:chgData name="Steiner Andreas 6206 ED" userId="e6377c33-a923-4f14-8587-531c474c7b48" providerId="ADAL" clId="{6ECD27E6-B224-41CD-B4E0-E297462320DD}" dt="2023-11-24T08:47:04.946" v="67942"/>
          <ac:spMkLst>
            <pc:docMk/>
            <pc:sldMk cId="1226083679" sldId="2147478575"/>
            <ac:spMk id="447" creationId="{E8E5D071-1F0E-18E6-E989-7903C6CBBF56}"/>
          </ac:spMkLst>
        </pc:spChg>
        <pc:spChg chg="add del mod">
          <ac:chgData name="Steiner Andreas 6206 ED" userId="e6377c33-a923-4f14-8587-531c474c7b48" providerId="ADAL" clId="{6ECD27E6-B224-41CD-B4E0-E297462320DD}" dt="2023-11-24T08:47:06.724" v="68097"/>
          <ac:spMkLst>
            <pc:docMk/>
            <pc:sldMk cId="1226083679" sldId="2147478575"/>
            <ac:spMk id="448" creationId="{9ED6DB7B-7078-EBDA-1A21-E5128659FDCD}"/>
          </ac:spMkLst>
        </pc:spChg>
        <pc:spChg chg="add del mod">
          <ac:chgData name="Steiner Andreas 6206 ED" userId="e6377c33-a923-4f14-8587-531c474c7b48" providerId="ADAL" clId="{6ECD27E6-B224-41CD-B4E0-E297462320DD}" dt="2023-11-24T08:47:08.585" v="68252"/>
          <ac:spMkLst>
            <pc:docMk/>
            <pc:sldMk cId="1226083679" sldId="2147478575"/>
            <ac:spMk id="449" creationId="{B51192EB-002B-84B1-0EE5-1C36F3935070}"/>
          </ac:spMkLst>
        </pc:spChg>
        <pc:spChg chg="add del mod">
          <ac:chgData name="Steiner Andreas 6206 ED" userId="e6377c33-a923-4f14-8587-531c474c7b48" providerId="ADAL" clId="{6ECD27E6-B224-41CD-B4E0-E297462320DD}" dt="2023-11-24T08:47:10.457" v="68407"/>
          <ac:spMkLst>
            <pc:docMk/>
            <pc:sldMk cId="1226083679" sldId="2147478575"/>
            <ac:spMk id="450" creationId="{87B40F90-9E83-240B-5285-4D7740D58C8F}"/>
          </ac:spMkLst>
        </pc:spChg>
        <pc:spChg chg="add del mod">
          <ac:chgData name="Steiner Andreas 6206 ED" userId="e6377c33-a923-4f14-8587-531c474c7b48" providerId="ADAL" clId="{6ECD27E6-B224-41CD-B4E0-E297462320DD}" dt="2023-11-24T08:47:12.360" v="68562"/>
          <ac:spMkLst>
            <pc:docMk/>
            <pc:sldMk cId="1226083679" sldId="2147478575"/>
            <ac:spMk id="451" creationId="{3421228F-2F71-EC7C-82B5-CFE8F40BBBDE}"/>
          </ac:spMkLst>
        </pc:spChg>
        <pc:spChg chg="add del mod">
          <ac:chgData name="Steiner Andreas 6206 ED" userId="e6377c33-a923-4f14-8587-531c474c7b48" providerId="ADAL" clId="{6ECD27E6-B224-41CD-B4E0-E297462320DD}" dt="2023-11-24T08:47:14.454" v="68717"/>
          <ac:spMkLst>
            <pc:docMk/>
            <pc:sldMk cId="1226083679" sldId="2147478575"/>
            <ac:spMk id="452" creationId="{2F27DE20-9DCE-42A3-CA81-C708624740C9}"/>
          </ac:spMkLst>
        </pc:spChg>
        <pc:spChg chg="add del mod">
          <ac:chgData name="Steiner Andreas 6206 ED" userId="e6377c33-a923-4f14-8587-531c474c7b48" providerId="ADAL" clId="{6ECD27E6-B224-41CD-B4E0-E297462320DD}" dt="2023-11-24T08:47:16.494" v="68872"/>
          <ac:spMkLst>
            <pc:docMk/>
            <pc:sldMk cId="1226083679" sldId="2147478575"/>
            <ac:spMk id="453" creationId="{DEBBFAC5-01D6-346C-746C-898E760CBF9E}"/>
          </ac:spMkLst>
        </pc:spChg>
        <pc:spChg chg="add del mod">
          <ac:chgData name="Steiner Andreas 6206 ED" userId="e6377c33-a923-4f14-8587-531c474c7b48" providerId="ADAL" clId="{6ECD27E6-B224-41CD-B4E0-E297462320DD}" dt="2023-11-24T08:47:18.381" v="69027"/>
          <ac:spMkLst>
            <pc:docMk/>
            <pc:sldMk cId="1226083679" sldId="2147478575"/>
            <ac:spMk id="454" creationId="{021A6812-91AE-F158-2C82-1BD3E90805BE}"/>
          </ac:spMkLst>
        </pc:spChg>
        <pc:spChg chg="add del mod">
          <ac:chgData name="Steiner Andreas 6206 ED" userId="e6377c33-a923-4f14-8587-531c474c7b48" providerId="ADAL" clId="{6ECD27E6-B224-41CD-B4E0-E297462320DD}" dt="2023-11-24T08:47:20.386" v="69182"/>
          <ac:spMkLst>
            <pc:docMk/>
            <pc:sldMk cId="1226083679" sldId="2147478575"/>
            <ac:spMk id="455" creationId="{9FEBE455-C6EF-39F7-A04D-A99CD1CA7F46}"/>
          </ac:spMkLst>
        </pc:spChg>
        <pc:spChg chg="add del mod">
          <ac:chgData name="Steiner Andreas 6206 ED" userId="e6377c33-a923-4f14-8587-531c474c7b48" providerId="ADAL" clId="{6ECD27E6-B224-41CD-B4E0-E297462320DD}" dt="2023-11-24T08:47:22.566" v="69337"/>
          <ac:spMkLst>
            <pc:docMk/>
            <pc:sldMk cId="1226083679" sldId="2147478575"/>
            <ac:spMk id="456" creationId="{EC5A82DC-5CFB-4401-0722-7BFB853B7717}"/>
          </ac:spMkLst>
        </pc:spChg>
        <pc:spChg chg="add del mod">
          <ac:chgData name="Steiner Andreas 6206 ED" userId="e6377c33-a923-4f14-8587-531c474c7b48" providerId="ADAL" clId="{6ECD27E6-B224-41CD-B4E0-E297462320DD}" dt="2023-11-24T08:47:25.346" v="69492"/>
          <ac:spMkLst>
            <pc:docMk/>
            <pc:sldMk cId="1226083679" sldId="2147478575"/>
            <ac:spMk id="457" creationId="{0FB25A3E-E4B5-A9E2-51C6-43368FBB2713}"/>
          </ac:spMkLst>
        </pc:spChg>
        <pc:spChg chg="add del mod">
          <ac:chgData name="Steiner Andreas 6206 ED" userId="e6377c33-a923-4f14-8587-531c474c7b48" providerId="ADAL" clId="{6ECD27E6-B224-41CD-B4E0-E297462320DD}" dt="2023-11-24T08:47:27.608" v="69647"/>
          <ac:spMkLst>
            <pc:docMk/>
            <pc:sldMk cId="1226083679" sldId="2147478575"/>
            <ac:spMk id="458" creationId="{0056E88C-B790-FC94-9826-807DA32C718D}"/>
          </ac:spMkLst>
        </pc:spChg>
        <pc:spChg chg="add del mod">
          <ac:chgData name="Steiner Andreas 6206 ED" userId="e6377c33-a923-4f14-8587-531c474c7b48" providerId="ADAL" clId="{6ECD27E6-B224-41CD-B4E0-E297462320DD}" dt="2023-11-24T08:47:29.633" v="69802"/>
          <ac:spMkLst>
            <pc:docMk/>
            <pc:sldMk cId="1226083679" sldId="2147478575"/>
            <ac:spMk id="459" creationId="{6B07E1BF-D37E-97B4-30B9-5ED81FA4493C}"/>
          </ac:spMkLst>
        </pc:spChg>
        <pc:spChg chg="add del mod">
          <ac:chgData name="Steiner Andreas 6206 ED" userId="e6377c33-a923-4f14-8587-531c474c7b48" providerId="ADAL" clId="{6ECD27E6-B224-41CD-B4E0-E297462320DD}" dt="2023-11-24T08:47:31.659" v="69957"/>
          <ac:spMkLst>
            <pc:docMk/>
            <pc:sldMk cId="1226083679" sldId="2147478575"/>
            <ac:spMk id="460" creationId="{1B7937E3-7385-0E54-A985-E04F9A22C7B1}"/>
          </ac:spMkLst>
        </pc:spChg>
        <pc:spChg chg="add del mod">
          <ac:chgData name="Steiner Andreas 6206 ED" userId="e6377c33-a923-4f14-8587-531c474c7b48" providerId="ADAL" clId="{6ECD27E6-B224-41CD-B4E0-E297462320DD}" dt="2023-11-24T08:47:33.663" v="70112"/>
          <ac:spMkLst>
            <pc:docMk/>
            <pc:sldMk cId="1226083679" sldId="2147478575"/>
            <ac:spMk id="461" creationId="{072E78C6-369A-E14D-4E31-4FEC66376D9E}"/>
          </ac:spMkLst>
        </pc:spChg>
        <pc:spChg chg="add del mod">
          <ac:chgData name="Steiner Andreas 6206 ED" userId="e6377c33-a923-4f14-8587-531c474c7b48" providerId="ADAL" clId="{6ECD27E6-B224-41CD-B4E0-E297462320DD}" dt="2023-11-24T08:47:35.807" v="70267"/>
          <ac:spMkLst>
            <pc:docMk/>
            <pc:sldMk cId="1226083679" sldId="2147478575"/>
            <ac:spMk id="462" creationId="{8FC63566-0A36-8997-9929-420F32946665}"/>
          </ac:spMkLst>
        </pc:spChg>
        <pc:spChg chg="add del mod">
          <ac:chgData name="Steiner Andreas 6206 ED" userId="e6377c33-a923-4f14-8587-531c474c7b48" providerId="ADAL" clId="{6ECD27E6-B224-41CD-B4E0-E297462320DD}" dt="2023-11-24T08:47:37.903" v="70422"/>
          <ac:spMkLst>
            <pc:docMk/>
            <pc:sldMk cId="1226083679" sldId="2147478575"/>
            <ac:spMk id="463" creationId="{07043071-012D-8C78-F1B1-3B3C4B8BBD6D}"/>
          </ac:spMkLst>
        </pc:spChg>
        <pc:spChg chg="add del mod">
          <ac:chgData name="Steiner Andreas 6206 ED" userId="e6377c33-a923-4f14-8587-531c474c7b48" providerId="ADAL" clId="{6ECD27E6-B224-41CD-B4E0-E297462320DD}" dt="2023-11-24T08:47:39.961" v="70577"/>
          <ac:spMkLst>
            <pc:docMk/>
            <pc:sldMk cId="1226083679" sldId="2147478575"/>
            <ac:spMk id="464" creationId="{A87AE6AC-DDDB-1309-98A9-8FD2892542C6}"/>
          </ac:spMkLst>
        </pc:spChg>
        <pc:spChg chg="add del mod">
          <ac:chgData name="Steiner Andreas 6206 ED" userId="e6377c33-a923-4f14-8587-531c474c7b48" providerId="ADAL" clId="{6ECD27E6-B224-41CD-B4E0-E297462320DD}" dt="2023-11-24T08:47:41.937" v="70732"/>
          <ac:spMkLst>
            <pc:docMk/>
            <pc:sldMk cId="1226083679" sldId="2147478575"/>
            <ac:spMk id="465" creationId="{F0536E3B-CECE-5D10-162D-35549E96ABB7}"/>
          </ac:spMkLst>
        </pc:spChg>
        <pc:spChg chg="add del mod">
          <ac:chgData name="Steiner Andreas 6206 ED" userId="e6377c33-a923-4f14-8587-531c474c7b48" providerId="ADAL" clId="{6ECD27E6-B224-41CD-B4E0-E297462320DD}" dt="2023-11-24T08:47:43.842" v="70887"/>
          <ac:spMkLst>
            <pc:docMk/>
            <pc:sldMk cId="1226083679" sldId="2147478575"/>
            <ac:spMk id="466" creationId="{5C5EBB65-C4AB-A10B-2527-786D76267414}"/>
          </ac:spMkLst>
        </pc:spChg>
        <pc:spChg chg="add del mod">
          <ac:chgData name="Steiner Andreas 6206 ED" userId="e6377c33-a923-4f14-8587-531c474c7b48" providerId="ADAL" clId="{6ECD27E6-B224-41CD-B4E0-E297462320DD}" dt="2023-11-24T08:47:45.767" v="71042"/>
          <ac:spMkLst>
            <pc:docMk/>
            <pc:sldMk cId="1226083679" sldId="2147478575"/>
            <ac:spMk id="467" creationId="{2CD215EA-9E11-6554-B433-CB9281DF52D2}"/>
          </ac:spMkLst>
        </pc:spChg>
        <pc:spChg chg="add del mod">
          <ac:chgData name="Steiner Andreas 6206 ED" userId="e6377c33-a923-4f14-8587-531c474c7b48" providerId="ADAL" clId="{6ECD27E6-B224-41CD-B4E0-E297462320DD}" dt="2023-11-24T08:47:47.808" v="71197"/>
          <ac:spMkLst>
            <pc:docMk/>
            <pc:sldMk cId="1226083679" sldId="2147478575"/>
            <ac:spMk id="468" creationId="{4FB06797-EB8B-3F4F-820D-BF68A3D1160F}"/>
          </ac:spMkLst>
        </pc:spChg>
        <pc:spChg chg="add del mod">
          <ac:chgData name="Steiner Andreas 6206 ED" userId="e6377c33-a923-4f14-8587-531c474c7b48" providerId="ADAL" clId="{6ECD27E6-B224-41CD-B4E0-E297462320DD}" dt="2023-11-24T08:47:49.916" v="71352"/>
          <ac:spMkLst>
            <pc:docMk/>
            <pc:sldMk cId="1226083679" sldId="2147478575"/>
            <ac:spMk id="469" creationId="{6A5EBB63-8E5B-08E3-75F2-B2440B6354D2}"/>
          </ac:spMkLst>
        </pc:spChg>
        <pc:spChg chg="add del mod">
          <ac:chgData name="Steiner Andreas 6206 ED" userId="e6377c33-a923-4f14-8587-531c474c7b48" providerId="ADAL" clId="{6ECD27E6-B224-41CD-B4E0-E297462320DD}" dt="2023-11-24T08:47:51.874" v="71507"/>
          <ac:spMkLst>
            <pc:docMk/>
            <pc:sldMk cId="1226083679" sldId="2147478575"/>
            <ac:spMk id="470" creationId="{BDAC38E5-A97B-868A-EB6D-BF4DEE03C74F}"/>
          </ac:spMkLst>
        </pc:spChg>
        <pc:spChg chg="add del mod">
          <ac:chgData name="Steiner Andreas 6206 ED" userId="e6377c33-a923-4f14-8587-531c474c7b48" providerId="ADAL" clId="{6ECD27E6-B224-41CD-B4E0-E297462320DD}" dt="2023-11-24T08:47:53.844" v="71662"/>
          <ac:spMkLst>
            <pc:docMk/>
            <pc:sldMk cId="1226083679" sldId="2147478575"/>
            <ac:spMk id="471" creationId="{2EDE76E5-1B1B-9E26-FD77-B6693FE0801A}"/>
          </ac:spMkLst>
        </pc:spChg>
        <pc:spChg chg="add del mod">
          <ac:chgData name="Steiner Andreas 6206 ED" userId="e6377c33-a923-4f14-8587-531c474c7b48" providerId="ADAL" clId="{6ECD27E6-B224-41CD-B4E0-E297462320DD}" dt="2023-11-24T08:47:55.657" v="71817"/>
          <ac:spMkLst>
            <pc:docMk/>
            <pc:sldMk cId="1226083679" sldId="2147478575"/>
            <ac:spMk id="472" creationId="{1B81F7C8-4CC9-0183-1A85-681772631F42}"/>
          </ac:spMkLst>
        </pc:spChg>
        <pc:spChg chg="add del mod">
          <ac:chgData name="Steiner Andreas 6206 ED" userId="e6377c33-a923-4f14-8587-531c474c7b48" providerId="ADAL" clId="{6ECD27E6-B224-41CD-B4E0-E297462320DD}" dt="2023-11-24T08:47:57.620" v="71972"/>
          <ac:spMkLst>
            <pc:docMk/>
            <pc:sldMk cId="1226083679" sldId="2147478575"/>
            <ac:spMk id="473" creationId="{775D9B47-6238-5042-CB1A-66059CC34F6C}"/>
          </ac:spMkLst>
        </pc:spChg>
        <pc:spChg chg="add del mod">
          <ac:chgData name="Steiner Andreas 6206 ED" userId="e6377c33-a923-4f14-8587-531c474c7b48" providerId="ADAL" clId="{6ECD27E6-B224-41CD-B4E0-E297462320DD}" dt="2023-11-24T08:47:59.723" v="72127"/>
          <ac:spMkLst>
            <pc:docMk/>
            <pc:sldMk cId="1226083679" sldId="2147478575"/>
            <ac:spMk id="474" creationId="{BAE3BB66-C721-AC5D-95C3-1C81758FDBD5}"/>
          </ac:spMkLst>
        </pc:spChg>
        <pc:spChg chg="add del mod">
          <ac:chgData name="Steiner Andreas 6206 ED" userId="e6377c33-a923-4f14-8587-531c474c7b48" providerId="ADAL" clId="{6ECD27E6-B224-41CD-B4E0-E297462320DD}" dt="2023-11-24T08:48:01.881" v="72282"/>
          <ac:spMkLst>
            <pc:docMk/>
            <pc:sldMk cId="1226083679" sldId="2147478575"/>
            <ac:spMk id="475" creationId="{D0EEFD61-5E47-3B93-D068-B54358128579}"/>
          </ac:spMkLst>
        </pc:spChg>
        <pc:spChg chg="add del mod">
          <ac:chgData name="Steiner Andreas 6206 ED" userId="e6377c33-a923-4f14-8587-531c474c7b48" providerId="ADAL" clId="{6ECD27E6-B224-41CD-B4E0-E297462320DD}" dt="2023-11-24T08:48:03.913" v="72437"/>
          <ac:spMkLst>
            <pc:docMk/>
            <pc:sldMk cId="1226083679" sldId="2147478575"/>
            <ac:spMk id="476" creationId="{F5F31CFC-E656-E8EC-D232-DD42D2F54D83}"/>
          </ac:spMkLst>
        </pc:spChg>
        <pc:spChg chg="add del mod">
          <ac:chgData name="Steiner Andreas 6206 ED" userId="e6377c33-a923-4f14-8587-531c474c7b48" providerId="ADAL" clId="{6ECD27E6-B224-41CD-B4E0-E297462320DD}" dt="2023-11-24T08:48:06.043" v="72592"/>
          <ac:spMkLst>
            <pc:docMk/>
            <pc:sldMk cId="1226083679" sldId="2147478575"/>
            <ac:spMk id="477" creationId="{75C950D5-D5E7-8905-F595-73BAADD8AA04}"/>
          </ac:spMkLst>
        </pc:spChg>
        <pc:spChg chg="add del mod">
          <ac:chgData name="Steiner Andreas 6206 ED" userId="e6377c33-a923-4f14-8587-531c474c7b48" providerId="ADAL" clId="{6ECD27E6-B224-41CD-B4E0-E297462320DD}" dt="2023-11-24T08:48:08.263" v="72747"/>
          <ac:spMkLst>
            <pc:docMk/>
            <pc:sldMk cId="1226083679" sldId="2147478575"/>
            <ac:spMk id="478" creationId="{41170352-A11E-392A-C5FD-FC7CE8B85D2F}"/>
          </ac:spMkLst>
        </pc:spChg>
        <pc:spChg chg="add del mod">
          <ac:chgData name="Steiner Andreas 6206 ED" userId="e6377c33-a923-4f14-8587-531c474c7b48" providerId="ADAL" clId="{6ECD27E6-B224-41CD-B4E0-E297462320DD}" dt="2023-11-24T08:48:10.311" v="72902"/>
          <ac:spMkLst>
            <pc:docMk/>
            <pc:sldMk cId="1226083679" sldId="2147478575"/>
            <ac:spMk id="479" creationId="{31EE3757-AD2B-9E49-CDE7-69837CEBC216}"/>
          </ac:spMkLst>
        </pc:spChg>
        <pc:spChg chg="add del mod">
          <ac:chgData name="Steiner Andreas 6206 ED" userId="e6377c33-a923-4f14-8587-531c474c7b48" providerId="ADAL" clId="{6ECD27E6-B224-41CD-B4E0-E297462320DD}" dt="2023-11-24T08:48:12.322" v="73057"/>
          <ac:spMkLst>
            <pc:docMk/>
            <pc:sldMk cId="1226083679" sldId="2147478575"/>
            <ac:spMk id="480" creationId="{13AA91CA-0F97-FAC1-F846-F4E2B010919F}"/>
          </ac:spMkLst>
        </pc:spChg>
        <pc:spChg chg="add del mod">
          <ac:chgData name="Steiner Andreas 6206 ED" userId="e6377c33-a923-4f14-8587-531c474c7b48" providerId="ADAL" clId="{6ECD27E6-B224-41CD-B4E0-E297462320DD}" dt="2023-11-24T08:48:14.710" v="73212"/>
          <ac:spMkLst>
            <pc:docMk/>
            <pc:sldMk cId="1226083679" sldId="2147478575"/>
            <ac:spMk id="481" creationId="{E8B1FA76-B3C5-C8B5-4EB1-FA6FDF22E8A2}"/>
          </ac:spMkLst>
        </pc:spChg>
        <pc:spChg chg="add del mod">
          <ac:chgData name="Steiner Andreas 6206 ED" userId="e6377c33-a923-4f14-8587-531c474c7b48" providerId="ADAL" clId="{6ECD27E6-B224-41CD-B4E0-E297462320DD}" dt="2023-11-24T08:48:17.507" v="73367"/>
          <ac:spMkLst>
            <pc:docMk/>
            <pc:sldMk cId="1226083679" sldId="2147478575"/>
            <ac:spMk id="482" creationId="{880FAB51-4B9E-01BC-03CD-901E97A24F12}"/>
          </ac:spMkLst>
        </pc:spChg>
        <pc:spChg chg="add del mod">
          <ac:chgData name="Steiner Andreas 6206 ED" userId="e6377c33-a923-4f14-8587-531c474c7b48" providerId="ADAL" clId="{6ECD27E6-B224-41CD-B4E0-E297462320DD}" dt="2023-11-24T08:48:20.085" v="73522"/>
          <ac:spMkLst>
            <pc:docMk/>
            <pc:sldMk cId="1226083679" sldId="2147478575"/>
            <ac:spMk id="483" creationId="{90461FDB-9B04-F463-3A43-AC1BBEB893E0}"/>
          </ac:spMkLst>
        </pc:spChg>
        <pc:spChg chg="add del mod">
          <ac:chgData name="Steiner Andreas 6206 ED" userId="e6377c33-a923-4f14-8587-531c474c7b48" providerId="ADAL" clId="{6ECD27E6-B224-41CD-B4E0-E297462320DD}" dt="2023-11-24T08:48:22.242" v="73677"/>
          <ac:spMkLst>
            <pc:docMk/>
            <pc:sldMk cId="1226083679" sldId="2147478575"/>
            <ac:spMk id="484" creationId="{28434218-324C-F006-5582-99815BDBA1D2}"/>
          </ac:spMkLst>
        </pc:spChg>
        <pc:spChg chg="add del mod">
          <ac:chgData name="Steiner Andreas 6206 ED" userId="e6377c33-a923-4f14-8587-531c474c7b48" providerId="ADAL" clId="{6ECD27E6-B224-41CD-B4E0-E297462320DD}" dt="2023-11-24T08:48:24.358" v="73832"/>
          <ac:spMkLst>
            <pc:docMk/>
            <pc:sldMk cId="1226083679" sldId="2147478575"/>
            <ac:spMk id="485" creationId="{9ADEDB43-FCBB-FE1E-57AA-898BD40FE421}"/>
          </ac:spMkLst>
        </pc:spChg>
        <pc:spChg chg="add del mod">
          <ac:chgData name="Steiner Andreas 6206 ED" userId="e6377c33-a923-4f14-8587-531c474c7b48" providerId="ADAL" clId="{6ECD27E6-B224-41CD-B4E0-E297462320DD}" dt="2023-11-24T08:48:26.461" v="73987"/>
          <ac:spMkLst>
            <pc:docMk/>
            <pc:sldMk cId="1226083679" sldId="2147478575"/>
            <ac:spMk id="486" creationId="{BD071035-0ACA-A203-FA4A-86B2043F432E}"/>
          </ac:spMkLst>
        </pc:spChg>
        <pc:spChg chg="add del mod">
          <ac:chgData name="Steiner Andreas 6206 ED" userId="e6377c33-a923-4f14-8587-531c474c7b48" providerId="ADAL" clId="{6ECD27E6-B224-41CD-B4E0-E297462320DD}" dt="2023-11-24T08:48:28.479" v="74142"/>
          <ac:spMkLst>
            <pc:docMk/>
            <pc:sldMk cId="1226083679" sldId="2147478575"/>
            <ac:spMk id="487" creationId="{54E4E404-73E9-2315-9DAF-4F19B73F0211}"/>
          </ac:spMkLst>
        </pc:spChg>
        <pc:spChg chg="add del mod">
          <ac:chgData name="Steiner Andreas 6206 ED" userId="e6377c33-a923-4f14-8587-531c474c7b48" providerId="ADAL" clId="{6ECD27E6-B224-41CD-B4E0-E297462320DD}" dt="2023-11-24T08:48:30.353" v="74297"/>
          <ac:spMkLst>
            <pc:docMk/>
            <pc:sldMk cId="1226083679" sldId="2147478575"/>
            <ac:spMk id="488" creationId="{1871B873-047E-1C97-6FAF-DA374A0CD242}"/>
          </ac:spMkLst>
        </pc:spChg>
        <pc:spChg chg="add del mod">
          <ac:chgData name="Steiner Andreas 6206 ED" userId="e6377c33-a923-4f14-8587-531c474c7b48" providerId="ADAL" clId="{6ECD27E6-B224-41CD-B4E0-E297462320DD}" dt="2023-11-24T08:48:32.321" v="74452"/>
          <ac:spMkLst>
            <pc:docMk/>
            <pc:sldMk cId="1226083679" sldId="2147478575"/>
            <ac:spMk id="489" creationId="{44C14DD2-E531-9EBF-ACEE-6E9D16317B76}"/>
          </ac:spMkLst>
        </pc:spChg>
        <pc:spChg chg="add del mod">
          <ac:chgData name="Steiner Andreas 6206 ED" userId="e6377c33-a923-4f14-8587-531c474c7b48" providerId="ADAL" clId="{6ECD27E6-B224-41CD-B4E0-E297462320DD}" dt="2023-11-24T08:48:34.584" v="74607"/>
          <ac:spMkLst>
            <pc:docMk/>
            <pc:sldMk cId="1226083679" sldId="2147478575"/>
            <ac:spMk id="490" creationId="{D541A7D1-273F-2B7C-B037-44B4998A8F67}"/>
          </ac:spMkLst>
        </pc:spChg>
        <pc:spChg chg="add del mod">
          <ac:chgData name="Steiner Andreas 6206 ED" userId="e6377c33-a923-4f14-8587-531c474c7b48" providerId="ADAL" clId="{6ECD27E6-B224-41CD-B4E0-E297462320DD}" dt="2023-11-24T08:48:36.712" v="74762"/>
          <ac:spMkLst>
            <pc:docMk/>
            <pc:sldMk cId="1226083679" sldId="2147478575"/>
            <ac:spMk id="491" creationId="{F5F30B1E-5988-5673-52EE-D1E163507A04}"/>
          </ac:spMkLst>
        </pc:spChg>
        <pc:spChg chg="add del mod">
          <ac:chgData name="Steiner Andreas 6206 ED" userId="e6377c33-a923-4f14-8587-531c474c7b48" providerId="ADAL" clId="{6ECD27E6-B224-41CD-B4E0-E297462320DD}" dt="2023-11-24T08:48:38.799" v="74917"/>
          <ac:spMkLst>
            <pc:docMk/>
            <pc:sldMk cId="1226083679" sldId="2147478575"/>
            <ac:spMk id="492" creationId="{39A88267-1F2E-B96F-A675-D9736CC32F25}"/>
          </ac:spMkLst>
        </pc:spChg>
        <pc:spChg chg="add del mod">
          <ac:chgData name="Steiner Andreas 6206 ED" userId="e6377c33-a923-4f14-8587-531c474c7b48" providerId="ADAL" clId="{6ECD27E6-B224-41CD-B4E0-E297462320DD}" dt="2023-11-24T08:48:40.902" v="75072"/>
          <ac:spMkLst>
            <pc:docMk/>
            <pc:sldMk cId="1226083679" sldId="2147478575"/>
            <ac:spMk id="493" creationId="{6BBAE099-1216-8702-D436-FB0C97DD85F8}"/>
          </ac:spMkLst>
        </pc:spChg>
        <pc:spChg chg="add del mod">
          <ac:chgData name="Steiner Andreas 6206 ED" userId="e6377c33-a923-4f14-8587-531c474c7b48" providerId="ADAL" clId="{6ECD27E6-B224-41CD-B4E0-E297462320DD}" dt="2023-11-24T08:48:43.358" v="75227"/>
          <ac:spMkLst>
            <pc:docMk/>
            <pc:sldMk cId="1226083679" sldId="2147478575"/>
            <ac:spMk id="494" creationId="{1119FCCE-4D47-16D8-3539-DA7E976EE425}"/>
          </ac:spMkLst>
        </pc:spChg>
        <pc:spChg chg="add del mod">
          <ac:chgData name="Steiner Andreas 6206 ED" userId="e6377c33-a923-4f14-8587-531c474c7b48" providerId="ADAL" clId="{6ECD27E6-B224-41CD-B4E0-E297462320DD}" dt="2023-11-24T08:48:45.626" v="75382"/>
          <ac:spMkLst>
            <pc:docMk/>
            <pc:sldMk cId="1226083679" sldId="2147478575"/>
            <ac:spMk id="495" creationId="{1055D6E0-C9E8-2A63-96D7-5FB00BC53B94}"/>
          </ac:spMkLst>
        </pc:spChg>
        <pc:spChg chg="add del mod">
          <ac:chgData name="Steiner Andreas 6206 ED" userId="e6377c33-a923-4f14-8587-531c474c7b48" providerId="ADAL" clId="{6ECD27E6-B224-41CD-B4E0-E297462320DD}" dt="2023-11-24T08:48:47.748" v="75537"/>
          <ac:spMkLst>
            <pc:docMk/>
            <pc:sldMk cId="1226083679" sldId="2147478575"/>
            <ac:spMk id="496" creationId="{783890CA-D8B0-3DAD-D477-1A9C74ED364A}"/>
          </ac:spMkLst>
        </pc:spChg>
        <pc:spChg chg="add del mod">
          <ac:chgData name="Steiner Andreas 6206 ED" userId="e6377c33-a923-4f14-8587-531c474c7b48" providerId="ADAL" clId="{6ECD27E6-B224-41CD-B4E0-E297462320DD}" dt="2023-11-24T08:48:49.658" v="75692"/>
          <ac:spMkLst>
            <pc:docMk/>
            <pc:sldMk cId="1226083679" sldId="2147478575"/>
            <ac:spMk id="497" creationId="{EB33A7ED-DB38-C8EA-276D-8E4259CBC639}"/>
          </ac:spMkLst>
        </pc:spChg>
        <pc:spChg chg="add del mod">
          <ac:chgData name="Steiner Andreas 6206 ED" userId="e6377c33-a923-4f14-8587-531c474c7b48" providerId="ADAL" clId="{6ECD27E6-B224-41CD-B4E0-E297462320DD}" dt="2023-11-24T08:48:51.873" v="75847"/>
          <ac:spMkLst>
            <pc:docMk/>
            <pc:sldMk cId="1226083679" sldId="2147478575"/>
            <ac:spMk id="498" creationId="{59DD8D60-4F3C-A5E8-DB20-653B4EE7C0AA}"/>
          </ac:spMkLst>
        </pc:spChg>
        <pc:spChg chg="add del mod">
          <ac:chgData name="Steiner Andreas 6206 ED" userId="e6377c33-a923-4f14-8587-531c474c7b48" providerId="ADAL" clId="{6ECD27E6-B224-41CD-B4E0-E297462320DD}" dt="2023-11-24T08:48:53.844" v="76002"/>
          <ac:spMkLst>
            <pc:docMk/>
            <pc:sldMk cId="1226083679" sldId="2147478575"/>
            <ac:spMk id="499" creationId="{E6ABF413-69E7-CAEE-ED9F-688328A9E1E4}"/>
          </ac:spMkLst>
        </pc:spChg>
        <pc:spChg chg="add del mod">
          <ac:chgData name="Steiner Andreas 6206 ED" userId="e6377c33-a923-4f14-8587-531c474c7b48" providerId="ADAL" clId="{6ECD27E6-B224-41CD-B4E0-E297462320DD}" dt="2023-11-24T08:48:55.790" v="76157"/>
          <ac:spMkLst>
            <pc:docMk/>
            <pc:sldMk cId="1226083679" sldId="2147478575"/>
            <ac:spMk id="500" creationId="{2A41AD86-E7CC-F615-9D7D-C5BEFD00E285}"/>
          </ac:spMkLst>
        </pc:spChg>
        <pc:spChg chg="add del mod">
          <ac:chgData name="Steiner Andreas 6206 ED" userId="e6377c33-a923-4f14-8587-531c474c7b48" providerId="ADAL" clId="{6ECD27E6-B224-41CD-B4E0-E297462320DD}" dt="2023-11-24T08:48:57.772" v="76312"/>
          <ac:spMkLst>
            <pc:docMk/>
            <pc:sldMk cId="1226083679" sldId="2147478575"/>
            <ac:spMk id="501" creationId="{A62E4268-427D-D732-6479-940D619A8B5B}"/>
          </ac:spMkLst>
        </pc:spChg>
        <pc:spChg chg="add del mod">
          <ac:chgData name="Steiner Andreas 6206 ED" userId="e6377c33-a923-4f14-8587-531c474c7b48" providerId="ADAL" clId="{6ECD27E6-B224-41CD-B4E0-E297462320DD}" dt="2023-11-24T08:48:59.819" v="76467"/>
          <ac:spMkLst>
            <pc:docMk/>
            <pc:sldMk cId="1226083679" sldId="2147478575"/>
            <ac:spMk id="502" creationId="{2A54A170-8435-CA58-6456-A58895D8B064}"/>
          </ac:spMkLst>
        </pc:spChg>
        <pc:spChg chg="add del mod">
          <ac:chgData name="Steiner Andreas 6206 ED" userId="e6377c33-a923-4f14-8587-531c474c7b48" providerId="ADAL" clId="{6ECD27E6-B224-41CD-B4E0-E297462320DD}" dt="2023-11-24T08:49:01.789" v="76622"/>
          <ac:spMkLst>
            <pc:docMk/>
            <pc:sldMk cId="1226083679" sldId="2147478575"/>
            <ac:spMk id="503" creationId="{F26AC5D5-670D-68E2-CBB1-51ECBC8F04CC}"/>
          </ac:spMkLst>
        </pc:spChg>
        <pc:spChg chg="add del mod">
          <ac:chgData name="Steiner Andreas 6206 ED" userId="e6377c33-a923-4f14-8587-531c474c7b48" providerId="ADAL" clId="{6ECD27E6-B224-41CD-B4E0-E297462320DD}" dt="2023-11-24T08:49:03.764" v="76777"/>
          <ac:spMkLst>
            <pc:docMk/>
            <pc:sldMk cId="1226083679" sldId="2147478575"/>
            <ac:spMk id="504" creationId="{BF2A2D29-983E-76E9-91E3-C3257D095FDA}"/>
          </ac:spMkLst>
        </pc:spChg>
        <pc:spChg chg="add del mod">
          <ac:chgData name="Steiner Andreas 6206 ED" userId="e6377c33-a923-4f14-8587-531c474c7b48" providerId="ADAL" clId="{6ECD27E6-B224-41CD-B4E0-E297462320DD}" dt="2023-11-24T08:49:05.658" v="76932"/>
          <ac:spMkLst>
            <pc:docMk/>
            <pc:sldMk cId="1226083679" sldId="2147478575"/>
            <ac:spMk id="505" creationId="{01BF402B-1969-C589-DCEA-6E3BE6087DB6}"/>
          </ac:spMkLst>
        </pc:spChg>
        <pc:spChg chg="add del mod">
          <ac:chgData name="Steiner Andreas 6206 ED" userId="e6377c33-a923-4f14-8587-531c474c7b48" providerId="ADAL" clId="{6ECD27E6-B224-41CD-B4E0-E297462320DD}" dt="2023-11-24T08:49:07.746" v="77087"/>
          <ac:spMkLst>
            <pc:docMk/>
            <pc:sldMk cId="1226083679" sldId="2147478575"/>
            <ac:spMk id="506" creationId="{AF7FA7DD-6C54-491E-0EC1-12B6F87B6FDC}"/>
          </ac:spMkLst>
        </pc:spChg>
        <pc:spChg chg="add del mod">
          <ac:chgData name="Steiner Andreas 6206 ED" userId="e6377c33-a923-4f14-8587-531c474c7b48" providerId="ADAL" clId="{6ECD27E6-B224-41CD-B4E0-E297462320DD}" dt="2023-11-24T08:49:09.643" v="77242"/>
          <ac:spMkLst>
            <pc:docMk/>
            <pc:sldMk cId="1226083679" sldId="2147478575"/>
            <ac:spMk id="507" creationId="{8428E630-F5CF-1B94-BFA3-C71AD6E7B403}"/>
          </ac:spMkLst>
        </pc:spChg>
        <pc:spChg chg="add del mod">
          <ac:chgData name="Steiner Andreas 6206 ED" userId="e6377c33-a923-4f14-8587-531c474c7b48" providerId="ADAL" clId="{6ECD27E6-B224-41CD-B4E0-E297462320DD}" dt="2023-11-24T08:49:11.448" v="77397"/>
          <ac:spMkLst>
            <pc:docMk/>
            <pc:sldMk cId="1226083679" sldId="2147478575"/>
            <ac:spMk id="508" creationId="{26A6B08C-9E2D-CB06-44BA-36EAEE9ADEEA}"/>
          </ac:spMkLst>
        </pc:spChg>
        <pc:spChg chg="add del mod">
          <ac:chgData name="Steiner Andreas 6206 ED" userId="e6377c33-a923-4f14-8587-531c474c7b48" providerId="ADAL" clId="{6ECD27E6-B224-41CD-B4E0-E297462320DD}" dt="2023-11-24T08:49:13.462" v="77552"/>
          <ac:spMkLst>
            <pc:docMk/>
            <pc:sldMk cId="1226083679" sldId="2147478575"/>
            <ac:spMk id="509" creationId="{31F91239-90CB-5A3C-6809-A0964F71DED4}"/>
          </ac:spMkLst>
        </pc:spChg>
        <pc:spChg chg="add del mod">
          <ac:chgData name="Steiner Andreas 6206 ED" userId="e6377c33-a923-4f14-8587-531c474c7b48" providerId="ADAL" clId="{6ECD27E6-B224-41CD-B4E0-E297462320DD}" dt="2023-11-24T08:49:15.516" v="77707"/>
          <ac:spMkLst>
            <pc:docMk/>
            <pc:sldMk cId="1226083679" sldId="2147478575"/>
            <ac:spMk id="510" creationId="{5C9C33E0-53FC-E01D-44AC-47C5057AD140}"/>
          </ac:spMkLst>
        </pc:spChg>
        <pc:spChg chg="add del mod">
          <ac:chgData name="Steiner Andreas 6206 ED" userId="e6377c33-a923-4f14-8587-531c474c7b48" providerId="ADAL" clId="{6ECD27E6-B224-41CD-B4E0-E297462320DD}" dt="2023-11-24T08:49:17.509" v="77862"/>
          <ac:spMkLst>
            <pc:docMk/>
            <pc:sldMk cId="1226083679" sldId="2147478575"/>
            <ac:spMk id="511" creationId="{BC444EB7-5A5B-4D8D-ACA3-17B22B8A5F9C}"/>
          </ac:spMkLst>
        </pc:spChg>
        <pc:spChg chg="add del mod">
          <ac:chgData name="Steiner Andreas 6206 ED" userId="e6377c33-a923-4f14-8587-531c474c7b48" providerId="ADAL" clId="{6ECD27E6-B224-41CD-B4E0-E297462320DD}" dt="2023-11-24T08:49:19.585" v="78017"/>
          <ac:spMkLst>
            <pc:docMk/>
            <pc:sldMk cId="1226083679" sldId="2147478575"/>
            <ac:spMk id="512" creationId="{BB2A35D2-5DBD-02F3-3035-E6A514BB9EED}"/>
          </ac:spMkLst>
        </pc:spChg>
        <pc:spChg chg="add del mod">
          <ac:chgData name="Steiner Andreas 6206 ED" userId="e6377c33-a923-4f14-8587-531c474c7b48" providerId="ADAL" clId="{6ECD27E6-B224-41CD-B4E0-E297462320DD}" dt="2023-11-24T08:49:21.527" v="78172"/>
          <ac:spMkLst>
            <pc:docMk/>
            <pc:sldMk cId="1226083679" sldId="2147478575"/>
            <ac:spMk id="513" creationId="{7AE4932E-4683-638C-54A0-F196F7B4593A}"/>
          </ac:spMkLst>
        </pc:spChg>
        <pc:spChg chg="add del mod">
          <ac:chgData name="Steiner Andreas 6206 ED" userId="e6377c33-a923-4f14-8587-531c474c7b48" providerId="ADAL" clId="{6ECD27E6-B224-41CD-B4E0-E297462320DD}" dt="2023-11-24T08:49:23.388" v="78327"/>
          <ac:spMkLst>
            <pc:docMk/>
            <pc:sldMk cId="1226083679" sldId="2147478575"/>
            <ac:spMk id="514" creationId="{8A87FE52-5CF8-FFCE-3BC4-E57BAC032D68}"/>
          </ac:spMkLst>
        </pc:spChg>
        <pc:spChg chg="add del mod">
          <ac:chgData name="Steiner Andreas 6206 ED" userId="e6377c33-a923-4f14-8587-531c474c7b48" providerId="ADAL" clId="{6ECD27E6-B224-41CD-B4E0-E297462320DD}" dt="2023-11-24T08:49:25.302" v="78482"/>
          <ac:spMkLst>
            <pc:docMk/>
            <pc:sldMk cId="1226083679" sldId="2147478575"/>
            <ac:spMk id="515" creationId="{9062015F-3AEE-B69F-C61D-06584371E946}"/>
          </ac:spMkLst>
        </pc:spChg>
        <pc:spChg chg="add del mod">
          <ac:chgData name="Steiner Andreas 6206 ED" userId="e6377c33-a923-4f14-8587-531c474c7b48" providerId="ADAL" clId="{6ECD27E6-B224-41CD-B4E0-E297462320DD}" dt="2023-11-24T08:49:27.299" v="78637"/>
          <ac:spMkLst>
            <pc:docMk/>
            <pc:sldMk cId="1226083679" sldId="2147478575"/>
            <ac:spMk id="516" creationId="{0C38BBBF-18FC-1829-CE8D-BF6E5E7FFD34}"/>
          </ac:spMkLst>
        </pc:spChg>
        <pc:spChg chg="add del mod">
          <ac:chgData name="Steiner Andreas 6206 ED" userId="e6377c33-a923-4f14-8587-531c474c7b48" providerId="ADAL" clId="{6ECD27E6-B224-41CD-B4E0-E297462320DD}" dt="2023-11-24T08:49:29.316" v="78792"/>
          <ac:spMkLst>
            <pc:docMk/>
            <pc:sldMk cId="1226083679" sldId="2147478575"/>
            <ac:spMk id="517" creationId="{04DED047-20D8-07CB-6AC2-349F85CF4764}"/>
          </ac:spMkLst>
        </pc:spChg>
        <pc:spChg chg="add del mod">
          <ac:chgData name="Steiner Andreas 6206 ED" userId="e6377c33-a923-4f14-8587-531c474c7b48" providerId="ADAL" clId="{6ECD27E6-B224-41CD-B4E0-E297462320DD}" dt="2023-11-24T08:49:31.324" v="78947"/>
          <ac:spMkLst>
            <pc:docMk/>
            <pc:sldMk cId="1226083679" sldId="2147478575"/>
            <ac:spMk id="518" creationId="{ECB17033-1E2E-9EA6-065E-0D0B0514124F}"/>
          </ac:spMkLst>
        </pc:spChg>
        <pc:spChg chg="add del mod">
          <ac:chgData name="Steiner Andreas 6206 ED" userId="e6377c33-a923-4f14-8587-531c474c7b48" providerId="ADAL" clId="{6ECD27E6-B224-41CD-B4E0-E297462320DD}" dt="2023-11-24T08:49:33.213" v="79102"/>
          <ac:spMkLst>
            <pc:docMk/>
            <pc:sldMk cId="1226083679" sldId="2147478575"/>
            <ac:spMk id="519" creationId="{9ED9652F-B4FB-8C6F-D2F3-3ED041DD8B0D}"/>
          </ac:spMkLst>
        </pc:spChg>
        <pc:spChg chg="add del mod">
          <ac:chgData name="Steiner Andreas 6206 ED" userId="e6377c33-a923-4f14-8587-531c474c7b48" providerId="ADAL" clId="{6ECD27E6-B224-41CD-B4E0-E297462320DD}" dt="2023-11-24T08:49:35.133" v="79257"/>
          <ac:spMkLst>
            <pc:docMk/>
            <pc:sldMk cId="1226083679" sldId="2147478575"/>
            <ac:spMk id="520" creationId="{F631B79C-3ED1-D452-FA20-3C264471DD01}"/>
          </ac:spMkLst>
        </pc:spChg>
        <pc:spChg chg="add del mod">
          <ac:chgData name="Steiner Andreas 6206 ED" userId="e6377c33-a923-4f14-8587-531c474c7b48" providerId="ADAL" clId="{6ECD27E6-B224-41CD-B4E0-E297462320DD}" dt="2023-11-24T08:49:36.973" v="79412"/>
          <ac:spMkLst>
            <pc:docMk/>
            <pc:sldMk cId="1226083679" sldId="2147478575"/>
            <ac:spMk id="521" creationId="{15FED7B7-BD15-2D77-E04B-BAED47F89C3D}"/>
          </ac:spMkLst>
        </pc:spChg>
        <pc:spChg chg="add del mod">
          <ac:chgData name="Steiner Andreas 6206 ED" userId="e6377c33-a923-4f14-8587-531c474c7b48" providerId="ADAL" clId="{6ECD27E6-B224-41CD-B4E0-E297462320DD}" dt="2023-11-24T08:49:38.917" v="79567"/>
          <ac:spMkLst>
            <pc:docMk/>
            <pc:sldMk cId="1226083679" sldId="2147478575"/>
            <ac:spMk id="522" creationId="{8D698256-8ED9-7968-0C1D-D060D19D3139}"/>
          </ac:spMkLst>
        </pc:spChg>
        <pc:spChg chg="add del mod">
          <ac:chgData name="Steiner Andreas 6206 ED" userId="e6377c33-a923-4f14-8587-531c474c7b48" providerId="ADAL" clId="{6ECD27E6-B224-41CD-B4E0-E297462320DD}" dt="2023-11-24T08:49:40.956" v="79722"/>
          <ac:spMkLst>
            <pc:docMk/>
            <pc:sldMk cId="1226083679" sldId="2147478575"/>
            <ac:spMk id="523" creationId="{D0E2D3DA-044C-EAC9-C151-F1D9A84E1852}"/>
          </ac:spMkLst>
        </pc:spChg>
        <pc:spChg chg="add del mod">
          <ac:chgData name="Steiner Andreas 6206 ED" userId="e6377c33-a923-4f14-8587-531c474c7b48" providerId="ADAL" clId="{6ECD27E6-B224-41CD-B4E0-E297462320DD}" dt="2023-11-24T08:49:42.919" v="79877"/>
          <ac:spMkLst>
            <pc:docMk/>
            <pc:sldMk cId="1226083679" sldId="2147478575"/>
            <ac:spMk id="524" creationId="{DF13F283-36A3-B3A7-04B5-73F7615C3F0B}"/>
          </ac:spMkLst>
        </pc:spChg>
        <pc:spChg chg="add del mod">
          <ac:chgData name="Steiner Andreas 6206 ED" userId="e6377c33-a923-4f14-8587-531c474c7b48" providerId="ADAL" clId="{6ECD27E6-B224-41CD-B4E0-E297462320DD}" dt="2023-11-24T08:49:44.857" v="80032"/>
          <ac:spMkLst>
            <pc:docMk/>
            <pc:sldMk cId="1226083679" sldId="2147478575"/>
            <ac:spMk id="525" creationId="{F1441ADA-F792-402F-FEAD-ACB27855C84B}"/>
          </ac:spMkLst>
        </pc:spChg>
        <pc:spChg chg="add del mod">
          <ac:chgData name="Steiner Andreas 6206 ED" userId="e6377c33-a923-4f14-8587-531c474c7b48" providerId="ADAL" clId="{6ECD27E6-B224-41CD-B4E0-E297462320DD}" dt="2023-11-24T08:49:46.767" v="80187"/>
          <ac:spMkLst>
            <pc:docMk/>
            <pc:sldMk cId="1226083679" sldId="2147478575"/>
            <ac:spMk id="526" creationId="{B016DE07-EDEA-1B8F-3525-203ACA858D41}"/>
          </ac:spMkLst>
        </pc:spChg>
        <pc:spChg chg="add del mod">
          <ac:chgData name="Steiner Andreas 6206 ED" userId="e6377c33-a923-4f14-8587-531c474c7b48" providerId="ADAL" clId="{6ECD27E6-B224-41CD-B4E0-E297462320DD}" dt="2023-11-24T08:49:48.704" v="80342"/>
          <ac:spMkLst>
            <pc:docMk/>
            <pc:sldMk cId="1226083679" sldId="2147478575"/>
            <ac:spMk id="527" creationId="{43958D03-7F81-4858-DE87-DCEDA885981D}"/>
          </ac:spMkLst>
        </pc:spChg>
        <pc:spChg chg="add del mod">
          <ac:chgData name="Steiner Andreas 6206 ED" userId="e6377c33-a923-4f14-8587-531c474c7b48" providerId="ADAL" clId="{6ECD27E6-B224-41CD-B4E0-E297462320DD}" dt="2023-11-24T08:49:50.600" v="80497"/>
          <ac:spMkLst>
            <pc:docMk/>
            <pc:sldMk cId="1226083679" sldId="2147478575"/>
            <ac:spMk id="528" creationId="{CCDA7F7E-D508-65FB-0AF8-42C45BFA2368}"/>
          </ac:spMkLst>
        </pc:spChg>
        <pc:spChg chg="add del mod">
          <ac:chgData name="Steiner Andreas 6206 ED" userId="e6377c33-a923-4f14-8587-531c474c7b48" providerId="ADAL" clId="{6ECD27E6-B224-41CD-B4E0-E297462320DD}" dt="2023-11-24T08:49:52.534" v="80652"/>
          <ac:spMkLst>
            <pc:docMk/>
            <pc:sldMk cId="1226083679" sldId="2147478575"/>
            <ac:spMk id="529" creationId="{E3A07C4A-86F4-0DA6-ED0C-4B04188D986E}"/>
          </ac:spMkLst>
        </pc:spChg>
        <pc:spChg chg="add del mod">
          <ac:chgData name="Steiner Andreas 6206 ED" userId="e6377c33-a923-4f14-8587-531c474c7b48" providerId="ADAL" clId="{6ECD27E6-B224-41CD-B4E0-E297462320DD}" dt="2023-11-24T08:49:54.472" v="80807"/>
          <ac:spMkLst>
            <pc:docMk/>
            <pc:sldMk cId="1226083679" sldId="2147478575"/>
            <ac:spMk id="530" creationId="{ECAFF47C-9D32-CDD6-006F-980ECF100B5F}"/>
          </ac:spMkLst>
        </pc:spChg>
        <pc:spChg chg="add del mod">
          <ac:chgData name="Steiner Andreas 6206 ED" userId="e6377c33-a923-4f14-8587-531c474c7b48" providerId="ADAL" clId="{6ECD27E6-B224-41CD-B4E0-E297462320DD}" dt="2023-11-24T08:49:56.341" v="80962"/>
          <ac:spMkLst>
            <pc:docMk/>
            <pc:sldMk cId="1226083679" sldId="2147478575"/>
            <ac:spMk id="531" creationId="{4FC169F9-B78E-6143-179D-5D097E565846}"/>
          </ac:spMkLst>
        </pc:spChg>
        <pc:spChg chg="add del mod">
          <ac:chgData name="Steiner Andreas 6206 ED" userId="e6377c33-a923-4f14-8587-531c474c7b48" providerId="ADAL" clId="{6ECD27E6-B224-41CD-B4E0-E297462320DD}" dt="2023-11-24T08:49:58.216" v="81117"/>
          <ac:spMkLst>
            <pc:docMk/>
            <pc:sldMk cId="1226083679" sldId="2147478575"/>
            <ac:spMk id="532" creationId="{7942CAFD-738E-1C9E-2968-641A618407AA}"/>
          </ac:spMkLst>
        </pc:spChg>
        <pc:spChg chg="add del mod">
          <ac:chgData name="Steiner Andreas 6206 ED" userId="e6377c33-a923-4f14-8587-531c474c7b48" providerId="ADAL" clId="{6ECD27E6-B224-41CD-B4E0-E297462320DD}" dt="2023-11-24T08:50:00.157" v="81272"/>
          <ac:spMkLst>
            <pc:docMk/>
            <pc:sldMk cId="1226083679" sldId="2147478575"/>
            <ac:spMk id="533" creationId="{4CFBEE8E-6AD0-55BA-17E1-916EF9F034E0}"/>
          </ac:spMkLst>
        </pc:spChg>
        <pc:spChg chg="add del mod">
          <ac:chgData name="Steiner Andreas 6206 ED" userId="e6377c33-a923-4f14-8587-531c474c7b48" providerId="ADAL" clId="{6ECD27E6-B224-41CD-B4E0-E297462320DD}" dt="2023-11-24T08:50:02.186" v="81427"/>
          <ac:spMkLst>
            <pc:docMk/>
            <pc:sldMk cId="1226083679" sldId="2147478575"/>
            <ac:spMk id="534" creationId="{FE14DD16-2012-4F49-3B13-6BBCEF9B98D3}"/>
          </ac:spMkLst>
        </pc:spChg>
        <pc:spChg chg="add del mod">
          <ac:chgData name="Steiner Andreas 6206 ED" userId="e6377c33-a923-4f14-8587-531c474c7b48" providerId="ADAL" clId="{6ECD27E6-B224-41CD-B4E0-E297462320DD}" dt="2023-11-24T08:50:04.229" v="81582"/>
          <ac:spMkLst>
            <pc:docMk/>
            <pc:sldMk cId="1226083679" sldId="2147478575"/>
            <ac:spMk id="535" creationId="{6B9C2A23-B5B5-BFC8-DFC4-3E6903CF573D}"/>
          </ac:spMkLst>
        </pc:spChg>
        <pc:spChg chg="add del mod">
          <ac:chgData name="Steiner Andreas 6206 ED" userId="e6377c33-a923-4f14-8587-531c474c7b48" providerId="ADAL" clId="{6ECD27E6-B224-41CD-B4E0-E297462320DD}" dt="2023-11-24T08:50:06.217" v="81737"/>
          <ac:spMkLst>
            <pc:docMk/>
            <pc:sldMk cId="1226083679" sldId="2147478575"/>
            <ac:spMk id="536" creationId="{A96BDD7F-AFC5-7628-ACE8-54F5B328CDBB}"/>
          </ac:spMkLst>
        </pc:spChg>
        <pc:spChg chg="add del mod">
          <ac:chgData name="Steiner Andreas 6206 ED" userId="e6377c33-a923-4f14-8587-531c474c7b48" providerId="ADAL" clId="{6ECD27E6-B224-41CD-B4E0-E297462320DD}" dt="2023-11-24T08:50:08.137" v="81892"/>
          <ac:spMkLst>
            <pc:docMk/>
            <pc:sldMk cId="1226083679" sldId="2147478575"/>
            <ac:spMk id="537" creationId="{17325BAC-31DF-AB89-3977-9EB429AA0701}"/>
          </ac:spMkLst>
        </pc:spChg>
        <pc:spChg chg="add del mod">
          <ac:chgData name="Steiner Andreas 6206 ED" userId="e6377c33-a923-4f14-8587-531c474c7b48" providerId="ADAL" clId="{6ECD27E6-B224-41CD-B4E0-E297462320DD}" dt="2023-11-24T08:50:10.003" v="82047"/>
          <ac:spMkLst>
            <pc:docMk/>
            <pc:sldMk cId="1226083679" sldId="2147478575"/>
            <ac:spMk id="538" creationId="{5D42E774-65D2-5ED1-3938-948C2A9DC1CE}"/>
          </ac:spMkLst>
        </pc:spChg>
        <pc:spChg chg="add del mod">
          <ac:chgData name="Steiner Andreas 6206 ED" userId="e6377c33-a923-4f14-8587-531c474c7b48" providerId="ADAL" clId="{6ECD27E6-B224-41CD-B4E0-E297462320DD}" dt="2023-11-24T08:50:11.914" v="82202"/>
          <ac:spMkLst>
            <pc:docMk/>
            <pc:sldMk cId="1226083679" sldId="2147478575"/>
            <ac:spMk id="539" creationId="{31F217DC-A80D-06CE-2817-33A972BD203E}"/>
          </ac:spMkLst>
        </pc:spChg>
        <pc:spChg chg="add del mod">
          <ac:chgData name="Steiner Andreas 6206 ED" userId="e6377c33-a923-4f14-8587-531c474c7b48" providerId="ADAL" clId="{6ECD27E6-B224-41CD-B4E0-E297462320DD}" dt="2023-11-24T08:50:13.960" v="82357"/>
          <ac:spMkLst>
            <pc:docMk/>
            <pc:sldMk cId="1226083679" sldId="2147478575"/>
            <ac:spMk id="540" creationId="{38FE3D3F-00B4-1912-C701-752DECD3B2BA}"/>
          </ac:spMkLst>
        </pc:spChg>
        <pc:spChg chg="add del mod">
          <ac:chgData name="Steiner Andreas 6206 ED" userId="e6377c33-a923-4f14-8587-531c474c7b48" providerId="ADAL" clId="{6ECD27E6-B224-41CD-B4E0-E297462320DD}" dt="2023-11-24T08:50:15.941" v="82512"/>
          <ac:spMkLst>
            <pc:docMk/>
            <pc:sldMk cId="1226083679" sldId="2147478575"/>
            <ac:spMk id="541" creationId="{D3A15A39-6666-0BB7-ED78-D766A4310C6D}"/>
          </ac:spMkLst>
        </pc:spChg>
        <pc:spChg chg="add del mod">
          <ac:chgData name="Steiner Andreas 6206 ED" userId="e6377c33-a923-4f14-8587-531c474c7b48" providerId="ADAL" clId="{6ECD27E6-B224-41CD-B4E0-E297462320DD}" dt="2023-11-24T08:50:17.901" v="82667"/>
          <ac:spMkLst>
            <pc:docMk/>
            <pc:sldMk cId="1226083679" sldId="2147478575"/>
            <ac:spMk id="542" creationId="{2416BC39-5052-46BC-FC48-6BE046854EA1}"/>
          </ac:spMkLst>
        </pc:spChg>
        <pc:spChg chg="add del mod">
          <ac:chgData name="Steiner Andreas 6206 ED" userId="e6377c33-a923-4f14-8587-531c474c7b48" providerId="ADAL" clId="{6ECD27E6-B224-41CD-B4E0-E297462320DD}" dt="2023-11-24T08:50:19.938" v="82822"/>
          <ac:spMkLst>
            <pc:docMk/>
            <pc:sldMk cId="1226083679" sldId="2147478575"/>
            <ac:spMk id="543" creationId="{EE705979-0BF1-372E-E7E1-58C3B13BCAF1}"/>
          </ac:spMkLst>
        </pc:spChg>
        <pc:spChg chg="add del mod">
          <ac:chgData name="Steiner Andreas 6206 ED" userId="e6377c33-a923-4f14-8587-531c474c7b48" providerId="ADAL" clId="{6ECD27E6-B224-41CD-B4E0-E297462320DD}" dt="2023-11-24T08:50:22.084" v="82977"/>
          <ac:spMkLst>
            <pc:docMk/>
            <pc:sldMk cId="1226083679" sldId="2147478575"/>
            <ac:spMk id="544" creationId="{DBB83616-7AD7-AD94-3640-181B2E0286C3}"/>
          </ac:spMkLst>
        </pc:spChg>
        <pc:spChg chg="add del mod">
          <ac:chgData name="Steiner Andreas 6206 ED" userId="e6377c33-a923-4f14-8587-531c474c7b48" providerId="ADAL" clId="{6ECD27E6-B224-41CD-B4E0-E297462320DD}" dt="2023-11-24T08:50:24.079" v="83132"/>
          <ac:spMkLst>
            <pc:docMk/>
            <pc:sldMk cId="1226083679" sldId="2147478575"/>
            <ac:spMk id="545" creationId="{F4117F8C-EC8A-12D5-13E0-7CF185EAC162}"/>
          </ac:spMkLst>
        </pc:spChg>
        <pc:spChg chg="add del mod">
          <ac:chgData name="Steiner Andreas 6206 ED" userId="e6377c33-a923-4f14-8587-531c474c7b48" providerId="ADAL" clId="{6ECD27E6-B224-41CD-B4E0-E297462320DD}" dt="2023-11-24T08:50:26.177" v="83287"/>
          <ac:spMkLst>
            <pc:docMk/>
            <pc:sldMk cId="1226083679" sldId="2147478575"/>
            <ac:spMk id="546" creationId="{7052D4CF-699A-469A-FDA0-383D7C7CBC27}"/>
          </ac:spMkLst>
        </pc:spChg>
        <pc:spChg chg="add del mod">
          <ac:chgData name="Steiner Andreas 6206 ED" userId="e6377c33-a923-4f14-8587-531c474c7b48" providerId="ADAL" clId="{6ECD27E6-B224-41CD-B4E0-E297462320DD}" dt="2023-11-24T08:50:28.088" v="83442"/>
          <ac:spMkLst>
            <pc:docMk/>
            <pc:sldMk cId="1226083679" sldId="2147478575"/>
            <ac:spMk id="547" creationId="{19BEB63D-9C6B-E657-8368-70BAAC7D966B}"/>
          </ac:spMkLst>
        </pc:spChg>
        <pc:spChg chg="add del mod">
          <ac:chgData name="Steiner Andreas 6206 ED" userId="e6377c33-a923-4f14-8587-531c474c7b48" providerId="ADAL" clId="{6ECD27E6-B224-41CD-B4E0-E297462320DD}" dt="2023-11-24T08:50:29.989" v="83597"/>
          <ac:spMkLst>
            <pc:docMk/>
            <pc:sldMk cId="1226083679" sldId="2147478575"/>
            <ac:spMk id="548" creationId="{CE603569-4756-5396-E856-D1C27A27CA34}"/>
          </ac:spMkLst>
        </pc:spChg>
        <pc:spChg chg="add del mod">
          <ac:chgData name="Steiner Andreas 6206 ED" userId="e6377c33-a923-4f14-8587-531c474c7b48" providerId="ADAL" clId="{6ECD27E6-B224-41CD-B4E0-E297462320DD}" dt="2023-11-24T08:50:32.011" v="83752"/>
          <ac:spMkLst>
            <pc:docMk/>
            <pc:sldMk cId="1226083679" sldId="2147478575"/>
            <ac:spMk id="549" creationId="{0FC82714-FCB9-29F7-DE75-D58B4F853FF0}"/>
          </ac:spMkLst>
        </pc:spChg>
        <pc:spChg chg="add del mod">
          <ac:chgData name="Steiner Andreas 6206 ED" userId="e6377c33-a923-4f14-8587-531c474c7b48" providerId="ADAL" clId="{6ECD27E6-B224-41CD-B4E0-E297462320DD}" dt="2023-11-24T08:50:34.071" v="83907"/>
          <ac:spMkLst>
            <pc:docMk/>
            <pc:sldMk cId="1226083679" sldId="2147478575"/>
            <ac:spMk id="550" creationId="{EAC3B8F5-BD05-D28B-7ED6-836889058661}"/>
          </ac:spMkLst>
        </pc:spChg>
        <pc:spChg chg="add del mod">
          <ac:chgData name="Steiner Andreas 6206 ED" userId="e6377c33-a923-4f14-8587-531c474c7b48" providerId="ADAL" clId="{6ECD27E6-B224-41CD-B4E0-E297462320DD}" dt="2023-11-24T08:50:36.292" v="84062"/>
          <ac:spMkLst>
            <pc:docMk/>
            <pc:sldMk cId="1226083679" sldId="2147478575"/>
            <ac:spMk id="551" creationId="{A921DA78-0DAE-FFBF-36E0-8C8D0BD59219}"/>
          </ac:spMkLst>
        </pc:spChg>
        <pc:spChg chg="add del mod">
          <ac:chgData name="Steiner Andreas 6206 ED" userId="e6377c33-a923-4f14-8587-531c474c7b48" providerId="ADAL" clId="{6ECD27E6-B224-41CD-B4E0-E297462320DD}" dt="2023-11-24T08:50:38.267" v="84217"/>
          <ac:spMkLst>
            <pc:docMk/>
            <pc:sldMk cId="1226083679" sldId="2147478575"/>
            <ac:spMk id="552" creationId="{9DF447A8-ABBA-62E8-56C1-ED76EB0E109C}"/>
          </ac:spMkLst>
        </pc:spChg>
        <pc:spChg chg="add del mod">
          <ac:chgData name="Steiner Andreas 6206 ED" userId="e6377c33-a923-4f14-8587-531c474c7b48" providerId="ADAL" clId="{6ECD27E6-B224-41CD-B4E0-E297462320DD}" dt="2023-11-24T08:50:40.227" v="84372"/>
          <ac:spMkLst>
            <pc:docMk/>
            <pc:sldMk cId="1226083679" sldId="2147478575"/>
            <ac:spMk id="553" creationId="{B2509741-F698-A0A2-36EC-CBBA0AFC71C3}"/>
          </ac:spMkLst>
        </pc:spChg>
        <pc:spChg chg="add del mod">
          <ac:chgData name="Steiner Andreas 6206 ED" userId="e6377c33-a923-4f14-8587-531c474c7b48" providerId="ADAL" clId="{6ECD27E6-B224-41CD-B4E0-E297462320DD}" dt="2023-11-24T08:50:42.250" v="84527"/>
          <ac:spMkLst>
            <pc:docMk/>
            <pc:sldMk cId="1226083679" sldId="2147478575"/>
            <ac:spMk id="554" creationId="{34A1274C-6F7D-9E4C-128A-2C2F96D89779}"/>
          </ac:spMkLst>
        </pc:spChg>
        <pc:spChg chg="add del mod">
          <ac:chgData name="Steiner Andreas 6206 ED" userId="e6377c33-a923-4f14-8587-531c474c7b48" providerId="ADAL" clId="{6ECD27E6-B224-41CD-B4E0-E297462320DD}" dt="2023-11-24T08:50:44.355" v="84682"/>
          <ac:spMkLst>
            <pc:docMk/>
            <pc:sldMk cId="1226083679" sldId="2147478575"/>
            <ac:spMk id="555" creationId="{E8EC1A23-7F44-7B9A-77FC-CACAC505F81B}"/>
          </ac:spMkLst>
        </pc:spChg>
        <pc:spChg chg="add del mod">
          <ac:chgData name="Steiner Andreas 6206 ED" userId="e6377c33-a923-4f14-8587-531c474c7b48" providerId="ADAL" clId="{6ECD27E6-B224-41CD-B4E0-E297462320DD}" dt="2023-11-24T08:50:46.471" v="84837"/>
          <ac:spMkLst>
            <pc:docMk/>
            <pc:sldMk cId="1226083679" sldId="2147478575"/>
            <ac:spMk id="556" creationId="{50596837-4A1A-C435-3580-84ECC111A222}"/>
          </ac:spMkLst>
        </pc:spChg>
        <pc:spChg chg="add del mod">
          <ac:chgData name="Steiner Andreas 6206 ED" userId="e6377c33-a923-4f14-8587-531c474c7b48" providerId="ADAL" clId="{6ECD27E6-B224-41CD-B4E0-E297462320DD}" dt="2023-11-24T08:50:48.619" v="84992"/>
          <ac:spMkLst>
            <pc:docMk/>
            <pc:sldMk cId="1226083679" sldId="2147478575"/>
            <ac:spMk id="557" creationId="{7F813940-B6DB-7E36-5355-136EB8501FD7}"/>
          </ac:spMkLst>
        </pc:spChg>
        <pc:spChg chg="add del mod">
          <ac:chgData name="Steiner Andreas 6206 ED" userId="e6377c33-a923-4f14-8587-531c474c7b48" providerId="ADAL" clId="{6ECD27E6-B224-41CD-B4E0-E297462320DD}" dt="2023-11-24T08:50:50.716" v="85147"/>
          <ac:spMkLst>
            <pc:docMk/>
            <pc:sldMk cId="1226083679" sldId="2147478575"/>
            <ac:spMk id="558" creationId="{11D0C8FD-13C8-4ED5-F1E0-57F7CB50FE32}"/>
          </ac:spMkLst>
        </pc:spChg>
        <pc:spChg chg="add del mod">
          <ac:chgData name="Steiner Andreas 6206 ED" userId="e6377c33-a923-4f14-8587-531c474c7b48" providerId="ADAL" clId="{6ECD27E6-B224-41CD-B4E0-E297462320DD}" dt="2023-11-24T08:50:52.864" v="85302"/>
          <ac:spMkLst>
            <pc:docMk/>
            <pc:sldMk cId="1226083679" sldId="2147478575"/>
            <ac:spMk id="559" creationId="{220B96BA-ACD8-0C44-BD4C-A1F0C81F3E82}"/>
          </ac:spMkLst>
        </pc:spChg>
        <pc:spChg chg="add del mod">
          <ac:chgData name="Steiner Andreas 6206 ED" userId="e6377c33-a923-4f14-8587-531c474c7b48" providerId="ADAL" clId="{6ECD27E6-B224-41CD-B4E0-E297462320DD}" dt="2023-11-24T08:50:54.783" v="85457"/>
          <ac:spMkLst>
            <pc:docMk/>
            <pc:sldMk cId="1226083679" sldId="2147478575"/>
            <ac:spMk id="560" creationId="{4BA93C1C-B2EF-7594-DA17-D383148277E9}"/>
          </ac:spMkLst>
        </pc:spChg>
        <pc:spChg chg="add del mod">
          <ac:chgData name="Steiner Andreas 6206 ED" userId="e6377c33-a923-4f14-8587-531c474c7b48" providerId="ADAL" clId="{6ECD27E6-B224-41CD-B4E0-E297462320DD}" dt="2023-11-24T08:50:56.703" v="85612"/>
          <ac:spMkLst>
            <pc:docMk/>
            <pc:sldMk cId="1226083679" sldId="2147478575"/>
            <ac:spMk id="561" creationId="{779D9D60-F24B-660F-DC44-56593728FA05}"/>
          </ac:spMkLst>
        </pc:spChg>
        <pc:spChg chg="add del mod">
          <ac:chgData name="Steiner Andreas 6206 ED" userId="e6377c33-a923-4f14-8587-531c474c7b48" providerId="ADAL" clId="{6ECD27E6-B224-41CD-B4E0-E297462320DD}" dt="2023-11-24T08:50:58.833" v="85767"/>
          <ac:spMkLst>
            <pc:docMk/>
            <pc:sldMk cId="1226083679" sldId="2147478575"/>
            <ac:spMk id="562" creationId="{D7CB6D25-5BEE-378F-5480-D1248B71F29B}"/>
          </ac:spMkLst>
        </pc:spChg>
        <pc:spChg chg="add del mod">
          <ac:chgData name="Steiner Andreas 6206 ED" userId="e6377c33-a923-4f14-8587-531c474c7b48" providerId="ADAL" clId="{6ECD27E6-B224-41CD-B4E0-E297462320DD}" dt="2023-11-24T08:51:00.846" v="85922"/>
          <ac:spMkLst>
            <pc:docMk/>
            <pc:sldMk cId="1226083679" sldId="2147478575"/>
            <ac:spMk id="563" creationId="{C9908180-340A-0CB7-F70C-9FE7391F74FB}"/>
          </ac:spMkLst>
        </pc:spChg>
        <pc:spChg chg="add del mod">
          <ac:chgData name="Steiner Andreas 6206 ED" userId="e6377c33-a923-4f14-8587-531c474c7b48" providerId="ADAL" clId="{6ECD27E6-B224-41CD-B4E0-E297462320DD}" dt="2023-11-24T08:51:02.818" v="86077"/>
          <ac:spMkLst>
            <pc:docMk/>
            <pc:sldMk cId="1226083679" sldId="2147478575"/>
            <ac:spMk id="564" creationId="{A7D52261-62FB-B19B-C2C5-E36E9FE1BF54}"/>
          </ac:spMkLst>
        </pc:spChg>
        <pc:spChg chg="add del mod">
          <ac:chgData name="Steiner Andreas 6206 ED" userId="e6377c33-a923-4f14-8587-531c474c7b48" providerId="ADAL" clId="{6ECD27E6-B224-41CD-B4E0-E297462320DD}" dt="2023-11-24T08:51:04.680" v="86232"/>
          <ac:spMkLst>
            <pc:docMk/>
            <pc:sldMk cId="1226083679" sldId="2147478575"/>
            <ac:spMk id="565" creationId="{9CB859AD-21AF-5634-AD85-0A458BA63729}"/>
          </ac:spMkLst>
        </pc:spChg>
        <pc:spChg chg="add del mod">
          <ac:chgData name="Steiner Andreas 6206 ED" userId="e6377c33-a923-4f14-8587-531c474c7b48" providerId="ADAL" clId="{6ECD27E6-B224-41CD-B4E0-E297462320DD}" dt="2023-11-24T08:51:06.599" v="86387"/>
          <ac:spMkLst>
            <pc:docMk/>
            <pc:sldMk cId="1226083679" sldId="2147478575"/>
            <ac:spMk id="566" creationId="{3C0BC471-CD92-66AA-4C69-64AD195D0C09}"/>
          </ac:spMkLst>
        </pc:spChg>
        <pc:spChg chg="add del mod">
          <ac:chgData name="Steiner Andreas 6206 ED" userId="e6377c33-a923-4f14-8587-531c474c7b48" providerId="ADAL" clId="{6ECD27E6-B224-41CD-B4E0-E297462320DD}" dt="2023-11-24T08:51:08.573" v="86542"/>
          <ac:spMkLst>
            <pc:docMk/>
            <pc:sldMk cId="1226083679" sldId="2147478575"/>
            <ac:spMk id="567" creationId="{78BA34D1-8C9D-13E4-BF82-BA7EFE9EFD72}"/>
          </ac:spMkLst>
        </pc:spChg>
        <pc:spChg chg="add del mod">
          <ac:chgData name="Steiner Andreas 6206 ED" userId="e6377c33-a923-4f14-8587-531c474c7b48" providerId="ADAL" clId="{6ECD27E6-B224-41CD-B4E0-E297462320DD}" dt="2023-11-24T08:51:10.604" v="86697"/>
          <ac:spMkLst>
            <pc:docMk/>
            <pc:sldMk cId="1226083679" sldId="2147478575"/>
            <ac:spMk id="568" creationId="{E637E669-1EEA-74B5-DF28-88821BE0C469}"/>
          </ac:spMkLst>
        </pc:spChg>
        <pc:spChg chg="add del mod">
          <ac:chgData name="Steiner Andreas 6206 ED" userId="e6377c33-a923-4f14-8587-531c474c7b48" providerId="ADAL" clId="{6ECD27E6-B224-41CD-B4E0-E297462320DD}" dt="2023-11-24T08:51:12.479" v="86852"/>
          <ac:spMkLst>
            <pc:docMk/>
            <pc:sldMk cId="1226083679" sldId="2147478575"/>
            <ac:spMk id="569" creationId="{4F1A3794-3C1C-DAF5-5F51-2DBBE2464E93}"/>
          </ac:spMkLst>
        </pc:spChg>
        <pc:spChg chg="add del mod">
          <ac:chgData name="Steiner Andreas 6206 ED" userId="e6377c33-a923-4f14-8587-531c474c7b48" providerId="ADAL" clId="{6ECD27E6-B224-41CD-B4E0-E297462320DD}" dt="2023-11-24T08:51:14.620" v="87007"/>
          <ac:spMkLst>
            <pc:docMk/>
            <pc:sldMk cId="1226083679" sldId="2147478575"/>
            <ac:spMk id="570" creationId="{72E5642C-F031-49D0-C395-285CC6ACFFB7}"/>
          </ac:spMkLst>
        </pc:spChg>
        <pc:spChg chg="add del mod">
          <ac:chgData name="Steiner Andreas 6206 ED" userId="e6377c33-a923-4f14-8587-531c474c7b48" providerId="ADAL" clId="{6ECD27E6-B224-41CD-B4E0-E297462320DD}" dt="2023-11-24T08:51:16.784" v="87162"/>
          <ac:spMkLst>
            <pc:docMk/>
            <pc:sldMk cId="1226083679" sldId="2147478575"/>
            <ac:spMk id="571" creationId="{C4DD5975-286E-0B0C-C2D0-B98F30CBAB2A}"/>
          </ac:spMkLst>
        </pc:spChg>
        <pc:spChg chg="add del mod">
          <ac:chgData name="Steiner Andreas 6206 ED" userId="e6377c33-a923-4f14-8587-531c474c7b48" providerId="ADAL" clId="{6ECD27E6-B224-41CD-B4E0-E297462320DD}" dt="2023-11-24T08:51:18.690" v="87317"/>
          <ac:spMkLst>
            <pc:docMk/>
            <pc:sldMk cId="1226083679" sldId="2147478575"/>
            <ac:spMk id="572" creationId="{D025B125-A4F1-3E5C-21D0-AABF3DEBC8E2}"/>
          </ac:spMkLst>
        </pc:spChg>
        <pc:spChg chg="add del mod">
          <ac:chgData name="Steiner Andreas 6206 ED" userId="e6377c33-a923-4f14-8587-531c474c7b48" providerId="ADAL" clId="{6ECD27E6-B224-41CD-B4E0-E297462320DD}" dt="2023-11-24T08:51:20.718" v="87472"/>
          <ac:spMkLst>
            <pc:docMk/>
            <pc:sldMk cId="1226083679" sldId="2147478575"/>
            <ac:spMk id="573" creationId="{2D4CB33A-2A37-E357-4026-562349D0689A}"/>
          </ac:spMkLst>
        </pc:spChg>
        <pc:spChg chg="add del mod">
          <ac:chgData name="Steiner Andreas 6206 ED" userId="e6377c33-a923-4f14-8587-531c474c7b48" providerId="ADAL" clId="{6ECD27E6-B224-41CD-B4E0-E297462320DD}" dt="2023-11-24T08:51:22.651" v="87627"/>
          <ac:spMkLst>
            <pc:docMk/>
            <pc:sldMk cId="1226083679" sldId="2147478575"/>
            <ac:spMk id="574" creationId="{C2EE96BC-1B1B-D92E-E377-FECBB86E5B64}"/>
          </ac:spMkLst>
        </pc:spChg>
        <pc:spChg chg="add del mod">
          <ac:chgData name="Steiner Andreas 6206 ED" userId="e6377c33-a923-4f14-8587-531c474c7b48" providerId="ADAL" clId="{6ECD27E6-B224-41CD-B4E0-E297462320DD}" dt="2023-11-24T08:51:24.616" v="87782"/>
          <ac:spMkLst>
            <pc:docMk/>
            <pc:sldMk cId="1226083679" sldId="2147478575"/>
            <ac:spMk id="575" creationId="{E3CAD038-DD96-ED07-7034-8134E3B0B1A8}"/>
          </ac:spMkLst>
        </pc:spChg>
        <pc:spChg chg="add del mod">
          <ac:chgData name="Steiner Andreas 6206 ED" userId="e6377c33-a923-4f14-8587-531c474c7b48" providerId="ADAL" clId="{6ECD27E6-B224-41CD-B4E0-E297462320DD}" dt="2023-11-24T08:51:26.495" v="87937"/>
          <ac:spMkLst>
            <pc:docMk/>
            <pc:sldMk cId="1226083679" sldId="2147478575"/>
            <ac:spMk id="576" creationId="{905C76E9-B5A9-9387-8DCB-CE6436D9DB8D}"/>
          </ac:spMkLst>
        </pc:spChg>
        <pc:spChg chg="add del mod">
          <ac:chgData name="Steiner Andreas 6206 ED" userId="e6377c33-a923-4f14-8587-531c474c7b48" providerId="ADAL" clId="{6ECD27E6-B224-41CD-B4E0-E297462320DD}" dt="2023-11-24T08:51:28.383" v="88092"/>
          <ac:spMkLst>
            <pc:docMk/>
            <pc:sldMk cId="1226083679" sldId="2147478575"/>
            <ac:spMk id="577" creationId="{C7584A26-A5C3-3032-F743-0CD0F7654EFF}"/>
          </ac:spMkLst>
        </pc:spChg>
        <pc:spChg chg="add del mod">
          <ac:chgData name="Steiner Andreas 6206 ED" userId="e6377c33-a923-4f14-8587-531c474c7b48" providerId="ADAL" clId="{6ECD27E6-B224-41CD-B4E0-E297462320DD}" dt="2023-11-24T08:51:30.315" v="88247"/>
          <ac:spMkLst>
            <pc:docMk/>
            <pc:sldMk cId="1226083679" sldId="2147478575"/>
            <ac:spMk id="578" creationId="{7F07CFF5-4F5E-6B27-A28C-BE8F7FD1D352}"/>
          </ac:spMkLst>
        </pc:spChg>
        <pc:spChg chg="add del mod">
          <ac:chgData name="Steiner Andreas 6206 ED" userId="e6377c33-a923-4f14-8587-531c474c7b48" providerId="ADAL" clId="{6ECD27E6-B224-41CD-B4E0-E297462320DD}" dt="2023-11-24T08:51:32.491" v="88402"/>
          <ac:spMkLst>
            <pc:docMk/>
            <pc:sldMk cId="1226083679" sldId="2147478575"/>
            <ac:spMk id="579" creationId="{24621F5F-DCE8-1E19-CBCA-36CDAE4CC886}"/>
          </ac:spMkLst>
        </pc:spChg>
        <pc:spChg chg="add del mod">
          <ac:chgData name="Steiner Andreas 6206 ED" userId="e6377c33-a923-4f14-8587-531c474c7b48" providerId="ADAL" clId="{6ECD27E6-B224-41CD-B4E0-E297462320DD}" dt="2023-11-24T08:51:34.483" v="88557"/>
          <ac:spMkLst>
            <pc:docMk/>
            <pc:sldMk cId="1226083679" sldId="2147478575"/>
            <ac:spMk id="580" creationId="{409AF0F9-A181-843A-0225-4F9C3F3D63EB}"/>
          </ac:spMkLst>
        </pc:spChg>
        <pc:spChg chg="add del mod">
          <ac:chgData name="Steiner Andreas 6206 ED" userId="e6377c33-a923-4f14-8587-531c474c7b48" providerId="ADAL" clId="{6ECD27E6-B224-41CD-B4E0-E297462320DD}" dt="2023-11-24T08:51:36.365" v="88712"/>
          <ac:spMkLst>
            <pc:docMk/>
            <pc:sldMk cId="1226083679" sldId="2147478575"/>
            <ac:spMk id="581" creationId="{7FEA54BF-4870-5EF0-1BC0-92915F009662}"/>
          </ac:spMkLst>
        </pc:spChg>
        <pc:spChg chg="add del mod">
          <ac:chgData name="Steiner Andreas 6206 ED" userId="e6377c33-a923-4f14-8587-531c474c7b48" providerId="ADAL" clId="{6ECD27E6-B224-41CD-B4E0-E297462320DD}" dt="2023-11-24T08:51:38.307" v="88867"/>
          <ac:spMkLst>
            <pc:docMk/>
            <pc:sldMk cId="1226083679" sldId="2147478575"/>
            <ac:spMk id="582" creationId="{9AB2BB92-E2F8-56D8-4403-F7AAD36AA68A}"/>
          </ac:spMkLst>
        </pc:spChg>
        <pc:spChg chg="add del mod">
          <ac:chgData name="Steiner Andreas 6206 ED" userId="e6377c33-a923-4f14-8587-531c474c7b48" providerId="ADAL" clId="{6ECD27E6-B224-41CD-B4E0-E297462320DD}" dt="2023-11-24T08:51:40.239" v="89022"/>
          <ac:spMkLst>
            <pc:docMk/>
            <pc:sldMk cId="1226083679" sldId="2147478575"/>
            <ac:spMk id="583" creationId="{9AF9F672-96E6-136A-C1B1-DB4E293DB3BA}"/>
          </ac:spMkLst>
        </pc:spChg>
        <pc:spChg chg="add del mod">
          <ac:chgData name="Steiner Andreas 6206 ED" userId="e6377c33-a923-4f14-8587-531c474c7b48" providerId="ADAL" clId="{6ECD27E6-B224-41CD-B4E0-E297462320DD}" dt="2023-11-24T08:51:42.206" v="89177"/>
          <ac:spMkLst>
            <pc:docMk/>
            <pc:sldMk cId="1226083679" sldId="2147478575"/>
            <ac:spMk id="584" creationId="{4DC2F5F8-B222-2F55-2EE6-EEDA898D19A1}"/>
          </ac:spMkLst>
        </pc:spChg>
        <pc:spChg chg="add del mod">
          <ac:chgData name="Steiner Andreas 6206 ED" userId="e6377c33-a923-4f14-8587-531c474c7b48" providerId="ADAL" clId="{6ECD27E6-B224-41CD-B4E0-E297462320DD}" dt="2023-11-24T08:51:44.305" v="89332"/>
          <ac:spMkLst>
            <pc:docMk/>
            <pc:sldMk cId="1226083679" sldId="2147478575"/>
            <ac:spMk id="585" creationId="{22214C66-0994-6852-06D3-887A2DEA3CEB}"/>
          </ac:spMkLst>
        </pc:spChg>
        <pc:spChg chg="add del mod">
          <ac:chgData name="Steiner Andreas 6206 ED" userId="e6377c33-a923-4f14-8587-531c474c7b48" providerId="ADAL" clId="{6ECD27E6-B224-41CD-B4E0-E297462320DD}" dt="2023-11-24T08:51:46.321" v="89487"/>
          <ac:spMkLst>
            <pc:docMk/>
            <pc:sldMk cId="1226083679" sldId="2147478575"/>
            <ac:spMk id="586" creationId="{DD302C4C-ED24-5373-5EC0-FA29A6E139DB}"/>
          </ac:spMkLst>
        </pc:spChg>
        <pc:spChg chg="add del mod">
          <ac:chgData name="Steiner Andreas 6206 ED" userId="e6377c33-a923-4f14-8587-531c474c7b48" providerId="ADAL" clId="{6ECD27E6-B224-41CD-B4E0-E297462320DD}" dt="2023-11-24T08:51:48.217" v="89642"/>
          <ac:spMkLst>
            <pc:docMk/>
            <pc:sldMk cId="1226083679" sldId="2147478575"/>
            <ac:spMk id="587" creationId="{8DD55DE8-78E6-F4C3-A8FE-B69858FA2AF1}"/>
          </ac:spMkLst>
        </pc:spChg>
        <pc:spChg chg="add del mod">
          <ac:chgData name="Steiner Andreas 6206 ED" userId="e6377c33-a923-4f14-8587-531c474c7b48" providerId="ADAL" clId="{6ECD27E6-B224-41CD-B4E0-E297462320DD}" dt="2023-11-24T08:51:50.130" v="89797"/>
          <ac:spMkLst>
            <pc:docMk/>
            <pc:sldMk cId="1226083679" sldId="2147478575"/>
            <ac:spMk id="588" creationId="{9FF2A220-D4B0-B6F8-60E0-E76B6EBC7317}"/>
          </ac:spMkLst>
        </pc:spChg>
        <pc:spChg chg="add del mod">
          <ac:chgData name="Steiner Andreas 6206 ED" userId="e6377c33-a923-4f14-8587-531c474c7b48" providerId="ADAL" clId="{6ECD27E6-B224-41CD-B4E0-E297462320DD}" dt="2023-11-24T08:51:52.053" v="89952"/>
          <ac:spMkLst>
            <pc:docMk/>
            <pc:sldMk cId="1226083679" sldId="2147478575"/>
            <ac:spMk id="589" creationId="{1F57A884-C2C4-65F9-29A3-DB4919FC0079}"/>
          </ac:spMkLst>
        </pc:spChg>
        <pc:spChg chg="add del mod">
          <ac:chgData name="Steiner Andreas 6206 ED" userId="e6377c33-a923-4f14-8587-531c474c7b48" providerId="ADAL" clId="{6ECD27E6-B224-41CD-B4E0-E297462320DD}" dt="2023-11-24T08:51:53.985" v="90107"/>
          <ac:spMkLst>
            <pc:docMk/>
            <pc:sldMk cId="1226083679" sldId="2147478575"/>
            <ac:spMk id="590" creationId="{3ECD74DE-178C-72C4-CF84-ED328FF14DCF}"/>
          </ac:spMkLst>
        </pc:spChg>
        <pc:spChg chg="add del mod">
          <ac:chgData name="Steiner Andreas 6206 ED" userId="e6377c33-a923-4f14-8587-531c474c7b48" providerId="ADAL" clId="{6ECD27E6-B224-41CD-B4E0-E297462320DD}" dt="2023-11-24T08:51:56.018" v="90262"/>
          <ac:spMkLst>
            <pc:docMk/>
            <pc:sldMk cId="1226083679" sldId="2147478575"/>
            <ac:spMk id="591" creationId="{25A551A5-D305-6E69-DD5D-07CA09E0535C}"/>
          </ac:spMkLst>
        </pc:spChg>
        <pc:spChg chg="add del mod">
          <ac:chgData name="Steiner Andreas 6206 ED" userId="e6377c33-a923-4f14-8587-531c474c7b48" providerId="ADAL" clId="{6ECD27E6-B224-41CD-B4E0-E297462320DD}" dt="2023-11-24T08:51:57.923" v="90417"/>
          <ac:spMkLst>
            <pc:docMk/>
            <pc:sldMk cId="1226083679" sldId="2147478575"/>
            <ac:spMk id="592" creationId="{B5238CC3-93DD-7034-EF07-65261D9C7053}"/>
          </ac:spMkLst>
        </pc:spChg>
        <pc:spChg chg="add del mod">
          <ac:chgData name="Steiner Andreas 6206 ED" userId="e6377c33-a923-4f14-8587-531c474c7b48" providerId="ADAL" clId="{6ECD27E6-B224-41CD-B4E0-E297462320DD}" dt="2023-11-24T08:52:00.042" v="90572"/>
          <ac:spMkLst>
            <pc:docMk/>
            <pc:sldMk cId="1226083679" sldId="2147478575"/>
            <ac:spMk id="593" creationId="{0470240F-470C-9F41-6E33-3B0AEEFBE79A}"/>
          </ac:spMkLst>
        </pc:spChg>
        <pc:spChg chg="add del mod">
          <ac:chgData name="Steiner Andreas 6206 ED" userId="e6377c33-a923-4f14-8587-531c474c7b48" providerId="ADAL" clId="{6ECD27E6-B224-41CD-B4E0-E297462320DD}" dt="2023-11-24T08:52:02.015" v="90727"/>
          <ac:spMkLst>
            <pc:docMk/>
            <pc:sldMk cId="1226083679" sldId="2147478575"/>
            <ac:spMk id="594" creationId="{7744D169-38FF-9134-56C9-6412129C6D66}"/>
          </ac:spMkLst>
        </pc:spChg>
        <pc:spChg chg="add del mod">
          <ac:chgData name="Steiner Andreas 6206 ED" userId="e6377c33-a923-4f14-8587-531c474c7b48" providerId="ADAL" clId="{6ECD27E6-B224-41CD-B4E0-E297462320DD}" dt="2023-11-24T08:52:03.956" v="90882"/>
          <ac:spMkLst>
            <pc:docMk/>
            <pc:sldMk cId="1226083679" sldId="2147478575"/>
            <ac:spMk id="595" creationId="{8F87A4B8-770D-437F-8923-145929F70DE4}"/>
          </ac:spMkLst>
        </pc:spChg>
        <pc:spChg chg="add del mod">
          <ac:chgData name="Steiner Andreas 6206 ED" userId="e6377c33-a923-4f14-8587-531c474c7b48" providerId="ADAL" clId="{6ECD27E6-B224-41CD-B4E0-E297462320DD}" dt="2023-11-24T08:52:06.080" v="91037"/>
          <ac:spMkLst>
            <pc:docMk/>
            <pc:sldMk cId="1226083679" sldId="2147478575"/>
            <ac:spMk id="596" creationId="{64B9E779-3D76-54FD-7BD6-2186E1E6443F}"/>
          </ac:spMkLst>
        </pc:spChg>
        <pc:spChg chg="add del mod">
          <ac:chgData name="Steiner Andreas 6206 ED" userId="e6377c33-a923-4f14-8587-531c474c7b48" providerId="ADAL" clId="{6ECD27E6-B224-41CD-B4E0-E297462320DD}" dt="2023-11-24T08:52:08.109" v="91192"/>
          <ac:spMkLst>
            <pc:docMk/>
            <pc:sldMk cId="1226083679" sldId="2147478575"/>
            <ac:spMk id="597" creationId="{D4965740-AA09-6DA7-F9CB-CDF2EEDDE8ED}"/>
          </ac:spMkLst>
        </pc:spChg>
        <pc:spChg chg="add del mod">
          <ac:chgData name="Steiner Andreas 6206 ED" userId="e6377c33-a923-4f14-8587-531c474c7b48" providerId="ADAL" clId="{6ECD27E6-B224-41CD-B4E0-E297462320DD}" dt="2023-11-24T08:52:09.990" v="91347"/>
          <ac:spMkLst>
            <pc:docMk/>
            <pc:sldMk cId="1226083679" sldId="2147478575"/>
            <ac:spMk id="598" creationId="{FD5B1D20-3BCA-D2B5-1232-82D2F8295E21}"/>
          </ac:spMkLst>
        </pc:spChg>
        <pc:spChg chg="add del mod">
          <ac:chgData name="Steiner Andreas 6206 ED" userId="e6377c33-a923-4f14-8587-531c474c7b48" providerId="ADAL" clId="{6ECD27E6-B224-41CD-B4E0-E297462320DD}" dt="2023-11-24T08:52:11.860" v="91502"/>
          <ac:spMkLst>
            <pc:docMk/>
            <pc:sldMk cId="1226083679" sldId="2147478575"/>
            <ac:spMk id="599" creationId="{350C2B6E-FBBA-2ABC-5E7B-A8D9FDC5C147}"/>
          </ac:spMkLst>
        </pc:spChg>
        <pc:spChg chg="add del mod">
          <ac:chgData name="Steiner Andreas 6206 ED" userId="e6377c33-a923-4f14-8587-531c474c7b48" providerId="ADAL" clId="{6ECD27E6-B224-41CD-B4E0-E297462320DD}" dt="2023-11-24T08:52:13.760" v="91657"/>
          <ac:spMkLst>
            <pc:docMk/>
            <pc:sldMk cId="1226083679" sldId="2147478575"/>
            <ac:spMk id="600" creationId="{1854C69F-6A63-AA20-1F56-B4848155F9D9}"/>
          </ac:spMkLst>
        </pc:spChg>
        <pc:spChg chg="add del mod">
          <ac:chgData name="Steiner Andreas 6206 ED" userId="e6377c33-a923-4f14-8587-531c474c7b48" providerId="ADAL" clId="{6ECD27E6-B224-41CD-B4E0-E297462320DD}" dt="2023-11-24T08:52:15.701" v="91812"/>
          <ac:spMkLst>
            <pc:docMk/>
            <pc:sldMk cId="1226083679" sldId="2147478575"/>
            <ac:spMk id="601" creationId="{416CF116-B4E1-2BD8-3016-E041308DBEE5}"/>
          </ac:spMkLst>
        </pc:spChg>
        <pc:spChg chg="add del mod">
          <ac:chgData name="Steiner Andreas 6206 ED" userId="e6377c33-a923-4f14-8587-531c474c7b48" providerId="ADAL" clId="{6ECD27E6-B224-41CD-B4E0-E297462320DD}" dt="2023-11-24T08:52:17.832" v="91967"/>
          <ac:spMkLst>
            <pc:docMk/>
            <pc:sldMk cId="1226083679" sldId="2147478575"/>
            <ac:spMk id="602" creationId="{EFEF0AEB-C07F-33CD-AF54-6102C7ECD4E2}"/>
          </ac:spMkLst>
        </pc:spChg>
        <pc:spChg chg="add del mod">
          <ac:chgData name="Steiner Andreas 6206 ED" userId="e6377c33-a923-4f14-8587-531c474c7b48" providerId="ADAL" clId="{6ECD27E6-B224-41CD-B4E0-E297462320DD}" dt="2023-11-24T08:52:19.795" v="92122"/>
          <ac:spMkLst>
            <pc:docMk/>
            <pc:sldMk cId="1226083679" sldId="2147478575"/>
            <ac:spMk id="603" creationId="{D8F234BD-29E2-498D-2EFE-F442F0B6D83E}"/>
          </ac:spMkLst>
        </pc:spChg>
        <pc:spChg chg="add del mod">
          <ac:chgData name="Steiner Andreas 6206 ED" userId="e6377c33-a923-4f14-8587-531c474c7b48" providerId="ADAL" clId="{6ECD27E6-B224-41CD-B4E0-E297462320DD}" dt="2023-11-24T08:52:21.667" v="92277"/>
          <ac:spMkLst>
            <pc:docMk/>
            <pc:sldMk cId="1226083679" sldId="2147478575"/>
            <ac:spMk id="604" creationId="{425772FC-3A85-ECC7-FDEA-444777D68C79}"/>
          </ac:spMkLst>
        </pc:spChg>
        <pc:spChg chg="add del mod">
          <ac:chgData name="Steiner Andreas 6206 ED" userId="e6377c33-a923-4f14-8587-531c474c7b48" providerId="ADAL" clId="{6ECD27E6-B224-41CD-B4E0-E297462320DD}" dt="2023-11-24T08:52:23.703" v="92432"/>
          <ac:spMkLst>
            <pc:docMk/>
            <pc:sldMk cId="1226083679" sldId="2147478575"/>
            <ac:spMk id="605" creationId="{7BABAFB9-BB9B-B55E-B433-8E73C6ECB8B5}"/>
          </ac:spMkLst>
        </pc:spChg>
        <pc:spChg chg="add del mod">
          <ac:chgData name="Steiner Andreas 6206 ED" userId="e6377c33-a923-4f14-8587-531c474c7b48" providerId="ADAL" clId="{6ECD27E6-B224-41CD-B4E0-E297462320DD}" dt="2023-11-24T08:52:25.628" v="92587"/>
          <ac:spMkLst>
            <pc:docMk/>
            <pc:sldMk cId="1226083679" sldId="2147478575"/>
            <ac:spMk id="606" creationId="{7E2246A2-CE9A-5D6C-DC22-ED37AA6538BE}"/>
          </ac:spMkLst>
        </pc:spChg>
        <pc:spChg chg="add del mod">
          <ac:chgData name="Steiner Andreas 6206 ED" userId="e6377c33-a923-4f14-8587-531c474c7b48" providerId="ADAL" clId="{6ECD27E6-B224-41CD-B4E0-E297462320DD}" dt="2023-11-24T08:52:27.489" v="92742"/>
          <ac:spMkLst>
            <pc:docMk/>
            <pc:sldMk cId="1226083679" sldId="2147478575"/>
            <ac:spMk id="607" creationId="{E24DF4FD-BE44-6BBA-142D-40E0F60E109F}"/>
          </ac:spMkLst>
        </pc:spChg>
        <pc:spChg chg="add del mod">
          <ac:chgData name="Steiner Andreas 6206 ED" userId="e6377c33-a923-4f14-8587-531c474c7b48" providerId="ADAL" clId="{6ECD27E6-B224-41CD-B4E0-E297462320DD}" dt="2023-11-24T08:52:29.512" v="92897"/>
          <ac:spMkLst>
            <pc:docMk/>
            <pc:sldMk cId="1226083679" sldId="2147478575"/>
            <ac:spMk id="608" creationId="{3F92570E-EE2D-FA26-39BE-B76A211FA31A}"/>
          </ac:spMkLst>
        </pc:spChg>
        <pc:spChg chg="add del mod">
          <ac:chgData name="Steiner Andreas 6206 ED" userId="e6377c33-a923-4f14-8587-531c474c7b48" providerId="ADAL" clId="{6ECD27E6-B224-41CD-B4E0-E297462320DD}" dt="2023-11-24T08:52:31.499" v="93052"/>
          <ac:spMkLst>
            <pc:docMk/>
            <pc:sldMk cId="1226083679" sldId="2147478575"/>
            <ac:spMk id="609" creationId="{B51C5B05-59BD-F7DA-58D4-C5AE87D4CFC7}"/>
          </ac:spMkLst>
        </pc:spChg>
        <pc:spChg chg="add del mod">
          <ac:chgData name="Steiner Andreas 6206 ED" userId="e6377c33-a923-4f14-8587-531c474c7b48" providerId="ADAL" clId="{6ECD27E6-B224-41CD-B4E0-E297462320DD}" dt="2023-11-24T08:52:33.431" v="93207"/>
          <ac:spMkLst>
            <pc:docMk/>
            <pc:sldMk cId="1226083679" sldId="2147478575"/>
            <ac:spMk id="610" creationId="{347432EE-14D4-8286-0E66-730A619EB7A6}"/>
          </ac:spMkLst>
        </pc:spChg>
        <pc:spChg chg="add del mod">
          <ac:chgData name="Steiner Andreas 6206 ED" userId="e6377c33-a923-4f14-8587-531c474c7b48" providerId="ADAL" clId="{6ECD27E6-B224-41CD-B4E0-E297462320DD}" dt="2023-11-24T08:52:35.310" v="93362"/>
          <ac:spMkLst>
            <pc:docMk/>
            <pc:sldMk cId="1226083679" sldId="2147478575"/>
            <ac:spMk id="611" creationId="{D2D1CD9B-DB15-D017-F5E1-7AFC31B30CF3}"/>
          </ac:spMkLst>
        </pc:spChg>
        <pc:spChg chg="add del mod">
          <ac:chgData name="Steiner Andreas 6206 ED" userId="e6377c33-a923-4f14-8587-531c474c7b48" providerId="ADAL" clId="{6ECD27E6-B224-41CD-B4E0-E297462320DD}" dt="2023-11-24T08:52:37.239" v="93517"/>
          <ac:spMkLst>
            <pc:docMk/>
            <pc:sldMk cId="1226083679" sldId="2147478575"/>
            <ac:spMk id="612" creationId="{7AB2B690-96DF-9A4A-4C65-C7CC88275D8F}"/>
          </ac:spMkLst>
        </pc:spChg>
        <pc:spChg chg="add del mod">
          <ac:chgData name="Steiner Andreas 6206 ED" userId="e6377c33-a923-4f14-8587-531c474c7b48" providerId="ADAL" clId="{6ECD27E6-B224-41CD-B4E0-E297462320DD}" dt="2023-11-24T08:52:39.113" v="93672"/>
          <ac:spMkLst>
            <pc:docMk/>
            <pc:sldMk cId="1226083679" sldId="2147478575"/>
            <ac:spMk id="613" creationId="{0BC4EA3D-A5E3-419F-45DA-82AEDBEAEF13}"/>
          </ac:spMkLst>
        </pc:spChg>
        <pc:spChg chg="add del mod">
          <ac:chgData name="Steiner Andreas 6206 ED" userId="e6377c33-a923-4f14-8587-531c474c7b48" providerId="ADAL" clId="{6ECD27E6-B224-41CD-B4E0-E297462320DD}" dt="2023-11-24T08:52:41.163" v="93827"/>
          <ac:spMkLst>
            <pc:docMk/>
            <pc:sldMk cId="1226083679" sldId="2147478575"/>
            <ac:spMk id="614" creationId="{1B8F2753-FCE6-1225-C888-F04BB2681402}"/>
          </ac:spMkLst>
        </pc:spChg>
        <pc:spChg chg="add del mod">
          <ac:chgData name="Steiner Andreas 6206 ED" userId="e6377c33-a923-4f14-8587-531c474c7b48" providerId="ADAL" clId="{6ECD27E6-B224-41CD-B4E0-E297462320DD}" dt="2023-11-24T08:52:43.145" v="93982"/>
          <ac:spMkLst>
            <pc:docMk/>
            <pc:sldMk cId="1226083679" sldId="2147478575"/>
            <ac:spMk id="615" creationId="{99046259-043E-5242-C09D-4BDBC939884C}"/>
          </ac:spMkLst>
        </pc:spChg>
        <pc:spChg chg="add del mod">
          <ac:chgData name="Steiner Andreas 6206 ED" userId="e6377c33-a923-4f14-8587-531c474c7b48" providerId="ADAL" clId="{6ECD27E6-B224-41CD-B4E0-E297462320DD}" dt="2023-11-24T08:52:45.070" v="94137"/>
          <ac:spMkLst>
            <pc:docMk/>
            <pc:sldMk cId="1226083679" sldId="2147478575"/>
            <ac:spMk id="616" creationId="{C11305B3-A4D3-2D88-48E6-37B47D8C85D6}"/>
          </ac:spMkLst>
        </pc:spChg>
        <pc:spChg chg="add del mod">
          <ac:chgData name="Steiner Andreas 6206 ED" userId="e6377c33-a923-4f14-8587-531c474c7b48" providerId="ADAL" clId="{6ECD27E6-B224-41CD-B4E0-E297462320DD}" dt="2023-11-24T08:52:47.030" v="94292"/>
          <ac:spMkLst>
            <pc:docMk/>
            <pc:sldMk cId="1226083679" sldId="2147478575"/>
            <ac:spMk id="617" creationId="{9EC64260-8ACB-3975-6FF8-7E12E146636D}"/>
          </ac:spMkLst>
        </pc:spChg>
        <pc:spChg chg="add del mod">
          <ac:chgData name="Steiner Andreas 6206 ED" userId="e6377c33-a923-4f14-8587-531c474c7b48" providerId="ADAL" clId="{6ECD27E6-B224-41CD-B4E0-E297462320DD}" dt="2023-11-24T08:52:49.064" v="94447"/>
          <ac:spMkLst>
            <pc:docMk/>
            <pc:sldMk cId="1226083679" sldId="2147478575"/>
            <ac:spMk id="618" creationId="{E882C1A8-CAF4-690A-DF15-42CBF0C1DA01}"/>
          </ac:spMkLst>
        </pc:spChg>
        <pc:spChg chg="add del mod">
          <ac:chgData name="Steiner Andreas 6206 ED" userId="e6377c33-a923-4f14-8587-531c474c7b48" providerId="ADAL" clId="{6ECD27E6-B224-41CD-B4E0-E297462320DD}" dt="2023-11-24T08:52:51.284" v="94602"/>
          <ac:spMkLst>
            <pc:docMk/>
            <pc:sldMk cId="1226083679" sldId="2147478575"/>
            <ac:spMk id="619" creationId="{F3148737-D1AD-D9C9-A88D-A345615ECCF9}"/>
          </ac:spMkLst>
        </pc:spChg>
        <pc:spChg chg="add del mod">
          <ac:chgData name="Steiner Andreas 6206 ED" userId="e6377c33-a923-4f14-8587-531c474c7b48" providerId="ADAL" clId="{6ECD27E6-B224-41CD-B4E0-E297462320DD}" dt="2023-11-24T08:52:53.255" v="94757"/>
          <ac:spMkLst>
            <pc:docMk/>
            <pc:sldMk cId="1226083679" sldId="2147478575"/>
            <ac:spMk id="620" creationId="{5B38191F-EDEF-E2DA-9A1B-B01488181304}"/>
          </ac:spMkLst>
        </pc:spChg>
        <pc:spChg chg="add del mod">
          <ac:chgData name="Steiner Andreas 6206 ED" userId="e6377c33-a923-4f14-8587-531c474c7b48" providerId="ADAL" clId="{6ECD27E6-B224-41CD-B4E0-E297462320DD}" dt="2023-11-24T08:52:55.197" v="94912"/>
          <ac:spMkLst>
            <pc:docMk/>
            <pc:sldMk cId="1226083679" sldId="2147478575"/>
            <ac:spMk id="621" creationId="{C1A43F38-E734-2A7F-DA30-4930B2566163}"/>
          </ac:spMkLst>
        </pc:spChg>
        <pc:spChg chg="add del mod">
          <ac:chgData name="Steiner Andreas 6206 ED" userId="e6377c33-a923-4f14-8587-531c474c7b48" providerId="ADAL" clId="{6ECD27E6-B224-41CD-B4E0-E297462320DD}" dt="2023-11-24T08:52:57.200" v="95067"/>
          <ac:spMkLst>
            <pc:docMk/>
            <pc:sldMk cId="1226083679" sldId="2147478575"/>
            <ac:spMk id="622" creationId="{023C0EFA-D8CD-ECD5-0719-C3B4F88FEBD6}"/>
          </ac:spMkLst>
        </pc:spChg>
        <pc:spChg chg="add del mod">
          <ac:chgData name="Steiner Andreas 6206 ED" userId="e6377c33-a923-4f14-8587-531c474c7b48" providerId="ADAL" clId="{6ECD27E6-B224-41CD-B4E0-E297462320DD}" dt="2023-11-24T08:52:59.185" v="95222"/>
          <ac:spMkLst>
            <pc:docMk/>
            <pc:sldMk cId="1226083679" sldId="2147478575"/>
            <ac:spMk id="623" creationId="{574FBB2F-E182-3A5F-8A8C-6AD0CBAB90FF}"/>
          </ac:spMkLst>
        </pc:spChg>
        <pc:spChg chg="add del mod">
          <ac:chgData name="Steiner Andreas 6206 ED" userId="e6377c33-a923-4f14-8587-531c474c7b48" providerId="ADAL" clId="{6ECD27E6-B224-41CD-B4E0-E297462320DD}" dt="2023-11-24T08:53:01.176" v="95377"/>
          <ac:spMkLst>
            <pc:docMk/>
            <pc:sldMk cId="1226083679" sldId="2147478575"/>
            <ac:spMk id="624" creationId="{C6C47E88-639B-9F00-B2FC-82BF4F6D3686}"/>
          </ac:spMkLst>
        </pc:spChg>
        <pc:spChg chg="add del mod">
          <ac:chgData name="Steiner Andreas 6206 ED" userId="e6377c33-a923-4f14-8587-531c474c7b48" providerId="ADAL" clId="{6ECD27E6-B224-41CD-B4E0-E297462320DD}" dt="2023-11-24T08:53:03.276" v="95532"/>
          <ac:spMkLst>
            <pc:docMk/>
            <pc:sldMk cId="1226083679" sldId="2147478575"/>
            <ac:spMk id="625" creationId="{50F2C15D-C004-C26C-0EFA-8DD75B776566}"/>
          </ac:spMkLst>
        </pc:spChg>
        <pc:spChg chg="add del mod">
          <ac:chgData name="Steiner Andreas 6206 ED" userId="e6377c33-a923-4f14-8587-531c474c7b48" providerId="ADAL" clId="{6ECD27E6-B224-41CD-B4E0-E297462320DD}" dt="2023-11-24T08:53:05.291" v="95687"/>
          <ac:spMkLst>
            <pc:docMk/>
            <pc:sldMk cId="1226083679" sldId="2147478575"/>
            <ac:spMk id="626" creationId="{8C15CA97-BA53-47A2-EEB6-0B51075B780F}"/>
          </ac:spMkLst>
        </pc:spChg>
        <pc:spChg chg="add del mod">
          <ac:chgData name="Steiner Andreas 6206 ED" userId="e6377c33-a923-4f14-8587-531c474c7b48" providerId="ADAL" clId="{6ECD27E6-B224-41CD-B4E0-E297462320DD}" dt="2023-11-24T08:53:07.151" v="95842"/>
          <ac:spMkLst>
            <pc:docMk/>
            <pc:sldMk cId="1226083679" sldId="2147478575"/>
            <ac:spMk id="627" creationId="{59670D07-7CF0-5256-7CA9-D94593360446}"/>
          </ac:spMkLst>
        </pc:spChg>
        <pc:spChg chg="add del mod">
          <ac:chgData name="Steiner Andreas 6206 ED" userId="e6377c33-a923-4f14-8587-531c474c7b48" providerId="ADAL" clId="{6ECD27E6-B224-41CD-B4E0-E297462320DD}" dt="2023-11-24T08:53:09.099" v="95997"/>
          <ac:spMkLst>
            <pc:docMk/>
            <pc:sldMk cId="1226083679" sldId="2147478575"/>
            <ac:spMk id="628" creationId="{E1912505-2C7E-6267-A4AE-7052F411EE96}"/>
          </ac:spMkLst>
        </pc:spChg>
        <pc:spChg chg="add del mod">
          <ac:chgData name="Steiner Andreas 6206 ED" userId="e6377c33-a923-4f14-8587-531c474c7b48" providerId="ADAL" clId="{6ECD27E6-B224-41CD-B4E0-E297462320DD}" dt="2023-11-24T08:53:11.028" v="96152"/>
          <ac:spMkLst>
            <pc:docMk/>
            <pc:sldMk cId="1226083679" sldId="2147478575"/>
            <ac:spMk id="629" creationId="{0CC4C180-EEB8-2BCC-A74C-A5FEC40C5065}"/>
          </ac:spMkLst>
        </pc:spChg>
        <pc:spChg chg="add del mod">
          <ac:chgData name="Steiner Andreas 6206 ED" userId="e6377c33-a923-4f14-8587-531c474c7b48" providerId="ADAL" clId="{6ECD27E6-B224-41CD-B4E0-E297462320DD}" dt="2023-11-24T08:53:12.976" v="96307"/>
          <ac:spMkLst>
            <pc:docMk/>
            <pc:sldMk cId="1226083679" sldId="2147478575"/>
            <ac:spMk id="630" creationId="{E1E7B9E8-4E80-CF61-9CCD-3253EDD81C8B}"/>
          </ac:spMkLst>
        </pc:spChg>
        <pc:spChg chg="add del mod">
          <ac:chgData name="Steiner Andreas 6206 ED" userId="e6377c33-a923-4f14-8587-531c474c7b48" providerId="ADAL" clId="{6ECD27E6-B224-41CD-B4E0-E297462320DD}" dt="2023-11-24T08:53:15.106" v="96462"/>
          <ac:spMkLst>
            <pc:docMk/>
            <pc:sldMk cId="1226083679" sldId="2147478575"/>
            <ac:spMk id="631" creationId="{F91ECA15-1F10-33ED-3C53-499DD36854CF}"/>
          </ac:spMkLst>
        </pc:spChg>
        <pc:spChg chg="add del mod">
          <ac:chgData name="Steiner Andreas 6206 ED" userId="e6377c33-a923-4f14-8587-531c474c7b48" providerId="ADAL" clId="{6ECD27E6-B224-41CD-B4E0-E297462320DD}" dt="2023-11-24T08:53:17.061" v="96617"/>
          <ac:spMkLst>
            <pc:docMk/>
            <pc:sldMk cId="1226083679" sldId="2147478575"/>
            <ac:spMk id="632" creationId="{EDF00212-6F3D-F475-8DBA-6DCF1FFDF011}"/>
          </ac:spMkLst>
        </pc:spChg>
        <pc:spChg chg="add del mod">
          <ac:chgData name="Steiner Andreas 6206 ED" userId="e6377c33-a923-4f14-8587-531c474c7b48" providerId="ADAL" clId="{6ECD27E6-B224-41CD-B4E0-E297462320DD}" dt="2023-11-24T08:53:18.995" v="96772"/>
          <ac:spMkLst>
            <pc:docMk/>
            <pc:sldMk cId="1226083679" sldId="2147478575"/>
            <ac:spMk id="633" creationId="{F768AAD4-7D15-0E22-40D4-C45AD0BC64E9}"/>
          </ac:spMkLst>
        </pc:spChg>
        <pc:spChg chg="add del mod">
          <ac:chgData name="Steiner Andreas 6206 ED" userId="e6377c33-a923-4f14-8587-531c474c7b48" providerId="ADAL" clId="{6ECD27E6-B224-41CD-B4E0-E297462320DD}" dt="2023-11-24T08:53:20.992" v="96927"/>
          <ac:spMkLst>
            <pc:docMk/>
            <pc:sldMk cId="1226083679" sldId="2147478575"/>
            <ac:spMk id="634" creationId="{2F3DD248-AA6C-03FE-75B1-58308532A9DD}"/>
          </ac:spMkLst>
        </pc:spChg>
        <pc:spChg chg="add del mod">
          <ac:chgData name="Steiner Andreas 6206 ED" userId="e6377c33-a923-4f14-8587-531c474c7b48" providerId="ADAL" clId="{6ECD27E6-B224-41CD-B4E0-E297462320DD}" dt="2023-11-24T08:53:22.946" v="97082"/>
          <ac:spMkLst>
            <pc:docMk/>
            <pc:sldMk cId="1226083679" sldId="2147478575"/>
            <ac:spMk id="635" creationId="{00394B7C-D4BC-630F-A0C9-D439F6E411A2}"/>
          </ac:spMkLst>
        </pc:spChg>
        <pc:spChg chg="add del mod">
          <ac:chgData name="Steiner Andreas 6206 ED" userId="e6377c33-a923-4f14-8587-531c474c7b48" providerId="ADAL" clId="{6ECD27E6-B224-41CD-B4E0-E297462320DD}" dt="2023-11-24T08:53:25.035" v="97237"/>
          <ac:spMkLst>
            <pc:docMk/>
            <pc:sldMk cId="1226083679" sldId="2147478575"/>
            <ac:spMk id="636" creationId="{68B7E88A-8520-F71D-1B23-9F02E54492EB}"/>
          </ac:spMkLst>
        </pc:spChg>
        <pc:spChg chg="add del mod">
          <ac:chgData name="Steiner Andreas 6206 ED" userId="e6377c33-a923-4f14-8587-531c474c7b48" providerId="ADAL" clId="{6ECD27E6-B224-41CD-B4E0-E297462320DD}" dt="2023-11-24T08:53:27.067" v="97392"/>
          <ac:spMkLst>
            <pc:docMk/>
            <pc:sldMk cId="1226083679" sldId="2147478575"/>
            <ac:spMk id="637" creationId="{50620085-DA09-4437-1573-89C71F0F6928}"/>
          </ac:spMkLst>
        </pc:spChg>
        <pc:spChg chg="add del mod">
          <ac:chgData name="Steiner Andreas 6206 ED" userId="e6377c33-a923-4f14-8587-531c474c7b48" providerId="ADAL" clId="{6ECD27E6-B224-41CD-B4E0-E297462320DD}" dt="2023-11-24T08:53:28.962" v="97547"/>
          <ac:spMkLst>
            <pc:docMk/>
            <pc:sldMk cId="1226083679" sldId="2147478575"/>
            <ac:spMk id="638" creationId="{C68508A2-C113-5A95-6248-D98BC6B06FD4}"/>
          </ac:spMkLst>
        </pc:spChg>
        <pc:spChg chg="add del mod">
          <ac:chgData name="Steiner Andreas 6206 ED" userId="e6377c33-a923-4f14-8587-531c474c7b48" providerId="ADAL" clId="{6ECD27E6-B224-41CD-B4E0-E297462320DD}" dt="2023-11-24T08:53:30.870" v="97702"/>
          <ac:spMkLst>
            <pc:docMk/>
            <pc:sldMk cId="1226083679" sldId="2147478575"/>
            <ac:spMk id="639" creationId="{27701F5F-106E-7B44-DC67-A173CDDE5452}"/>
          </ac:spMkLst>
        </pc:spChg>
        <pc:spChg chg="add del mod">
          <ac:chgData name="Steiner Andreas 6206 ED" userId="e6377c33-a923-4f14-8587-531c474c7b48" providerId="ADAL" clId="{6ECD27E6-B224-41CD-B4E0-E297462320DD}" dt="2023-11-24T08:53:32.808" v="97857"/>
          <ac:spMkLst>
            <pc:docMk/>
            <pc:sldMk cId="1226083679" sldId="2147478575"/>
            <ac:spMk id="640" creationId="{BB9A5AC2-80A3-807D-BFD5-175C377A200F}"/>
          </ac:spMkLst>
        </pc:spChg>
        <pc:spChg chg="add del mod">
          <ac:chgData name="Steiner Andreas 6206 ED" userId="e6377c33-a923-4f14-8587-531c474c7b48" providerId="ADAL" clId="{6ECD27E6-B224-41CD-B4E0-E297462320DD}" dt="2023-11-24T08:53:34.720" v="98012"/>
          <ac:spMkLst>
            <pc:docMk/>
            <pc:sldMk cId="1226083679" sldId="2147478575"/>
            <ac:spMk id="641" creationId="{2F8A391F-2521-B002-52A1-F811BD49CD4F}"/>
          </ac:spMkLst>
        </pc:spChg>
        <pc:spChg chg="add del mod">
          <ac:chgData name="Steiner Andreas 6206 ED" userId="e6377c33-a923-4f14-8587-531c474c7b48" providerId="ADAL" clId="{6ECD27E6-B224-41CD-B4E0-E297462320DD}" dt="2023-11-24T08:53:36.806" v="98167"/>
          <ac:spMkLst>
            <pc:docMk/>
            <pc:sldMk cId="1226083679" sldId="2147478575"/>
            <ac:spMk id="642" creationId="{EFE44984-D298-E49B-CFE4-84E934F0514D}"/>
          </ac:spMkLst>
        </pc:spChg>
        <pc:spChg chg="add del mod">
          <ac:chgData name="Steiner Andreas 6206 ED" userId="e6377c33-a923-4f14-8587-531c474c7b48" providerId="ADAL" clId="{6ECD27E6-B224-41CD-B4E0-E297462320DD}" dt="2023-11-24T08:53:38.727" v="98322"/>
          <ac:spMkLst>
            <pc:docMk/>
            <pc:sldMk cId="1226083679" sldId="2147478575"/>
            <ac:spMk id="643" creationId="{4E888151-93A8-3BD6-0B6B-E79EBA1254BE}"/>
          </ac:spMkLst>
        </pc:spChg>
        <pc:spChg chg="add del mod">
          <ac:chgData name="Steiner Andreas 6206 ED" userId="e6377c33-a923-4f14-8587-531c474c7b48" providerId="ADAL" clId="{6ECD27E6-B224-41CD-B4E0-E297462320DD}" dt="2023-11-24T08:53:40.711" v="98477"/>
          <ac:spMkLst>
            <pc:docMk/>
            <pc:sldMk cId="1226083679" sldId="2147478575"/>
            <ac:spMk id="644" creationId="{5EFA83CA-550F-0240-D7EF-1B075DAE0052}"/>
          </ac:spMkLst>
        </pc:spChg>
        <pc:spChg chg="add del mod">
          <ac:chgData name="Steiner Andreas 6206 ED" userId="e6377c33-a923-4f14-8587-531c474c7b48" providerId="ADAL" clId="{6ECD27E6-B224-41CD-B4E0-E297462320DD}" dt="2023-11-24T08:53:42.627" v="98632"/>
          <ac:spMkLst>
            <pc:docMk/>
            <pc:sldMk cId="1226083679" sldId="2147478575"/>
            <ac:spMk id="645" creationId="{5BDFD819-D893-BC45-5B6E-E73B7D42D0F6}"/>
          </ac:spMkLst>
        </pc:spChg>
        <pc:spChg chg="add del mod">
          <ac:chgData name="Steiner Andreas 6206 ED" userId="e6377c33-a923-4f14-8587-531c474c7b48" providerId="ADAL" clId="{6ECD27E6-B224-41CD-B4E0-E297462320DD}" dt="2023-11-24T08:53:44.597" v="98787"/>
          <ac:spMkLst>
            <pc:docMk/>
            <pc:sldMk cId="1226083679" sldId="2147478575"/>
            <ac:spMk id="646" creationId="{67172CB6-76F8-2C72-A59F-421EA8B62B0B}"/>
          </ac:spMkLst>
        </pc:spChg>
        <pc:spChg chg="add del mod">
          <ac:chgData name="Steiner Andreas 6206 ED" userId="e6377c33-a923-4f14-8587-531c474c7b48" providerId="ADAL" clId="{6ECD27E6-B224-41CD-B4E0-E297462320DD}" dt="2023-11-24T08:53:46.488" v="98942"/>
          <ac:spMkLst>
            <pc:docMk/>
            <pc:sldMk cId="1226083679" sldId="2147478575"/>
            <ac:spMk id="647" creationId="{0EC85D50-35C9-339B-DF0A-9DB5F480FE11}"/>
          </ac:spMkLst>
        </pc:spChg>
        <pc:spChg chg="add del mod">
          <ac:chgData name="Steiner Andreas 6206 ED" userId="e6377c33-a923-4f14-8587-531c474c7b48" providerId="ADAL" clId="{6ECD27E6-B224-41CD-B4E0-E297462320DD}" dt="2023-11-24T08:53:48.564" v="99097"/>
          <ac:spMkLst>
            <pc:docMk/>
            <pc:sldMk cId="1226083679" sldId="2147478575"/>
            <ac:spMk id="648" creationId="{AFBA7448-1417-E580-D764-1DC4A337AA89}"/>
          </ac:spMkLst>
        </pc:spChg>
        <pc:spChg chg="add del mod">
          <ac:chgData name="Steiner Andreas 6206 ED" userId="e6377c33-a923-4f14-8587-531c474c7b48" providerId="ADAL" clId="{6ECD27E6-B224-41CD-B4E0-E297462320DD}" dt="2023-11-24T08:53:50.537" v="99252"/>
          <ac:spMkLst>
            <pc:docMk/>
            <pc:sldMk cId="1226083679" sldId="2147478575"/>
            <ac:spMk id="649" creationId="{F2916C0E-431F-CF75-852C-18649EABA709}"/>
          </ac:spMkLst>
        </pc:spChg>
        <pc:spChg chg="add del mod">
          <ac:chgData name="Steiner Andreas 6206 ED" userId="e6377c33-a923-4f14-8587-531c474c7b48" providerId="ADAL" clId="{6ECD27E6-B224-41CD-B4E0-E297462320DD}" dt="2023-11-24T08:53:52.481" v="99407"/>
          <ac:spMkLst>
            <pc:docMk/>
            <pc:sldMk cId="1226083679" sldId="2147478575"/>
            <ac:spMk id="650" creationId="{D474DB1C-71C7-80F3-BD89-79D3FB315909}"/>
          </ac:spMkLst>
        </pc:spChg>
        <pc:spChg chg="add del mod">
          <ac:chgData name="Steiner Andreas 6206 ED" userId="e6377c33-a923-4f14-8587-531c474c7b48" providerId="ADAL" clId="{6ECD27E6-B224-41CD-B4E0-E297462320DD}" dt="2023-11-24T08:53:54.432" v="99562"/>
          <ac:spMkLst>
            <pc:docMk/>
            <pc:sldMk cId="1226083679" sldId="2147478575"/>
            <ac:spMk id="651" creationId="{82DCA8D6-523E-5341-9D2A-191A583D1D62}"/>
          </ac:spMkLst>
        </pc:spChg>
        <pc:spChg chg="add del mod">
          <ac:chgData name="Steiner Andreas 6206 ED" userId="e6377c33-a923-4f14-8587-531c474c7b48" providerId="ADAL" clId="{6ECD27E6-B224-41CD-B4E0-E297462320DD}" dt="2023-11-24T08:53:56.402" v="99717"/>
          <ac:spMkLst>
            <pc:docMk/>
            <pc:sldMk cId="1226083679" sldId="2147478575"/>
            <ac:spMk id="652" creationId="{A0BA7F88-46DA-3AD4-2B23-2010A5D3BFAD}"/>
          </ac:spMkLst>
        </pc:spChg>
        <pc:spChg chg="add del mod">
          <ac:chgData name="Steiner Andreas 6206 ED" userId="e6377c33-a923-4f14-8587-531c474c7b48" providerId="ADAL" clId="{6ECD27E6-B224-41CD-B4E0-E297462320DD}" dt="2023-11-24T08:53:58.438" v="99872"/>
          <ac:spMkLst>
            <pc:docMk/>
            <pc:sldMk cId="1226083679" sldId="2147478575"/>
            <ac:spMk id="653" creationId="{57F6FE93-3DF5-10E9-8C95-33B4F3B0E105}"/>
          </ac:spMkLst>
        </pc:spChg>
        <pc:spChg chg="add del mod">
          <ac:chgData name="Steiner Andreas 6206 ED" userId="e6377c33-a923-4f14-8587-531c474c7b48" providerId="ADAL" clId="{6ECD27E6-B224-41CD-B4E0-E297462320DD}" dt="2023-11-24T08:54:00.581" v="100027"/>
          <ac:spMkLst>
            <pc:docMk/>
            <pc:sldMk cId="1226083679" sldId="2147478575"/>
            <ac:spMk id="654" creationId="{BE95B30C-3627-709E-3776-D1DDA1961411}"/>
          </ac:spMkLst>
        </pc:spChg>
        <pc:spChg chg="add del mod">
          <ac:chgData name="Steiner Andreas 6206 ED" userId="e6377c33-a923-4f14-8587-531c474c7b48" providerId="ADAL" clId="{6ECD27E6-B224-41CD-B4E0-E297462320DD}" dt="2023-11-24T08:54:02.543" v="100182"/>
          <ac:spMkLst>
            <pc:docMk/>
            <pc:sldMk cId="1226083679" sldId="2147478575"/>
            <ac:spMk id="655" creationId="{D6B16E2F-A768-535E-A738-567E301903A4}"/>
          </ac:spMkLst>
        </pc:spChg>
        <pc:spChg chg="add del mod">
          <ac:chgData name="Steiner Andreas 6206 ED" userId="e6377c33-a923-4f14-8587-531c474c7b48" providerId="ADAL" clId="{6ECD27E6-B224-41CD-B4E0-E297462320DD}" dt="2023-11-24T08:54:04.519" v="100337"/>
          <ac:spMkLst>
            <pc:docMk/>
            <pc:sldMk cId="1226083679" sldId="2147478575"/>
            <ac:spMk id="656" creationId="{509F0489-657C-DC7B-D179-E4FFDFFB0069}"/>
          </ac:spMkLst>
        </pc:spChg>
        <pc:spChg chg="add del mod">
          <ac:chgData name="Steiner Andreas 6206 ED" userId="e6377c33-a923-4f14-8587-531c474c7b48" providerId="ADAL" clId="{6ECD27E6-B224-41CD-B4E0-E297462320DD}" dt="2023-11-24T08:54:06.495" v="100492"/>
          <ac:spMkLst>
            <pc:docMk/>
            <pc:sldMk cId="1226083679" sldId="2147478575"/>
            <ac:spMk id="657" creationId="{DC52DF1B-2D53-2190-0AE5-5EC7B816F880}"/>
          </ac:spMkLst>
        </pc:spChg>
        <pc:spChg chg="add del mod">
          <ac:chgData name="Steiner Andreas 6206 ED" userId="e6377c33-a923-4f14-8587-531c474c7b48" providerId="ADAL" clId="{6ECD27E6-B224-41CD-B4E0-E297462320DD}" dt="2023-11-24T08:54:08.472" v="100647"/>
          <ac:spMkLst>
            <pc:docMk/>
            <pc:sldMk cId="1226083679" sldId="2147478575"/>
            <ac:spMk id="658" creationId="{153010FA-A856-301D-200E-04434FE48D5D}"/>
          </ac:spMkLst>
        </pc:spChg>
        <pc:spChg chg="add del mod">
          <ac:chgData name="Steiner Andreas 6206 ED" userId="e6377c33-a923-4f14-8587-531c474c7b48" providerId="ADAL" clId="{6ECD27E6-B224-41CD-B4E0-E297462320DD}" dt="2023-11-24T08:54:10.600" v="100802"/>
          <ac:spMkLst>
            <pc:docMk/>
            <pc:sldMk cId="1226083679" sldId="2147478575"/>
            <ac:spMk id="659" creationId="{F520F82A-FC28-86F2-0013-2B068A77CC4B}"/>
          </ac:spMkLst>
        </pc:spChg>
        <pc:spChg chg="add del mod">
          <ac:chgData name="Steiner Andreas 6206 ED" userId="e6377c33-a923-4f14-8587-531c474c7b48" providerId="ADAL" clId="{6ECD27E6-B224-41CD-B4E0-E297462320DD}" dt="2023-11-24T08:54:12.550" v="100957"/>
          <ac:spMkLst>
            <pc:docMk/>
            <pc:sldMk cId="1226083679" sldId="2147478575"/>
            <ac:spMk id="660" creationId="{84840BA3-9E3E-D38A-C1BB-2F75F44FCCD5}"/>
          </ac:spMkLst>
        </pc:spChg>
        <pc:spChg chg="add del mod">
          <ac:chgData name="Steiner Andreas 6206 ED" userId="e6377c33-a923-4f14-8587-531c474c7b48" providerId="ADAL" clId="{6ECD27E6-B224-41CD-B4E0-E297462320DD}" dt="2023-11-24T08:54:14.507" v="101112"/>
          <ac:spMkLst>
            <pc:docMk/>
            <pc:sldMk cId="1226083679" sldId="2147478575"/>
            <ac:spMk id="661" creationId="{D2C45EB3-80F8-AB44-74A0-E2C00DA50A23}"/>
          </ac:spMkLst>
        </pc:spChg>
        <pc:spChg chg="add del mod">
          <ac:chgData name="Steiner Andreas 6206 ED" userId="e6377c33-a923-4f14-8587-531c474c7b48" providerId="ADAL" clId="{6ECD27E6-B224-41CD-B4E0-E297462320DD}" dt="2023-11-24T08:54:16.404" v="101267"/>
          <ac:spMkLst>
            <pc:docMk/>
            <pc:sldMk cId="1226083679" sldId="2147478575"/>
            <ac:spMk id="662" creationId="{5B0ED9BE-FC12-2538-C67B-33A2A154348D}"/>
          </ac:spMkLst>
        </pc:spChg>
        <pc:spChg chg="add del mod">
          <ac:chgData name="Steiner Andreas 6206 ED" userId="e6377c33-a923-4f14-8587-531c474c7b48" providerId="ADAL" clId="{6ECD27E6-B224-41CD-B4E0-E297462320DD}" dt="2023-11-24T08:54:18.312" v="101422"/>
          <ac:spMkLst>
            <pc:docMk/>
            <pc:sldMk cId="1226083679" sldId="2147478575"/>
            <ac:spMk id="663" creationId="{D2604242-E5D1-3E14-5576-E8E27FC9BD81}"/>
          </ac:spMkLst>
        </pc:spChg>
        <pc:spChg chg="add del mod">
          <ac:chgData name="Steiner Andreas 6206 ED" userId="e6377c33-a923-4f14-8587-531c474c7b48" providerId="ADAL" clId="{6ECD27E6-B224-41CD-B4E0-E297462320DD}" dt="2023-11-24T08:54:20.254" v="101577"/>
          <ac:spMkLst>
            <pc:docMk/>
            <pc:sldMk cId="1226083679" sldId="2147478575"/>
            <ac:spMk id="664" creationId="{00FF4306-2430-A489-D5EF-81221C8BB498}"/>
          </ac:spMkLst>
        </pc:spChg>
        <pc:spChg chg="add del mod">
          <ac:chgData name="Steiner Andreas 6206 ED" userId="e6377c33-a923-4f14-8587-531c474c7b48" providerId="ADAL" clId="{6ECD27E6-B224-41CD-B4E0-E297462320DD}" dt="2023-11-24T08:54:22.371" v="101732"/>
          <ac:spMkLst>
            <pc:docMk/>
            <pc:sldMk cId="1226083679" sldId="2147478575"/>
            <ac:spMk id="665" creationId="{A3D8E3D3-D334-DB61-88BE-8E18C956FF55}"/>
          </ac:spMkLst>
        </pc:spChg>
        <pc:spChg chg="add del mod">
          <ac:chgData name="Steiner Andreas 6206 ED" userId="e6377c33-a923-4f14-8587-531c474c7b48" providerId="ADAL" clId="{6ECD27E6-B224-41CD-B4E0-E297462320DD}" dt="2023-11-24T08:54:24.322" v="101887"/>
          <ac:spMkLst>
            <pc:docMk/>
            <pc:sldMk cId="1226083679" sldId="2147478575"/>
            <ac:spMk id="666" creationId="{5A364744-0050-5305-E984-598577EC2F08}"/>
          </ac:spMkLst>
        </pc:spChg>
        <pc:spChg chg="add del mod">
          <ac:chgData name="Steiner Andreas 6206 ED" userId="e6377c33-a923-4f14-8587-531c474c7b48" providerId="ADAL" clId="{6ECD27E6-B224-41CD-B4E0-E297462320DD}" dt="2023-11-24T08:54:26.304" v="102042"/>
          <ac:spMkLst>
            <pc:docMk/>
            <pc:sldMk cId="1226083679" sldId="2147478575"/>
            <ac:spMk id="667" creationId="{7B116492-99BA-1864-729A-741DEE6BC16A}"/>
          </ac:spMkLst>
        </pc:spChg>
        <pc:spChg chg="add del mod">
          <ac:chgData name="Steiner Andreas 6206 ED" userId="e6377c33-a923-4f14-8587-531c474c7b48" providerId="ADAL" clId="{6ECD27E6-B224-41CD-B4E0-E297462320DD}" dt="2023-11-24T08:54:28.243" v="102197"/>
          <ac:spMkLst>
            <pc:docMk/>
            <pc:sldMk cId="1226083679" sldId="2147478575"/>
            <ac:spMk id="668" creationId="{69C3E9B8-1C19-E957-CC49-E90108E6F21D}"/>
          </ac:spMkLst>
        </pc:spChg>
        <pc:spChg chg="add del mod">
          <ac:chgData name="Steiner Andreas 6206 ED" userId="e6377c33-a923-4f14-8587-531c474c7b48" providerId="ADAL" clId="{6ECD27E6-B224-41CD-B4E0-E297462320DD}" dt="2023-11-24T08:54:30.188" v="102352"/>
          <ac:spMkLst>
            <pc:docMk/>
            <pc:sldMk cId="1226083679" sldId="2147478575"/>
            <ac:spMk id="669" creationId="{DB29AF93-F2D4-1A30-4389-4C82F134BFCB}"/>
          </ac:spMkLst>
        </pc:spChg>
        <pc:spChg chg="add del mod">
          <ac:chgData name="Steiner Andreas 6206 ED" userId="e6377c33-a923-4f14-8587-531c474c7b48" providerId="ADAL" clId="{6ECD27E6-B224-41CD-B4E0-E297462320DD}" dt="2023-11-24T08:54:32.296" v="102507"/>
          <ac:spMkLst>
            <pc:docMk/>
            <pc:sldMk cId="1226083679" sldId="2147478575"/>
            <ac:spMk id="670" creationId="{E2B4B829-E9E0-3225-C0AD-B4E640C43DF3}"/>
          </ac:spMkLst>
        </pc:spChg>
        <pc:spChg chg="add del mod">
          <ac:chgData name="Steiner Andreas 6206 ED" userId="e6377c33-a923-4f14-8587-531c474c7b48" providerId="ADAL" clId="{6ECD27E6-B224-41CD-B4E0-E297462320DD}" dt="2023-11-24T08:54:34.317" v="102662"/>
          <ac:spMkLst>
            <pc:docMk/>
            <pc:sldMk cId="1226083679" sldId="2147478575"/>
            <ac:spMk id="671" creationId="{0AF622B3-67DD-B536-09F7-134697963F3E}"/>
          </ac:spMkLst>
        </pc:spChg>
        <pc:spChg chg="add del mod">
          <ac:chgData name="Steiner Andreas 6206 ED" userId="e6377c33-a923-4f14-8587-531c474c7b48" providerId="ADAL" clId="{6ECD27E6-B224-41CD-B4E0-E297462320DD}" dt="2023-11-24T08:54:36.259" v="102817"/>
          <ac:spMkLst>
            <pc:docMk/>
            <pc:sldMk cId="1226083679" sldId="2147478575"/>
            <ac:spMk id="672" creationId="{947E4854-57CE-1715-EB44-B28A5DF42A5F}"/>
          </ac:spMkLst>
        </pc:spChg>
        <pc:spChg chg="add del mod">
          <ac:chgData name="Steiner Andreas 6206 ED" userId="e6377c33-a923-4f14-8587-531c474c7b48" providerId="ADAL" clId="{6ECD27E6-B224-41CD-B4E0-E297462320DD}" dt="2023-11-24T08:54:38.415" v="102972"/>
          <ac:spMkLst>
            <pc:docMk/>
            <pc:sldMk cId="1226083679" sldId="2147478575"/>
            <ac:spMk id="673" creationId="{6EFD3130-F746-E04E-2FED-A2CCE0FE4BFD}"/>
          </ac:spMkLst>
        </pc:spChg>
        <pc:spChg chg="add del mod">
          <ac:chgData name="Steiner Andreas 6206 ED" userId="e6377c33-a923-4f14-8587-531c474c7b48" providerId="ADAL" clId="{6ECD27E6-B224-41CD-B4E0-E297462320DD}" dt="2023-11-24T08:54:40.620" v="103127"/>
          <ac:spMkLst>
            <pc:docMk/>
            <pc:sldMk cId="1226083679" sldId="2147478575"/>
            <ac:spMk id="674" creationId="{0DA81E13-DC2E-56F4-3ADE-23B8CFA99239}"/>
          </ac:spMkLst>
        </pc:spChg>
        <pc:spChg chg="add del mod">
          <ac:chgData name="Steiner Andreas 6206 ED" userId="e6377c33-a923-4f14-8587-531c474c7b48" providerId="ADAL" clId="{6ECD27E6-B224-41CD-B4E0-E297462320DD}" dt="2023-11-24T08:54:42.532" v="103282"/>
          <ac:spMkLst>
            <pc:docMk/>
            <pc:sldMk cId="1226083679" sldId="2147478575"/>
            <ac:spMk id="675" creationId="{7C9C5E02-B850-80ED-58CA-1F52079FF77A}"/>
          </ac:spMkLst>
        </pc:spChg>
        <pc:spChg chg="add del mod">
          <ac:chgData name="Steiner Andreas 6206 ED" userId="e6377c33-a923-4f14-8587-531c474c7b48" providerId="ADAL" clId="{6ECD27E6-B224-41CD-B4E0-E297462320DD}" dt="2023-11-24T08:54:44.778" v="103437"/>
          <ac:spMkLst>
            <pc:docMk/>
            <pc:sldMk cId="1226083679" sldId="2147478575"/>
            <ac:spMk id="676" creationId="{DFDA013A-D201-C099-C3B4-C5129A3D099B}"/>
          </ac:spMkLst>
        </pc:spChg>
        <pc:spChg chg="add del mod">
          <ac:chgData name="Steiner Andreas 6206 ED" userId="e6377c33-a923-4f14-8587-531c474c7b48" providerId="ADAL" clId="{6ECD27E6-B224-41CD-B4E0-E297462320DD}" dt="2023-11-24T08:54:47.008" v="103592"/>
          <ac:spMkLst>
            <pc:docMk/>
            <pc:sldMk cId="1226083679" sldId="2147478575"/>
            <ac:spMk id="677" creationId="{9672EC7E-B579-1B99-1806-85391CC17DC8}"/>
          </ac:spMkLst>
        </pc:spChg>
        <pc:spChg chg="add del mod">
          <ac:chgData name="Steiner Andreas 6206 ED" userId="e6377c33-a923-4f14-8587-531c474c7b48" providerId="ADAL" clId="{6ECD27E6-B224-41CD-B4E0-E297462320DD}" dt="2023-11-24T08:54:49.137" v="103747"/>
          <ac:spMkLst>
            <pc:docMk/>
            <pc:sldMk cId="1226083679" sldId="2147478575"/>
            <ac:spMk id="678" creationId="{BCE15E09-BA2A-644F-4C4A-C60B34D92F01}"/>
          </ac:spMkLst>
        </pc:spChg>
        <pc:spChg chg="add del mod">
          <ac:chgData name="Steiner Andreas 6206 ED" userId="e6377c33-a923-4f14-8587-531c474c7b48" providerId="ADAL" clId="{6ECD27E6-B224-41CD-B4E0-E297462320DD}" dt="2023-11-24T08:54:51.472" v="103902"/>
          <ac:spMkLst>
            <pc:docMk/>
            <pc:sldMk cId="1226083679" sldId="2147478575"/>
            <ac:spMk id="679" creationId="{C21B2872-21BB-701B-B855-E4DECACE4C4F}"/>
          </ac:spMkLst>
        </pc:spChg>
        <pc:spChg chg="add del mod">
          <ac:chgData name="Steiner Andreas 6206 ED" userId="e6377c33-a923-4f14-8587-531c474c7b48" providerId="ADAL" clId="{6ECD27E6-B224-41CD-B4E0-E297462320DD}" dt="2023-11-24T08:54:53.553" v="104057"/>
          <ac:spMkLst>
            <pc:docMk/>
            <pc:sldMk cId="1226083679" sldId="2147478575"/>
            <ac:spMk id="680" creationId="{42B486AB-60E2-3C00-58B3-561A672E3EC7}"/>
          </ac:spMkLst>
        </pc:spChg>
        <pc:spChg chg="add del mod">
          <ac:chgData name="Steiner Andreas 6206 ED" userId="e6377c33-a923-4f14-8587-531c474c7b48" providerId="ADAL" clId="{6ECD27E6-B224-41CD-B4E0-E297462320DD}" dt="2023-11-24T08:54:55.703" v="104212"/>
          <ac:spMkLst>
            <pc:docMk/>
            <pc:sldMk cId="1226083679" sldId="2147478575"/>
            <ac:spMk id="681" creationId="{1848ED94-A85A-38F1-BDA6-213EDE85DAA5}"/>
          </ac:spMkLst>
        </pc:spChg>
        <pc:spChg chg="add del mod">
          <ac:chgData name="Steiner Andreas 6206 ED" userId="e6377c33-a923-4f14-8587-531c474c7b48" providerId="ADAL" clId="{6ECD27E6-B224-41CD-B4E0-E297462320DD}" dt="2023-11-24T08:54:57.730" v="104367"/>
          <ac:spMkLst>
            <pc:docMk/>
            <pc:sldMk cId="1226083679" sldId="2147478575"/>
            <ac:spMk id="682" creationId="{3B6528CE-609F-C3FC-ECDF-4F52269C795C}"/>
          </ac:spMkLst>
        </pc:spChg>
        <pc:spChg chg="add del mod">
          <ac:chgData name="Steiner Andreas 6206 ED" userId="e6377c33-a923-4f14-8587-531c474c7b48" providerId="ADAL" clId="{6ECD27E6-B224-41CD-B4E0-E297462320DD}" dt="2023-11-24T08:54:59.803" v="104522"/>
          <ac:spMkLst>
            <pc:docMk/>
            <pc:sldMk cId="1226083679" sldId="2147478575"/>
            <ac:spMk id="683" creationId="{DCC7883F-A257-0CBE-B8A0-BC912A347E83}"/>
          </ac:spMkLst>
        </pc:spChg>
        <pc:spChg chg="add del mod">
          <ac:chgData name="Steiner Andreas 6206 ED" userId="e6377c33-a923-4f14-8587-531c474c7b48" providerId="ADAL" clId="{6ECD27E6-B224-41CD-B4E0-E297462320DD}" dt="2023-11-24T08:55:01.737" v="104677"/>
          <ac:spMkLst>
            <pc:docMk/>
            <pc:sldMk cId="1226083679" sldId="2147478575"/>
            <ac:spMk id="684" creationId="{EFED4AE1-B56A-9951-3700-895393B8D01E}"/>
          </ac:spMkLst>
        </pc:spChg>
        <pc:spChg chg="add del mod">
          <ac:chgData name="Steiner Andreas 6206 ED" userId="e6377c33-a923-4f14-8587-531c474c7b48" providerId="ADAL" clId="{6ECD27E6-B224-41CD-B4E0-E297462320DD}" dt="2023-11-24T08:55:03.700" v="104832"/>
          <ac:spMkLst>
            <pc:docMk/>
            <pc:sldMk cId="1226083679" sldId="2147478575"/>
            <ac:spMk id="685" creationId="{A3148462-94FC-F848-EC27-9F1CF08638E9}"/>
          </ac:spMkLst>
        </pc:spChg>
        <pc:spChg chg="add del mod">
          <ac:chgData name="Steiner Andreas 6206 ED" userId="e6377c33-a923-4f14-8587-531c474c7b48" providerId="ADAL" clId="{6ECD27E6-B224-41CD-B4E0-E297462320DD}" dt="2023-11-24T08:55:05.780" v="104987"/>
          <ac:spMkLst>
            <pc:docMk/>
            <pc:sldMk cId="1226083679" sldId="2147478575"/>
            <ac:spMk id="686" creationId="{CC9B829A-F382-2ECB-2BF0-D339B495B542}"/>
          </ac:spMkLst>
        </pc:spChg>
        <pc:spChg chg="add del mod">
          <ac:chgData name="Steiner Andreas 6206 ED" userId="e6377c33-a923-4f14-8587-531c474c7b48" providerId="ADAL" clId="{6ECD27E6-B224-41CD-B4E0-E297462320DD}" dt="2023-11-24T08:55:07.922" v="105142"/>
          <ac:spMkLst>
            <pc:docMk/>
            <pc:sldMk cId="1226083679" sldId="2147478575"/>
            <ac:spMk id="687" creationId="{42F355E5-FFEB-5405-34E3-04EEED814BA0}"/>
          </ac:spMkLst>
        </pc:spChg>
        <pc:spChg chg="add del mod">
          <ac:chgData name="Steiner Andreas 6206 ED" userId="e6377c33-a923-4f14-8587-531c474c7b48" providerId="ADAL" clId="{6ECD27E6-B224-41CD-B4E0-E297462320DD}" dt="2023-11-24T08:55:09.891" v="105297"/>
          <ac:spMkLst>
            <pc:docMk/>
            <pc:sldMk cId="1226083679" sldId="2147478575"/>
            <ac:spMk id="688" creationId="{D865D2B8-8A3D-2B68-4620-20C893190E95}"/>
          </ac:spMkLst>
        </pc:spChg>
        <pc:spChg chg="add del mod">
          <ac:chgData name="Steiner Andreas 6206 ED" userId="e6377c33-a923-4f14-8587-531c474c7b48" providerId="ADAL" clId="{6ECD27E6-B224-41CD-B4E0-E297462320DD}" dt="2023-11-24T08:55:11.876" v="105452"/>
          <ac:spMkLst>
            <pc:docMk/>
            <pc:sldMk cId="1226083679" sldId="2147478575"/>
            <ac:spMk id="689" creationId="{B844D6BF-DCA5-1D2D-D413-5BED57BA1642}"/>
          </ac:spMkLst>
        </pc:spChg>
        <pc:spChg chg="add del mod">
          <ac:chgData name="Steiner Andreas 6206 ED" userId="e6377c33-a923-4f14-8587-531c474c7b48" providerId="ADAL" clId="{6ECD27E6-B224-41CD-B4E0-E297462320DD}" dt="2023-11-24T08:55:13.926" v="105607"/>
          <ac:spMkLst>
            <pc:docMk/>
            <pc:sldMk cId="1226083679" sldId="2147478575"/>
            <ac:spMk id="690" creationId="{F3323557-3B93-EF25-170A-617E7A01A3A8}"/>
          </ac:spMkLst>
        </pc:spChg>
        <pc:spChg chg="add del mod">
          <ac:chgData name="Steiner Andreas 6206 ED" userId="e6377c33-a923-4f14-8587-531c474c7b48" providerId="ADAL" clId="{6ECD27E6-B224-41CD-B4E0-E297462320DD}" dt="2023-11-24T08:55:16.002" v="105762"/>
          <ac:spMkLst>
            <pc:docMk/>
            <pc:sldMk cId="1226083679" sldId="2147478575"/>
            <ac:spMk id="691" creationId="{ECBC0086-60B5-D67F-ECC3-A5C46408F5E4}"/>
          </ac:spMkLst>
        </pc:spChg>
        <pc:spChg chg="add del mod">
          <ac:chgData name="Steiner Andreas 6206 ED" userId="e6377c33-a923-4f14-8587-531c474c7b48" providerId="ADAL" clId="{6ECD27E6-B224-41CD-B4E0-E297462320DD}" dt="2023-11-24T08:55:18.068" v="105917"/>
          <ac:spMkLst>
            <pc:docMk/>
            <pc:sldMk cId="1226083679" sldId="2147478575"/>
            <ac:spMk id="692" creationId="{B02ECD40-D060-6D4E-A418-DCC3E956C02E}"/>
          </ac:spMkLst>
        </pc:spChg>
        <pc:spChg chg="add del mod">
          <ac:chgData name="Steiner Andreas 6206 ED" userId="e6377c33-a923-4f14-8587-531c474c7b48" providerId="ADAL" clId="{6ECD27E6-B224-41CD-B4E0-E297462320DD}" dt="2023-11-24T08:55:20.097" v="106072"/>
          <ac:spMkLst>
            <pc:docMk/>
            <pc:sldMk cId="1226083679" sldId="2147478575"/>
            <ac:spMk id="693" creationId="{28E04E5A-A11F-B331-CB8E-7A577BD00929}"/>
          </ac:spMkLst>
        </pc:spChg>
        <pc:spChg chg="add del mod">
          <ac:chgData name="Steiner Andreas 6206 ED" userId="e6377c33-a923-4f14-8587-531c474c7b48" providerId="ADAL" clId="{6ECD27E6-B224-41CD-B4E0-E297462320DD}" dt="2023-11-24T08:55:22.022" v="106227"/>
          <ac:spMkLst>
            <pc:docMk/>
            <pc:sldMk cId="1226083679" sldId="2147478575"/>
            <ac:spMk id="694" creationId="{29368D18-543A-F792-4066-34163CF9E674}"/>
          </ac:spMkLst>
        </pc:spChg>
        <pc:spChg chg="add del mod">
          <ac:chgData name="Steiner Andreas 6206 ED" userId="e6377c33-a923-4f14-8587-531c474c7b48" providerId="ADAL" clId="{6ECD27E6-B224-41CD-B4E0-E297462320DD}" dt="2023-11-24T08:55:24.012" v="106382"/>
          <ac:spMkLst>
            <pc:docMk/>
            <pc:sldMk cId="1226083679" sldId="2147478575"/>
            <ac:spMk id="695" creationId="{C2F9777D-912C-3F8E-DF7C-35A210D3FBDA}"/>
          </ac:spMkLst>
        </pc:spChg>
        <pc:spChg chg="add del mod">
          <ac:chgData name="Steiner Andreas 6206 ED" userId="e6377c33-a923-4f14-8587-531c474c7b48" providerId="ADAL" clId="{6ECD27E6-B224-41CD-B4E0-E297462320DD}" dt="2023-11-24T08:55:25.987" v="106537"/>
          <ac:spMkLst>
            <pc:docMk/>
            <pc:sldMk cId="1226083679" sldId="2147478575"/>
            <ac:spMk id="696" creationId="{89EBC33F-B58B-A476-8B13-EDE86CA203E8}"/>
          </ac:spMkLst>
        </pc:spChg>
        <pc:spChg chg="add del mod">
          <ac:chgData name="Steiner Andreas 6206 ED" userId="e6377c33-a923-4f14-8587-531c474c7b48" providerId="ADAL" clId="{6ECD27E6-B224-41CD-B4E0-E297462320DD}" dt="2023-11-24T08:55:28.147" v="106692"/>
          <ac:spMkLst>
            <pc:docMk/>
            <pc:sldMk cId="1226083679" sldId="2147478575"/>
            <ac:spMk id="697" creationId="{3F86891C-C910-303C-936D-495EC99B0527}"/>
          </ac:spMkLst>
        </pc:spChg>
        <pc:spChg chg="add del mod">
          <ac:chgData name="Steiner Andreas 6206 ED" userId="e6377c33-a923-4f14-8587-531c474c7b48" providerId="ADAL" clId="{6ECD27E6-B224-41CD-B4E0-E297462320DD}" dt="2023-11-24T08:55:30.130" v="106847"/>
          <ac:spMkLst>
            <pc:docMk/>
            <pc:sldMk cId="1226083679" sldId="2147478575"/>
            <ac:spMk id="698" creationId="{A166E79D-DE0C-4536-6D17-BEE5C6531EFE}"/>
          </ac:spMkLst>
        </pc:spChg>
        <pc:spChg chg="add del mod">
          <ac:chgData name="Steiner Andreas 6206 ED" userId="e6377c33-a923-4f14-8587-531c474c7b48" providerId="ADAL" clId="{6ECD27E6-B224-41CD-B4E0-E297462320DD}" dt="2023-11-24T08:55:32.268" v="107002"/>
          <ac:spMkLst>
            <pc:docMk/>
            <pc:sldMk cId="1226083679" sldId="2147478575"/>
            <ac:spMk id="699" creationId="{E9D18290-EDBE-B05A-8BFA-90FCAFA3F54F}"/>
          </ac:spMkLst>
        </pc:spChg>
        <pc:spChg chg="add del mod">
          <ac:chgData name="Steiner Andreas 6206 ED" userId="e6377c33-a923-4f14-8587-531c474c7b48" providerId="ADAL" clId="{6ECD27E6-B224-41CD-B4E0-E297462320DD}" dt="2023-11-24T08:55:34.222" v="107157"/>
          <ac:spMkLst>
            <pc:docMk/>
            <pc:sldMk cId="1226083679" sldId="2147478575"/>
            <ac:spMk id="700" creationId="{ECB057DA-0882-3BD2-92A5-5E5677E976FE}"/>
          </ac:spMkLst>
        </pc:spChg>
        <pc:spChg chg="add del mod">
          <ac:chgData name="Steiner Andreas 6206 ED" userId="e6377c33-a923-4f14-8587-531c474c7b48" providerId="ADAL" clId="{6ECD27E6-B224-41CD-B4E0-E297462320DD}" dt="2023-11-24T08:55:36.147" v="107312"/>
          <ac:spMkLst>
            <pc:docMk/>
            <pc:sldMk cId="1226083679" sldId="2147478575"/>
            <ac:spMk id="701" creationId="{00780C8D-D6AC-A823-330F-722C14C720ED}"/>
          </ac:spMkLst>
        </pc:spChg>
        <pc:spChg chg="add del mod">
          <ac:chgData name="Steiner Andreas 6206 ED" userId="e6377c33-a923-4f14-8587-531c474c7b48" providerId="ADAL" clId="{6ECD27E6-B224-41CD-B4E0-E297462320DD}" dt="2023-11-24T08:55:38.164" v="107467"/>
          <ac:spMkLst>
            <pc:docMk/>
            <pc:sldMk cId="1226083679" sldId="2147478575"/>
            <ac:spMk id="702" creationId="{6F11F406-24E8-CD71-BC1C-ADFD3BB4CCA0}"/>
          </ac:spMkLst>
        </pc:spChg>
        <pc:spChg chg="add del mod">
          <ac:chgData name="Steiner Andreas 6206 ED" userId="e6377c33-a923-4f14-8587-531c474c7b48" providerId="ADAL" clId="{6ECD27E6-B224-41CD-B4E0-E297462320DD}" dt="2023-11-24T08:55:40.198" v="107622"/>
          <ac:spMkLst>
            <pc:docMk/>
            <pc:sldMk cId="1226083679" sldId="2147478575"/>
            <ac:spMk id="703" creationId="{E4CC130D-8A01-0614-D65B-A12DD7B3F591}"/>
          </ac:spMkLst>
        </pc:spChg>
        <pc:spChg chg="add del mod">
          <ac:chgData name="Steiner Andreas 6206 ED" userId="e6377c33-a923-4f14-8587-531c474c7b48" providerId="ADAL" clId="{6ECD27E6-B224-41CD-B4E0-E297462320DD}" dt="2023-11-24T08:55:42.127" v="107777"/>
          <ac:spMkLst>
            <pc:docMk/>
            <pc:sldMk cId="1226083679" sldId="2147478575"/>
            <ac:spMk id="704" creationId="{0D822866-C3E2-ABC3-5CB9-4C6A1776993E}"/>
          </ac:spMkLst>
        </pc:spChg>
        <pc:spChg chg="add del mod">
          <ac:chgData name="Steiner Andreas 6206 ED" userId="e6377c33-a923-4f14-8587-531c474c7b48" providerId="ADAL" clId="{6ECD27E6-B224-41CD-B4E0-E297462320DD}" dt="2023-11-24T08:55:44.098" v="107932"/>
          <ac:spMkLst>
            <pc:docMk/>
            <pc:sldMk cId="1226083679" sldId="2147478575"/>
            <ac:spMk id="705" creationId="{64D9DE5B-D52A-7CFE-E80C-32FB24AEAF0B}"/>
          </ac:spMkLst>
        </pc:spChg>
        <pc:spChg chg="add del mod">
          <ac:chgData name="Steiner Andreas 6206 ED" userId="e6377c33-a923-4f14-8587-531c474c7b48" providerId="ADAL" clId="{6ECD27E6-B224-41CD-B4E0-E297462320DD}" dt="2023-11-24T08:55:46.299" v="108087"/>
          <ac:spMkLst>
            <pc:docMk/>
            <pc:sldMk cId="1226083679" sldId="2147478575"/>
            <ac:spMk id="706" creationId="{F0EA04B2-D029-BD23-8CA4-C9BBA77CE2E0}"/>
          </ac:spMkLst>
        </pc:spChg>
        <pc:spChg chg="add del mod">
          <ac:chgData name="Steiner Andreas 6206 ED" userId="e6377c33-a923-4f14-8587-531c474c7b48" providerId="ADAL" clId="{6ECD27E6-B224-41CD-B4E0-E297462320DD}" dt="2023-11-24T08:55:48.552" v="108242"/>
          <ac:spMkLst>
            <pc:docMk/>
            <pc:sldMk cId="1226083679" sldId="2147478575"/>
            <ac:spMk id="707" creationId="{F4947ED5-615C-8674-A5B8-84F4F44A9150}"/>
          </ac:spMkLst>
        </pc:spChg>
        <pc:spChg chg="add del mod">
          <ac:chgData name="Steiner Andreas 6206 ED" userId="e6377c33-a923-4f14-8587-531c474c7b48" providerId="ADAL" clId="{6ECD27E6-B224-41CD-B4E0-E297462320DD}" dt="2023-11-24T08:55:50.980" v="108397"/>
          <ac:spMkLst>
            <pc:docMk/>
            <pc:sldMk cId="1226083679" sldId="2147478575"/>
            <ac:spMk id="708" creationId="{1BF91AE2-5F6F-2E19-8D6D-7A4AE19F3D5B}"/>
          </ac:spMkLst>
        </pc:spChg>
        <pc:spChg chg="add del mod">
          <ac:chgData name="Steiner Andreas 6206 ED" userId="e6377c33-a923-4f14-8587-531c474c7b48" providerId="ADAL" clId="{6ECD27E6-B224-41CD-B4E0-E297462320DD}" dt="2023-11-24T08:55:53.029" v="108552"/>
          <ac:spMkLst>
            <pc:docMk/>
            <pc:sldMk cId="1226083679" sldId="2147478575"/>
            <ac:spMk id="709" creationId="{7A98AAED-C477-6A7F-0E59-F63A587D4128}"/>
          </ac:spMkLst>
        </pc:spChg>
        <pc:spChg chg="add del mod">
          <ac:chgData name="Steiner Andreas 6206 ED" userId="e6377c33-a923-4f14-8587-531c474c7b48" providerId="ADAL" clId="{6ECD27E6-B224-41CD-B4E0-E297462320DD}" dt="2023-11-24T08:55:55.221" v="108707"/>
          <ac:spMkLst>
            <pc:docMk/>
            <pc:sldMk cId="1226083679" sldId="2147478575"/>
            <ac:spMk id="710" creationId="{7A066CFC-E5B7-EED7-0F60-736245F1C768}"/>
          </ac:spMkLst>
        </pc:spChg>
        <pc:spChg chg="add del mod">
          <ac:chgData name="Steiner Andreas 6206 ED" userId="e6377c33-a923-4f14-8587-531c474c7b48" providerId="ADAL" clId="{6ECD27E6-B224-41CD-B4E0-E297462320DD}" dt="2023-11-24T08:55:57.224" v="108862"/>
          <ac:spMkLst>
            <pc:docMk/>
            <pc:sldMk cId="1226083679" sldId="2147478575"/>
            <ac:spMk id="711" creationId="{AA278921-5EE5-7C0C-FF62-6FE81DE491D9}"/>
          </ac:spMkLst>
        </pc:spChg>
        <pc:spChg chg="add del mod">
          <ac:chgData name="Steiner Andreas 6206 ED" userId="e6377c33-a923-4f14-8587-531c474c7b48" providerId="ADAL" clId="{6ECD27E6-B224-41CD-B4E0-E297462320DD}" dt="2023-11-24T08:55:59.313" v="109017"/>
          <ac:spMkLst>
            <pc:docMk/>
            <pc:sldMk cId="1226083679" sldId="2147478575"/>
            <ac:spMk id="712" creationId="{CFB0DC9D-813A-B3D3-74C3-973A59B65F9F}"/>
          </ac:spMkLst>
        </pc:spChg>
        <pc:spChg chg="add del mod">
          <ac:chgData name="Steiner Andreas 6206 ED" userId="e6377c33-a923-4f14-8587-531c474c7b48" providerId="ADAL" clId="{6ECD27E6-B224-41CD-B4E0-E297462320DD}" dt="2023-11-24T08:56:01.601" v="109172"/>
          <ac:spMkLst>
            <pc:docMk/>
            <pc:sldMk cId="1226083679" sldId="2147478575"/>
            <ac:spMk id="713" creationId="{3A339CB6-24B8-9BA4-DE93-18E5DF8471BF}"/>
          </ac:spMkLst>
        </pc:spChg>
        <pc:spChg chg="add del mod">
          <ac:chgData name="Steiner Andreas 6206 ED" userId="e6377c33-a923-4f14-8587-531c474c7b48" providerId="ADAL" clId="{6ECD27E6-B224-41CD-B4E0-E297462320DD}" dt="2023-11-24T08:56:03.917" v="109327"/>
          <ac:spMkLst>
            <pc:docMk/>
            <pc:sldMk cId="1226083679" sldId="2147478575"/>
            <ac:spMk id="714" creationId="{92500C95-5580-B836-D49C-C2E510B1F4AF}"/>
          </ac:spMkLst>
        </pc:spChg>
        <pc:spChg chg="add del mod">
          <ac:chgData name="Steiner Andreas 6206 ED" userId="e6377c33-a923-4f14-8587-531c474c7b48" providerId="ADAL" clId="{6ECD27E6-B224-41CD-B4E0-E297462320DD}" dt="2023-11-24T08:56:06.185" v="109482"/>
          <ac:spMkLst>
            <pc:docMk/>
            <pc:sldMk cId="1226083679" sldId="2147478575"/>
            <ac:spMk id="715" creationId="{4C609398-2808-AC3F-5F99-4F5EE5A7DB4C}"/>
          </ac:spMkLst>
        </pc:spChg>
        <pc:spChg chg="add del mod">
          <ac:chgData name="Steiner Andreas 6206 ED" userId="e6377c33-a923-4f14-8587-531c474c7b48" providerId="ADAL" clId="{6ECD27E6-B224-41CD-B4E0-E297462320DD}" dt="2023-11-24T08:56:08.525" v="109637"/>
          <ac:spMkLst>
            <pc:docMk/>
            <pc:sldMk cId="1226083679" sldId="2147478575"/>
            <ac:spMk id="716" creationId="{CEE73045-FF54-35B6-F5AE-A504E0C5F13F}"/>
          </ac:spMkLst>
        </pc:spChg>
        <pc:spChg chg="add del mod">
          <ac:chgData name="Steiner Andreas 6206 ED" userId="e6377c33-a923-4f14-8587-531c474c7b48" providerId="ADAL" clId="{6ECD27E6-B224-41CD-B4E0-E297462320DD}" dt="2023-11-24T08:56:10.552" v="109792"/>
          <ac:spMkLst>
            <pc:docMk/>
            <pc:sldMk cId="1226083679" sldId="2147478575"/>
            <ac:spMk id="717" creationId="{A4979073-B10E-E645-0DAA-EDAB4BAC51E4}"/>
          </ac:spMkLst>
        </pc:spChg>
        <pc:spChg chg="add del mod">
          <ac:chgData name="Steiner Andreas 6206 ED" userId="e6377c33-a923-4f14-8587-531c474c7b48" providerId="ADAL" clId="{6ECD27E6-B224-41CD-B4E0-E297462320DD}" dt="2023-11-24T08:56:12.653" v="109947"/>
          <ac:spMkLst>
            <pc:docMk/>
            <pc:sldMk cId="1226083679" sldId="2147478575"/>
            <ac:spMk id="718" creationId="{AE7516C1-42AC-C005-A49E-628E6CE7CB53}"/>
          </ac:spMkLst>
        </pc:spChg>
        <pc:spChg chg="add del mod">
          <ac:chgData name="Steiner Andreas 6206 ED" userId="e6377c33-a923-4f14-8587-531c474c7b48" providerId="ADAL" clId="{6ECD27E6-B224-41CD-B4E0-E297462320DD}" dt="2023-11-24T08:56:14.807" v="110102"/>
          <ac:spMkLst>
            <pc:docMk/>
            <pc:sldMk cId="1226083679" sldId="2147478575"/>
            <ac:spMk id="719" creationId="{8F1EA2B7-CA54-D501-C23F-9868C031607A}"/>
          </ac:spMkLst>
        </pc:spChg>
        <pc:spChg chg="add del mod">
          <ac:chgData name="Steiner Andreas 6206 ED" userId="e6377c33-a923-4f14-8587-531c474c7b48" providerId="ADAL" clId="{6ECD27E6-B224-41CD-B4E0-E297462320DD}" dt="2023-11-24T08:56:16.793" v="110257"/>
          <ac:spMkLst>
            <pc:docMk/>
            <pc:sldMk cId="1226083679" sldId="2147478575"/>
            <ac:spMk id="720" creationId="{5E7DB72F-5B43-C827-67F0-B19B8C89EECD}"/>
          </ac:spMkLst>
        </pc:spChg>
        <pc:spChg chg="add del mod">
          <ac:chgData name="Steiner Andreas 6206 ED" userId="e6377c33-a923-4f14-8587-531c474c7b48" providerId="ADAL" clId="{6ECD27E6-B224-41CD-B4E0-E297462320DD}" dt="2023-11-24T08:56:18.779" v="110412"/>
          <ac:spMkLst>
            <pc:docMk/>
            <pc:sldMk cId="1226083679" sldId="2147478575"/>
            <ac:spMk id="721" creationId="{9BBBF2FC-AB63-916D-86F8-5DAD7732E87C}"/>
          </ac:spMkLst>
        </pc:spChg>
        <pc:spChg chg="add del mod">
          <ac:chgData name="Steiner Andreas 6206 ED" userId="e6377c33-a923-4f14-8587-531c474c7b48" providerId="ADAL" clId="{6ECD27E6-B224-41CD-B4E0-E297462320DD}" dt="2023-11-24T08:56:20.728" v="110567"/>
          <ac:spMkLst>
            <pc:docMk/>
            <pc:sldMk cId="1226083679" sldId="2147478575"/>
            <ac:spMk id="722" creationId="{6E5C63FF-4DCC-8B06-4DC1-54BE3EFC5401}"/>
          </ac:spMkLst>
        </pc:spChg>
        <pc:spChg chg="add del mod">
          <ac:chgData name="Steiner Andreas 6206 ED" userId="e6377c33-a923-4f14-8587-531c474c7b48" providerId="ADAL" clId="{6ECD27E6-B224-41CD-B4E0-E297462320DD}" dt="2023-11-24T08:56:22.797" v="110722"/>
          <ac:spMkLst>
            <pc:docMk/>
            <pc:sldMk cId="1226083679" sldId="2147478575"/>
            <ac:spMk id="723" creationId="{153F2422-D07C-51E4-A0BE-883A54462EA5}"/>
          </ac:spMkLst>
        </pc:spChg>
        <pc:spChg chg="add del mod">
          <ac:chgData name="Steiner Andreas 6206 ED" userId="e6377c33-a923-4f14-8587-531c474c7b48" providerId="ADAL" clId="{6ECD27E6-B224-41CD-B4E0-E297462320DD}" dt="2023-11-24T08:56:25.039" v="110877"/>
          <ac:spMkLst>
            <pc:docMk/>
            <pc:sldMk cId="1226083679" sldId="2147478575"/>
            <ac:spMk id="724" creationId="{4A13CCC7-67D9-3B05-B78E-25D669039ABA}"/>
          </ac:spMkLst>
        </pc:spChg>
        <pc:spChg chg="add del mod">
          <ac:chgData name="Steiner Andreas 6206 ED" userId="e6377c33-a923-4f14-8587-531c474c7b48" providerId="ADAL" clId="{6ECD27E6-B224-41CD-B4E0-E297462320DD}" dt="2023-11-24T08:56:27.075" v="111032"/>
          <ac:spMkLst>
            <pc:docMk/>
            <pc:sldMk cId="1226083679" sldId="2147478575"/>
            <ac:spMk id="725" creationId="{E635ACA7-AF7B-8B0D-E140-1329ED351E7C}"/>
          </ac:spMkLst>
        </pc:spChg>
        <pc:spChg chg="add del mod">
          <ac:chgData name="Steiner Andreas 6206 ED" userId="e6377c33-a923-4f14-8587-531c474c7b48" providerId="ADAL" clId="{6ECD27E6-B224-41CD-B4E0-E297462320DD}" dt="2023-11-24T08:56:29.084" v="111187"/>
          <ac:spMkLst>
            <pc:docMk/>
            <pc:sldMk cId="1226083679" sldId="2147478575"/>
            <ac:spMk id="726" creationId="{41A1F46C-ADA5-6D9D-61BC-87B0A255FB1A}"/>
          </ac:spMkLst>
        </pc:spChg>
        <pc:spChg chg="add del mod">
          <ac:chgData name="Steiner Andreas 6206 ED" userId="e6377c33-a923-4f14-8587-531c474c7b48" providerId="ADAL" clId="{6ECD27E6-B224-41CD-B4E0-E297462320DD}" dt="2023-11-24T08:56:31.211" v="111342"/>
          <ac:spMkLst>
            <pc:docMk/>
            <pc:sldMk cId="1226083679" sldId="2147478575"/>
            <ac:spMk id="727" creationId="{12338086-5820-B1E7-FED6-2DCBFF1A9782}"/>
          </ac:spMkLst>
        </pc:spChg>
        <pc:spChg chg="add del mod">
          <ac:chgData name="Steiner Andreas 6206 ED" userId="e6377c33-a923-4f14-8587-531c474c7b48" providerId="ADAL" clId="{6ECD27E6-B224-41CD-B4E0-E297462320DD}" dt="2023-11-24T08:56:33.367" v="111497"/>
          <ac:spMkLst>
            <pc:docMk/>
            <pc:sldMk cId="1226083679" sldId="2147478575"/>
            <ac:spMk id="728" creationId="{30F1782F-7974-48F3-4623-5DCEC467EC0C}"/>
          </ac:spMkLst>
        </pc:spChg>
        <pc:spChg chg="add del mod">
          <ac:chgData name="Steiner Andreas 6206 ED" userId="e6377c33-a923-4f14-8587-531c474c7b48" providerId="ADAL" clId="{6ECD27E6-B224-41CD-B4E0-E297462320DD}" dt="2023-11-24T08:56:35.570" v="111652"/>
          <ac:spMkLst>
            <pc:docMk/>
            <pc:sldMk cId="1226083679" sldId="2147478575"/>
            <ac:spMk id="729" creationId="{43B0AF62-D24A-BBB7-35C2-A6C8882ACDC9}"/>
          </ac:spMkLst>
        </pc:spChg>
        <pc:spChg chg="add del mod">
          <ac:chgData name="Steiner Andreas 6206 ED" userId="e6377c33-a923-4f14-8587-531c474c7b48" providerId="ADAL" clId="{6ECD27E6-B224-41CD-B4E0-E297462320DD}" dt="2023-11-24T08:56:37.693" v="111807"/>
          <ac:spMkLst>
            <pc:docMk/>
            <pc:sldMk cId="1226083679" sldId="2147478575"/>
            <ac:spMk id="730" creationId="{0B9540CD-E769-4699-DC80-532DAD8CBB40}"/>
          </ac:spMkLst>
        </pc:spChg>
        <pc:spChg chg="add del mod">
          <ac:chgData name="Steiner Andreas 6206 ED" userId="e6377c33-a923-4f14-8587-531c474c7b48" providerId="ADAL" clId="{6ECD27E6-B224-41CD-B4E0-E297462320DD}" dt="2023-11-24T08:56:39.847" v="111962"/>
          <ac:spMkLst>
            <pc:docMk/>
            <pc:sldMk cId="1226083679" sldId="2147478575"/>
            <ac:spMk id="731" creationId="{83C25751-0E34-B073-B373-17B3A044618B}"/>
          </ac:spMkLst>
        </pc:spChg>
        <pc:spChg chg="add del mod">
          <ac:chgData name="Steiner Andreas 6206 ED" userId="e6377c33-a923-4f14-8587-531c474c7b48" providerId="ADAL" clId="{6ECD27E6-B224-41CD-B4E0-E297462320DD}" dt="2023-11-24T08:56:41.801" v="112117"/>
          <ac:spMkLst>
            <pc:docMk/>
            <pc:sldMk cId="1226083679" sldId="2147478575"/>
            <ac:spMk id="732" creationId="{BC8D3E39-120A-B4B0-ABCA-664D4F80C021}"/>
          </ac:spMkLst>
        </pc:spChg>
        <pc:spChg chg="add del mod">
          <ac:chgData name="Steiner Andreas 6206 ED" userId="e6377c33-a923-4f14-8587-531c474c7b48" providerId="ADAL" clId="{6ECD27E6-B224-41CD-B4E0-E297462320DD}" dt="2023-11-24T08:56:43.782" v="112272"/>
          <ac:spMkLst>
            <pc:docMk/>
            <pc:sldMk cId="1226083679" sldId="2147478575"/>
            <ac:spMk id="733" creationId="{EE071B74-67AA-70CC-23F5-972E2BD66B00}"/>
          </ac:spMkLst>
        </pc:spChg>
        <pc:spChg chg="add del mod">
          <ac:chgData name="Steiner Andreas 6206 ED" userId="e6377c33-a923-4f14-8587-531c474c7b48" providerId="ADAL" clId="{6ECD27E6-B224-41CD-B4E0-E297462320DD}" dt="2023-11-24T08:56:45.822" v="112427"/>
          <ac:spMkLst>
            <pc:docMk/>
            <pc:sldMk cId="1226083679" sldId="2147478575"/>
            <ac:spMk id="734" creationId="{63D88FCE-93E6-79A1-C5F5-096324EE0907}"/>
          </ac:spMkLst>
        </pc:spChg>
        <pc:spChg chg="add del mod">
          <ac:chgData name="Steiner Andreas 6206 ED" userId="e6377c33-a923-4f14-8587-531c474c7b48" providerId="ADAL" clId="{6ECD27E6-B224-41CD-B4E0-E297462320DD}" dt="2023-11-24T08:56:48.037" v="112582"/>
          <ac:spMkLst>
            <pc:docMk/>
            <pc:sldMk cId="1226083679" sldId="2147478575"/>
            <ac:spMk id="735" creationId="{45D2FF21-DBB5-0339-5463-50A414643CA5}"/>
          </ac:spMkLst>
        </pc:spChg>
        <pc:spChg chg="add del mod">
          <ac:chgData name="Steiner Andreas 6206 ED" userId="e6377c33-a923-4f14-8587-531c474c7b48" providerId="ADAL" clId="{6ECD27E6-B224-41CD-B4E0-E297462320DD}" dt="2023-11-24T08:56:50.095" v="112737"/>
          <ac:spMkLst>
            <pc:docMk/>
            <pc:sldMk cId="1226083679" sldId="2147478575"/>
            <ac:spMk id="736" creationId="{57CA17AC-4507-A03B-EFE2-55537DA8FE77}"/>
          </ac:spMkLst>
        </pc:spChg>
        <pc:spChg chg="add del mod">
          <ac:chgData name="Steiner Andreas 6206 ED" userId="e6377c33-a923-4f14-8587-531c474c7b48" providerId="ADAL" clId="{6ECD27E6-B224-41CD-B4E0-E297462320DD}" dt="2023-11-24T08:56:52.014" v="112892"/>
          <ac:spMkLst>
            <pc:docMk/>
            <pc:sldMk cId="1226083679" sldId="2147478575"/>
            <ac:spMk id="737" creationId="{6E3267C9-E447-CA72-78F7-32A53D903622}"/>
          </ac:spMkLst>
        </pc:spChg>
        <pc:spChg chg="add del mod">
          <ac:chgData name="Steiner Andreas 6206 ED" userId="e6377c33-a923-4f14-8587-531c474c7b48" providerId="ADAL" clId="{6ECD27E6-B224-41CD-B4E0-E297462320DD}" dt="2023-11-24T08:56:53.979" v="113047"/>
          <ac:spMkLst>
            <pc:docMk/>
            <pc:sldMk cId="1226083679" sldId="2147478575"/>
            <ac:spMk id="738" creationId="{C7AA9F00-8F4A-1EA2-4FBA-3F93B67844FE}"/>
          </ac:spMkLst>
        </pc:spChg>
        <pc:spChg chg="add del mod">
          <ac:chgData name="Steiner Andreas 6206 ED" userId="e6377c33-a923-4f14-8587-531c474c7b48" providerId="ADAL" clId="{6ECD27E6-B224-41CD-B4E0-E297462320DD}" dt="2023-11-24T08:56:56.115" v="113202"/>
          <ac:spMkLst>
            <pc:docMk/>
            <pc:sldMk cId="1226083679" sldId="2147478575"/>
            <ac:spMk id="739" creationId="{945AD3A8-E79C-0916-6F28-4A0739CE5F49}"/>
          </ac:spMkLst>
        </pc:spChg>
        <pc:spChg chg="add del mod">
          <ac:chgData name="Steiner Andreas 6206 ED" userId="e6377c33-a923-4f14-8587-531c474c7b48" providerId="ADAL" clId="{6ECD27E6-B224-41CD-B4E0-E297462320DD}" dt="2023-11-24T08:56:58.162" v="113357"/>
          <ac:spMkLst>
            <pc:docMk/>
            <pc:sldMk cId="1226083679" sldId="2147478575"/>
            <ac:spMk id="740" creationId="{80E5FCC3-CBAB-BBB4-392F-B0B383D50787}"/>
          </ac:spMkLst>
        </pc:spChg>
        <pc:spChg chg="add del mod">
          <ac:chgData name="Steiner Andreas 6206 ED" userId="e6377c33-a923-4f14-8587-531c474c7b48" providerId="ADAL" clId="{6ECD27E6-B224-41CD-B4E0-E297462320DD}" dt="2023-11-24T08:57:00.523" v="113512"/>
          <ac:spMkLst>
            <pc:docMk/>
            <pc:sldMk cId="1226083679" sldId="2147478575"/>
            <ac:spMk id="741" creationId="{DB786B7F-526E-DFB6-0D6C-D2C95B270745}"/>
          </ac:spMkLst>
        </pc:spChg>
        <pc:spChg chg="add del mod">
          <ac:chgData name="Steiner Andreas 6206 ED" userId="e6377c33-a923-4f14-8587-531c474c7b48" providerId="ADAL" clId="{6ECD27E6-B224-41CD-B4E0-E297462320DD}" dt="2023-11-24T08:57:02.721" v="113667"/>
          <ac:spMkLst>
            <pc:docMk/>
            <pc:sldMk cId="1226083679" sldId="2147478575"/>
            <ac:spMk id="742" creationId="{E68A8C64-9F8D-F2D6-01BA-3AD1731BA413}"/>
          </ac:spMkLst>
        </pc:spChg>
        <pc:spChg chg="add del mod">
          <ac:chgData name="Steiner Andreas 6206 ED" userId="e6377c33-a923-4f14-8587-531c474c7b48" providerId="ADAL" clId="{6ECD27E6-B224-41CD-B4E0-E297462320DD}" dt="2023-11-24T09:02:21.341" v="113822"/>
          <ac:spMkLst>
            <pc:docMk/>
            <pc:sldMk cId="1226083679" sldId="2147478575"/>
            <ac:spMk id="743" creationId="{968EF283-0DEE-CBC7-492B-52D00B19E821}"/>
          </ac:spMkLst>
        </pc:spChg>
        <pc:spChg chg="add del mod">
          <ac:chgData name="Steiner Andreas 6206 ED" userId="e6377c33-a923-4f14-8587-531c474c7b48" providerId="ADAL" clId="{6ECD27E6-B224-41CD-B4E0-E297462320DD}" dt="2023-11-24T09:02:27.183" v="113977"/>
          <ac:spMkLst>
            <pc:docMk/>
            <pc:sldMk cId="1226083679" sldId="2147478575"/>
            <ac:spMk id="744" creationId="{8CDF471B-A9C5-974B-7FA2-0AD9FEF405F3}"/>
          </ac:spMkLst>
        </pc:spChg>
        <pc:spChg chg="add del mod">
          <ac:chgData name="Steiner Andreas 6206 ED" userId="e6377c33-a923-4f14-8587-531c474c7b48" providerId="ADAL" clId="{6ECD27E6-B224-41CD-B4E0-E297462320DD}" dt="2023-11-24T09:02:29.583" v="114132"/>
          <ac:spMkLst>
            <pc:docMk/>
            <pc:sldMk cId="1226083679" sldId="2147478575"/>
            <ac:spMk id="745" creationId="{7D07D590-1B7F-6A77-C8A1-F971CFB1F5B3}"/>
          </ac:spMkLst>
        </pc:spChg>
        <pc:spChg chg="add del mod">
          <ac:chgData name="Steiner Andreas 6206 ED" userId="e6377c33-a923-4f14-8587-531c474c7b48" providerId="ADAL" clId="{6ECD27E6-B224-41CD-B4E0-E297462320DD}" dt="2023-11-24T09:02:32.824" v="114287"/>
          <ac:spMkLst>
            <pc:docMk/>
            <pc:sldMk cId="1226083679" sldId="2147478575"/>
            <ac:spMk id="746" creationId="{A2F52F19-A353-7EDA-92F8-0716D86D217F}"/>
          </ac:spMkLst>
        </pc:spChg>
        <pc:spChg chg="add del mod">
          <ac:chgData name="Steiner Andreas 6206 ED" userId="e6377c33-a923-4f14-8587-531c474c7b48" providerId="ADAL" clId="{6ECD27E6-B224-41CD-B4E0-E297462320DD}" dt="2023-11-24T09:02:36.243" v="114442"/>
          <ac:spMkLst>
            <pc:docMk/>
            <pc:sldMk cId="1226083679" sldId="2147478575"/>
            <ac:spMk id="747" creationId="{446BAEAC-536C-59D2-C7B4-6463E1171CB8}"/>
          </ac:spMkLst>
        </pc:spChg>
        <pc:spChg chg="add del mod">
          <ac:chgData name="Steiner Andreas 6206 ED" userId="e6377c33-a923-4f14-8587-531c474c7b48" providerId="ADAL" clId="{6ECD27E6-B224-41CD-B4E0-E297462320DD}" dt="2023-11-24T11:31:22.110" v="114597"/>
          <ac:spMkLst>
            <pc:docMk/>
            <pc:sldMk cId="1226083679" sldId="2147478575"/>
            <ac:spMk id="748" creationId="{B07F0441-E423-291B-3B7E-125C81A9EC18}"/>
          </ac:spMkLst>
        </pc:spChg>
        <pc:spChg chg="add del mod">
          <ac:chgData name="Steiner Andreas 6206 ED" userId="e6377c33-a923-4f14-8587-531c474c7b48" providerId="ADAL" clId="{6ECD27E6-B224-41CD-B4E0-E297462320DD}" dt="2023-11-24T11:33:29.462" v="114752"/>
          <ac:spMkLst>
            <pc:docMk/>
            <pc:sldMk cId="1226083679" sldId="2147478575"/>
            <ac:spMk id="749" creationId="{79ED5D1B-C769-D8BE-AAC3-C89F14B7F97D}"/>
          </ac:spMkLst>
        </pc:spChg>
        <pc:spChg chg="add del mod">
          <ac:chgData name="Steiner Andreas 6206 ED" userId="e6377c33-a923-4f14-8587-531c474c7b48" providerId="ADAL" clId="{6ECD27E6-B224-41CD-B4E0-E297462320DD}" dt="2023-11-24T11:33:35.941" v="114907"/>
          <ac:spMkLst>
            <pc:docMk/>
            <pc:sldMk cId="1226083679" sldId="2147478575"/>
            <ac:spMk id="750" creationId="{BB9CE217-88D9-D7B0-6DFD-34391074F482}"/>
          </ac:spMkLst>
        </pc:spChg>
        <pc:spChg chg="add del mod">
          <ac:chgData name="Steiner Andreas 6206 ED" userId="e6377c33-a923-4f14-8587-531c474c7b48" providerId="ADAL" clId="{6ECD27E6-B224-41CD-B4E0-E297462320DD}" dt="2023-11-24T11:33:39.031" v="115062"/>
          <ac:spMkLst>
            <pc:docMk/>
            <pc:sldMk cId="1226083679" sldId="2147478575"/>
            <ac:spMk id="751" creationId="{8F7B7443-D321-8BE2-B6DC-6FD3C02B9765}"/>
          </ac:spMkLst>
        </pc:spChg>
        <pc:spChg chg="add del mod">
          <ac:chgData name="Steiner Andreas 6206 ED" userId="e6377c33-a923-4f14-8587-531c474c7b48" providerId="ADAL" clId="{6ECD27E6-B224-41CD-B4E0-E297462320DD}" dt="2023-11-24T11:33:42.533" v="115217"/>
          <ac:spMkLst>
            <pc:docMk/>
            <pc:sldMk cId="1226083679" sldId="2147478575"/>
            <ac:spMk id="752" creationId="{2AF2CC96-FFD6-22C9-0A42-7B25AEC9FE3F}"/>
          </ac:spMkLst>
        </pc:spChg>
        <pc:spChg chg="add del mod">
          <ac:chgData name="Steiner Andreas 6206 ED" userId="e6377c33-a923-4f14-8587-531c474c7b48" providerId="ADAL" clId="{6ECD27E6-B224-41CD-B4E0-E297462320DD}" dt="2023-11-24T11:33:45.793" v="115372"/>
          <ac:spMkLst>
            <pc:docMk/>
            <pc:sldMk cId="1226083679" sldId="2147478575"/>
            <ac:spMk id="753" creationId="{A0D437C6-A6C1-9BC7-FEF2-A4E7653AC6BF}"/>
          </ac:spMkLst>
        </pc:spChg>
        <pc:spChg chg="add del mod">
          <ac:chgData name="Steiner Andreas 6206 ED" userId="e6377c33-a923-4f14-8587-531c474c7b48" providerId="ADAL" clId="{6ECD27E6-B224-41CD-B4E0-E297462320DD}" dt="2023-11-24T11:33:48.963" v="115527"/>
          <ac:spMkLst>
            <pc:docMk/>
            <pc:sldMk cId="1226083679" sldId="2147478575"/>
            <ac:spMk id="754" creationId="{843E1369-9A36-ED60-4FDE-1FA814C07117}"/>
          </ac:spMkLst>
        </pc:spChg>
        <pc:spChg chg="add del mod">
          <ac:chgData name="Steiner Andreas 6206 ED" userId="e6377c33-a923-4f14-8587-531c474c7b48" providerId="ADAL" clId="{6ECD27E6-B224-41CD-B4E0-E297462320DD}" dt="2023-11-24T11:33:51.655" v="115682"/>
          <ac:spMkLst>
            <pc:docMk/>
            <pc:sldMk cId="1226083679" sldId="2147478575"/>
            <ac:spMk id="755" creationId="{AEC49C62-341B-EF9F-C4B9-819FDF6CCFC5}"/>
          </ac:spMkLst>
        </pc:spChg>
        <pc:spChg chg="add del mod">
          <ac:chgData name="Steiner Andreas 6206 ED" userId="e6377c33-a923-4f14-8587-531c474c7b48" providerId="ADAL" clId="{6ECD27E6-B224-41CD-B4E0-E297462320DD}" dt="2023-11-24T11:33:54.494" v="115837"/>
          <ac:spMkLst>
            <pc:docMk/>
            <pc:sldMk cId="1226083679" sldId="2147478575"/>
            <ac:spMk id="756" creationId="{C74F88E9-0820-C94C-C225-A1A652CD78D6}"/>
          </ac:spMkLst>
        </pc:spChg>
        <pc:spChg chg="add del mod">
          <ac:chgData name="Steiner Andreas 6206 ED" userId="e6377c33-a923-4f14-8587-531c474c7b48" providerId="ADAL" clId="{6ECD27E6-B224-41CD-B4E0-E297462320DD}" dt="2023-11-24T11:33:57.065" v="115992"/>
          <ac:spMkLst>
            <pc:docMk/>
            <pc:sldMk cId="1226083679" sldId="2147478575"/>
            <ac:spMk id="757" creationId="{686FBF1B-9FC7-F611-4E11-12293463F229}"/>
          </ac:spMkLst>
        </pc:spChg>
        <pc:spChg chg="add del mod">
          <ac:chgData name="Steiner Andreas 6206 ED" userId="e6377c33-a923-4f14-8587-531c474c7b48" providerId="ADAL" clId="{6ECD27E6-B224-41CD-B4E0-E297462320DD}" dt="2023-11-24T11:33:59.403" v="116147"/>
          <ac:spMkLst>
            <pc:docMk/>
            <pc:sldMk cId="1226083679" sldId="2147478575"/>
            <ac:spMk id="758" creationId="{48F94060-1BEC-9493-F7BC-EC8E5CD7928F}"/>
          </ac:spMkLst>
        </pc:spChg>
        <pc:spChg chg="add del mod">
          <ac:chgData name="Steiner Andreas 6206 ED" userId="e6377c33-a923-4f14-8587-531c474c7b48" providerId="ADAL" clId="{6ECD27E6-B224-41CD-B4E0-E297462320DD}" dt="2023-11-24T11:34:01.797" v="116302"/>
          <ac:spMkLst>
            <pc:docMk/>
            <pc:sldMk cId="1226083679" sldId="2147478575"/>
            <ac:spMk id="759" creationId="{6E41C43B-300F-F2FE-EC06-8C5B4987853E}"/>
          </ac:spMkLst>
        </pc:spChg>
        <pc:spChg chg="add del mod">
          <ac:chgData name="Steiner Andreas 6206 ED" userId="e6377c33-a923-4f14-8587-531c474c7b48" providerId="ADAL" clId="{6ECD27E6-B224-41CD-B4E0-E297462320DD}" dt="2023-11-24T11:34:04.138" v="116457"/>
          <ac:spMkLst>
            <pc:docMk/>
            <pc:sldMk cId="1226083679" sldId="2147478575"/>
            <ac:spMk id="760" creationId="{E42734E8-522C-A595-B1C9-17246620BDB7}"/>
          </ac:spMkLst>
        </pc:spChg>
        <pc:spChg chg="add del mod">
          <ac:chgData name="Steiner Andreas 6206 ED" userId="e6377c33-a923-4f14-8587-531c474c7b48" providerId="ADAL" clId="{6ECD27E6-B224-41CD-B4E0-E297462320DD}" dt="2023-11-24T11:34:06.554" v="116612"/>
          <ac:spMkLst>
            <pc:docMk/>
            <pc:sldMk cId="1226083679" sldId="2147478575"/>
            <ac:spMk id="761" creationId="{21578751-D40B-CB06-64D2-A2FEABCD02BE}"/>
          </ac:spMkLst>
        </pc:spChg>
        <pc:spChg chg="add del mod">
          <ac:chgData name="Steiner Andreas 6206 ED" userId="e6377c33-a923-4f14-8587-531c474c7b48" providerId="ADAL" clId="{6ECD27E6-B224-41CD-B4E0-E297462320DD}" dt="2023-11-24T11:34:09.142" v="116767"/>
          <ac:spMkLst>
            <pc:docMk/>
            <pc:sldMk cId="1226083679" sldId="2147478575"/>
            <ac:spMk id="762" creationId="{0F4391DB-895A-58DB-278D-382BB5ADF4D5}"/>
          </ac:spMkLst>
        </pc:spChg>
        <pc:spChg chg="add del mod">
          <ac:chgData name="Steiner Andreas 6206 ED" userId="e6377c33-a923-4f14-8587-531c474c7b48" providerId="ADAL" clId="{6ECD27E6-B224-41CD-B4E0-E297462320DD}" dt="2023-11-24T11:34:11.277" v="116922"/>
          <ac:spMkLst>
            <pc:docMk/>
            <pc:sldMk cId="1226083679" sldId="2147478575"/>
            <ac:spMk id="763" creationId="{E7B929EE-DF24-66E4-0A7D-985AF0943AE0}"/>
          </ac:spMkLst>
        </pc:spChg>
        <pc:spChg chg="add del mod">
          <ac:chgData name="Steiner Andreas 6206 ED" userId="e6377c33-a923-4f14-8587-531c474c7b48" providerId="ADAL" clId="{6ECD27E6-B224-41CD-B4E0-E297462320DD}" dt="2023-11-24T11:34:13.037" v="117077"/>
          <ac:spMkLst>
            <pc:docMk/>
            <pc:sldMk cId="1226083679" sldId="2147478575"/>
            <ac:spMk id="764" creationId="{E1F98F14-4473-DF39-63CA-4558EDE692C5}"/>
          </ac:spMkLst>
        </pc:spChg>
        <pc:spChg chg="add del mod">
          <ac:chgData name="Steiner Andreas 6206 ED" userId="e6377c33-a923-4f14-8587-531c474c7b48" providerId="ADAL" clId="{6ECD27E6-B224-41CD-B4E0-E297462320DD}" dt="2023-11-24T11:34:14.813" v="117232"/>
          <ac:spMkLst>
            <pc:docMk/>
            <pc:sldMk cId="1226083679" sldId="2147478575"/>
            <ac:spMk id="765" creationId="{D9093BE1-EBCC-2ACE-2619-C717832ACA07}"/>
          </ac:spMkLst>
        </pc:spChg>
        <pc:spChg chg="add del mod">
          <ac:chgData name="Steiner Andreas 6206 ED" userId="e6377c33-a923-4f14-8587-531c474c7b48" providerId="ADAL" clId="{6ECD27E6-B224-41CD-B4E0-E297462320DD}" dt="2023-11-24T11:34:16.585" v="117387"/>
          <ac:spMkLst>
            <pc:docMk/>
            <pc:sldMk cId="1226083679" sldId="2147478575"/>
            <ac:spMk id="766" creationId="{F05FC8DC-ADB9-8E72-B4B8-901C61D9E72A}"/>
          </ac:spMkLst>
        </pc:spChg>
        <pc:spChg chg="add del mod">
          <ac:chgData name="Steiner Andreas 6206 ED" userId="e6377c33-a923-4f14-8587-531c474c7b48" providerId="ADAL" clId="{6ECD27E6-B224-41CD-B4E0-E297462320DD}" dt="2023-11-24T11:34:18.425" v="117542"/>
          <ac:spMkLst>
            <pc:docMk/>
            <pc:sldMk cId="1226083679" sldId="2147478575"/>
            <ac:spMk id="767" creationId="{9B8690A9-396F-56F4-9519-80280A34529D}"/>
          </ac:spMkLst>
        </pc:spChg>
        <pc:spChg chg="add del mod">
          <ac:chgData name="Steiner Andreas 6206 ED" userId="e6377c33-a923-4f14-8587-531c474c7b48" providerId="ADAL" clId="{6ECD27E6-B224-41CD-B4E0-E297462320DD}" dt="2023-11-24T11:34:20.459" v="117697"/>
          <ac:spMkLst>
            <pc:docMk/>
            <pc:sldMk cId="1226083679" sldId="2147478575"/>
            <ac:spMk id="768" creationId="{B13E88B4-7B0F-672E-06BD-BC98D43E92AF}"/>
          </ac:spMkLst>
        </pc:spChg>
        <pc:spChg chg="add del mod">
          <ac:chgData name="Steiner Andreas 6206 ED" userId="e6377c33-a923-4f14-8587-531c474c7b48" providerId="ADAL" clId="{6ECD27E6-B224-41CD-B4E0-E297462320DD}" dt="2023-11-24T11:34:22.461" v="117852"/>
          <ac:spMkLst>
            <pc:docMk/>
            <pc:sldMk cId="1226083679" sldId="2147478575"/>
            <ac:spMk id="769" creationId="{30CC2C11-A411-56A7-D091-8EBBBF931E0C}"/>
          </ac:spMkLst>
        </pc:spChg>
        <pc:spChg chg="add del mod">
          <ac:chgData name="Steiner Andreas 6206 ED" userId="e6377c33-a923-4f14-8587-531c474c7b48" providerId="ADAL" clId="{6ECD27E6-B224-41CD-B4E0-E297462320DD}" dt="2023-11-24T11:34:24.566" v="118007"/>
          <ac:spMkLst>
            <pc:docMk/>
            <pc:sldMk cId="1226083679" sldId="2147478575"/>
            <ac:spMk id="770" creationId="{FD0441DB-E459-9113-1CE9-32DC819116D7}"/>
          </ac:spMkLst>
        </pc:spChg>
        <pc:spChg chg="add del mod">
          <ac:chgData name="Steiner Andreas 6206 ED" userId="e6377c33-a923-4f14-8587-531c474c7b48" providerId="ADAL" clId="{6ECD27E6-B224-41CD-B4E0-E297462320DD}" dt="2023-11-24T11:34:26.936" v="118162"/>
          <ac:spMkLst>
            <pc:docMk/>
            <pc:sldMk cId="1226083679" sldId="2147478575"/>
            <ac:spMk id="771" creationId="{BC349AEB-2C22-D1E8-F232-5290C59CF58E}"/>
          </ac:spMkLst>
        </pc:spChg>
        <pc:spChg chg="add del mod">
          <ac:chgData name="Steiner Andreas 6206 ED" userId="e6377c33-a923-4f14-8587-531c474c7b48" providerId="ADAL" clId="{6ECD27E6-B224-41CD-B4E0-E297462320DD}" dt="2023-11-24T11:34:29.097" v="118317"/>
          <ac:spMkLst>
            <pc:docMk/>
            <pc:sldMk cId="1226083679" sldId="2147478575"/>
            <ac:spMk id="772" creationId="{DFC322A5-773F-317A-2F6E-FE6D0C089DB5}"/>
          </ac:spMkLst>
        </pc:spChg>
        <pc:spChg chg="add del mod">
          <ac:chgData name="Steiner Andreas 6206 ED" userId="e6377c33-a923-4f14-8587-531c474c7b48" providerId="ADAL" clId="{6ECD27E6-B224-41CD-B4E0-E297462320DD}" dt="2023-11-24T11:34:31.363" v="118472"/>
          <ac:spMkLst>
            <pc:docMk/>
            <pc:sldMk cId="1226083679" sldId="2147478575"/>
            <ac:spMk id="773" creationId="{381CFDE1-CE2E-6818-7BB4-73EA2D4A19E7}"/>
          </ac:spMkLst>
        </pc:spChg>
        <pc:spChg chg="add del mod">
          <ac:chgData name="Steiner Andreas 6206 ED" userId="e6377c33-a923-4f14-8587-531c474c7b48" providerId="ADAL" clId="{6ECD27E6-B224-41CD-B4E0-E297462320DD}" dt="2023-11-24T11:34:33.419" v="118627"/>
          <ac:spMkLst>
            <pc:docMk/>
            <pc:sldMk cId="1226083679" sldId="2147478575"/>
            <ac:spMk id="774" creationId="{54F57677-4E4F-C3F1-5AFC-41035F60F205}"/>
          </ac:spMkLst>
        </pc:spChg>
        <pc:spChg chg="add del mod">
          <ac:chgData name="Steiner Andreas 6206 ED" userId="e6377c33-a923-4f14-8587-531c474c7b48" providerId="ADAL" clId="{6ECD27E6-B224-41CD-B4E0-E297462320DD}" dt="2023-11-24T11:34:35.390" v="118782"/>
          <ac:spMkLst>
            <pc:docMk/>
            <pc:sldMk cId="1226083679" sldId="2147478575"/>
            <ac:spMk id="775" creationId="{034585BA-351A-CDB1-3CCF-3CA246B92B77}"/>
          </ac:spMkLst>
        </pc:spChg>
        <pc:spChg chg="add del mod">
          <ac:chgData name="Steiner Andreas 6206 ED" userId="e6377c33-a923-4f14-8587-531c474c7b48" providerId="ADAL" clId="{6ECD27E6-B224-41CD-B4E0-E297462320DD}" dt="2023-11-24T11:34:37.414" v="118937"/>
          <ac:spMkLst>
            <pc:docMk/>
            <pc:sldMk cId="1226083679" sldId="2147478575"/>
            <ac:spMk id="776" creationId="{07A4E6D1-EFB3-9F0F-B631-ADB37D305D33}"/>
          </ac:spMkLst>
        </pc:spChg>
        <pc:spChg chg="add del mod">
          <ac:chgData name="Steiner Andreas 6206 ED" userId="e6377c33-a923-4f14-8587-531c474c7b48" providerId="ADAL" clId="{6ECD27E6-B224-41CD-B4E0-E297462320DD}" dt="2023-11-24T11:34:39.425" v="119092"/>
          <ac:spMkLst>
            <pc:docMk/>
            <pc:sldMk cId="1226083679" sldId="2147478575"/>
            <ac:spMk id="777" creationId="{5CD9EFC3-39F6-098F-76E6-858F5BB7D73F}"/>
          </ac:spMkLst>
        </pc:spChg>
        <pc:spChg chg="add del mod">
          <ac:chgData name="Steiner Andreas 6206 ED" userId="e6377c33-a923-4f14-8587-531c474c7b48" providerId="ADAL" clId="{6ECD27E6-B224-41CD-B4E0-E297462320DD}" dt="2023-11-24T11:34:41.499" v="119247"/>
          <ac:spMkLst>
            <pc:docMk/>
            <pc:sldMk cId="1226083679" sldId="2147478575"/>
            <ac:spMk id="778" creationId="{2F9C4141-C40E-FB82-788D-78D333FCADF9}"/>
          </ac:spMkLst>
        </pc:spChg>
        <pc:spChg chg="add del mod">
          <ac:chgData name="Steiner Andreas 6206 ED" userId="e6377c33-a923-4f14-8587-531c474c7b48" providerId="ADAL" clId="{6ECD27E6-B224-41CD-B4E0-E297462320DD}" dt="2023-11-24T11:34:43.722" v="119402"/>
          <ac:spMkLst>
            <pc:docMk/>
            <pc:sldMk cId="1226083679" sldId="2147478575"/>
            <ac:spMk id="779" creationId="{DBC30DC8-520F-2060-7595-EFD213AECBEA}"/>
          </ac:spMkLst>
        </pc:spChg>
        <pc:spChg chg="add del mod">
          <ac:chgData name="Steiner Andreas 6206 ED" userId="e6377c33-a923-4f14-8587-531c474c7b48" providerId="ADAL" clId="{6ECD27E6-B224-41CD-B4E0-E297462320DD}" dt="2023-11-24T11:34:45.726" v="119557"/>
          <ac:spMkLst>
            <pc:docMk/>
            <pc:sldMk cId="1226083679" sldId="2147478575"/>
            <ac:spMk id="780" creationId="{84F0F600-1989-454B-33EC-29E6EAD9BFBF}"/>
          </ac:spMkLst>
        </pc:spChg>
        <pc:spChg chg="add del mod">
          <ac:chgData name="Steiner Andreas 6206 ED" userId="e6377c33-a923-4f14-8587-531c474c7b48" providerId="ADAL" clId="{6ECD27E6-B224-41CD-B4E0-E297462320DD}" dt="2023-11-24T11:34:47.703" v="119712"/>
          <ac:spMkLst>
            <pc:docMk/>
            <pc:sldMk cId="1226083679" sldId="2147478575"/>
            <ac:spMk id="781" creationId="{59259ECC-E255-0ED2-091A-A3CCB0B1E7AF}"/>
          </ac:spMkLst>
        </pc:spChg>
        <pc:spChg chg="add del mod">
          <ac:chgData name="Steiner Andreas 6206 ED" userId="e6377c33-a923-4f14-8587-531c474c7b48" providerId="ADAL" clId="{6ECD27E6-B224-41CD-B4E0-E297462320DD}" dt="2023-11-24T11:34:49.797" v="119867"/>
          <ac:spMkLst>
            <pc:docMk/>
            <pc:sldMk cId="1226083679" sldId="2147478575"/>
            <ac:spMk id="782" creationId="{726D405A-68E3-FFEB-D2BE-DE25B88D85AB}"/>
          </ac:spMkLst>
        </pc:spChg>
        <pc:spChg chg="add del mod">
          <ac:chgData name="Steiner Andreas 6206 ED" userId="e6377c33-a923-4f14-8587-531c474c7b48" providerId="ADAL" clId="{6ECD27E6-B224-41CD-B4E0-E297462320DD}" dt="2023-11-24T11:34:51.945" v="120022"/>
          <ac:spMkLst>
            <pc:docMk/>
            <pc:sldMk cId="1226083679" sldId="2147478575"/>
            <ac:spMk id="783" creationId="{CB63E573-26D8-A003-5696-2A0AA709E10E}"/>
          </ac:spMkLst>
        </pc:spChg>
        <pc:spChg chg="add del mod">
          <ac:chgData name="Steiner Andreas 6206 ED" userId="e6377c33-a923-4f14-8587-531c474c7b48" providerId="ADAL" clId="{6ECD27E6-B224-41CD-B4E0-E297462320DD}" dt="2023-11-24T11:34:53.946" v="120177"/>
          <ac:spMkLst>
            <pc:docMk/>
            <pc:sldMk cId="1226083679" sldId="2147478575"/>
            <ac:spMk id="784" creationId="{2F6E7E52-01C9-77AA-B08E-0EAE58D03329}"/>
          </ac:spMkLst>
        </pc:spChg>
        <pc:spChg chg="add del mod">
          <ac:chgData name="Steiner Andreas 6206 ED" userId="e6377c33-a923-4f14-8587-531c474c7b48" providerId="ADAL" clId="{6ECD27E6-B224-41CD-B4E0-E297462320DD}" dt="2023-11-24T11:34:55.777" v="120332"/>
          <ac:spMkLst>
            <pc:docMk/>
            <pc:sldMk cId="1226083679" sldId="2147478575"/>
            <ac:spMk id="785" creationId="{60E6E0C3-00F1-21B8-0D40-3B1865AA8D5D}"/>
          </ac:spMkLst>
        </pc:spChg>
        <pc:spChg chg="add del mod">
          <ac:chgData name="Steiner Andreas 6206 ED" userId="e6377c33-a923-4f14-8587-531c474c7b48" providerId="ADAL" clId="{6ECD27E6-B224-41CD-B4E0-E297462320DD}" dt="2023-11-24T11:34:57.624" v="120487"/>
          <ac:spMkLst>
            <pc:docMk/>
            <pc:sldMk cId="1226083679" sldId="2147478575"/>
            <ac:spMk id="786" creationId="{AA75AA41-5F11-349B-9D4A-F043984E474B}"/>
          </ac:spMkLst>
        </pc:spChg>
        <pc:spChg chg="add del mod">
          <ac:chgData name="Steiner Andreas 6206 ED" userId="e6377c33-a923-4f14-8587-531c474c7b48" providerId="ADAL" clId="{6ECD27E6-B224-41CD-B4E0-E297462320DD}" dt="2023-11-24T11:34:59.512" v="120642"/>
          <ac:spMkLst>
            <pc:docMk/>
            <pc:sldMk cId="1226083679" sldId="2147478575"/>
            <ac:spMk id="787" creationId="{6EB027A9-3610-7773-52B4-13D2A5261E9D}"/>
          </ac:spMkLst>
        </pc:spChg>
        <pc:spChg chg="add del mod">
          <ac:chgData name="Steiner Andreas 6206 ED" userId="e6377c33-a923-4f14-8587-531c474c7b48" providerId="ADAL" clId="{6ECD27E6-B224-41CD-B4E0-E297462320DD}" dt="2023-11-24T11:35:01.330" v="120797"/>
          <ac:spMkLst>
            <pc:docMk/>
            <pc:sldMk cId="1226083679" sldId="2147478575"/>
            <ac:spMk id="788" creationId="{926ADE11-B332-F226-E8B9-E2812DC22044}"/>
          </ac:spMkLst>
        </pc:spChg>
        <pc:spChg chg="add del mod">
          <ac:chgData name="Steiner Andreas 6206 ED" userId="e6377c33-a923-4f14-8587-531c474c7b48" providerId="ADAL" clId="{6ECD27E6-B224-41CD-B4E0-E297462320DD}" dt="2023-11-24T11:35:03.223" v="120952"/>
          <ac:spMkLst>
            <pc:docMk/>
            <pc:sldMk cId="1226083679" sldId="2147478575"/>
            <ac:spMk id="789" creationId="{D982E847-9A93-C2FB-329F-4CE19DA3D97A}"/>
          </ac:spMkLst>
        </pc:spChg>
        <pc:spChg chg="add del mod">
          <ac:chgData name="Steiner Andreas 6206 ED" userId="e6377c33-a923-4f14-8587-531c474c7b48" providerId="ADAL" clId="{6ECD27E6-B224-41CD-B4E0-E297462320DD}" dt="2023-11-24T11:35:05.098" v="121107"/>
          <ac:spMkLst>
            <pc:docMk/>
            <pc:sldMk cId="1226083679" sldId="2147478575"/>
            <ac:spMk id="790" creationId="{AE41F91D-E364-9693-3BC2-2F71ECEADFB8}"/>
          </ac:spMkLst>
        </pc:spChg>
        <pc:spChg chg="add del mod">
          <ac:chgData name="Steiner Andreas 6206 ED" userId="e6377c33-a923-4f14-8587-531c474c7b48" providerId="ADAL" clId="{6ECD27E6-B224-41CD-B4E0-E297462320DD}" dt="2023-11-24T11:35:07.208" v="121262"/>
          <ac:spMkLst>
            <pc:docMk/>
            <pc:sldMk cId="1226083679" sldId="2147478575"/>
            <ac:spMk id="791" creationId="{6931A12A-8831-BDB3-CB13-DCEB261AE000}"/>
          </ac:spMkLst>
        </pc:spChg>
        <pc:spChg chg="add del mod">
          <ac:chgData name="Steiner Andreas 6206 ED" userId="e6377c33-a923-4f14-8587-531c474c7b48" providerId="ADAL" clId="{6ECD27E6-B224-41CD-B4E0-E297462320DD}" dt="2023-11-24T11:35:09.273" v="121417"/>
          <ac:spMkLst>
            <pc:docMk/>
            <pc:sldMk cId="1226083679" sldId="2147478575"/>
            <ac:spMk id="792" creationId="{F8061A30-91DF-287C-3F03-3C5AF6AE1E12}"/>
          </ac:spMkLst>
        </pc:spChg>
        <pc:spChg chg="add del mod">
          <ac:chgData name="Steiner Andreas 6206 ED" userId="e6377c33-a923-4f14-8587-531c474c7b48" providerId="ADAL" clId="{6ECD27E6-B224-41CD-B4E0-E297462320DD}" dt="2023-11-24T11:35:11.216" v="121572"/>
          <ac:spMkLst>
            <pc:docMk/>
            <pc:sldMk cId="1226083679" sldId="2147478575"/>
            <ac:spMk id="793" creationId="{B4730974-D9C0-F62A-47EB-7D846E1BD1AB}"/>
          </ac:spMkLst>
        </pc:spChg>
        <pc:spChg chg="add del mod">
          <ac:chgData name="Steiner Andreas 6206 ED" userId="e6377c33-a923-4f14-8587-531c474c7b48" providerId="ADAL" clId="{6ECD27E6-B224-41CD-B4E0-E297462320DD}" dt="2023-11-24T11:35:12.984" v="121727"/>
          <ac:spMkLst>
            <pc:docMk/>
            <pc:sldMk cId="1226083679" sldId="2147478575"/>
            <ac:spMk id="794" creationId="{33EF1ED5-2CCB-51F3-FED5-777F27B41DB8}"/>
          </ac:spMkLst>
        </pc:spChg>
        <pc:spChg chg="add del mod">
          <ac:chgData name="Steiner Andreas 6206 ED" userId="e6377c33-a923-4f14-8587-531c474c7b48" providerId="ADAL" clId="{6ECD27E6-B224-41CD-B4E0-E297462320DD}" dt="2023-11-24T11:35:14.851" v="121882"/>
          <ac:spMkLst>
            <pc:docMk/>
            <pc:sldMk cId="1226083679" sldId="2147478575"/>
            <ac:spMk id="795" creationId="{654136D0-851B-C09F-C123-F932A1FB6432}"/>
          </ac:spMkLst>
        </pc:spChg>
        <pc:spChg chg="add del mod">
          <ac:chgData name="Steiner Andreas 6206 ED" userId="e6377c33-a923-4f14-8587-531c474c7b48" providerId="ADAL" clId="{6ECD27E6-B224-41CD-B4E0-E297462320DD}" dt="2023-11-24T11:35:16.633" v="122037"/>
          <ac:spMkLst>
            <pc:docMk/>
            <pc:sldMk cId="1226083679" sldId="2147478575"/>
            <ac:spMk id="796" creationId="{773DA2E2-793D-6068-C466-71F7B3C200F2}"/>
          </ac:spMkLst>
        </pc:spChg>
        <pc:spChg chg="add del mod">
          <ac:chgData name="Steiner Andreas 6206 ED" userId="e6377c33-a923-4f14-8587-531c474c7b48" providerId="ADAL" clId="{6ECD27E6-B224-41CD-B4E0-E297462320DD}" dt="2023-11-24T11:35:18.347" v="122192"/>
          <ac:spMkLst>
            <pc:docMk/>
            <pc:sldMk cId="1226083679" sldId="2147478575"/>
            <ac:spMk id="797" creationId="{1BF2B84A-4FC5-2D99-9270-15299DF68FA0}"/>
          </ac:spMkLst>
        </pc:spChg>
        <pc:spChg chg="add del mod">
          <ac:chgData name="Steiner Andreas 6206 ED" userId="e6377c33-a923-4f14-8587-531c474c7b48" providerId="ADAL" clId="{6ECD27E6-B224-41CD-B4E0-E297462320DD}" dt="2023-11-24T11:35:19.969" v="122347"/>
          <ac:spMkLst>
            <pc:docMk/>
            <pc:sldMk cId="1226083679" sldId="2147478575"/>
            <ac:spMk id="798" creationId="{C2A5EB61-C8F2-E50C-9775-2C70BA6AEB2D}"/>
          </ac:spMkLst>
        </pc:spChg>
        <pc:spChg chg="add del mod">
          <ac:chgData name="Steiner Andreas 6206 ED" userId="e6377c33-a923-4f14-8587-531c474c7b48" providerId="ADAL" clId="{6ECD27E6-B224-41CD-B4E0-E297462320DD}" dt="2023-11-24T11:35:21.596" v="122502"/>
          <ac:spMkLst>
            <pc:docMk/>
            <pc:sldMk cId="1226083679" sldId="2147478575"/>
            <ac:spMk id="799" creationId="{288A5A8F-F2B4-5673-7E0F-55C33AD9AAB7}"/>
          </ac:spMkLst>
        </pc:spChg>
        <pc:spChg chg="add del mod">
          <ac:chgData name="Steiner Andreas 6206 ED" userId="e6377c33-a923-4f14-8587-531c474c7b48" providerId="ADAL" clId="{6ECD27E6-B224-41CD-B4E0-E297462320DD}" dt="2023-11-24T11:35:23.286" v="122657"/>
          <ac:spMkLst>
            <pc:docMk/>
            <pc:sldMk cId="1226083679" sldId="2147478575"/>
            <ac:spMk id="800" creationId="{8F91247D-935A-233F-6DFC-5F5516A7D603}"/>
          </ac:spMkLst>
        </pc:spChg>
        <pc:spChg chg="add del mod">
          <ac:chgData name="Steiner Andreas 6206 ED" userId="e6377c33-a923-4f14-8587-531c474c7b48" providerId="ADAL" clId="{6ECD27E6-B224-41CD-B4E0-E297462320DD}" dt="2023-11-24T11:35:25.203" v="122812"/>
          <ac:spMkLst>
            <pc:docMk/>
            <pc:sldMk cId="1226083679" sldId="2147478575"/>
            <ac:spMk id="801" creationId="{A1C5FDA6-4B49-30FD-9A50-9C3AA69B02B9}"/>
          </ac:spMkLst>
        </pc:spChg>
        <pc:spChg chg="add del mod">
          <ac:chgData name="Steiner Andreas 6206 ED" userId="e6377c33-a923-4f14-8587-531c474c7b48" providerId="ADAL" clId="{6ECD27E6-B224-41CD-B4E0-E297462320DD}" dt="2023-11-24T11:35:27.318" v="122967"/>
          <ac:spMkLst>
            <pc:docMk/>
            <pc:sldMk cId="1226083679" sldId="2147478575"/>
            <ac:spMk id="802" creationId="{339E2E23-71DD-1534-670E-3FA8CE273DA4}"/>
          </ac:spMkLst>
        </pc:spChg>
        <pc:spChg chg="add del mod">
          <ac:chgData name="Steiner Andreas 6206 ED" userId="e6377c33-a923-4f14-8587-531c474c7b48" providerId="ADAL" clId="{6ECD27E6-B224-41CD-B4E0-E297462320DD}" dt="2023-11-24T11:35:29.203" v="123122"/>
          <ac:spMkLst>
            <pc:docMk/>
            <pc:sldMk cId="1226083679" sldId="2147478575"/>
            <ac:spMk id="803" creationId="{1C2A2E74-969B-EE8D-8059-35FB675C5CA8}"/>
          </ac:spMkLst>
        </pc:spChg>
        <pc:spChg chg="add del mod">
          <ac:chgData name="Steiner Andreas 6206 ED" userId="e6377c33-a923-4f14-8587-531c474c7b48" providerId="ADAL" clId="{6ECD27E6-B224-41CD-B4E0-E297462320DD}" dt="2023-11-24T11:35:30.977" v="123277"/>
          <ac:spMkLst>
            <pc:docMk/>
            <pc:sldMk cId="1226083679" sldId="2147478575"/>
            <ac:spMk id="804" creationId="{E3BA56CF-BB40-2B73-97A6-7C1548590765}"/>
          </ac:spMkLst>
        </pc:spChg>
        <pc:spChg chg="add del mod">
          <ac:chgData name="Steiner Andreas 6206 ED" userId="e6377c33-a923-4f14-8587-531c474c7b48" providerId="ADAL" clId="{6ECD27E6-B224-41CD-B4E0-E297462320DD}" dt="2023-11-24T11:35:33.830" v="123432"/>
          <ac:spMkLst>
            <pc:docMk/>
            <pc:sldMk cId="1226083679" sldId="2147478575"/>
            <ac:spMk id="805" creationId="{61407B13-5BF0-8375-2F6C-DE609C5BEE0D}"/>
          </ac:spMkLst>
        </pc:spChg>
        <pc:spChg chg="add del mod">
          <ac:chgData name="Steiner Andreas 6206 ED" userId="e6377c33-a923-4f14-8587-531c474c7b48" providerId="ADAL" clId="{6ECD27E6-B224-41CD-B4E0-E297462320DD}" dt="2023-11-24T11:35:35.681" v="123587"/>
          <ac:spMkLst>
            <pc:docMk/>
            <pc:sldMk cId="1226083679" sldId="2147478575"/>
            <ac:spMk id="806" creationId="{87CD16A8-C6E2-57BC-8A61-6557901958FC}"/>
          </ac:spMkLst>
        </pc:spChg>
        <pc:spChg chg="add del mod">
          <ac:chgData name="Steiner Andreas 6206 ED" userId="e6377c33-a923-4f14-8587-531c474c7b48" providerId="ADAL" clId="{6ECD27E6-B224-41CD-B4E0-E297462320DD}" dt="2023-11-24T11:35:37.406" v="123742"/>
          <ac:spMkLst>
            <pc:docMk/>
            <pc:sldMk cId="1226083679" sldId="2147478575"/>
            <ac:spMk id="807" creationId="{3DFCA6DD-80E4-01B4-E8D0-71AF5A2DDD99}"/>
          </ac:spMkLst>
        </pc:spChg>
        <pc:spChg chg="add del mod">
          <ac:chgData name="Steiner Andreas 6206 ED" userId="e6377c33-a923-4f14-8587-531c474c7b48" providerId="ADAL" clId="{6ECD27E6-B224-41CD-B4E0-E297462320DD}" dt="2023-11-24T11:35:39.033" v="123897"/>
          <ac:spMkLst>
            <pc:docMk/>
            <pc:sldMk cId="1226083679" sldId="2147478575"/>
            <ac:spMk id="808" creationId="{E71E43BA-E894-A56D-6D94-D0F89D29723A}"/>
          </ac:spMkLst>
        </pc:spChg>
        <pc:spChg chg="add del mod">
          <ac:chgData name="Steiner Andreas 6206 ED" userId="e6377c33-a923-4f14-8587-531c474c7b48" providerId="ADAL" clId="{6ECD27E6-B224-41CD-B4E0-E297462320DD}" dt="2023-11-24T11:35:40.744" v="124052"/>
          <ac:spMkLst>
            <pc:docMk/>
            <pc:sldMk cId="1226083679" sldId="2147478575"/>
            <ac:spMk id="809" creationId="{CE13E8BB-8B6B-2550-FB62-F557537D2F7B}"/>
          </ac:spMkLst>
        </pc:spChg>
        <pc:spChg chg="add del mod">
          <ac:chgData name="Steiner Andreas 6206 ED" userId="e6377c33-a923-4f14-8587-531c474c7b48" providerId="ADAL" clId="{6ECD27E6-B224-41CD-B4E0-E297462320DD}" dt="2023-11-24T11:35:42.347" v="124207"/>
          <ac:spMkLst>
            <pc:docMk/>
            <pc:sldMk cId="1226083679" sldId="2147478575"/>
            <ac:spMk id="810" creationId="{3267663F-164B-DC38-7219-ACB0EB38E079}"/>
          </ac:spMkLst>
        </pc:spChg>
        <pc:spChg chg="add del mod">
          <ac:chgData name="Steiner Andreas 6206 ED" userId="e6377c33-a923-4f14-8587-531c474c7b48" providerId="ADAL" clId="{6ECD27E6-B224-41CD-B4E0-E297462320DD}" dt="2023-11-24T11:35:44.013" v="124362"/>
          <ac:spMkLst>
            <pc:docMk/>
            <pc:sldMk cId="1226083679" sldId="2147478575"/>
            <ac:spMk id="811" creationId="{626F5D0D-3F92-5FDF-3B27-FE76F130C569}"/>
          </ac:spMkLst>
        </pc:spChg>
        <pc:spChg chg="add del mod">
          <ac:chgData name="Steiner Andreas 6206 ED" userId="e6377c33-a923-4f14-8587-531c474c7b48" providerId="ADAL" clId="{6ECD27E6-B224-41CD-B4E0-E297462320DD}" dt="2023-11-24T11:35:45.668" v="124517"/>
          <ac:spMkLst>
            <pc:docMk/>
            <pc:sldMk cId="1226083679" sldId="2147478575"/>
            <ac:spMk id="812" creationId="{701B70D6-094F-8A27-0275-3F64B747F7FD}"/>
          </ac:spMkLst>
        </pc:spChg>
        <pc:spChg chg="add del mod">
          <ac:chgData name="Steiner Andreas 6206 ED" userId="e6377c33-a923-4f14-8587-531c474c7b48" providerId="ADAL" clId="{6ECD27E6-B224-41CD-B4E0-E297462320DD}" dt="2023-11-24T11:35:47.376" v="124672"/>
          <ac:spMkLst>
            <pc:docMk/>
            <pc:sldMk cId="1226083679" sldId="2147478575"/>
            <ac:spMk id="813" creationId="{6B44096B-3C1E-532B-C40F-C6D283D176FE}"/>
          </ac:spMkLst>
        </pc:spChg>
        <pc:spChg chg="add del mod">
          <ac:chgData name="Steiner Andreas 6206 ED" userId="e6377c33-a923-4f14-8587-531c474c7b48" providerId="ADAL" clId="{6ECD27E6-B224-41CD-B4E0-E297462320DD}" dt="2023-11-24T11:35:49.074" v="124827"/>
          <ac:spMkLst>
            <pc:docMk/>
            <pc:sldMk cId="1226083679" sldId="2147478575"/>
            <ac:spMk id="814" creationId="{91BF9782-BF4E-0312-AE77-51BC91965B10}"/>
          </ac:spMkLst>
        </pc:spChg>
        <pc:spChg chg="add del mod">
          <ac:chgData name="Steiner Andreas 6206 ED" userId="e6377c33-a923-4f14-8587-531c474c7b48" providerId="ADAL" clId="{6ECD27E6-B224-41CD-B4E0-E297462320DD}" dt="2023-11-24T11:35:51.030" v="124982"/>
          <ac:spMkLst>
            <pc:docMk/>
            <pc:sldMk cId="1226083679" sldId="2147478575"/>
            <ac:spMk id="815" creationId="{5558B38E-8B55-63A9-4991-93DE8D4A8323}"/>
          </ac:spMkLst>
        </pc:spChg>
        <pc:spChg chg="add del mod">
          <ac:chgData name="Steiner Andreas 6206 ED" userId="e6377c33-a923-4f14-8587-531c474c7b48" providerId="ADAL" clId="{6ECD27E6-B224-41CD-B4E0-E297462320DD}" dt="2023-11-24T11:35:52.786" v="125137"/>
          <ac:spMkLst>
            <pc:docMk/>
            <pc:sldMk cId="1226083679" sldId="2147478575"/>
            <ac:spMk id="816" creationId="{C2032B7B-7182-6BA9-F947-62D15DB9B300}"/>
          </ac:spMkLst>
        </pc:spChg>
        <pc:spChg chg="add del mod">
          <ac:chgData name="Steiner Andreas 6206 ED" userId="e6377c33-a923-4f14-8587-531c474c7b48" providerId="ADAL" clId="{6ECD27E6-B224-41CD-B4E0-E297462320DD}" dt="2023-11-24T11:35:54.748" v="125292"/>
          <ac:spMkLst>
            <pc:docMk/>
            <pc:sldMk cId="1226083679" sldId="2147478575"/>
            <ac:spMk id="817" creationId="{2EC3BC63-19C2-7AE6-36C3-170A8ABF5311}"/>
          </ac:spMkLst>
        </pc:spChg>
        <pc:spChg chg="add del mod">
          <ac:chgData name="Steiner Andreas 6206 ED" userId="e6377c33-a923-4f14-8587-531c474c7b48" providerId="ADAL" clId="{6ECD27E6-B224-41CD-B4E0-E297462320DD}" dt="2023-11-24T11:35:56.795" v="125447"/>
          <ac:spMkLst>
            <pc:docMk/>
            <pc:sldMk cId="1226083679" sldId="2147478575"/>
            <ac:spMk id="818" creationId="{338133EC-DCF0-7F7D-2A67-1FDD6FBE0C79}"/>
          </ac:spMkLst>
        </pc:spChg>
        <pc:spChg chg="add del mod">
          <ac:chgData name="Steiner Andreas 6206 ED" userId="e6377c33-a923-4f14-8587-531c474c7b48" providerId="ADAL" clId="{6ECD27E6-B224-41CD-B4E0-E297462320DD}" dt="2023-11-24T11:35:58.758" v="125602"/>
          <ac:spMkLst>
            <pc:docMk/>
            <pc:sldMk cId="1226083679" sldId="2147478575"/>
            <ac:spMk id="819" creationId="{9C27C290-4582-3600-2899-EB922F312B61}"/>
          </ac:spMkLst>
        </pc:spChg>
        <pc:spChg chg="add del mod">
          <ac:chgData name="Steiner Andreas 6206 ED" userId="e6377c33-a923-4f14-8587-531c474c7b48" providerId="ADAL" clId="{6ECD27E6-B224-41CD-B4E0-E297462320DD}" dt="2023-11-24T11:36:00.487" v="125757"/>
          <ac:spMkLst>
            <pc:docMk/>
            <pc:sldMk cId="1226083679" sldId="2147478575"/>
            <ac:spMk id="820" creationId="{CBD06BE5-CC22-F5FE-060D-ED5A781DCBA9}"/>
          </ac:spMkLst>
        </pc:spChg>
        <pc:spChg chg="add del mod">
          <ac:chgData name="Steiner Andreas 6206 ED" userId="e6377c33-a923-4f14-8587-531c474c7b48" providerId="ADAL" clId="{6ECD27E6-B224-41CD-B4E0-E297462320DD}" dt="2023-11-24T11:36:02.222" v="125912"/>
          <ac:spMkLst>
            <pc:docMk/>
            <pc:sldMk cId="1226083679" sldId="2147478575"/>
            <ac:spMk id="821" creationId="{2D5FAFB9-C5B1-F7AE-F6C1-29C645E19FD9}"/>
          </ac:spMkLst>
        </pc:spChg>
        <pc:spChg chg="add del mod">
          <ac:chgData name="Steiner Andreas 6206 ED" userId="e6377c33-a923-4f14-8587-531c474c7b48" providerId="ADAL" clId="{6ECD27E6-B224-41CD-B4E0-E297462320DD}" dt="2023-11-24T11:36:03.968" v="126067"/>
          <ac:spMkLst>
            <pc:docMk/>
            <pc:sldMk cId="1226083679" sldId="2147478575"/>
            <ac:spMk id="822" creationId="{FA936916-FF85-5BC2-C6A7-7CB458C5E5ED}"/>
          </ac:spMkLst>
        </pc:spChg>
        <pc:spChg chg="add del mod">
          <ac:chgData name="Steiner Andreas 6206 ED" userId="e6377c33-a923-4f14-8587-531c474c7b48" providerId="ADAL" clId="{6ECD27E6-B224-41CD-B4E0-E297462320DD}" dt="2023-11-24T11:36:05.742" v="126222"/>
          <ac:spMkLst>
            <pc:docMk/>
            <pc:sldMk cId="1226083679" sldId="2147478575"/>
            <ac:spMk id="823" creationId="{B014ABCA-9D60-8B5D-7E06-3CEED3D588A2}"/>
          </ac:spMkLst>
        </pc:spChg>
        <pc:spChg chg="add del mod">
          <ac:chgData name="Steiner Andreas 6206 ED" userId="e6377c33-a923-4f14-8587-531c474c7b48" providerId="ADAL" clId="{6ECD27E6-B224-41CD-B4E0-E297462320DD}" dt="2023-11-24T11:36:07.402" v="126377"/>
          <ac:spMkLst>
            <pc:docMk/>
            <pc:sldMk cId="1226083679" sldId="2147478575"/>
            <ac:spMk id="824" creationId="{91915E70-7B99-0CEB-FE14-E4D63096DFDD}"/>
          </ac:spMkLst>
        </pc:spChg>
        <pc:spChg chg="add del mod">
          <ac:chgData name="Steiner Andreas 6206 ED" userId="e6377c33-a923-4f14-8587-531c474c7b48" providerId="ADAL" clId="{6ECD27E6-B224-41CD-B4E0-E297462320DD}" dt="2023-11-24T11:36:09.258" v="126532"/>
          <ac:spMkLst>
            <pc:docMk/>
            <pc:sldMk cId="1226083679" sldId="2147478575"/>
            <ac:spMk id="825" creationId="{B0CC28CF-9400-7046-E570-E8873E39D365}"/>
          </ac:spMkLst>
        </pc:spChg>
        <pc:spChg chg="add del mod">
          <ac:chgData name="Steiner Andreas 6206 ED" userId="e6377c33-a923-4f14-8587-531c474c7b48" providerId="ADAL" clId="{6ECD27E6-B224-41CD-B4E0-E297462320DD}" dt="2023-11-24T11:36:11.049" v="126687"/>
          <ac:spMkLst>
            <pc:docMk/>
            <pc:sldMk cId="1226083679" sldId="2147478575"/>
            <ac:spMk id="826" creationId="{9A465FD6-F421-1C62-CD9E-6014EDE1ED5E}"/>
          </ac:spMkLst>
        </pc:spChg>
        <pc:spChg chg="add del mod">
          <ac:chgData name="Steiner Andreas 6206 ED" userId="e6377c33-a923-4f14-8587-531c474c7b48" providerId="ADAL" clId="{6ECD27E6-B224-41CD-B4E0-E297462320DD}" dt="2023-11-24T11:36:12.986" v="126842"/>
          <ac:spMkLst>
            <pc:docMk/>
            <pc:sldMk cId="1226083679" sldId="2147478575"/>
            <ac:spMk id="827" creationId="{4735307F-C703-D179-0476-F30786A7F854}"/>
          </ac:spMkLst>
        </pc:spChg>
        <pc:spChg chg="add del mod">
          <ac:chgData name="Steiner Andreas 6206 ED" userId="e6377c33-a923-4f14-8587-531c474c7b48" providerId="ADAL" clId="{6ECD27E6-B224-41CD-B4E0-E297462320DD}" dt="2023-11-24T11:36:14.877" v="126997"/>
          <ac:spMkLst>
            <pc:docMk/>
            <pc:sldMk cId="1226083679" sldId="2147478575"/>
            <ac:spMk id="828" creationId="{BC2E3100-4687-B327-5751-A21B9A2C9938}"/>
          </ac:spMkLst>
        </pc:spChg>
        <pc:spChg chg="add del mod">
          <ac:chgData name="Steiner Andreas 6206 ED" userId="e6377c33-a923-4f14-8587-531c474c7b48" providerId="ADAL" clId="{6ECD27E6-B224-41CD-B4E0-E297462320DD}" dt="2023-11-24T11:36:17.191" v="127152"/>
          <ac:spMkLst>
            <pc:docMk/>
            <pc:sldMk cId="1226083679" sldId="2147478575"/>
            <ac:spMk id="829" creationId="{CDF11A98-FE2C-7B97-88ED-3ABAE4E16DDC}"/>
          </ac:spMkLst>
        </pc:spChg>
        <pc:spChg chg="add del mod">
          <ac:chgData name="Steiner Andreas 6206 ED" userId="e6377c33-a923-4f14-8587-531c474c7b48" providerId="ADAL" clId="{6ECD27E6-B224-41CD-B4E0-E297462320DD}" dt="2023-11-24T11:36:19.856" v="127307"/>
          <ac:spMkLst>
            <pc:docMk/>
            <pc:sldMk cId="1226083679" sldId="2147478575"/>
            <ac:spMk id="830" creationId="{53B6DAF5-2749-FD4A-3EFD-0B58F9A0F047}"/>
          </ac:spMkLst>
        </pc:spChg>
        <pc:spChg chg="add del mod">
          <ac:chgData name="Steiner Andreas 6206 ED" userId="e6377c33-a923-4f14-8587-531c474c7b48" providerId="ADAL" clId="{6ECD27E6-B224-41CD-B4E0-E297462320DD}" dt="2023-11-24T11:36:22.223" v="127462"/>
          <ac:spMkLst>
            <pc:docMk/>
            <pc:sldMk cId="1226083679" sldId="2147478575"/>
            <ac:spMk id="831" creationId="{302B5E21-82DA-92A3-4E99-6EDD56C8A5D0}"/>
          </ac:spMkLst>
        </pc:spChg>
        <pc:spChg chg="add del mod">
          <ac:chgData name="Steiner Andreas 6206 ED" userId="e6377c33-a923-4f14-8587-531c474c7b48" providerId="ADAL" clId="{6ECD27E6-B224-41CD-B4E0-E297462320DD}" dt="2023-11-24T11:36:25.159" v="127617"/>
          <ac:spMkLst>
            <pc:docMk/>
            <pc:sldMk cId="1226083679" sldId="2147478575"/>
            <ac:spMk id="832" creationId="{0ABD8419-95C0-55C1-A31A-0C2A528FDBFC}"/>
          </ac:spMkLst>
        </pc:spChg>
        <pc:spChg chg="add del mod">
          <ac:chgData name="Steiner Andreas 6206 ED" userId="e6377c33-a923-4f14-8587-531c474c7b48" providerId="ADAL" clId="{6ECD27E6-B224-41CD-B4E0-E297462320DD}" dt="2023-11-24T11:36:28.178" v="127772"/>
          <ac:spMkLst>
            <pc:docMk/>
            <pc:sldMk cId="1226083679" sldId="2147478575"/>
            <ac:spMk id="833" creationId="{46852E59-AF98-66FE-6BF6-B25FFDB5DF07}"/>
          </ac:spMkLst>
        </pc:spChg>
        <pc:spChg chg="add del mod">
          <ac:chgData name="Steiner Andreas 6206 ED" userId="e6377c33-a923-4f14-8587-531c474c7b48" providerId="ADAL" clId="{6ECD27E6-B224-41CD-B4E0-E297462320DD}" dt="2023-11-24T11:36:30.860" v="127927"/>
          <ac:spMkLst>
            <pc:docMk/>
            <pc:sldMk cId="1226083679" sldId="2147478575"/>
            <ac:spMk id="834" creationId="{70322FE1-B1BA-E9A9-BBC0-6F936F7A2578}"/>
          </ac:spMkLst>
        </pc:spChg>
        <pc:spChg chg="add del mod">
          <ac:chgData name="Steiner Andreas 6206 ED" userId="e6377c33-a923-4f14-8587-531c474c7b48" providerId="ADAL" clId="{6ECD27E6-B224-41CD-B4E0-E297462320DD}" dt="2023-11-24T11:36:33.125" v="128082"/>
          <ac:spMkLst>
            <pc:docMk/>
            <pc:sldMk cId="1226083679" sldId="2147478575"/>
            <ac:spMk id="835" creationId="{287CAB3D-F1ED-02BE-49D5-8CB185DA09B9}"/>
          </ac:spMkLst>
        </pc:spChg>
        <pc:spChg chg="add del mod">
          <ac:chgData name="Steiner Andreas 6206 ED" userId="e6377c33-a923-4f14-8587-531c474c7b48" providerId="ADAL" clId="{6ECD27E6-B224-41CD-B4E0-E297462320DD}" dt="2023-11-24T11:36:35.228" v="128237"/>
          <ac:spMkLst>
            <pc:docMk/>
            <pc:sldMk cId="1226083679" sldId="2147478575"/>
            <ac:spMk id="836" creationId="{C0EA9CBE-468C-BE3A-306F-412B4DD722C6}"/>
          </ac:spMkLst>
        </pc:spChg>
        <pc:spChg chg="add del mod">
          <ac:chgData name="Steiner Andreas 6206 ED" userId="e6377c33-a923-4f14-8587-531c474c7b48" providerId="ADAL" clId="{6ECD27E6-B224-41CD-B4E0-E297462320DD}" dt="2023-11-24T11:36:37.304" v="128392"/>
          <ac:spMkLst>
            <pc:docMk/>
            <pc:sldMk cId="1226083679" sldId="2147478575"/>
            <ac:spMk id="837" creationId="{EA8E1666-9A33-E473-A600-6951CBF010C2}"/>
          </ac:spMkLst>
        </pc:spChg>
        <pc:spChg chg="add del mod">
          <ac:chgData name="Steiner Andreas 6206 ED" userId="e6377c33-a923-4f14-8587-531c474c7b48" providerId="ADAL" clId="{6ECD27E6-B224-41CD-B4E0-E297462320DD}" dt="2023-11-24T11:36:39.512" v="128547"/>
          <ac:spMkLst>
            <pc:docMk/>
            <pc:sldMk cId="1226083679" sldId="2147478575"/>
            <ac:spMk id="838" creationId="{05AE17FD-2640-C7BD-E827-B06DB08573EE}"/>
          </ac:spMkLst>
        </pc:spChg>
        <pc:spChg chg="add del mod">
          <ac:chgData name="Steiner Andreas 6206 ED" userId="e6377c33-a923-4f14-8587-531c474c7b48" providerId="ADAL" clId="{6ECD27E6-B224-41CD-B4E0-E297462320DD}" dt="2023-11-24T11:36:42.047" v="128702"/>
          <ac:spMkLst>
            <pc:docMk/>
            <pc:sldMk cId="1226083679" sldId="2147478575"/>
            <ac:spMk id="839" creationId="{24E9BE9D-D216-E9E0-2074-FC00EB6C4003}"/>
          </ac:spMkLst>
        </pc:spChg>
        <pc:spChg chg="add del mod">
          <ac:chgData name="Steiner Andreas 6206 ED" userId="e6377c33-a923-4f14-8587-531c474c7b48" providerId="ADAL" clId="{6ECD27E6-B224-41CD-B4E0-E297462320DD}" dt="2023-11-24T11:36:44.388" v="128857"/>
          <ac:spMkLst>
            <pc:docMk/>
            <pc:sldMk cId="1226083679" sldId="2147478575"/>
            <ac:spMk id="840" creationId="{331AFABA-8990-2DE8-762C-44CD668CB6CE}"/>
          </ac:spMkLst>
        </pc:spChg>
        <pc:spChg chg="add del mod">
          <ac:chgData name="Steiner Andreas 6206 ED" userId="e6377c33-a923-4f14-8587-531c474c7b48" providerId="ADAL" clId="{6ECD27E6-B224-41CD-B4E0-E297462320DD}" dt="2023-11-24T11:36:46.422" v="129012"/>
          <ac:spMkLst>
            <pc:docMk/>
            <pc:sldMk cId="1226083679" sldId="2147478575"/>
            <ac:spMk id="841" creationId="{16B47847-B546-C3A9-2E3E-1F2B29A5D3C4}"/>
          </ac:spMkLst>
        </pc:spChg>
        <pc:spChg chg="add del mod">
          <ac:chgData name="Steiner Andreas 6206 ED" userId="e6377c33-a923-4f14-8587-531c474c7b48" providerId="ADAL" clId="{6ECD27E6-B224-41CD-B4E0-E297462320DD}" dt="2023-11-24T11:36:48.377" v="129167"/>
          <ac:spMkLst>
            <pc:docMk/>
            <pc:sldMk cId="1226083679" sldId="2147478575"/>
            <ac:spMk id="842" creationId="{80C210D3-D718-F871-C681-6202C94A9534}"/>
          </ac:spMkLst>
        </pc:spChg>
        <pc:spChg chg="add del mod">
          <ac:chgData name="Steiner Andreas 6206 ED" userId="e6377c33-a923-4f14-8587-531c474c7b48" providerId="ADAL" clId="{6ECD27E6-B224-41CD-B4E0-E297462320DD}" dt="2023-11-24T11:36:50.334" v="129322"/>
          <ac:spMkLst>
            <pc:docMk/>
            <pc:sldMk cId="1226083679" sldId="2147478575"/>
            <ac:spMk id="843" creationId="{499CA865-ABD9-7D10-CF77-D3449B5934E3}"/>
          </ac:spMkLst>
        </pc:spChg>
        <pc:spChg chg="add del mod">
          <ac:chgData name="Steiner Andreas 6206 ED" userId="e6377c33-a923-4f14-8587-531c474c7b48" providerId="ADAL" clId="{6ECD27E6-B224-41CD-B4E0-E297462320DD}" dt="2023-11-24T11:36:52.494" v="129477"/>
          <ac:spMkLst>
            <pc:docMk/>
            <pc:sldMk cId="1226083679" sldId="2147478575"/>
            <ac:spMk id="844" creationId="{DF5B9ED3-DB04-CD19-0017-E2A67B5FFA71}"/>
          </ac:spMkLst>
        </pc:spChg>
        <pc:spChg chg="add del mod">
          <ac:chgData name="Steiner Andreas 6206 ED" userId="e6377c33-a923-4f14-8587-531c474c7b48" providerId="ADAL" clId="{6ECD27E6-B224-41CD-B4E0-E297462320DD}" dt="2023-11-24T11:36:55.213" v="129632"/>
          <ac:spMkLst>
            <pc:docMk/>
            <pc:sldMk cId="1226083679" sldId="2147478575"/>
            <ac:spMk id="845" creationId="{516EB1AC-EE2F-B28A-F129-AAD02F861183}"/>
          </ac:spMkLst>
        </pc:spChg>
        <pc:spChg chg="add del mod">
          <ac:chgData name="Steiner Andreas 6206 ED" userId="e6377c33-a923-4f14-8587-531c474c7b48" providerId="ADAL" clId="{6ECD27E6-B224-41CD-B4E0-E297462320DD}" dt="2023-11-24T11:36:57.474" v="129787"/>
          <ac:spMkLst>
            <pc:docMk/>
            <pc:sldMk cId="1226083679" sldId="2147478575"/>
            <ac:spMk id="846" creationId="{F773C40F-7C1A-C3A8-E07C-C9802DEDD9B6}"/>
          </ac:spMkLst>
        </pc:spChg>
        <pc:spChg chg="add del mod">
          <ac:chgData name="Steiner Andreas 6206 ED" userId="e6377c33-a923-4f14-8587-531c474c7b48" providerId="ADAL" clId="{6ECD27E6-B224-41CD-B4E0-E297462320DD}" dt="2023-11-24T11:36:59.926" v="129942"/>
          <ac:spMkLst>
            <pc:docMk/>
            <pc:sldMk cId="1226083679" sldId="2147478575"/>
            <ac:spMk id="847" creationId="{B70D07DF-2456-1DE5-EB05-67CB0D7A3B79}"/>
          </ac:spMkLst>
        </pc:spChg>
        <pc:spChg chg="add del mod">
          <ac:chgData name="Steiner Andreas 6206 ED" userId="e6377c33-a923-4f14-8587-531c474c7b48" providerId="ADAL" clId="{6ECD27E6-B224-41CD-B4E0-E297462320DD}" dt="2023-11-24T11:37:01.824" v="130097"/>
          <ac:spMkLst>
            <pc:docMk/>
            <pc:sldMk cId="1226083679" sldId="2147478575"/>
            <ac:spMk id="848" creationId="{BA6104EA-0834-0665-AEEF-079E601A6B43}"/>
          </ac:spMkLst>
        </pc:spChg>
        <pc:spChg chg="add del mod">
          <ac:chgData name="Steiner Andreas 6206 ED" userId="e6377c33-a923-4f14-8587-531c474c7b48" providerId="ADAL" clId="{6ECD27E6-B224-41CD-B4E0-E297462320DD}" dt="2023-11-24T11:37:03.575" v="130252"/>
          <ac:spMkLst>
            <pc:docMk/>
            <pc:sldMk cId="1226083679" sldId="2147478575"/>
            <ac:spMk id="849" creationId="{4E2C8484-A849-9770-4641-B1A527BECE6A}"/>
          </ac:spMkLst>
        </pc:spChg>
        <pc:spChg chg="add del mod">
          <ac:chgData name="Steiner Andreas 6206 ED" userId="e6377c33-a923-4f14-8587-531c474c7b48" providerId="ADAL" clId="{6ECD27E6-B224-41CD-B4E0-E297462320DD}" dt="2023-11-24T11:37:05.441" v="130407"/>
          <ac:spMkLst>
            <pc:docMk/>
            <pc:sldMk cId="1226083679" sldId="2147478575"/>
            <ac:spMk id="850" creationId="{8833B276-B77C-A14F-2A23-B9B265BC46A1}"/>
          </ac:spMkLst>
        </pc:spChg>
        <pc:spChg chg="add del mod">
          <ac:chgData name="Steiner Andreas 6206 ED" userId="e6377c33-a923-4f14-8587-531c474c7b48" providerId="ADAL" clId="{6ECD27E6-B224-41CD-B4E0-E297462320DD}" dt="2023-11-24T11:37:07.186" v="130562"/>
          <ac:spMkLst>
            <pc:docMk/>
            <pc:sldMk cId="1226083679" sldId="2147478575"/>
            <ac:spMk id="851" creationId="{68D6B291-2030-7710-2F6A-C4641C1F30A1}"/>
          </ac:spMkLst>
        </pc:spChg>
        <pc:spChg chg="add del mod">
          <ac:chgData name="Steiner Andreas 6206 ED" userId="e6377c33-a923-4f14-8587-531c474c7b48" providerId="ADAL" clId="{6ECD27E6-B224-41CD-B4E0-E297462320DD}" dt="2023-11-24T11:37:08.939" v="130717"/>
          <ac:spMkLst>
            <pc:docMk/>
            <pc:sldMk cId="1226083679" sldId="2147478575"/>
            <ac:spMk id="852" creationId="{F6D3B0B6-BECC-3F53-557C-35ECC048164B}"/>
          </ac:spMkLst>
        </pc:spChg>
        <pc:spChg chg="add del mod">
          <ac:chgData name="Steiner Andreas 6206 ED" userId="e6377c33-a923-4f14-8587-531c474c7b48" providerId="ADAL" clId="{6ECD27E6-B224-41CD-B4E0-E297462320DD}" dt="2023-11-24T11:37:10.603" v="130872"/>
          <ac:spMkLst>
            <pc:docMk/>
            <pc:sldMk cId="1226083679" sldId="2147478575"/>
            <ac:spMk id="853" creationId="{375EA6BD-6473-C566-E10D-9F7879810F8D}"/>
          </ac:spMkLst>
        </pc:spChg>
        <pc:spChg chg="add del mod">
          <ac:chgData name="Steiner Andreas 6206 ED" userId="e6377c33-a923-4f14-8587-531c474c7b48" providerId="ADAL" clId="{6ECD27E6-B224-41CD-B4E0-E297462320DD}" dt="2023-11-24T11:37:12.306" v="131027"/>
          <ac:spMkLst>
            <pc:docMk/>
            <pc:sldMk cId="1226083679" sldId="2147478575"/>
            <ac:spMk id="854" creationId="{12AE3A8E-A7CD-E52C-4FFD-93286A65EEB0}"/>
          </ac:spMkLst>
        </pc:spChg>
        <pc:spChg chg="add del mod">
          <ac:chgData name="Steiner Andreas 6206 ED" userId="e6377c33-a923-4f14-8587-531c474c7b48" providerId="ADAL" clId="{6ECD27E6-B224-41CD-B4E0-E297462320DD}" dt="2023-11-24T11:37:13.990" v="131182"/>
          <ac:spMkLst>
            <pc:docMk/>
            <pc:sldMk cId="1226083679" sldId="2147478575"/>
            <ac:spMk id="855" creationId="{1E9AA1ED-7A85-1E5C-8B97-3E86DD2E3308}"/>
          </ac:spMkLst>
        </pc:spChg>
        <pc:spChg chg="add del mod">
          <ac:chgData name="Steiner Andreas 6206 ED" userId="e6377c33-a923-4f14-8587-531c474c7b48" providerId="ADAL" clId="{6ECD27E6-B224-41CD-B4E0-E297462320DD}" dt="2023-11-24T11:37:15.906" v="131337"/>
          <ac:spMkLst>
            <pc:docMk/>
            <pc:sldMk cId="1226083679" sldId="2147478575"/>
            <ac:spMk id="856" creationId="{388B9439-4BEA-CF47-EE84-457DF4A27F96}"/>
          </ac:spMkLst>
        </pc:spChg>
        <pc:spChg chg="add del mod">
          <ac:chgData name="Steiner Andreas 6206 ED" userId="e6377c33-a923-4f14-8587-531c474c7b48" providerId="ADAL" clId="{6ECD27E6-B224-41CD-B4E0-E297462320DD}" dt="2023-11-24T11:37:17.930" v="131492"/>
          <ac:spMkLst>
            <pc:docMk/>
            <pc:sldMk cId="1226083679" sldId="2147478575"/>
            <ac:spMk id="857" creationId="{4D965166-1D08-7721-7BDD-5EFB4D131BAA}"/>
          </ac:spMkLst>
        </pc:spChg>
        <pc:spChg chg="add del mod">
          <ac:chgData name="Steiner Andreas 6206 ED" userId="e6377c33-a923-4f14-8587-531c474c7b48" providerId="ADAL" clId="{6ECD27E6-B224-41CD-B4E0-E297462320DD}" dt="2023-11-24T11:37:19.869" v="131647"/>
          <ac:spMkLst>
            <pc:docMk/>
            <pc:sldMk cId="1226083679" sldId="2147478575"/>
            <ac:spMk id="858" creationId="{D7246DC6-0B35-8DA0-3450-0944EEDD9EB0}"/>
          </ac:spMkLst>
        </pc:spChg>
        <pc:spChg chg="add del mod">
          <ac:chgData name="Steiner Andreas 6206 ED" userId="e6377c33-a923-4f14-8587-531c474c7b48" providerId="ADAL" clId="{6ECD27E6-B224-41CD-B4E0-E297462320DD}" dt="2023-11-24T11:37:21.759" v="131802"/>
          <ac:spMkLst>
            <pc:docMk/>
            <pc:sldMk cId="1226083679" sldId="2147478575"/>
            <ac:spMk id="859" creationId="{3048CB86-C8B5-B700-725E-7CA3C19ADF9D}"/>
          </ac:spMkLst>
        </pc:spChg>
        <pc:spChg chg="add del mod">
          <ac:chgData name="Steiner Andreas 6206 ED" userId="e6377c33-a923-4f14-8587-531c474c7b48" providerId="ADAL" clId="{6ECD27E6-B224-41CD-B4E0-E297462320DD}" dt="2023-11-24T11:37:23.564" v="131957"/>
          <ac:spMkLst>
            <pc:docMk/>
            <pc:sldMk cId="1226083679" sldId="2147478575"/>
            <ac:spMk id="860" creationId="{B40FFB15-E02E-F3CE-E28A-524C199E7AB4}"/>
          </ac:spMkLst>
        </pc:spChg>
        <pc:spChg chg="add del mod">
          <ac:chgData name="Steiner Andreas 6206 ED" userId="e6377c33-a923-4f14-8587-531c474c7b48" providerId="ADAL" clId="{6ECD27E6-B224-41CD-B4E0-E297462320DD}" dt="2023-11-24T11:37:25.302" v="132112"/>
          <ac:spMkLst>
            <pc:docMk/>
            <pc:sldMk cId="1226083679" sldId="2147478575"/>
            <ac:spMk id="861" creationId="{7C928E8D-0F26-E107-1CB9-1A59B62E8A25}"/>
          </ac:spMkLst>
        </pc:spChg>
        <pc:spChg chg="add del mod">
          <ac:chgData name="Steiner Andreas 6206 ED" userId="e6377c33-a923-4f14-8587-531c474c7b48" providerId="ADAL" clId="{6ECD27E6-B224-41CD-B4E0-E297462320DD}" dt="2023-11-24T11:37:27.161" v="132267"/>
          <ac:spMkLst>
            <pc:docMk/>
            <pc:sldMk cId="1226083679" sldId="2147478575"/>
            <ac:spMk id="862" creationId="{C9CCD9E4-3764-01A6-DBFF-939001BC63C3}"/>
          </ac:spMkLst>
        </pc:spChg>
        <pc:spChg chg="add del mod">
          <ac:chgData name="Steiner Andreas 6206 ED" userId="e6377c33-a923-4f14-8587-531c474c7b48" providerId="ADAL" clId="{6ECD27E6-B224-41CD-B4E0-E297462320DD}" dt="2023-11-24T11:37:29.751" v="132422"/>
          <ac:spMkLst>
            <pc:docMk/>
            <pc:sldMk cId="1226083679" sldId="2147478575"/>
            <ac:spMk id="863" creationId="{488B5D32-5A2E-45D1-7B60-6BD05E3B3058}"/>
          </ac:spMkLst>
        </pc:spChg>
        <pc:spChg chg="add del mod">
          <ac:chgData name="Steiner Andreas 6206 ED" userId="e6377c33-a923-4f14-8587-531c474c7b48" providerId="ADAL" clId="{6ECD27E6-B224-41CD-B4E0-E297462320DD}" dt="2023-11-24T11:37:32.307" v="132577"/>
          <ac:spMkLst>
            <pc:docMk/>
            <pc:sldMk cId="1226083679" sldId="2147478575"/>
            <ac:spMk id="864" creationId="{36C881B4-128D-BB6A-1B63-A3AD5A79FB97}"/>
          </ac:spMkLst>
        </pc:spChg>
        <pc:spChg chg="add del mod">
          <ac:chgData name="Steiner Andreas 6206 ED" userId="e6377c33-a923-4f14-8587-531c474c7b48" providerId="ADAL" clId="{6ECD27E6-B224-41CD-B4E0-E297462320DD}" dt="2023-11-24T11:37:35.286" v="132732"/>
          <ac:spMkLst>
            <pc:docMk/>
            <pc:sldMk cId="1226083679" sldId="2147478575"/>
            <ac:spMk id="865" creationId="{E760065B-115E-7C0E-F578-7B3D509E0A9F}"/>
          </ac:spMkLst>
        </pc:spChg>
        <pc:spChg chg="add del mod">
          <ac:chgData name="Steiner Andreas 6206 ED" userId="e6377c33-a923-4f14-8587-531c474c7b48" providerId="ADAL" clId="{6ECD27E6-B224-41CD-B4E0-E297462320DD}" dt="2023-11-24T11:37:37.988" v="132887"/>
          <ac:spMkLst>
            <pc:docMk/>
            <pc:sldMk cId="1226083679" sldId="2147478575"/>
            <ac:spMk id="866" creationId="{52C65BC2-8684-2CC4-BA0D-6EC020BA4737}"/>
          </ac:spMkLst>
        </pc:spChg>
        <pc:spChg chg="add del mod">
          <ac:chgData name="Steiner Andreas 6206 ED" userId="e6377c33-a923-4f14-8587-531c474c7b48" providerId="ADAL" clId="{6ECD27E6-B224-41CD-B4E0-E297462320DD}" dt="2023-11-24T11:37:40.634" v="133042"/>
          <ac:spMkLst>
            <pc:docMk/>
            <pc:sldMk cId="1226083679" sldId="2147478575"/>
            <ac:spMk id="867" creationId="{57F71AD5-91E0-3AD2-0410-6C7D98B15FB6}"/>
          </ac:spMkLst>
        </pc:spChg>
        <pc:spChg chg="add del mod">
          <ac:chgData name="Steiner Andreas 6206 ED" userId="e6377c33-a923-4f14-8587-531c474c7b48" providerId="ADAL" clId="{6ECD27E6-B224-41CD-B4E0-E297462320DD}" dt="2023-11-24T11:37:43.337" v="133197"/>
          <ac:spMkLst>
            <pc:docMk/>
            <pc:sldMk cId="1226083679" sldId="2147478575"/>
            <ac:spMk id="868" creationId="{CB7A4C3C-CED3-B2E6-518B-234D4A6D480B}"/>
          </ac:spMkLst>
        </pc:spChg>
        <pc:spChg chg="add del mod">
          <ac:chgData name="Steiner Andreas 6206 ED" userId="e6377c33-a923-4f14-8587-531c474c7b48" providerId="ADAL" clId="{6ECD27E6-B224-41CD-B4E0-E297462320DD}" dt="2023-11-24T11:37:47.422" v="133352"/>
          <ac:spMkLst>
            <pc:docMk/>
            <pc:sldMk cId="1226083679" sldId="2147478575"/>
            <ac:spMk id="869" creationId="{AAE4F8EE-0C7C-40FB-0466-50F3AE91326D}"/>
          </ac:spMkLst>
        </pc:spChg>
        <pc:spChg chg="add del mod">
          <ac:chgData name="Steiner Andreas 6206 ED" userId="e6377c33-a923-4f14-8587-531c474c7b48" providerId="ADAL" clId="{6ECD27E6-B224-41CD-B4E0-E297462320DD}" dt="2023-11-24T11:37:50.528" v="133507"/>
          <ac:spMkLst>
            <pc:docMk/>
            <pc:sldMk cId="1226083679" sldId="2147478575"/>
            <ac:spMk id="870" creationId="{5C78601E-3FBA-73F5-C254-DD9A7DEA5DA7}"/>
          </ac:spMkLst>
        </pc:spChg>
        <pc:spChg chg="add del mod">
          <ac:chgData name="Steiner Andreas 6206 ED" userId="e6377c33-a923-4f14-8587-531c474c7b48" providerId="ADAL" clId="{6ECD27E6-B224-41CD-B4E0-E297462320DD}" dt="2023-11-24T11:37:53.821" v="133662"/>
          <ac:spMkLst>
            <pc:docMk/>
            <pc:sldMk cId="1226083679" sldId="2147478575"/>
            <ac:spMk id="871" creationId="{78221EF5-29B3-0A1F-6DFE-2892807B4B82}"/>
          </ac:spMkLst>
        </pc:spChg>
        <pc:spChg chg="add del mod">
          <ac:chgData name="Steiner Andreas 6206 ED" userId="e6377c33-a923-4f14-8587-531c474c7b48" providerId="ADAL" clId="{6ECD27E6-B224-41CD-B4E0-E297462320DD}" dt="2023-11-24T11:37:56.014" v="133817"/>
          <ac:spMkLst>
            <pc:docMk/>
            <pc:sldMk cId="1226083679" sldId="2147478575"/>
            <ac:spMk id="872" creationId="{41DD2367-E933-25AF-DEF8-4D82104873ED}"/>
          </ac:spMkLst>
        </pc:spChg>
        <pc:spChg chg="add del mod">
          <ac:chgData name="Steiner Andreas 6206 ED" userId="e6377c33-a923-4f14-8587-531c474c7b48" providerId="ADAL" clId="{6ECD27E6-B224-41CD-B4E0-E297462320DD}" dt="2023-11-24T11:37:58.761" v="133972"/>
          <ac:spMkLst>
            <pc:docMk/>
            <pc:sldMk cId="1226083679" sldId="2147478575"/>
            <ac:spMk id="873" creationId="{48F26CEB-9D67-54D5-230F-33A4275E5CF9}"/>
          </ac:spMkLst>
        </pc:spChg>
        <pc:spChg chg="add del mod">
          <ac:chgData name="Steiner Andreas 6206 ED" userId="e6377c33-a923-4f14-8587-531c474c7b48" providerId="ADAL" clId="{6ECD27E6-B224-41CD-B4E0-E297462320DD}" dt="2023-11-24T11:38:01.036" v="134127"/>
          <ac:spMkLst>
            <pc:docMk/>
            <pc:sldMk cId="1226083679" sldId="2147478575"/>
            <ac:spMk id="874" creationId="{10132FA8-48BC-6563-65C2-68C86B6A6DAB}"/>
          </ac:spMkLst>
        </pc:spChg>
        <pc:spChg chg="add del mod">
          <ac:chgData name="Steiner Andreas 6206 ED" userId="e6377c33-a923-4f14-8587-531c474c7b48" providerId="ADAL" clId="{6ECD27E6-B224-41CD-B4E0-E297462320DD}" dt="2023-11-24T11:38:03.611" v="134282"/>
          <ac:spMkLst>
            <pc:docMk/>
            <pc:sldMk cId="1226083679" sldId="2147478575"/>
            <ac:spMk id="875" creationId="{3D627E5F-2648-7707-4772-86B47351760B}"/>
          </ac:spMkLst>
        </pc:spChg>
        <pc:spChg chg="add del mod">
          <ac:chgData name="Steiner Andreas 6206 ED" userId="e6377c33-a923-4f14-8587-531c474c7b48" providerId="ADAL" clId="{6ECD27E6-B224-41CD-B4E0-E297462320DD}" dt="2023-11-24T11:38:05.904" v="134437"/>
          <ac:spMkLst>
            <pc:docMk/>
            <pc:sldMk cId="1226083679" sldId="2147478575"/>
            <ac:spMk id="876" creationId="{E012738B-BD1D-B222-0C2A-737BA5FE5E38}"/>
          </ac:spMkLst>
        </pc:spChg>
        <pc:spChg chg="add del mod">
          <ac:chgData name="Steiner Andreas 6206 ED" userId="e6377c33-a923-4f14-8587-531c474c7b48" providerId="ADAL" clId="{6ECD27E6-B224-41CD-B4E0-E297462320DD}" dt="2023-11-24T11:38:08.700" v="134592"/>
          <ac:spMkLst>
            <pc:docMk/>
            <pc:sldMk cId="1226083679" sldId="2147478575"/>
            <ac:spMk id="877" creationId="{12066B34-193F-CE32-973D-49736499D2AD}"/>
          </ac:spMkLst>
        </pc:spChg>
        <pc:spChg chg="add del mod">
          <ac:chgData name="Steiner Andreas 6206 ED" userId="e6377c33-a923-4f14-8587-531c474c7b48" providerId="ADAL" clId="{6ECD27E6-B224-41CD-B4E0-E297462320DD}" dt="2023-11-24T11:38:11.648" v="134747"/>
          <ac:spMkLst>
            <pc:docMk/>
            <pc:sldMk cId="1226083679" sldId="2147478575"/>
            <ac:spMk id="878" creationId="{58F47DA5-FCBD-590F-EF5C-DFD96A563E55}"/>
          </ac:spMkLst>
        </pc:spChg>
        <pc:spChg chg="add del mod">
          <ac:chgData name="Steiner Andreas 6206 ED" userId="e6377c33-a923-4f14-8587-531c474c7b48" providerId="ADAL" clId="{6ECD27E6-B224-41CD-B4E0-E297462320DD}" dt="2023-11-24T11:38:13.861" v="134902"/>
          <ac:spMkLst>
            <pc:docMk/>
            <pc:sldMk cId="1226083679" sldId="2147478575"/>
            <ac:spMk id="879" creationId="{D95A0D4B-B8DA-0370-9E10-8CDB86B967A1}"/>
          </ac:spMkLst>
        </pc:spChg>
        <pc:spChg chg="add del mod">
          <ac:chgData name="Steiner Andreas 6206 ED" userId="e6377c33-a923-4f14-8587-531c474c7b48" providerId="ADAL" clId="{6ECD27E6-B224-41CD-B4E0-E297462320DD}" dt="2023-11-24T11:38:16.358" v="135057"/>
          <ac:spMkLst>
            <pc:docMk/>
            <pc:sldMk cId="1226083679" sldId="2147478575"/>
            <ac:spMk id="880" creationId="{0B5CE50E-152F-D228-F6AA-627411C84355}"/>
          </ac:spMkLst>
        </pc:spChg>
        <pc:spChg chg="add del mod">
          <ac:chgData name="Steiner Andreas 6206 ED" userId="e6377c33-a923-4f14-8587-531c474c7b48" providerId="ADAL" clId="{6ECD27E6-B224-41CD-B4E0-E297462320DD}" dt="2023-11-24T11:38:18.780" v="135212"/>
          <ac:spMkLst>
            <pc:docMk/>
            <pc:sldMk cId="1226083679" sldId="2147478575"/>
            <ac:spMk id="881" creationId="{108A1995-19F1-1281-AE24-F7B76CCBC34C}"/>
          </ac:spMkLst>
        </pc:spChg>
        <pc:spChg chg="add del mod">
          <ac:chgData name="Steiner Andreas 6206 ED" userId="e6377c33-a923-4f14-8587-531c474c7b48" providerId="ADAL" clId="{6ECD27E6-B224-41CD-B4E0-E297462320DD}" dt="2023-11-24T11:38:21.787" v="135367"/>
          <ac:spMkLst>
            <pc:docMk/>
            <pc:sldMk cId="1226083679" sldId="2147478575"/>
            <ac:spMk id="882" creationId="{5ADE5A02-B89C-D8B7-D838-866CB2EC3B3E}"/>
          </ac:spMkLst>
        </pc:spChg>
        <pc:spChg chg="add del mod">
          <ac:chgData name="Steiner Andreas 6206 ED" userId="e6377c33-a923-4f14-8587-531c474c7b48" providerId="ADAL" clId="{6ECD27E6-B224-41CD-B4E0-E297462320DD}" dt="2023-11-24T11:38:24.586" v="135522"/>
          <ac:spMkLst>
            <pc:docMk/>
            <pc:sldMk cId="1226083679" sldId="2147478575"/>
            <ac:spMk id="883" creationId="{5946C743-FCE5-0E25-E6D5-A5D88A554FD4}"/>
          </ac:spMkLst>
        </pc:spChg>
        <pc:spChg chg="add del mod">
          <ac:chgData name="Steiner Andreas 6206 ED" userId="e6377c33-a923-4f14-8587-531c474c7b48" providerId="ADAL" clId="{6ECD27E6-B224-41CD-B4E0-E297462320DD}" dt="2023-11-24T11:38:27.332" v="135677"/>
          <ac:spMkLst>
            <pc:docMk/>
            <pc:sldMk cId="1226083679" sldId="2147478575"/>
            <ac:spMk id="884" creationId="{25F3D2A0-7819-24A9-BE49-C732BF7B64FC}"/>
          </ac:spMkLst>
        </pc:spChg>
        <pc:spChg chg="add del mod">
          <ac:chgData name="Steiner Andreas 6206 ED" userId="e6377c33-a923-4f14-8587-531c474c7b48" providerId="ADAL" clId="{6ECD27E6-B224-41CD-B4E0-E297462320DD}" dt="2023-11-24T11:38:29.910" v="135832"/>
          <ac:spMkLst>
            <pc:docMk/>
            <pc:sldMk cId="1226083679" sldId="2147478575"/>
            <ac:spMk id="885" creationId="{61473679-72E1-0504-9465-D611FFFD0E92}"/>
          </ac:spMkLst>
        </pc:spChg>
        <pc:spChg chg="add del mod">
          <ac:chgData name="Steiner Andreas 6206 ED" userId="e6377c33-a923-4f14-8587-531c474c7b48" providerId="ADAL" clId="{6ECD27E6-B224-41CD-B4E0-E297462320DD}" dt="2023-11-24T11:38:32.385" v="135987"/>
          <ac:spMkLst>
            <pc:docMk/>
            <pc:sldMk cId="1226083679" sldId="2147478575"/>
            <ac:spMk id="886" creationId="{5AD5E76B-7012-C499-9342-2FB1B661BDE3}"/>
          </ac:spMkLst>
        </pc:spChg>
        <pc:spChg chg="add del mod">
          <ac:chgData name="Steiner Andreas 6206 ED" userId="e6377c33-a923-4f14-8587-531c474c7b48" providerId="ADAL" clId="{6ECD27E6-B224-41CD-B4E0-E297462320DD}" dt="2023-11-24T11:38:34.888" v="136142"/>
          <ac:spMkLst>
            <pc:docMk/>
            <pc:sldMk cId="1226083679" sldId="2147478575"/>
            <ac:spMk id="887" creationId="{93CAA3A3-BE6E-C5BE-7308-87910A8C0EF1}"/>
          </ac:spMkLst>
        </pc:spChg>
        <pc:spChg chg="add del mod">
          <ac:chgData name="Steiner Andreas 6206 ED" userId="e6377c33-a923-4f14-8587-531c474c7b48" providerId="ADAL" clId="{6ECD27E6-B224-41CD-B4E0-E297462320DD}" dt="2023-11-24T11:38:37.349" v="136297"/>
          <ac:spMkLst>
            <pc:docMk/>
            <pc:sldMk cId="1226083679" sldId="2147478575"/>
            <ac:spMk id="888" creationId="{DF745E71-1C21-DDEC-A01E-487646F151DE}"/>
          </ac:spMkLst>
        </pc:spChg>
        <pc:spChg chg="add del mod">
          <ac:chgData name="Steiner Andreas 6206 ED" userId="e6377c33-a923-4f14-8587-531c474c7b48" providerId="ADAL" clId="{6ECD27E6-B224-41CD-B4E0-E297462320DD}" dt="2023-11-24T11:38:40.276" v="136452"/>
          <ac:spMkLst>
            <pc:docMk/>
            <pc:sldMk cId="1226083679" sldId="2147478575"/>
            <ac:spMk id="889" creationId="{124147F2-D0CF-392A-0F95-08010BBC9FAE}"/>
          </ac:spMkLst>
        </pc:spChg>
        <pc:spChg chg="add del mod">
          <ac:chgData name="Steiner Andreas 6206 ED" userId="e6377c33-a923-4f14-8587-531c474c7b48" providerId="ADAL" clId="{6ECD27E6-B224-41CD-B4E0-E297462320DD}" dt="2023-11-24T11:38:42.687" v="136607"/>
          <ac:spMkLst>
            <pc:docMk/>
            <pc:sldMk cId="1226083679" sldId="2147478575"/>
            <ac:spMk id="890" creationId="{B9280365-0ADC-B176-9168-08F016F83741}"/>
          </ac:spMkLst>
        </pc:spChg>
        <pc:spChg chg="add del mod">
          <ac:chgData name="Steiner Andreas 6206 ED" userId="e6377c33-a923-4f14-8587-531c474c7b48" providerId="ADAL" clId="{6ECD27E6-B224-41CD-B4E0-E297462320DD}" dt="2023-11-24T11:38:45.041" v="136762"/>
          <ac:spMkLst>
            <pc:docMk/>
            <pc:sldMk cId="1226083679" sldId="2147478575"/>
            <ac:spMk id="891" creationId="{AC74C895-6CFD-AF4A-4663-EF787FB0CAE6}"/>
          </ac:spMkLst>
        </pc:spChg>
        <pc:spChg chg="add del mod">
          <ac:chgData name="Steiner Andreas 6206 ED" userId="e6377c33-a923-4f14-8587-531c474c7b48" providerId="ADAL" clId="{6ECD27E6-B224-41CD-B4E0-E297462320DD}" dt="2023-11-24T11:38:47.376" v="136917"/>
          <ac:spMkLst>
            <pc:docMk/>
            <pc:sldMk cId="1226083679" sldId="2147478575"/>
            <ac:spMk id="892" creationId="{C1C2CA0E-B636-C981-171A-DF5607A5A412}"/>
          </ac:spMkLst>
        </pc:spChg>
        <pc:spChg chg="add del mod">
          <ac:chgData name="Steiner Andreas 6206 ED" userId="e6377c33-a923-4f14-8587-531c474c7b48" providerId="ADAL" clId="{6ECD27E6-B224-41CD-B4E0-E297462320DD}" dt="2023-11-24T11:38:50.329" v="137072"/>
          <ac:spMkLst>
            <pc:docMk/>
            <pc:sldMk cId="1226083679" sldId="2147478575"/>
            <ac:spMk id="893" creationId="{0201DF91-6AA0-B111-20A8-90D936BC8BB2}"/>
          </ac:spMkLst>
        </pc:spChg>
        <pc:spChg chg="add del mod">
          <ac:chgData name="Steiner Andreas 6206 ED" userId="e6377c33-a923-4f14-8587-531c474c7b48" providerId="ADAL" clId="{6ECD27E6-B224-41CD-B4E0-E297462320DD}" dt="2023-11-24T11:38:52.867" v="137227"/>
          <ac:spMkLst>
            <pc:docMk/>
            <pc:sldMk cId="1226083679" sldId="2147478575"/>
            <ac:spMk id="894" creationId="{26617F64-0606-2D61-4903-E708229A539C}"/>
          </ac:spMkLst>
        </pc:spChg>
        <pc:spChg chg="add del mod">
          <ac:chgData name="Steiner Andreas 6206 ED" userId="e6377c33-a923-4f14-8587-531c474c7b48" providerId="ADAL" clId="{6ECD27E6-B224-41CD-B4E0-E297462320DD}" dt="2023-11-24T11:38:55.296" v="137382"/>
          <ac:spMkLst>
            <pc:docMk/>
            <pc:sldMk cId="1226083679" sldId="2147478575"/>
            <ac:spMk id="895" creationId="{64E82C74-28F1-4517-B192-0252A945F0E9}"/>
          </ac:spMkLst>
        </pc:spChg>
        <pc:spChg chg="add del mod">
          <ac:chgData name="Steiner Andreas 6206 ED" userId="e6377c33-a923-4f14-8587-531c474c7b48" providerId="ADAL" clId="{6ECD27E6-B224-41CD-B4E0-E297462320DD}" dt="2023-11-24T11:38:57.949" v="137537"/>
          <ac:spMkLst>
            <pc:docMk/>
            <pc:sldMk cId="1226083679" sldId="2147478575"/>
            <ac:spMk id="896" creationId="{3FF5F596-2D46-01F7-2C06-429FE1F8F515}"/>
          </ac:spMkLst>
        </pc:spChg>
        <pc:spChg chg="add del mod">
          <ac:chgData name="Steiner Andreas 6206 ED" userId="e6377c33-a923-4f14-8587-531c474c7b48" providerId="ADAL" clId="{6ECD27E6-B224-41CD-B4E0-E297462320DD}" dt="2023-11-24T11:39:00.195" v="137692"/>
          <ac:spMkLst>
            <pc:docMk/>
            <pc:sldMk cId="1226083679" sldId="2147478575"/>
            <ac:spMk id="897" creationId="{667C6351-421D-B3A1-1095-D0C8EA5DBCEE}"/>
          </ac:spMkLst>
        </pc:spChg>
        <pc:spChg chg="add del mod">
          <ac:chgData name="Steiner Andreas 6206 ED" userId="e6377c33-a923-4f14-8587-531c474c7b48" providerId="ADAL" clId="{6ECD27E6-B224-41CD-B4E0-E297462320DD}" dt="2023-11-24T11:39:03.037" v="137847"/>
          <ac:spMkLst>
            <pc:docMk/>
            <pc:sldMk cId="1226083679" sldId="2147478575"/>
            <ac:spMk id="898" creationId="{8EA636FD-9529-6C79-6DBD-188A9695C065}"/>
          </ac:spMkLst>
        </pc:spChg>
        <pc:spChg chg="add del mod">
          <ac:chgData name="Steiner Andreas 6206 ED" userId="e6377c33-a923-4f14-8587-531c474c7b48" providerId="ADAL" clId="{6ECD27E6-B224-41CD-B4E0-E297462320DD}" dt="2023-11-24T11:39:05.797" v="138002"/>
          <ac:spMkLst>
            <pc:docMk/>
            <pc:sldMk cId="1226083679" sldId="2147478575"/>
            <ac:spMk id="899" creationId="{FD13F4F2-2ABF-5A97-820C-C562ADC07F74}"/>
          </ac:spMkLst>
        </pc:spChg>
        <pc:spChg chg="add del mod">
          <ac:chgData name="Steiner Andreas 6206 ED" userId="e6377c33-a923-4f14-8587-531c474c7b48" providerId="ADAL" clId="{6ECD27E6-B224-41CD-B4E0-E297462320DD}" dt="2023-11-24T11:39:08.317" v="138157"/>
          <ac:spMkLst>
            <pc:docMk/>
            <pc:sldMk cId="1226083679" sldId="2147478575"/>
            <ac:spMk id="900" creationId="{61B1C628-2F0F-1073-DFE6-5C667BF377E0}"/>
          </ac:spMkLst>
        </pc:spChg>
        <pc:spChg chg="add del mod">
          <ac:chgData name="Steiner Andreas 6206 ED" userId="e6377c33-a923-4f14-8587-531c474c7b48" providerId="ADAL" clId="{6ECD27E6-B224-41CD-B4E0-E297462320DD}" dt="2023-11-24T11:39:10.675" v="138312"/>
          <ac:spMkLst>
            <pc:docMk/>
            <pc:sldMk cId="1226083679" sldId="2147478575"/>
            <ac:spMk id="901" creationId="{C83419DC-18CC-3FEC-299B-3730BAF25596}"/>
          </ac:spMkLst>
        </pc:spChg>
        <pc:spChg chg="add del mod">
          <ac:chgData name="Steiner Andreas 6206 ED" userId="e6377c33-a923-4f14-8587-531c474c7b48" providerId="ADAL" clId="{6ECD27E6-B224-41CD-B4E0-E297462320DD}" dt="2023-11-24T11:39:13.168" v="138467"/>
          <ac:spMkLst>
            <pc:docMk/>
            <pc:sldMk cId="1226083679" sldId="2147478575"/>
            <ac:spMk id="902" creationId="{CEA9209A-FA52-7F89-79AB-0CEA86EFB27F}"/>
          </ac:spMkLst>
        </pc:spChg>
        <pc:spChg chg="add del mod">
          <ac:chgData name="Steiner Andreas 6206 ED" userId="e6377c33-a923-4f14-8587-531c474c7b48" providerId="ADAL" clId="{6ECD27E6-B224-41CD-B4E0-E297462320DD}" dt="2023-11-24T11:39:15.869" v="138622"/>
          <ac:spMkLst>
            <pc:docMk/>
            <pc:sldMk cId="1226083679" sldId="2147478575"/>
            <ac:spMk id="903" creationId="{9370A492-DBE5-E54D-26C1-3ED44C8B6F1A}"/>
          </ac:spMkLst>
        </pc:spChg>
        <pc:spChg chg="add del mod">
          <ac:chgData name="Steiner Andreas 6206 ED" userId="e6377c33-a923-4f14-8587-531c474c7b48" providerId="ADAL" clId="{6ECD27E6-B224-41CD-B4E0-E297462320DD}" dt="2023-11-24T11:39:18.710" v="138777"/>
          <ac:spMkLst>
            <pc:docMk/>
            <pc:sldMk cId="1226083679" sldId="2147478575"/>
            <ac:spMk id="904" creationId="{90602E92-075C-DCEE-13EC-3C94E772D607}"/>
          </ac:spMkLst>
        </pc:spChg>
        <pc:spChg chg="add del mod">
          <ac:chgData name="Steiner Andreas 6206 ED" userId="e6377c33-a923-4f14-8587-531c474c7b48" providerId="ADAL" clId="{6ECD27E6-B224-41CD-B4E0-E297462320DD}" dt="2023-11-24T11:39:21.332" v="138932"/>
          <ac:spMkLst>
            <pc:docMk/>
            <pc:sldMk cId="1226083679" sldId="2147478575"/>
            <ac:spMk id="905" creationId="{5E067C49-2DB4-0197-8C34-7A76C5383FDE}"/>
          </ac:spMkLst>
        </pc:spChg>
        <pc:spChg chg="add del mod">
          <ac:chgData name="Steiner Andreas 6206 ED" userId="e6377c33-a923-4f14-8587-531c474c7b48" providerId="ADAL" clId="{6ECD27E6-B224-41CD-B4E0-E297462320DD}" dt="2023-11-24T11:39:23.923" v="139087"/>
          <ac:spMkLst>
            <pc:docMk/>
            <pc:sldMk cId="1226083679" sldId="2147478575"/>
            <ac:spMk id="906" creationId="{4D455131-02BC-5DB4-ED8F-21B5D2C5F935}"/>
          </ac:spMkLst>
        </pc:spChg>
        <pc:spChg chg="add del mod">
          <ac:chgData name="Steiner Andreas 6206 ED" userId="e6377c33-a923-4f14-8587-531c474c7b48" providerId="ADAL" clId="{6ECD27E6-B224-41CD-B4E0-E297462320DD}" dt="2023-11-24T11:39:26.623" v="139242"/>
          <ac:spMkLst>
            <pc:docMk/>
            <pc:sldMk cId="1226083679" sldId="2147478575"/>
            <ac:spMk id="907" creationId="{C74F64D1-D7A2-ADF8-CC3B-68BE22CFA54A}"/>
          </ac:spMkLst>
        </pc:spChg>
        <pc:spChg chg="add del mod">
          <ac:chgData name="Steiner Andreas 6206 ED" userId="e6377c33-a923-4f14-8587-531c474c7b48" providerId="ADAL" clId="{6ECD27E6-B224-41CD-B4E0-E297462320DD}" dt="2023-11-24T11:39:29.314" v="139397"/>
          <ac:spMkLst>
            <pc:docMk/>
            <pc:sldMk cId="1226083679" sldId="2147478575"/>
            <ac:spMk id="908" creationId="{ED43B88A-5764-8CF9-8B69-F9641169E229}"/>
          </ac:spMkLst>
        </pc:spChg>
        <pc:spChg chg="add del mod">
          <ac:chgData name="Steiner Andreas 6206 ED" userId="e6377c33-a923-4f14-8587-531c474c7b48" providerId="ADAL" clId="{6ECD27E6-B224-41CD-B4E0-E297462320DD}" dt="2023-11-24T11:39:32.322" v="139552"/>
          <ac:spMkLst>
            <pc:docMk/>
            <pc:sldMk cId="1226083679" sldId="2147478575"/>
            <ac:spMk id="909" creationId="{CAE49101-CC35-E13E-9E7D-D51AB2651DAE}"/>
          </ac:spMkLst>
        </pc:spChg>
        <pc:spChg chg="add del mod">
          <ac:chgData name="Steiner Andreas 6206 ED" userId="e6377c33-a923-4f14-8587-531c474c7b48" providerId="ADAL" clId="{6ECD27E6-B224-41CD-B4E0-E297462320DD}" dt="2023-11-24T11:39:35.029" v="139707"/>
          <ac:spMkLst>
            <pc:docMk/>
            <pc:sldMk cId="1226083679" sldId="2147478575"/>
            <ac:spMk id="910" creationId="{9CA299CC-CED9-396A-8DAA-3505736AD159}"/>
          </ac:spMkLst>
        </pc:spChg>
        <pc:spChg chg="add del mod">
          <ac:chgData name="Steiner Andreas 6206 ED" userId="e6377c33-a923-4f14-8587-531c474c7b48" providerId="ADAL" clId="{6ECD27E6-B224-41CD-B4E0-E297462320DD}" dt="2023-11-24T11:39:37.827" v="139862"/>
          <ac:spMkLst>
            <pc:docMk/>
            <pc:sldMk cId="1226083679" sldId="2147478575"/>
            <ac:spMk id="911" creationId="{626D62EB-4A34-2C06-FCC9-5AB160157A39}"/>
          </ac:spMkLst>
        </pc:spChg>
        <pc:spChg chg="add del mod">
          <ac:chgData name="Steiner Andreas 6206 ED" userId="e6377c33-a923-4f14-8587-531c474c7b48" providerId="ADAL" clId="{6ECD27E6-B224-41CD-B4E0-E297462320DD}" dt="2023-11-24T11:39:40.650" v="140017"/>
          <ac:spMkLst>
            <pc:docMk/>
            <pc:sldMk cId="1226083679" sldId="2147478575"/>
            <ac:spMk id="912" creationId="{0FB06127-186B-894B-B950-7053A1E0C753}"/>
          </ac:spMkLst>
        </pc:spChg>
        <pc:spChg chg="add del mod">
          <ac:chgData name="Steiner Andreas 6206 ED" userId="e6377c33-a923-4f14-8587-531c474c7b48" providerId="ADAL" clId="{6ECD27E6-B224-41CD-B4E0-E297462320DD}" dt="2023-11-24T11:39:43.202" v="140172"/>
          <ac:spMkLst>
            <pc:docMk/>
            <pc:sldMk cId="1226083679" sldId="2147478575"/>
            <ac:spMk id="913" creationId="{40BA6DA1-4109-996F-AC48-A96AF0728B62}"/>
          </ac:spMkLst>
        </pc:spChg>
        <pc:spChg chg="add del mod">
          <ac:chgData name="Steiner Andreas 6206 ED" userId="e6377c33-a923-4f14-8587-531c474c7b48" providerId="ADAL" clId="{6ECD27E6-B224-41CD-B4E0-E297462320DD}" dt="2023-11-24T11:39:45.904" v="140327"/>
          <ac:spMkLst>
            <pc:docMk/>
            <pc:sldMk cId="1226083679" sldId="2147478575"/>
            <ac:spMk id="914" creationId="{957A4C50-F4E7-A3E1-658C-E4B1B493EA80}"/>
          </ac:spMkLst>
        </pc:spChg>
        <pc:spChg chg="add del mod">
          <ac:chgData name="Steiner Andreas 6206 ED" userId="e6377c33-a923-4f14-8587-531c474c7b48" providerId="ADAL" clId="{6ECD27E6-B224-41CD-B4E0-E297462320DD}" dt="2023-11-24T11:39:48.307" v="140482"/>
          <ac:spMkLst>
            <pc:docMk/>
            <pc:sldMk cId="1226083679" sldId="2147478575"/>
            <ac:spMk id="915" creationId="{BEB4D749-BC01-00D0-2F45-436348B38F60}"/>
          </ac:spMkLst>
        </pc:spChg>
        <pc:spChg chg="add del mod">
          <ac:chgData name="Steiner Andreas 6206 ED" userId="e6377c33-a923-4f14-8587-531c474c7b48" providerId="ADAL" clId="{6ECD27E6-B224-41CD-B4E0-E297462320DD}" dt="2023-11-24T11:39:51.273" v="140637"/>
          <ac:spMkLst>
            <pc:docMk/>
            <pc:sldMk cId="1226083679" sldId="2147478575"/>
            <ac:spMk id="916" creationId="{741A0B40-7CB2-40BD-1D43-236D6219A023}"/>
          </ac:spMkLst>
        </pc:spChg>
        <pc:spChg chg="add del mod">
          <ac:chgData name="Steiner Andreas 6206 ED" userId="e6377c33-a923-4f14-8587-531c474c7b48" providerId="ADAL" clId="{6ECD27E6-B224-41CD-B4E0-E297462320DD}" dt="2023-11-24T11:39:54.203" v="140792"/>
          <ac:spMkLst>
            <pc:docMk/>
            <pc:sldMk cId="1226083679" sldId="2147478575"/>
            <ac:spMk id="917" creationId="{BC2E7DA3-7A5B-C36B-15ED-B5EAD0E4FF48}"/>
          </ac:spMkLst>
        </pc:spChg>
        <pc:spChg chg="add del mod">
          <ac:chgData name="Steiner Andreas 6206 ED" userId="e6377c33-a923-4f14-8587-531c474c7b48" providerId="ADAL" clId="{6ECD27E6-B224-41CD-B4E0-E297462320DD}" dt="2023-11-24T11:39:56.728" v="140947"/>
          <ac:spMkLst>
            <pc:docMk/>
            <pc:sldMk cId="1226083679" sldId="2147478575"/>
            <ac:spMk id="918" creationId="{7D2FBBE2-83FC-66BF-4296-E13B394A14F6}"/>
          </ac:spMkLst>
        </pc:spChg>
        <pc:spChg chg="add del mod">
          <ac:chgData name="Steiner Andreas 6206 ED" userId="e6377c33-a923-4f14-8587-531c474c7b48" providerId="ADAL" clId="{6ECD27E6-B224-41CD-B4E0-E297462320DD}" dt="2023-11-24T11:39:59.090" v="141102"/>
          <ac:spMkLst>
            <pc:docMk/>
            <pc:sldMk cId="1226083679" sldId="2147478575"/>
            <ac:spMk id="919" creationId="{61133125-92F8-8C8A-DD81-C7C308E736C4}"/>
          </ac:spMkLst>
        </pc:spChg>
        <pc:spChg chg="add del mod">
          <ac:chgData name="Steiner Andreas 6206 ED" userId="e6377c33-a923-4f14-8587-531c474c7b48" providerId="ADAL" clId="{6ECD27E6-B224-41CD-B4E0-E297462320DD}" dt="2023-11-24T11:40:01.694" v="141257"/>
          <ac:spMkLst>
            <pc:docMk/>
            <pc:sldMk cId="1226083679" sldId="2147478575"/>
            <ac:spMk id="920" creationId="{EED3248D-F272-E1A8-F070-A4D717520877}"/>
          </ac:spMkLst>
        </pc:spChg>
        <pc:spChg chg="add del mod">
          <ac:chgData name="Steiner Andreas 6206 ED" userId="e6377c33-a923-4f14-8587-531c474c7b48" providerId="ADAL" clId="{6ECD27E6-B224-41CD-B4E0-E297462320DD}" dt="2023-11-24T11:40:04.657" v="141412"/>
          <ac:spMkLst>
            <pc:docMk/>
            <pc:sldMk cId="1226083679" sldId="2147478575"/>
            <ac:spMk id="921" creationId="{97AE1968-F1E0-6EC3-4CAF-7B3844CE7084}"/>
          </ac:spMkLst>
        </pc:spChg>
        <pc:spChg chg="add del mod">
          <ac:chgData name="Steiner Andreas 6206 ED" userId="e6377c33-a923-4f14-8587-531c474c7b48" providerId="ADAL" clId="{6ECD27E6-B224-41CD-B4E0-E297462320DD}" dt="2023-11-24T11:40:07.412" v="141567"/>
          <ac:spMkLst>
            <pc:docMk/>
            <pc:sldMk cId="1226083679" sldId="2147478575"/>
            <ac:spMk id="922" creationId="{A978BDF4-0E4C-F562-ADD1-1F81BAB7CAE8}"/>
          </ac:spMkLst>
        </pc:spChg>
        <pc:spChg chg="add del mod">
          <ac:chgData name="Steiner Andreas 6206 ED" userId="e6377c33-a923-4f14-8587-531c474c7b48" providerId="ADAL" clId="{6ECD27E6-B224-41CD-B4E0-E297462320DD}" dt="2023-11-24T11:40:09.878" v="141722"/>
          <ac:spMkLst>
            <pc:docMk/>
            <pc:sldMk cId="1226083679" sldId="2147478575"/>
            <ac:spMk id="923" creationId="{63AC426E-BD15-44AA-97B8-680CA9630E0E}"/>
          </ac:spMkLst>
        </pc:spChg>
        <pc:spChg chg="add del mod">
          <ac:chgData name="Steiner Andreas 6206 ED" userId="e6377c33-a923-4f14-8587-531c474c7b48" providerId="ADAL" clId="{6ECD27E6-B224-41CD-B4E0-E297462320DD}" dt="2023-11-24T11:40:12.335" v="141877"/>
          <ac:spMkLst>
            <pc:docMk/>
            <pc:sldMk cId="1226083679" sldId="2147478575"/>
            <ac:spMk id="924" creationId="{A914B5BD-FD07-2366-8DAC-518E1AB725FB}"/>
          </ac:spMkLst>
        </pc:spChg>
        <pc:spChg chg="add del mod">
          <ac:chgData name="Steiner Andreas 6206 ED" userId="e6377c33-a923-4f14-8587-531c474c7b48" providerId="ADAL" clId="{6ECD27E6-B224-41CD-B4E0-E297462320DD}" dt="2023-11-24T11:40:15.671" v="142032"/>
          <ac:spMkLst>
            <pc:docMk/>
            <pc:sldMk cId="1226083679" sldId="2147478575"/>
            <ac:spMk id="925" creationId="{8A71DBAC-E886-BE74-19C8-6AB0C34346D0}"/>
          </ac:spMkLst>
        </pc:spChg>
        <pc:spChg chg="add del mod">
          <ac:chgData name="Steiner Andreas 6206 ED" userId="e6377c33-a923-4f14-8587-531c474c7b48" providerId="ADAL" clId="{6ECD27E6-B224-41CD-B4E0-E297462320DD}" dt="2023-11-24T11:40:19.258" v="142187"/>
          <ac:spMkLst>
            <pc:docMk/>
            <pc:sldMk cId="1226083679" sldId="2147478575"/>
            <ac:spMk id="926" creationId="{BC16BB98-1012-6472-C0A4-2145FCE37AD4}"/>
          </ac:spMkLst>
        </pc:spChg>
        <pc:spChg chg="add del mod">
          <ac:chgData name="Steiner Andreas 6206 ED" userId="e6377c33-a923-4f14-8587-531c474c7b48" providerId="ADAL" clId="{6ECD27E6-B224-41CD-B4E0-E297462320DD}" dt="2023-11-24T11:40:22.205" v="142342"/>
          <ac:spMkLst>
            <pc:docMk/>
            <pc:sldMk cId="1226083679" sldId="2147478575"/>
            <ac:spMk id="927" creationId="{0451D632-3D3D-95F8-E175-B3F901CD83AC}"/>
          </ac:spMkLst>
        </pc:spChg>
        <pc:spChg chg="add del mod">
          <ac:chgData name="Steiner Andreas 6206 ED" userId="e6377c33-a923-4f14-8587-531c474c7b48" providerId="ADAL" clId="{6ECD27E6-B224-41CD-B4E0-E297462320DD}" dt="2023-11-24T11:40:24.890" v="142497"/>
          <ac:spMkLst>
            <pc:docMk/>
            <pc:sldMk cId="1226083679" sldId="2147478575"/>
            <ac:spMk id="928" creationId="{8958D318-A7C7-F37C-3C8B-8858FC713D53}"/>
          </ac:spMkLst>
        </pc:spChg>
        <pc:spChg chg="add del mod">
          <ac:chgData name="Steiner Andreas 6206 ED" userId="e6377c33-a923-4f14-8587-531c474c7b48" providerId="ADAL" clId="{6ECD27E6-B224-41CD-B4E0-E297462320DD}" dt="2023-11-24T11:40:27.889" v="142652"/>
          <ac:spMkLst>
            <pc:docMk/>
            <pc:sldMk cId="1226083679" sldId="2147478575"/>
            <ac:spMk id="929" creationId="{8B9AD41B-6DAE-9E3E-BD9C-F117A951F381}"/>
          </ac:spMkLst>
        </pc:spChg>
        <pc:spChg chg="add del mod">
          <ac:chgData name="Steiner Andreas 6206 ED" userId="e6377c33-a923-4f14-8587-531c474c7b48" providerId="ADAL" clId="{6ECD27E6-B224-41CD-B4E0-E297462320DD}" dt="2023-11-24T11:40:30.719" v="142807"/>
          <ac:spMkLst>
            <pc:docMk/>
            <pc:sldMk cId="1226083679" sldId="2147478575"/>
            <ac:spMk id="930" creationId="{CC56198E-DFAF-8069-AD3E-B2663CD76B06}"/>
          </ac:spMkLst>
        </pc:spChg>
        <pc:spChg chg="add del mod">
          <ac:chgData name="Steiner Andreas 6206 ED" userId="e6377c33-a923-4f14-8587-531c474c7b48" providerId="ADAL" clId="{6ECD27E6-B224-41CD-B4E0-E297462320DD}" dt="2023-11-24T11:40:33.228" v="142962"/>
          <ac:spMkLst>
            <pc:docMk/>
            <pc:sldMk cId="1226083679" sldId="2147478575"/>
            <ac:spMk id="931" creationId="{6C83E7B1-5076-E3A2-0688-8D5E15AA997C}"/>
          </ac:spMkLst>
        </pc:spChg>
        <pc:spChg chg="add del mod">
          <ac:chgData name="Steiner Andreas 6206 ED" userId="e6377c33-a923-4f14-8587-531c474c7b48" providerId="ADAL" clId="{6ECD27E6-B224-41CD-B4E0-E297462320DD}" dt="2023-11-24T11:40:35.787" v="143117"/>
          <ac:spMkLst>
            <pc:docMk/>
            <pc:sldMk cId="1226083679" sldId="2147478575"/>
            <ac:spMk id="932" creationId="{E64F4FC6-8E3A-A27D-974B-250E0F94E28D}"/>
          </ac:spMkLst>
        </pc:spChg>
        <pc:spChg chg="add del mod">
          <ac:chgData name="Steiner Andreas 6206 ED" userId="e6377c33-a923-4f14-8587-531c474c7b48" providerId="ADAL" clId="{6ECD27E6-B224-41CD-B4E0-E297462320DD}" dt="2023-11-24T11:40:38.901" v="143272"/>
          <ac:spMkLst>
            <pc:docMk/>
            <pc:sldMk cId="1226083679" sldId="2147478575"/>
            <ac:spMk id="933" creationId="{B406F2F5-1F83-1B91-9139-FD089AEF0C2D}"/>
          </ac:spMkLst>
        </pc:spChg>
        <pc:spChg chg="add del mod">
          <ac:chgData name="Steiner Andreas 6206 ED" userId="e6377c33-a923-4f14-8587-531c474c7b48" providerId="ADAL" clId="{6ECD27E6-B224-41CD-B4E0-E297462320DD}" dt="2023-11-24T11:40:41.923" v="143427"/>
          <ac:spMkLst>
            <pc:docMk/>
            <pc:sldMk cId="1226083679" sldId="2147478575"/>
            <ac:spMk id="934" creationId="{8E7BD7D7-4D4E-C955-07CA-0622E4B0D8A9}"/>
          </ac:spMkLst>
        </pc:spChg>
        <pc:spChg chg="add del mod">
          <ac:chgData name="Steiner Andreas 6206 ED" userId="e6377c33-a923-4f14-8587-531c474c7b48" providerId="ADAL" clId="{6ECD27E6-B224-41CD-B4E0-E297462320DD}" dt="2023-11-24T11:40:44.636" v="143582"/>
          <ac:spMkLst>
            <pc:docMk/>
            <pc:sldMk cId="1226083679" sldId="2147478575"/>
            <ac:spMk id="935" creationId="{B1768D8D-EBA4-C189-4CE3-0E01B0CA8024}"/>
          </ac:spMkLst>
        </pc:spChg>
        <pc:spChg chg="add del mod">
          <ac:chgData name="Steiner Andreas 6206 ED" userId="e6377c33-a923-4f14-8587-531c474c7b48" providerId="ADAL" clId="{6ECD27E6-B224-41CD-B4E0-E297462320DD}" dt="2023-11-24T11:40:47.408" v="143737"/>
          <ac:spMkLst>
            <pc:docMk/>
            <pc:sldMk cId="1226083679" sldId="2147478575"/>
            <ac:spMk id="936" creationId="{3584747F-EAB6-B0DF-9EE0-D9EEFEE44785}"/>
          </ac:spMkLst>
        </pc:spChg>
        <pc:spChg chg="add del mod">
          <ac:chgData name="Steiner Andreas 6206 ED" userId="e6377c33-a923-4f14-8587-531c474c7b48" providerId="ADAL" clId="{6ECD27E6-B224-41CD-B4E0-E297462320DD}" dt="2023-11-24T11:40:50.200" v="143892"/>
          <ac:spMkLst>
            <pc:docMk/>
            <pc:sldMk cId="1226083679" sldId="2147478575"/>
            <ac:spMk id="937" creationId="{B645B140-D92F-D2E5-D4F9-6740A9391D95}"/>
          </ac:spMkLst>
        </pc:spChg>
        <pc:spChg chg="add del mod">
          <ac:chgData name="Steiner Andreas 6206 ED" userId="e6377c33-a923-4f14-8587-531c474c7b48" providerId="ADAL" clId="{6ECD27E6-B224-41CD-B4E0-E297462320DD}" dt="2023-11-24T11:40:53.024" v="144047"/>
          <ac:spMkLst>
            <pc:docMk/>
            <pc:sldMk cId="1226083679" sldId="2147478575"/>
            <ac:spMk id="938" creationId="{8163C309-7501-F7D6-7AEA-A068582DABC0}"/>
          </ac:spMkLst>
        </pc:spChg>
        <pc:spChg chg="add del mod">
          <ac:chgData name="Steiner Andreas 6206 ED" userId="e6377c33-a923-4f14-8587-531c474c7b48" providerId="ADAL" clId="{6ECD27E6-B224-41CD-B4E0-E297462320DD}" dt="2023-11-24T11:40:55.631" v="144202"/>
          <ac:spMkLst>
            <pc:docMk/>
            <pc:sldMk cId="1226083679" sldId="2147478575"/>
            <ac:spMk id="939" creationId="{473F2105-2768-321A-DDDD-260AA451C5BE}"/>
          </ac:spMkLst>
        </pc:spChg>
        <pc:spChg chg="add del mod">
          <ac:chgData name="Steiner Andreas 6206 ED" userId="e6377c33-a923-4f14-8587-531c474c7b48" providerId="ADAL" clId="{6ECD27E6-B224-41CD-B4E0-E297462320DD}" dt="2023-11-24T11:40:58.287" v="144357"/>
          <ac:spMkLst>
            <pc:docMk/>
            <pc:sldMk cId="1226083679" sldId="2147478575"/>
            <ac:spMk id="940" creationId="{585C7910-D9D0-E425-F387-26588C241B3C}"/>
          </ac:spMkLst>
        </pc:spChg>
        <pc:spChg chg="add del mod">
          <ac:chgData name="Steiner Andreas 6206 ED" userId="e6377c33-a923-4f14-8587-531c474c7b48" providerId="ADAL" clId="{6ECD27E6-B224-41CD-B4E0-E297462320DD}" dt="2023-11-24T11:41:00.922" v="144512"/>
          <ac:spMkLst>
            <pc:docMk/>
            <pc:sldMk cId="1226083679" sldId="2147478575"/>
            <ac:spMk id="941" creationId="{4B217929-DCEB-88A8-76C9-6DBD23723C71}"/>
          </ac:spMkLst>
        </pc:spChg>
        <pc:spChg chg="add del mod">
          <ac:chgData name="Steiner Andreas 6206 ED" userId="e6377c33-a923-4f14-8587-531c474c7b48" providerId="ADAL" clId="{6ECD27E6-B224-41CD-B4E0-E297462320DD}" dt="2023-11-24T11:41:03.399" v="144667"/>
          <ac:spMkLst>
            <pc:docMk/>
            <pc:sldMk cId="1226083679" sldId="2147478575"/>
            <ac:spMk id="942" creationId="{177EE9A0-B793-E8F1-641C-A9C05457E60B}"/>
          </ac:spMkLst>
        </pc:spChg>
        <pc:spChg chg="add del mod">
          <ac:chgData name="Steiner Andreas 6206 ED" userId="e6377c33-a923-4f14-8587-531c474c7b48" providerId="ADAL" clId="{6ECD27E6-B224-41CD-B4E0-E297462320DD}" dt="2023-11-24T11:41:06.678" v="144822"/>
          <ac:spMkLst>
            <pc:docMk/>
            <pc:sldMk cId="1226083679" sldId="2147478575"/>
            <ac:spMk id="943" creationId="{04550794-6504-9AEE-4E50-209704167AA5}"/>
          </ac:spMkLst>
        </pc:spChg>
        <pc:spChg chg="add del mod">
          <ac:chgData name="Steiner Andreas 6206 ED" userId="e6377c33-a923-4f14-8587-531c474c7b48" providerId="ADAL" clId="{6ECD27E6-B224-41CD-B4E0-E297462320DD}" dt="2023-11-24T11:41:09.716" v="144977"/>
          <ac:spMkLst>
            <pc:docMk/>
            <pc:sldMk cId="1226083679" sldId="2147478575"/>
            <ac:spMk id="944" creationId="{EA010ACB-8FD1-A71C-7F09-800D9DA51325}"/>
          </ac:spMkLst>
        </pc:spChg>
        <pc:spChg chg="add del mod">
          <ac:chgData name="Steiner Andreas 6206 ED" userId="e6377c33-a923-4f14-8587-531c474c7b48" providerId="ADAL" clId="{6ECD27E6-B224-41CD-B4E0-E297462320DD}" dt="2023-11-24T11:41:12.556" v="145132"/>
          <ac:spMkLst>
            <pc:docMk/>
            <pc:sldMk cId="1226083679" sldId="2147478575"/>
            <ac:spMk id="945" creationId="{ADAD79D2-AD50-4FB7-9C9F-6B7173212A9D}"/>
          </ac:spMkLst>
        </pc:spChg>
        <pc:spChg chg="add del mod">
          <ac:chgData name="Steiner Andreas 6206 ED" userId="e6377c33-a923-4f14-8587-531c474c7b48" providerId="ADAL" clId="{6ECD27E6-B224-41CD-B4E0-E297462320DD}" dt="2023-11-24T11:41:15.511" v="145287"/>
          <ac:spMkLst>
            <pc:docMk/>
            <pc:sldMk cId="1226083679" sldId="2147478575"/>
            <ac:spMk id="946" creationId="{CE17F90D-455E-4A76-2DD1-0714C9A45C37}"/>
          </ac:spMkLst>
        </pc:spChg>
        <pc:spChg chg="add del mod">
          <ac:chgData name="Steiner Andreas 6206 ED" userId="e6377c33-a923-4f14-8587-531c474c7b48" providerId="ADAL" clId="{6ECD27E6-B224-41CD-B4E0-E297462320DD}" dt="2023-11-24T11:41:18.780" v="145442"/>
          <ac:spMkLst>
            <pc:docMk/>
            <pc:sldMk cId="1226083679" sldId="2147478575"/>
            <ac:spMk id="947" creationId="{C4412BFC-0C68-098B-40F1-F01DCF2C31D2}"/>
          </ac:spMkLst>
        </pc:spChg>
        <pc:spChg chg="add del mod">
          <ac:chgData name="Steiner Andreas 6206 ED" userId="e6377c33-a923-4f14-8587-531c474c7b48" providerId="ADAL" clId="{6ECD27E6-B224-41CD-B4E0-E297462320DD}" dt="2023-11-24T11:41:21.463" v="145597"/>
          <ac:spMkLst>
            <pc:docMk/>
            <pc:sldMk cId="1226083679" sldId="2147478575"/>
            <ac:spMk id="948" creationId="{41D16D09-8165-5120-9924-C094D25391F7}"/>
          </ac:spMkLst>
        </pc:spChg>
        <pc:spChg chg="add del mod">
          <ac:chgData name="Steiner Andreas 6206 ED" userId="e6377c33-a923-4f14-8587-531c474c7b48" providerId="ADAL" clId="{6ECD27E6-B224-41CD-B4E0-E297462320DD}" dt="2023-11-24T11:41:25.249" v="145752"/>
          <ac:spMkLst>
            <pc:docMk/>
            <pc:sldMk cId="1226083679" sldId="2147478575"/>
            <ac:spMk id="949" creationId="{FDEE4F69-2FF9-EAB6-34AB-9752854C4B00}"/>
          </ac:spMkLst>
        </pc:spChg>
        <pc:spChg chg="add del mod">
          <ac:chgData name="Steiner Andreas 6206 ED" userId="e6377c33-a923-4f14-8587-531c474c7b48" providerId="ADAL" clId="{6ECD27E6-B224-41CD-B4E0-E297462320DD}" dt="2023-11-24T11:41:28.185" v="145907"/>
          <ac:spMkLst>
            <pc:docMk/>
            <pc:sldMk cId="1226083679" sldId="2147478575"/>
            <ac:spMk id="950" creationId="{37749FD6-9706-2EF2-8389-8A2A290CA4A4}"/>
          </ac:spMkLst>
        </pc:spChg>
        <pc:spChg chg="add del mod">
          <ac:chgData name="Steiner Andreas 6206 ED" userId="e6377c33-a923-4f14-8587-531c474c7b48" providerId="ADAL" clId="{6ECD27E6-B224-41CD-B4E0-E297462320DD}" dt="2023-11-24T11:41:31.104" v="146062"/>
          <ac:spMkLst>
            <pc:docMk/>
            <pc:sldMk cId="1226083679" sldId="2147478575"/>
            <ac:spMk id="951" creationId="{79771E52-0AC8-8D8A-6206-BF4BF40F7BA2}"/>
          </ac:spMkLst>
        </pc:spChg>
        <pc:spChg chg="add del mod">
          <ac:chgData name="Steiner Andreas 6206 ED" userId="e6377c33-a923-4f14-8587-531c474c7b48" providerId="ADAL" clId="{6ECD27E6-B224-41CD-B4E0-E297462320DD}" dt="2023-11-24T11:41:33.322" v="146217"/>
          <ac:spMkLst>
            <pc:docMk/>
            <pc:sldMk cId="1226083679" sldId="2147478575"/>
            <ac:spMk id="952" creationId="{9781498D-9EFF-777B-57CA-874657E4D50E}"/>
          </ac:spMkLst>
        </pc:spChg>
        <pc:spChg chg="add del mod">
          <ac:chgData name="Steiner Andreas 6206 ED" userId="e6377c33-a923-4f14-8587-531c474c7b48" providerId="ADAL" clId="{6ECD27E6-B224-41CD-B4E0-E297462320DD}" dt="2023-11-24T11:41:35.442" v="146372"/>
          <ac:spMkLst>
            <pc:docMk/>
            <pc:sldMk cId="1226083679" sldId="2147478575"/>
            <ac:spMk id="953" creationId="{77044DB5-60DA-88A9-7C43-A84FE1323076}"/>
          </ac:spMkLst>
        </pc:spChg>
        <pc:spChg chg="add del mod">
          <ac:chgData name="Steiner Andreas 6206 ED" userId="e6377c33-a923-4f14-8587-531c474c7b48" providerId="ADAL" clId="{6ECD27E6-B224-41CD-B4E0-E297462320DD}" dt="2023-11-24T11:41:37.624" v="146527"/>
          <ac:spMkLst>
            <pc:docMk/>
            <pc:sldMk cId="1226083679" sldId="2147478575"/>
            <ac:spMk id="954" creationId="{476C7E59-46F8-5EBF-570E-5CDE528B821E}"/>
          </ac:spMkLst>
        </pc:spChg>
        <pc:spChg chg="add del mod">
          <ac:chgData name="Steiner Andreas 6206 ED" userId="e6377c33-a923-4f14-8587-531c474c7b48" providerId="ADAL" clId="{6ECD27E6-B224-41CD-B4E0-E297462320DD}" dt="2023-11-24T11:41:40.149" v="146682"/>
          <ac:spMkLst>
            <pc:docMk/>
            <pc:sldMk cId="1226083679" sldId="2147478575"/>
            <ac:spMk id="955" creationId="{CDFEBB6E-9905-4A1E-3B88-3E557724B684}"/>
          </ac:spMkLst>
        </pc:spChg>
        <pc:spChg chg="add del mod">
          <ac:chgData name="Steiner Andreas 6206 ED" userId="e6377c33-a923-4f14-8587-531c474c7b48" providerId="ADAL" clId="{6ECD27E6-B224-41CD-B4E0-E297462320DD}" dt="2023-11-24T11:41:42.594" v="146837"/>
          <ac:spMkLst>
            <pc:docMk/>
            <pc:sldMk cId="1226083679" sldId="2147478575"/>
            <ac:spMk id="956" creationId="{887DFCBC-8BF3-F9C7-EEFD-45ACB646F4B3}"/>
          </ac:spMkLst>
        </pc:spChg>
        <pc:spChg chg="add del mod">
          <ac:chgData name="Steiner Andreas 6206 ED" userId="e6377c33-a923-4f14-8587-531c474c7b48" providerId="ADAL" clId="{6ECD27E6-B224-41CD-B4E0-E297462320DD}" dt="2023-11-24T11:41:44.674" v="146992"/>
          <ac:spMkLst>
            <pc:docMk/>
            <pc:sldMk cId="1226083679" sldId="2147478575"/>
            <ac:spMk id="957" creationId="{6002A7FF-D150-D477-E89B-9BF7F5FE16A8}"/>
          </ac:spMkLst>
        </pc:spChg>
        <pc:spChg chg="add del mod">
          <ac:chgData name="Steiner Andreas 6206 ED" userId="e6377c33-a923-4f14-8587-531c474c7b48" providerId="ADAL" clId="{6ECD27E6-B224-41CD-B4E0-E297462320DD}" dt="2023-11-24T11:41:47.048" v="147147"/>
          <ac:spMkLst>
            <pc:docMk/>
            <pc:sldMk cId="1226083679" sldId="2147478575"/>
            <ac:spMk id="958" creationId="{545A59C8-98E3-94DC-7138-7B49766D79CF}"/>
          </ac:spMkLst>
        </pc:spChg>
        <pc:spChg chg="add del mod">
          <ac:chgData name="Steiner Andreas 6206 ED" userId="e6377c33-a923-4f14-8587-531c474c7b48" providerId="ADAL" clId="{6ECD27E6-B224-41CD-B4E0-E297462320DD}" dt="2023-11-24T11:41:49.182" v="147302"/>
          <ac:spMkLst>
            <pc:docMk/>
            <pc:sldMk cId="1226083679" sldId="2147478575"/>
            <ac:spMk id="959" creationId="{A9B807E8-807E-4BB0-D961-8EB205D23B66}"/>
          </ac:spMkLst>
        </pc:spChg>
        <pc:spChg chg="add del mod">
          <ac:chgData name="Steiner Andreas 6206 ED" userId="e6377c33-a923-4f14-8587-531c474c7b48" providerId="ADAL" clId="{6ECD27E6-B224-41CD-B4E0-E297462320DD}" dt="2023-11-24T11:41:51.565" v="147457"/>
          <ac:spMkLst>
            <pc:docMk/>
            <pc:sldMk cId="1226083679" sldId="2147478575"/>
            <ac:spMk id="960" creationId="{33279351-9622-2ACD-EDDA-67FFDAD18972}"/>
          </ac:spMkLst>
        </pc:spChg>
        <pc:spChg chg="add del mod">
          <ac:chgData name="Steiner Andreas 6206 ED" userId="e6377c33-a923-4f14-8587-531c474c7b48" providerId="ADAL" clId="{6ECD27E6-B224-41CD-B4E0-E297462320DD}" dt="2023-11-24T11:41:54.001" v="147612"/>
          <ac:spMkLst>
            <pc:docMk/>
            <pc:sldMk cId="1226083679" sldId="2147478575"/>
            <ac:spMk id="961" creationId="{2284BB57-E3A5-3F6E-BF53-CBFC7D84D0A1}"/>
          </ac:spMkLst>
        </pc:spChg>
        <pc:spChg chg="add del mod">
          <ac:chgData name="Steiner Andreas 6206 ED" userId="e6377c33-a923-4f14-8587-531c474c7b48" providerId="ADAL" clId="{6ECD27E6-B224-41CD-B4E0-E297462320DD}" dt="2023-11-24T11:41:56.785" v="147767"/>
          <ac:spMkLst>
            <pc:docMk/>
            <pc:sldMk cId="1226083679" sldId="2147478575"/>
            <ac:spMk id="962" creationId="{1E8277A2-56DF-8F41-8ABA-D8836D02C763}"/>
          </ac:spMkLst>
        </pc:spChg>
        <pc:spChg chg="add del mod">
          <ac:chgData name="Steiner Andreas 6206 ED" userId="e6377c33-a923-4f14-8587-531c474c7b48" providerId="ADAL" clId="{6ECD27E6-B224-41CD-B4E0-E297462320DD}" dt="2023-11-24T11:42:00.241" v="147922"/>
          <ac:spMkLst>
            <pc:docMk/>
            <pc:sldMk cId="1226083679" sldId="2147478575"/>
            <ac:spMk id="963" creationId="{322FCB4D-9D18-8EB3-9CBD-A52BB1630927}"/>
          </ac:spMkLst>
        </pc:spChg>
        <pc:spChg chg="add del mod">
          <ac:chgData name="Steiner Andreas 6206 ED" userId="e6377c33-a923-4f14-8587-531c474c7b48" providerId="ADAL" clId="{6ECD27E6-B224-41CD-B4E0-E297462320DD}" dt="2023-11-24T11:42:03.705" v="148077"/>
          <ac:spMkLst>
            <pc:docMk/>
            <pc:sldMk cId="1226083679" sldId="2147478575"/>
            <ac:spMk id="964" creationId="{B742605D-756F-2A5D-9684-50ABE00BFE8A}"/>
          </ac:spMkLst>
        </pc:spChg>
        <pc:spChg chg="add del mod">
          <ac:chgData name="Steiner Andreas 6206 ED" userId="e6377c33-a923-4f14-8587-531c474c7b48" providerId="ADAL" clId="{6ECD27E6-B224-41CD-B4E0-E297462320DD}" dt="2023-11-24T11:42:06.183" v="148232"/>
          <ac:spMkLst>
            <pc:docMk/>
            <pc:sldMk cId="1226083679" sldId="2147478575"/>
            <ac:spMk id="965" creationId="{EA5E1A17-4E46-41AC-9427-672D1B1319D5}"/>
          </ac:spMkLst>
        </pc:spChg>
        <pc:spChg chg="add del mod">
          <ac:chgData name="Steiner Andreas 6206 ED" userId="e6377c33-a923-4f14-8587-531c474c7b48" providerId="ADAL" clId="{6ECD27E6-B224-41CD-B4E0-E297462320DD}" dt="2023-11-24T11:42:08.539" v="148387"/>
          <ac:spMkLst>
            <pc:docMk/>
            <pc:sldMk cId="1226083679" sldId="2147478575"/>
            <ac:spMk id="966" creationId="{AD7BF29E-1441-2DC7-1ECC-39DD498D83F6}"/>
          </ac:spMkLst>
        </pc:spChg>
        <pc:spChg chg="add del mod">
          <ac:chgData name="Steiner Andreas 6206 ED" userId="e6377c33-a923-4f14-8587-531c474c7b48" providerId="ADAL" clId="{6ECD27E6-B224-41CD-B4E0-E297462320DD}" dt="2023-11-24T11:42:11.076" v="148542"/>
          <ac:spMkLst>
            <pc:docMk/>
            <pc:sldMk cId="1226083679" sldId="2147478575"/>
            <ac:spMk id="967" creationId="{A2F9E13F-4B71-F0D9-DF73-8D52E6C5734C}"/>
          </ac:spMkLst>
        </pc:spChg>
        <pc:spChg chg="add del mod">
          <ac:chgData name="Steiner Andreas 6206 ED" userId="e6377c33-a923-4f14-8587-531c474c7b48" providerId="ADAL" clId="{6ECD27E6-B224-41CD-B4E0-E297462320DD}" dt="2023-11-24T11:42:13.582" v="148697"/>
          <ac:spMkLst>
            <pc:docMk/>
            <pc:sldMk cId="1226083679" sldId="2147478575"/>
            <ac:spMk id="968" creationId="{343DAA06-C587-7AF0-8086-1F34C1EFDB2B}"/>
          </ac:spMkLst>
        </pc:spChg>
        <pc:spChg chg="add del mod">
          <ac:chgData name="Steiner Andreas 6206 ED" userId="e6377c33-a923-4f14-8587-531c474c7b48" providerId="ADAL" clId="{6ECD27E6-B224-41CD-B4E0-E297462320DD}" dt="2023-11-24T11:42:16.063" v="148852"/>
          <ac:spMkLst>
            <pc:docMk/>
            <pc:sldMk cId="1226083679" sldId="2147478575"/>
            <ac:spMk id="969" creationId="{3FB3ED99-15A3-BC54-8EF0-2340F48E8B07}"/>
          </ac:spMkLst>
        </pc:spChg>
        <pc:spChg chg="add del mod">
          <ac:chgData name="Steiner Andreas 6206 ED" userId="e6377c33-a923-4f14-8587-531c474c7b48" providerId="ADAL" clId="{6ECD27E6-B224-41CD-B4E0-E297462320DD}" dt="2023-11-24T11:42:18.158" v="149007"/>
          <ac:spMkLst>
            <pc:docMk/>
            <pc:sldMk cId="1226083679" sldId="2147478575"/>
            <ac:spMk id="970" creationId="{BBB26F4F-8143-0478-80C1-9125CB6B4CE8}"/>
          </ac:spMkLst>
        </pc:spChg>
        <pc:spChg chg="add del mod">
          <ac:chgData name="Steiner Andreas 6206 ED" userId="e6377c33-a923-4f14-8587-531c474c7b48" providerId="ADAL" clId="{6ECD27E6-B224-41CD-B4E0-E297462320DD}" dt="2023-11-24T11:42:20.236" v="149162"/>
          <ac:spMkLst>
            <pc:docMk/>
            <pc:sldMk cId="1226083679" sldId="2147478575"/>
            <ac:spMk id="971" creationId="{34261DF1-3E4D-48EA-D9A1-9B88C987BFDC}"/>
          </ac:spMkLst>
        </pc:spChg>
        <pc:spChg chg="add del mod">
          <ac:chgData name="Steiner Andreas 6206 ED" userId="e6377c33-a923-4f14-8587-531c474c7b48" providerId="ADAL" clId="{6ECD27E6-B224-41CD-B4E0-E297462320DD}" dt="2023-11-24T11:42:22.313" v="149317"/>
          <ac:spMkLst>
            <pc:docMk/>
            <pc:sldMk cId="1226083679" sldId="2147478575"/>
            <ac:spMk id="972" creationId="{2082F0AE-83BF-982B-BC09-1F37E6619D13}"/>
          </ac:spMkLst>
        </pc:spChg>
        <pc:spChg chg="add del mod">
          <ac:chgData name="Steiner Andreas 6206 ED" userId="e6377c33-a923-4f14-8587-531c474c7b48" providerId="ADAL" clId="{6ECD27E6-B224-41CD-B4E0-E297462320DD}" dt="2023-11-24T11:42:24.260" v="149472"/>
          <ac:spMkLst>
            <pc:docMk/>
            <pc:sldMk cId="1226083679" sldId="2147478575"/>
            <ac:spMk id="973" creationId="{CE4524BD-543F-B3FA-5206-DF83F880E7A5}"/>
          </ac:spMkLst>
        </pc:spChg>
        <pc:spChg chg="add del mod">
          <ac:chgData name="Steiner Andreas 6206 ED" userId="e6377c33-a923-4f14-8587-531c474c7b48" providerId="ADAL" clId="{6ECD27E6-B224-41CD-B4E0-E297462320DD}" dt="2023-11-24T11:42:26.207" v="149627"/>
          <ac:spMkLst>
            <pc:docMk/>
            <pc:sldMk cId="1226083679" sldId="2147478575"/>
            <ac:spMk id="974" creationId="{39837991-CA27-FE69-724A-ACDD88C4622F}"/>
          </ac:spMkLst>
        </pc:spChg>
        <pc:spChg chg="add del mod">
          <ac:chgData name="Steiner Andreas 6206 ED" userId="e6377c33-a923-4f14-8587-531c474c7b48" providerId="ADAL" clId="{6ECD27E6-B224-41CD-B4E0-E297462320DD}" dt="2023-11-24T11:42:29.117" v="149782"/>
          <ac:spMkLst>
            <pc:docMk/>
            <pc:sldMk cId="1226083679" sldId="2147478575"/>
            <ac:spMk id="975" creationId="{0272E9D4-A3E5-5AEB-CCDB-B3C3650B3E14}"/>
          </ac:spMkLst>
        </pc:spChg>
        <pc:spChg chg="add del mod">
          <ac:chgData name="Steiner Andreas 6206 ED" userId="e6377c33-a923-4f14-8587-531c474c7b48" providerId="ADAL" clId="{6ECD27E6-B224-41CD-B4E0-E297462320DD}" dt="2023-11-24T11:42:32.101" v="149937"/>
          <ac:spMkLst>
            <pc:docMk/>
            <pc:sldMk cId="1226083679" sldId="2147478575"/>
            <ac:spMk id="976" creationId="{40D3EB82-D1DE-5582-6C57-8DDA1AFD7EA9}"/>
          </ac:spMkLst>
        </pc:spChg>
        <pc:spChg chg="add del mod">
          <ac:chgData name="Steiner Andreas 6206 ED" userId="e6377c33-a923-4f14-8587-531c474c7b48" providerId="ADAL" clId="{6ECD27E6-B224-41CD-B4E0-E297462320DD}" dt="2023-11-24T11:42:35.411" v="150092"/>
          <ac:spMkLst>
            <pc:docMk/>
            <pc:sldMk cId="1226083679" sldId="2147478575"/>
            <ac:spMk id="977" creationId="{EC6EA913-FBA8-930C-2E46-ED17854F9A0A}"/>
          </ac:spMkLst>
        </pc:spChg>
        <pc:spChg chg="add del mod">
          <ac:chgData name="Steiner Andreas 6206 ED" userId="e6377c33-a923-4f14-8587-531c474c7b48" providerId="ADAL" clId="{6ECD27E6-B224-41CD-B4E0-E297462320DD}" dt="2023-11-24T11:42:37.822" v="150247"/>
          <ac:spMkLst>
            <pc:docMk/>
            <pc:sldMk cId="1226083679" sldId="2147478575"/>
            <ac:spMk id="978" creationId="{BA25E7B8-DDD1-236D-00D3-CBFE51280FDA}"/>
          </ac:spMkLst>
        </pc:spChg>
        <pc:spChg chg="add del mod">
          <ac:chgData name="Steiner Andreas 6206 ED" userId="e6377c33-a923-4f14-8587-531c474c7b48" providerId="ADAL" clId="{6ECD27E6-B224-41CD-B4E0-E297462320DD}" dt="2023-11-24T11:42:39.909" v="150402"/>
          <ac:spMkLst>
            <pc:docMk/>
            <pc:sldMk cId="1226083679" sldId="2147478575"/>
            <ac:spMk id="979" creationId="{3319CF51-2E0B-538F-5841-8AF5EB32287B}"/>
          </ac:spMkLst>
        </pc:spChg>
        <pc:spChg chg="add del mod">
          <ac:chgData name="Steiner Andreas 6206 ED" userId="e6377c33-a923-4f14-8587-531c474c7b48" providerId="ADAL" clId="{6ECD27E6-B224-41CD-B4E0-E297462320DD}" dt="2023-11-24T11:42:41.980" v="150557"/>
          <ac:spMkLst>
            <pc:docMk/>
            <pc:sldMk cId="1226083679" sldId="2147478575"/>
            <ac:spMk id="980" creationId="{E21086B5-8083-BF41-15D0-7D6C57C78F49}"/>
          </ac:spMkLst>
        </pc:spChg>
        <pc:spChg chg="add del mod">
          <ac:chgData name="Steiner Andreas 6206 ED" userId="e6377c33-a923-4f14-8587-531c474c7b48" providerId="ADAL" clId="{6ECD27E6-B224-41CD-B4E0-E297462320DD}" dt="2023-11-24T11:42:44.083" v="150712"/>
          <ac:spMkLst>
            <pc:docMk/>
            <pc:sldMk cId="1226083679" sldId="2147478575"/>
            <ac:spMk id="981" creationId="{6AC31D9E-095B-F554-F227-833604A6F121}"/>
          </ac:spMkLst>
        </pc:spChg>
        <pc:spChg chg="add del mod">
          <ac:chgData name="Steiner Andreas 6206 ED" userId="e6377c33-a923-4f14-8587-531c474c7b48" providerId="ADAL" clId="{6ECD27E6-B224-41CD-B4E0-E297462320DD}" dt="2023-11-24T11:42:46.295" v="150867"/>
          <ac:spMkLst>
            <pc:docMk/>
            <pc:sldMk cId="1226083679" sldId="2147478575"/>
            <ac:spMk id="982" creationId="{F4679628-24D9-7280-E670-03B4DFA5892C}"/>
          </ac:spMkLst>
        </pc:spChg>
        <pc:spChg chg="add del mod">
          <ac:chgData name="Steiner Andreas 6206 ED" userId="e6377c33-a923-4f14-8587-531c474c7b48" providerId="ADAL" clId="{6ECD27E6-B224-41CD-B4E0-E297462320DD}" dt="2023-11-24T11:42:48.580" v="151022"/>
          <ac:spMkLst>
            <pc:docMk/>
            <pc:sldMk cId="1226083679" sldId="2147478575"/>
            <ac:spMk id="983" creationId="{6FA13D92-2F79-24BE-AF28-826B04D61D2A}"/>
          </ac:spMkLst>
        </pc:spChg>
        <pc:spChg chg="add del mod">
          <ac:chgData name="Steiner Andreas 6206 ED" userId="e6377c33-a923-4f14-8587-531c474c7b48" providerId="ADAL" clId="{6ECD27E6-B224-41CD-B4E0-E297462320DD}" dt="2023-11-24T11:42:50.741" v="151177"/>
          <ac:spMkLst>
            <pc:docMk/>
            <pc:sldMk cId="1226083679" sldId="2147478575"/>
            <ac:spMk id="984" creationId="{549768D6-6681-0B7C-8683-5090C7E6C988}"/>
          </ac:spMkLst>
        </pc:spChg>
        <pc:spChg chg="add del mod">
          <ac:chgData name="Steiner Andreas 6206 ED" userId="e6377c33-a923-4f14-8587-531c474c7b48" providerId="ADAL" clId="{6ECD27E6-B224-41CD-B4E0-E297462320DD}" dt="2023-11-24T11:42:53.139" v="151332"/>
          <ac:spMkLst>
            <pc:docMk/>
            <pc:sldMk cId="1226083679" sldId="2147478575"/>
            <ac:spMk id="985" creationId="{39D0C15F-E8B9-26CB-2853-2CDA67F6C337}"/>
          </ac:spMkLst>
        </pc:spChg>
        <pc:spChg chg="add del mod">
          <ac:chgData name="Steiner Andreas 6206 ED" userId="e6377c33-a923-4f14-8587-531c474c7b48" providerId="ADAL" clId="{6ECD27E6-B224-41CD-B4E0-E297462320DD}" dt="2023-11-24T11:42:55.399" v="151487"/>
          <ac:spMkLst>
            <pc:docMk/>
            <pc:sldMk cId="1226083679" sldId="2147478575"/>
            <ac:spMk id="986" creationId="{9D6EC71A-1E7E-1FCD-AC79-DF0B180B8909}"/>
          </ac:spMkLst>
        </pc:spChg>
        <pc:spChg chg="add del mod">
          <ac:chgData name="Steiner Andreas 6206 ED" userId="e6377c33-a923-4f14-8587-531c474c7b48" providerId="ADAL" clId="{6ECD27E6-B224-41CD-B4E0-E297462320DD}" dt="2023-11-24T11:42:57.711" v="151642"/>
          <ac:spMkLst>
            <pc:docMk/>
            <pc:sldMk cId="1226083679" sldId="2147478575"/>
            <ac:spMk id="987" creationId="{8F5ADD1E-712F-1850-11E9-1B906FAFEA9E}"/>
          </ac:spMkLst>
        </pc:spChg>
        <pc:spChg chg="add del mod">
          <ac:chgData name="Steiner Andreas 6206 ED" userId="e6377c33-a923-4f14-8587-531c474c7b48" providerId="ADAL" clId="{6ECD27E6-B224-41CD-B4E0-E297462320DD}" dt="2023-11-24T11:43:01.412" v="151797"/>
          <ac:spMkLst>
            <pc:docMk/>
            <pc:sldMk cId="1226083679" sldId="2147478575"/>
            <ac:spMk id="988" creationId="{EAFFB6CD-F4B4-B42C-4D14-0B23947D777F}"/>
          </ac:spMkLst>
        </pc:spChg>
        <pc:spChg chg="add del mod">
          <ac:chgData name="Steiner Andreas 6206 ED" userId="e6377c33-a923-4f14-8587-531c474c7b48" providerId="ADAL" clId="{6ECD27E6-B224-41CD-B4E0-E297462320DD}" dt="2023-11-24T11:43:03.826" v="151952"/>
          <ac:spMkLst>
            <pc:docMk/>
            <pc:sldMk cId="1226083679" sldId="2147478575"/>
            <ac:spMk id="989" creationId="{DCD1A6FC-7E6D-D40D-7D33-569081AE676D}"/>
          </ac:spMkLst>
        </pc:spChg>
        <pc:spChg chg="add del mod">
          <ac:chgData name="Steiner Andreas 6206 ED" userId="e6377c33-a923-4f14-8587-531c474c7b48" providerId="ADAL" clId="{6ECD27E6-B224-41CD-B4E0-E297462320DD}" dt="2023-11-24T11:43:06.103" v="152107"/>
          <ac:spMkLst>
            <pc:docMk/>
            <pc:sldMk cId="1226083679" sldId="2147478575"/>
            <ac:spMk id="990" creationId="{C39DC767-9C81-5EF8-9E82-5598C648AE77}"/>
          </ac:spMkLst>
        </pc:spChg>
        <pc:spChg chg="add del mod">
          <ac:chgData name="Steiner Andreas 6206 ED" userId="e6377c33-a923-4f14-8587-531c474c7b48" providerId="ADAL" clId="{6ECD27E6-B224-41CD-B4E0-E297462320DD}" dt="2023-11-24T11:43:08.146" v="152262"/>
          <ac:spMkLst>
            <pc:docMk/>
            <pc:sldMk cId="1226083679" sldId="2147478575"/>
            <ac:spMk id="991" creationId="{09E10180-6394-2604-E4F4-EB6ED0058D81}"/>
          </ac:spMkLst>
        </pc:spChg>
        <pc:spChg chg="add del mod">
          <ac:chgData name="Steiner Andreas 6206 ED" userId="e6377c33-a923-4f14-8587-531c474c7b48" providerId="ADAL" clId="{6ECD27E6-B224-41CD-B4E0-E297462320DD}" dt="2023-11-24T11:43:10.360" v="152417"/>
          <ac:spMkLst>
            <pc:docMk/>
            <pc:sldMk cId="1226083679" sldId="2147478575"/>
            <ac:spMk id="992" creationId="{8FFB4248-801B-869D-3B7D-16555A05A1F5}"/>
          </ac:spMkLst>
        </pc:spChg>
        <pc:spChg chg="add del mod">
          <ac:chgData name="Steiner Andreas 6206 ED" userId="e6377c33-a923-4f14-8587-531c474c7b48" providerId="ADAL" clId="{6ECD27E6-B224-41CD-B4E0-E297462320DD}" dt="2023-11-24T11:43:12.464" v="152572"/>
          <ac:spMkLst>
            <pc:docMk/>
            <pc:sldMk cId="1226083679" sldId="2147478575"/>
            <ac:spMk id="993" creationId="{82C318B3-F483-5DAB-D52D-66937E91049C}"/>
          </ac:spMkLst>
        </pc:spChg>
        <pc:spChg chg="add del mod">
          <ac:chgData name="Steiner Andreas 6206 ED" userId="e6377c33-a923-4f14-8587-531c474c7b48" providerId="ADAL" clId="{6ECD27E6-B224-41CD-B4E0-E297462320DD}" dt="2023-11-24T11:43:14.779" v="152727"/>
          <ac:spMkLst>
            <pc:docMk/>
            <pc:sldMk cId="1226083679" sldId="2147478575"/>
            <ac:spMk id="994" creationId="{35D7A8B4-5322-2469-61C0-95E3A168A6FE}"/>
          </ac:spMkLst>
        </pc:spChg>
        <pc:spChg chg="add del mod">
          <ac:chgData name="Steiner Andreas 6206 ED" userId="e6377c33-a923-4f14-8587-531c474c7b48" providerId="ADAL" clId="{6ECD27E6-B224-41CD-B4E0-E297462320DD}" dt="2023-11-24T11:43:17.628" v="152882"/>
          <ac:spMkLst>
            <pc:docMk/>
            <pc:sldMk cId="1226083679" sldId="2147478575"/>
            <ac:spMk id="995" creationId="{F1EC5462-FEEA-4A80-D375-3AC6C4419050}"/>
          </ac:spMkLst>
        </pc:spChg>
        <pc:spChg chg="add del mod">
          <ac:chgData name="Steiner Andreas 6206 ED" userId="e6377c33-a923-4f14-8587-531c474c7b48" providerId="ADAL" clId="{6ECD27E6-B224-41CD-B4E0-E297462320DD}" dt="2023-11-24T11:43:21.875" v="153037"/>
          <ac:spMkLst>
            <pc:docMk/>
            <pc:sldMk cId="1226083679" sldId="2147478575"/>
            <ac:spMk id="996" creationId="{463BCB24-A891-A31C-AE83-618DB876F16E}"/>
          </ac:spMkLst>
        </pc:spChg>
        <pc:spChg chg="add del mod">
          <ac:chgData name="Steiner Andreas 6206 ED" userId="e6377c33-a923-4f14-8587-531c474c7b48" providerId="ADAL" clId="{6ECD27E6-B224-41CD-B4E0-E297462320DD}" dt="2023-11-24T11:43:24.514" v="153192"/>
          <ac:spMkLst>
            <pc:docMk/>
            <pc:sldMk cId="1226083679" sldId="2147478575"/>
            <ac:spMk id="997" creationId="{90D225B5-ADF9-F1F8-F72B-09A2B16839D6}"/>
          </ac:spMkLst>
        </pc:spChg>
        <pc:spChg chg="add del mod">
          <ac:chgData name="Steiner Andreas 6206 ED" userId="e6377c33-a923-4f14-8587-531c474c7b48" providerId="ADAL" clId="{6ECD27E6-B224-41CD-B4E0-E297462320DD}" dt="2023-11-24T11:43:26.842" v="153347"/>
          <ac:spMkLst>
            <pc:docMk/>
            <pc:sldMk cId="1226083679" sldId="2147478575"/>
            <ac:spMk id="998" creationId="{30FC61A8-944F-32F0-EBFB-DD0D1F4C6BE9}"/>
          </ac:spMkLst>
        </pc:spChg>
        <pc:spChg chg="add del mod">
          <ac:chgData name="Steiner Andreas 6206 ED" userId="e6377c33-a923-4f14-8587-531c474c7b48" providerId="ADAL" clId="{6ECD27E6-B224-41CD-B4E0-E297462320DD}" dt="2023-11-24T11:43:29.137" v="153502"/>
          <ac:spMkLst>
            <pc:docMk/>
            <pc:sldMk cId="1226083679" sldId="2147478575"/>
            <ac:spMk id="999" creationId="{7F1E1809-4D6E-F9C4-B92C-DC86E080FA0C}"/>
          </ac:spMkLst>
        </pc:spChg>
        <pc:spChg chg="add del mod">
          <ac:chgData name="Steiner Andreas 6206 ED" userId="e6377c33-a923-4f14-8587-531c474c7b48" providerId="ADAL" clId="{6ECD27E6-B224-41CD-B4E0-E297462320DD}" dt="2023-11-24T11:43:31.383" v="153657"/>
          <ac:spMkLst>
            <pc:docMk/>
            <pc:sldMk cId="1226083679" sldId="2147478575"/>
            <ac:spMk id="1000" creationId="{7EB2C25B-D216-E540-DC6C-0D1085F33895}"/>
          </ac:spMkLst>
        </pc:spChg>
        <pc:spChg chg="add del mod">
          <ac:chgData name="Steiner Andreas 6206 ED" userId="e6377c33-a923-4f14-8587-531c474c7b48" providerId="ADAL" clId="{6ECD27E6-B224-41CD-B4E0-E297462320DD}" dt="2023-11-24T11:43:34.021" v="153812"/>
          <ac:spMkLst>
            <pc:docMk/>
            <pc:sldMk cId="1226083679" sldId="2147478575"/>
            <ac:spMk id="1001" creationId="{430B0F12-7901-790E-8DCF-8ED120956203}"/>
          </ac:spMkLst>
        </pc:spChg>
        <pc:spChg chg="add del mod">
          <ac:chgData name="Steiner Andreas 6206 ED" userId="e6377c33-a923-4f14-8587-531c474c7b48" providerId="ADAL" clId="{6ECD27E6-B224-41CD-B4E0-E297462320DD}" dt="2023-11-24T11:43:36.274" v="153967"/>
          <ac:spMkLst>
            <pc:docMk/>
            <pc:sldMk cId="1226083679" sldId="2147478575"/>
            <ac:spMk id="1002" creationId="{CD735102-FB5D-19EA-009B-1D19D071C58B}"/>
          </ac:spMkLst>
        </pc:spChg>
        <pc:spChg chg="add del mod">
          <ac:chgData name="Steiner Andreas 6206 ED" userId="e6377c33-a923-4f14-8587-531c474c7b48" providerId="ADAL" clId="{6ECD27E6-B224-41CD-B4E0-E297462320DD}" dt="2023-11-24T11:43:38.468" v="154122"/>
          <ac:spMkLst>
            <pc:docMk/>
            <pc:sldMk cId="1226083679" sldId="2147478575"/>
            <ac:spMk id="1003" creationId="{F969A0DC-80AD-CE07-7110-B1064DD81369}"/>
          </ac:spMkLst>
        </pc:spChg>
        <pc:spChg chg="add del mod">
          <ac:chgData name="Steiner Andreas 6206 ED" userId="e6377c33-a923-4f14-8587-531c474c7b48" providerId="ADAL" clId="{6ECD27E6-B224-41CD-B4E0-E297462320DD}" dt="2023-11-24T11:43:40.732" v="154277"/>
          <ac:spMkLst>
            <pc:docMk/>
            <pc:sldMk cId="1226083679" sldId="2147478575"/>
            <ac:spMk id="1004" creationId="{2AC74AD0-D690-6B7D-A3C1-48A5BC118FAB}"/>
          </ac:spMkLst>
        </pc:spChg>
        <pc:spChg chg="add del mod">
          <ac:chgData name="Steiner Andreas 6206 ED" userId="e6377c33-a923-4f14-8587-531c474c7b48" providerId="ADAL" clId="{6ECD27E6-B224-41CD-B4E0-E297462320DD}" dt="2023-11-24T11:43:43.669" v="154432"/>
          <ac:spMkLst>
            <pc:docMk/>
            <pc:sldMk cId="1226083679" sldId="2147478575"/>
            <ac:spMk id="1005" creationId="{0861FA28-1941-7935-0C1C-AF8E088AEEC6}"/>
          </ac:spMkLst>
        </pc:spChg>
        <pc:spChg chg="add del mod">
          <ac:chgData name="Steiner Andreas 6206 ED" userId="e6377c33-a923-4f14-8587-531c474c7b48" providerId="ADAL" clId="{6ECD27E6-B224-41CD-B4E0-E297462320DD}" dt="2023-11-24T11:43:46.036" v="154587"/>
          <ac:spMkLst>
            <pc:docMk/>
            <pc:sldMk cId="1226083679" sldId="2147478575"/>
            <ac:spMk id="1006" creationId="{04D057FB-6BDE-7CFD-E0D1-FF38DC290648}"/>
          </ac:spMkLst>
        </pc:spChg>
        <pc:spChg chg="add del mod">
          <ac:chgData name="Steiner Andreas 6206 ED" userId="e6377c33-a923-4f14-8587-531c474c7b48" providerId="ADAL" clId="{6ECD27E6-B224-41CD-B4E0-E297462320DD}" dt="2023-11-24T11:43:48.371" v="154742"/>
          <ac:spMkLst>
            <pc:docMk/>
            <pc:sldMk cId="1226083679" sldId="2147478575"/>
            <ac:spMk id="1007" creationId="{4B97DD56-06DE-C650-64EB-9EEFA91E79A9}"/>
          </ac:spMkLst>
        </pc:spChg>
        <pc:spChg chg="add del mod">
          <ac:chgData name="Steiner Andreas 6206 ED" userId="e6377c33-a923-4f14-8587-531c474c7b48" providerId="ADAL" clId="{6ECD27E6-B224-41CD-B4E0-E297462320DD}" dt="2023-11-24T11:43:50.461" v="154897"/>
          <ac:spMkLst>
            <pc:docMk/>
            <pc:sldMk cId="1226083679" sldId="2147478575"/>
            <ac:spMk id="1008" creationId="{D1B8512A-A5E5-7F3C-C34B-A92C319FD3E0}"/>
          </ac:spMkLst>
        </pc:spChg>
        <pc:spChg chg="add del mod">
          <ac:chgData name="Steiner Andreas 6206 ED" userId="e6377c33-a923-4f14-8587-531c474c7b48" providerId="ADAL" clId="{6ECD27E6-B224-41CD-B4E0-E297462320DD}" dt="2023-11-24T11:43:52.612" v="155052"/>
          <ac:spMkLst>
            <pc:docMk/>
            <pc:sldMk cId="1226083679" sldId="2147478575"/>
            <ac:spMk id="1009" creationId="{611E26B8-A525-2ADA-C6A6-05D06A7B7D2E}"/>
          </ac:spMkLst>
        </pc:spChg>
        <pc:spChg chg="add del mod">
          <ac:chgData name="Steiner Andreas 6206 ED" userId="e6377c33-a923-4f14-8587-531c474c7b48" providerId="ADAL" clId="{6ECD27E6-B224-41CD-B4E0-E297462320DD}" dt="2023-11-24T11:43:55.495" v="155207"/>
          <ac:spMkLst>
            <pc:docMk/>
            <pc:sldMk cId="1226083679" sldId="2147478575"/>
            <ac:spMk id="1010" creationId="{42556B17-2566-23D1-E2F7-77D519E4E3D5}"/>
          </ac:spMkLst>
        </pc:spChg>
        <pc:spChg chg="add del mod">
          <ac:chgData name="Steiner Andreas 6206 ED" userId="e6377c33-a923-4f14-8587-531c474c7b48" providerId="ADAL" clId="{6ECD27E6-B224-41CD-B4E0-E297462320DD}" dt="2023-11-24T11:43:57.970" v="155362"/>
          <ac:spMkLst>
            <pc:docMk/>
            <pc:sldMk cId="1226083679" sldId="2147478575"/>
            <ac:spMk id="1011" creationId="{6D990D0F-7714-709C-83C9-F258902AD49E}"/>
          </ac:spMkLst>
        </pc:spChg>
        <pc:spChg chg="add del mod">
          <ac:chgData name="Steiner Andreas 6206 ED" userId="e6377c33-a923-4f14-8587-531c474c7b48" providerId="ADAL" clId="{6ECD27E6-B224-41CD-B4E0-E297462320DD}" dt="2023-11-24T11:44:00.104" v="155517"/>
          <ac:spMkLst>
            <pc:docMk/>
            <pc:sldMk cId="1226083679" sldId="2147478575"/>
            <ac:spMk id="1012" creationId="{B8A1F4CE-39C3-3327-5296-C87839F9A9D2}"/>
          </ac:spMkLst>
        </pc:spChg>
        <pc:spChg chg="add del mod">
          <ac:chgData name="Steiner Andreas 6206 ED" userId="e6377c33-a923-4f14-8587-531c474c7b48" providerId="ADAL" clId="{6ECD27E6-B224-41CD-B4E0-E297462320DD}" dt="2023-11-24T11:44:02.126" v="155672"/>
          <ac:spMkLst>
            <pc:docMk/>
            <pc:sldMk cId="1226083679" sldId="2147478575"/>
            <ac:spMk id="1013" creationId="{64CC6131-1659-A8B7-634C-39B175CE5721}"/>
          </ac:spMkLst>
        </pc:spChg>
        <pc:spChg chg="add del mod">
          <ac:chgData name="Steiner Andreas 6206 ED" userId="e6377c33-a923-4f14-8587-531c474c7b48" providerId="ADAL" clId="{6ECD27E6-B224-41CD-B4E0-E297462320DD}" dt="2023-11-24T11:44:04.145" v="155827"/>
          <ac:spMkLst>
            <pc:docMk/>
            <pc:sldMk cId="1226083679" sldId="2147478575"/>
            <ac:spMk id="1014" creationId="{419EC41A-30C0-D358-86EC-9966F5F0D024}"/>
          </ac:spMkLst>
        </pc:spChg>
        <pc:spChg chg="add del mod">
          <ac:chgData name="Steiner Andreas 6206 ED" userId="e6377c33-a923-4f14-8587-531c474c7b48" providerId="ADAL" clId="{6ECD27E6-B224-41CD-B4E0-E297462320DD}" dt="2023-11-24T11:44:06.164" v="155982"/>
          <ac:spMkLst>
            <pc:docMk/>
            <pc:sldMk cId="1226083679" sldId="2147478575"/>
            <ac:spMk id="1015" creationId="{007CA1E0-7EDF-F4F1-CFAC-41E145D8D623}"/>
          </ac:spMkLst>
        </pc:spChg>
        <pc:spChg chg="add del mod">
          <ac:chgData name="Steiner Andreas 6206 ED" userId="e6377c33-a923-4f14-8587-531c474c7b48" providerId="ADAL" clId="{6ECD27E6-B224-41CD-B4E0-E297462320DD}" dt="2023-11-24T11:44:08.313" v="156137"/>
          <ac:spMkLst>
            <pc:docMk/>
            <pc:sldMk cId="1226083679" sldId="2147478575"/>
            <ac:spMk id="1016" creationId="{FFE46FB6-8A51-65B9-ADAC-ED35132DE182}"/>
          </ac:spMkLst>
        </pc:spChg>
        <pc:spChg chg="add del mod">
          <ac:chgData name="Steiner Andreas 6206 ED" userId="e6377c33-a923-4f14-8587-531c474c7b48" providerId="ADAL" clId="{6ECD27E6-B224-41CD-B4E0-E297462320DD}" dt="2023-11-24T11:44:10.409" v="156292"/>
          <ac:spMkLst>
            <pc:docMk/>
            <pc:sldMk cId="1226083679" sldId="2147478575"/>
            <ac:spMk id="1017" creationId="{46C084FC-ABD2-B5FB-6355-6571A174ABEF}"/>
          </ac:spMkLst>
        </pc:spChg>
        <pc:spChg chg="add del mod">
          <ac:chgData name="Steiner Andreas 6206 ED" userId="e6377c33-a923-4f14-8587-531c474c7b48" providerId="ADAL" clId="{6ECD27E6-B224-41CD-B4E0-E297462320DD}" dt="2023-11-24T11:44:12.427" v="156447"/>
          <ac:spMkLst>
            <pc:docMk/>
            <pc:sldMk cId="1226083679" sldId="2147478575"/>
            <ac:spMk id="1018" creationId="{99D1CD0B-107B-E1B3-EFD0-33740498BCB8}"/>
          </ac:spMkLst>
        </pc:spChg>
        <pc:spChg chg="add del mod">
          <ac:chgData name="Steiner Andreas 6206 ED" userId="e6377c33-a923-4f14-8587-531c474c7b48" providerId="ADAL" clId="{6ECD27E6-B224-41CD-B4E0-E297462320DD}" dt="2023-11-24T11:44:14.397" v="156602"/>
          <ac:spMkLst>
            <pc:docMk/>
            <pc:sldMk cId="1226083679" sldId="2147478575"/>
            <ac:spMk id="1019" creationId="{0E7D73D8-68EB-0212-E8E2-6A8296D4D8FE}"/>
          </ac:spMkLst>
        </pc:spChg>
        <pc:spChg chg="add del mod">
          <ac:chgData name="Steiner Andreas 6206 ED" userId="e6377c33-a923-4f14-8587-531c474c7b48" providerId="ADAL" clId="{6ECD27E6-B224-41CD-B4E0-E297462320DD}" dt="2023-11-24T11:44:16.389" v="156757"/>
          <ac:spMkLst>
            <pc:docMk/>
            <pc:sldMk cId="1226083679" sldId="2147478575"/>
            <ac:spMk id="1020" creationId="{F6F306B8-0999-C82F-2C56-DA5BD675C45A}"/>
          </ac:spMkLst>
        </pc:spChg>
        <pc:spChg chg="add del mod">
          <ac:chgData name="Steiner Andreas 6206 ED" userId="e6377c33-a923-4f14-8587-531c474c7b48" providerId="ADAL" clId="{6ECD27E6-B224-41CD-B4E0-E297462320DD}" dt="2023-11-24T11:44:18.439" v="156912"/>
          <ac:spMkLst>
            <pc:docMk/>
            <pc:sldMk cId="1226083679" sldId="2147478575"/>
            <ac:spMk id="1021" creationId="{4935B2A4-2605-E45D-8F0A-DFA1A70194B5}"/>
          </ac:spMkLst>
        </pc:spChg>
        <pc:spChg chg="add del mod">
          <ac:chgData name="Steiner Andreas 6206 ED" userId="e6377c33-a923-4f14-8587-531c474c7b48" providerId="ADAL" clId="{6ECD27E6-B224-41CD-B4E0-E297462320DD}" dt="2023-11-24T11:44:20.622" v="157067"/>
          <ac:spMkLst>
            <pc:docMk/>
            <pc:sldMk cId="1226083679" sldId="2147478575"/>
            <ac:spMk id="1022" creationId="{B7897FAD-1557-4886-E2DC-11B2AD429FAD}"/>
          </ac:spMkLst>
        </pc:spChg>
        <pc:spChg chg="add del mod">
          <ac:chgData name="Steiner Andreas 6206 ED" userId="e6377c33-a923-4f14-8587-531c474c7b48" providerId="ADAL" clId="{6ECD27E6-B224-41CD-B4E0-E297462320DD}" dt="2023-11-24T11:44:22.877" v="157222"/>
          <ac:spMkLst>
            <pc:docMk/>
            <pc:sldMk cId="1226083679" sldId="2147478575"/>
            <ac:spMk id="1023" creationId="{18363D85-911C-791A-978C-775DBAF99D84}"/>
          </ac:spMkLst>
        </pc:spChg>
        <pc:spChg chg="add del mod">
          <ac:chgData name="Steiner Andreas 6206 ED" userId="e6377c33-a923-4f14-8587-531c474c7b48" providerId="ADAL" clId="{6ECD27E6-B224-41CD-B4E0-E297462320DD}" dt="2023-11-24T11:44:25.083" v="157377"/>
          <ac:spMkLst>
            <pc:docMk/>
            <pc:sldMk cId="1226083679" sldId="2147478575"/>
            <ac:spMk id="1024" creationId="{102A4B9D-6888-7B7F-717C-681CF56CBAC0}"/>
          </ac:spMkLst>
        </pc:spChg>
        <pc:spChg chg="add del mod">
          <ac:chgData name="Steiner Andreas 6206 ED" userId="e6377c33-a923-4f14-8587-531c474c7b48" providerId="ADAL" clId="{6ECD27E6-B224-41CD-B4E0-E297462320DD}" dt="2023-11-24T11:44:30.460" v="157532"/>
          <ac:spMkLst>
            <pc:docMk/>
            <pc:sldMk cId="1226083679" sldId="2147478575"/>
            <ac:spMk id="1025" creationId="{27C59C00-7E3E-E1C5-2658-576D55AA4EEA}"/>
          </ac:spMkLst>
        </pc:spChg>
        <pc:spChg chg="add mod">
          <ac:chgData name="Steiner Andreas 6206 ED" userId="e6377c33-a923-4f14-8587-531c474c7b48" providerId="ADAL" clId="{6ECD27E6-B224-41CD-B4E0-E297462320DD}" dt="2023-11-24T11:44:30.462" v="157533"/>
          <ac:spMkLst>
            <pc:docMk/>
            <pc:sldMk cId="1226083679" sldId="2147478575"/>
            <ac:spMk id="1026" creationId="{71A32F6D-360F-BA27-83D7-BEC36433A4CF}"/>
          </ac:spMkLst>
        </pc:spChg>
      </pc:sldChg>
      <pc:sldChg chg="addSp delSp modSp mod">
        <pc:chgData name="Steiner Andreas 6206 ED" userId="e6377c33-a923-4f14-8587-531c474c7b48" providerId="ADAL" clId="{6ECD27E6-B224-41CD-B4E0-E297462320DD}" dt="2023-11-24T11:44:30.723" v="157595"/>
        <pc:sldMkLst>
          <pc:docMk/>
          <pc:sldMk cId="721183839" sldId="2147478576"/>
        </pc:sldMkLst>
        <pc:spChg chg="mod">
          <ac:chgData name="Steiner Andreas 6206 ED" userId="e6377c33-a923-4f14-8587-531c474c7b48" providerId="ADAL" clId="{6ECD27E6-B224-41CD-B4E0-E297462320DD}" dt="2023-11-24T11:44:30.705" v="157591" actId="20577"/>
          <ac:spMkLst>
            <pc:docMk/>
            <pc:sldMk cId="721183839" sldId="2147478576"/>
            <ac:spMk id="3" creationId="{94625422-E791-16A2-58EC-31B35811A76E}"/>
          </ac:spMkLst>
        </pc:spChg>
        <pc:spChg chg="del">
          <ac:chgData name="Steiner Andreas 6206 ED" userId="e6377c33-a923-4f14-8587-531c474c7b48" providerId="ADAL" clId="{6ECD27E6-B224-41CD-B4E0-E297462320DD}" dt="2023-11-23T19:49:53.549" v="107"/>
          <ac:spMkLst>
            <pc:docMk/>
            <pc:sldMk cId="721183839" sldId="2147478576"/>
            <ac:spMk id="5" creationId="{F2F3BD0F-2E61-692E-67EB-8189307D5BCD}"/>
          </ac:spMkLst>
        </pc:spChg>
        <pc:spChg chg="add del mod">
          <ac:chgData name="Steiner Andreas 6206 ED" userId="e6377c33-a923-4f14-8587-531c474c7b48" providerId="ADAL" clId="{6ECD27E6-B224-41CD-B4E0-E297462320DD}" dt="2023-11-23T19:49:53.551" v="110"/>
          <ac:spMkLst>
            <pc:docMk/>
            <pc:sldMk cId="721183839" sldId="2147478576"/>
            <ac:spMk id="7" creationId="{7DC60663-B231-2588-643D-DA126C6FC16A}"/>
          </ac:spMkLst>
        </pc:spChg>
        <pc:spChg chg="add del mod">
          <ac:chgData name="Steiner Andreas 6206 ED" userId="e6377c33-a923-4f14-8587-531c474c7b48" providerId="ADAL" clId="{6ECD27E6-B224-41CD-B4E0-E297462320DD}" dt="2023-11-23T19:49:54.467" v="269"/>
          <ac:spMkLst>
            <pc:docMk/>
            <pc:sldMk cId="721183839" sldId="2147478576"/>
            <ac:spMk id="8" creationId="{58BF0803-6D85-460D-5267-99DC40970A66}"/>
          </ac:spMkLst>
        </pc:spChg>
        <pc:spChg chg="add del mod">
          <ac:chgData name="Steiner Andreas 6206 ED" userId="e6377c33-a923-4f14-8587-531c474c7b48" providerId="ADAL" clId="{6ECD27E6-B224-41CD-B4E0-E297462320DD}" dt="2023-11-23T19:50:25.278" v="424"/>
          <ac:spMkLst>
            <pc:docMk/>
            <pc:sldMk cId="721183839" sldId="2147478576"/>
            <ac:spMk id="10" creationId="{4F1384D6-FCFB-2EF2-7B0F-E858E22D33A0}"/>
          </ac:spMkLst>
        </pc:spChg>
        <pc:spChg chg="add del mod">
          <ac:chgData name="Steiner Andreas 6206 ED" userId="e6377c33-a923-4f14-8587-531c474c7b48" providerId="ADAL" clId="{6ECD27E6-B224-41CD-B4E0-E297462320DD}" dt="2023-11-23T19:50:35.079" v="579"/>
          <ac:spMkLst>
            <pc:docMk/>
            <pc:sldMk cId="721183839" sldId="2147478576"/>
            <ac:spMk id="11" creationId="{C8F57228-C882-AF1F-8548-53D5934E1FED}"/>
          </ac:spMkLst>
        </pc:spChg>
        <pc:spChg chg="add del mod">
          <ac:chgData name="Steiner Andreas 6206 ED" userId="e6377c33-a923-4f14-8587-531c474c7b48" providerId="ADAL" clId="{6ECD27E6-B224-41CD-B4E0-E297462320DD}" dt="2023-11-23T19:50:46.748" v="734"/>
          <ac:spMkLst>
            <pc:docMk/>
            <pc:sldMk cId="721183839" sldId="2147478576"/>
            <ac:spMk id="12" creationId="{91DCBFFC-EAB7-9840-8870-82FA9D3017B4}"/>
          </ac:spMkLst>
        </pc:spChg>
        <pc:spChg chg="add del mod">
          <ac:chgData name="Steiner Andreas 6206 ED" userId="e6377c33-a923-4f14-8587-531c474c7b48" providerId="ADAL" clId="{6ECD27E6-B224-41CD-B4E0-E297462320DD}" dt="2023-11-23T19:50:58.455" v="889"/>
          <ac:spMkLst>
            <pc:docMk/>
            <pc:sldMk cId="721183839" sldId="2147478576"/>
            <ac:spMk id="14" creationId="{1E38DE97-FD6C-87AC-AF53-30F8114BB9B8}"/>
          </ac:spMkLst>
        </pc:spChg>
        <pc:spChg chg="add del mod">
          <ac:chgData name="Steiner Andreas 6206 ED" userId="e6377c33-a923-4f14-8587-531c474c7b48" providerId="ADAL" clId="{6ECD27E6-B224-41CD-B4E0-E297462320DD}" dt="2023-11-23T19:51:09.135" v="1044"/>
          <ac:spMkLst>
            <pc:docMk/>
            <pc:sldMk cId="721183839" sldId="2147478576"/>
            <ac:spMk id="15" creationId="{91F58800-44B5-184E-038B-FDA79F2AE642}"/>
          </ac:spMkLst>
        </pc:spChg>
        <pc:spChg chg="add del mod">
          <ac:chgData name="Steiner Andreas 6206 ED" userId="e6377c33-a923-4f14-8587-531c474c7b48" providerId="ADAL" clId="{6ECD27E6-B224-41CD-B4E0-E297462320DD}" dt="2023-11-23T19:51:20.126" v="1199"/>
          <ac:spMkLst>
            <pc:docMk/>
            <pc:sldMk cId="721183839" sldId="2147478576"/>
            <ac:spMk id="18" creationId="{0851D652-2965-A578-2D88-7386A1F8FB47}"/>
          </ac:spMkLst>
        </pc:spChg>
        <pc:spChg chg="add del mod">
          <ac:chgData name="Steiner Andreas 6206 ED" userId="e6377c33-a923-4f14-8587-531c474c7b48" providerId="ADAL" clId="{6ECD27E6-B224-41CD-B4E0-E297462320DD}" dt="2023-11-23T19:51:31.599" v="1354"/>
          <ac:spMkLst>
            <pc:docMk/>
            <pc:sldMk cId="721183839" sldId="2147478576"/>
            <ac:spMk id="19" creationId="{4D2A1AB7-019B-8C19-22D4-1136AC33C1CD}"/>
          </ac:spMkLst>
        </pc:spChg>
        <pc:spChg chg="add del mod">
          <ac:chgData name="Steiner Andreas 6206 ED" userId="e6377c33-a923-4f14-8587-531c474c7b48" providerId="ADAL" clId="{6ECD27E6-B224-41CD-B4E0-E297462320DD}" dt="2023-11-23T19:51:42.262" v="1509"/>
          <ac:spMkLst>
            <pc:docMk/>
            <pc:sldMk cId="721183839" sldId="2147478576"/>
            <ac:spMk id="20" creationId="{B37D6FB0-F3B9-0CAD-B586-BB83A4303EFD}"/>
          </ac:spMkLst>
        </pc:spChg>
        <pc:spChg chg="add del mod">
          <ac:chgData name="Steiner Andreas 6206 ED" userId="e6377c33-a923-4f14-8587-531c474c7b48" providerId="ADAL" clId="{6ECD27E6-B224-41CD-B4E0-E297462320DD}" dt="2023-11-23T19:51:53.596" v="1664"/>
          <ac:spMkLst>
            <pc:docMk/>
            <pc:sldMk cId="721183839" sldId="2147478576"/>
            <ac:spMk id="21" creationId="{811C68ED-012D-E153-6858-0CEF439087CD}"/>
          </ac:spMkLst>
        </pc:spChg>
        <pc:spChg chg="add del mod">
          <ac:chgData name="Steiner Andreas 6206 ED" userId="e6377c33-a923-4f14-8587-531c474c7b48" providerId="ADAL" clId="{6ECD27E6-B224-41CD-B4E0-E297462320DD}" dt="2023-11-23T19:52:05.247" v="1819"/>
          <ac:spMkLst>
            <pc:docMk/>
            <pc:sldMk cId="721183839" sldId="2147478576"/>
            <ac:spMk id="22" creationId="{9041731B-CA2D-5CC8-B9FF-D4C6E0E91C18}"/>
          </ac:spMkLst>
        </pc:spChg>
        <pc:spChg chg="add del mod">
          <ac:chgData name="Steiner Andreas 6206 ED" userId="e6377c33-a923-4f14-8587-531c474c7b48" providerId="ADAL" clId="{6ECD27E6-B224-41CD-B4E0-E297462320DD}" dt="2023-11-23T19:52:16.955" v="1974"/>
          <ac:spMkLst>
            <pc:docMk/>
            <pc:sldMk cId="721183839" sldId="2147478576"/>
            <ac:spMk id="23" creationId="{A4569FEF-2B8F-DB76-1900-9AF5C39F7ADB}"/>
          </ac:spMkLst>
        </pc:spChg>
        <pc:spChg chg="add del mod">
          <ac:chgData name="Steiner Andreas 6206 ED" userId="e6377c33-a923-4f14-8587-531c474c7b48" providerId="ADAL" clId="{6ECD27E6-B224-41CD-B4E0-E297462320DD}" dt="2023-11-23T19:52:28.646" v="2129"/>
          <ac:spMkLst>
            <pc:docMk/>
            <pc:sldMk cId="721183839" sldId="2147478576"/>
            <ac:spMk id="24" creationId="{DD0BD6A7-A3B1-0E34-698D-44187836FA81}"/>
          </ac:spMkLst>
        </pc:spChg>
        <pc:spChg chg="add del mod">
          <ac:chgData name="Steiner Andreas 6206 ED" userId="e6377c33-a923-4f14-8587-531c474c7b48" providerId="ADAL" clId="{6ECD27E6-B224-41CD-B4E0-E297462320DD}" dt="2023-11-23T19:52:40.332" v="2284"/>
          <ac:spMkLst>
            <pc:docMk/>
            <pc:sldMk cId="721183839" sldId="2147478576"/>
            <ac:spMk id="25" creationId="{F1421A1C-1157-D02F-DD38-4A4160654B53}"/>
          </ac:spMkLst>
        </pc:spChg>
        <pc:spChg chg="add del mod">
          <ac:chgData name="Steiner Andreas 6206 ED" userId="e6377c33-a923-4f14-8587-531c474c7b48" providerId="ADAL" clId="{6ECD27E6-B224-41CD-B4E0-E297462320DD}" dt="2023-11-23T19:52:51.720" v="2439"/>
          <ac:spMkLst>
            <pc:docMk/>
            <pc:sldMk cId="721183839" sldId="2147478576"/>
            <ac:spMk id="26" creationId="{7BB215C4-04F7-4212-658D-AE0CB64D320C}"/>
          </ac:spMkLst>
        </pc:spChg>
        <pc:spChg chg="add del mod">
          <ac:chgData name="Steiner Andreas 6206 ED" userId="e6377c33-a923-4f14-8587-531c474c7b48" providerId="ADAL" clId="{6ECD27E6-B224-41CD-B4E0-E297462320DD}" dt="2023-11-23T19:53:03.394" v="2594"/>
          <ac:spMkLst>
            <pc:docMk/>
            <pc:sldMk cId="721183839" sldId="2147478576"/>
            <ac:spMk id="27" creationId="{A88B6237-C965-E581-A2DE-43DA14E4BE53}"/>
          </ac:spMkLst>
        </pc:spChg>
        <pc:spChg chg="add del mod">
          <ac:chgData name="Steiner Andreas 6206 ED" userId="e6377c33-a923-4f14-8587-531c474c7b48" providerId="ADAL" clId="{6ECD27E6-B224-41CD-B4E0-E297462320DD}" dt="2023-11-23T19:53:15.127" v="2749"/>
          <ac:spMkLst>
            <pc:docMk/>
            <pc:sldMk cId="721183839" sldId="2147478576"/>
            <ac:spMk id="28" creationId="{21FED9FB-1065-26F2-E3CC-AA955F9C7F33}"/>
          </ac:spMkLst>
        </pc:spChg>
        <pc:spChg chg="add del mod">
          <ac:chgData name="Steiner Andreas 6206 ED" userId="e6377c33-a923-4f14-8587-531c474c7b48" providerId="ADAL" clId="{6ECD27E6-B224-41CD-B4E0-E297462320DD}" dt="2023-11-23T19:53:26.809" v="2904"/>
          <ac:spMkLst>
            <pc:docMk/>
            <pc:sldMk cId="721183839" sldId="2147478576"/>
            <ac:spMk id="29" creationId="{A7A0D30F-39F7-0507-CA52-DEADDC32BC78}"/>
          </ac:spMkLst>
        </pc:spChg>
        <pc:spChg chg="add del mod">
          <ac:chgData name="Steiner Andreas 6206 ED" userId="e6377c33-a923-4f14-8587-531c474c7b48" providerId="ADAL" clId="{6ECD27E6-B224-41CD-B4E0-E297462320DD}" dt="2023-11-23T19:53:38.468" v="3059"/>
          <ac:spMkLst>
            <pc:docMk/>
            <pc:sldMk cId="721183839" sldId="2147478576"/>
            <ac:spMk id="30" creationId="{3D27C690-DA4D-AB2F-17A6-524053E376AA}"/>
          </ac:spMkLst>
        </pc:spChg>
        <pc:spChg chg="add del mod">
          <ac:chgData name="Steiner Andreas 6206 ED" userId="e6377c33-a923-4f14-8587-531c474c7b48" providerId="ADAL" clId="{6ECD27E6-B224-41CD-B4E0-E297462320DD}" dt="2023-11-23T19:53:50.130" v="3214"/>
          <ac:spMkLst>
            <pc:docMk/>
            <pc:sldMk cId="721183839" sldId="2147478576"/>
            <ac:spMk id="31" creationId="{79AFDF12-6630-55EC-46BF-97E89523106A}"/>
          </ac:spMkLst>
        </pc:spChg>
        <pc:spChg chg="add del mod">
          <ac:chgData name="Steiner Andreas 6206 ED" userId="e6377c33-a923-4f14-8587-531c474c7b48" providerId="ADAL" clId="{6ECD27E6-B224-41CD-B4E0-E297462320DD}" dt="2023-11-23T19:54:01.803" v="3369"/>
          <ac:spMkLst>
            <pc:docMk/>
            <pc:sldMk cId="721183839" sldId="2147478576"/>
            <ac:spMk id="32" creationId="{AA5012A2-EC2F-F38B-3A6D-4231DA4B1C88}"/>
          </ac:spMkLst>
        </pc:spChg>
        <pc:spChg chg="add del mod">
          <ac:chgData name="Steiner Andreas 6206 ED" userId="e6377c33-a923-4f14-8587-531c474c7b48" providerId="ADAL" clId="{6ECD27E6-B224-41CD-B4E0-E297462320DD}" dt="2023-11-23T19:54:13.495" v="3524"/>
          <ac:spMkLst>
            <pc:docMk/>
            <pc:sldMk cId="721183839" sldId="2147478576"/>
            <ac:spMk id="33" creationId="{F9806B72-7338-CC82-78EF-19B64D70E049}"/>
          </ac:spMkLst>
        </pc:spChg>
        <pc:spChg chg="add del mod">
          <ac:chgData name="Steiner Andreas 6206 ED" userId="e6377c33-a923-4f14-8587-531c474c7b48" providerId="ADAL" clId="{6ECD27E6-B224-41CD-B4E0-E297462320DD}" dt="2023-11-23T19:54:25.158" v="3679"/>
          <ac:spMkLst>
            <pc:docMk/>
            <pc:sldMk cId="721183839" sldId="2147478576"/>
            <ac:spMk id="34" creationId="{0FC40C80-6FE1-419A-4F16-9B9BC0A53EF4}"/>
          </ac:spMkLst>
        </pc:spChg>
        <pc:spChg chg="add del mod">
          <ac:chgData name="Steiner Andreas 6206 ED" userId="e6377c33-a923-4f14-8587-531c474c7b48" providerId="ADAL" clId="{6ECD27E6-B224-41CD-B4E0-E297462320DD}" dt="2023-11-23T19:54:36.877" v="3834"/>
          <ac:spMkLst>
            <pc:docMk/>
            <pc:sldMk cId="721183839" sldId="2147478576"/>
            <ac:spMk id="35" creationId="{B7DC266D-3885-01E1-997B-F71FEE950D99}"/>
          </ac:spMkLst>
        </pc:spChg>
        <pc:spChg chg="add del mod">
          <ac:chgData name="Steiner Andreas 6206 ED" userId="e6377c33-a923-4f14-8587-531c474c7b48" providerId="ADAL" clId="{6ECD27E6-B224-41CD-B4E0-E297462320DD}" dt="2023-11-23T19:54:48.204" v="3989"/>
          <ac:spMkLst>
            <pc:docMk/>
            <pc:sldMk cId="721183839" sldId="2147478576"/>
            <ac:spMk id="36" creationId="{4CBD42FA-7115-2C13-3688-08CF5AD29792}"/>
          </ac:spMkLst>
        </pc:spChg>
        <pc:spChg chg="add del mod">
          <ac:chgData name="Steiner Andreas 6206 ED" userId="e6377c33-a923-4f14-8587-531c474c7b48" providerId="ADAL" clId="{6ECD27E6-B224-41CD-B4E0-E297462320DD}" dt="2023-11-23T19:54:59.851" v="4144"/>
          <ac:spMkLst>
            <pc:docMk/>
            <pc:sldMk cId="721183839" sldId="2147478576"/>
            <ac:spMk id="37" creationId="{AA7907C6-0E73-1EB3-7F85-0B9E6C793499}"/>
          </ac:spMkLst>
        </pc:spChg>
        <pc:spChg chg="add del mod">
          <ac:chgData name="Steiner Andreas 6206 ED" userId="e6377c33-a923-4f14-8587-531c474c7b48" providerId="ADAL" clId="{6ECD27E6-B224-41CD-B4E0-E297462320DD}" dt="2023-11-23T19:55:11.585" v="4299"/>
          <ac:spMkLst>
            <pc:docMk/>
            <pc:sldMk cId="721183839" sldId="2147478576"/>
            <ac:spMk id="38" creationId="{88DA384C-C7DA-9AE0-AB06-E60194CEA288}"/>
          </ac:spMkLst>
        </pc:spChg>
        <pc:spChg chg="add del mod">
          <ac:chgData name="Steiner Andreas 6206 ED" userId="e6377c33-a923-4f14-8587-531c474c7b48" providerId="ADAL" clId="{6ECD27E6-B224-41CD-B4E0-E297462320DD}" dt="2023-11-23T19:55:23.261" v="4454"/>
          <ac:spMkLst>
            <pc:docMk/>
            <pc:sldMk cId="721183839" sldId="2147478576"/>
            <ac:spMk id="39" creationId="{731F733B-696E-7ECF-15BF-861C8C8B6F6B}"/>
          </ac:spMkLst>
        </pc:spChg>
        <pc:spChg chg="add del mod">
          <ac:chgData name="Steiner Andreas 6206 ED" userId="e6377c33-a923-4f14-8587-531c474c7b48" providerId="ADAL" clId="{6ECD27E6-B224-41CD-B4E0-E297462320DD}" dt="2023-11-23T19:55:34.905" v="4609"/>
          <ac:spMkLst>
            <pc:docMk/>
            <pc:sldMk cId="721183839" sldId="2147478576"/>
            <ac:spMk id="40" creationId="{8A5BC106-F576-D4EF-69F7-0429C5B4D8C7}"/>
          </ac:spMkLst>
        </pc:spChg>
        <pc:spChg chg="add del mod">
          <ac:chgData name="Steiner Andreas 6206 ED" userId="e6377c33-a923-4f14-8587-531c474c7b48" providerId="ADAL" clId="{6ECD27E6-B224-41CD-B4E0-E297462320DD}" dt="2023-11-23T19:55:46.236" v="4764"/>
          <ac:spMkLst>
            <pc:docMk/>
            <pc:sldMk cId="721183839" sldId="2147478576"/>
            <ac:spMk id="41" creationId="{1B013C32-2455-21C7-ECC1-DDED2A58061B}"/>
          </ac:spMkLst>
        </pc:spChg>
        <pc:spChg chg="add del mod">
          <ac:chgData name="Steiner Andreas 6206 ED" userId="e6377c33-a923-4f14-8587-531c474c7b48" providerId="ADAL" clId="{6ECD27E6-B224-41CD-B4E0-E297462320DD}" dt="2023-11-23T19:55:57.905" v="4919"/>
          <ac:spMkLst>
            <pc:docMk/>
            <pc:sldMk cId="721183839" sldId="2147478576"/>
            <ac:spMk id="42" creationId="{BD356D41-087E-A70B-5DB5-2C2CACD92147}"/>
          </ac:spMkLst>
        </pc:spChg>
        <pc:spChg chg="add del mod">
          <ac:chgData name="Steiner Andreas 6206 ED" userId="e6377c33-a923-4f14-8587-531c474c7b48" providerId="ADAL" clId="{6ECD27E6-B224-41CD-B4E0-E297462320DD}" dt="2023-11-23T19:56:09.575" v="5074"/>
          <ac:spMkLst>
            <pc:docMk/>
            <pc:sldMk cId="721183839" sldId="2147478576"/>
            <ac:spMk id="43" creationId="{D7E67456-7A1A-A455-7DE6-0828EEB49C43}"/>
          </ac:spMkLst>
        </pc:spChg>
        <pc:spChg chg="add del mod">
          <ac:chgData name="Steiner Andreas 6206 ED" userId="e6377c33-a923-4f14-8587-531c474c7b48" providerId="ADAL" clId="{6ECD27E6-B224-41CD-B4E0-E297462320DD}" dt="2023-11-23T19:56:21.271" v="5229"/>
          <ac:spMkLst>
            <pc:docMk/>
            <pc:sldMk cId="721183839" sldId="2147478576"/>
            <ac:spMk id="44" creationId="{6CA23571-7967-447A-DCDB-22C20070ADB0}"/>
          </ac:spMkLst>
        </pc:spChg>
        <pc:spChg chg="add del mod">
          <ac:chgData name="Steiner Andreas 6206 ED" userId="e6377c33-a923-4f14-8587-531c474c7b48" providerId="ADAL" clId="{6ECD27E6-B224-41CD-B4E0-E297462320DD}" dt="2023-11-23T19:56:32.957" v="5384"/>
          <ac:spMkLst>
            <pc:docMk/>
            <pc:sldMk cId="721183839" sldId="2147478576"/>
            <ac:spMk id="45" creationId="{D4A7993F-F4F0-8C20-0384-5BB00ADCB3B0}"/>
          </ac:spMkLst>
        </pc:spChg>
        <pc:spChg chg="add del mod">
          <ac:chgData name="Steiner Andreas 6206 ED" userId="e6377c33-a923-4f14-8587-531c474c7b48" providerId="ADAL" clId="{6ECD27E6-B224-41CD-B4E0-E297462320DD}" dt="2023-11-23T19:56:44.318" v="5539"/>
          <ac:spMkLst>
            <pc:docMk/>
            <pc:sldMk cId="721183839" sldId="2147478576"/>
            <ac:spMk id="46" creationId="{DBC9E5E9-0EA0-C2E7-B779-96E61B93B684}"/>
          </ac:spMkLst>
        </pc:spChg>
        <pc:spChg chg="add del mod">
          <ac:chgData name="Steiner Andreas 6206 ED" userId="e6377c33-a923-4f14-8587-531c474c7b48" providerId="ADAL" clId="{6ECD27E6-B224-41CD-B4E0-E297462320DD}" dt="2023-11-23T19:56:54.689" v="5694"/>
          <ac:spMkLst>
            <pc:docMk/>
            <pc:sldMk cId="721183839" sldId="2147478576"/>
            <ac:spMk id="47" creationId="{23F48CAC-9A06-B73C-2BD4-4F04FE0B7813}"/>
          </ac:spMkLst>
        </pc:spChg>
        <pc:spChg chg="add del mod">
          <ac:chgData name="Steiner Andreas 6206 ED" userId="e6377c33-a923-4f14-8587-531c474c7b48" providerId="ADAL" clId="{6ECD27E6-B224-41CD-B4E0-E297462320DD}" dt="2023-11-23T19:57:06.154" v="5849"/>
          <ac:spMkLst>
            <pc:docMk/>
            <pc:sldMk cId="721183839" sldId="2147478576"/>
            <ac:spMk id="48" creationId="{153D3AF9-6213-505E-E5D2-2FEE729BC5F3}"/>
          </ac:spMkLst>
        </pc:spChg>
        <pc:spChg chg="add del mod">
          <ac:chgData name="Steiner Andreas 6206 ED" userId="e6377c33-a923-4f14-8587-531c474c7b48" providerId="ADAL" clId="{6ECD27E6-B224-41CD-B4E0-E297462320DD}" dt="2023-11-23T19:57:17.842" v="6004"/>
          <ac:spMkLst>
            <pc:docMk/>
            <pc:sldMk cId="721183839" sldId="2147478576"/>
            <ac:spMk id="49" creationId="{AA034E23-0907-C94D-53E3-9AC0AB4EC159}"/>
          </ac:spMkLst>
        </pc:spChg>
        <pc:spChg chg="add del mod">
          <ac:chgData name="Steiner Andreas 6206 ED" userId="e6377c33-a923-4f14-8587-531c474c7b48" providerId="ADAL" clId="{6ECD27E6-B224-41CD-B4E0-E297462320DD}" dt="2023-11-23T19:57:29.301" v="6159"/>
          <ac:spMkLst>
            <pc:docMk/>
            <pc:sldMk cId="721183839" sldId="2147478576"/>
            <ac:spMk id="50" creationId="{B529547F-00F6-8502-D000-1006E3187950}"/>
          </ac:spMkLst>
        </pc:spChg>
        <pc:spChg chg="add del mod">
          <ac:chgData name="Steiner Andreas 6206 ED" userId="e6377c33-a923-4f14-8587-531c474c7b48" providerId="ADAL" clId="{6ECD27E6-B224-41CD-B4E0-E297462320DD}" dt="2023-11-23T19:57:40.926" v="6314"/>
          <ac:spMkLst>
            <pc:docMk/>
            <pc:sldMk cId="721183839" sldId="2147478576"/>
            <ac:spMk id="51" creationId="{C08EC2AC-1DA3-AE27-546C-88FC7AA871CC}"/>
          </ac:spMkLst>
        </pc:spChg>
        <pc:spChg chg="add del mod">
          <ac:chgData name="Steiner Andreas 6206 ED" userId="e6377c33-a923-4f14-8587-531c474c7b48" providerId="ADAL" clId="{6ECD27E6-B224-41CD-B4E0-E297462320DD}" dt="2023-11-23T19:57:52.595" v="6469"/>
          <ac:spMkLst>
            <pc:docMk/>
            <pc:sldMk cId="721183839" sldId="2147478576"/>
            <ac:spMk id="52" creationId="{A8B9F0E9-5427-D9CB-B06E-DFD1C42A23F3}"/>
          </ac:spMkLst>
        </pc:spChg>
        <pc:spChg chg="add del mod">
          <ac:chgData name="Steiner Andreas 6206 ED" userId="e6377c33-a923-4f14-8587-531c474c7b48" providerId="ADAL" clId="{6ECD27E6-B224-41CD-B4E0-E297462320DD}" dt="2023-11-23T19:58:04.298" v="6624"/>
          <ac:spMkLst>
            <pc:docMk/>
            <pc:sldMk cId="721183839" sldId="2147478576"/>
            <ac:spMk id="53" creationId="{BE5021C8-C51D-9885-F303-3F8BC8BB3A1C}"/>
          </ac:spMkLst>
        </pc:spChg>
        <pc:spChg chg="add del mod">
          <ac:chgData name="Steiner Andreas 6206 ED" userId="e6377c33-a923-4f14-8587-531c474c7b48" providerId="ADAL" clId="{6ECD27E6-B224-41CD-B4E0-E297462320DD}" dt="2023-11-23T19:58:15.687" v="6779"/>
          <ac:spMkLst>
            <pc:docMk/>
            <pc:sldMk cId="721183839" sldId="2147478576"/>
            <ac:spMk id="54" creationId="{690ACDB3-64B2-3C34-A81B-6C87B857920D}"/>
          </ac:spMkLst>
        </pc:spChg>
        <pc:spChg chg="add del mod">
          <ac:chgData name="Steiner Andreas 6206 ED" userId="e6377c33-a923-4f14-8587-531c474c7b48" providerId="ADAL" clId="{6ECD27E6-B224-41CD-B4E0-E297462320DD}" dt="2023-11-23T19:58:27.814" v="6934"/>
          <ac:spMkLst>
            <pc:docMk/>
            <pc:sldMk cId="721183839" sldId="2147478576"/>
            <ac:spMk id="55" creationId="{56678657-07EF-1C1B-B565-4D37F45E6433}"/>
          </ac:spMkLst>
        </pc:spChg>
        <pc:spChg chg="add del mod">
          <ac:chgData name="Steiner Andreas 6206 ED" userId="e6377c33-a923-4f14-8587-531c474c7b48" providerId="ADAL" clId="{6ECD27E6-B224-41CD-B4E0-E297462320DD}" dt="2023-11-23T19:58:39.556" v="7089"/>
          <ac:spMkLst>
            <pc:docMk/>
            <pc:sldMk cId="721183839" sldId="2147478576"/>
            <ac:spMk id="56" creationId="{40E106D8-184E-A79E-3013-3CC5AC06AA10}"/>
          </ac:spMkLst>
        </pc:spChg>
        <pc:spChg chg="add del mod">
          <ac:chgData name="Steiner Andreas 6206 ED" userId="e6377c33-a923-4f14-8587-531c474c7b48" providerId="ADAL" clId="{6ECD27E6-B224-41CD-B4E0-E297462320DD}" dt="2023-11-23T19:58:51.244" v="7244"/>
          <ac:spMkLst>
            <pc:docMk/>
            <pc:sldMk cId="721183839" sldId="2147478576"/>
            <ac:spMk id="57" creationId="{77214BC2-2AAC-D13A-AF61-1E6E24943AD4}"/>
          </ac:spMkLst>
        </pc:spChg>
        <pc:spChg chg="add del mod">
          <ac:chgData name="Steiner Andreas 6206 ED" userId="e6377c33-a923-4f14-8587-531c474c7b48" providerId="ADAL" clId="{6ECD27E6-B224-41CD-B4E0-E297462320DD}" dt="2023-11-23T19:59:02.619" v="7399"/>
          <ac:spMkLst>
            <pc:docMk/>
            <pc:sldMk cId="721183839" sldId="2147478576"/>
            <ac:spMk id="58" creationId="{B69238FE-B9EC-B863-C452-DAD1E06B2A03}"/>
          </ac:spMkLst>
        </pc:spChg>
        <pc:spChg chg="add del mod">
          <ac:chgData name="Steiner Andreas 6206 ED" userId="e6377c33-a923-4f14-8587-531c474c7b48" providerId="ADAL" clId="{6ECD27E6-B224-41CD-B4E0-E297462320DD}" dt="2023-11-24T08:31:41.502" v="7554"/>
          <ac:spMkLst>
            <pc:docMk/>
            <pc:sldMk cId="721183839" sldId="2147478576"/>
            <ac:spMk id="59" creationId="{51F8DDC3-7BAA-AE65-A737-0C431A363D9D}"/>
          </ac:spMkLst>
        </pc:spChg>
        <pc:spChg chg="add del mod">
          <ac:chgData name="Steiner Andreas 6206 ED" userId="e6377c33-a923-4f14-8587-531c474c7b48" providerId="ADAL" clId="{6ECD27E6-B224-41CD-B4E0-E297462320DD}" dt="2023-11-24T08:31:45.183" v="7709"/>
          <ac:spMkLst>
            <pc:docMk/>
            <pc:sldMk cId="721183839" sldId="2147478576"/>
            <ac:spMk id="60" creationId="{2F4DD118-58E9-0851-C556-4347B657E232}"/>
          </ac:spMkLst>
        </pc:spChg>
        <pc:spChg chg="add del mod">
          <ac:chgData name="Steiner Andreas 6206 ED" userId="e6377c33-a923-4f14-8587-531c474c7b48" providerId="ADAL" clId="{6ECD27E6-B224-41CD-B4E0-E297462320DD}" dt="2023-11-24T08:31:47.034" v="7864"/>
          <ac:spMkLst>
            <pc:docMk/>
            <pc:sldMk cId="721183839" sldId="2147478576"/>
            <ac:spMk id="61" creationId="{C1ABC5FD-F0C7-A664-1B88-A98E3DB8B317}"/>
          </ac:spMkLst>
        </pc:spChg>
        <pc:spChg chg="add del mod">
          <ac:chgData name="Steiner Andreas 6206 ED" userId="e6377c33-a923-4f14-8587-531c474c7b48" providerId="ADAL" clId="{6ECD27E6-B224-41CD-B4E0-E297462320DD}" dt="2023-11-24T08:31:48.906" v="8019"/>
          <ac:spMkLst>
            <pc:docMk/>
            <pc:sldMk cId="721183839" sldId="2147478576"/>
            <ac:spMk id="62" creationId="{E4BD2199-6642-3F48-611A-504842733EBD}"/>
          </ac:spMkLst>
        </pc:spChg>
        <pc:spChg chg="add del mod">
          <ac:chgData name="Steiner Andreas 6206 ED" userId="e6377c33-a923-4f14-8587-531c474c7b48" providerId="ADAL" clId="{6ECD27E6-B224-41CD-B4E0-E297462320DD}" dt="2023-11-24T08:31:50.764" v="8174"/>
          <ac:spMkLst>
            <pc:docMk/>
            <pc:sldMk cId="721183839" sldId="2147478576"/>
            <ac:spMk id="63" creationId="{AA119D91-E700-4372-4A36-7CAE74ABF899}"/>
          </ac:spMkLst>
        </pc:spChg>
        <pc:spChg chg="add del mod">
          <ac:chgData name="Steiner Andreas 6206 ED" userId="e6377c33-a923-4f14-8587-531c474c7b48" providerId="ADAL" clId="{6ECD27E6-B224-41CD-B4E0-E297462320DD}" dt="2023-11-24T08:31:52.550" v="8329"/>
          <ac:spMkLst>
            <pc:docMk/>
            <pc:sldMk cId="721183839" sldId="2147478576"/>
            <ac:spMk id="64" creationId="{7DFD6BE5-445B-31C9-8504-447893458281}"/>
          </ac:spMkLst>
        </pc:spChg>
        <pc:spChg chg="add del mod">
          <ac:chgData name="Steiner Andreas 6206 ED" userId="e6377c33-a923-4f14-8587-531c474c7b48" providerId="ADAL" clId="{6ECD27E6-B224-41CD-B4E0-E297462320DD}" dt="2023-11-24T08:31:54.364" v="8484"/>
          <ac:spMkLst>
            <pc:docMk/>
            <pc:sldMk cId="721183839" sldId="2147478576"/>
            <ac:spMk id="65" creationId="{72433FC1-9542-F4A1-2D77-0F0CEAFB9D9F}"/>
          </ac:spMkLst>
        </pc:spChg>
        <pc:spChg chg="add del mod">
          <ac:chgData name="Steiner Andreas 6206 ED" userId="e6377c33-a923-4f14-8587-531c474c7b48" providerId="ADAL" clId="{6ECD27E6-B224-41CD-B4E0-E297462320DD}" dt="2023-11-24T08:31:56.204" v="8639"/>
          <ac:spMkLst>
            <pc:docMk/>
            <pc:sldMk cId="721183839" sldId="2147478576"/>
            <ac:spMk id="66" creationId="{84D262DD-7F90-D3FB-8749-5F393EB6A7F6}"/>
          </ac:spMkLst>
        </pc:spChg>
        <pc:spChg chg="add del mod">
          <ac:chgData name="Steiner Andreas 6206 ED" userId="e6377c33-a923-4f14-8587-531c474c7b48" providerId="ADAL" clId="{6ECD27E6-B224-41CD-B4E0-E297462320DD}" dt="2023-11-24T08:31:58.087" v="8794"/>
          <ac:spMkLst>
            <pc:docMk/>
            <pc:sldMk cId="721183839" sldId="2147478576"/>
            <ac:spMk id="67" creationId="{0A7712FD-9ED6-CFD6-B305-71113DBE5152}"/>
          </ac:spMkLst>
        </pc:spChg>
        <pc:spChg chg="add del mod">
          <ac:chgData name="Steiner Andreas 6206 ED" userId="e6377c33-a923-4f14-8587-531c474c7b48" providerId="ADAL" clId="{6ECD27E6-B224-41CD-B4E0-E297462320DD}" dt="2023-11-24T08:32:00.815" v="8949"/>
          <ac:spMkLst>
            <pc:docMk/>
            <pc:sldMk cId="721183839" sldId="2147478576"/>
            <ac:spMk id="68" creationId="{050B8FEA-4C64-9C21-5528-D8A8C869DA2A}"/>
          </ac:spMkLst>
        </pc:spChg>
        <pc:spChg chg="add del mod">
          <ac:chgData name="Steiner Andreas 6206 ED" userId="e6377c33-a923-4f14-8587-531c474c7b48" providerId="ADAL" clId="{6ECD27E6-B224-41CD-B4E0-E297462320DD}" dt="2023-11-24T08:32:03.134" v="9104"/>
          <ac:spMkLst>
            <pc:docMk/>
            <pc:sldMk cId="721183839" sldId="2147478576"/>
            <ac:spMk id="69" creationId="{75E147D1-CCCC-DBEA-5F9A-E2D3FBB31548}"/>
          </ac:spMkLst>
        </pc:spChg>
        <pc:spChg chg="add del mod">
          <ac:chgData name="Steiner Andreas 6206 ED" userId="e6377c33-a923-4f14-8587-531c474c7b48" providerId="ADAL" clId="{6ECD27E6-B224-41CD-B4E0-E297462320DD}" dt="2023-11-24T08:32:05.183" v="9259"/>
          <ac:spMkLst>
            <pc:docMk/>
            <pc:sldMk cId="721183839" sldId="2147478576"/>
            <ac:spMk id="70" creationId="{3B45B76A-CAA8-619B-7BE0-896B6BDE0B5A}"/>
          </ac:spMkLst>
        </pc:spChg>
        <pc:spChg chg="add del mod">
          <ac:chgData name="Steiner Andreas 6206 ED" userId="e6377c33-a923-4f14-8587-531c474c7b48" providerId="ADAL" clId="{6ECD27E6-B224-41CD-B4E0-E297462320DD}" dt="2023-11-24T08:32:07.126" v="9414"/>
          <ac:spMkLst>
            <pc:docMk/>
            <pc:sldMk cId="721183839" sldId="2147478576"/>
            <ac:spMk id="71" creationId="{368EC2B6-74A3-4B2A-4D47-B6FF02BC021D}"/>
          </ac:spMkLst>
        </pc:spChg>
        <pc:spChg chg="add del mod">
          <ac:chgData name="Steiner Andreas 6206 ED" userId="e6377c33-a923-4f14-8587-531c474c7b48" providerId="ADAL" clId="{6ECD27E6-B224-41CD-B4E0-E297462320DD}" dt="2023-11-24T08:32:09.460" v="9569"/>
          <ac:spMkLst>
            <pc:docMk/>
            <pc:sldMk cId="721183839" sldId="2147478576"/>
            <ac:spMk id="72" creationId="{5A0610AC-F2CF-3DFC-DB18-B83DECFC7785}"/>
          </ac:spMkLst>
        </pc:spChg>
        <pc:spChg chg="add del mod">
          <ac:chgData name="Steiner Andreas 6206 ED" userId="e6377c33-a923-4f14-8587-531c474c7b48" providerId="ADAL" clId="{6ECD27E6-B224-41CD-B4E0-E297462320DD}" dt="2023-11-24T08:32:11.762" v="9724"/>
          <ac:spMkLst>
            <pc:docMk/>
            <pc:sldMk cId="721183839" sldId="2147478576"/>
            <ac:spMk id="73" creationId="{97C98554-C72D-5743-F814-F9724FE0C128}"/>
          </ac:spMkLst>
        </pc:spChg>
        <pc:spChg chg="add del mod">
          <ac:chgData name="Steiner Andreas 6206 ED" userId="e6377c33-a923-4f14-8587-531c474c7b48" providerId="ADAL" clId="{6ECD27E6-B224-41CD-B4E0-E297462320DD}" dt="2023-11-24T08:32:13.924" v="9879"/>
          <ac:spMkLst>
            <pc:docMk/>
            <pc:sldMk cId="721183839" sldId="2147478576"/>
            <ac:spMk id="74" creationId="{19869FFE-48AA-1DD4-AACD-2F7F376783FD}"/>
          </ac:spMkLst>
        </pc:spChg>
        <pc:spChg chg="add del mod">
          <ac:chgData name="Steiner Andreas 6206 ED" userId="e6377c33-a923-4f14-8587-531c474c7b48" providerId="ADAL" clId="{6ECD27E6-B224-41CD-B4E0-E297462320DD}" dt="2023-11-24T08:32:15.867" v="10034"/>
          <ac:spMkLst>
            <pc:docMk/>
            <pc:sldMk cId="721183839" sldId="2147478576"/>
            <ac:spMk id="75" creationId="{303F5C96-1BD4-EFAE-3FF4-12075B901828}"/>
          </ac:spMkLst>
        </pc:spChg>
        <pc:spChg chg="add del mod">
          <ac:chgData name="Steiner Andreas 6206 ED" userId="e6377c33-a923-4f14-8587-531c474c7b48" providerId="ADAL" clId="{6ECD27E6-B224-41CD-B4E0-E297462320DD}" dt="2023-11-24T08:32:17.860" v="10189"/>
          <ac:spMkLst>
            <pc:docMk/>
            <pc:sldMk cId="721183839" sldId="2147478576"/>
            <ac:spMk id="76" creationId="{95E48DEC-B19D-1B96-B02B-784FC1047B2F}"/>
          </ac:spMkLst>
        </pc:spChg>
        <pc:spChg chg="add del mod">
          <ac:chgData name="Steiner Andreas 6206 ED" userId="e6377c33-a923-4f14-8587-531c474c7b48" providerId="ADAL" clId="{6ECD27E6-B224-41CD-B4E0-E297462320DD}" dt="2023-11-24T08:32:19.815" v="10344"/>
          <ac:spMkLst>
            <pc:docMk/>
            <pc:sldMk cId="721183839" sldId="2147478576"/>
            <ac:spMk id="77" creationId="{B2239C56-CD55-18B6-5137-5709D243A4F5}"/>
          </ac:spMkLst>
        </pc:spChg>
        <pc:spChg chg="add del mod">
          <ac:chgData name="Steiner Andreas 6206 ED" userId="e6377c33-a923-4f14-8587-531c474c7b48" providerId="ADAL" clId="{6ECD27E6-B224-41CD-B4E0-E297462320DD}" dt="2023-11-24T08:32:21.777" v="10499"/>
          <ac:spMkLst>
            <pc:docMk/>
            <pc:sldMk cId="721183839" sldId="2147478576"/>
            <ac:spMk id="78" creationId="{23679667-9E8A-799B-5AAA-0A14B280C7FD}"/>
          </ac:spMkLst>
        </pc:spChg>
        <pc:spChg chg="add del mod">
          <ac:chgData name="Steiner Andreas 6206 ED" userId="e6377c33-a923-4f14-8587-531c474c7b48" providerId="ADAL" clId="{6ECD27E6-B224-41CD-B4E0-E297462320DD}" dt="2023-11-24T08:32:23.946" v="10654"/>
          <ac:spMkLst>
            <pc:docMk/>
            <pc:sldMk cId="721183839" sldId="2147478576"/>
            <ac:spMk id="79" creationId="{EE6D04BA-78CC-5014-EFFC-130B0428AEC8}"/>
          </ac:spMkLst>
        </pc:spChg>
        <pc:spChg chg="add del mod">
          <ac:chgData name="Steiner Andreas 6206 ED" userId="e6377c33-a923-4f14-8587-531c474c7b48" providerId="ADAL" clId="{6ECD27E6-B224-41CD-B4E0-E297462320DD}" dt="2023-11-24T08:32:25.902" v="10809"/>
          <ac:spMkLst>
            <pc:docMk/>
            <pc:sldMk cId="721183839" sldId="2147478576"/>
            <ac:spMk id="80" creationId="{5F7338BD-D07B-AD1D-E002-66871C7E290B}"/>
          </ac:spMkLst>
        </pc:spChg>
        <pc:spChg chg="add del mod">
          <ac:chgData name="Steiner Andreas 6206 ED" userId="e6377c33-a923-4f14-8587-531c474c7b48" providerId="ADAL" clId="{6ECD27E6-B224-41CD-B4E0-E297462320DD}" dt="2023-11-24T08:32:27.887" v="10964"/>
          <ac:spMkLst>
            <pc:docMk/>
            <pc:sldMk cId="721183839" sldId="2147478576"/>
            <ac:spMk id="81" creationId="{9D5B5471-6557-B604-7BF9-0BB35A50DB97}"/>
          </ac:spMkLst>
        </pc:spChg>
        <pc:spChg chg="add del mod">
          <ac:chgData name="Steiner Andreas 6206 ED" userId="e6377c33-a923-4f14-8587-531c474c7b48" providerId="ADAL" clId="{6ECD27E6-B224-41CD-B4E0-E297462320DD}" dt="2023-11-24T08:32:29.797" v="11119"/>
          <ac:spMkLst>
            <pc:docMk/>
            <pc:sldMk cId="721183839" sldId="2147478576"/>
            <ac:spMk id="82" creationId="{FA6DE681-5E71-A71E-51FC-385A11F277D9}"/>
          </ac:spMkLst>
        </pc:spChg>
        <pc:spChg chg="add del mod">
          <ac:chgData name="Steiner Andreas 6206 ED" userId="e6377c33-a923-4f14-8587-531c474c7b48" providerId="ADAL" clId="{6ECD27E6-B224-41CD-B4E0-E297462320DD}" dt="2023-11-24T08:32:31.917" v="11274"/>
          <ac:spMkLst>
            <pc:docMk/>
            <pc:sldMk cId="721183839" sldId="2147478576"/>
            <ac:spMk id="83" creationId="{5B38DDE6-6ABE-AB76-2B92-ED33FDC0A95B}"/>
          </ac:spMkLst>
        </pc:spChg>
        <pc:spChg chg="add del mod">
          <ac:chgData name="Steiner Andreas 6206 ED" userId="e6377c33-a923-4f14-8587-531c474c7b48" providerId="ADAL" clId="{6ECD27E6-B224-41CD-B4E0-E297462320DD}" dt="2023-11-24T08:32:34.283" v="11429"/>
          <ac:spMkLst>
            <pc:docMk/>
            <pc:sldMk cId="721183839" sldId="2147478576"/>
            <ac:spMk id="84" creationId="{B805A02C-EF39-6936-84F2-82ED7F52C560}"/>
          </ac:spMkLst>
        </pc:spChg>
        <pc:spChg chg="add del mod">
          <ac:chgData name="Steiner Andreas 6206 ED" userId="e6377c33-a923-4f14-8587-531c474c7b48" providerId="ADAL" clId="{6ECD27E6-B224-41CD-B4E0-E297462320DD}" dt="2023-11-24T08:32:36.643" v="11584"/>
          <ac:spMkLst>
            <pc:docMk/>
            <pc:sldMk cId="721183839" sldId="2147478576"/>
            <ac:spMk id="85" creationId="{C1000906-6676-CBBA-88E1-51C2E626428E}"/>
          </ac:spMkLst>
        </pc:spChg>
        <pc:spChg chg="add del mod">
          <ac:chgData name="Steiner Andreas 6206 ED" userId="e6377c33-a923-4f14-8587-531c474c7b48" providerId="ADAL" clId="{6ECD27E6-B224-41CD-B4E0-E297462320DD}" dt="2023-11-24T08:32:38.573" v="11739"/>
          <ac:spMkLst>
            <pc:docMk/>
            <pc:sldMk cId="721183839" sldId="2147478576"/>
            <ac:spMk id="86" creationId="{1DF622C0-CC34-33F8-C67F-6C3ADC09DD7E}"/>
          </ac:spMkLst>
        </pc:spChg>
        <pc:spChg chg="add del mod">
          <ac:chgData name="Steiner Andreas 6206 ED" userId="e6377c33-a923-4f14-8587-531c474c7b48" providerId="ADAL" clId="{6ECD27E6-B224-41CD-B4E0-E297462320DD}" dt="2023-11-24T08:32:40.676" v="11894"/>
          <ac:spMkLst>
            <pc:docMk/>
            <pc:sldMk cId="721183839" sldId="2147478576"/>
            <ac:spMk id="87" creationId="{4B88B9A4-4021-3462-A0C0-68E4A4050A35}"/>
          </ac:spMkLst>
        </pc:spChg>
        <pc:spChg chg="add del mod">
          <ac:chgData name="Steiner Andreas 6206 ED" userId="e6377c33-a923-4f14-8587-531c474c7b48" providerId="ADAL" clId="{6ECD27E6-B224-41CD-B4E0-E297462320DD}" dt="2023-11-24T08:32:42.823" v="12049"/>
          <ac:spMkLst>
            <pc:docMk/>
            <pc:sldMk cId="721183839" sldId="2147478576"/>
            <ac:spMk id="88" creationId="{167FFAB8-222D-2404-0512-0A0BBD90D3F1}"/>
          </ac:spMkLst>
        </pc:spChg>
        <pc:spChg chg="add del mod">
          <ac:chgData name="Steiner Andreas 6206 ED" userId="e6377c33-a923-4f14-8587-531c474c7b48" providerId="ADAL" clId="{6ECD27E6-B224-41CD-B4E0-E297462320DD}" dt="2023-11-24T08:32:44.974" v="12204"/>
          <ac:spMkLst>
            <pc:docMk/>
            <pc:sldMk cId="721183839" sldId="2147478576"/>
            <ac:spMk id="89" creationId="{CE5DDC62-EB43-BFF7-A407-3CFDD84ABD6B}"/>
          </ac:spMkLst>
        </pc:spChg>
        <pc:spChg chg="add del mod">
          <ac:chgData name="Steiner Andreas 6206 ED" userId="e6377c33-a923-4f14-8587-531c474c7b48" providerId="ADAL" clId="{6ECD27E6-B224-41CD-B4E0-E297462320DD}" dt="2023-11-24T08:32:47.161" v="12359"/>
          <ac:spMkLst>
            <pc:docMk/>
            <pc:sldMk cId="721183839" sldId="2147478576"/>
            <ac:spMk id="90" creationId="{41F3300E-25BE-9670-4250-0EC6E2746EE2}"/>
          </ac:spMkLst>
        </pc:spChg>
        <pc:spChg chg="add del mod">
          <ac:chgData name="Steiner Andreas 6206 ED" userId="e6377c33-a923-4f14-8587-531c474c7b48" providerId="ADAL" clId="{6ECD27E6-B224-41CD-B4E0-E297462320DD}" dt="2023-11-24T08:32:49.211" v="12514"/>
          <ac:spMkLst>
            <pc:docMk/>
            <pc:sldMk cId="721183839" sldId="2147478576"/>
            <ac:spMk id="91" creationId="{BE60FC77-BF27-CC2D-D465-CEFD6D6B2C5B}"/>
          </ac:spMkLst>
        </pc:spChg>
        <pc:spChg chg="add del mod">
          <ac:chgData name="Steiner Andreas 6206 ED" userId="e6377c33-a923-4f14-8587-531c474c7b48" providerId="ADAL" clId="{6ECD27E6-B224-41CD-B4E0-E297462320DD}" dt="2023-11-24T08:32:51.154" v="12669"/>
          <ac:spMkLst>
            <pc:docMk/>
            <pc:sldMk cId="721183839" sldId="2147478576"/>
            <ac:spMk id="92" creationId="{A84FAB90-0718-8E19-8721-F7DF661B6116}"/>
          </ac:spMkLst>
        </pc:spChg>
        <pc:spChg chg="add del mod">
          <ac:chgData name="Steiner Andreas 6206 ED" userId="e6377c33-a923-4f14-8587-531c474c7b48" providerId="ADAL" clId="{6ECD27E6-B224-41CD-B4E0-E297462320DD}" dt="2023-11-24T08:32:53.172" v="12824"/>
          <ac:spMkLst>
            <pc:docMk/>
            <pc:sldMk cId="721183839" sldId="2147478576"/>
            <ac:spMk id="93" creationId="{B0288E9F-E321-70A7-A393-86A04401E30C}"/>
          </ac:spMkLst>
        </pc:spChg>
        <pc:spChg chg="add del mod">
          <ac:chgData name="Steiner Andreas 6206 ED" userId="e6377c33-a923-4f14-8587-531c474c7b48" providerId="ADAL" clId="{6ECD27E6-B224-41CD-B4E0-E297462320DD}" dt="2023-11-24T08:32:55.163" v="12979"/>
          <ac:spMkLst>
            <pc:docMk/>
            <pc:sldMk cId="721183839" sldId="2147478576"/>
            <ac:spMk id="94" creationId="{83126307-F71B-29F9-8E57-62D35264DE53}"/>
          </ac:spMkLst>
        </pc:spChg>
        <pc:spChg chg="add del mod">
          <ac:chgData name="Steiner Andreas 6206 ED" userId="e6377c33-a923-4f14-8587-531c474c7b48" providerId="ADAL" clId="{6ECD27E6-B224-41CD-B4E0-E297462320DD}" dt="2023-11-24T08:32:57.085" v="13134"/>
          <ac:spMkLst>
            <pc:docMk/>
            <pc:sldMk cId="721183839" sldId="2147478576"/>
            <ac:spMk id="95" creationId="{C71C4802-4A7D-61BE-A72D-98AA35C561C9}"/>
          </ac:spMkLst>
        </pc:spChg>
        <pc:spChg chg="add del mod">
          <ac:chgData name="Steiner Andreas 6206 ED" userId="e6377c33-a923-4f14-8587-531c474c7b48" providerId="ADAL" clId="{6ECD27E6-B224-41CD-B4E0-E297462320DD}" dt="2023-11-24T08:32:59.190" v="13289"/>
          <ac:spMkLst>
            <pc:docMk/>
            <pc:sldMk cId="721183839" sldId="2147478576"/>
            <ac:spMk id="96" creationId="{5F663D20-4EDD-2103-3168-B843EECE47B4}"/>
          </ac:spMkLst>
        </pc:spChg>
        <pc:spChg chg="add del mod">
          <ac:chgData name="Steiner Andreas 6206 ED" userId="e6377c33-a923-4f14-8587-531c474c7b48" providerId="ADAL" clId="{6ECD27E6-B224-41CD-B4E0-E297462320DD}" dt="2023-11-24T08:33:01.337" v="13444"/>
          <ac:spMkLst>
            <pc:docMk/>
            <pc:sldMk cId="721183839" sldId="2147478576"/>
            <ac:spMk id="97" creationId="{ABDD8614-3494-09D6-AFFA-E18EE557B750}"/>
          </ac:spMkLst>
        </pc:spChg>
        <pc:spChg chg="add del mod">
          <ac:chgData name="Steiner Andreas 6206 ED" userId="e6377c33-a923-4f14-8587-531c474c7b48" providerId="ADAL" clId="{6ECD27E6-B224-41CD-B4E0-E297462320DD}" dt="2023-11-24T08:33:03.670" v="13599"/>
          <ac:spMkLst>
            <pc:docMk/>
            <pc:sldMk cId="721183839" sldId="2147478576"/>
            <ac:spMk id="98" creationId="{E79B92F2-4D00-10A7-0E22-890E50E2A376}"/>
          </ac:spMkLst>
        </pc:spChg>
        <pc:spChg chg="add del mod">
          <ac:chgData name="Steiner Andreas 6206 ED" userId="e6377c33-a923-4f14-8587-531c474c7b48" providerId="ADAL" clId="{6ECD27E6-B224-41CD-B4E0-E297462320DD}" dt="2023-11-24T08:33:06.016" v="13754"/>
          <ac:spMkLst>
            <pc:docMk/>
            <pc:sldMk cId="721183839" sldId="2147478576"/>
            <ac:spMk id="99" creationId="{82BCBB53-EE44-EFEB-0FB5-7F372F39425F}"/>
          </ac:spMkLst>
        </pc:spChg>
        <pc:spChg chg="add del mod">
          <ac:chgData name="Steiner Andreas 6206 ED" userId="e6377c33-a923-4f14-8587-531c474c7b48" providerId="ADAL" clId="{6ECD27E6-B224-41CD-B4E0-E297462320DD}" dt="2023-11-24T08:33:08.231" v="13909"/>
          <ac:spMkLst>
            <pc:docMk/>
            <pc:sldMk cId="721183839" sldId="2147478576"/>
            <ac:spMk id="100" creationId="{4B7E081D-1BBC-9178-5FBD-EEC2BC9A4FBE}"/>
          </ac:spMkLst>
        </pc:spChg>
        <pc:spChg chg="add del mod">
          <ac:chgData name="Steiner Andreas 6206 ED" userId="e6377c33-a923-4f14-8587-531c474c7b48" providerId="ADAL" clId="{6ECD27E6-B224-41CD-B4E0-E297462320DD}" dt="2023-11-24T08:33:10.677" v="14064"/>
          <ac:spMkLst>
            <pc:docMk/>
            <pc:sldMk cId="721183839" sldId="2147478576"/>
            <ac:spMk id="101" creationId="{1B0A4369-A189-89BA-8C8D-67AFDF0A5F34}"/>
          </ac:spMkLst>
        </pc:spChg>
        <pc:spChg chg="add del mod">
          <ac:chgData name="Steiner Andreas 6206 ED" userId="e6377c33-a923-4f14-8587-531c474c7b48" providerId="ADAL" clId="{6ECD27E6-B224-41CD-B4E0-E297462320DD}" dt="2023-11-24T08:33:12.645" v="14219"/>
          <ac:spMkLst>
            <pc:docMk/>
            <pc:sldMk cId="721183839" sldId="2147478576"/>
            <ac:spMk id="102" creationId="{2D84B2E1-DC82-A088-EBC5-B7FE5DCCF2E3}"/>
          </ac:spMkLst>
        </pc:spChg>
        <pc:spChg chg="add del mod">
          <ac:chgData name="Steiner Andreas 6206 ED" userId="e6377c33-a923-4f14-8587-531c474c7b48" providerId="ADAL" clId="{6ECD27E6-B224-41CD-B4E0-E297462320DD}" dt="2023-11-24T08:33:14.543" v="14374"/>
          <ac:spMkLst>
            <pc:docMk/>
            <pc:sldMk cId="721183839" sldId="2147478576"/>
            <ac:spMk id="103" creationId="{F0717CB4-F6B1-217D-6209-301301F6B204}"/>
          </ac:spMkLst>
        </pc:spChg>
        <pc:spChg chg="add del mod">
          <ac:chgData name="Steiner Andreas 6206 ED" userId="e6377c33-a923-4f14-8587-531c474c7b48" providerId="ADAL" clId="{6ECD27E6-B224-41CD-B4E0-E297462320DD}" dt="2023-11-24T08:33:16.564" v="14529"/>
          <ac:spMkLst>
            <pc:docMk/>
            <pc:sldMk cId="721183839" sldId="2147478576"/>
            <ac:spMk id="104" creationId="{82DEC870-EC42-9BEE-B63C-F4FFBF2CC703}"/>
          </ac:spMkLst>
        </pc:spChg>
        <pc:spChg chg="add del mod">
          <ac:chgData name="Steiner Andreas 6206 ED" userId="e6377c33-a923-4f14-8587-531c474c7b48" providerId="ADAL" clId="{6ECD27E6-B224-41CD-B4E0-E297462320DD}" dt="2023-11-24T08:33:18.867" v="14684"/>
          <ac:spMkLst>
            <pc:docMk/>
            <pc:sldMk cId="721183839" sldId="2147478576"/>
            <ac:spMk id="105" creationId="{3F4D11B6-93BF-9867-6906-0D2B1381E11F}"/>
          </ac:spMkLst>
        </pc:spChg>
        <pc:spChg chg="add del mod">
          <ac:chgData name="Steiner Andreas 6206 ED" userId="e6377c33-a923-4f14-8587-531c474c7b48" providerId="ADAL" clId="{6ECD27E6-B224-41CD-B4E0-E297462320DD}" dt="2023-11-24T08:33:21.237" v="14839"/>
          <ac:spMkLst>
            <pc:docMk/>
            <pc:sldMk cId="721183839" sldId="2147478576"/>
            <ac:spMk id="106" creationId="{E1039EA2-1D01-0006-2B0B-05544075CD3A}"/>
          </ac:spMkLst>
        </pc:spChg>
        <pc:spChg chg="add del mod">
          <ac:chgData name="Steiner Andreas 6206 ED" userId="e6377c33-a923-4f14-8587-531c474c7b48" providerId="ADAL" clId="{6ECD27E6-B224-41CD-B4E0-E297462320DD}" dt="2023-11-24T08:33:23.606" v="14994"/>
          <ac:spMkLst>
            <pc:docMk/>
            <pc:sldMk cId="721183839" sldId="2147478576"/>
            <ac:spMk id="107" creationId="{32A8F5F2-6EBC-7E1C-4632-FCC728C7F0D2}"/>
          </ac:spMkLst>
        </pc:spChg>
        <pc:spChg chg="add del mod">
          <ac:chgData name="Steiner Andreas 6206 ED" userId="e6377c33-a923-4f14-8587-531c474c7b48" providerId="ADAL" clId="{6ECD27E6-B224-41CD-B4E0-E297462320DD}" dt="2023-11-24T08:33:26.020" v="15149"/>
          <ac:spMkLst>
            <pc:docMk/>
            <pc:sldMk cId="721183839" sldId="2147478576"/>
            <ac:spMk id="108" creationId="{85DCBF7A-96BC-872F-B6E4-EB76F603EE5F}"/>
          </ac:spMkLst>
        </pc:spChg>
        <pc:spChg chg="add del mod">
          <ac:chgData name="Steiner Andreas 6206 ED" userId="e6377c33-a923-4f14-8587-531c474c7b48" providerId="ADAL" clId="{6ECD27E6-B224-41CD-B4E0-E297462320DD}" dt="2023-11-24T08:33:28.319" v="15304"/>
          <ac:spMkLst>
            <pc:docMk/>
            <pc:sldMk cId="721183839" sldId="2147478576"/>
            <ac:spMk id="109" creationId="{CDA14BC1-EFEF-86E3-200C-83852EECCD48}"/>
          </ac:spMkLst>
        </pc:spChg>
        <pc:spChg chg="add del mod">
          <ac:chgData name="Steiner Andreas 6206 ED" userId="e6377c33-a923-4f14-8587-531c474c7b48" providerId="ADAL" clId="{6ECD27E6-B224-41CD-B4E0-E297462320DD}" dt="2023-11-24T08:33:30.792" v="15459"/>
          <ac:spMkLst>
            <pc:docMk/>
            <pc:sldMk cId="721183839" sldId="2147478576"/>
            <ac:spMk id="110" creationId="{9390725E-EFF1-0B5C-6C83-8C6B1D82CBFA}"/>
          </ac:spMkLst>
        </pc:spChg>
        <pc:spChg chg="add del mod">
          <ac:chgData name="Steiner Andreas 6206 ED" userId="e6377c33-a923-4f14-8587-531c474c7b48" providerId="ADAL" clId="{6ECD27E6-B224-41CD-B4E0-E297462320DD}" dt="2023-11-24T08:33:33.556" v="15614"/>
          <ac:spMkLst>
            <pc:docMk/>
            <pc:sldMk cId="721183839" sldId="2147478576"/>
            <ac:spMk id="111" creationId="{540255EE-4579-BE93-563C-08229663A3F0}"/>
          </ac:spMkLst>
        </pc:spChg>
        <pc:spChg chg="add del mod">
          <ac:chgData name="Steiner Andreas 6206 ED" userId="e6377c33-a923-4f14-8587-531c474c7b48" providerId="ADAL" clId="{6ECD27E6-B224-41CD-B4E0-E297462320DD}" dt="2023-11-24T08:33:35.841" v="15769"/>
          <ac:spMkLst>
            <pc:docMk/>
            <pc:sldMk cId="721183839" sldId="2147478576"/>
            <ac:spMk id="112" creationId="{F25DC80B-24A9-EDE9-460A-06FE47FC5415}"/>
          </ac:spMkLst>
        </pc:spChg>
        <pc:spChg chg="add del mod">
          <ac:chgData name="Steiner Andreas 6206 ED" userId="e6377c33-a923-4f14-8587-531c474c7b48" providerId="ADAL" clId="{6ECD27E6-B224-41CD-B4E0-E297462320DD}" dt="2023-11-24T08:33:37.964" v="15924"/>
          <ac:spMkLst>
            <pc:docMk/>
            <pc:sldMk cId="721183839" sldId="2147478576"/>
            <ac:spMk id="113" creationId="{3439E1F6-BBD3-A604-A724-8ED130D435F5}"/>
          </ac:spMkLst>
        </pc:spChg>
        <pc:spChg chg="add del mod">
          <ac:chgData name="Steiner Andreas 6206 ED" userId="e6377c33-a923-4f14-8587-531c474c7b48" providerId="ADAL" clId="{6ECD27E6-B224-41CD-B4E0-E297462320DD}" dt="2023-11-24T08:33:40.287" v="16079"/>
          <ac:spMkLst>
            <pc:docMk/>
            <pc:sldMk cId="721183839" sldId="2147478576"/>
            <ac:spMk id="114" creationId="{F80FA11F-E1E8-2181-CE63-3452B95C8A20}"/>
          </ac:spMkLst>
        </pc:spChg>
        <pc:spChg chg="add del mod">
          <ac:chgData name="Steiner Andreas 6206 ED" userId="e6377c33-a923-4f14-8587-531c474c7b48" providerId="ADAL" clId="{6ECD27E6-B224-41CD-B4E0-E297462320DD}" dt="2023-11-24T08:33:42.968" v="16234"/>
          <ac:spMkLst>
            <pc:docMk/>
            <pc:sldMk cId="721183839" sldId="2147478576"/>
            <ac:spMk id="115" creationId="{12E52074-885C-8AA5-E200-C39894E6E4FE}"/>
          </ac:spMkLst>
        </pc:spChg>
        <pc:spChg chg="add del mod">
          <ac:chgData name="Steiner Andreas 6206 ED" userId="e6377c33-a923-4f14-8587-531c474c7b48" providerId="ADAL" clId="{6ECD27E6-B224-41CD-B4E0-E297462320DD}" dt="2023-11-24T08:33:45.478" v="16389"/>
          <ac:spMkLst>
            <pc:docMk/>
            <pc:sldMk cId="721183839" sldId="2147478576"/>
            <ac:spMk id="116" creationId="{B4D225C7-F24C-6BFA-D604-1A5A6335A138}"/>
          </ac:spMkLst>
        </pc:spChg>
        <pc:spChg chg="add del mod">
          <ac:chgData name="Steiner Andreas 6206 ED" userId="e6377c33-a923-4f14-8587-531c474c7b48" providerId="ADAL" clId="{6ECD27E6-B224-41CD-B4E0-E297462320DD}" dt="2023-11-24T08:33:47.679" v="16544"/>
          <ac:spMkLst>
            <pc:docMk/>
            <pc:sldMk cId="721183839" sldId="2147478576"/>
            <ac:spMk id="117" creationId="{44493E49-FA25-6CD5-A4AC-ED44B236411D}"/>
          </ac:spMkLst>
        </pc:spChg>
        <pc:spChg chg="add del mod">
          <ac:chgData name="Steiner Andreas 6206 ED" userId="e6377c33-a923-4f14-8587-531c474c7b48" providerId="ADAL" clId="{6ECD27E6-B224-41CD-B4E0-E297462320DD}" dt="2023-11-24T08:33:50.430" v="16699"/>
          <ac:spMkLst>
            <pc:docMk/>
            <pc:sldMk cId="721183839" sldId="2147478576"/>
            <ac:spMk id="118" creationId="{89188BB0-AEC4-4115-2939-746FC3EB2A79}"/>
          </ac:spMkLst>
        </pc:spChg>
        <pc:spChg chg="add del mod">
          <ac:chgData name="Steiner Andreas 6206 ED" userId="e6377c33-a923-4f14-8587-531c474c7b48" providerId="ADAL" clId="{6ECD27E6-B224-41CD-B4E0-E297462320DD}" dt="2023-11-24T08:33:52.808" v="16854"/>
          <ac:spMkLst>
            <pc:docMk/>
            <pc:sldMk cId="721183839" sldId="2147478576"/>
            <ac:spMk id="119" creationId="{DE69F0C2-BC46-B28F-7285-80E054D4DE03}"/>
          </ac:spMkLst>
        </pc:spChg>
        <pc:spChg chg="add del mod">
          <ac:chgData name="Steiner Andreas 6206 ED" userId="e6377c33-a923-4f14-8587-531c474c7b48" providerId="ADAL" clId="{6ECD27E6-B224-41CD-B4E0-E297462320DD}" dt="2023-11-24T08:33:54.983" v="17009"/>
          <ac:spMkLst>
            <pc:docMk/>
            <pc:sldMk cId="721183839" sldId="2147478576"/>
            <ac:spMk id="120" creationId="{69327AE7-9D13-BB4A-71B0-A62022A7617E}"/>
          </ac:spMkLst>
        </pc:spChg>
        <pc:spChg chg="add del mod">
          <ac:chgData name="Steiner Andreas 6206 ED" userId="e6377c33-a923-4f14-8587-531c474c7b48" providerId="ADAL" clId="{6ECD27E6-B224-41CD-B4E0-E297462320DD}" dt="2023-11-24T08:33:57.361" v="17164"/>
          <ac:spMkLst>
            <pc:docMk/>
            <pc:sldMk cId="721183839" sldId="2147478576"/>
            <ac:spMk id="121" creationId="{5C71F3A2-1AD8-C0CE-F783-9EC959268EBA}"/>
          </ac:spMkLst>
        </pc:spChg>
        <pc:spChg chg="add del mod">
          <ac:chgData name="Steiner Andreas 6206 ED" userId="e6377c33-a923-4f14-8587-531c474c7b48" providerId="ADAL" clId="{6ECD27E6-B224-41CD-B4E0-E297462320DD}" dt="2023-11-24T08:33:59.794" v="17319"/>
          <ac:spMkLst>
            <pc:docMk/>
            <pc:sldMk cId="721183839" sldId="2147478576"/>
            <ac:spMk id="122" creationId="{FD3434BA-2D26-F513-0E7C-0BF0700545EF}"/>
          </ac:spMkLst>
        </pc:spChg>
        <pc:spChg chg="add del mod">
          <ac:chgData name="Steiner Andreas 6206 ED" userId="e6377c33-a923-4f14-8587-531c474c7b48" providerId="ADAL" clId="{6ECD27E6-B224-41CD-B4E0-E297462320DD}" dt="2023-11-24T08:34:01.742" v="17474"/>
          <ac:spMkLst>
            <pc:docMk/>
            <pc:sldMk cId="721183839" sldId="2147478576"/>
            <ac:spMk id="123" creationId="{3399DB36-FBF3-AA78-7C4A-30B29EF76F9F}"/>
          </ac:spMkLst>
        </pc:spChg>
        <pc:spChg chg="add del mod">
          <ac:chgData name="Steiner Andreas 6206 ED" userId="e6377c33-a923-4f14-8587-531c474c7b48" providerId="ADAL" clId="{6ECD27E6-B224-41CD-B4E0-E297462320DD}" dt="2023-11-24T08:34:04.157" v="17629"/>
          <ac:spMkLst>
            <pc:docMk/>
            <pc:sldMk cId="721183839" sldId="2147478576"/>
            <ac:spMk id="124" creationId="{87539E67-93A7-E665-191C-C2797CA72E3E}"/>
          </ac:spMkLst>
        </pc:spChg>
        <pc:spChg chg="add del mod">
          <ac:chgData name="Steiner Andreas 6206 ED" userId="e6377c33-a923-4f14-8587-531c474c7b48" providerId="ADAL" clId="{6ECD27E6-B224-41CD-B4E0-E297462320DD}" dt="2023-11-24T08:34:06.030" v="17784"/>
          <ac:spMkLst>
            <pc:docMk/>
            <pc:sldMk cId="721183839" sldId="2147478576"/>
            <ac:spMk id="125" creationId="{F23D97D2-B4F0-4CE5-1107-F2483ACED5BD}"/>
          </ac:spMkLst>
        </pc:spChg>
        <pc:spChg chg="add del mod">
          <ac:chgData name="Steiner Andreas 6206 ED" userId="e6377c33-a923-4f14-8587-531c474c7b48" providerId="ADAL" clId="{6ECD27E6-B224-41CD-B4E0-E297462320DD}" dt="2023-11-24T08:34:08.122" v="17939"/>
          <ac:spMkLst>
            <pc:docMk/>
            <pc:sldMk cId="721183839" sldId="2147478576"/>
            <ac:spMk id="126" creationId="{1A036F78-90DA-DBE6-D849-3BFF353F138C}"/>
          </ac:spMkLst>
        </pc:spChg>
        <pc:spChg chg="add del mod">
          <ac:chgData name="Steiner Andreas 6206 ED" userId="e6377c33-a923-4f14-8587-531c474c7b48" providerId="ADAL" clId="{6ECD27E6-B224-41CD-B4E0-E297462320DD}" dt="2023-11-24T08:34:10.066" v="18094"/>
          <ac:spMkLst>
            <pc:docMk/>
            <pc:sldMk cId="721183839" sldId="2147478576"/>
            <ac:spMk id="127" creationId="{26C27725-A07F-0353-5632-40F410DBBC0E}"/>
          </ac:spMkLst>
        </pc:spChg>
        <pc:spChg chg="add del mod">
          <ac:chgData name="Steiner Andreas 6206 ED" userId="e6377c33-a923-4f14-8587-531c474c7b48" providerId="ADAL" clId="{6ECD27E6-B224-41CD-B4E0-E297462320DD}" dt="2023-11-24T08:34:12.177" v="18249"/>
          <ac:spMkLst>
            <pc:docMk/>
            <pc:sldMk cId="721183839" sldId="2147478576"/>
            <ac:spMk id="128" creationId="{50F55E77-AA54-8254-D328-0579082C51F5}"/>
          </ac:spMkLst>
        </pc:spChg>
        <pc:spChg chg="add del mod">
          <ac:chgData name="Steiner Andreas 6206 ED" userId="e6377c33-a923-4f14-8587-531c474c7b48" providerId="ADAL" clId="{6ECD27E6-B224-41CD-B4E0-E297462320DD}" dt="2023-11-24T08:34:14.483" v="18404"/>
          <ac:spMkLst>
            <pc:docMk/>
            <pc:sldMk cId="721183839" sldId="2147478576"/>
            <ac:spMk id="129" creationId="{B78B64A9-2599-9B74-E77A-BBBA9F55E789}"/>
          </ac:spMkLst>
        </pc:spChg>
        <pc:spChg chg="add del mod">
          <ac:chgData name="Steiner Andreas 6206 ED" userId="e6377c33-a923-4f14-8587-531c474c7b48" providerId="ADAL" clId="{6ECD27E6-B224-41CD-B4E0-E297462320DD}" dt="2023-11-24T08:34:16.522" v="18559"/>
          <ac:spMkLst>
            <pc:docMk/>
            <pc:sldMk cId="721183839" sldId="2147478576"/>
            <ac:spMk id="130" creationId="{31051EE0-7775-8F0F-CC07-C68D2A22197C}"/>
          </ac:spMkLst>
        </pc:spChg>
        <pc:spChg chg="add del mod">
          <ac:chgData name="Steiner Andreas 6206 ED" userId="e6377c33-a923-4f14-8587-531c474c7b48" providerId="ADAL" clId="{6ECD27E6-B224-41CD-B4E0-E297462320DD}" dt="2023-11-24T08:34:18.753" v="18714"/>
          <ac:spMkLst>
            <pc:docMk/>
            <pc:sldMk cId="721183839" sldId="2147478576"/>
            <ac:spMk id="131" creationId="{51A544A2-1590-0729-B975-3A0E2C0DDC53}"/>
          </ac:spMkLst>
        </pc:spChg>
        <pc:spChg chg="add del mod">
          <ac:chgData name="Steiner Andreas 6206 ED" userId="e6377c33-a923-4f14-8587-531c474c7b48" providerId="ADAL" clId="{6ECD27E6-B224-41CD-B4E0-E297462320DD}" dt="2023-11-24T08:34:20.828" v="18869"/>
          <ac:spMkLst>
            <pc:docMk/>
            <pc:sldMk cId="721183839" sldId="2147478576"/>
            <ac:spMk id="132" creationId="{15E76875-823B-BD6E-FB61-9306E4504B72}"/>
          </ac:spMkLst>
        </pc:spChg>
        <pc:spChg chg="add del mod">
          <ac:chgData name="Steiner Andreas 6206 ED" userId="e6377c33-a923-4f14-8587-531c474c7b48" providerId="ADAL" clId="{6ECD27E6-B224-41CD-B4E0-E297462320DD}" dt="2023-11-24T08:34:22.945" v="19024"/>
          <ac:spMkLst>
            <pc:docMk/>
            <pc:sldMk cId="721183839" sldId="2147478576"/>
            <ac:spMk id="133" creationId="{5B28DC75-03BA-3F5F-0026-3C026C77A889}"/>
          </ac:spMkLst>
        </pc:spChg>
        <pc:spChg chg="add del mod">
          <ac:chgData name="Steiner Andreas 6206 ED" userId="e6377c33-a923-4f14-8587-531c474c7b48" providerId="ADAL" clId="{6ECD27E6-B224-41CD-B4E0-E297462320DD}" dt="2023-11-24T08:34:26.218" v="19179"/>
          <ac:spMkLst>
            <pc:docMk/>
            <pc:sldMk cId="721183839" sldId="2147478576"/>
            <ac:spMk id="134" creationId="{8FD95664-EF31-47C6-47D0-63FEE5C93369}"/>
          </ac:spMkLst>
        </pc:spChg>
        <pc:spChg chg="add del mod">
          <ac:chgData name="Steiner Andreas 6206 ED" userId="e6377c33-a923-4f14-8587-531c474c7b48" providerId="ADAL" clId="{6ECD27E6-B224-41CD-B4E0-E297462320DD}" dt="2023-11-24T08:34:28.876" v="19334"/>
          <ac:spMkLst>
            <pc:docMk/>
            <pc:sldMk cId="721183839" sldId="2147478576"/>
            <ac:spMk id="135" creationId="{99591D2E-E96E-D6B8-CAF2-871B14F4160C}"/>
          </ac:spMkLst>
        </pc:spChg>
        <pc:spChg chg="add del mod">
          <ac:chgData name="Steiner Andreas 6206 ED" userId="e6377c33-a923-4f14-8587-531c474c7b48" providerId="ADAL" clId="{6ECD27E6-B224-41CD-B4E0-E297462320DD}" dt="2023-11-24T08:34:31.509" v="19489"/>
          <ac:spMkLst>
            <pc:docMk/>
            <pc:sldMk cId="721183839" sldId="2147478576"/>
            <ac:spMk id="136" creationId="{2F1225DF-4AAD-C4DF-4F4D-582052CDF0EB}"/>
          </ac:spMkLst>
        </pc:spChg>
        <pc:spChg chg="add del mod">
          <ac:chgData name="Steiner Andreas 6206 ED" userId="e6377c33-a923-4f14-8587-531c474c7b48" providerId="ADAL" clId="{6ECD27E6-B224-41CD-B4E0-E297462320DD}" dt="2023-11-24T08:34:33.698" v="19644"/>
          <ac:spMkLst>
            <pc:docMk/>
            <pc:sldMk cId="721183839" sldId="2147478576"/>
            <ac:spMk id="137" creationId="{F5C993F8-456A-D46B-5183-812CED31D7F4}"/>
          </ac:spMkLst>
        </pc:spChg>
        <pc:spChg chg="add del mod">
          <ac:chgData name="Steiner Andreas 6206 ED" userId="e6377c33-a923-4f14-8587-531c474c7b48" providerId="ADAL" clId="{6ECD27E6-B224-41CD-B4E0-E297462320DD}" dt="2023-11-24T08:34:35.967" v="19799"/>
          <ac:spMkLst>
            <pc:docMk/>
            <pc:sldMk cId="721183839" sldId="2147478576"/>
            <ac:spMk id="138" creationId="{2C2FF09D-95D5-E93F-4344-4E57F9BE1C64}"/>
          </ac:spMkLst>
        </pc:spChg>
        <pc:spChg chg="add del mod">
          <ac:chgData name="Steiner Andreas 6206 ED" userId="e6377c33-a923-4f14-8587-531c474c7b48" providerId="ADAL" clId="{6ECD27E6-B224-41CD-B4E0-E297462320DD}" dt="2023-11-24T08:34:38.205" v="19954"/>
          <ac:spMkLst>
            <pc:docMk/>
            <pc:sldMk cId="721183839" sldId="2147478576"/>
            <ac:spMk id="139" creationId="{95B07333-D155-DF6C-14E8-262E762B2923}"/>
          </ac:spMkLst>
        </pc:spChg>
        <pc:spChg chg="add del mod">
          <ac:chgData name="Steiner Andreas 6206 ED" userId="e6377c33-a923-4f14-8587-531c474c7b48" providerId="ADAL" clId="{6ECD27E6-B224-41CD-B4E0-E297462320DD}" dt="2023-11-24T08:34:40.481" v="20109"/>
          <ac:spMkLst>
            <pc:docMk/>
            <pc:sldMk cId="721183839" sldId="2147478576"/>
            <ac:spMk id="140" creationId="{59F9B331-F367-AC89-1B90-331F46B22635}"/>
          </ac:spMkLst>
        </pc:spChg>
        <pc:spChg chg="add del mod">
          <ac:chgData name="Steiner Andreas 6206 ED" userId="e6377c33-a923-4f14-8587-531c474c7b48" providerId="ADAL" clId="{6ECD27E6-B224-41CD-B4E0-E297462320DD}" dt="2023-11-24T08:34:43.247" v="20264"/>
          <ac:spMkLst>
            <pc:docMk/>
            <pc:sldMk cId="721183839" sldId="2147478576"/>
            <ac:spMk id="141" creationId="{42B1382F-2353-6705-1159-E97DA66BFA29}"/>
          </ac:spMkLst>
        </pc:spChg>
        <pc:spChg chg="add del mod">
          <ac:chgData name="Steiner Andreas 6206 ED" userId="e6377c33-a923-4f14-8587-531c474c7b48" providerId="ADAL" clId="{6ECD27E6-B224-41CD-B4E0-E297462320DD}" dt="2023-11-24T08:34:45.591" v="20419"/>
          <ac:spMkLst>
            <pc:docMk/>
            <pc:sldMk cId="721183839" sldId="2147478576"/>
            <ac:spMk id="142" creationId="{67E79AA1-AFA1-BA90-2E0D-9C638C128AC9}"/>
          </ac:spMkLst>
        </pc:spChg>
        <pc:spChg chg="add del mod">
          <ac:chgData name="Steiner Andreas 6206 ED" userId="e6377c33-a923-4f14-8587-531c474c7b48" providerId="ADAL" clId="{6ECD27E6-B224-41CD-B4E0-E297462320DD}" dt="2023-11-24T08:34:47.831" v="20574"/>
          <ac:spMkLst>
            <pc:docMk/>
            <pc:sldMk cId="721183839" sldId="2147478576"/>
            <ac:spMk id="143" creationId="{978EAEE1-DA2F-CBA3-FB94-46AED99CD160}"/>
          </ac:spMkLst>
        </pc:spChg>
        <pc:spChg chg="add del mod">
          <ac:chgData name="Steiner Andreas 6206 ED" userId="e6377c33-a923-4f14-8587-531c474c7b48" providerId="ADAL" clId="{6ECD27E6-B224-41CD-B4E0-E297462320DD}" dt="2023-11-24T08:34:50.264" v="20729"/>
          <ac:spMkLst>
            <pc:docMk/>
            <pc:sldMk cId="721183839" sldId="2147478576"/>
            <ac:spMk id="144" creationId="{E35060F5-902E-A03E-0E8B-3085677BB2D2}"/>
          </ac:spMkLst>
        </pc:spChg>
        <pc:spChg chg="add del mod">
          <ac:chgData name="Steiner Andreas 6206 ED" userId="e6377c33-a923-4f14-8587-531c474c7b48" providerId="ADAL" clId="{6ECD27E6-B224-41CD-B4E0-E297462320DD}" dt="2023-11-24T08:34:52.853" v="20884"/>
          <ac:spMkLst>
            <pc:docMk/>
            <pc:sldMk cId="721183839" sldId="2147478576"/>
            <ac:spMk id="145" creationId="{D1C40FB7-371F-0F80-7DC6-A4233EEA192C}"/>
          </ac:spMkLst>
        </pc:spChg>
        <pc:spChg chg="add del mod">
          <ac:chgData name="Steiner Andreas 6206 ED" userId="e6377c33-a923-4f14-8587-531c474c7b48" providerId="ADAL" clId="{6ECD27E6-B224-41CD-B4E0-E297462320DD}" dt="2023-11-24T08:34:55.299" v="21039"/>
          <ac:spMkLst>
            <pc:docMk/>
            <pc:sldMk cId="721183839" sldId="2147478576"/>
            <ac:spMk id="146" creationId="{2D63111B-A8C8-2ECB-635E-996D474F0F30}"/>
          </ac:spMkLst>
        </pc:spChg>
        <pc:spChg chg="add del mod">
          <ac:chgData name="Steiner Andreas 6206 ED" userId="e6377c33-a923-4f14-8587-531c474c7b48" providerId="ADAL" clId="{6ECD27E6-B224-41CD-B4E0-E297462320DD}" dt="2023-11-24T08:34:57.609" v="21194"/>
          <ac:spMkLst>
            <pc:docMk/>
            <pc:sldMk cId="721183839" sldId="2147478576"/>
            <ac:spMk id="147" creationId="{BE3F3FA3-1F08-FD6D-2A2F-18CAF46399AB}"/>
          </ac:spMkLst>
        </pc:spChg>
        <pc:spChg chg="add del mod">
          <ac:chgData name="Steiner Andreas 6206 ED" userId="e6377c33-a923-4f14-8587-531c474c7b48" providerId="ADAL" clId="{6ECD27E6-B224-41CD-B4E0-E297462320DD}" dt="2023-11-24T08:35:00.134" v="21349"/>
          <ac:spMkLst>
            <pc:docMk/>
            <pc:sldMk cId="721183839" sldId="2147478576"/>
            <ac:spMk id="148" creationId="{BC8B1361-61F8-9650-3917-5BD492CE437C}"/>
          </ac:spMkLst>
        </pc:spChg>
        <pc:spChg chg="add del mod">
          <ac:chgData name="Steiner Andreas 6206 ED" userId="e6377c33-a923-4f14-8587-531c474c7b48" providerId="ADAL" clId="{6ECD27E6-B224-41CD-B4E0-E297462320DD}" dt="2023-11-24T08:35:02.788" v="21504"/>
          <ac:spMkLst>
            <pc:docMk/>
            <pc:sldMk cId="721183839" sldId="2147478576"/>
            <ac:spMk id="149" creationId="{C81B2607-982F-44FB-6C10-47D15B1467EF}"/>
          </ac:spMkLst>
        </pc:spChg>
        <pc:spChg chg="add del mod">
          <ac:chgData name="Steiner Andreas 6206 ED" userId="e6377c33-a923-4f14-8587-531c474c7b48" providerId="ADAL" clId="{6ECD27E6-B224-41CD-B4E0-E297462320DD}" dt="2023-11-24T08:35:05.262" v="21659"/>
          <ac:spMkLst>
            <pc:docMk/>
            <pc:sldMk cId="721183839" sldId="2147478576"/>
            <ac:spMk id="150" creationId="{EF57FA1C-576B-9D58-57B2-DC4E3FA22306}"/>
          </ac:spMkLst>
        </pc:spChg>
        <pc:spChg chg="add del mod">
          <ac:chgData name="Steiner Andreas 6206 ED" userId="e6377c33-a923-4f14-8587-531c474c7b48" providerId="ADAL" clId="{6ECD27E6-B224-41CD-B4E0-E297462320DD}" dt="2023-11-24T08:35:07.788" v="21814"/>
          <ac:spMkLst>
            <pc:docMk/>
            <pc:sldMk cId="721183839" sldId="2147478576"/>
            <ac:spMk id="151" creationId="{24FE2EDD-4AF8-990C-F90C-6727977C84D0}"/>
          </ac:spMkLst>
        </pc:spChg>
        <pc:spChg chg="add del mod">
          <ac:chgData name="Steiner Andreas 6206 ED" userId="e6377c33-a923-4f14-8587-531c474c7b48" providerId="ADAL" clId="{6ECD27E6-B224-41CD-B4E0-E297462320DD}" dt="2023-11-24T08:35:10.290" v="21969"/>
          <ac:spMkLst>
            <pc:docMk/>
            <pc:sldMk cId="721183839" sldId="2147478576"/>
            <ac:spMk id="152" creationId="{92EC9E13-5F08-02F9-C1BD-2DBDCE0B7493}"/>
          </ac:spMkLst>
        </pc:spChg>
        <pc:spChg chg="add del mod">
          <ac:chgData name="Steiner Andreas 6206 ED" userId="e6377c33-a923-4f14-8587-531c474c7b48" providerId="ADAL" clId="{6ECD27E6-B224-41CD-B4E0-E297462320DD}" dt="2023-11-24T08:35:12.718" v="22124"/>
          <ac:spMkLst>
            <pc:docMk/>
            <pc:sldMk cId="721183839" sldId="2147478576"/>
            <ac:spMk id="153" creationId="{F4FE442F-B9AD-A13B-182C-EE226AF4C875}"/>
          </ac:spMkLst>
        </pc:spChg>
        <pc:spChg chg="add del mod">
          <ac:chgData name="Steiner Andreas 6206 ED" userId="e6377c33-a923-4f14-8587-531c474c7b48" providerId="ADAL" clId="{6ECD27E6-B224-41CD-B4E0-E297462320DD}" dt="2023-11-24T08:35:14.801" v="22279"/>
          <ac:spMkLst>
            <pc:docMk/>
            <pc:sldMk cId="721183839" sldId="2147478576"/>
            <ac:spMk id="154" creationId="{303274B6-0204-3817-890C-B02CE23A770A}"/>
          </ac:spMkLst>
        </pc:spChg>
        <pc:spChg chg="add del mod">
          <ac:chgData name="Steiner Andreas 6206 ED" userId="e6377c33-a923-4f14-8587-531c474c7b48" providerId="ADAL" clId="{6ECD27E6-B224-41CD-B4E0-E297462320DD}" dt="2023-11-24T08:35:17.202" v="22434"/>
          <ac:spMkLst>
            <pc:docMk/>
            <pc:sldMk cId="721183839" sldId="2147478576"/>
            <ac:spMk id="155" creationId="{2078E986-D3C6-49C8-B706-D5CE3C4FF2DE}"/>
          </ac:spMkLst>
        </pc:spChg>
        <pc:spChg chg="add del mod">
          <ac:chgData name="Steiner Andreas 6206 ED" userId="e6377c33-a923-4f14-8587-531c474c7b48" providerId="ADAL" clId="{6ECD27E6-B224-41CD-B4E0-E297462320DD}" dt="2023-11-24T08:35:19.655" v="22589"/>
          <ac:spMkLst>
            <pc:docMk/>
            <pc:sldMk cId="721183839" sldId="2147478576"/>
            <ac:spMk id="156" creationId="{68140BB5-5292-3A65-22B7-9B965B8B83A8}"/>
          </ac:spMkLst>
        </pc:spChg>
        <pc:spChg chg="add del mod">
          <ac:chgData name="Steiner Andreas 6206 ED" userId="e6377c33-a923-4f14-8587-531c474c7b48" providerId="ADAL" clId="{6ECD27E6-B224-41CD-B4E0-E297462320DD}" dt="2023-11-24T08:35:22.076" v="22744"/>
          <ac:spMkLst>
            <pc:docMk/>
            <pc:sldMk cId="721183839" sldId="2147478576"/>
            <ac:spMk id="157" creationId="{D5C40F47-01AD-3E4F-780B-DA1D71F00B47}"/>
          </ac:spMkLst>
        </pc:spChg>
        <pc:spChg chg="add del mod">
          <ac:chgData name="Steiner Andreas 6206 ED" userId="e6377c33-a923-4f14-8587-531c474c7b48" providerId="ADAL" clId="{6ECD27E6-B224-41CD-B4E0-E297462320DD}" dt="2023-11-24T08:35:24.404" v="22899"/>
          <ac:spMkLst>
            <pc:docMk/>
            <pc:sldMk cId="721183839" sldId="2147478576"/>
            <ac:spMk id="158" creationId="{2E1565DB-FE41-0249-367F-CA739612404A}"/>
          </ac:spMkLst>
        </pc:spChg>
        <pc:spChg chg="add del mod">
          <ac:chgData name="Steiner Andreas 6206 ED" userId="e6377c33-a923-4f14-8587-531c474c7b48" providerId="ADAL" clId="{6ECD27E6-B224-41CD-B4E0-E297462320DD}" dt="2023-11-24T08:35:27.046" v="23054"/>
          <ac:spMkLst>
            <pc:docMk/>
            <pc:sldMk cId="721183839" sldId="2147478576"/>
            <ac:spMk id="159" creationId="{60B781FE-5D3A-11FD-F0C6-AEB8432C74E5}"/>
          </ac:spMkLst>
        </pc:spChg>
        <pc:spChg chg="add del mod">
          <ac:chgData name="Steiner Andreas 6206 ED" userId="e6377c33-a923-4f14-8587-531c474c7b48" providerId="ADAL" clId="{6ECD27E6-B224-41CD-B4E0-E297462320DD}" dt="2023-11-24T08:35:29.766" v="23209"/>
          <ac:spMkLst>
            <pc:docMk/>
            <pc:sldMk cId="721183839" sldId="2147478576"/>
            <ac:spMk id="160" creationId="{11D2B6C5-811C-0E46-3543-6B948E5850A5}"/>
          </ac:spMkLst>
        </pc:spChg>
        <pc:spChg chg="add del mod">
          <ac:chgData name="Steiner Andreas 6206 ED" userId="e6377c33-a923-4f14-8587-531c474c7b48" providerId="ADAL" clId="{6ECD27E6-B224-41CD-B4E0-E297462320DD}" dt="2023-11-24T08:35:32.127" v="23364"/>
          <ac:spMkLst>
            <pc:docMk/>
            <pc:sldMk cId="721183839" sldId="2147478576"/>
            <ac:spMk id="161" creationId="{99905689-503D-4488-61E5-EC950C39A5EC}"/>
          </ac:spMkLst>
        </pc:spChg>
        <pc:spChg chg="add del mod">
          <ac:chgData name="Steiner Andreas 6206 ED" userId="e6377c33-a923-4f14-8587-531c474c7b48" providerId="ADAL" clId="{6ECD27E6-B224-41CD-B4E0-E297462320DD}" dt="2023-11-24T08:35:34.528" v="23519"/>
          <ac:spMkLst>
            <pc:docMk/>
            <pc:sldMk cId="721183839" sldId="2147478576"/>
            <ac:spMk id="162" creationId="{CC72B0ED-6C61-0DBC-2FCA-45830D93FE51}"/>
          </ac:spMkLst>
        </pc:spChg>
        <pc:spChg chg="add del mod">
          <ac:chgData name="Steiner Andreas 6206 ED" userId="e6377c33-a923-4f14-8587-531c474c7b48" providerId="ADAL" clId="{6ECD27E6-B224-41CD-B4E0-E297462320DD}" dt="2023-11-24T08:35:36.837" v="23674"/>
          <ac:spMkLst>
            <pc:docMk/>
            <pc:sldMk cId="721183839" sldId="2147478576"/>
            <ac:spMk id="163" creationId="{81FC4D7C-0FE4-5A57-7A7C-629E4D30419B}"/>
          </ac:spMkLst>
        </pc:spChg>
        <pc:spChg chg="add del mod">
          <ac:chgData name="Steiner Andreas 6206 ED" userId="e6377c33-a923-4f14-8587-531c474c7b48" providerId="ADAL" clId="{6ECD27E6-B224-41CD-B4E0-E297462320DD}" dt="2023-11-24T08:35:39.247" v="23829"/>
          <ac:spMkLst>
            <pc:docMk/>
            <pc:sldMk cId="721183839" sldId="2147478576"/>
            <ac:spMk id="164" creationId="{FEA86D7A-D271-1CFD-E546-E122D5C493B4}"/>
          </ac:spMkLst>
        </pc:spChg>
        <pc:spChg chg="add del mod">
          <ac:chgData name="Steiner Andreas 6206 ED" userId="e6377c33-a923-4f14-8587-531c474c7b48" providerId="ADAL" clId="{6ECD27E6-B224-41CD-B4E0-E297462320DD}" dt="2023-11-24T08:35:41.918" v="23984"/>
          <ac:spMkLst>
            <pc:docMk/>
            <pc:sldMk cId="721183839" sldId="2147478576"/>
            <ac:spMk id="165" creationId="{57CFC56E-F2E0-4751-5D40-7A7599F430A2}"/>
          </ac:spMkLst>
        </pc:spChg>
        <pc:spChg chg="add del mod">
          <ac:chgData name="Steiner Andreas 6206 ED" userId="e6377c33-a923-4f14-8587-531c474c7b48" providerId="ADAL" clId="{6ECD27E6-B224-41CD-B4E0-E297462320DD}" dt="2023-11-24T08:35:44.384" v="24139"/>
          <ac:spMkLst>
            <pc:docMk/>
            <pc:sldMk cId="721183839" sldId="2147478576"/>
            <ac:spMk id="166" creationId="{A117817A-D9E2-627D-23D8-CCCF78AA2832}"/>
          </ac:spMkLst>
        </pc:spChg>
        <pc:spChg chg="add del mod">
          <ac:chgData name="Steiner Andreas 6206 ED" userId="e6377c33-a923-4f14-8587-531c474c7b48" providerId="ADAL" clId="{6ECD27E6-B224-41CD-B4E0-E297462320DD}" dt="2023-11-24T08:35:46.647" v="24294"/>
          <ac:spMkLst>
            <pc:docMk/>
            <pc:sldMk cId="721183839" sldId="2147478576"/>
            <ac:spMk id="167" creationId="{669982E8-0470-4C94-DEDA-E897C429802F}"/>
          </ac:spMkLst>
        </pc:spChg>
        <pc:spChg chg="add del mod">
          <ac:chgData name="Steiner Andreas 6206 ED" userId="e6377c33-a923-4f14-8587-531c474c7b48" providerId="ADAL" clId="{6ECD27E6-B224-41CD-B4E0-E297462320DD}" dt="2023-11-24T08:35:48.882" v="24449"/>
          <ac:spMkLst>
            <pc:docMk/>
            <pc:sldMk cId="721183839" sldId="2147478576"/>
            <ac:spMk id="168" creationId="{590D9EA5-6065-B8ED-85E1-DB5B607FADF4}"/>
          </ac:spMkLst>
        </pc:spChg>
        <pc:spChg chg="add del mod">
          <ac:chgData name="Steiner Andreas 6206 ED" userId="e6377c33-a923-4f14-8587-531c474c7b48" providerId="ADAL" clId="{6ECD27E6-B224-41CD-B4E0-E297462320DD}" dt="2023-11-24T08:35:51.177" v="24604"/>
          <ac:spMkLst>
            <pc:docMk/>
            <pc:sldMk cId="721183839" sldId="2147478576"/>
            <ac:spMk id="169" creationId="{1D2124F3-4A04-8DE8-BBE2-304DACDB498C}"/>
          </ac:spMkLst>
        </pc:spChg>
        <pc:spChg chg="add del mod">
          <ac:chgData name="Steiner Andreas 6206 ED" userId="e6377c33-a923-4f14-8587-531c474c7b48" providerId="ADAL" clId="{6ECD27E6-B224-41CD-B4E0-E297462320DD}" dt="2023-11-24T08:35:54.081" v="24759"/>
          <ac:spMkLst>
            <pc:docMk/>
            <pc:sldMk cId="721183839" sldId="2147478576"/>
            <ac:spMk id="170" creationId="{C5D37326-ECB8-D838-B3FB-5F7F0A14B964}"/>
          </ac:spMkLst>
        </pc:spChg>
        <pc:spChg chg="add del mod">
          <ac:chgData name="Steiner Andreas 6206 ED" userId="e6377c33-a923-4f14-8587-531c474c7b48" providerId="ADAL" clId="{6ECD27E6-B224-41CD-B4E0-E297462320DD}" dt="2023-11-24T08:35:56.578" v="24914"/>
          <ac:spMkLst>
            <pc:docMk/>
            <pc:sldMk cId="721183839" sldId="2147478576"/>
            <ac:spMk id="171" creationId="{8C3BD46A-3B34-BFD6-0AFF-C06425300A32}"/>
          </ac:spMkLst>
        </pc:spChg>
        <pc:spChg chg="add del mod">
          <ac:chgData name="Steiner Andreas 6206 ED" userId="e6377c33-a923-4f14-8587-531c474c7b48" providerId="ADAL" clId="{6ECD27E6-B224-41CD-B4E0-E297462320DD}" dt="2023-11-24T08:35:59.124" v="25069"/>
          <ac:spMkLst>
            <pc:docMk/>
            <pc:sldMk cId="721183839" sldId="2147478576"/>
            <ac:spMk id="172" creationId="{1C987DA8-00E7-45C0-CD58-F7AF5CB300AB}"/>
          </ac:spMkLst>
        </pc:spChg>
        <pc:spChg chg="add del mod">
          <ac:chgData name="Steiner Andreas 6206 ED" userId="e6377c33-a923-4f14-8587-531c474c7b48" providerId="ADAL" clId="{6ECD27E6-B224-41CD-B4E0-E297462320DD}" dt="2023-11-24T08:36:01.634" v="25224"/>
          <ac:spMkLst>
            <pc:docMk/>
            <pc:sldMk cId="721183839" sldId="2147478576"/>
            <ac:spMk id="173" creationId="{0049F972-1519-0EE9-A9F7-ED022FDDC651}"/>
          </ac:spMkLst>
        </pc:spChg>
        <pc:spChg chg="add del mod">
          <ac:chgData name="Steiner Andreas 6206 ED" userId="e6377c33-a923-4f14-8587-531c474c7b48" providerId="ADAL" clId="{6ECD27E6-B224-41CD-B4E0-E297462320DD}" dt="2023-11-24T08:36:04.220" v="25379"/>
          <ac:spMkLst>
            <pc:docMk/>
            <pc:sldMk cId="721183839" sldId="2147478576"/>
            <ac:spMk id="174" creationId="{1FC80590-6248-9574-5923-253344B0B46C}"/>
          </ac:spMkLst>
        </pc:spChg>
        <pc:spChg chg="add del mod">
          <ac:chgData name="Steiner Andreas 6206 ED" userId="e6377c33-a923-4f14-8587-531c474c7b48" providerId="ADAL" clId="{6ECD27E6-B224-41CD-B4E0-E297462320DD}" dt="2023-11-24T08:36:06.704" v="25534"/>
          <ac:spMkLst>
            <pc:docMk/>
            <pc:sldMk cId="721183839" sldId="2147478576"/>
            <ac:spMk id="175" creationId="{2DB3029A-AA71-42C1-91B0-DBA3B70C5B9E}"/>
          </ac:spMkLst>
        </pc:spChg>
        <pc:spChg chg="add del mod">
          <ac:chgData name="Steiner Andreas 6206 ED" userId="e6377c33-a923-4f14-8587-531c474c7b48" providerId="ADAL" clId="{6ECD27E6-B224-41CD-B4E0-E297462320DD}" dt="2023-11-24T08:36:09.227" v="25689"/>
          <ac:spMkLst>
            <pc:docMk/>
            <pc:sldMk cId="721183839" sldId="2147478576"/>
            <ac:spMk id="176" creationId="{100AA612-C5FF-FB44-14C0-2DC6DF09C84D}"/>
          </ac:spMkLst>
        </pc:spChg>
        <pc:spChg chg="add del mod">
          <ac:chgData name="Steiner Andreas 6206 ED" userId="e6377c33-a923-4f14-8587-531c474c7b48" providerId="ADAL" clId="{6ECD27E6-B224-41CD-B4E0-E297462320DD}" dt="2023-11-24T08:36:11.764" v="25844"/>
          <ac:spMkLst>
            <pc:docMk/>
            <pc:sldMk cId="721183839" sldId="2147478576"/>
            <ac:spMk id="177" creationId="{19CE47BF-8209-4EFD-F879-85132CC6E78A}"/>
          </ac:spMkLst>
        </pc:spChg>
        <pc:spChg chg="add del mod">
          <ac:chgData name="Steiner Andreas 6206 ED" userId="e6377c33-a923-4f14-8587-531c474c7b48" providerId="ADAL" clId="{6ECD27E6-B224-41CD-B4E0-E297462320DD}" dt="2023-11-24T08:36:14.157" v="25999"/>
          <ac:spMkLst>
            <pc:docMk/>
            <pc:sldMk cId="721183839" sldId="2147478576"/>
            <ac:spMk id="178" creationId="{DA6F2B7C-5948-8915-71B4-7805CBBF880A}"/>
          </ac:spMkLst>
        </pc:spChg>
        <pc:spChg chg="add del mod">
          <ac:chgData name="Steiner Andreas 6206 ED" userId="e6377c33-a923-4f14-8587-531c474c7b48" providerId="ADAL" clId="{6ECD27E6-B224-41CD-B4E0-E297462320DD}" dt="2023-11-24T08:36:16.972" v="26154"/>
          <ac:spMkLst>
            <pc:docMk/>
            <pc:sldMk cId="721183839" sldId="2147478576"/>
            <ac:spMk id="179" creationId="{C8F99F96-35FE-03EF-D091-6D437454C5D3}"/>
          </ac:spMkLst>
        </pc:spChg>
        <pc:spChg chg="add del mod">
          <ac:chgData name="Steiner Andreas 6206 ED" userId="e6377c33-a923-4f14-8587-531c474c7b48" providerId="ADAL" clId="{6ECD27E6-B224-41CD-B4E0-E297462320DD}" dt="2023-11-24T08:36:19.386" v="26309"/>
          <ac:spMkLst>
            <pc:docMk/>
            <pc:sldMk cId="721183839" sldId="2147478576"/>
            <ac:spMk id="180" creationId="{9BB0F64C-8340-EDCF-4CA2-AA09BDF36C72}"/>
          </ac:spMkLst>
        </pc:spChg>
        <pc:spChg chg="add del mod">
          <ac:chgData name="Steiner Andreas 6206 ED" userId="e6377c33-a923-4f14-8587-531c474c7b48" providerId="ADAL" clId="{6ECD27E6-B224-41CD-B4E0-E297462320DD}" dt="2023-11-24T08:36:21.633" v="26464"/>
          <ac:spMkLst>
            <pc:docMk/>
            <pc:sldMk cId="721183839" sldId="2147478576"/>
            <ac:spMk id="181" creationId="{94EF7B43-5628-C887-F191-F02703B72450}"/>
          </ac:spMkLst>
        </pc:spChg>
        <pc:spChg chg="add del mod">
          <ac:chgData name="Steiner Andreas 6206 ED" userId="e6377c33-a923-4f14-8587-531c474c7b48" providerId="ADAL" clId="{6ECD27E6-B224-41CD-B4E0-E297462320DD}" dt="2023-11-24T08:36:24.142" v="26619"/>
          <ac:spMkLst>
            <pc:docMk/>
            <pc:sldMk cId="721183839" sldId="2147478576"/>
            <ac:spMk id="182" creationId="{B00FA0C0-C441-432D-3142-84F6D6524BF2}"/>
          </ac:spMkLst>
        </pc:spChg>
        <pc:spChg chg="add del mod">
          <ac:chgData name="Steiner Andreas 6206 ED" userId="e6377c33-a923-4f14-8587-531c474c7b48" providerId="ADAL" clId="{6ECD27E6-B224-41CD-B4E0-E297462320DD}" dt="2023-11-24T08:36:26.676" v="26774"/>
          <ac:spMkLst>
            <pc:docMk/>
            <pc:sldMk cId="721183839" sldId="2147478576"/>
            <ac:spMk id="183" creationId="{5E8D6CCD-9F36-C22C-B403-8C2FDF059F9F}"/>
          </ac:spMkLst>
        </pc:spChg>
        <pc:spChg chg="add del mod">
          <ac:chgData name="Steiner Andreas 6206 ED" userId="e6377c33-a923-4f14-8587-531c474c7b48" providerId="ADAL" clId="{6ECD27E6-B224-41CD-B4E0-E297462320DD}" dt="2023-11-24T08:36:29.585" v="26929"/>
          <ac:spMkLst>
            <pc:docMk/>
            <pc:sldMk cId="721183839" sldId="2147478576"/>
            <ac:spMk id="184" creationId="{B3754BE1-8EB9-22D5-972E-6BCF2B385BA5}"/>
          </ac:spMkLst>
        </pc:spChg>
        <pc:spChg chg="add del mod">
          <ac:chgData name="Steiner Andreas 6206 ED" userId="e6377c33-a923-4f14-8587-531c474c7b48" providerId="ADAL" clId="{6ECD27E6-B224-41CD-B4E0-E297462320DD}" dt="2023-11-24T08:36:32.284" v="27084"/>
          <ac:spMkLst>
            <pc:docMk/>
            <pc:sldMk cId="721183839" sldId="2147478576"/>
            <ac:spMk id="185" creationId="{076A42B4-281D-D54A-9564-05FA51D71044}"/>
          </ac:spMkLst>
        </pc:spChg>
        <pc:spChg chg="add del mod">
          <ac:chgData name="Steiner Andreas 6206 ED" userId="e6377c33-a923-4f14-8587-531c474c7b48" providerId="ADAL" clId="{6ECD27E6-B224-41CD-B4E0-E297462320DD}" dt="2023-11-24T08:36:34.811" v="27239"/>
          <ac:spMkLst>
            <pc:docMk/>
            <pc:sldMk cId="721183839" sldId="2147478576"/>
            <ac:spMk id="186" creationId="{DB39AD4D-51AC-C55B-F9DB-8306029C31DB}"/>
          </ac:spMkLst>
        </pc:spChg>
        <pc:spChg chg="add del mod">
          <ac:chgData name="Steiner Andreas 6206 ED" userId="e6377c33-a923-4f14-8587-531c474c7b48" providerId="ADAL" clId="{6ECD27E6-B224-41CD-B4E0-E297462320DD}" dt="2023-11-24T08:36:37.348" v="27394"/>
          <ac:spMkLst>
            <pc:docMk/>
            <pc:sldMk cId="721183839" sldId="2147478576"/>
            <ac:spMk id="187" creationId="{68DA95E3-7BD9-AD40-B0B9-3842A13D8D52}"/>
          </ac:spMkLst>
        </pc:spChg>
        <pc:spChg chg="add del mod">
          <ac:chgData name="Steiner Andreas 6206 ED" userId="e6377c33-a923-4f14-8587-531c474c7b48" providerId="ADAL" clId="{6ECD27E6-B224-41CD-B4E0-E297462320DD}" dt="2023-11-24T08:36:39.932" v="27549"/>
          <ac:spMkLst>
            <pc:docMk/>
            <pc:sldMk cId="721183839" sldId="2147478576"/>
            <ac:spMk id="188" creationId="{09E67586-AB83-3DA2-CEC7-4493974E6C59}"/>
          </ac:spMkLst>
        </pc:spChg>
        <pc:spChg chg="add del mod">
          <ac:chgData name="Steiner Andreas 6206 ED" userId="e6377c33-a923-4f14-8587-531c474c7b48" providerId="ADAL" clId="{6ECD27E6-B224-41CD-B4E0-E297462320DD}" dt="2023-11-24T08:36:42.716" v="27704"/>
          <ac:spMkLst>
            <pc:docMk/>
            <pc:sldMk cId="721183839" sldId="2147478576"/>
            <ac:spMk id="189" creationId="{9FC8211E-FBD5-900F-3C09-ADB29D20BE7F}"/>
          </ac:spMkLst>
        </pc:spChg>
        <pc:spChg chg="add del mod">
          <ac:chgData name="Steiner Andreas 6206 ED" userId="e6377c33-a923-4f14-8587-531c474c7b48" providerId="ADAL" clId="{6ECD27E6-B224-41CD-B4E0-E297462320DD}" dt="2023-11-24T08:36:45.216" v="27859"/>
          <ac:spMkLst>
            <pc:docMk/>
            <pc:sldMk cId="721183839" sldId="2147478576"/>
            <ac:spMk id="190" creationId="{1F7A6F2D-6025-3E01-771C-10E8A6D1A6B1}"/>
          </ac:spMkLst>
        </pc:spChg>
        <pc:spChg chg="add del mod">
          <ac:chgData name="Steiner Andreas 6206 ED" userId="e6377c33-a923-4f14-8587-531c474c7b48" providerId="ADAL" clId="{6ECD27E6-B224-41CD-B4E0-E297462320DD}" dt="2023-11-24T08:36:47.629" v="28014"/>
          <ac:spMkLst>
            <pc:docMk/>
            <pc:sldMk cId="721183839" sldId="2147478576"/>
            <ac:spMk id="191" creationId="{0D0A1389-7AE3-0D64-E4D2-7B8D4B940C99}"/>
          </ac:spMkLst>
        </pc:spChg>
        <pc:spChg chg="add del mod">
          <ac:chgData name="Steiner Andreas 6206 ED" userId="e6377c33-a923-4f14-8587-531c474c7b48" providerId="ADAL" clId="{6ECD27E6-B224-41CD-B4E0-E297462320DD}" dt="2023-11-24T08:36:50.095" v="28169"/>
          <ac:spMkLst>
            <pc:docMk/>
            <pc:sldMk cId="721183839" sldId="2147478576"/>
            <ac:spMk id="192" creationId="{6A7CC3EC-4F26-0AE7-5408-93603ECD20A9}"/>
          </ac:spMkLst>
        </pc:spChg>
        <pc:spChg chg="add del mod">
          <ac:chgData name="Steiner Andreas 6206 ED" userId="e6377c33-a923-4f14-8587-531c474c7b48" providerId="ADAL" clId="{6ECD27E6-B224-41CD-B4E0-E297462320DD}" dt="2023-11-24T08:36:53.139" v="28324"/>
          <ac:spMkLst>
            <pc:docMk/>
            <pc:sldMk cId="721183839" sldId="2147478576"/>
            <ac:spMk id="193" creationId="{10B2890A-754D-297D-151A-6153F3E8252E}"/>
          </ac:spMkLst>
        </pc:spChg>
        <pc:spChg chg="add del mod">
          <ac:chgData name="Steiner Andreas 6206 ED" userId="e6377c33-a923-4f14-8587-531c474c7b48" providerId="ADAL" clId="{6ECD27E6-B224-41CD-B4E0-E297462320DD}" dt="2023-11-24T08:36:56.224" v="28479"/>
          <ac:spMkLst>
            <pc:docMk/>
            <pc:sldMk cId="721183839" sldId="2147478576"/>
            <ac:spMk id="194" creationId="{0963D1A5-14CF-83CA-494A-43030C23084E}"/>
          </ac:spMkLst>
        </pc:spChg>
        <pc:spChg chg="add del mod">
          <ac:chgData name="Steiner Andreas 6206 ED" userId="e6377c33-a923-4f14-8587-531c474c7b48" providerId="ADAL" clId="{6ECD27E6-B224-41CD-B4E0-E297462320DD}" dt="2023-11-24T08:36:59.059" v="28634"/>
          <ac:spMkLst>
            <pc:docMk/>
            <pc:sldMk cId="721183839" sldId="2147478576"/>
            <ac:spMk id="195" creationId="{AF10C37E-8B86-F0BF-C8D4-C074B929A746}"/>
          </ac:spMkLst>
        </pc:spChg>
        <pc:spChg chg="add del mod">
          <ac:chgData name="Steiner Andreas 6206 ED" userId="e6377c33-a923-4f14-8587-531c474c7b48" providerId="ADAL" clId="{6ECD27E6-B224-41CD-B4E0-E297462320DD}" dt="2023-11-24T08:37:01.731" v="28789"/>
          <ac:spMkLst>
            <pc:docMk/>
            <pc:sldMk cId="721183839" sldId="2147478576"/>
            <ac:spMk id="196" creationId="{9298717B-B2BC-1F0E-1C1F-BE3A03A9EA86}"/>
          </ac:spMkLst>
        </pc:spChg>
        <pc:spChg chg="add del mod">
          <ac:chgData name="Steiner Andreas 6206 ED" userId="e6377c33-a923-4f14-8587-531c474c7b48" providerId="ADAL" clId="{6ECD27E6-B224-41CD-B4E0-E297462320DD}" dt="2023-11-24T08:37:04.511" v="28944"/>
          <ac:spMkLst>
            <pc:docMk/>
            <pc:sldMk cId="721183839" sldId="2147478576"/>
            <ac:spMk id="197" creationId="{A5B2486C-06EE-005B-71C1-3767E1A38049}"/>
          </ac:spMkLst>
        </pc:spChg>
        <pc:spChg chg="add del mod">
          <ac:chgData name="Steiner Andreas 6206 ED" userId="e6377c33-a923-4f14-8587-531c474c7b48" providerId="ADAL" clId="{6ECD27E6-B224-41CD-B4E0-E297462320DD}" dt="2023-11-24T08:37:07.370" v="29099"/>
          <ac:spMkLst>
            <pc:docMk/>
            <pc:sldMk cId="721183839" sldId="2147478576"/>
            <ac:spMk id="198" creationId="{737B75F7-DB7C-3E0A-7AE5-A296E48D0B1B}"/>
          </ac:spMkLst>
        </pc:spChg>
        <pc:spChg chg="add del mod">
          <ac:chgData name="Steiner Andreas 6206 ED" userId="e6377c33-a923-4f14-8587-531c474c7b48" providerId="ADAL" clId="{6ECD27E6-B224-41CD-B4E0-E297462320DD}" dt="2023-11-24T08:37:09.906" v="29254"/>
          <ac:spMkLst>
            <pc:docMk/>
            <pc:sldMk cId="721183839" sldId="2147478576"/>
            <ac:spMk id="199" creationId="{2D422A22-1EB9-714E-6BE9-4E5F602E8E5C}"/>
          </ac:spMkLst>
        </pc:spChg>
        <pc:spChg chg="add del mod">
          <ac:chgData name="Steiner Andreas 6206 ED" userId="e6377c33-a923-4f14-8587-531c474c7b48" providerId="ADAL" clId="{6ECD27E6-B224-41CD-B4E0-E297462320DD}" dt="2023-11-24T08:37:12.652" v="29409"/>
          <ac:spMkLst>
            <pc:docMk/>
            <pc:sldMk cId="721183839" sldId="2147478576"/>
            <ac:spMk id="200" creationId="{3E821187-3668-000C-CFB8-48C0F1D11E1C}"/>
          </ac:spMkLst>
        </pc:spChg>
        <pc:spChg chg="add del mod">
          <ac:chgData name="Steiner Andreas 6206 ED" userId="e6377c33-a923-4f14-8587-531c474c7b48" providerId="ADAL" clId="{6ECD27E6-B224-41CD-B4E0-E297462320DD}" dt="2023-11-24T08:37:15.999" v="29564"/>
          <ac:spMkLst>
            <pc:docMk/>
            <pc:sldMk cId="721183839" sldId="2147478576"/>
            <ac:spMk id="201" creationId="{CB8820FD-BD4B-DCD6-669C-7997EC69C3A2}"/>
          </ac:spMkLst>
        </pc:spChg>
        <pc:spChg chg="add del mod">
          <ac:chgData name="Steiner Andreas 6206 ED" userId="e6377c33-a923-4f14-8587-531c474c7b48" providerId="ADAL" clId="{6ECD27E6-B224-41CD-B4E0-E297462320DD}" dt="2023-11-24T08:37:18.709" v="29719"/>
          <ac:spMkLst>
            <pc:docMk/>
            <pc:sldMk cId="721183839" sldId="2147478576"/>
            <ac:spMk id="202" creationId="{96432C38-CC70-ECA4-35AB-2BD5D01B2B1C}"/>
          </ac:spMkLst>
        </pc:spChg>
        <pc:spChg chg="add del mod">
          <ac:chgData name="Steiner Andreas 6206 ED" userId="e6377c33-a923-4f14-8587-531c474c7b48" providerId="ADAL" clId="{6ECD27E6-B224-41CD-B4E0-E297462320DD}" dt="2023-11-24T08:37:21.220" v="29874"/>
          <ac:spMkLst>
            <pc:docMk/>
            <pc:sldMk cId="721183839" sldId="2147478576"/>
            <ac:spMk id="203" creationId="{DFF8E51C-6E5C-23DA-177B-2189BB98A340}"/>
          </ac:spMkLst>
        </pc:spChg>
        <pc:spChg chg="add del mod">
          <ac:chgData name="Steiner Andreas 6206 ED" userId="e6377c33-a923-4f14-8587-531c474c7b48" providerId="ADAL" clId="{6ECD27E6-B224-41CD-B4E0-E297462320DD}" dt="2023-11-24T08:37:24.061" v="30029"/>
          <ac:spMkLst>
            <pc:docMk/>
            <pc:sldMk cId="721183839" sldId="2147478576"/>
            <ac:spMk id="204" creationId="{2850FFF0-1EB8-A4E2-D4B2-792EA4B6599C}"/>
          </ac:spMkLst>
        </pc:spChg>
        <pc:spChg chg="add del mod">
          <ac:chgData name="Steiner Andreas 6206 ED" userId="e6377c33-a923-4f14-8587-531c474c7b48" providerId="ADAL" clId="{6ECD27E6-B224-41CD-B4E0-E297462320DD}" dt="2023-11-24T08:37:26.588" v="30184"/>
          <ac:spMkLst>
            <pc:docMk/>
            <pc:sldMk cId="721183839" sldId="2147478576"/>
            <ac:spMk id="205" creationId="{D9296E12-7F70-F5B5-1910-933F1B15F0BD}"/>
          </ac:spMkLst>
        </pc:spChg>
        <pc:spChg chg="add del mod">
          <ac:chgData name="Steiner Andreas 6206 ED" userId="e6377c33-a923-4f14-8587-531c474c7b48" providerId="ADAL" clId="{6ECD27E6-B224-41CD-B4E0-E297462320DD}" dt="2023-11-24T08:37:29.835" v="30339"/>
          <ac:spMkLst>
            <pc:docMk/>
            <pc:sldMk cId="721183839" sldId="2147478576"/>
            <ac:spMk id="206" creationId="{D2180452-5D39-08F2-08B4-71ECE662C289}"/>
          </ac:spMkLst>
        </pc:spChg>
        <pc:spChg chg="add del mod">
          <ac:chgData name="Steiner Andreas 6206 ED" userId="e6377c33-a923-4f14-8587-531c474c7b48" providerId="ADAL" clId="{6ECD27E6-B224-41CD-B4E0-E297462320DD}" dt="2023-11-24T08:37:32.764" v="30494"/>
          <ac:spMkLst>
            <pc:docMk/>
            <pc:sldMk cId="721183839" sldId="2147478576"/>
            <ac:spMk id="207" creationId="{7A1BBB3D-F045-052A-5B9E-FD8E9025E626}"/>
          </ac:spMkLst>
        </pc:spChg>
        <pc:spChg chg="add del mod">
          <ac:chgData name="Steiner Andreas 6206 ED" userId="e6377c33-a923-4f14-8587-531c474c7b48" providerId="ADAL" clId="{6ECD27E6-B224-41CD-B4E0-E297462320DD}" dt="2023-11-24T08:37:35.366" v="30649"/>
          <ac:spMkLst>
            <pc:docMk/>
            <pc:sldMk cId="721183839" sldId="2147478576"/>
            <ac:spMk id="208" creationId="{4DFC70C8-127B-AD4B-62F2-5FE63FEE98A2}"/>
          </ac:spMkLst>
        </pc:spChg>
        <pc:spChg chg="add del mod">
          <ac:chgData name="Steiner Andreas 6206 ED" userId="e6377c33-a923-4f14-8587-531c474c7b48" providerId="ADAL" clId="{6ECD27E6-B224-41CD-B4E0-E297462320DD}" dt="2023-11-24T08:37:38.016" v="30804"/>
          <ac:spMkLst>
            <pc:docMk/>
            <pc:sldMk cId="721183839" sldId="2147478576"/>
            <ac:spMk id="209" creationId="{04AD3DC4-0241-133D-539E-0AFAE61A0919}"/>
          </ac:spMkLst>
        </pc:spChg>
        <pc:spChg chg="add del mod">
          <ac:chgData name="Steiner Andreas 6206 ED" userId="e6377c33-a923-4f14-8587-531c474c7b48" providerId="ADAL" clId="{6ECD27E6-B224-41CD-B4E0-E297462320DD}" dt="2023-11-24T08:37:41.876" v="30959"/>
          <ac:spMkLst>
            <pc:docMk/>
            <pc:sldMk cId="721183839" sldId="2147478576"/>
            <ac:spMk id="210" creationId="{B5398BE4-6E51-8B97-81B6-F560FFE17D72}"/>
          </ac:spMkLst>
        </pc:spChg>
        <pc:spChg chg="add del mod">
          <ac:chgData name="Steiner Andreas 6206 ED" userId="e6377c33-a923-4f14-8587-531c474c7b48" providerId="ADAL" clId="{6ECD27E6-B224-41CD-B4E0-E297462320DD}" dt="2023-11-24T08:37:44.991" v="31114"/>
          <ac:spMkLst>
            <pc:docMk/>
            <pc:sldMk cId="721183839" sldId="2147478576"/>
            <ac:spMk id="211" creationId="{3CB19ED2-57AC-434C-719E-3CA3C98D0596}"/>
          </ac:spMkLst>
        </pc:spChg>
        <pc:spChg chg="add del mod">
          <ac:chgData name="Steiner Andreas 6206 ED" userId="e6377c33-a923-4f14-8587-531c474c7b48" providerId="ADAL" clId="{6ECD27E6-B224-41CD-B4E0-E297462320DD}" dt="2023-11-24T08:37:47.745" v="31269"/>
          <ac:spMkLst>
            <pc:docMk/>
            <pc:sldMk cId="721183839" sldId="2147478576"/>
            <ac:spMk id="212" creationId="{391FBB34-DEB0-134B-5B45-354835CC2A5C}"/>
          </ac:spMkLst>
        </pc:spChg>
        <pc:spChg chg="add del mod">
          <ac:chgData name="Steiner Andreas 6206 ED" userId="e6377c33-a923-4f14-8587-531c474c7b48" providerId="ADAL" clId="{6ECD27E6-B224-41CD-B4E0-E297462320DD}" dt="2023-11-24T08:37:50.512" v="31424"/>
          <ac:spMkLst>
            <pc:docMk/>
            <pc:sldMk cId="721183839" sldId="2147478576"/>
            <ac:spMk id="213" creationId="{FC7453FE-718A-9B21-099F-E9E82A653F1E}"/>
          </ac:spMkLst>
        </pc:spChg>
        <pc:spChg chg="add del mod">
          <ac:chgData name="Steiner Andreas 6206 ED" userId="e6377c33-a923-4f14-8587-531c474c7b48" providerId="ADAL" clId="{6ECD27E6-B224-41CD-B4E0-E297462320DD}" dt="2023-11-24T08:37:53.108" v="31579"/>
          <ac:spMkLst>
            <pc:docMk/>
            <pc:sldMk cId="721183839" sldId="2147478576"/>
            <ac:spMk id="214" creationId="{FDB7701A-F8C3-F4FC-C54F-4FE6468C0E97}"/>
          </ac:spMkLst>
        </pc:spChg>
        <pc:spChg chg="add del mod">
          <ac:chgData name="Steiner Andreas 6206 ED" userId="e6377c33-a923-4f14-8587-531c474c7b48" providerId="ADAL" clId="{6ECD27E6-B224-41CD-B4E0-E297462320DD}" dt="2023-11-24T08:37:57.207" v="31734"/>
          <ac:spMkLst>
            <pc:docMk/>
            <pc:sldMk cId="721183839" sldId="2147478576"/>
            <ac:spMk id="215" creationId="{86C742AD-4A95-8DA6-BC58-293C1AA1EAA4}"/>
          </ac:spMkLst>
        </pc:spChg>
        <pc:spChg chg="add del mod">
          <ac:chgData name="Steiner Andreas 6206 ED" userId="e6377c33-a923-4f14-8587-531c474c7b48" providerId="ADAL" clId="{6ECD27E6-B224-41CD-B4E0-E297462320DD}" dt="2023-11-24T08:37:59.977" v="31889"/>
          <ac:spMkLst>
            <pc:docMk/>
            <pc:sldMk cId="721183839" sldId="2147478576"/>
            <ac:spMk id="216" creationId="{B84DF633-11AF-B5F9-0EB3-DCF90B2D6F8D}"/>
          </ac:spMkLst>
        </pc:spChg>
        <pc:spChg chg="add del mod">
          <ac:chgData name="Steiner Andreas 6206 ED" userId="e6377c33-a923-4f14-8587-531c474c7b48" providerId="ADAL" clId="{6ECD27E6-B224-41CD-B4E0-E297462320DD}" dt="2023-11-24T08:38:02.958" v="32044"/>
          <ac:spMkLst>
            <pc:docMk/>
            <pc:sldMk cId="721183839" sldId="2147478576"/>
            <ac:spMk id="217" creationId="{A65B5CD7-5E82-47BF-F9A7-3ED704442134}"/>
          </ac:spMkLst>
        </pc:spChg>
        <pc:spChg chg="add del mod">
          <ac:chgData name="Steiner Andreas 6206 ED" userId="e6377c33-a923-4f14-8587-531c474c7b48" providerId="ADAL" clId="{6ECD27E6-B224-41CD-B4E0-E297462320DD}" dt="2023-11-24T08:38:05.839" v="32199"/>
          <ac:spMkLst>
            <pc:docMk/>
            <pc:sldMk cId="721183839" sldId="2147478576"/>
            <ac:spMk id="218" creationId="{C38979C9-22BD-F006-BA8D-1944518A47BF}"/>
          </ac:spMkLst>
        </pc:spChg>
        <pc:spChg chg="add del mod">
          <ac:chgData name="Steiner Andreas 6206 ED" userId="e6377c33-a923-4f14-8587-531c474c7b48" providerId="ADAL" clId="{6ECD27E6-B224-41CD-B4E0-E297462320DD}" dt="2023-11-24T08:38:09.016" v="32354"/>
          <ac:spMkLst>
            <pc:docMk/>
            <pc:sldMk cId="721183839" sldId="2147478576"/>
            <ac:spMk id="219" creationId="{26E88A1C-3993-2615-0BC6-50DBE39A1D4C}"/>
          </ac:spMkLst>
        </pc:spChg>
        <pc:spChg chg="add del mod">
          <ac:chgData name="Steiner Andreas 6206 ED" userId="e6377c33-a923-4f14-8587-531c474c7b48" providerId="ADAL" clId="{6ECD27E6-B224-41CD-B4E0-E297462320DD}" dt="2023-11-24T08:38:11.735" v="32509"/>
          <ac:spMkLst>
            <pc:docMk/>
            <pc:sldMk cId="721183839" sldId="2147478576"/>
            <ac:spMk id="220" creationId="{66D02D3A-78FC-CBA8-4417-B06AB512C8AC}"/>
          </ac:spMkLst>
        </pc:spChg>
        <pc:spChg chg="add del mod">
          <ac:chgData name="Steiner Andreas 6206 ED" userId="e6377c33-a923-4f14-8587-531c474c7b48" providerId="ADAL" clId="{6ECD27E6-B224-41CD-B4E0-E297462320DD}" dt="2023-11-24T08:38:14.384" v="32664"/>
          <ac:spMkLst>
            <pc:docMk/>
            <pc:sldMk cId="721183839" sldId="2147478576"/>
            <ac:spMk id="221" creationId="{228F3D9C-CD81-49CC-3427-AC4FD03BC4D5}"/>
          </ac:spMkLst>
        </pc:spChg>
        <pc:spChg chg="add del mod">
          <ac:chgData name="Steiner Andreas 6206 ED" userId="e6377c33-a923-4f14-8587-531c474c7b48" providerId="ADAL" clId="{6ECD27E6-B224-41CD-B4E0-E297462320DD}" dt="2023-11-24T08:38:17.068" v="32819"/>
          <ac:spMkLst>
            <pc:docMk/>
            <pc:sldMk cId="721183839" sldId="2147478576"/>
            <ac:spMk id="222" creationId="{CB82B8BB-F36D-FD68-FD05-D8ECA023E5CF}"/>
          </ac:spMkLst>
        </pc:spChg>
        <pc:spChg chg="add del mod">
          <ac:chgData name="Steiner Andreas 6206 ED" userId="e6377c33-a923-4f14-8587-531c474c7b48" providerId="ADAL" clId="{6ECD27E6-B224-41CD-B4E0-E297462320DD}" dt="2023-11-24T08:38:20.092" v="32974"/>
          <ac:spMkLst>
            <pc:docMk/>
            <pc:sldMk cId="721183839" sldId="2147478576"/>
            <ac:spMk id="223" creationId="{6A9A1BF5-5E86-B493-DD33-0DA4CC932EF9}"/>
          </ac:spMkLst>
        </pc:spChg>
        <pc:spChg chg="add del mod">
          <ac:chgData name="Steiner Andreas 6206 ED" userId="e6377c33-a923-4f14-8587-531c474c7b48" providerId="ADAL" clId="{6ECD27E6-B224-41CD-B4E0-E297462320DD}" dt="2023-11-24T08:38:22.941" v="33129"/>
          <ac:spMkLst>
            <pc:docMk/>
            <pc:sldMk cId="721183839" sldId="2147478576"/>
            <ac:spMk id="224" creationId="{74397938-6559-9430-0832-6402B18F743A}"/>
          </ac:spMkLst>
        </pc:spChg>
        <pc:spChg chg="add del mod">
          <ac:chgData name="Steiner Andreas 6206 ED" userId="e6377c33-a923-4f14-8587-531c474c7b48" providerId="ADAL" clId="{6ECD27E6-B224-41CD-B4E0-E297462320DD}" dt="2023-11-24T08:38:25.689" v="33284"/>
          <ac:spMkLst>
            <pc:docMk/>
            <pc:sldMk cId="721183839" sldId="2147478576"/>
            <ac:spMk id="225" creationId="{E8F07E25-49A7-B85F-DAE6-54798B2281A5}"/>
          </ac:spMkLst>
        </pc:spChg>
        <pc:spChg chg="add del mod">
          <ac:chgData name="Steiner Andreas 6206 ED" userId="e6377c33-a923-4f14-8587-531c474c7b48" providerId="ADAL" clId="{6ECD27E6-B224-41CD-B4E0-E297462320DD}" dt="2023-11-24T08:38:29.318" v="33439"/>
          <ac:spMkLst>
            <pc:docMk/>
            <pc:sldMk cId="721183839" sldId="2147478576"/>
            <ac:spMk id="226" creationId="{68082B5E-2091-AC5E-DE08-60E58AE96477}"/>
          </ac:spMkLst>
        </pc:spChg>
        <pc:spChg chg="add del mod">
          <ac:chgData name="Steiner Andreas 6206 ED" userId="e6377c33-a923-4f14-8587-531c474c7b48" providerId="ADAL" clId="{6ECD27E6-B224-41CD-B4E0-E297462320DD}" dt="2023-11-24T08:38:32.468" v="33594"/>
          <ac:spMkLst>
            <pc:docMk/>
            <pc:sldMk cId="721183839" sldId="2147478576"/>
            <ac:spMk id="227" creationId="{79BABBDF-73C4-7EA0-29EA-440C997CECFB}"/>
          </ac:spMkLst>
        </pc:spChg>
        <pc:spChg chg="add del mod">
          <ac:chgData name="Steiner Andreas 6206 ED" userId="e6377c33-a923-4f14-8587-531c474c7b48" providerId="ADAL" clId="{6ECD27E6-B224-41CD-B4E0-E297462320DD}" dt="2023-11-24T08:38:35.131" v="33749"/>
          <ac:spMkLst>
            <pc:docMk/>
            <pc:sldMk cId="721183839" sldId="2147478576"/>
            <ac:spMk id="228" creationId="{2F2BAAFA-856A-0D90-6DCC-D8FDDC8DABD7}"/>
          </ac:spMkLst>
        </pc:spChg>
        <pc:spChg chg="add del mod">
          <ac:chgData name="Steiner Andreas 6206 ED" userId="e6377c33-a923-4f14-8587-531c474c7b48" providerId="ADAL" clId="{6ECD27E6-B224-41CD-B4E0-E297462320DD}" dt="2023-11-24T08:38:37.793" v="33904"/>
          <ac:spMkLst>
            <pc:docMk/>
            <pc:sldMk cId="721183839" sldId="2147478576"/>
            <ac:spMk id="229" creationId="{91DC9DAB-9B5D-FDED-BB5A-3E4986CAF3CC}"/>
          </ac:spMkLst>
        </pc:spChg>
        <pc:spChg chg="add del mod">
          <ac:chgData name="Steiner Andreas 6206 ED" userId="e6377c33-a923-4f14-8587-531c474c7b48" providerId="ADAL" clId="{6ECD27E6-B224-41CD-B4E0-E297462320DD}" dt="2023-11-24T08:38:40.335" v="34059"/>
          <ac:spMkLst>
            <pc:docMk/>
            <pc:sldMk cId="721183839" sldId="2147478576"/>
            <ac:spMk id="230" creationId="{3041BAA1-AAEE-D30D-71FD-BD4FB3D6F1CE}"/>
          </ac:spMkLst>
        </pc:spChg>
        <pc:spChg chg="add del mod">
          <ac:chgData name="Steiner Andreas 6206 ED" userId="e6377c33-a923-4f14-8587-531c474c7b48" providerId="ADAL" clId="{6ECD27E6-B224-41CD-B4E0-E297462320DD}" dt="2023-11-24T08:38:42.805" v="34214"/>
          <ac:spMkLst>
            <pc:docMk/>
            <pc:sldMk cId="721183839" sldId="2147478576"/>
            <ac:spMk id="231" creationId="{A2CBB6BB-74DD-E201-F75A-FD3B5530C898}"/>
          </ac:spMkLst>
        </pc:spChg>
        <pc:spChg chg="add del mod">
          <ac:chgData name="Steiner Andreas 6206 ED" userId="e6377c33-a923-4f14-8587-531c474c7b48" providerId="ADAL" clId="{6ECD27E6-B224-41CD-B4E0-E297462320DD}" dt="2023-11-24T08:38:46.873" v="34369"/>
          <ac:spMkLst>
            <pc:docMk/>
            <pc:sldMk cId="721183839" sldId="2147478576"/>
            <ac:spMk id="232" creationId="{1C6C66D6-D8AF-E307-5597-A83FD0030207}"/>
          </ac:spMkLst>
        </pc:spChg>
        <pc:spChg chg="add del mod">
          <ac:chgData name="Steiner Andreas 6206 ED" userId="e6377c33-a923-4f14-8587-531c474c7b48" providerId="ADAL" clId="{6ECD27E6-B224-41CD-B4E0-E297462320DD}" dt="2023-11-24T08:38:49.575" v="34524"/>
          <ac:spMkLst>
            <pc:docMk/>
            <pc:sldMk cId="721183839" sldId="2147478576"/>
            <ac:spMk id="233" creationId="{17BE7FC0-13EC-09C2-0151-224E2479B018}"/>
          </ac:spMkLst>
        </pc:spChg>
        <pc:spChg chg="add del mod">
          <ac:chgData name="Steiner Andreas 6206 ED" userId="e6377c33-a923-4f14-8587-531c474c7b48" providerId="ADAL" clId="{6ECD27E6-B224-41CD-B4E0-E297462320DD}" dt="2023-11-24T08:38:52.368" v="34679"/>
          <ac:spMkLst>
            <pc:docMk/>
            <pc:sldMk cId="721183839" sldId="2147478576"/>
            <ac:spMk id="234" creationId="{1E9ACA9F-0F4D-3A5E-E88A-2F5D428E802C}"/>
          </ac:spMkLst>
        </pc:spChg>
        <pc:spChg chg="add del mod">
          <ac:chgData name="Steiner Andreas 6206 ED" userId="e6377c33-a923-4f14-8587-531c474c7b48" providerId="ADAL" clId="{6ECD27E6-B224-41CD-B4E0-E297462320DD}" dt="2023-11-24T08:38:55.394" v="34834"/>
          <ac:spMkLst>
            <pc:docMk/>
            <pc:sldMk cId="721183839" sldId="2147478576"/>
            <ac:spMk id="235" creationId="{1E7C508A-FD3B-09AB-0E57-BCCEA50DCCDF}"/>
          </ac:spMkLst>
        </pc:spChg>
        <pc:spChg chg="add del mod">
          <ac:chgData name="Steiner Andreas 6206 ED" userId="e6377c33-a923-4f14-8587-531c474c7b48" providerId="ADAL" clId="{6ECD27E6-B224-41CD-B4E0-E297462320DD}" dt="2023-11-24T08:38:58.565" v="34989"/>
          <ac:spMkLst>
            <pc:docMk/>
            <pc:sldMk cId="721183839" sldId="2147478576"/>
            <ac:spMk id="236" creationId="{B8E8B676-2A40-7AAD-92EF-F5960FE7EAD8}"/>
          </ac:spMkLst>
        </pc:spChg>
        <pc:spChg chg="add del mod">
          <ac:chgData name="Steiner Andreas 6206 ED" userId="e6377c33-a923-4f14-8587-531c474c7b48" providerId="ADAL" clId="{6ECD27E6-B224-41CD-B4E0-E297462320DD}" dt="2023-11-24T08:39:02.016" v="35144"/>
          <ac:spMkLst>
            <pc:docMk/>
            <pc:sldMk cId="721183839" sldId="2147478576"/>
            <ac:spMk id="237" creationId="{C703CC7B-D1B6-5650-798E-D5421CC88DCB}"/>
          </ac:spMkLst>
        </pc:spChg>
        <pc:spChg chg="add del mod">
          <ac:chgData name="Steiner Andreas 6206 ED" userId="e6377c33-a923-4f14-8587-531c474c7b48" providerId="ADAL" clId="{6ECD27E6-B224-41CD-B4E0-E297462320DD}" dt="2023-11-24T08:39:05.190" v="35299"/>
          <ac:spMkLst>
            <pc:docMk/>
            <pc:sldMk cId="721183839" sldId="2147478576"/>
            <ac:spMk id="238" creationId="{623C989B-6CA7-919B-7615-4BE8025E1AA1}"/>
          </ac:spMkLst>
        </pc:spChg>
        <pc:spChg chg="add del mod">
          <ac:chgData name="Steiner Andreas 6206 ED" userId="e6377c33-a923-4f14-8587-531c474c7b48" providerId="ADAL" clId="{6ECD27E6-B224-41CD-B4E0-E297462320DD}" dt="2023-11-24T08:39:08.036" v="35454"/>
          <ac:spMkLst>
            <pc:docMk/>
            <pc:sldMk cId="721183839" sldId="2147478576"/>
            <ac:spMk id="239" creationId="{E6B1AA4D-C727-255C-E7CE-19F7BC67DB94}"/>
          </ac:spMkLst>
        </pc:spChg>
        <pc:spChg chg="add del mod">
          <ac:chgData name="Steiner Andreas 6206 ED" userId="e6377c33-a923-4f14-8587-531c474c7b48" providerId="ADAL" clId="{6ECD27E6-B224-41CD-B4E0-E297462320DD}" dt="2023-11-24T08:39:12.731" v="35609"/>
          <ac:spMkLst>
            <pc:docMk/>
            <pc:sldMk cId="721183839" sldId="2147478576"/>
            <ac:spMk id="240" creationId="{EA69DC1C-F654-A5FF-10D9-75B6DA73C3EB}"/>
          </ac:spMkLst>
        </pc:spChg>
        <pc:spChg chg="add del mod">
          <ac:chgData name="Steiner Andreas 6206 ED" userId="e6377c33-a923-4f14-8587-531c474c7b48" providerId="ADAL" clId="{6ECD27E6-B224-41CD-B4E0-E297462320DD}" dt="2023-11-24T08:39:15.390" v="35764"/>
          <ac:spMkLst>
            <pc:docMk/>
            <pc:sldMk cId="721183839" sldId="2147478576"/>
            <ac:spMk id="241" creationId="{DA215FF7-6B3D-FE57-3326-A49EF1ADE03D}"/>
          </ac:spMkLst>
        </pc:spChg>
        <pc:spChg chg="add del mod">
          <ac:chgData name="Steiner Andreas 6206 ED" userId="e6377c33-a923-4f14-8587-531c474c7b48" providerId="ADAL" clId="{6ECD27E6-B224-41CD-B4E0-E297462320DD}" dt="2023-11-24T08:39:18.032" v="35919"/>
          <ac:spMkLst>
            <pc:docMk/>
            <pc:sldMk cId="721183839" sldId="2147478576"/>
            <ac:spMk id="242" creationId="{F54ACC04-7397-D0A9-302F-CEF9E1DF8B68}"/>
          </ac:spMkLst>
        </pc:spChg>
        <pc:spChg chg="add del mod">
          <ac:chgData name="Steiner Andreas 6206 ED" userId="e6377c33-a923-4f14-8587-531c474c7b48" providerId="ADAL" clId="{6ECD27E6-B224-41CD-B4E0-E297462320DD}" dt="2023-11-24T08:39:20.660" v="36074"/>
          <ac:spMkLst>
            <pc:docMk/>
            <pc:sldMk cId="721183839" sldId="2147478576"/>
            <ac:spMk id="243" creationId="{3CCE6903-C67B-3161-E040-FA96A0250B38}"/>
          </ac:spMkLst>
        </pc:spChg>
        <pc:spChg chg="add del mod">
          <ac:chgData name="Steiner Andreas 6206 ED" userId="e6377c33-a923-4f14-8587-531c474c7b48" providerId="ADAL" clId="{6ECD27E6-B224-41CD-B4E0-E297462320DD}" dt="2023-11-24T08:39:23.852" v="36229"/>
          <ac:spMkLst>
            <pc:docMk/>
            <pc:sldMk cId="721183839" sldId="2147478576"/>
            <ac:spMk id="244" creationId="{8BBDF601-7077-C012-C654-D6D48050E72B}"/>
          </ac:spMkLst>
        </pc:spChg>
        <pc:spChg chg="add del mod">
          <ac:chgData name="Steiner Andreas 6206 ED" userId="e6377c33-a923-4f14-8587-531c474c7b48" providerId="ADAL" clId="{6ECD27E6-B224-41CD-B4E0-E297462320DD}" dt="2023-11-24T08:39:26.563" v="36384"/>
          <ac:spMkLst>
            <pc:docMk/>
            <pc:sldMk cId="721183839" sldId="2147478576"/>
            <ac:spMk id="245" creationId="{901189DD-C5CD-ED8C-E0BF-6E99AA3D3CAC}"/>
          </ac:spMkLst>
        </pc:spChg>
        <pc:spChg chg="add del mod">
          <ac:chgData name="Steiner Andreas 6206 ED" userId="e6377c33-a923-4f14-8587-531c474c7b48" providerId="ADAL" clId="{6ECD27E6-B224-41CD-B4E0-E297462320DD}" dt="2023-11-24T08:39:29.326" v="36539"/>
          <ac:spMkLst>
            <pc:docMk/>
            <pc:sldMk cId="721183839" sldId="2147478576"/>
            <ac:spMk id="246" creationId="{6FCA02EE-870B-1585-CA28-560909CA1C42}"/>
          </ac:spMkLst>
        </pc:spChg>
        <pc:spChg chg="add del mod">
          <ac:chgData name="Steiner Andreas 6206 ED" userId="e6377c33-a923-4f14-8587-531c474c7b48" providerId="ADAL" clId="{6ECD27E6-B224-41CD-B4E0-E297462320DD}" dt="2023-11-24T08:39:31.906" v="36694"/>
          <ac:spMkLst>
            <pc:docMk/>
            <pc:sldMk cId="721183839" sldId="2147478576"/>
            <ac:spMk id="247" creationId="{9920FF0E-B5E8-A354-FB02-DB90116C254B}"/>
          </ac:spMkLst>
        </pc:spChg>
        <pc:spChg chg="add del mod">
          <ac:chgData name="Steiner Andreas 6206 ED" userId="e6377c33-a923-4f14-8587-531c474c7b48" providerId="ADAL" clId="{6ECD27E6-B224-41CD-B4E0-E297462320DD}" dt="2023-11-24T08:39:34.397" v="36849"/>
          <ac:spMkLst>
            <pc:docMk/>
            <pc:sldMk cId="721183839" sldId="2147478576"/>
            <ac:spMk id="248" creationId="{4BEF8E16-7EA0-7DD0-C372-0051374D1EFA}"/>
          </ac:spMkLst>
        </pc:spChg>
        <pc:spChg chg="add del mod">
          <ac:chgData name="Steiner Andreas 6206 ED" userId="e6377c33-a923-4f14-8587-531c474c7b48" providerId="ADAL" clId="{6ECD27E6-B224-41CD-B4E0-E297462320DD}" dt="2023-11-24T08:39:37.325" v="37004"/>
          <ac:spMkLst>
            <pc:docMk/>
            <pc:sldMk cId="721183839" sldId="2147478576"/>
            <ac:spMk id="249" creationId="{33C9203F-73A6-6F6B-7B7E-775BFCC9A4C8}"/>
          </ac:spMkLst>
        </pc:spChg>
        <pc:spChg chg="add del mod">
          <ac:chgData name="Steiner Andreas 6206 ED" userId="e6377c33-a923-4f14-8587-531c474c7b48" providerId="ADAL" clId="{6ECD27E6-B224-41CD-B4E0-E297462320DD}" dt="2023-11-24T08:39:39.917" v="37159"/>
          <ac:spMkLst>
            <pc:docMk/>
            <pc:sldMk cId="721183839" sldId="2147478576"/>
            <ac:spMk id="250" creationId="{038382DC-C960-6D76-0E64-AD63D98210B0}"/>
          </ac:spMkLst>
        </pc:spChg>
        <pc:spChg chg="add del mod">
          <ac:chgData name="Steiner Andreas 6206 ED" userId="e6377c33-a923-4f14-8587-531c474c7b48" providerId="ADAL" clId="{6ECD27E6-B224-41CD-B4E0-E297462320DD}" dt="2023-11-24T08:39:42.417" v="37314"/>
          <ac:spMkLst>
            <pc:docMk/>
            <pc:sldMk cId="721183839" sldId="2147478576"/>
            <ac:spMk id="251" creationId="{D767596F-AE96-586E-2E9D-CE4FFE8F6791}"/>
          </ac:spMkLst>
        </pc:spChg>
        <pc:spChg chg="add del mod">
          <ac:chgData name="Steiner Andreas 6206 ED" userId="e6377c33-a923-4f14-8587-531c474c7b48" providerId="ADAL" clId="{6ECD27E6-B224-41CD-B4E0-E297462320DD}" dt="2023-11-24T08:39:44.955" v="37469"/>
          <ac:spMkLst>
            <pc:docMk/>
            <pc:sldMk cId="721183839" sldId="2147478576"/>
            <ac:spMk id="252" creationId="{52D02BC3-45AF-AB77-367F-4AAB321C9914}"/>
          </ac:spMkLst>
        </pc:spChg>
        <pc:spChg chg="add del mod">
          <ac:chgData name="Steiner Andreas 6206 ED" userId="e6377c33-a923-4f14-8587-531c474c7b48" providerId="ADAL" clId="{6ECD27E6-B224-41CD-B4E0-E297462320DD}" dt="2023-11-24T08:39:47.924" v="37624"/>
          <ac:spMkLst>
            <pc:docMk/>
            <pc:sldMk cId="721183839" sldId="2147478576"/>
            <ac:spMk id="253" creationId="{3C4ADC8F-2827-8E38-0756-2CB73EDE0771}"/>
          </ac:spMkLst>
        </pc:spChg>
        <pc:spChg chg="add del mod">
          <ac:chgData name="Steiner Andreas 6206 ED" userId="e6377c33-a923-4f14-8587-531c474c7b48" providerId="ADAL" clId="{6ECD27E6-B224-41CD-B4E0-E297462320DD}" dt="2023-11-24T08:39:50.687" v="37779"/>
          <ac:spMkLst>
            <pc:docMk/>
            <pc:sldMk cId="721183839" sldId="2147478576"/>
            <ac:spMk id="254" creationId="{23C751CA-7233-6FED-0B9C-69EF8B8AE241}"/>
          </ac:spMkLst>
        </pc:spChg>
        <pc:spChg chg="add del mod">
          <ac:chgData name="Steiner Andreas 6206 ED" userId="e6377c33-a923-4f14-8587-531c474c7b48" providerId="ADAL" clId="{6ECD27E6-B224-41CD-B4E0-E297462320DD}" dt="2023-11-24T08:39:53.317" v="37934"/>
          <ac:spMkLst>
            <pc:docMk/>
            <pc:sldMk cId="721183839" sldId="2147478576"/>
            <ac:spMk id="255" creationId="{FE24B0A3-51E9-8BAC-D240-5E015BBC23ED}"/>
          </ac:spMkLst>
        </pc:spChg>
        <pc:spChg chg="add del mod">
          <ac:chgData name="Steiner Andreas 6206 ED" userId="e6377c33-a923-4f14-8587-531c474c7b48" providerId="ADAL" clId="{6ECD27E6-B224-41CD-B4E0-E297462320DD}" dt="2023-11-24T08:39:56.264" v="38089"/>
          <ac:spMkLst>
            <pc:docMk/>
            <pc:sldMk cId="721183839" sldId="2147478576"/>
            <ac:spMk id="256" creationId="{871F5CE5-F93E-4186-9F03-FDABFD029636}"/>
          </ac:spMkLst>
        </pc:spChg>
        <pc:spChg chg="add del mod">
          <ac:chgData name="Steiner Andreas 6206 ED" userId="e6377c33-a923-4f14-8587-531c474c7b48" providerId="ADAL" clId="{6ECD27E6-B224-41CD-B4E0-E297462320DD}" dt="2023-11-24T08:39:59.405" v="38244"/>
          <ac:spMkLst>
            <pc:docMk/>
            <pc:sldMk cId="721183839" sldId="2147478576"/>
            <ac:spMk id="257" creationId="{C65B40E0-B106-CDF8-479F-068B806F458F}"/>
          </ac:spMkLst>
        </pc:spChg>
        <pc:spChg chg="add del mod">
          <ac:chgData name="Steiner Andreas 6206 ED" userId="e6377c33-a923-4f14-8587-531c474c7b48" providerId="ADAL" clId="{6ECD27E6-B224-41CD-B4E0-E297462320DD}" dt="2023-11-24T08:40:02.741" v="38399"/>
          <ac:spMkLst>
            <pc:docMk/>
            <pc:sldMk cId="721183839" sldId="2147478576"/>
            <ac:spMk id="258" creationId="{CCF8C6EF-C149-373B-9421-14D0BE99433F}"/>
          </ac:spMkLst>
        </pc:spChg>
        <pc:spChg chg="add del mod">
          <ac:chgData name="Steiner Andreas 6206 ED" userId="e6377c33-a923-4f14-8587-531c474c7b48" providerId="ADAL" clId="{6ECD27E6-B224-41CD-B4E0-E297462320DD}" dt="2023-11-24T08:40:05.500" v="38554"/>
          <ac:spMkLst>
            <pc:docMk/>
            <pc:sldMk cId="721183839" sldId="2147478576"/>
            <ac:spMk id="259" creationId="{7CCDE11E-4F9D-A075-B464-683856DDCD47}"/>
          </ac:spMkLst>
        </pc:spChg>
        <pc:spChg chg="add del mod">
          <ac:chgData name="Steiner Andreas 6206 ED" userId="e6377c33-a923-4f14-8587-531c474c7b48" providerId="ADAL" clId="{6ECD27E6-B224-41CD-B4E0-E297462320DD}" dt="2023-11-24T08:40:08.048" v="38709"/>
          <ac:spMkLst>
            <pc:docMk/>
            <pc:sldMk cId="721183839" sldId="2147478576"/>
            <ac:spMk id="260" creationId="{3806ADBD-8D33-44CB-A250-19BBF5B9623B}"/>
          </ac:spMkLst>
        </pc:spChg>
        <pc:spChg chg="add del mod">
          <ac:chgData name="Steiner Andreas 6206 ED" userId="e6377c33-a923-4f14-8587-531c474c7b48" providerId="ADAL" clId="{6ECD27E6-B224-41CD-B4E0-E297462320DD}" dt="2023-11-24T08:40:10.743" v="38864"/>
          <ac:spMkLst>
            <pc:docMk/>
            <pc:sldMk cId="721183839" sldId="2147478576"/>
            <ac:spMk id="261" creationId="{BB386197-CDDB-0290-7F62-770860812716}"/>
          </ac:spMkLst>
        </pc:spChg>
        <pc:spChg chg="add del mod">
          <ac:chgData name="Steiner Andreas 6206 ED" userId="e6377c33-a923-4f14-8587-531c474c7b48" providerId="ADAL" clId="{6ECD27E6-B224-41CD-B4E0-E297462320DD}" dt="2023-11-24T08:40:13.918" v="39019"/>
          <ac:spMkLst>
            <pc:docMk/>
            <pc:sldMk cId="721183839" sldId="2147478576"/>
            <ac:spMk id="262" creationId="{F25033C0-DEA0-83C3-F29A-5108F80EB45F}"/>
          </ac:spMkLst>
        </pc:spChg>
        <pc:spChg chg="add del mod">
          <ac:chgData name="Steiner Andreas 6206 ED" userId="e6377c33-a923-4f14-8587-531c474c7b48" providerId="ADAL" clId="{6ECD27E6-B224-41CD-B4E0-E297462320DD}" dt="2023-11-24T08:40:16.616" v="39174"/>
          <ac:spMkLst>
            <pc:docMk/>
            <pc:sldMk cId="721183839" sldId="2147478576"/>
            <ac:spMk id="263" creationId="{0DC61FD0-1CFB-06C3-4DE8-A35F5A26ED7B}"/>
          </ac:spMkLst>
        </pc:spChg>
        <pc:spChg chg="add del mod">
          <ac:chgData name="Steiner Andreas 6206 ED" userId="e6377c33-a923-4f14-8587-531c474c7b48" providerId="ADAL" clId="{6ECD27E6-B224-41CD-B4E0-E297462320DD}" dt="2023-11-24T08:40:19.126" v="39329"/>
          <ac:spMkLst>
            <pc:docMk/>
            <pc:sldMk cId="721183839" sldId="2147478576"/>
            <ac:spMk id="264" creationId="{25C9E890-22ED-F49A-4093-1EEE172E580F}"/>
          </ac:spMkLst>
        </pc:spChg>
        <pc:spChg chg="add del mod">
          <ac:chgData name="Steiner Andreas 6206 ED" userId="e6377c33-a923-4f14-8587-531c474c7b48" providerId="ADAL" clId="{6ECD27E6-B224-41CD-B4E0-E297462320DD}" dt="2023-11-24T08:40:21.541" v="39484"/>
          <ac:spMkLst>
            <pc:docMk/>
            <pc:sldMk cId="721183839" sldId="2147478576"/>
            <ac:spMk id="265" creationId="{E17D8EC7-02FD-CE5E-CD5C-3BF88C9C3FAE}"/>
          </ac:spMkLst>
        </pc:spChg>
        <pc:spChg chg="add del mod">
          <ac:chgData name="Steiner Andreas 6206 ED" userId="e6377c33-a923-4f14-8587-531c474c7b48" providerId="ADAL" clId="{6ECD27E6-B224-41CD-B4E0-E297462320DD}" dt="2023-11-24T08:40:24.260" v="39639"/>
          <ac:spMkLst>
            <pc:docMk/>
            <pc:sldMk cId="721183839" sldId="2147478576"/>
            <ac:spMk id="266" creationId="{21117388-E4EB-4F7B-86A3-27C768F1046D}"/>
          </ac:spMkLst>
        </pc:spChg>
        <pc:spChg chg="add del mod">
          <ac:chgData name="Steiner Andreas 6206 ED" userId="e6377c33-a923-4f14-8587-531c474c7b48" providerId="ADAL" clId="{6ECD27E6-B224-41CD-B4E0-E297462320DD}" dt="2023-11-24T08:40:27.160" v="39794"/>
          <ac:spMkLst>
            <pc:docMk/>
            <pc:sldMk cId="721183839" sldId="2147478576"/>
            <ac:spMk id="267" creationId="{CA155D77-3BD3-9213-7FE8-0E2ED34E6908}"/>
          </ac:spMkLst>
        </pc:spChg>
        <pc:spChg chg="add del mod">
          <ac:chgData name="Steiner Andreas 6206 ED" userId="e6377c33-a923-4f14-8587-531c474c7b48" providerId="ADAL" clId="{6ECD27E6-B224-41CD-B4E0-E297462320DD}" dt="2023-11-24T08:40:29.783" v="39949"/>
          <ac:spMkLst>
            <pc:docMk/>
            <pc:sldMk cId="721183839" sldId="2147478576"/>
            <ac:spMk id="268" creationId="{BF2C2E0B-3E0F-2041-CDB7-408304524DB8}"/>
          </ac:spMkLst>
        </pc:spChg>
        <pc:spChg chg="add del mod">
          <ac:chgData name="Steiner Andreas 6206 ED" userId="e6377c33-a923-4f14-8587-531c474c7b48" providerId="ADAL" clId="{6ECD27E6-B224-41CD-B4E0-E297462320DD}" dt="2023-11-24T08:40:32.370" v="40104"/>
          <ac:spMkLst>
            <pc:docMk/>
            <pc:sldMk cId="721183839" sldId="2147478576"/>
            <ac:spMk id="269" creationId="{94E4BCA6-34EF-A90D-32D3-B4FD0A29F448}"/>
          </ac:spMkLst>
        </pc:spChg>
        <pc:spChg chg="add del mod">
          <ac:chgData name="Steiner Andreas 6206 ED" userId="e6377c33-a923-4f14-8587-531c474c7b48" providerId="ADAL" clId="{6ECD27E6-B224-41CD-B4E0-E297462320DD}" dt="2023-11-24T08:40:34.937" v="40259"/>
          <ac:spMkLst>
            <pc:docMk/>
            <pc:sldMk cId="721183839" sldId="2147478576"/>
            <ac:spMk id="270" creationId="{DFE3F703-8157-8FB0-B4AB-CF1EEBA8BC33}"/>
          </ac:spMkLst>
        </pc:spChg>
        <pc:spChg chg="add del mod">
          <ac:chgData name="Steiner Andreas 6206 ED" userId="e6377c33-a923-4f14-8587-531c474c7b48" providerId="ADAL" clId="{6ECD27E6-B224-41CD-B4E0-E297462320DD}" dt="2023-11-24T08:40:38.357" v="40414"/>
          <ac:spMkLst>
            <pc:docMk/>
            <pc:sldMk cId="721183839" sldId="2147478576"/>
            <ac:spMk id="271" creationId="{BC10AF61-7B6D-8646-9247-7C31A1F08086}"/>
          </ac:spMkLst>
        </pc:spChg>
        <pc:spChg chg="add del mod">
          <ac:chgData name="Steiner Andreas 6206 ED" userId="e6377c33-a923-4f14-8587-531c474c7b48" providerId="ADAL" clId="{6ECD27E6-B224-41CD-B4E0-E297462320DD}" dt="2023-11-24T08:40:41.081" v="40569"/>
          <ac:spMkLst>
            <pc:docMk/>
            <pc:sldMk cId="721183839" sldId="2147478576"/>
            <ac:spMk id="272" creationId="{602A9891-7D29-EEE3-33FC-A5713B3980FB}"/>
          </ac:spMkLst>
        </pc:spChg>
        <pc:spChg chg="add del mod">
          <ac:chgData name="Steiner Andreas 6206 ED" userId="e6377c33-a923-4f14-8587-531c474c7b48" providerId="ADAL" clId="{6ECD27E6-B224-41CD-B4E0-E297462320DD}" dt="2023-11-24T08:40:43.841" v="40724"/>
          <ac:spMkLst>
            <pc:docMk/>
            <pc:sldMk cId="721183839" sldId="2147478576"/>
            <ac:spMk id="273" creationId="{4DAB89DA-DD7E-BAF8-369D-40DB832CB1EA}"/>
          </ac:spMkLst>
        </pc:spChg>
        <pc:spChg chg="add del mod">
          <ac:chgData name="Steiner Andreas 6206 ED" userId="e6377c33-a923-4f14-8587-531c474c7b48" providerId="ADAL" clId="{6ECD27E6-B224-41CD-B4E0-E297462320DD}" dt="2023-11-24T08:40:46.277" v="40879"/>
          <ac:spMkLst>
            <pc:docMk/>
            <pc:sldMk cId="721183839" sldId="2147478576"/>
            <ac:spMk id="274" creationId="{41ED0984-AE58-A246-8CC3-FCBEC10862C5}"/>
          </ac:spMkLst>
        </pc:spChg>
        <pc:spChg chg="add del mod">
          <ac:chgData name="Steiner Andreas 6206 ED" userId="e6377c33-a923-4f14-8587-531c474c7b48" providerId="ADAL" clId="{6ECD27E6-B224-41CD-B4E0-E297462320DD}" dt="2023-11-24T08:40:49.117" v="41034"/>
          <ac:spMkLst>
            <pc:docMk/>
            <pc:sldMk cId="721183839" sldId="2147478576"/>
            <ac:spMk id="275" creationId="{79FEF76E-A166-6CF2-24BE-567394287ABB}"/>
          </ac:spMkLst>
        </pc:spChg>
        <pc:spChg chg="add del mod">
          <ac:chgData name="Steiner Andreas 6206 ED" userId="e6377c33-a923-4f14-8587-531c474c7b48" providerId="ADAL" clId="{6ECD27E6-B224-41CD-B4E0-E297462320DD}" dt="2023-11-24T08:40:51.942" v="41189"/>
          <ac:spMkLst>
            <pc:docMk/>
            <pc:sldMk cId="721183839" sldId="2147478576"/>
            <ac:spMk id="276" creationId="{9529653F-6FF6-49B3-E5C1-AA4E23C8E748}"/>
          </ac:spMkLst>
        </pc:spChg>
        <pc:spChg chg="add del mod">
          <ac:chgData name="Steiner Andreas 6206 ED" userId="e6377c33-a923-4f14-8587-531c474c7b48" providerId="ADAL" clId="{6ECD27E6-B224-41CD-B4E0-E297462320DD}" dt="2023-11-24T08:40:54.474" v="41344"/>
          <ac:spMkLst>
            <pc:docMk/>
            <pc:sldMk cId="721183839" sldId="2147478576"/>
            <ac:spMk id="277" creationId="{664DE6D3-3378-08B0-17B0-22E818CE9D2B}"/>
          </ac:spMkLst>
        </pc:spChg>
        <pc:spChg chg="add del mod">
          <ac:chgData name="Steiner Andreas 6206 ED" userId="e6377c33-a923-4f14-8587-531c474c7b48" providerId="ADAL" clId="{6ECD27E6-B224-41CD-B4E0-E297462320DD}" dt="2023-11-24T08:40:56.921" v="41499"/>
          <ac:spMkLst>
            <pc:docMk/>
            <pc:sldMk cId="721183839" sldId="2147478576"/>
            <ac:spMk id="278" creationId="{6BCAE0FB-17C3-E1CC-079C-22AEE157E066}"/>
          </ac:spMkLst>
        </pc:spChg>
        <pc:spChg chg="add del mod">
          <ac:chgData name="Steiner Andreas 6206 ED" userId="e6377c33-a923-4f14-8587-531c474c7b48" providerId="ADAL" clId="{6ECD27E6-B224-41CD-B4E0-E297462320DD}" dt="2023-11-24T08:40:59.629" v="41654"/>
          <ac:spMkLst>
            <pc:docMk/>
            <pc:sldMk cId="721183839" sldId="2147478576"/>
            <ac:spMk id="279" creationId="{D90B6F5E-8908-B0FA-7501-EEFF747C77E8}"/>
          </ac:spMkLst>
        </pc:spChg>
        <pc:spChg chg="add del mod">
          <ac:chgData name="Steiner Andreas 6206 ED" userId="e6377c33-a923-4f14-8587-531c474c7b48" providerId="ADAL" clId="{6ECD27E6-B224-41CD-B4E0-E297462320DD}" dt="2023-11-24T08:41:02.631" v="41809"/>
          <ac:spMkLst>
            <pc:docMk/>
            <pc:sldMk cId="721183839" sldId="2147478576"/>
            <ac:spMk id="280" creationId="{1A7823CC-5872-E688-DC0E-C52CBAE4275F}"/>
          </ac:spMkLst>
        </pc:spChg>
        <pc:spChg chg="add del mod">
          <ac:chgData name="Steiner Andreas 6206 ED" userId="e6377c33-a923-4f14-8587-531c474c7b48" providerId="ADAL" clId="{6ECD27E6-B224-41CD-B4E0-E297462320DD}" dt="2023-11-24T08:41:05.339" v="41964"/>
          <ac:spMkLst>
            <pc:docMk/>
            <pc:sldMk cId="721183839" sldId="2147478576"/>
            <ac:spMk id="281" creationId="{E0919548-F4B0-DA0C-9A93-E1C49E09C204}"/>
          </ac:spMkLst>
        </pc:spChg>
        <pc:spChg chg="add del mod">
          <ac:chgData name="Steiner Andreas 6206 ED" userId="e6377c33-a923-4f14-8587-531c474c7b48" providerId="ADAL" clId="{6ECD27E6-B224-41CD-B4E0-E297462320DD}" dt="2023-11-24T08:41:08.779" v="42119"/>
          <ac:spMkLst>
            <pc:docMk/>
            <pc:sldMk cId="721183839" sldId="2147478576"/>
            <ac:spMk id="282" creationId="{AC80E912-39ED-93DB-4859-BD3E8042C3D7}"/>
          </ac:spMkLst>
        </pc:spChg>
        <pc:spChg chg="add del mod">
          <ac:chgData name="Steiner Andreas 6206 ED" userId="e6377c33-a923-4f14-8587-531c474c7b48" providerId="ADAL" clId="{6ECD27E6-B224-41CD-B4E0-E297462320DD}" dt="2023-11-24T08:41:12.564" v="42274"/>
          <ac:spMkLst>
            <pc:docMk/>
            <pc:sldMk cId="721183839" sldId="2147478576"/>
            <ac:spMk id="283" creationId="{F490EA74-BD5A-607E-2183-C6F2A0DD947F}"/>
          </ac:spMkLst>
        </pc:spChg>
        <pc:spChg chg="add del mod">
          <ac:chgData name="Steiner Andreas 6206 ED" userId="e6377c33-a923-4f14-8587-531c474c7b48" providerId="ADAL" clId="{6ECD27E6-B224-41CD-B4E0-E297462320DD}" dt="2023-11-24T08:41:15.317" v="42429"/>
          <ac:spMkLst>
            <pc:docMk/>
            <pc:sldMk cId="721183839" sldId="2147478576"/>
            <ac:spMk id="284" creationId="{442D9E02-15D4-7E08-1098-B8FA482097AC}"/>
          </ac:spMkLst>
        </pc:spChg>
        <pc:spChg chg="add del mod">
          <ac:chgData name="Steiner Andreas 6206 ED" userId="e6377c33-a923-4f14-8587-531c474c7b48" providerId="ADAL" clId="{6ECD27E6-B224-41CD-B4E0-E297462320DD}" dt="2023-11-24T08:41:17.470" v="42584"/>
          <ac:spMkLst>
            <pc:docMk/>
            <pc:sldMk cId="721183839" sldId="2147478576"/>
            <ac:spMk id="285" creationId="{D5DF661F-8D95-6D88-A128-885A40848166}"/>
          </ac:spMkLst>
        </pc:spChg>
        <pc:spChg chg="add del mod">
          <ac:chgData name="Steiner Andreas 6206 ED" userId="e6377c33-a923-4f14-8587-531c474c7b48" providerId="ADAL" clId="{6ECD27E6-B224-41CD-B4E0-E297462320DD}" dt="2023-11-24T08:41:19.875" v="42739"/>
          <ac:spMkLst>
            <pc:docMk/>
            <pc:sldMk cId="721183839" sldId="2147478576"/>
            <ac:spMk id="286" creationId="{16CA8560-F2C3-28DD-5BDB-5E4A99019C70}"/>
          </ac:spMkLst>
        </pc:spChg>
        <pc:spChg chg="add del mod">
          <ac:chgData name="Steiner Andreas 6206 ED" userId="e6377c33-a923-4f14-8587-531c474c7b48" providerId="ADAL" clId="{6ECD27E6-B224-41CD-B4E0-E297462320DD}" dt="2023-11-24T08:41:22.201" v="42894"/>
          <ac:spMkLst>
            <pc:docMk/>
            <pc:sldMk cId="721183839" sldId="2147478576"/>
            <ac:spMk id="287" creationId="{3F7480B0-A602-AEBB-BB8A-8650125E5291}"/>
          </ac:spMkLst>
        </pc:spChg>
        <pc:spChg chg="add del mod">
          <ac:chgData name="Steiner Andreas 6206 ED" userId="e6377c33-a923-4f14-8587-531c474c7b48" providerId="ADAL" clId="{6ECD27E6-B224-41CD-B4E0-E297462320DD}" dt="2023-11-24T08:41:24.344" v="43049"/>
          <ac:spMkLst>
            <pc:docMk/>
            <pc:sldMk cId="721183839" sldId="2147478576"/>
            <ac:spMk id="288" creationId="{27D68C31-4A7C-616A-DBCB-914C2E090897}"/>
          </ac:spMkLst>
        </pc:spChg>
        <pc:spChg chg="add del mod">
          <ac:chgData name="Steiner Andreas 6206 ED" userId="e6377c33-a923-4f14-8587-531c474c7b48" providerId="ADAL" clId="{6ECD27E6-B224-41CD-B4E0-E297462320DD}" dt="2023-11-24T08:41:26.873" v="43204"/>
          <ac:spMkLst>
            <pc:docMk/>
            <pc:sldMk cId="721183839" sldId="2147478576"/>
            <ac:spMk id="289" creationId="{C1CD6073-FE3C-81A7-C5A8-5C840C29DE6A}"/>
          </ac:spMkLst>
        </pc:spChg>
        <pc:spChg chg="add del mod">
          <ac:chgData name="Steiner Andreas 6206 ED" userId="e6377c33-a923-4f14-8587-531c474c7b48" providerId="ADAL" clId="{6ECD27E6-B224-41CD-B4E0-E297462320DD}" dt="2023-11-24T08:41:28.992" v="43359"/>
          <ac:spMkLst>
            <pc:docMk/>
            <pc:sldMk cId="721183839" sldId="2147478576"/>
            <ac:spMk id="290" creationId="{DADDC59E-3245-B5F7-5251-7D713F70A80D}"/>
          </ac:spMkLst>
        </pc:spChg>
        <pc:spChg chg="add del mod">
          <ac:chgData name="Steiner Andreas 6206 ED" userId="e6377c33-a923-4f14-8587-531c474c7b48" providerId="ADAL" clId="{6ECD27E6-B224-41CD-B4E0-E297462320DD}" dt="2023-11-24T08:41:31.247" v="43514"/>
          <ac:spMkLst>
            <pc:docMk/>
            <pc:sldMk cId="721183839" sldId="2147478576"/>
            <ac:spMk id="291" creationId="{5674CB44-7AB4-5DBE-78A7-5D6477CA76B6}"/>
          </ac:spMkLst>
        </pc:spChg>
        <pc:spChg chg="add del mod">
          <ac:chgData name="Steiner Andreas 6206 ED" userId="e6377c33-a923-4f14-8587-531c474c7b48" providerId="ADAL" clId="{6ECD27E6-B224-41CD-B4E0-E297462320DD}" dt="2023-11-24T08:41:35.646" v="43669"/>
          <ac:spMkLst>
            <pc:docMk/>
            <pc:sldMk cId="721183839" sldId="2147478576"/>
            <ac:spMk id="292" creationId="{E3F68133-13B0-F086-2E61-012FC3F44D2F}"/>
          </ac:spMkLst>
        </pc:spChg>
        <pc:spChg chg="add del mod">
          <ac:chgData name="Steiner Andreas 6206 ED" userId="e6377c33-a923-4f14-8587-531c474c7b48" providerId="ADAL" clId="{6ECD27E6-B224-41CD-B4E0-E297462320DD}" dt="2023-11-24T08:41:38.615" v="43824"/>
          <ac:spMkLst>
            <pc:docMk/>
            <pc:sldMk cId="721183839" sldId="2147478576"/>
            <ac:spMk id="293" creationId="{D9794700-F713-47CC-5009-403C65979FCE}"/>
          </ac:spMkLst>
        </pc:spChg>
        <pc:spChg chg="add del mod">
          <ac:chgData name="Steiner Andreas 6206 ED" userId="e6377c33-a923-4f14-8587-531c474c7b48" providerId="ADAL" clId="{6ECD27E6-B224-41CD-B4E0-E297462320DD}" dt="2023-11-24T08:41:40.848" v="43979"/>
          <ac:spMkLst>
            <pc:docMk/>
            <pc:sldMk cId="721183839" sldId="2147478576"/>
            <ac:spMk id="294" creationId="{11A30109-8273-9033-677D-DACCCCFA9195}"/>
          </ac:spMkLst>
        </pc:spChg>
        <pc:spChg chg="add del mod">
          <ac:chgData name="Steiner Andreas 6206 ED" userId="e6377c33-a923-4f14-8587-531c474c7b48" providerId="ADAL" clId="{6ECD27E6-B224-41CD-B4E0-E297462320DD}" dt="2023-11-24T08:41:43.244" v="44134"/>
          <ac:spMkLst>
            <pc:docMk/>
            <pc:sldMk cId="721183839" sldId="2147478576"/>
            <ac:spMk id="295" creationId="{B1226D5C-711F-05F8-CED7-1A5E6D9C3606}"/>
          </ac:spMkLst>
        </pc:spChg>
        <pc:spChg chg="add del mod">
          <ac:chgData name="Steiner Andreas 6206 ED" userId="e6377c33-a923-4f14-8587-531c474c7b48" providerId="ADAL" clId="{6ECD27E6-B224-41CD-B4E0-E297462320DD}" dt="2023-11-24T08:41:45.153" v="44289"/>
          <ac:spMkLst>
            <pc:docMk/>
            <pc:sldMk cId="721183839" sldId="2147478576"/>
            <ac:spMk id="296" creationId="{DF684762-0606-1AFB-0C84-2D525A535E4A}"/>
          </ac:spMkLst>
        </pc:spChg>
        <pc:spChg chg="add del mod">
          <ac:chgData name="Steiner Andreas 6206 ED" userId="e6377c33-a923-4f14-8587-531c474c7b48" providerId="ADAL" clId="{6ECD27E6-B224-41CD-B4E0-E297462320DD}" dt="2023-11-24T08:41:47.072" v="44444"/>
          <ac:spMkLst>
            <pc:docMk/>
            <pc:sldMk cId="721183839" sldId="2147478576"/>
            <ac:spMk id="297" creationId="{809A3393-874D-0AF9-FB9D-49854A800F0C}"/>
          </ac:spMkLst>
        </pc:spChg>
        <pc:spChg chg="add del mod">
          <ac:chgData name="Steiner Andreas 6206 ED" userId="e6377c33-a923-4f14-8587-531c474c7b48" providerId="ADAL" clId="{6ECD27E6-B224-41CD-B4E0-E297462320DD}" dt="2023-11-24T08:41:49.103" v="44599"/>
          <ac:spMkLst>
            <pc:docMk/>
            <pc:sldMk cId="721183839" sldId="2147478576"/>
            <ac:spMk id="298" creationId="{3B4CDF37-22C6-A6C6-0B38-AE357B61A114}"/>
          </ac:spMkLst>
        </pc:spChg>
        <pc:spChg chg="add del mod">
          <ac:chgData name="Steiner Andreas 6206 ED" userId="e6377c33-a923-4f14-8587-531c474c7b48" providerId="ADAL" clId="{6ECD27E6-B224-41CD-B4E0-E297462320DD}" dt="2023-11-24T08:41:50.963" v="44754"/>
          <ac:spMkLst>
            <pc:docMk/>
            <pc:sldMk cId="721183839" sldId="2147478576"/>
            <ac:spMk id="299" creationId="{C3132E78-A9D6-D9B2-F53A-AC7285F2B5DE}"/>
          </ac:spMkLst>
        </pc:spChg>
        <pc:spChg chg="add del mod">
          <ac:chgData name="Steiner Andreas 6206 ED" userId="e6377c33-a923-4f14-8587-531c474c7b48" providerId="ADAL" clId="{6ECD27E6-B224-41CD-B4E0-E297462320DD}" dt="2023-11-24T08:41:53.304" v="44909"/>
          <ac:spMkLst>
            <pc:docMk/>
            <pc:sldMk cId="721183839" sldId="2147478576"/>
            <ac:spMk id="300" creationId="{2BD8FA75-8ABE-F5CD-D100-338FD8D52F27}"/>
          </ac:spMkLst>
        </pc:spChg>
        <pc:spChg chg="add del mod">
          <ac:chgData name="Steiner Andreas 6206 ED" userId="e6377c33-a923-4f14-8587-531c474c7b48" providerId="ADAL" clId="{6ECD27E6-B224-41CD-B4E0-E297462320DD}" dt="2023-11-24T08:41:55.231" v="45064"/>
          <ac:spMkLst>
            <pc:docMk/>
            <pc:sldMk cId="721183839" sldId="2147478576"/>
            <ac:spMk id="301" creationId="{7AAE2908-D26E-B592-C7DF-135D15E41579}"/>
          </ac:spMkLst>
        </pc:spChg>
        <pc:spChg chg="add del mod">
          <ac:chgData name="Steiner Andreas 6206 ED" userId="e6377c33-a923-4f14-8587-531c474c7b48" providerId="ADAL" clId="{6ECD27E6-B224-41CD-B4E0-E297462320DD}" dt="2023-11-24T08:41:57.500" v="45219"/>
          <ac:spMkLst>
            <pc:docMk/>
            <pc:sldMk cId="721183839" sldId="2147478576"/>
            <ac:spMk id="302" creationId="{8270797A-7046-2E0B-E25F-DA9E10B713B6}"/>
          </ac:spMkLst>
        </pc:spChg>
        <pc:spChg chg="add del mod">
          <ac:chgData name="Steiner Andreas 6206 ED" userId="e6377c33-a923-4f14-8587-531c474c7b48" providerId="ADAL" clId="{6ECD27E6-B224-41CD-B4E0-E297462320DD}" dt="2023-11-24T08:41:59.687" v="45374"/>
          <ac:spMkLst>
            <pc:docMk/>
            <pc:sldMk cId="721183839" sldId="2147478576"/>
            <ac:spMk id="303" creationId="{77A8BBF0-9851-6DB6-8386-A80ADDAE1DAC}"/>
          </ac:spMkLst>
        </pc:spChg>
        <pc:spChg chg="add del mod">
          <ac:chgData name="Steiner Andreas 6206 ED" userId="e6377c33-a923-4f14-8587-531c474c7b48" providerId="ADAL" clId="{6ECD27E6-B224-41CD-B4E0-E297462320DD}" dt="2023-11-24T08:42:01.886" v="45529"/>
          <ac:spMkLst>
            <pc:docMk/>
            <pc:sldMk cId="721183839" sldId="2147478576"/>
            <ac:spMk id="304" creationId="{E920AFC1-11E6-B81A-8937-596748A6C945}"/>
          </ac:spMkLst>
        </pc:spChg>
        <pc:spChg chg="add del mod">
          <ac:chgData name="Steiner Andreas 6206 ED" userId="e6377c33-a923-4f14-8587-531c474c7b48" providerId="ADAL" clId="{6ECD27E6-B224-41CD-B4E0-E297462320DD}" dt="2023-11-24T08:42:03.901" v="45684"/>
          <ac:spMkLst>
            <pc:docMk/>
            <pc:sldMk cId="721183839" sldId="2147478576"/>
            <ac:spMk id="305" creationId="{87F010B9-C0E0-C229-1C62-6833B14C4045}"/>
          </ac:spMkLst>
        </pc:spChg>
        <pc:spChg chg="add del mod">
          <ac:chgData name="Steiner Andreas 6206 ED" userId="e6377c33-a923-4f14-8587-531c474c7b48" providerId="ADAL" clId="{6ECD27E6-B224-41CD-B4E0-E297462320DD}" dt="2023-11-24T08:42:05.854" v="45839"/>
          <ac:spMkLst>
            <pc:docMk/>
            <pc:sldMk cId="721183839" sldId="2147478576"/>
            <ac:spMk id="306" creationId="{C9018F73-EA15-41BB-3411-DCCD36930941}"/>
          </ac:spMkLst>
        </pc:spChg>
        <pc:spChg chg="add del mod">
          <ac:chgData name="Steiner Andreas 6206 ED" userId="e6377c33-a923-4f14-8587-531c474c7b48" providerId="ADAL" clId="{6ECD27E6-B224-41CD-B4E0-E297462320DD}" dt="2023-11-24T08:42:07.754" v="45994"/>
          <ac:spMkLst>
            <pc:docMk/>
            <pc:sldMk cId="721183839" sldId="2147478576"/>
            <ac:spMk id="307" creationId="{C6375095-F905-330F-0C0A-1ADB439CF0A3}"/>
          </ac:spMkLst>
        </pc:spChg>
        <pc:spChg chg="add del mod">
          <ac:chgData name="Steiner Andreas 6206 ED" userId="e6377c33-a923-4f14-8587-531c474c7b48" providerId="ADAL" clId="{6ECD27E6-B224-41CD-B4E0-E297462320DD}" dt="2023-11-24T08:42:09.642" v="46149"/>
          <ac:spMkLst>
            <pc:docMk/>
            <pc:sldMk cId="721183839" sldId="2147478576"/>
            <ac:spMk id="308" creationId="{68190C37-2FD7-AE89-D4D2-EF7697DD0084}"/>
          </ac:spMkLst>
        </pc:spChg>
        <pc:spChg chg="add del mod">
          <ac:chgData name="Steiner Andreas 6206 ED" userId="e6377c33-a923-4f14-8587-531c474c7b48" providerId="ADAL" clId="{6ECD27E6-B224-41CD-B4E0-E297462320DD}" dt="2023-11-24T08:42:12.013" v="46304"/>
          <ac:spMkLst>
            <pc:docMk/>
            <pc:sldMk cId="721183839" sldId="2147478576"/>
            <ac:spMk id="309" creationId="{688C7E95-8CD1-6F20-5D0E-C1157EB0449E}"/>
          </ac:spMkLst>
        </pc:spChg>
        <pc:spChg chg="add del mod">
          <ac:chgData name="Steiner Andreas 6206 ED" userId="e6377c33-a923-4f14-8587-531c474c7b48" providerId="ADAL" clId="{6ECD27E6-B224-41CD-B4E0-E297462320DD}" dt="2023-11-24T08:42:14.530" v="46459"/>
          <ac:spMkLst>
            <pc:docMk/>
            <pc:sldMk cId="721183839" sldId="2147478576"/>
            <ac:spMk id="310" creationId="{F280C334-3BA2-5F24-8E45-35CD71AC902C}"/>
          </ac:spMkLst>
        </pc:spChg>
        <pc:spChg chg="add del mod">
          <ac:chgData name="Steiner Andreas 6206 ED" userId="e6377c33-a923-4f14-8587-531c474c7b48" providerId="ADAL" clId="{6ECD27E6-B224-41CD-B4E0-E297462320DD}" dt="2023-11-24T08:42:16.922" v="46614"/>
          <ac:spMkLst>
            <pc:docMk/>
            <pc:sldMk cId="721183839" sldId="2147478576"/>
            <ac:spMk id="311" creationId="{E61125B8-B8FE-33D0-F8A0-140C9D964652}"/>
          </ac:spMkLst>
        </pc:spChg>
        <pc:spChg chg="add del mod">
          <ac:chgData name="Steiner Andreas 6206 ED" userId="e6377c33-a923-4f14-8587-531c474c7b48" providerId="ADAL" clId="{6ECD27E6-B224-41CD-B4E0-E297462320DD}" dt="2023-11-24T08:42:19.051" v="46769"/>
          <ac:spMkLst>
            <pc:docMk/>
            <pc:sldMk cId="721183839" sldId="2147478576"/>
            <ac:spMk id="312" creationId="{E415A32D-5E20-91AC-36C2-607F7DDBE77F}"/>
          </ac:spMkLst>
        </pc:spChg>
        <pc:spChg chg="add del mod">
          <ac:chgData name="Steiner Andreas 6206 ED" userId="e6377c33-a923-4f14-8587-531c474c7b48" providerId="ADAL" clId="{6ECD27E6-B224-41CD-B4E0-E297462320DD}" dt="2023-11-24T08:42:21.383" v="46924"/>
          <ac:spMkLst>
            <pc:docMk/>
            <pc:sldMk cId="721183839" sldId="2147478576"/>
            <ac:spMk id="313" creationId="{D6D6DF73-36FB-106C-FEE8-52204BC0A260}"/>
          </ac:spMkLst>
        </pc:spChg>
        <pc:spChg chg="add del mod">
          <ac:chgData name="Steiner Andreas 6206 ED" userId="e6377c33-a923-4f14-8587-531c474c7b48" providerId="ADAL" clId="{6ECD27E6-B224-41CD-B4E0-E297462320DD}" dt="2023-11-24T08:42:24.007" v="47079"/>
          <ac:spMkLst>
            <pc:docMk/>
            <pc:sldMk cId="721183839" sldId="2147478576"/>
            <ac:spMk id="314" creationId="{4955DC0D-5094-7346-9F26-76BABECCEF9B}"/>
          </ac:spMkLst>
        </pc:spChg>
        <pc:spChg chg="add del mod">
          <ac:chgData name="Steiner Andreas 6206 ED" userId="e6377c33-a923-4f14-8587-531c474c7b48" providerId="ADAL" clId="{6ECD27E6-B224-41CD-B4E0-E297462320DD}" dt="2023-11-24T08:42:25.983" v="47234"/>
          <ac:spMkLst>
            <pc:docMk/>
            <pc:sldMk cId="721183839" sldId="2147478576"/>
            <ac:spMk id="315" creationId="{959B79DE-1E98-664A-4F4C-AFE922D3BE2C}"/>
          </ac:spMkLst>
        </pc:spChg>
        <pc:spChg chg="add del mod">
          <ac:chgData name="Steiner Andreas 6206 ED" userId="e6377c33-a923-4f14-8587-531c474c7b48" providerId="ADAL" clId="{6ECD27E6-B224-41CD-B4E0-E297462320DD}" dt="2023-11-24T08:42:27.884" v="47389"/>
          <ac:spMkLst>
            <pc:docMk/>
            <pc:sldMk cId="721183839" sldId="2147478576"/>
            <ac:spMk id="316" creationId="{FA428D3A-8B81-556B-696B-C15448704DFF}"/>
          </ac:spMkLst>
        </pc:spChg>
        <pc:spChg chg="add del mod">
          <ac:chgData name="Steiner Andreas 6206 ED" userId="e6377c33-a923-4f14-8587-531c474c7b48" providerId="ADAL" clId="{6ECD27E6-B224-41CD-B4E0-E297462320DD}" dt="2023-11-24T08:42:29.651" v="47544"/>
          <ac:spMkLst>
            <pc:docMk/>
            <pc:sldMk cId="721183839" sldId="2147478576"/>
            <ac:spMk id="317" creationId="{EC6526DA-C63B-B382-3D87-F1382CB8DB40}"/>
          </ac:spMkLst>
        </pc:spChg>
        <pc:spChg chg="add del mod">
          <ac:chgData name="Steiner Andreas 6206 ED" userId="e6377c33-a923-4f14-8587-531c474c7b48" providerId="ADAL" clId="{6ECD27E6-B224-41CD-B4E0-E297462320DD}" dt="2023-11-24T08:42:31.545" v="47699"/>
          <ac:spMkLst>
            <pc:docMk/>
            <pc:sldMk cId="721183839" sldId="2147478576"/>
            <ac:spMk id="318" creationId="{98EBEFB2-38FE-58C1-470B-59516952D7DF}"/>
          </ac:spMkLst>
        </pc:spChg>
        <pc:spChg chg="add del mod">
          <ac:chgData name="Steiner Andreas 6206 ED" userId="e6377c33-a923-4f14-8587-531c474c7b48" providerId="ADAL" clId="{6ECD27E6-B224-41CD-B4E0-E297462320DD}" dt="2023-11-24T08:42:33.529" v="47854"/>
          <ac:spMkLst>
            <pc:docMk/>
            <pc:sldMk cId="721183839" sldId="2147478576"/>
            <ac:spMk id="319" creationId="{C322DC9B-5565-96B3-46BE-AC82B7B49184}"/>
          </ac:spMkLst>
        </pc:spChg>
        <pc:spChg chg="add del mod">
          <ac:chgData name="Steiner Andreas 6206 ED" userId="e6377c33-a923-4f14-8587-531c474c7b48" providerId="ADAL" clId="{6ECD27E6-B224-41CD-B4E0-E297462320DD}" dt="2023-11-24T08:42:35.594" v="48009"/>
          <ac:spMkLst>
            <pc:docMk/>
            <pc:sldMk cId="721183839" sldId="2147478576"/>
            <ac:spMk id="320" creationId="{55A69B81-B782-DB2C-68C1-693CB2C484D0}"/>
          </ac:spMkLst>
        </pc:spChg>
        <pc:spChg chg="add del mod">
          <ac:chgData name="Steiner Andreas 6206 ED" userId="e6377c33-a923-4f14-8587-531c474c7b48" providerId="ADAL" clId="{6ECD27E6-B224-41CD-B4E0-E297462320DD}" dt="2023-11-24T08:42:37.473" v="48164"/>
          <ac:spMkLst>
            <pc:docMk/>
            <pc:sldMk cId="721183839" sldId="2147478576"/>
            <ac:spMk id="321" creationId="{3C21AA7B-C266-8D5D-06FC-534C1CAFA274}"/>
          </ac:spMkLst>
        </pc:spChg>
        <pc:spChg chg="add del mod">
          <ac:chgData name="Steiner Andreas 6206 ED" userId="e6377c33-a923-4f14-8587-531c474c7b48" providerId="ADAL" clId="{6ECD27E6-B224-41CD-B4E0-E297462320DD}" dt="2023-11-24T08:42:39.337" v="48319"/>
          <ac:spMkLst>
            <pc:docMk/>
            <pc:sldMk cId="721183839" sldId="2147478576"/>
            <ac:spMk id="322" creationId="{5E211AFF-CCFB-5E82-5428-2DF1788C318D}"/>
          </ac:spMkLst>
        </pc:spChg>
        <pc:spChg chg="add del mod">
          <ac:chgData name="Steiner Andreas 6206 ED" userId="e6377c33-a923-4f14-8587-531c474c7b48" providerId="ADAL" clId="{6ECD27E6-B224-41CD-B4E0-E297462320DD}" dt="2023-11-24T08:42:41.462" v="48474"/>
          <ac:spMkLst>
            <pc:docMk/>
            <pc:sldMk cId="721183839" sldId="2147478576"/>
            <ac:spMk id="323" creationId="{F18B831F-25E2-DDEB-C5D6-3949FECD8B57}"/>
          </ac:spMkLst>
        </pc:spChg>
        <pc:spChg chg="add del mod">
          <ac:chgData name="Steiner Andreas 6206 ED" userId="e6377c33-a923-4f14-8587-531c474c7b48" providerId="ADAL" clId="{6ECD27E6-B224-41CD-B4E0-E297462320DD}" dt="2023-11-24T08:42:43.571" v="48629"/>
          <ac:spMkLst>
            <pc:docMk/>
            <pc:sldMk cId="721183839" sldId="2147478576"/>
            <ac:spMk id="324" creationId="{8C46914D-1F7A-10DB-BBAB-4D588AD012FE}"/>
          </ac:spMkLst>
        </pc:spChg>
        <pc:spChg chg="add del mod">
          <ac:chgData name="Steiner Andreas 6206 ED" userId="e6377c33-a923-4f14-8587-531c474c7b48" providerId="ADAL" clId="{6ECD27E6-B224-41CD-B4E0-E297462320DD}" dt="2023-11-24T08:42:45.608" v="48784"/>
          <ac:spMkLst>
            <pc:docMk/>
            <pc:sldMk cId="721183839" sldId="2147478576"/>
            <ac:spMk id="325" creationId="{221E39C8-16E5-652C-4E64-A8E2F367820A}"/>
          </ac:spMkLst>
        </pc:spChg>
        <pc:spChg chg="add del mod">
          <ac:chgData name="Steiner Andreas 6206 ED" userId="e6377c33-a923-4f14-8587-531c474c7b48" providerId="ADAL" clId="{6ECD27E6-B224-41CD-B4E0-E297462320DD}" dt="2023-11-24T08:42:47.489" v="48939"/>
          <ac:spMkLst>
            <pc:docMk/>
            <pc:sldMk cId="721183839" sldId="2147478576"/>
            <ac:spMk id="326" creationId="{4E38B657-DF82-1890-7481-4919A0BF57D1}"/>
          </ac:spMkLst>
        </pc:spChg>
        <pc:spChg chg="add del mod">
          <ac:chgData name="Steiner Andreas 6206 ED" userId="e6377c33-a923-4f14-8587-531c474c7b48" providerId="ADAL" clId="{6ECD27E6-B224-41CD-B4E0-E297462320DD}" dt="2023-11-24T08:42:49.284" v="49094"/>
          <ac:spMkLst>
            <pc:docMk/>
            <pc:sldMk cId="721183839" sldId="2147478576"/>
            <ac:spMk id="327" creationId="{0FDCEC65-C18D-EDD1-F013-1A6B5D49DEA1}"/>
          </ac:spMkLst>
        </pc:spChg>
        <pc:spChg chg="add del mod">
          <ac:chgData name="Steiner Andreas 6206 ED" userId="e6377c33-a923-4f14-8587-531c474c7b48" providerId="ADAL" clId="{6ECD27E6-B224-41CD-B4E0-E297462320DD}" dt="2023-11-24T08:42:51.161" v="49249"/>
          <ac:spMkLst>
            <pc:docMk/>
            <pc:sldMk cId="721183839" sldId="2147478576"/>
            <ac:spMk id="328" creationId="{84D2B785-E983-E956-D0AA-CDCC50B53B84}"/>
          </ac:spMkLst>
        </pc:spChg>
        <pc:spChg chg="add del mod">
          <ac:chgData name="Steiner Andreas 6206 ED" userId="e6377c33-a923-4f14-8587-531c474c7b48" providerId="ADAL" clId="{6ECD27E6-B224-41CD-B4E0-E297462320DD}" dt="2023-11-24T08:42:53.271" v="49404"/>
          <ac:spMkLst>
            <pc:docMk/>
            <pc:sldMk cId="721183839" sldId="2147478576"/>
            <ac:spMk id="329" creationId="{4A4AF86E-19BE-2943-AC76-27E7755E0F22}"/>
          </ac:spMkLst>
        </pc:spChg>
        <pc:spChg chg="add del mod">
          <ac:chgData name="Steiner Andreas 6206 ED" userId="e6377c33-a923-4f14-8587-531c474c7b48" providerId="ADAL" clId="{6ECD27E6-B224-41CD-B4E0-E297462320DD}" dt="2023-11-24T08:42:55.866" v="49559"/>
          <ac:spMkLst>
            <pc:docMk/>
            <pc:sldMk cId="721183839" sldId="2147478576"/>
            <ac:spMk id="330" creationId="{99DD40C4-D728-59DC-2ACB-753AEB1FDD91}"/>
          </ac:spMkLst>
        </pc:spChg>
        <pc:spChg chg="add del mod">
          <ac:chgData name="Steiner Andreas 6206 ED" userId="e6377c33-a923-4f14-8587-531c474c7b48" providerId="ADAL" clId="{6ECD27E6-B224-41CD-B4E0-E297462320DD}" dt="2023-11-24T08:42:57.965" v="49714"/>
          <ac:spMkLst>
            <pc:docMk/>
            <pc:sldMk cId="721183839" sldId="2147478576"/>
            <ac:spMk id="331" creationId="{1C4C8D10-E4D4-43E7-A6C4-F5C1B021D537}"/>
          </ac:spMkLst>
        </pc:spChg>
        <pc:spChg chg="add del mod">
          <ac:chgData name="Steiner Andreas 6206 ED" userId="e6377c33-a923-4f14-8587-531c474c7b48" providerId="ADAL" clId="{6ECD27E6-B224-41CD-B4E0-E297462320DD}" dt="2023-11-24T08:42:59.885" v="49869"/>
          <ac:spMkLst>
            <pc:docMk/>
            <pc:sldMk cId="721183839" sldId="2147478576"/>
            <ac:spMk id="332" creationId="{7331C08E-0EB5-EF0D-00D8-726869574239}"/>
          </ac:spMkLst>
        </pc:spChg>
        <pc:spChg chg="add del mod">
          <ac:chgData name="Steiner Andreas 6206 ED" userId="e6377c33-a923-4f14-8587-531c474c7b48" providerId="ADAL" clId="{6ECD27E6-B224-41CD-B4E0-E297462320DD}" dt="2023-11-24T08:43:01.884" v="50024"/>
          <ac:spMkLst>
            <pc:docMk/>
            <pc:sldMk cId="721183839" sldId="2147478576"/>
            <ac:spMk id="333" creationId="{0C515607-C381-C3CD-C91A-07F0E795FC94}"/>
          </ac:spMkLst>
        </pc:spChg>
        <pc:spChg chg="add del mod">
          <ac:chgData name="Steiner Andreas 6206 ED" userId="e6377c33-a923-4f14-8587-531c474c7b48" providerId="ADAL" clId="{6ECD27E6-B224-41CD-B4E0-E297462320DD}" dt="2023-11-24T08:43:03.871" v="50179"/>
          <ac:spMkLst>
            <pc:docMk/>
            <pc:sldMk cId="721183839" sldId="2147478576"/>
            <ac:spMk id="334" creationId="{468F5C21-3780-C2D7-EB2A-1C204EA79494}"/>
          </ac:spMkLst>
        </pc:spChg>
        <pc:spChg chg="add del mod">
          <ac:chgData name="Steiner Andreas 6206 ED" userId="e6377c33-a923-4f14-8587-531c474c7b48" providerId="ADAL" clId="{6ECD27E6-B224-41CD-B4E0-E297462320DD}" dt="2023-11-24T08:43:05.754" v="50334"/>
          <ac:spMkLst>
            <pc:docMk/>
            <pc:sldMk cId="721183839" sldId="2147478576"/>
            <ac:spMk id="335" creationId="{9258E084-F305-C302-754B-90B15697CA3F}"/>
          </ac:spMkLst>
        </pc:spChg>
        <pc:spChg chg="add del mod">
          <ac:chgData name="Steiner Andreas 6206 ED" userId="e6377c33-a923-4f14-8587-531c474c7b48" providerId="ADAL" clId="{6ECD27E6-B224-41CD-B4E0-E297462320DD}" dt="2023-11-24T08:43:07.966" v="50489"/>
          <ac:spMkLst>
            <pc:docMk/>
            <pc:sldMk cId="721183839" sldId="2147478576"/>
            <ac:spMk id="336" creationId="{04B1C6D2-82D3-A970-252D-FEDF71F452B3}"/>
          </ac:spMkLst>
        </pc:spChg>
        <pc:spChg chg="add del mod">
          <ac:chgData name="Steiner Andreas 6206 ED" userId="e6377c33-a923-4f14-8587-531c474c7b48" providerId="ADAL" clId="{6ECD27E6-B224-41CD-B4E0-E297462320DD}" dt="2023-11-24T08:43:10.019" v="50644"/>
          <ac:spMkLst>
            <pc:docMk/>
            <pc:sldMk cId="721183839" sldId="2147478576"/>
            <ac:spMk id="337" creationId="{2F87A091-1539-14C1-C430-FA647D3E1544}"/>
          </ac:spMkLst>
        </pc:spChg>
        <pc:spChg chg="add del mod">
          <ac:chgData name="Steiner Andreas 6206 ED" userId="e6377c33-a923-4f14-8587-531c474c7b48" providerId="ADAL" clId="{6ECD27E6-B224-41CD-B4E0-E297462320DD}" dt="2023-11-24T08:43:11.855" v="50799"/>
          <ac:spMkLst>
            <pc:docMk/>
            <pc:sldMk cId="721183839" sldId="2147478576"/>
            <ac:spMk id="338" creationId="{BAFCE899-6E15-E88A-707C-5C8DA6CBEECF}"/>
          </ac:spMkLst>
        </pc:spChg>
        <pc:spChg chg="add del mod">
          <ac:chgData name="Steiner Andreas 6206 ED" userId="e6377c33-a923-4f14-8587-531c474c7b48" providerId="ADAL" clId="{6ECD27E6-B224-41CD-B4E0-E297462320DD}" dt="2023-11-24T08:43:13.919" v="50954"/>
          <ac:spMkLst>
            <pc:docMk/>
            <pc:sldMk cId="721183839" sldId="2147478576"/>
            <ac:spMk id="339" creationId="{B890FCE3-C0AE-6A8E-DE18-E32120CCBB84}"/>
          </ac:spMkLst>
        </pc:spChg>
        <pc:spChg chg="add del mod">
          <ac:chgData name="Steiner Andreas 6206 ED" userId="e6377c33-a923-4f14-8587-531c474c7b48" providerId="ADAL" clId="{6ECD27E6-B224-41CD-B4E0-E297462320DD}" dt="2023-11-24T08:43:15.893" v="51109"/>
          <ac:spMkLst>
            <pc:docMk/>
            <pc:sldMk cId="721183839" sldId="2147478576"/>
            <ac:spMk id="340" creationId="{110F7ABC-D563-8B43-620D-FF3A0557294E}"/>
          </ac:spMkLst>
        </pc:spChg>
        <pc:spChg chg="add del mod">
          <ac:chgData name="Steiner Andreas 6206 ED" userId="e6377c33-a923-4f14-8587-531c474c7b48" providerId="ADAL" clId="{6ECD27E6-B224-41CD-B4E0-E297462320DD}" dt="2023-11-24T08:43:17.968" v="51264"/>
          <ac:spMkLst>
            <pc:docMk/>
            <pc:sldMk cId="721183839" sldId="2147478576"/>
            <ac:spMk id="341" creationId="{433A790F-DA09-F881-1286-14A9D6691238}"/>
          </ac:spMkLst>
        </pc:spChg>
        <pc:spChg chg="add del mod">
          <ac:chgData name="Steiner Andreas 6206 ED" userId="e6377c33-a923-4f14-8587-531c474c7b48" providerId="ADAL" clId="{6ECD27E6-B224-41CD-B4E0-E297462320DD}" dt="2023-11-24T08:43:19.957" v="51419"/>
          <ac:spMkLst>
            <pc:docMk/>
            <pc:sldMk cId="721183839" sldId="2147478576"/>
            <ac:spMk id="342" creationId="{0E3E24B3-4955-2F64-4C95-2B6ED159EBCA}"/>
          </ac:spMkLst>
        </pc:spChg>
        <pc:spChg chg="add del mod">
          <ac:chgData name="Steiner Andreas 6206 ED" userId="e6377c33-a923-4f14-8587-531c474c7b48" providerId="ADAL" clId="{6ECD27E6-B224-41CD-B4E0-E297462320DD}" dt="2023-11-24T08:43:21.864" v="51574"/>
          <ac:spMkLst>
            <pc:docMk/>
            <pc:sldMk cId="721183839" sldId="2147478576"/>
            <ac:spMk id="343" creationId="{706CEFE3-BDDE-8426-CE82-AA5F3BDAAF05}"/>
          </ac:spMkLst>
        </pc:spChg>
        <pc:spChg chg="add del mod">
          <ac:chgData name="Steiner Andreas 6206 ED" userId="e6377c33-a923-4f14-8587-531c474c7b48" providerId="ADAL" clId="{6ECD27E6-B224-41CD-B4E0-E297462320DD}" dt="2023-11-24T08:43:23.799" v="51729"/>
          <ac:spMkLst>
            <pc:docMk/>
            <pc:sldMk cId="721183839" sldId="2147478576"/>
            <ac:spMk id="344" creationId="{4FA5519C-3FD4-BFCC-7818-5C46DB383DA7}"/>
          </ac:spMkLst>
        </pc:spChg>
        <pc:spChg chg="add del mod">
          <ac:chgData name="Steiner Andreas 6206 ED" userId="e6377c33-a923-4f14-8587-531c474c7b48" providerId="ADAL" clId="{6ECD27E6-B224-41CD-B4E0-E297462320DD}" dt="2023-11-24T08:43:25.687" v="51884"/>
          <ac:spMkLst>
            <pc:docMk/>
            <pc:sldMk cId="721183839" sldId="2147478576"/>
            <ac:spMk id="345" creationId="{68816F2C-E26A-8FD3-3E76-5BC84C5BF2E9}"/>
          </ac:spMkLst>
        </pc:spChg>
        <pc:spChg chg="add del mod">
          <ac:chgData name="Steiner Andreas 6206 ED" userId="e6377c33-a923-4f14-8587-531c474c7b48" providerId="ADAL" clId="{6ECD27E6-B224-41CD-B4E0-E297462320DD}" dt="2023-11-24T08:43:27.524" v="52039"/>
          <ac:spMkLst>
            <pc:docMk/>
            <pc:sldMk cId="721183839" sldId="2147478576"/>
            <ac:spMk id="346" creationId="{71157A95-7F2D-957D-EBD4-618CC9AD591B}"/>
          </ac:spMkLst>
        </pc:spChg>
        <pc:spChg chg="add del mod">
          <ac:chgData name="Steiner Andreas 6206 ED" userId="e6377c33-a923-4f14-8587-531c474c7b48" providerId="ADAL" clId="{6ECD27E6-B224-41CD-B4E0-E297462320DD}" dt="2023-11-24T08:43:29.317" v="52194"/>
          <ac:spMkLst>
            <pc:docMk/>
            <pc:sldMk cId="721183839" sldId="2147478576"/>
            <ac:spMk id="347" creationId="{43496333-002A-14B8-C47A-CC5BFE7FF0EC}"/>
          </ac:spMkLst>
        </pc:spChg>
        <pc:spChg chg="add del mod">
          <ac:chgData name="Steiner Andreas 6206 ED" userId="e6377c33-a923-4f14-8587-531c474c7b48" providerId="ADAL" clId="{6ECD27E6-B224-41CD-B4E0-E297462320DD}" dt="2023-11-24T08:43:32.019" v="52349"/>
          <ac:spMkLst>
            <pc:docMk/>
            <pc:sldMk cId="721183839" sldId="2147478576"/>
            <ac:spMk id="348" creationId="{1DD5E45D-8C0F-D232-0FFE-ACD8DC40B6C8}"/>
          </ac:spMkLst>
        </pc:spChg>
        <pc:spChg chg="add del mod">
          <ac:chgData name="Steiner Andreas 6206 ED" userId="e6377c33-a923-4f14-8587-531c474c7b48" providerId="ADAL" clId="{6ECD27E6-B224-41CD-B4E0-E297462320DD}" dt="2023-11-24T08:43:34.535" v="52504"/>
          <ac:spMkLst>
            <pc:docMk/>
            <pc:sldMk cId="721183839" sldId="2147478576"/>
            <ac:spMk id="349" creationId="{889FD19E-7DD6-3DD9-BFEC-3EF0B2CE8652}"/>
          </ac:spMkLst>
        </pc:spChg>
        <pc:spChg chg="add del mod">
          <ac:chgData name="Steiner Andreas 6206 ED" userId="e6377c33-a923-4f14-8587-531c474c7b48" providerId="ADAL" clId="{6ECD27E6-B224-41CD-B4E0-E297462320DD}" dt="2023-11-24T08:43:36.621" v="52659"/>
          <ac:spMkLst>
            <pc:docMk/>
            <pc:sldMk cId="721183839" sldId="2147478576"/>
            <ac:spMk id="350" creationId="{ECB4657B-7C6C-0169-F6D4-8BCCDBDCD64C}"/>
          </ac:spMkLst>
        </pc:spChg>
        <pc:spChg chg="add del mod">
          <ac:chgData name="Steiner Andreas 6206 ED" userId="e6377c33-a923-4f14-8587-531c474c7b48" providerId="ADAL" clId="{6ECD27E6-B224-41CD-B4E0-E297462320DD}" dt="2023-11-24T08:43:38.735" v="52814"/>
          <ac:spMkLst>
            <pc:docMk/>
            <pc:sldMk cId="721183839" sldId="2147478576"/>
            <ac:spMk id="351" creationId="{F5ADFDC8-8F4C-3942-B0A1-07A605A50EE3}"/>
          </ac:spMkLst>
        </pc:spChg>
        <pc:spChg chg="add del mod">
          <ac:chgData name="Steiner Andreas 6206 ED" userId="e6377c33-a923-4f14-8587-531c474c7b48" providerId="ADAL" clId="{6ECD27E6-B224-41CD-B4E0-E297462320DD}" dt="2023-11-24T08:43:40.834" v="52969"/>
          <ac:spMkLst>
            <pc:docMk/>
            <pc:sldMk cId="721183839" sldId="2147478576"/>
            <ac:spMk id="352" creationId="{544C8F0D-4210-E538-277A-610EAB3F7167}"/>
          </ac:spMkLst>
        </pc:spChg>
        <pc:spChg chg="add del mod">
          <ac:chgData name="Steiner Andreas 6206 ED" userId="e6377c33-a923-4f14-8587-531c474c7b48" providerId="ADAL" clId="{6ECD27E6-B224-41CD-B4E0-E297462320DD}" dt="2023-11-24T08:43:42.809" v="53124"/>
          <ac:spMkLst>
            <pc:docMk/>
            <pc:sldMk cId="721183839" sldId="2147478576"/>
            <ac:spMk id="353" creationId="{EDE9FBCF-B4A0-1EAE-7C04-DEF1F2F71DA3}"/>
          </ac:spMkLst>
        </pc:spChg>
        <pc:spChg chg="add del mod">
          <ac:chgData name="Steiner Andreas 6206 ED" userId="e6377c33-a923-4f14-8587-531c474c7b48" providerId="ADAL" clId="{6ECD27E6-B224-41CD-B4E0-E297462320DD}" dt="2023-11-24T08:43:44.627" v="53279"/>
          <ac:spMkLst>
            <pc:docMk/>
            <pc:sldMk cId="721183839" sldId="2147478576"/>
            <ac:spMk id="354" creationId="{37A117EB-F1CD-9EED-9E49-8522B2B0BB79}"/>
          </ac:spMkLst>
        </pc:spChg>
        <pc:spChg chg="add del mod">
          <ac:chgData name="Steiner Andreas 6206 ED" userId="e6377c33-a923-4f14-8587-531c474c7b48" providerId="ADAL" clId="{6ECD27E6-B224-41CD-B4E0-E297462320DD}" dt="2023-11-24T08:43:46.413" v="53434"/>
          <ac:spMkLst>
            <pc:docMk/>
            <pc:sldMk cId="721183839" sldId="2147478576"/>
            <ac:spMk id="355" creationId="{69DB7163-E1A4-440B-BD57-8776D6AAEE5D}"/>
          </ac:spMkLst>
        </pc:spChg>
        <pc:spChg chg="add del mod">
          <ac:chgData name="Steiner Andreas 6206 ED" userId="e6377c33-a923-4f14-8587-531c474c7b48" providerId="ADAL" clId="{6ECD27E6-B224-41CD-B4E0-E297462320DD}" dt="2023-11-24T08:43:48.363" v="53589"/>
          <ac:spMkLst>
            <pc:docMk/>
            <pc:sldMk cId="721183839" sldId="2147478576"/>
            <ac:spMk id="356" creationId="{59BA8444-7584-623E-38BC-ACCE2C08B6DE}"/>
          </ac:spMkLst>
        </pc:spChg>
        <pc:spChg chg="add del mod">
          <ac:chgData name="Steiner Andreas 6206 ED" userId="e6377c33-a923-4f14-8587-531c474c7b48" providerId="ADAL" clId="{6ECD27E6-B224-41CD-B4E0-E297462320DD}" dt="2023-11-24T08:43:50.324" v="53744"/>
          <ac:spMkLst>
            <pc:docMk/>
            <pc:sldMk cId="721183839" sldId="2147478576"/>
            <ac:spMk id="357" creationId="{B976633F-8BBA-CE1D-5C85-3A737ABD604F}"/>
          </ac:spMkLst>
        </pc:spChg>
        <pc:spChg chg="add del mod">
          <ac:chgData name="Steiner Andreas 6206 ED" userId="e6377c33-a923-4f14-8587-531c474c7b48" providerId="ADAL" clId="{6ECD27E6-B224-41CD-B4E0-E297462320DD}" dt="2023-11-24T08:43:52.502" v="53899"/>
          <ac:spMkLst>
            <pc:docMk/>
            <pc:sldMk cId="721183839" sldId="2147478576"/>
            <ac:spMk id="358" creationId="{7B9CD54E-52E6-B29E-38E5-7408337AD649}"/>
          </ac:spMkLst>
        </pc:spChg>
        <pc:spChg chg="add del mod">
          <ac:chgData name="Steiner Andreas 6206 ED" userId="e6377c33-a923-4f14-8587-531c474c7b48" providerId="ADAL" clId="{6ECD27E6-B224-41CD-B4E0-E297462320DD}" dt="2023-11-24T08:43:55.142" v="54054"/>
          <ac:spMkLst>
            <pc:docMk/>
            <pc:sldMk cId="721183839" sldId="2147478576"/>
            <ac:spMk id="359" creationId="{CBD46525-BC88-A7A9-149C-A4BD2BACEE37}"/>
          </ac:spMkLst>
        </pc:spChg>
        <pc:spChg chg="add del mod">
          <ac:chgData name="Steiner Andreas 6206 ED" userId="e6377c33-a923-4f14-8587-531c474c7b48" providerId="ADAL" clId="{6ECD27E6-B224-41CD-B4E0-E297462320DD}" dt="2023-11-24T08:43:57.189" v="54209"/>
          <ac:spMkLst>
            <pc:docMk/>
            <pc:sldMk cId="721183839" sldId="2147478576"/>
            <ac:spMk id="360" creationId="{EF8006D7-A33E-70E5-708B-51C2D72C508B}"/>
          </ac:spMkLst>
        </pc:spChg>
        <pc:spChg chg="add del mod">
          <ac:chgData name="Steiner Andreas 6206 ED" userId="e6377c33-a923-4f14-8587-531c474c7b48" providerId="ADAL" clId="{6ECD27E6-B224-41CD-B4E0-E297462320DD}" dt="2023-11-24T08:43:59.366" v="54364"/>
          <ac:spMkLst>
            <pc:docMk/>
            <pc:sldMk cId="721183839" sldId="2147478576"/>
            <ac:spMk id="361" creationId="{BCC5127E-9407-14F0-D619-0CC81056B936}"/>
          </ac:spMkLst>
        </pc:spChg>
        <pc:spChg chg="add del mod">
          <ac:chgData name="Steiner Andreas 6206 ED" userId="e6377c33-a923-4f14-8587-531c474c7b48" providerId="ADAL" clId="{6ECD27E6-B224-41CD-B4E0-E297462320DD}" dt="2023-11-24T08:44:01.632" v="54519"/>
          <ac:spMkLst>
            <pc:docMk/>
            <pc:sldMk cId="721183839" sldId="2147478576"/>
            <ac:spMk id="362" creationId="{960E0A9A-9C88-810A-7C6B-DC1196F5EA9C}"/>
          </ac:spMkLst>
        </pc:spChg>
        <pc:spChg chg="add del mod">
          <ac:chgData name="Steiner Andreas 6206 ED" userId="e6377c33-a923-4f14-8587-531c474c7b48" providerId="ADAL" clId="{6ECD27E6-B224-41CD-B4E0-E297462320DD}" dt="2023-11-24T08:44:03.781" v="54674"/>
          <ac:spMkLst>
            <pc:docMk/>
            <pc:sldMk cId="721183839" sldId="2147478576"/>
            <ac:spMk id="363" creationId="{AAF07B58-FADE-612E-C15F-3AD8BA039E76}"/>
          </ac:spMkLst>
        </pc:spChg>
        <pc:spChg chg="add del mod">
          <ac:chgData name="Steiner Andreas 6206 ED" userId="e6377c33-a923-4f14-8587-531c474c7b48" providerId="ADAL" clId="{6ECD27E6-B224-41CD-B4E0-E297462320DD}" dt="2023-11-24T08:44:05.870" v="54829"/>
          <ac:spMkLst>
            <pc:docMk/>
            <pc:sldMk cId="721183839" sldId="2147478576"/>
            <ac:spMk id="364" creationId="{BE0BEC3A-E169-3B18-FBBD-895309E2204C}"/>
          </ac:spMkLst>
        </pc:spChg>
        <pc:spChg chg="add del mod">
          <ac:chgData name="Steiner Andreas 6206 ED" userId="e6377c33-a923-4f14-8587-531c474c7b48" providerId="ADAL" clId="{6ECD27E6-B224-41CD-B4E0-E297462320DD}" dt="2023-11-24T08:44:07.832" v="54984"/>
          <ac:spMkLst>
            <pc:docMk/>
            <pc:sldMk cId="721183839" sldId="2147478576"/>
            <ac:spMk id="365" creationId="{8A9E3184-88EA-3F41-340F-8004C6199A49}"/>
          </ac:spMkLst>
        </pc:spChg>
        <pc:spChg chg="add del mod">
          <ac:chgData name="Steiner Andreas 6206 ED" userId="e6377c33-a923-4f14-8587-531c474c7b48" providerId="ADAL" clId="{6ECD27E6-B224-41CD-B4E0-E297462320DD}" dt="2023-11-24T08:44:09.830" v="55139"/>
          <ac:spMkLst>
            <pc:docMk/>
            <pc:sldMk cId="721183839" sldId="2147478576"/>
            <ac:spMk id="366" creationId="{679548E5-3071-50D5-2AA3-E138A88C0F96}"/>
          </ac:spMkLst>
        </pc:spChg>
        <pc:spChg chg="add del mod">
          <ac:chgData name="Steiner Andreas 6206 ED" userId="e6377c33-a923-4f14-8587-531c474c7b48" providerId="ADAL" clId="{6ECD27E6-B224-41CD-B4E0-E297462320DD}" dt="2023-11-24T08:44:11.830" v="55294"/>
          <ac:spMkLst>
            <pc:docMk/>
            <pc:sldMk cId="721183839" sldId="2147478576"/>
            <ac:spMk id="367" creationId="{96C3B279-4A08-EDC2-9811-BF0158E79A77}"/>
          </ac:spMkLst>
        </pc:spChg>
        <pc:spChg chg="add del mod">
          <ac:chgData name="Steiner Andreas 6206 ED" userId="e6377c33-a923-4f14-8587-531c474c7b48" providerId="ADAL" clId="{6ECD27E6-B224-41CD-B4E0-E297462320DD}" dt="2023-11-24T08:44:13.980" v="55449"/>
          <ac:spMkLst>
            <pc:docMk/>
            <pc:sldMk cId="721183839" sldId="2147478576"/>
            <ac:spMk id="368" creationId="{15FE57FC-81AA-0FE5-BF24-FA17F8619170}"/>
          </ac:spMkLst>
        </pc:spChg>
        <pc:spChg chg="add del mod">
          <ac:chgData name="Steiner Andreas 6206 ED" userId="e6377c33-a923-4f14-8587-531c474c7b48" providerId="ADAL" clId="{6ECD27E6-B224-41CD-B4E0-E297462320DD}" dt="2023-11-24T08:44:16.068" v="55604"/>
          <ac:spMkLst>
            <pc:docMk/>
            <pc:sldMk cId="721183839" sldId="2147478576"/>
            <ac:spMk id="369" creationId="{5DFDE6CA-7E88-A608-BD13-001CA7C0B354}"/>
          </ac:spMkLst>
        </pc:spChg>
        <pc:spChg chg="add del mod">
          <ac:chgData name="Steiner Andreas 6206 ED" userId="e6377c33-a923-4f14-8587-531c474c7b48" providerId="ADAL" clId="{6ECD27E6-B224-41CD-B4E0-E297462320DD}" dt="2023-11-24T08:44:18.526" v="55759"/>
          <ac:spMkLst>
            <pc:docMk/>
            <pc:sldMk cId="721183839" sldId="2147478576"/>
            <ac:spMk id="370" creationId="{D8A748C1-9F1A-AC66-EC68-E007ADE2EEBA}"/>
          </ac:spMkLst>
        </pc:spChg>
        <pc:spChg chg="add del mod">
          <ac:chgData name="Steiner Andreas 6206 ED" userId="e6377c33-a923-4f14-8587-531c474c7b48" providerId="ADAL" clId="{6ECD27E6-B224-41CD-B4E0-E297462320DD}" dt="2023-11-24T08:44:21.379" v="55914"/>
          <ac:spMkLst>
            <pc:docMk/>
            <pc:sldMk cId="721183839" sldId="2147478576"/>
            <ac:spMk id="371" creationId="{5A548B93-D9AB-000F-F6A3-D1486E1F8F6A}"/>
          </ac:spMkLst>
        </pc:spChg>
        <pc:spChg chg="add del mod">
          <ac:chgData name="Steiner Andreas 6206 ED" userId="e6377c33-a923-4f14-8587-531c474c7b48" providerId="ADAL" clId="{6ECD27E6-B224-41CD-B4E0-E297462320DD}" dt="2023-11-24T08:44:23.782" v="56069"/>
          <ac:spMkLst>
            <pc:docMk/>
            <pc:sldMk cId="721183839" sldId="2147478576"/>
            <ac:spMk id="372" creationId="{E5CEFB77-BE29-24E5-3256-219EB43819A9}"/>
          </ac:spMkLst>
        </pc:spChg>
        <pc:spChg chg="add del mod">
          <ac:chgData name="Steiner Andreas 6206 ED" userId="e6377c33-a923-4f14-8587-531c474c7b48" providerId="ADAL" clId="{6ECD27E6-B224-41CD-B4E0-E297462320DD}" dt="2023-11-24T08:44:25.715" v="56224"/>
          <ac:spMkLst>
            <pc:docMk/>
            <pc:sldMk cId="721183839" sldId="2147478576"/>
            <ac:spMk id="373" creationId="{A3A5479E-BCA0-AF58-4955-F42A37D8A0DE}"/>
          </ac:spMkLst>
        </pc:spChg>
        <pc:spChg chg="add del mod">
          <ac:chgData name="Steiner Andreas 6206 ED" userId="e6377c33-a923-4f14-8587-531c474c7b48" providerId="ADAL" clId="{6ECD27E6-B224-41CD-B4E0-E297462320DD}" dt="2023-11-24T08:44:27.890" v="56379"/>
          <ac:spMkLst>
            <pc:docMk/>
            <pc:sldMk cId="721183839" sldId="2147478576"/>
            <ac:spMk id="374" creationId="{F170A0E4-C062-A295-46DE-37F35E4C7893}"/>
          </ac:spMkLst>
        </pc:spChg>
        <pc:spChg chg="add del mod">
          <ac:chgData name="Steiner Andreas 6206 ED" userId="e6377c33-a923-4f14-8587-531c474c7b48" providerId="ADAL" clId="{6ECD27E6-B224-41CD-B4E0-E297462320DD}" dt="2023-11-24T08:44:29.903" v="56534"/>
          <ac:spMkLst>
            <pc:docMk/>
            <pc:sldMk cId="721183839" sldId="2147478576"/>
            <ac:spMk id="375" creationId="{70393E2A-B47D-1E81-E240-349AB333B0F1}"/>
          </ac:spMkLst>
        </pc:spChg>
        <pc:spChg chg="add del mod">
          <ac:chgData name="Steiner Andreas 6206 ED" userId="e6377c33-a923-4f14-8587-531c474c7b48" providerId="ADAL" clId="{6ECD27E6-B224-41CD-B4E0-E297462320DD}" dt="2023-11-24T08:44:31.880" v="56689"/>
          <ac:spMkLst>
            <pc:docMk/>
            <pc:sldMk cId="721183839" sldId="2147478576"/>
            <ac:spMk id="376" creationId="{C4F8A340-A5AF-4ED2-CBB7-4E91F819AEBA}"/>
          </ac:spMkLst>
        </pc:spChg>
        <pc:spChg chg="add del mod">
          <ac:chgData name="Steiner Andreas 6206 ED" userId="e6377c33-a923-4f14-8587-531c474c7b48" providerId="ADAL" clId="{6ECD27E6-B224-41CD-B4E0-E297462320DD}" dt="2023-11-24T08:44:33.840" v="56844"/>
          <ac:spMkLst>
            <pc:docMk/>
            <pc:sldMk cId="721183839" sldId="2147478576"/>
            <ac:spMk id="377" creationId="{BBDD7813-7EF1-F4F0-E403-3DEC5F4E3AA0}"/>
          </ac:spMkLst>
        </pc:spChg>
        <pc:spChg chg="add del mod">
          <ac:chgData name="Steiner Andreas 6206 ED" userId="e6377c33-a923-4f14-8587-531c474c7b48" providerId="ADAL" clId="{6ECD27E6-B224-41CD-B4E0-E297462320DD}" dt="2023-11-24T08:44:36.267" v="56999"/>
          <ac:spMkLst>
            <pc:docMk/>
            <pc:sldMk cId="721183839" sldId="2147478576"/>
            <ac:spMk id="378" creationId="{E97EB68B-B1AF-03A2-9F3B-7F2B7D7F5DFA}"/>
          </ac:spMkLst>
        </pc:spChg>
        <pc:spChg chg="add del mod">
          <ac:chgData name="Steiner Andreas 6206 ED" userId="e6377c33-a923-4f14-8587-531c474c7b48" providerId="ADAL" clId="{6ECD27E6-B224-41CD-B4E0-E297462320DD}" dt="2023-11-24T08:44:38.870" v="57154"/>
          <ac:spMkLst>
            <pc:docMk/>
            <pc:sldMk cId="721183839" sldId="2147478576"/>
            <ac:spMk id="379" creationId="{2328ACFC-55A1-FC23-6724-A206A9343A73}"/>
          </ac:spMkLst>
        </pc:spChg>
        <pc:spChg chg="add del mod">
          <ac:chgData name="Steiner Andreas 6206 ED" userId="e6377c33-a923-4f14-8587-531c474c7b48" providerId="ADAL" clId="{6ECD27E6-B224-41CD-B4E0-E297462320DD}" dt="2023-11-24T08:44:41.166" v="57309"/>
          <ac:spMkLst>
            <pc:docMk/>
            <pc:sldMk cId="721183839" sldId="2147478576"/>
            <ac:spMk id="380" creationId="{B33CC699-2CF6-2820-49F3-278960AD4A2F}"/>
          </ac:spMkLst>
        </pc:spChg>
        <pc:spChg chg="add del mod">
          <ac:chgData name="Steiner Andreas 6206 ED" userId="e6377c33-a923-4f14-8587-531c474c7b48" providerId="ADAL" clId="{6ECD27E6-B224-41CD-B4E0-E297462320DD}" dt="2023-11-24T08:44:43.372" v="57464"/>
          <ac:spMkLst>
            <pc:docMk/>
            <pc:sldMk cId="721183839" sldId="2147478576"/>
            <ac:spMk id="381" creationId="{A8B99658-8647-CB88-5BB1-749FFECE15EA}"/>
          </ac:spMkLst>
        </pc:spChg>
        <pc:spChg chg="add del mod">
          <ac:chgData name="Steiner Andreas 6206 ED" userId="e6377c33-a923-4f14-8587-531c474c7b48" providerId="ADAL" clId="{6ECD27E6-B224-41CD-B4E0-E297462320DD}" dt="2023-11-24T08:44:45.532" v="57619"/>
          <ac:spMkLst>
            <pc:docMk/>
            <pc:sldMk cId="721183839" sldId="2147478576"/>
            <ac:spMk id="382" creationId="{1CBC63B9-8725-B2D4-3084-AB4838F72222}"/>
          </ac:spMkLst>
        </pc:spChg>
        <pc:spChg chg="add del mod">
          <ac:chgData name="Steiner Andreas 6206 ED" userId="e6377c33-a923-4f14-8587-531c474c7b48" providerId="ADAL" clId="{6ECD27E6-B224-41CD-B4E0-E297462320DD}" dt="2023-11-24T08:44:48.279" v="57774"/>
          <ac:spMkLst>
            <pc:docMk/>
            <pc:sldMk cId="721183839" sldId="2147478576"/>
            <ac:spMk id="383" creationId="{0CC06651-C388-FC13-C4A6-12D811F67BCB}"/>
          </ac:spMkLst>
        </pc:spChg>
        <pc:spChg chg="add del mod">
          <ac:chgData name="Steiner Andreas 6206 ED" userId="e6377c33-a923-4f14-8587-531c474c7b48" providerId="ADAL" clId="{6ECD27E6-B224-41CD-B4E0-E297462320DD}" dt="2023-11-24T08:44:50.529" v="57929"/>
          <ac:spMkLst>
            <pc:docMk/>
            <pc:sldMk cId="721183839" sldId="2147478576"/>
            <ac:spMk id="384" creationId="{D4E88716-70FC-3FE2-7C00-E2C44F20E490}"/>
          </ac:spMkLst>
        </pc:spChg>
        <pc:spChg chg="add del mod">
          <ac:chgData name="Steiner Andreas 6206 ED" userId="e6377c33-a923-4f14-8587-531c474c7b48" providerId="ADAL" clId="{6ECD27E6-B224-41CD-B4E0-E297462320DD}" dt="2023-11-24T08:44:52.678" v="58084"/>
          <ac:spMkLst>
            <pc:docMk/>
            <pc:sldMk cId="721183839" sldId="2147478576"/>
            <ac:spMk id="385" creationId="{36D3C901-D055-CF8A-BFC8-691C4CBF7F66}"/>
          </ac:spMkLst>
        </pc:spChg>
        <pc:spChg chg="add del mod">
          <ac:chgData name="Steiner Andreas 6206 ED" userId="e6377c33-a923-4f14-8587-531c474c7b48" providerId="ADAL" clId="{6ECD27E6-B224-41CD-B4E0-E297462320DD}" dt="2023-11-24T08:44:54.874" v="58239"/>
          <ac:spMkLst>
            <pc:docMk/>
            <pc:sldMk cId="721183839" sldId="2147478576"/>
            <ac:spMk id="386" creationId="{CDF580F1-4BB3-EE6A-B6BE-A346E87072E9}"/>
          </ac:spMkLst>
        </pc:spChg>
        <pc:spChg chg="add del mod">
          <ac:chgData name="Steiner Andreas 6206 ED" userId="e6377c33-a923-4f14-8587-531c474c7b48" providerId="ADAL" clId="{6ECD27E6-B224-41CD-B4E0-E297462320DD}" dt="2023-11-24T08:44:56.886" v="58394"/>
          <ac:spMkLst>
            <pc:docMk/>
            <pc:sldMk cId="721183839" sldId="2147478576"/>
            <ac:spMk id="387" creationId="{5A190801-263C-A7DD-5FD4-D33E74E6010A}"/>
          </ac:spMkLst>
        </pc:spChg>
        <pc:spChg chg="add del mod">
          <ac:chgData name="Steiner Andreas 6206 ED" userId="e6377c33-a923-4f14-8587-531c474c7b48" providerId="ADAL" clId="{6ECD27E6-B224-41CD-B4E0-E297462320DD}" dt="2023-11-24T08:44:58.822" v="58549"/>
          <ac:spMkLst>
            <pc:docMk/>
            <pc:sldMk cId="721183839" sldId="2147478576"/>
            <ac:spMk id="388" creationId="{DB29375A-7267-51A5-5F08-3CA9A33F6FB6}"/>
          </ac:spMkLst>
        </pc:spChg>
        <pc:spChg chg="add del mod">
          <ac:chgData name="Steiner Andreas 6206 ED" userId="e6377c33-a923-4f14-8587-531c474c7b48" providerId="ADAL" clId="{6ECD27E6-B224-41CD-B4E0-E297462320DD}" dt="2023-11-24T08:45:00.988" v="58704"/>
          <ac:spMkLst>
            <pc:docMk/>
            <pc:sldMk cId="721183839" sldId="2147478576"/>
            <ac:spMk id="389" creationId="{309DE239-EC4E-05B6-92A8-4728FEF614C3}"/>
          </ac:spMkLst>
        </pc:spChg>
        <pc:spChg chg="add del mod">
          <ac:chgData name="Steiner Andreas 6206 ED" userId="e6377c33-a923-4f14-8587-531c474c7b48" providerId="ADAL" clId="{6ECD27E6-B224-41CD-B4E0-E297462320DD}" dt="2023-11-24T08:45:02.904" v="58859"/>
          <ac:spMkLst>
            <pc:docMk/>
            <pc:sldMk cId="721183839" sldId="2147478576"/>
            <ac:spMk id="390" creationId="{60FD0239-24A5-87A9-A0E0-78951A31CC2D}"/>
          </ac:spMkLst>
        </pc:spChg>
        <pc:spChg chg="add del mod">
          <ac:chgData name="Steiner Andreas 6206 ED" userId="e6377c33-a923-4f14-8587-531c474c7b48" providerId="ADAL" clId="{6ECD27E6-B224-41CD-B4E0-E297462320DD}" dt="2023-11-24T08:45:04.752" v="59014"/>
          <ac:spMkLst>
            <pc:docMk/>
            <pc:sldMk cId="721183839" sldId="2147478576"/>
            <ac:spMk id="391" creationId="{4A38B524-2096-9FED-E748-033646DD3165}"/>
          </ac:spMkLst>
        </pc:spChg>
        <pc:spChg chg="add del mod">
          <ac:chgData name="Steiner Andreas 6206 ED" userId="e6377c33-a923-4f14-8587-531c474c7b48" providerId="ADAL" clId="{6ECD27E6-B224-41CD-B4E0-E297462320DD}" dt="2023-11-24T08:45:06.609" v="59169"/>
          <ac:spMkLst>
            <pc:docMk/>
            <pc:sldMk cId="721183839" sldId="2147478576"/>
            <ac:spMk id="392" creationId="{91266E05-E6FA-95BD-84A5-8FBA3C9B360F}"/>
          </ac:spMkLst>
        </pc:spChg>
        <pc:spChg chg="add del mod">
          <ac:chgData name="Steiner Andreas 6206 ED" userId="e6377c33-a923-4f14-8587-531c474c7b48" providerId="ADAL" clId="{6ECD27E6-B224-41CD-B4E0-E297462320DD}" dt="2023-11-24T08:45:08.445" v="59324"/>
          <ac:spMkLst>
            <pc:docMk/>
            <pc:sldMk cId="721183839" sldId="2147478576"/>
            <ac:spMk id="393" creationId="{D93C8ADD-F6A2-52CA-5C32-3ADFAEAE5AF7}"/>
          </ac:spMkLst>
        </pc:spChg>
        <pc:spChg chg="add del mod">
          <ac:chgData name="Steiner Andreas 6206 ED" userId="e6377c33-a923-4f14-8587-531c474c7b48" providerId="ADAL" clId="{6ECD27E6-B224-41CD-B4E0-E297462320DD}" dt="2023-11-24T08:45:10.253" v="59479"/>
          <ac:spMkLst>
            <pc:docMk/>
            <pc:sldMk cId="721183839" sldId="2147478576"/>
            <ac:spMk id="394" creationId="{CB20FEE4-4BEB-E02B-2EEE-4A344FB2433C}"/>
          </ac:spMkLst>
        </pc:spChg>
        <pc:spChg chg="add del mod">
          <ac:chgData name="Steiner Andreas 6206 ED" userId="e6377c33-a923-4f14-8587-531c474c7b48" providerId="ADAL" clId="{6ECD27E6-B224-41CD-B4E0-E297462320DD}" dt="2023-11-24T08:45:12.336" v="59634"/>
          <ac:spMkLst>
            <pc:docMk/>
            <pc:sldMk cId="721183839" sldId="2147478576"/>
            <ac:spMk id="395" creationId="{CA1FF754-8ECB-E2CF-10A0-FE9F37C2F133}"/>
          </ac:spMkLst>
        </pc:spChg>
        <pc:spChg chg="add del mod">
          <ac:chgData name="Steiner Andreas 6206 ED" userId="e6377c33-a923-4f14-8587-531c474c7b48" providerId="ADAL" clId="{6ECD27E6-B224-41CD-B4E0-E297462320DD}" dt="2023-11-24T08:45:14.271" v="59789"/>
          <ac:spMkLst>
            <pc:docMk/>
            <pc:sldMk cId="721183839" sldId="2147478576"/>
            <ac:spMk id="396" creationId="{C53C0CF8-0651-2DD8-A118-F8CE9D221A5B}"/>
          </ac:spMkLst>
        </pc:spChg>
        <pc:spChg chg="add del mod">
          <ac:chgData name="Steiner Andreas 6206 ED" userId="e6377c33-a923-4f14-8587-531c474c7b48" providerId="ADAL" clId="{6ECD27E6-B224-41CD-B4E0-E297462320DD}" dt="2023-11-24T08:45:16.345" v="59944"/>
          <ac:spMkLst>
            <pc:docMk/>
            <pc:sldMk cId="721183839" sldId="2147478576"/>
            <ac:spMk id="397" creationId="{2EA6C845-7979-DF1E-9619-01D3AF796C4C}"/>
          </ac:spMkLst>
        </pc:spChg>
        <pc:spChg chg="add del mod">
          <ac:chgData name="Steiner Andreas 6206 ED" userId="e6377c33-a923-4f14-8587-531c474c7b48" providerId="ADAL" clId="{6ECD27E6-B224-41CD-B4E0-E297462320DD}" dt="2023-11-24T08:45:18.283" v="60099"/>
          <ac:spMkLst>
            <pc:docMk/>
            <pc:sldMk cId="721183839" sldId="2147478576"/>
            <ac:spMk id="398" creationId="{9F7F4D64-C960-CE8B-1DB6-EF9DC2103F33}"/>
          </ac:spMkLst>
        </pc:spChg>
        <pc:spChg chg="add del mod">
          <ac:chgData name="Steiner Andreas 6206 ED" userId="e6377c33-a923-4f14-8587-531c474c7b48" providerId="ADAL" clId="{6ECD27E6-B224-41CD-B4E0-E297462320DD}" dt="2023-11-24T08:45:20.179" v="60254"/>
          <ac:spMkLst>
            <pc:docMk/>
            <pc:sldMk cId="721183839" sldId="2147478576"/>
            <ac:spMk id="399" creationId="{6F5EF5A6-8BBA-E39A-6FF8-553455C7A54E}"/>
          </ac:spMkLst>
        </pc:spChg>
        <pc:spChg chg="add del mod">
          <ac:chgData name="Steiner Andreas 6206 ED" userId="e6377c33-a923-4f14-8587-531c474c7b48" providerId="ADAL" clId="{6ECD27E6-B224-41CD-B4E0-E297462320DD}" dt="2023-11-24T08:45:22.339" v="60409"/>
          <ac:spMkLst>
            <pc:docMk/>
            <pc:sldMk cId="721183839" sldId="2147478576"/>
            <ac:spMk id="400" creationId="{9866F3A7-2C15-E148-AEDB-672CE34AD1A8}"/>
          </ac:spMkLst>
        </pc:spChg>
        <pc:spChg chg="add del mod">
          <ac:chgData name="Steiner Andreas 6206 ED" userId="e6377c33-a923-4f14-8587-531c474c7b48" providerId="ADAL" clId="{6ECD27E6-B224-41CD-B4E0-E297462320DD}" dt="2023-11-24T08:45:24.538" v="60564"/>
          <ac:spMkLst>
            <pc:docMk/>
            <pc:sldMk cId="721183839" sldId="2147478576"/>
            <ac:spMk id="401" creationId="{420DADC5-912D-BEF2-4786-A215B24BA1DD}"/>
          </ac:spMkLst>
        </pc:spChg>
        <pc:spChg chg="add del mod">
          <ac:chgData name="Steiner Andreas 6206 ED" userId="e6377c33-a923-4f14-8587-531c474c7b48" providerId="ADAL" clId="{6ECD27E6-B224-41CD-B4E0-E297462320DD}" dt="2023-11-24T08:45:26.491" v="60719"/>
          <ac:spMkLst>
            <pc:docMk/>
            <pc:sldMk cId="721183839" sldId="2147478576"/>
            <ac:spMk id="402" creationId="{8ABF39F2-1530-4780-AD05-4D35F4AE5FCE}"/>
          </ac:spMkLst>
        </pc:spChg>
        <pc:spChg chg="add del mod">
          <ac:chgData name="Steiner Andreas 6206 ED" userId="e6377c33-a923-4f14-8587-531c474c7b48" providerId="ADAL" clId="{6ECD27E6-B224-41CD-B4E0-E297462320DD}" dt="2023-11-24T08:45:28.380" v="60874"/>
          <ac:spMkLst>
            <pc:docMk/>
            <pc:sldMk cId="721183839" sldId="2147478576"/>
            <ac:spMk id="403" creationId="{CB15D648-A391-AB37-9C66-2DCA13B2951F}"/>
          </ac:spMkLst>
        </pc:spChg>
        <pc:spChg chg="add del mod">
          <ac:chgData name="Steiner Andreas 6206 ED" userId="e6377c33-a923-4f14-8587-531c474c7b48" providerId="ADAL" clId="{6ECD27E6-B224-41CD-B4E0-E297462320DD}" dt="2023-11-24T08:45:30.202" v="61029"/>
          <ac:spMkLst>
            <pc:docMk/>
            <pc:sldMk cId="721183839" sldId="2147478576"/>
            <ac:spMk id="404" creationId="{66FB3723-0C11-0FE9-63DD-5211F4216DE8}"/>
          </ac:spMkLst>
        </pc:spChg>
        <pc:spChg chg="add del mod">
          <ac:chgData name="Steiner Andreas 6206 ED" userId="e6377c33-a923-4f14-8587-531c474c7b48" providerId="ADAL" clId="{6ECD27E6-B224-41CD-B4E0-E297462320DD}" dt="2023-11-24T08:45:32.076" v="61184"/>
          <ac:spMkLst>
            <pc:docMk/>
            <pc:sldMk cId="721183839" sldId="2147478576"/>
            <ac:spMk id="405" creationId="{70C363F4-B85A-5274-D412-D22668037633}"/>
          </ac:spMkLst>
        </pc:spChg>
        <pc:spChg chg="add del mod">
          <ac:chgData name="Steiner Andreas 6206 ED" userId="e6377c33-a923-4f14-8587-531c474c7b48" providerId="ADAL" clId="{6ECD27E6-B224-41CD-B4E0-E297462320DD}" dt="2023-11-24T08:45:34.204" v="61339"/>
          <ac:spMkLst>
            <pc:docMk/>
            <pc:sldMk cId="721183839" sldId="2147478576"/>
            <ac:spMk id="406" creationId="{6BD9D5E0-169A-8E31-FBA9-EF4538EEA9D8}"/>
          </ac:spMkLst>
        </pc:spChg>
        <pc:spChg chg="add del mod">
          <ac:chgData name="Steiner Andreas 6206 ED" userId="e6377c33-a923-4f14-8587-531c474c7b48" providerId="ADAL" clId="{6ECD27E6-B224-41CD-B4E0-E297462320DD}" dt="2023-11-24T08:45:36.260" v="61494"/>
          <ac:spMkLst>
            <pc:docMk/>
            <pc:sldMk cId="721183839" sldId="2147478576"/>
            <ac:spMk id="407" creationId="{58649F03-CF95-A781-D097-162EDE0FB80C}"/>
          </ac:spMkLst>
        </pc:spChg>
        <pc:spChg chg="add del mod">
          <ac:chgData name="Steiner Andreas 6206 ED" userId="e6377c33-a923-4f14-8587-531c474c7b48" providerId="ADAL" clId="{6ECD27E6-B224-41CD-B4E0-E297462320DD}" dt="2023-11-24T08:45:38.144" v="61649"/>
          <ac:spMkLst>
            <pc:docMk/>
            <pc:sldMk cId="721183839" sldId="2147478576"/>
            <ac:spMk id="408" creationId="{26961321-2DED-85C4-F5C7-46EEC4FA94D1}"/>
          </ac:spMkLst>
        </pc:spChg>
        <pc:spChg chg="add del mod">
          <ac:chgData name="Steiner Andreas 6206 ED" userId="e6377c33-a923-4f14-8587-531c474c7b48" providerId="ADAL" clId="{6ECD27E6-B224-41CD-B4E0-E297462320DD}" dt="2023-11-24T08:45:40.026" v="61804"/>
          <ac:spMkLst>
            <pc:docMk/>
            <pc:sldMk cId="721183839" sldId="2147478576"/>
            <ac:spMk id="409" creationId="{D61DF304-EF95-F2D7-D01E-CD7699B9257F}"/>
          </ac:spMkLst>
        </pc:spChg>
        <pc:spChg chg="add del mod">
          <ac:chgData name="Steiner Andreas 6206 ED" userId="e6377c33-a923-4f14-8587-531c474c7b48" providerId="ADAL" clId="{6ECD27E6-B224-41CD-B4E0-E297462320DD}" dt="2023-11-24T08:45:42.034" v="61959"/>
          <ac:spMkLst>
            <pc:docMk/>
            <pc:sldMk cId="721183839" sldId="2147478576"/>
            <ac:spMk id="410" creationId="{E697C919-F6BD-2004-F3E6-EE576133B011}"/>
          </ac:spMkLst>
        </pc:spChg>
        <pc:spChg chg="add del mod">
          <ac:chgData name="Steiner Andreas 6206 ED" userId="e6377c33-a923-4f14-8587-531c474c7b48" providerId="ADAL" clId="{6ECD27E6-B224-41CD-B4E0-E297462320DD}" dt="2023-11-24T08:45:44.020" v="62114"/>
          <ac:spMkLst>
            <pc:docMk/>
            <pc:sldMk cId="721183839" sldId="2147478576"/>
            <ac:spMk id="411" creationId="{8701E738-0C87-DA16-D2ED-563C704B82B7}"/>
          </ac:spMkLst>
        </pc:spChg>
        <pc:spChg chg="add del mod">
          <ac:chgData name="Steiner Andreas 6206 ED" userId="e6377c33-a923-4f14-8587-531c474c7b48" providerId="ADAL" clId="{6ECD27E6-B224-41CD-B4E0-E297462320DD}" dt="2023-11-24T08:45:46.133" v="62269"/>
          <ac:spMkLst>
            <pc:docMk/>
            <pc:sldMk cId="721183839" sldId="2147478576"/>
            <ac:spMk id="412" creationId="{77903CF5-0081-095E-98B3-BE52B63BBEA0}"/>
          </ac:spMkLst>
        </pc:spChg>
        <pc:spChg chg="add del mod">
          <ac:chgData name="Steiner Andreas 6206 ED" userId="e6377c33-a923-4f14-8587-531c474c7b48" providerId="ADAL" clId="{6ECD27E6-B224-41CD-B4E0-E297462320DD}" dt="2023-11-24T08:45:48.030" v="62424"/>
          <ac:spMkLst>
            <pc:docMk/>
            <pc:sldMk cId="721183839" sldId="2147478576"/>
            <ac:spMk id="413" creationId="{8A665F58-ECB9-20E8-5D58-E85DCD38155B}"/>
          </ac:spMkLst>
        </pc:spChg>
        <pc:spChg chg="add del mod">
          <ac:chgData name="Steiner Andreas 6206 ED" userId="e6377c33-a923-4f14-8587-531c474c7b48" providerId="ADAL" clId="{6ECD27E6-B224-41CD-B4E0-E297462320DD}" dt="2023-11-24T08:45:50.357" v="62579"/>
          <ac:spMkLst>
            <pc:docMk/>
            <pc:sldMk cId="721183839" sldId="2147478576"/>
            <ac:spMk id="414" creationId="{C5723C88-0C51-CFAC-F2AB-27E91D61BA1B}"/>
          </ac:spMkLst>
        </pc:spChg>
        <pc:spChg chg="add del mod">
          <ac:chgData name="Steiner Andreas 6206 ED" userId="e6377c33-a923-4f14-8587-531c474c7b48" providerId="ADAL" clId="{6ECD27E6-B224-41CD-B4E0-E297462320DD}" dt="2023-11-24T08:45:52.381" v="62734"/>
          <ac:spMkLst>
            <pc:docMk/>
            <pc:sldMk cId="721183839" sldId="2147478576"/>
            <ac:spMk id="415" creationId="{76E2162F-B78B-A6F4-4250-47F8D9DD57B7}"/>
          </ac:spMkLst>
        </pc:spChg>
        <pc:spChg chg="add del mod">
          <ac:chgData name="Steiner Andreas 6206 ED" userId="e6377c33-a923-4f14-8587-531c474c7b48" providerId="ADAL" clId="{6ECD27E6-B224-41CD-B4E0-E297462320DD}" dt="2023-11-24T08:45:54.400" v="62889"/>
          <ac:spMkLst>
            <pc:docMk/>
            <pc:sldMk cId="721183839" sldId="2147478576"/>
            <ac:spMk id="416" creationId="{07BF5695-0963-4F16-8E5E-CF06D657B6BE}"/>
          </ac:spMkLst>
        </pc:spChg>
        <pc:spChg chg="add del mod">
          <ac:chgData name="Steiner Andreas 6206 ED" userId="e6377c33-a923-4f14-8587-531c474c7b48" providerId="ADAL" clId="{6ECD27E6-B224-41CD-B4E0-E297462320DD}" dt="2023-11-24T08:45:56.585" v="63044"/>
          <ac:spMkLst>
            <pc:docMk/>
            <pc:sldMk cId="721183839" sldId="2147478576"/>
            <ac:spMk id="417" creationId="{D2D58E5A-86D1-6EF7-F76A-55AA655342AE}"/>
          </ac:spMkLst>
        </pc:spChg>
        <pc:spChg chg="add del mod">
          <ac:chgData name="Steiner Andreas 6206 ED" userId="e6377c33-a923-4f14-8587-531c474c7b48" providerId="ADAL" clId="{6ECD27E6-B224-41CD-B4E0-E297462320DD}" dt="2023-11-24T08:45:58.614" v="63199"/>
          <ac:spMkLst>
            <pc:docMk/>
            <pc:sldMk cId="721183839" sldId="2147478576"/>
            <ac:spMk id="418" creationId="{4D53B82F-7723-22F1-4641-7D1E0A3BDAAC}"/>
          </ac:spMkLst>
        </pc:spChg>
        <pc:spChg chg="add del mod">
          <ac:chgData name="Steiner Andreas 6206 ED" userId="e6377c33-a923-4f14-8587-531c474c7b48" providerId="ADAL" clId="{6ECD27E6-B224-41CD-B4E0-E297462320DD}" dt="2023-11-24T08:46:00.698" v="63354"/>
          <ac:spMkLst>
            <pc:docMk/>
            <pc:sldMk cId="721183839" sldId="2147478576"/>
            <ac:spMk id="419" creationId="{7D645AA2-25CB-F379-5CD5-22F24D4DA7F1}"/>
          </ac:spMkLst>
        </pc:spChg>
        <pc:spChg chg="add del mod">
          <ac:chgData name="Steiner Andreas 6206 ED" userId="e6377c33-a923-4f14-8587-531c474c7b48" providerId="ADAL" clId="{6ECD27E6-B224-41CD-B4E0-E297462320DD}" dt="2023-11-24T08:46:02.772" v="63509"/>
          <ac:spMkLst>
            <pc:docMk/>
            <pc:sldMk cId="721183839" sldId="2147478576"/>
            <ac:spMk id="420" creationId="{0B53DAD8-DCC1-EA25-A4EE-B94F7DD948C9}"/>
          </ac:spMkLst>
        </pc:spChg>
        <pc:spChg chg="add del mod">
          <ac:chgData name="Steiner Andreas 6206 ED" userId="e6377c33-a923-4f14-8587-531c474c7b48" providerId="ADAL" clId="{6ECD27E6-B224-41CD-B4E0-E297462320DD}" dt="2023-11-24T08:46:05.172" v="63664"/>
          <ac:spMkLst>
            <pc:docMk/>
            <pc:sldMk cId="721183839" sldId="2147478576"/>
            <ac:spMk id="421" creationId="{30483CB0-A4D6-172F-9373-F2E562380D82}"/>
          </ac:spMkLst>
        </pc:spChg>
        <pc:spChg chg="add del mod">
          <ac:chgData name="Steiner Andreas 6206 ED" userId="e6377c33-a923-4f14-8587-531c474c7b48" providerId="ADAL" clId="{6ECD27E6-B224-41CD-B4E0-E297462320DD}" dt="2023-11-24T08:46:07.695" v="63819"/>
          <ac:spMkLst>
            <pc:docMk/>
            <pc:sldMk cId="721183839" sldId="2147478576"/>
            <ac:spMk id="422" creationId="{355DE735-3FA2-EF28-6844-B1306ED82FAC}"/>
          </ac:spMkLst>
        </pc:spChg>
        <pc:spChg chg="add del mod">
          <ac:chgData name="Steiner Andreas 6206 ED" userId="e6377c33-a923-4f14-8587-531c474c7b48" providerId="ADAL" clId="{6ECD27E6-B224-41CD-B4E0-E297462320DD}" dt="2023-11-24T08:46:09.889" v="63974"/>
          <ac:spMkLst>
            <pc:docMk/>
            <pc:sldMk cId="721183839" sldId="2147478576"/>
            <ac:spMk id="423" creationId="{7C063810-2D2E-C35E-A07F-BEBDD16EE09E}"/>
          </ac:spMkLst>
        </pc:spChg>
        <pc:spChg chg="add del mod">
          <ac:chgData name="Steiner Andreas 6206 ED" userId="e6377c33-a923-4f14-8587-531c474c7b48" providerId="ADAL" clId="{6ECD27E6-B224-41CD-B4E0-E297462320DD}" dt="2023-11-24T08:46:12.078" v="64129"/>
          <ac:spMkLst>
            <pc:docMk/>
            <pc:sldMk cId="721183839" sldId="2147478576"/>
            <ac:spMk id="424" creationId="{E159B28A-EC7F-8BB2-0FA2-A9795A334E53}"/>
          </ac:spMkLst>
        </pc:spChg>
        <pc:spChg chg="add del mod">
          <ac:chgData name="Steiner Andreas 6206 ED" userId="e6377c33-a923-4f14-8587-531c474c7b48" providerId="ADAL" clId="{6ECD27E6-B224-41CD-B4E0-E297462320DD}" dt="2023-11-24T08:46:14.243" v="64284"/>
          <ac:spMkLst>
            <pc:docMk/>
            <pc:sldMk cId="721183839" sldId="2147478576"/>
            <ac:spMk id="425" creationId="{B7195DC6-B10D-3FCC-E7EF-B7A1ECFD0223}"/>
          </ac:spMkLst>
        </pc:spChg>
        <pc:spChg chg="add del mod">
          <ac:chgData name="Steiner Andreas 6206 ED" userId="e6377c33-a923-4f14-8587-531c474c7b48" providerId="ADAL" clId="{6ECD27E6-B224-41CD-B4E0-E297462320DD}" dt="2023-11-24T08:46:16.458" v="64439"/>
          <ac:spMkLst>
            <pc:docMk/>
            <pc:sldMk cId="721183839" sldId="2147478576"/>
            <ac:spMk id="426" creationId="{72827400-562A-7C1B-6AAC-FA87E0C1BBA7}"/>
          </ac:spMkLst>
        </pc:spChg>
        <pc:spChg chg="add del mod">
          <ac:chgData name="Steiner Andreas 6206 ED" userId="e6377c33-a923-4f14-8587-531c474c7b48" providerId="ADAL" clId="{6ECD27E6-B224-41CD-B4E0-E297462320DD}" dt="2023-11-24T08:46:18.328" v="64594"/>
          <ac:spMkLst>
            <pc:docMk/>
            <pc:sldMk cId="721183839" sldId="2147478576"/>
            <ac:spMk id="427" creationId="{3EBD06AA-34C1-3580-3197-DAD225411DC3}"/>
          </ac:spMkLst>
        </pc:spChg>
        <pc:spChg chg="add del mod">
          <ac:chgData name="Steiner Andreas 6206 ED" userId="e6377c33-a923-4f14-8587-531c474c7b48" providerId="ADAL" clId="{6ECD27E6-B224-41CD-B4E0-E297462320DD}" dt="2023-11-24T08:46:20.858" v="64749"/>
          <ac:spMkLst>
            <pc:docMk/>
            <pc:sldMk cId="721183839" sldId="2147478576"/>
            <ac:spMk id="428" creationId="{AF7049AD-96DD-7EA0-CB2C-433B0CE7CAFC}"/>
          </ac:spMkLst>
        </pc:spChg>
        <pc:spChg chg="add del mod">
          <ac:chgData name="Steiner Andreas 6206 ED" userId="e6377c33-a923-4f14-8587-531c474c7b48" providerId="ADAL" clId="{6ECD27E6-B224-41CD-B4E0-E297462320DD}" dt="2023-11-24T08:46:23.105" v="64904"/>
          <ac:spMkLst>
            <pc:docMk/>
            <pc:sldMk cId="721183839" sldId="2147478576"/>
            <ac:spMk id="429" creationId="{9CB05B73-7021-EFA1-3B32-253B7492ABAB}"/>
          </ac:spMkLst>
        </pc:spChg>
        <pc:spChg chg="add del mod">
          <ac:chgData name="Steiner Andreas 6206 ED" userId="e6377c33-a923-4f14-8587-531c474c7b48" providerId="ADAL" clId="{6ECD27E6-B224-41CD-B4E0-E297462320DD}" dt="2023-11-24T08:46:25.364" v="65059"/>
          <ac:spMkLst>
            <pc:docMk/>
            <pc:sldMk cId="721183839" sldId="2147478576"/>
            <ac:spMk id="430" creationId="{12429857-B0B9-F744-283C-0E0765793792}"/>
          </ac:spMkLst>
        </pc:spChg>
        <pc:spChg chg="add del mod">
          <ac:chgData name="Steiner Andreas 6206 ED" userId="e6377c33-a923-4f14-8587-531c474c7b48" providerId="ADAL" clId="{6ECD27E6-B224-41CD-B4E0-E297462320DD}" dt="2023-11-24T08:46:27.690" v="65214"/>
          <ac:spMkLst>
            <pc:docMk/>
            <pc:sldMk cId="721183839" sldId="2147478576"/>
            <ac:spMk id="431" creationId="{3A502401-B7DD-776C-A634-C779AEE1F271}"/>
          </ac:spMkLst>
        </pc:spChg>
        <pc:spChg chg="add del mod">
          <ac:chgData name="Steiner Andreas 6206 ED" userId="e6377c33-a923-4f14-8587-531c474c7b48" providerId="ADAL" clId="{6ECD27E6-B224-41CD-B4E0-E297462320DD}" dt="2023-11-24T08:46:29.710" v="65369"/>
          <ac:spMkLst>
            <pc:docMk/>
            <pc:sldMk cId="721183839" sldId="2147478576"/>
            <ac:spMk id="432" creationId="{86740D55-DF4C-687A-5865-A8B6692B0772}"/>
          </ac:spMkLst>
        </pc:spChg>
        <pc:spChg chg="add del mod">
          <ac:chgData name="Steiner Andreas 6206 ED" userId="e6377c33-a923-4f14-8587-531c474c7b48" providerId="ADAL" clId="{6ECD27E6-B224-41CD-B4E0-E297462320DD}" dt="2023-11-24T08:46:32.193" v="65524"/>
          <ac:spMkLst>
            <pc:docMk/>
            <pc:sldMk cId="721183839" sldId="2147478576"/>
            <ac:spMk id="433" creationId="{2248AC83-43EA-4C56-FAF2-56F316778266}"/>
          </ac:spMkLst>
        </pc:spChg>
        <pc:spChg chg="add del mod">
          <ac:chgData name="Steiner Andreas 6206 ED" userId="e6377c33-a923-4f14-8587-531c474c7b48" providerId="ADAL" clId="{6ECD27E6-B224-41CD-B4E0-E297462320DD}" dt="2023-11-24T08:46:34.257" v="65679"/>
          <ac:spMkLst>
            <pc:docMk/>
            <pc:sldMk cId="721183839" sldId="2147478576"/>
            <ac:spMk id="434" creationId="{3041EEEF-55F7-B44E-931A-6828AD0CCA97}"/>
          </ac:spMkLst>
        </pc:spChg>
        <pc:spChg chg="add del mod">
          <ac:chgData name="Steiner Andreas 6206 ED" userId="e6377c33-a923-4f14-8587-531c474c7b48" providerId="ADAL" clId="{6ECD27E6-B224-41CD-B4E0-E297462320DD}" dt="2023-11-24T08:46:36.189" v="65834"/>
          <ac:spMkLst>
            <pc:docMk/>
            <pc:sldMk cId="721183839" sldId="2147478576"/>
            <ac:spMk id="435" creationId="{A98EDE5C-506E-EFA7-D8D9-BAEB14DD9045}"/>
          </ac:spMkLst>
        </pc:spChg>
        <pc:spChg chg="add del mod">
          <ac:chgData name="Steiner Andreas 6206 ED" userId="e6377c33-a923-4f14-8587-531c474c7b48" providerId="ADAL" clId="{6ECD27E6-B224-41CD-B4E0-E297462320DD}" dt="2023-11-24T08:46:38.272" v="65989"/>
          <ac:spMkLst>
            <pc:docMk/>
            <pc:sldMk cId="721183839" sldId="2147478576"/>
            <ac:spMk id="436" creationId="{3839D2CB-33F7-08B8-047C-33B924019D0C}"/>
          </ac:spMkLst>
        </pc:spChg>
        <pc:spChg chg="add del mod">
          <ac:chgData name="Steiner Andreas 6206 ED" userId="e6377c33-a923-4f14-8587-531c474c7b48" providerId="ADAL" clId="{6ECD27E6-B224-41CD-B4E0-E297462320DD}" dt="2023-11-24T08:46:40.346" v="66144"/>
          <ac:spMkLst>
            <pc:docMk/>
            <pc:sldMk cId="721183839" sldId="2147478576"/>
            <ac:spMk id="437" creationId="{48F73417-2BD1-BD1B-11A7-2D70F6502AB2}"/>
          </ac:spMkLst>
        </pc:spChg>
        <pc:spChg chg="add del mod">
          <ac:chgData name="Steiner Andreas 6206 ED" userId="e6377c33-a923-4f14-8587-531c474c7b48" providerId="ADAL" clId="{6ECD27E6-B224-41CD-B4E0-E297462320DD}" dt="2023-11-24T08:46:42.623" v="66299"/>
          <ac:spMkLst>
            <pc:docMk/>
            <pc:sldMk cId="721183839" sldId="2147478576"/>
            <ac:spMk id="438" creationId="{99ADCC50-4672-AFAF-1197-54D12F6A8863}"/>
          </ac:spMkLst>
        </pc:spChg>
        <pc:spChg chg="add del mod">
          <ac:chgData name="Steiner Andreas 6206 ED" userId="e6377c33-a923-4f14-8587-531c474c7b48" providerId="ADAL" clId="{6ECD27E6-B224-41CD-B4E0-E297462320DD}" dt="2023-11-24T08:46:44.738" v="66454"/>
          <ac:spMkLst>
            <pc:docMk/>
            <pc:sldMk cId="721183839" sldId="2147478576"/>
            <ac:spMk id="439" creationId="{65A43D2D-7034-619F-86D6-6126956F1ABE}"/>
          </ac:spMkLst>
        </pc:spChg>
        <pc:spChg chg="add del mod">
          <ac:chgData name="Steiner Andreas 6206 ED" userId="e6377c33-a923-4f14-8587-531c474c7b48" providerId="ADAL" clId="{6ECD27E6-B224-41CD-B4E0-E297462320DD}" dt="2023-11-24T08:46:46.810" v="66609"/>
          <ac:spMkLst>
            <pc:docMk/>
            <pc:sldMk cId="721183839" sldId="2147478576"/>
            <ac:spMk id="440" creationId="{C6E76939-C44B-0985-49FE-73E7C5509629}"/>
          </ac:spMkLst>
        </pc:spChg>
        <pc:spChg chg="add del mod">
          <ac:chgData name="Steiner Andreas 6206 ED" userId="e6377c33-a923-4f14-8587-531c474c7b48" providerId="ADAL" clId="{6ECD27E6-B224-41CD-B4E0-E297462320DD}" dt="2023-11-24T08:46:48.948" v="66764"/>
          <ac:spMkLst>
            <pc:docMk/>
            <pc:sldMk cId="721183839" sldId="2147478576"/>
            <ac:spMk id="441" creationId="{BE9414E0-6935-136A-4BB5-4CA52DB790A4}"/>
          </ac:spMkLst>
        </pc:spChg>
        <pc:spChg chg="add del mod">
          <ac:chgData name="Steiner Andreas 6206 ED" userId="e6377c33-a923-4f14-8587-531c474c7b48" providerId="ADAL" clId="{6ECD27E6-B224-41CD-B4E0-E297462320DD}" dt="2023-11-24T08:46:51" v="66919"/>
          <ac:spMkLst>
            <pc:docMk/>
            <pc:sldMk cId="721183839" sldId="2147478576"/>
            <ac:spMk id="442" creationId="{EDEEE257-9A92-0086-33AD-EB885DA8FA0B}"/>
          </ac:spMkLst>
        </pc:spChg>
        <pc:spChg chg="add del mod">
          <ac:chgData name="Steiner Andreas 6206 ED" userId="e6377c33-a923-4f14-8587-531c474c7b48" providerId="ADAL" clId="{6ECD27E6-B224-41CD-B4E0-E297462320DD}" dt="2023-11-24T08:46:53.049" v="67074"/>
          <ac:spMkLst>
            <pc:docMk/>
            <pc:sldMk cId="721183839" sldId="2147478576"/>
            <ac:spMk id="443" creationId="{1468113E-4DD5-E5F4-36ED-C38EB368942A}"/>
          </ac:spMkLst>
        </pc:spChg>
        <pc:spChg chg="add del mod">
          <ac:chgData name="Steiner Andreas 6206 ED" userId="e6377c33-a923-4f14-8587-531c474c7b48" providerId="ADAL" clId="{6ECD27E6-B224-41CD-B4E0-E297462320DD}" dt="2023-11-24T08:46:55.020" v="67229"/>
          <ac:spMkLst>
            <pc:docMk/>
            <pc:sldMk cId="721183839" sldId="2147478576"/>
            <ac:spMk id="444" creationId="{5FC88014-8528-BC72-0228-2F7E638DF461}"/>
          </ac:spMkLst>
        </pc:spChg>
        <pc:spChg chg="add del mod">
          <ac:chgData name="Steiner Andreas 6206 ED" userId="e6377c33-a923-4f14-8587-531c474c7b48" providerId="ADAL" clId="{6ECD27E6-B224-41CD-B4E0-E297462320DD}" dt="2023-11-24T08:46:56.994" v="67384"/>
          <ac:spMkLst>
            <pc:docMk/>
            <pc:sldMk cId="721183839" sldId="2147478576"/>
            <ac:spMk id="445" creationId="{7CE63D9B-1255-AF15-CA5F-36B44F950CC5}"/>
          </ac:spMkLst>
        </pc:spChg>
        <pc:spChg chg="add del mod">
          <ac:chgData name="Steiner Andreas 6206 ED" userId="e6377c33-a923-4f14-8587-531c474c7b48" providerId="ADAL" clId="{6ECD27E6-B224-41CD-B4E0-E297462320DD}" dt="2023-11-24T08:46:58.856" v="67539"/>
          <ac:spMkLst>
            <pc:docMk/>
            <pc:sldMk cId="721183839" sldId="2147478576"/>
            <ac:spMk id="446" creationId="{FFC2AB7C-C969-E60E-9237-12A7AFA852EB}"/>
          </ac:spMkLst>
        </pc:spChg>
        <pc:spChg chg="add del mod">
          <ac:chgData name="Steiner Andreas 6206 ED" userId="e6377c33-a923-4f14-8587-531c474c7b48" providerId="ADAL" clId="{6ECD27E6-B224-41CD-B4E0-E297462320DD}" dt="2023-11-24T08:47:00.964" v="67694"/>
          <ac:spMkLst>
            <pc:docMk/>
            <pc:sldMk cId="721183839" sldId="2147478576"/>
            <ac:spMk id="447" creationId="{A4E58DA7-A4B5-78D0-40C9-0BDDAB0B5AAC}"/>
          </ac:spMkLst>
        </pc:spChg>
        <pc:spChg chg="add del mod">
          <ac:chgData name="Steiner Andreas 6206 ED" userId="e6377c33-a923-4f14-8587-531c474c7b48" providerId="ADAL" clId="{6ECD27E6-B224-41CD-B4E0-E297462320DD}" dt="2023-11-24T08:47:03.121" v="67849"/>
          <ac:spMkLst>
            <pc:docMk/>
            <pc:sldMk cId="721183839" sldId="2147478576"/>
            <ac:spMk id="448" creationId="{3E3FEB30-6377-B441-7F14-D85EAA105292}"/>
          </ac:spMkLst>
        </pc:spChg>
        <pc:spChg chg="add del mod">
          <ac:chgData name="Steiner Andreas 6206 ED" userId="e6377c33-a923-4f14-8587-531c474c7b48" providerId="ADAL" clId="{6ECD27E6-B224-41CD-B4E0-E297462320DD}" dt="2023-11-24T08:47:05.118" v="68004"/>
          <ac:spMkLst>
            <pc:docMk/>
            <pc:sldMk cId="721183839" sldId="2147478576"/>
            <ac:spMk id="449" creationId="{21EF438E-A5A7-71A5-7F43-935DDFF0A760}"/>
          </ac:spMkLst>
        </pc:spChg>
        <pc:spChg chg="add del mod">
          <ac:chgData name="Steiner Andreas 6206 ED" userId="e6377c33-a923-4f14-8587-531c474c7b48" providerId="ADAL" clId="{6ECD27E6-B224-41CD-B4E0-E297462320DD}" dt="2023-11-24T08:47:06.895" v="68159"/>
          <ac:spMkLst>
            <pc:docMk/>
            <pc:sldMk cId="721183839" sldId="2147478576"/>
            <ac:spMk id="450" creationId="{152FF152-FF28-2537-2626-E2D3460708ED}"/>
          </ac:spMkLst>
        </pc:spChg>
        <pc:spChg chg="add del mod">
          <ac:chgData name="Steiner Andreas 6206 ED" userId="e6377c33-a923-4f14-8587-531c474c7b48" providerId="ADAL" clId="{6ECD27E6-B224-41CD-B4E0-E297462320DD}" dt="2023-11-24T08:47:08.785" v="68314"/>
          <ac:spMkLst>
            <pc:docMk/>
            <pc:sldMk cId="721183839" sldId="2147478576"/>
            <ac:spMk id="451" creationId="{4E7A6F9C-9D7E-1F8B-62DF-FA2C6615267B}"/>
          </ac:spMkLst>
        </pc:spChg>
        <pc:spChg chg="add del mod">
          <ac:chgData name="Steiner Andreas 6206 ED" userId="e6377c33-a923-4f14-8587-531c474c7b48" providerId="ADAL" clId="{6ECD27E6-B224-41CD-B4E0-E297462320DD}" dt="2023-11-24T08:47:10.666" v="68469"/>
          <ac:spMkLst>
            <pc:docMk/>
            <pc:sldMk cId="721183839" sldId="2147478576"/>
            <ac:spMk id="452" creationId="{2C4FD401-AC7E-1070-4945-FB68FC9BBD59}"/>
          </ac:spMkLst>
        </pc:spChg>
        <pc:spChg chg="add del mod">
          <ac:chgData name="Steiner Andreas 6206 ED" userId="e6377c33-a923-4f14-8587-531c474c7b48" providerId="ADAL" clId="{6ECD27E6-B224-41CD-B4E0-E297462320DD}" dt="2023-11-24T08:47:12.542" v="68624"/>
          <ac:spMkLst>
            <pc:docMk/>
            <pc:sldMk cId="721183839" sldId="2147478576"/>
            <ac:spMk id="453" creationId="{2615A930-5B35-D964-5513-F24A1A329E9D}"/>
          </ac:spMkLst>
        </pc:spChg>
        <pc:spChg chg="add del mod">
          <ac:chgData name="Steiner Andreas 6206 ED" userId="e6377c33-a923-4f14-8587-531c474c7b48" providerId="ADAL" clId="{6ECD27E6-B224-41CD-B4E0-E297462320DD}" dt="2023-11-24T08:47:14.703" v="68779"/>
          <ac:spMkLst>
            <pc:docMk/>
            <pc:sldMk cId="721183839" sldId="2147478576"/>
            <ac:spMk id="454" creationId="{01A9C1A4-9FD9-A87F-7E55-E6EDF919CAD0}"/>
          </ac:spMkLst>
        </pc:spChg>
        <pc:spChg chg="add del mod">
          <ac:chgData name="Steiner Andreas 6206 ED" userId="e6377c33-a923-4f14-8587-531c474c7b48" providerId="ADAL" clId="{6ECD27E6-B224-41CD-B4E0-E297462320DD}" dt="2023-11-24T08:47:16.665" v="68934"/>
          <ac:spMkLst>
            <pc:docMk/>
            <pc:sldMk cId="721183839" sldId="2147478576"/>
            <ac:spMk id="455" creationId="{D6D851F1-AED7-C379-5F67-7E3A33378CC4}"/>
          </ac:spMkLst>
        </pc:spChg>
        <pc:spChg chg="add del mod">
          <ac:chgData name="Steiner Andreas 6206 ED" userId="e6377c33-a923-4f14-8587-531c474c7b48" providerId="ADAL" clId="{6ECD27E6-B224-41CD-B4E0-E297462320DD}" dt="2023-11-24T08:47:18.584" v="69089"/>
          <ac:spMkLst>
            <pc:docMk/>
            <pc:sldMk cId="721183839" sldId="2147478576"/>
            <ac:spMk id="456" creationId="{8967BEF3-387A-F42A-30B3-7F823D91EEE5}"/>
          </ac:spMkLst>
        </pc:spChg>
        <pc:spChg chg="add del mod">
          <ac:chgData name="Steiner Andreas 6206 ED" userId="e6377c33-a923-4f14-8587-531c474c7b48" providerId="ADAL" clId="{6ECD27E6-B224-41CD-B4E0-E297462320DD}" dt="2023-11-24T08:47:20.569" v="69244"/>
          <ac:spMkLst>
            <pc:docMk/>
            <pc:sldMk cId="721183839" sldId="2147478576"/>
            <ac:spMk id="457" creationId="{88A6E1AD-FDD1-8A15-F3A2-BB17EBEF7C26}"/>
          </ac:spMkLst>
        </pc:spChg>
        <pc:spChg chg="add del mod">
          <ac:chgData name="Steiner Andreas 6206 ED" userId="e6377c33-a923-4f14-8587-531c474c7b48" providerId="ADAL" clId="{6ECD27E6-B224-41CD-B4E0-E297462320DD}" dt="2023-11-24T08:47:22.956" v="69399"/>
          <ac:spMkLst>
            <pc:docMk/>
            <pc:sldMk cId="721183839" sldId="2147478576"/>
            <ac:spMk id="458" creationId="{9FDE72EB-7FEA-874E-7C3D-0553173978BF}"/>
          </ac:spMkLst>
        </pc:spChg>
        <pc:spChg chg="add del mod">
          <ac:chgData name="Steiner Andreas 6206 ED" userId="e6377c33-a923-4f14-8587-531c474c7b48" providerId="ADAL" clId="{6ECD27E6-B224-41CD-B4E0-E297462320DD}" dt="2023-11-24T08:47:25.628" v="69554"/>
          <ac:spMkLst>
            <pc:docMk/>
            <pc:sldMk cId="721183839" sldId="2147478576"/>
            <ac:spMk id="459" creationId="{E9C40F45-7F01-FF9D-590B-663CBD498D60}"/>
          </ac:spMkLst>
        </pc:spChg>
        <pc:spChg chg="add del mod">
          <ac:chgData name="Steiner Andreas 6206 ED" userId="e6377c33-a923-4f14-8587-531c474c7b48" providerId="ADAL" clId="{6ECD27E6-B224-41CD-B4E0-E297462320DD}" dt="2023-11-24T08:47:27.825" v="69709"/>
          <ac:spMkLst>
            <pc:docMk/>
            <pc:sldMk cId="721183839" sldId="2147478576"/>
            <ac:spMk id="460" creationId="{6620B741-8FEF-4E0E-2E40-7CC34A0DDF77}"/>
          </ac:spMkLst>
        </pc:spChg>
        <pc:spChg chg="add del mod">
          <ac:chgData name="Steiner Andreas 6206 ED" userId="e6377c33-a923-4f14-8587-531c474c7b48" providerId="ADAL" clId="{6ECD27E6-B224-41CD-B4E0-E297462320DD}" dt="2023-11-24T08:47:29.893" v="69864"/>
          <ac:spMkLst>
            <pc:docMk/>
            <pc:sldMk cId="721183839" sldId="2147478576"/>
            <ac:spMk id="461" creationId="{2542136C-0364-EC6C-A4A3-FEF415B2AC0B}"/>
          </ac:spMkLst>
        </pc:spChg>
        <pc:spChg chg="add del mod">
          <ac:chgData name="Steiner Andreas 6206 ED" userId="e6377c33-a923-4f14-8587-531c474c7b48" providerId="ADAL" clId="{6ECD27E6-B224-41CD-B4E0-E297462320DD}" dt="2023-11-24T08:47:31.860" v="70019"/>
          <ac:spMkLst>
            <pc:docMk/>
            <pc:sldMk cId="721183839" sldId="2147478576"/>
            <ac:spMk id="462" creationId="{72412FF9-34E2-1FB1-350F-0C1EFB4A72D2}"/>
          </ac:spMkLst>
        </pc:spChg>
        <pc:spChg chg="add del mod">
          <ac:chgData name="Steiner Andreas 6206 ED" userId="e6377c33-a923-4f14-8587-531c474c7b48" providerId="ADAL" clId="{6ECD27E6-B224-41CD-B4E0-E297462320DD}" dt="2023-11-24T08:47:33.849" v="70174"/>
          <ac:spMkLst>
            <pc:docMk/>
            <pc:sldMk cId="721183839" sldId="2147478576"/>
            <ac:spMk id="463" creationId="{2D0C01DE-75B3-B98A-9A7D-F5EB81FE3539}"/>
          </ac:spMkLst>
        </pc:spChg>
        <pc:spChg chg="add del mod">
          <ac:chgData name="Steiner Andreas 6206 ED" userId="e6377c33-a923-4f14-8587-531c474c7b48" providerId="ADAL" clId="{6ECD27E6-B224-41CD-B4E0-E297462320DD}" dt="2023-11-24T08:47:36.010" v="70329"/>
          <ac:spMkLst>
            <pc:docMk/>
            <pc:sldMk cId="721183839" sldId="2147478576"/>
            <ac:spMk id="464" creationId="{816D6DCC-28E1-050F-6787-0B958C1F9B61}"/>
          </ac:spMkLst>
        </pc:spChg>
        <pc:spChg chg="add del mod">
          <ac:chgData name="Steiner Andreas 6206 ED" userId="e6377c33-a923-4f14-8587-531c474c7b48" providerId="ADAL" clId="{6ECD27E6-B224-41CD-B4E0-E297462320DD}" dt="2023-11-24T08:47:38.107" v="70484"/>
          <ac:spMkLst>
            <pc:docMk/>
            <pc:sldMk cId="721183839" sldId="2147478576"/>
            <ac:spMk id="465" creationId="{B1A4A395-D9CD-75FC-6D36-323B2CD73AC9}"/>
          </ac:spMkLst>
        </pc:spChg>
        <pc:spChg chg="add del mod">
          <ac:chgData name="Steiner Andreas 6206 ED" userId="e6377c33-a923-4f14-8587-531c474c7b48" providerId="ADAL" clId="{6ECD27E6-B224-41CD-B4E0-E297462320DD}" dt="2023-11-24T08:47:40.191" v="70639"/>
          <ac:spMkLst>
            <pc:docMk/>
            <pc:sldMk cId="721183839" sldId="2147478576"/>
            <ac:spMk id="466" creationId="{4E8F45F0-C5A8-142F-CBD0-CF61A969AC17}"/>
          </ac:spMkLst>
        </pc:spChg>
        <pc:spChg chg="add del mod">
          <ac:chgData name="Steiner Andreas 6206 ED" userId="e6377c33-a923-4f14-8587-531c474c7b48" providerId="ADAL" clId="{6ECD27E6-B224-41CD-B4E0-E297462320DD}" dt="2023-11-24T08:47:42.111" v="70794"/>
          <ac:spMkLst>
            <pc:docMk/>
            <pc:sldMk cId="721183839" sldId="2147478576"/>
            <ac:spMk id="467" creationId="{1AC287D5-F417-D236-12AA-224E1D1A6630}"/>
          </ac:spMkLst>
        </pc:spChg>
        <pc:spChg chg="add del mod">
          <ac:chgData name="Steiner Andreas 6206 ED" userId="e6377c33-a923-4f14-8587-531c474c7b48" providerId="ADAL" clId="{6ECD27E6-B224-41CD-B4E0-E297462320DD}" dt="2023-11-24T08:47:44.031" v="70949"/>
          <ac:spMkLst>
            <pc:docMk/>
            <pc:sldMk cId="721183839" sldId="2147478576"/>
            <ac:spMk id="468" creationId="{97457B56-D4F5-E51D-33DA-AECDC8CA9CA9}"/>
          </ac:spMkLst>
        </pc:spChg>
        <pc:spChg chg="add del mod">
          <ac:chgData name="Steiner Andreas 6206 ED" userId="e6377c33-a923-4f14-8587-531c474c7b48" providerId="ADAL" clId="{6ECD27E6-B224-41CD-B4E0-E297462320DD}" dt="2023-11-24T08:47:45.963" v="71104"/>
          <ac:spMkLst>
            <pc:docMk/>
            <pc:sldMk cId="721183839" sldId="2147478576"/>
            <ac:spMk id="469" creationId="{25BE55E5-AF9F-7AAF-A6B4-E42AF82AE45F}"/>
          </ac:spMkLst>
        </pc:spChg>
        <pc:spChg chg="add del mod">
          <ac:chgData name="Steiner Andreas 6206 ED" userId="e6377c33-a923-4f14-8587-531c474c7b48" providerId="ADAL" clId="{6ECD27E6-B224-41CD-B4E0-E297462320DD}" dt="2023-11-24T08:47:48.050" v="71259"/>
          <ac:spMkLst>
            <pc:docMk/>
            <pc:sldMk cId="721183839" sldId="2147478576"/>
            <ac:spMk id="470" creationId="{F930DCFF-C282-C10D-CBC3-B66BBD506CEE}"/>
          </ac:spMkLst>
        </pc:spChg>
        <pc:spChg chg="add del mod">
          <ac:chgData name="Steiner Andreas 6206 ED" userId="e6377c33-a923-4f14-8587-531c474c7b48" providerId="ADAL" clId="{6ECD27E6-B224-41CD-B4E0-E297462320DD}" dt="2023-11-24T08:47:50.156" v="71414"/>
          <ac:spMkLst>
            <pc:docMk/>
            <pc:sldMk cId="721183839" sldId="2147478576"/>
            <ac:spMk id="471" creationId="{6AC2BB63-308B-B4D1-01FE-E3401BC5C2DD}"/>
          </ac:spMkLst>
        </pc:spChg>
        <pc:spChg chg="add del mod">
          <ac:chgData name="Steiner Andreas 6206 ED" userId="e6377c33-a923-4f14-8587-531c474c7b48" providerId="ADAL" clId="{6ECD27E6-B224-41CD-B4E0-E297462320DD}" dt="2023-11-24T08:47:52.065" v="71569"/>
          <ac:spMkLst>
            <pc:docMk/>
            <pc:sldMk cId="721183839" sldId="2147478576"/>
            <ac:spMk id="472" creationId="{AD2379BF-4FD0-0B0B-C92A-10F789BEB8DB}"/>
          </ac:spMkLst>
        </pc:spChg>
        <pc:spChg chg="add del mod">
          <ac:chgData name="Steiner Andreas 6206 ED" userId="e6377c33-a923-4f14-8587-531c474c7b48" providerId="ADAL" clId="{6ECD27E6-B224-41CD-B4E0-E297462320DD}" dt="2023-11-24T08:47:54.014" v="71724"/>
          <ac:spMkLst>
            <pc:docMk/>
            <pc:sldMk cId="721183839" sldId="2147478576"/>
            <ac:spMk id="473" creationId="{23B16E9C-728C-AD6B-9518-810ED7D583ED}"/>
          </ac:spMkLst>
        </pc:spChg>
        <pc:spChg chg="add del mod">
          <ac:chgData name="Steiner Andreas 6206 ED" userId="e6377c33-a923-4f14-8587-531c474c7b48" providerId="ADAL" clId="{6ECD27E6-B224-41CD-B4E0-E297462320DD}" dt="2023-11-24T08:47:55.851" v="71879"/>
          <ac:spMkLst>
            <pc:docMk/>
            <pc:sldMk cId="721183839" sldId="2147478576"/>
            <ac:spMk id="474" creationId="{DF6CE20D-2348-4D9B-EE58-B780866525A8}"/>
          </ac:spMkLst>
        </pc:spChg>
        <pc:spChg chg="add del mod">
          <ac:chgData name="Steiner Andreas 6206 ED" userId="e6377c33-a923-4f14-8587-531c474c7b48" providerId="ADAL" clId="{6ECD27E6-B224-41CD-B4E0-E297462320DD}" dt="2023-11-24T08:47:57.848" v="72034"/>
          <ac:spMkLst>
            <pc:docMk/>
            <pc:sldMk cId="721183839" sldId="2147478576"/>
            <ac:spMk id="475" creationId="{174C9A7B-02BB-F28C-A297-49DA80E54C17}"/>
          </ac:spMkLst>
        </pc:spChg>
        <pc:spChg chg="add del mod">
          <ac:chgData name="Steiner Andreas 6206 ED" userId="e6377c33-a923-4f14-8587-531c474c7b48" providerId="ADAL" clId="{6ECD27E6-B224-41CD-B4E0-E297462320DD}" dt="2023-11-24T08:47:59.974" v="72189"/>
          <ac:spMkLst>
            <pc:docMk/>
            <pc:sldMk cId="721183839" sldId="2147478576"/>
            <ac:spMk id="476" creationId="{D9547D7E-FCE7-7ED1-9E98-81A23E2BFB6D}"/>
          </ac:spMkLst>
        </pc:spChg>
        <pc:spChg chg="add del mod">
          <ac:chgData name="Steiner Andreas 6206 ED" userId="e6377c33-a923-4f14-8587-531c474c7b48" providerId="ADAL" clId="{6ECD27E6-B224-41CD-B4E0-E297462320DD}" dt="2023-11-24T08:48:02.105" v="72344"/>
          <ac:spMkLst>
            <pc:docMk/>
            <pc:sldMk cId="721183839" sldId="2147478576"/>
            <ac:spMk id="477" creationId="{6B304860-BFF7-EBF5-B590-2EDD61956D9C}"/>
          </ac:spMkLst>
        </pc:spChg>
        <pc:spChg chg="add del mod">
          <ac:chgData name="Steiner Andreas 6206 ED" userId="e6377c33-a923-4f14-8587-531c474c7b48" providerId="ADAL" clId="{6ECD27E6-B224-41CD-B4E0-E297462320DD}" dt="2023-11-24T08:48:04.132" v="72499"/>
          <ac:spMkLst>
            <pc:docMk/>
            <pc:sldMk cId="721183839" sldId="2147478576"/>
            <ac:spMk id="478" creationId="{48F78885-FAAF-23EE-9B47-1EFEFE2C6993}"/>
          </ac:spMkLst>
        </pc:spChg>
        <pc:spChg chg="add del mod">
          <ac:chgData name="Steiner Andreas 6206 ED" userId="e6377c33-a923-4f14-8587-531c474c7b48" providerId="ADAL" clId="{6ECD27E6-B224-41CD-B4E0-E297462320DD}" dt="2023-11-24T08:48:06.341" v="72654"/>
          <ac:spMkLst>
            <pc:docMk/>
            <pc:sldMk cId="721183839" sldId="2147478576"/>
            <ac:spMk id="479" creationId="{A977FAF3-A3D8-C412-9DEF-F0C5FB7363FA}"/>
          </ac:spMkLst>
        </pc:spChg>
        <pc:spChg chg="add del mod">
          <ac:chgData name="Steiner Andreas 6206 ED" userId="e6377c33-a923-4f14-8587-531c474c7b48" providerId="ADAL" clId="{6ECD27E6-B224-41CD-B4E0-E297462320DD}" dt="2023-11-24T08:48:08.497" v="72809"/>
          <ac:spMkLst>
            <pc:docMk/>
            <pc:sldMk cId="721183839" sldId="2147478576"/>
            <ac:spMk id="480" creationId="{051D87FA-860E-94EA-7D51-14E7B111976E}"/>
          </ac:spMkLst>
        </pc:spChg>
        <pc:spChg chg="add del mod">
          <ac:chgData name="Steiner Andreas 6206 ED" userId="e6377c33-a923-4f14-8587-531c474c7b48" providerId="ADAL" clId="{6ECD27E6-B224-41CD-B4E0-E297462320DD}" dt="2023-11-24T08:48:10.551" v="72964"/>
          <ac:spMkLst>
            <pc:docMk/>
            <pc:sldMk cId="721183839" sldId="2147478576"/>
            <ac:spMk id="481" creationId="{5DBAC080-A543-7756-F184-238A5DF4726C}"/>
          </ac:spMkLst>
        </pc:spChg>
        <pc:spChg chg="add del mod">
          <ac:chgData name="Steiner Andreas 6206 ED" userId="e6377c33-a923-4f14-8587-531c474c7b48" providerId="ADAL" clId="{6ECD27E6-B224-41CD-B4E0-E297462320DD}" dt="2023-11-24T08:48:12.519" v="73119"/>
          <ac:spMkLst>
            <pc:docMk/>
            <pc:sldMk cId="721183839" sldId="2147478576"/>
            <ac:spMk id="482" creationId="{A4918C58-14A7-9283-860D-C9BD6C390BF3}"/>
          </ac:spMkLst>
        </pc:spChg>
        <pc:spChg chg="add del mod">
          <ac:chgData name="Steiner Andreas 6206 ED" userId="e6377c33-a923-4f14-8587-531c474c7b48" providerId="ADAL" clId="{6ECD27E6-B224-41CD-B4E0-E297462320DD}" dt="2023-11-24T08:48:15.049" v="73274"/>
          <ac:spMkLst>
            <pc:docMk/>
            <pc:sldMk cId="721183839" sldId="2147478576"/>
            <ac:spMk id="483" creationId="{A45CDF1A-9DC3-ECC1-436D-C5B15C5A1659}"/>
          </ac:spMkLst>
        </pc:spChg>
        <pc:spChg chg="add del mod">
          <ac:chgData name="Steiner Andreas 6206 ED" userId="e6377c33-a923-4f14-8587-531c474c7b48" providerId="ADAL" clId="{6ECD27E6-B224-41CD-B4E0-E297462320DD}" dt="2023-11-24T08:48:17.840" v="73429"/>
          <ac:spMkLst>
            <pc:docMk/>
            <pc:sldMk cId="721183839" sldId="2147478576"/>
            <ac:spMk id="484" creationId="{E0CEA547-12E8-D654-A4FC-C2F3880E2E04}"/>
          </ac:spMkLst>
        </pc:spChg>
        <pc:spChg chg="add del mod">
          <ac:chgData name="Steiner Andreas 6206 ED" userId="e6377c33-a923-4f14-8587-531c474c7b48" providerId="ADAL" clId="{6ECD27E6-B224-41CD-B4E0-E297462320DD}" dt="2023-11-24T08:48:20.357" v="73584"/>
          <ac:spMkLst>
            <pc:docMk/>
            <pc:sldMk cId="721183839" sldId="2147478576"/>
            <ac:spMk id="485" creationId="{BB876299-151F-1838-10B2-A11063B53128}"/>
          </ac:spMkLst>
        </pc:spChg>
        <pc:spChg chg="add del mod">
          <ac:chgData name="Steiner Andreas 6206 ED" userId="e6377c33-a923-4f14-8587-531c474c7b48" providerId="ADAL" clId="{6ECD27E6-B224-41CD-B4E0-E297462320DD}" dt="2023-11-24T08:48:22.496" v="73739"/>
          <ac:spMkLst>
            <pc:docMk/>
            <pc:sldMk cId="721183839" sldId="2147478576"/>
            <ac:spMk id="486" creationId="{CABE8CD7-EF4D-4500-45C3-FC7BC4C19AB6}"/>
          </ac:spMkLst>
        </pc:spChg>
        <pc:spChg chg="add del mod">
          <ac:chgData name="Steiner Andreas 6206 ED" userId="e6377c33-a923-4f14-8587-531c474c7b48" providerId="ADAL" clId="{6ECD27E6-B224-41CD-B4E0-E297462320DD}" dt="2023-11-24T08:48:24.570" v="73894"/>
          <ac:spMkLst>
            <pc:docMk/>
            <pc:sldMk cId="721183839" sldId="2147478576"/>
            <ac:spMk id="487" creationId="{0DD37624-FDD7-89BD-15AE-A5C7975C1E98}"/>
          </ac:spMkLst>
        </pc:spChg>
        <pc:spChg chg="add del mod">
          <ac:chgData name="Steiner Andreas 6206 ED" userId="e6377c33-a923-4f14-8587-531c474c7b48" providerId="ADAL" clId="{6ECD27E6-B224-41CD-B4E0-E297462320DD}" dt="2023-11-24T08:48:26.677" v="74049"/>
          <ac:spMkLst>
            <pc:docMk/>
            <pc:sldMk cId="721183839" sldId="2147478576"/>
            <ac:spMk id="488" creationId="{C54FB098-8B54-8B99-1E64-5CFDCC0154BB}"/>
          </ac:spMkLst>
        </pc:spChg>
        <pc:spChg chg="add del mod">
          <ac:chgData name="Steiner Andreas 6206 ED" userId="e6377c33-a923-4f14-8587-531c474c7b48" providerId="ADAL" clId="{6ECD27E6-B224-41CD-B4E0-E297462320DD}" dt="2023-11-24T08:48:28.681" v="74204"/>
          <ac:spMkLst>
            <pc:docMk/>
            <pc:sldMk cId="721183839" sldId="2147478576"/>
            <ac:spMk id="489" creationId="{8FB935E1-F222-767B-4426-74236B57A4E9}"/>
          </ac:spMkLst>
        </pc:spChg>
        <pc:spChg chg="add del mod">
          <ac:chgData name="Steiner Andreas 6206 ED" userId="e6377c33-a923-4f14-8587-531c474c7b48" providerId="ADAL" clId="{6ECD27E6-B224-41CD-B4E0-E297462320DD}" dt="2023-11-24T08:48:30.557" v="74359"/>
          <ac:spMkLst>
            <pc:docMk/>
            <pc:sldMk cId="721183839" sldId="2147478576"/>
            <ac:spMk id="490" creationId="{F0788372-A631-AF63-CE71-B6B69425A70A}"/>
          </ac:spMkLst>
        </pc:spChg>
        <pc:spChg chg="add del mod">
          <ac:chgData name="Steiner Andreas 6206 ED" userId="e6377c33-a923-4f14-8587-531c474c7b48" providerId="ADAL" clId="{6ECD27E6-B224-41CD-B4E0-E297462320DD}" dt="2023-11-24T08:48:32.534" v="74514"/>
          <ac:spMkLst>
            <pc:docMk/>
            <pc:sldMk cId="721183839" sldId="2147478576"/>
            <ac:spMk id="491" creationId="{E24C19E2-8E11-AE52-A712-7B1AA5A8CE5D}"/>
          </ac:spMkLst>
        </pc:spChg>
        <pc:spChg chg="add del mod">
          <ac:chgData name="Steiner Andreas 6206 ED" userId="e6377c33-a923-4f14-8587-531c474c7b48" providerId="ADAL" clId="{6ECD27E6-B224-41CD-B4E0-E297462320DD}" dt="2023-11-24T08:48:34.814" v="74669"/>
          <ac:spMkLst>
            <pc:docMk/>
            <pc:sldMk cId="721183839" sldId="2147478576"/>
            <ac:spMk id="492" creationId="{A03946AD-87A4-DBC3-0C1A-6807E6C91B12}"/>
          </ac:spMkLst>
        </pc:spChg>
        <pc:spChg chg="add del mod">
          <ac:chgData name="Steiner Andreas 6206 ED" userId="e6377c33-a923-4f14-8587-531c474c7b48" providerId="ADAL" clId="{6ECD27E6-B224-41CD-B4E0-E297462320DD}" dt="2023-11-24T08:48:36.944" v="74824"/>
          <ac:spMkLst>
            <pc:docMk/>
            <pc:sldMk cId="721183839" sldId="2147478576"/>
            <ac:spMk id="493" creationId="{BED6648D-B0E6-04FE-2A6E-FA7297A9473D}"/>
          </ac:spMkLst>
        </pc:spChg>
        <pc:spChg chg="add del mod">
          <ac:chgData name="Steiner Andreas 6206 ED" userId="e6377c33-a923-4f14-8587-531c474c7b48" providerId="ADAL" clId="{6ECD27E6-B224-41CD-B4E0-E297462320DD}" dt="2023-11-24T08:48:39.008" v="74979"/>
          <ac:spMkLst>
            <pc:docMk/>
            <pc:sldMk cId="721183839" sldId="2147478576"/>
            <ac:spMk id="494" creationId="{F6950FC7-C571-9219-9384-E90B6807DD62}"/>
          </ac:spMkLst>
        </pc:spChg>
        <pc:spChg chg="add del mod">
          <ac:chgData name="Steiner Andreas 6206 ED" userId="e6377c33-a923-4f14-8587-531c474c7b48" providerId="ADAL" clId="{6ECD27E6-B224-41CD-B4E0-E297462320DD}" dt="2023-11-24T08:48:41.139" v="75134"/>
          <ac:spMkLst>
            <pc:docMk/>
            <pc:sldMk cId="721183839" sldId="2147478576"/>
            <ac:spMk id="495" creationId="{7CC919E1-2767-1759-EF9A-88C507E6C44C}"/>
          </ac:spMkLst>
        </pc:spChg>
        <pc:spChg chg="add del mod">
          <ac:chgData name="Steiner Andreas 6206 ED" userId="e6377c33-a923-4f14-8587-531c474c7b48" providerId="ADAL" clId="{6ECD27E6-B224-41CD-B4E0-E297462320DD}" dt="2023-11-24T08:48:43.575" v="75289"/>
          <ac:spMkLst>
            <pc:docMk/>
            <pc:sldMk cId="721183839" sldId="2147478576"/>
            <ac:spMk id="496" creationId="{49D17946-EA53-0870-7D1F-4143F93E9300}"/>
          </ac:spMkLst>
        </pc:spChg>
        <pc:spChg chg="add del mod">
          <ac:chgData name="Steiner Andreas 6206 ED" userId="e6377c33-a923-4f14-8587-531c474c7b48" providerId="ADAL" clId="{6ECD27E6-B224-41CD-B4E0-E297462320DD}" dt="2023-11-24T08:48:45.888" v="75444"/>
          <ac:spMkLst>
            <pc:docMk/>
            <pc:sldMk cId="721183839" sldId="2147478576"/>
            <ac:spMk id="497" creationId="{F44C6081-4755-96F2-AD2A-9DD37F04E955}"/>
          </ac:spMkLst>
        </pc:spChg>
        <pc:spChg chg="add del mod">
          <ac:chgData name="Steiner Andreas 6206 ED" userId="e6377c33-a923-4f14-8587-531c474c7b48" providerId="ADAL" clId="{6ECD27E6-B224-41CD-B4E0-E297462320DD}" dt="2023-11-24T08:48:47.923" v="75599"/>
          <ac:spMkLst>
            <pc:docMk/>
            <pc:sldMk cId="721183839" sldId="2147478576"/>
            <ac:spMk id="498" creationId="{CCF579D2-0419-ED0D-7D20-7D43E1E2FA89}"/>
          </ac:spMkLst>
        </pc:spChg>
        <pc:spChg chg="add del mod">
          <ac:chgData name="Steiner Andreas 6206 ED" userId="e6377c33-a923-4f14-8587-531c474c7b48" providerId="ADAL" clId="{6ECD27E6-B224-41CD-B4E0-E297462320DD}" dt="2023-11-24T08:48:49.882" v="75754"/>
          <ac:spMkLst>
            <pc:docMk/>
            <pc:sldMk cId="721183839" sldId="2147478576"/>
            <ac:spMk id="499" creationId="{4D10193D-DEC0-84A0-054B-DB438CC3A44A}"/>
          </ac:spMkLst>
        </pc:spChg>
        <pc:spChg chg="add del mod">
          <ac:chgData name="Steiner Andreas 6206 ED" userId="e6377c33-a923-4f14-8587-531c474c7b48" providerId="ADAL" clId="{6ECD27E6-B224-41CD-B4E0-E297462320DD}" dt="2023-11-24T08:48:52.118" v="75909"/>
          <ac:spMkLst>
            <pc:docMk/>
            <pc:sldMk cId="721183839" sldId="2147478576"/>
            <ac:spMk id="500" creationId="{9E8CADF7-4D88-77CA-E991-E7F5F094358B}"/>
          </ac:spMkLst>
        </pc:spChg>
        <pc:spChg chg="add del mod">
          <ac:chgData name="Steiner Andreas 6206 ED" userId="e6377c33-a923-4f14-8587-531c474c7b48" providerId="ADAL" clId="{6ECD27E6-B224-41CD-B4E0-E297462320DD}" dt="2023-11-24T08:48:54.019" v="76064"/>
          <ac:spMkLst>
            <pc:docMk/>
            <pc:sldMk cId="721183839" sldId="2147478576"/>
            <ac:spMk id="501" creationId="{4D4589CB-6927-2F75-89D2-E6EF802BAF62}"/>
          </ac:spMkLst>
        </pc:spChg>
        <pc:spChg chg="add del mod">
          <ac:chgData name="Steiner Andreas 6206 ED" userId="e6377c33-a923-4f14-8587-531c474c7b48" providerId="ADAL" clId="{6ECD27E6-B224-41CD-B4E0-E297462320DD}" dt="2023-11-24T08:48:56.023" v="76219"/>
          <ac:spMkLst>
            <pc:docMk/>
            <pc:sldMk cId="721183839" sldId="2147478576"/>
            <ac:spMk id="502" creationId="{FFB59D36-8BFF-506B-7210-BEF8CDBD3C17}"/>
          </ac:spMkLst>
        </pc:spChg>
        <pc:spChg chg="add del mod">
          <ac:chgData name="Steiner Andreas 6206 ED" userId="e6377c33-a923-4f14-8587-531c474c7b48" providerId="ADAL" clId="{6ECD27E6-B224-41CD-B4E0-E297462320DD}" dt="2023-11-24T08:48:57.963" v="76374"/>
          <ac:spMkLst>
            <pc:docMk/>
            <pc:sldMk cId="721183839" sldId="2147478576"/>
            <ac:spMk id="503" creationId="{932184C5-C2BE-0250-0613-13A7E80EFE38}"/>
          </ac:spMkLst>
        </pc:spChg>
        <pc:spChg chg="add del mod">
          <ac:chgData name="Steiner Andreas 6206 ED" userId="e6377c33-a923-4f14-8587-531c474c7b48" providerId="ADAL" clId="{6ECD27E6-B224-41CD-B4E0-E297462320DD}" dt="2023-11-24T08:49:00.016" v="76529"/>
          <ac:spMkLst>
            <pc:docMk/>
            <pc:sldMk cId="721183839" sldId="2147478576"/>
            <ac:spMk id="504" creationId="{E667A932-2ED3-98BA-F2AC-383E0A80768D}"/>
          </ac:spMkLst>
        </pc:spChg>
        <pc:spChg chg="add del mod">
          <ac:chgData name="Steiner Andreas 6206 ED" userId="e6377c33-a923-4f14-8587-531c474c7b48" providerId="ADAL" clId="{6ECD27E6-B224-41CD-B4E0-E297462320DD}" dt="2023-11-24T08:49:01.993" v="76684"/>
          <ac:spMkLst>
            <pc:docMk/>
            <pc:sldMk cId="721183839" sldId="2147478576"/>
            <ac:spMk id="505" creationId="{42E31370-D9A6-E8C4-5C47-BC89B41C6AEC}"/>
          </ac:spMkLst>
        </pc:spChg>
        <pc:spChg chg="add del mod">
          <ac:chgData name="Steiner Andreas 6206 ED" userId="e6377c33-a923-4f14-8587-531c474c7b48" providerId="ADAL" clId="{6ECD27E6-B224-41CD-B4E0-E297462320DD}" dt="2023-11-24T08:49:03.956" v="76839"/>
          <ac:spMkLst>
            <pc:docMk/>
            <pc:sldMk cId="721183839" sldId="2147478576"/>
            <ac:spMk id="506" creationId="{15F6068F-144F-4400-FCE2-F9813B947BC9}"/>
          </ac:spMkLst>
        </pc:spChg>
        <pc:spChg chg="add del mod">
          <ac:chgData name="Steiner Andreas 6206 ED" userId="e6377c33-a923-4f14-8587-531c474c7b48" providerId="ADAL" clId="{6ECD27E6-B224-41CD-B4E0-E297462320DD}" dt="2023-11-24T08:49:05.855" v="76994"/>
          <ac:spMkLst>
            <pc:docMk/>
            <pc:sldMk cId="721183839" sldId="2147478576"/>
            <ac:spMk id="507" creationId="{492BAB12-A640-6031-F3CD-7E465734593B}"/>
          </ac:spMkLst>
        </pc:spChg>
        <pc:spChg chg="add del mod">
          <ac:chgData name="Steiner Andreas 6206 ED" userId="e6377c33-a923-4f14-8587-531c474c7b48" providerId="ADAL" clId="{6ECD27E6-B224-41CD-B4E0-E297462320DD}" dt="2023-11-24T08:49:07.962" v="77149"/>
          <ac:spMkLst>
            <pc:docMk/>
            <pc:sldMk cId="721183839" sldId="2147478576"/>
            <ac:spMk id="508" creationId="{40A279F7-9D38-4E6F-26F3-9E076C11C2FC}"/>
          </ac:spMkLst>
        </pc:spChg>
        <pc:spChg chg="add del mod">
          <ac:chgData name="Steiner Andreas 6206 ED" userId="e6377c33-a923-4f14-8587-531c474c7b48" providerId="ADAL" clId="{6ECD27E6-B224-41CD-B4E0-E297462320DD}" dt="2023-11-24T08:49:09.845" v="77304"/>
          <ac:spMkLst>
            <pc:docMk/>
            <pc:sldMk cId="721183839" sldId="2147478576"/>
            <ac:spMk id="509" creationId="{B66278C1-1F36-86D6-AC25-92D48B042069}"/>
          </ac:spMkLst>
        </pc:spChg>
        <pc:spChg chg="add del mod">
          <ac:chgData name="Steiner Andreas 6206 ED" userId="e6377c33-a923-4f14-8587-531c474c7b48" providerId="ADAL" clId="{6ECD27E6-B224-41CD-B4E0-E297462320DD}" dt="2023-11-24T08:49:11.623" v="77459"/>
          <ac:spMkLst>
            <pc:docMk/>
            <pc:sldMk cId="721183839" sldId="2147478576"/>
            <ac:spMk id="510" creationId="{F8E8C1E2-26A0-36CC-355D-04662470391A}"/>
          </ac:spMkLst>
        </pc:spChg>
        <pc:spChg chg="add del mod">
          <ac:chgData name="Steiner Andreas 6206 ED" userId="e6377c33-a923-4f14-8587-531c474c7b48" providerId="ADAL" clId="{6ECD27E6-B224-41CD-B4E0-E297462320DD}" dt="2023-11-24T08:49:13.731" v="77614"/>
          <ac:spMkLst>
            <pc:docMk/>
            <pc:sldMk cId="721183839" sldId="2147478576"/>
            <ac:spMk id="511" creationId="{CBD4F875-FC1A-1C87-6E05-B2C5F60883D7}"/>
          </ac:spMkLst>
        </pc:spChg>
        <pc:spChg chg="add del mod">
          <ac:chgData name="Steiner Andreas 6206 ED" userId="e6377c33-a923-4f14-8587-531c474c7b48" providerId="ADAL" clId="{6ECD27E6-B224-41CD-B4E0-E297462320DD}" dt="2023-11-24T08:49:15.723" v="77769"/>
          <ac:spMkLst>
            <pc:docMk/>
            <pc:sldMk cId="721183839" sldId="2147478576"/>
            <ac:spMk id="512" creationId="{55C9A36F-48AE-AA14-59C7-C0066F3F6F5F}"/>
          </ac:spMkLst>
        </pc:spChg>
        <pc:spChg chg="add del mod">
          <ac:chgData name="Steiner Andreas 6206 ED" userId="e6377c33-a923-4f14-8587-531c474c7b48" providerId="ADAL" clId="{6ECD27E6-B224-41CD-B4E0-E297462320DD}" dt="2023-11-24T08:49:17.752" v="77924"/>
          <ac:spMkLst>
            <pc:docMk/>
            <pc:sldMk cId="721183839" sldId="2147478576"/>
            <ac:spMk id="513" creationId="{1A58DF21-8A7A-81A4-D3EA-8C4DAFDF2AAB}"/>
          </ac:spMkLst>
        </pc:spChg>
        <pc:spChg chg="add del mod">
          <ac:chgData name="Steiner Andreas 6206 ED" userId="e6377c33-a923-4f14-8587-531c474c7b48" providerId="ADAL" clId="{6ECD27E6-B224-41CD-B4E0-E297462320DD}" dt="2023-11-24T08:49:19.802" v="78079"/>
          <ac:spMkLst>
            <pc:docMk/>
            <pc:sldMk cId="721183839" sldId="2147478576"/>
            <ac:spMk id="514" creationId="{02828E68-30CC-A221-F48F-07B58C57E226}"/>
          </ac:spMkLst>
        </pc:spChg>
        <pc:spChg chg="add del mod">
          <ac:chgData name="Steiner Andreas 6206 ED" userId="e6377c33-a923-4f14-8587-531c474c7b48" providerId="ADAL" clId="{6ECD27E6-B224-41CD-B4E0-E297462320DD}" dt="2023-11-24T08:49:21.695" v="78234"/>
          <ac:spMkLst>
            <pc:docMk/>
            <pc:sldMk cId="721183839" sldId="2147478576"/>
            <ac:spMk id="515" creationId="{4D1085AC-CF43-5193-B98B-F5EBDA4D5160}"/>
          </ac:spMkLst>
        </pc:spChg>
        <pc:spChg chg="add del mod">
          <ac:chgData name="Steiner Andreas 6206 ED" userId="e6377c33-a923-4f14-8587-531c474c7b48" providerId="ADAL" clId="{6ECD27E6-B224-41CD-B4E0-E297462320DD}" dt="2023-11-24T08:49:23.606" v="78389"/>
          <ac:spMkLst>
            <pc:docMk/>
            <pc:sldMk cId="721183839" sldId="2147478576"/>
            <ac:spMk id="516" creationId="{01F6767F-701E-4192-F49D-E6E077C2C526}"/>
          </ac:spMkLst>
        </pc:spChg>
        <pc:spChg chg="add del mod">
          <ac:chgData name="Steiner Andreas 6206 ED" userId="e6377c33-a923-4f14-8587-531c474c7b48" providerId="ADAL" clId="{6ECD27E6-B224-41CD-B4E0-E297462320DD}" dt="2023-11-24T08:49:25.476" v="78544"/>
          <ac:spMkLst>
            <pc:docMk/>
            <pc:sldMk cId="721183839" sldId="2147478576"/>
            <ac:spMk id="517" creationId="{3585F58F-48AA-C316-4C11-2E38D2E77400}"/>
          </ac:spMkLst>
        </pc:spChg>
        <pc:spChg chg="add del mod">
          <ac:chgData name="Steiner Andreas 6206 ED" userId="e6377c33-a923-4f14-8587-531c474c7b48" providerId="ADAL" clId="{6ECD27E6-B224-41CD-B4E0-E297462320DD}" dt="2023-11-24T08:49:27.548" v="78699"/>
          <ac:spMkLst>
            <pc:docMk/>
            <pc:sldMk cId="721183839" sldId="2147478576"/>
            <ac:spMk id="518" creationId="{BEA886AC-52A0-A1BD-A784-8E1E8C5B0FE7}"/>
          </ac:spMkLst>
        </pc:spChg>
        <pc:spChg chg="add del mod">
          <ac:chgData name="Steiner Andreas 6206 ED" userId="e6377c33-a923-4f14-8587-531c474c7b48" providerId="ADAL" clId="{6ECD27E6-B224-41CD-B4E0-E297462320DD}" dt="2023-11-24T08:49:29.577" v="78854"/>
          <ac:spMkLst>
            <pc:docMk/>
            <pc:sldMk cId="721183839" sldId="2147478576"/>
            <ac:spMk id="519" creationId="{528E715C-3371-B149-B99F-CDDD0B9DF02C}"/>
          </ac:spMkLst>
        </pc:spChg>
        <pc:spChg chg="add del mod">
          <ac:chgData name="Steiner Andreas 6206 ED" userId="e6377c33-a923-4f14-8587-531c474c7b48" providerId="ADAL" clId="{6ECD27E6-B224-41CD-B4E0-E297462320DD}" dt="2023-11-24T08:49:31.505" v="79009"/>
          <ac:spMkLst>
            <pc:docMk/>
            <pc:sldMk cId="721183839" sldId="2147478576"/>
            <ac:spMk id="520" creationId="{2747AC25-C1D7-C78B-B36B-29F196FF8F25}"/>
          </ac:spMkLst>
        </pc:spChg>
        <pc:spChg chg="add del mod">
          <ac:chgData name="Steiner Andreas 6206 ED" userId="e6377c33-a923-4f14-8587-531c474c7b48" providerId="ADAL" clId="{6ECD27E6-B224-41CD-B4E0-E297462320DD}" dt="2023-11-24T08:49:33.409" v="79164"/>
          <ac:spMkLst>
            <pc:docMk/>
            <pc:sldMk cId="721183839" sldId="2147478576"/>
            <ac:spMk id="521" creationId="{EFDEA4B1-D003-5E47-F136-061101C4257D}"/>
          </ac:spMkLst>
        </pc:spChg>
        <pc:spChg chg="add del mod">
          <ac:chgData name="Steiner Andreas 6206 ED" userId="e6377c33-a923-4f14-8587-531c474c7b48" providerId="ADAL" clId="{6ECD27E6-B224-41CD-B4E0-E297462320DD}" dt="2023-11-24T08:49:35.312" v="79319"/>
          <ac:spMkLst>
            <pc:docMk/>
            <pc:sldMk cId="721183839" sldId="2147478576"/>
            <ac:spMk id="522" creationId="{9B6AF4EB-D736-9B30-E36C-B943E958032F}"/>
          </ac:spMkLst>
        </pc:spChg>
        <pc:spChg chg="add del mod">
          <ac:chgData name="Steiner Andreas 6206 ED" userId="e6377c33-a923-4f14-8587-531c474c7b48" providerId="ADAL" clId="{6ECD27E6-B224-41CD-B4E0-E297462320DD}" dt="2023-11-24T08:49:37.142" v="79474"/>
          <ac:spMkLst>
            <pc:docMk/>
            <pc:sldMk cId="721183839" sldId="2147478576"/>
            <ac:spMk id="523" creationId="{C06CABAE-325F-A621-7969-AFA7B97B0F3C}"/>
          </ac:spMkLst>
        </pc:spChg>
        <pc:spChg chg="add del mod">
          <ac:chgData name="Steiner Andreas 6206 ED" userId="e6377c33-a923-4f14-8587-531c474c7b48" providerId="ADAL" clId="{6ECD27E6-B224-41CD-B4E0-E297462320DD}" dt="2023-11-24T08:49:39.109" v="79629"/>
          <ac:spMkLst>
            <pc:docMk/>
            <pc:sldMk cId="721183839" sldId="2147478576"/>
            <ac:spMk id="524" creationId="{1667EEEF-41DE-D777-9732-7390B0DB15E7}"/>
          </ac:spMkLst>
        </pc:spChg>
        <pc:spChg chg="add del mod">
          <ac:chgData name="Steiner Andreas 6206 ED" userId="e6377c33-a923-4f14-8587-531c474c7b48" providerId="ADAL" clId="{6ECD27E6-B224-41CD-B4E0-E297462320DD}" dt="2023-11-24T08:49:41.202" v="79784"/>
          <ac:spMkLst>
            <pc:docMk/>
            <pc:sldMk cId="721183839" sldId="2147478576"/>
            <ac:spMk id="525" creationId="{ACBBE399-4309-A45F-706C-4EF0CED5B354}"/>
          </ac:spMkLst>
        </pc:spChg>
        <pc:spChg chg="add del mod">
          <ac:chgData name="Steiner Andreas 6206 ED" userId="e6377c33-a923-4f14-8587-531c474c7b48" providerId="ADAL" clId="{6ECD27E6-B224-41CD-B4E0-E297462320DD}" dt="2023-11-24T08:49:43.112" v="79939"/>
          <ac:spMkLst>
            <pc:docMk/>
            <pc:sldMk cId="721183839" sldId="2147478576"/>
            <ac:spMk id="526" creationId="{90F59A8C-F3B6-3DCF-13E1-D4AE7EB5CEF4}"/>
          </ac:spMkLst>
        </pc:spChg>
        <pc:spChg chg="add del mod">
          <ac:chgData name="Steiner Andreas 6206 ED" userId="e6377c33-a923-4f14-8587-531c474c7b48" providerId="ADAL" clId="{6ECD27E6-B224-41CD-B4E0-E297462320DD}" dt="2023-11-24T08:49:45.054" v="80094"/>
          <ac:spMkLst>
            <pc:docMk/>
            <pc:sldMk cId="721183839" sldId="2147478576"/>
            <ac:spMk id="527" creationId="{08183D27-7D4A-EF15-7ABB-AF8078BA032F}"/>
          </ac:spMkLst>
        </pc:spChg>
        <pc:spChg chg="add del mod">
          <ac:chgData name="Steiner Andreas 6206 ED" userId="e6377c33-a923-4f14-8587-531c474c7b48" providerId="ADAL" clId="{6ECD27E6-B224-41CD-B4E0-E297462320DD}" dt="2023-11-24T08:49:47.016" v="80249"/>
          <ac:spMkLst>
            <pc:docMk/>
            <pc:sldMk cId="721183839" sldId="2147478576"/>
            <ac:spMk id="528" creationId="{84209D25-3B86-AA65-B99D-874C6B615253}"/>
          </ac:spMkLst>
        </pc:spChg>
        <pc:spChg chg="add del mod">
          <ac:chgData name="Steiner Andreas 6206 ED" userId="e6377c33-a923-4f14-8587-531c474c7b48" providerId="ADAL" clId="{6ECD27E6-B224-41CD-B4E0-E297462320DD}" dt="2023-11-24T08:49:48.889" v="80404"/>
          <ac:spMkLst>
            <pc:docMk/>
            <pc:sldMk cId="721183839" sldId="2147478576"/>
            <ac:spMk id="529" creationId="{FE6E04A1-F8F9-376F-B053-BFCA3B7A5B23}"/>
          </ac:spMkLst>
        </pc:spChg>
        <pc:spChg chg="add del mod">
          <ac:chgData name="Steiner Andreas 6206 ED" userId="e6377c33-a923-4f14-8587-531c474c7b48" providerId="ADAL" clId="{6ECD27E6-B224-41CD-B4E0-E297462320DD}" dt="2023-11-24T08:49:50.790" v="80559"/>
          <ac:spMkLst>
            <pc:docMk/>
            <pc:sldMk cId="721183839" sldId="2147478576"/>
            <ac:spMk id="530" creationId="{C8388FD3-0BCC-B9BD-DF4A-9FE46EA13268}"/>
          </ac:spMkLst>
        </pc:spChg>
        <pc:spChg chg="add del mod">
          <ac:chgData name="Steiner Andreas 6206 ED" userId="e6377c33-a923-4f14-8587-531c474c7b48" providerId="ADAL" clId="{6ECD27E6-B224-41CD-B4E0-E297462320DD}" dt="2023-11-24T08:49:52.717" v="80714"/>
          <ac:spMkLst>
            <pc:docMk/>
            <pc:sldMk cId="721183839" sldId="2147478576"/>
            <ac:spMk id="531" creationId="{B61C1E4A-6F97-F1AB-E6B9-BFACF902D122}"/>
          </ac:spMkLst>
        </pc:spChg>
        <pc:spChg chg="add del mod">
          <ac:chgData name="Steiner Andreas 6206 ED" userId="e6377c33-a923-4f14-8587-531c474c7b48" providerId="ADAL" clId="{6ECD27E6-B224-41CD-B4E0-E297462320DD}" dt="2023-11-24T08:49:54.646" v="80869"/>
          <ac:spMkLst>
            <pc:docMk/>
            <pc:sldMk cId="721183839" sldId="2147478576"/>
            <ac:spMk id="532" creationId="{7202A150-C021-3A25-E0F2-388951F4819D}"/>
          </ac:spMkLst>
        </pc:spChg>
        <pc:spChg chg="add del mod">
          <ac:chgData name="Steiner Andreas 6206 ED" userId="e6377c33-a923-4f14-8587-531c474c7b48" providerId="ADAL" clId="{6ECD27E6-B224-41CD-B4E0-E297462320DD}" dt="2023-11-24T08:49:56.521" v="81024"/>
          <ac:spMkLst>
            <pc:docMk/>
            <pc:sldMk cId="721183839" sldId="2147478576"/>
            <ac:spMk id="533" creationId="{04220078-AECE-53AC-6E96-06B488FEAC63}"/>
          </ac:spMkLst>
        </pc:spChg>
        <pc:spChg chg="add del mod">
          <ac:chgData name="Steiner Andreas 6206 ED" userId="e6377c33-a923-4f14-8587-531c474c7b48" providerId="ADAL" clId="{6ECD27E6-B224-41CD-B4E0-E297462320DD}" dt="2023-11-24T08:49:58.414" v="81179"/>
          <ac:spMkLst>
            <pc:docMk/>
            <pc:sldMk cId="721183839" sldId="2147478576"/>
            <ac:spMk id="534" creationId="{8C0C0AE1-5627-F287-3BFB-69577638221F}"/>
          </ac:spMkLst>
        </pc:spChg>
        <pc:spChg chg="add del mod">
          <ac:chgData name="Steiner Andreas 6206 ED" userId="e6377c33-a923-4f14-8587-531c474c7b48" providerId="ADAL" clId="{6ECD27E6-B224-41CD-B4E0-E297462320DD}" dt="2023-11-24T08:50:00.339" v="81334"/>
          <ac:spMkLst>
            <pc:docMk/>
            <pc:sldMk cId="721183839" sldId="2147478576"/>
            <ac:spMk id="535" creationId="{115CE78C-C1E8-49E7-EDED-DCB55209B579}"/>
          </ac:spMkLst>
        </pc:spChg>
        <pc:spChg chg="add del mod">
          <ac:chgData name="Steiner Andreas 6206 ED" userId="e6377c33-a923-4f14-8587-531c474c7b48" providerId="ADAL" clId="{6ECD27E6-B224-41CD-B4E0-E297462320DD}" dt="2023-11-24T08:50:02.414" v="81489"/>
          <ac:spMkLst>
            <pc:docMk/>
            <pc:sldMk cId="721183839" sldId="2147478576"/>
            <ac:spMk id="536" creationId="{32F5BD3C-9239-0DEE-61C2-0A2BB7A23810}"/>
          </ac:spMkLst>
        </pc:spChg>
        <pc:spChg chg="add del mod">
          <ac:chgData name="Steiner Andreas 6206 ED" userId="e6377c33-a923-4f14-8587-531c474c7b48" providerId="ADAL" clId="{6ECD27E6-B224-41CD-B4E0-E297462320DD}" dt="2023-11-24T08:50:04.482" v="81644"/>
          <ac:spMkLst>
            <pc:docMk/>
            <pc:sldMk cId="721183839" sldId="2147478576"/>
            <ac:spMk id="537" creationId="{98D6226B-E159-E737-7BDE-231FFAAAD589}"/>
          </ac:spMkLst>
        </pc:spChg>
        <pc:spChg chg="add del mod">
          <ac:chgData name="Steiner Andreas 6206 ED" userId="e6377c33-a923-4f14-8587-531c474c7b48" providerId="ADAL" clId="{6ECD27E6-B224-41CD-B4E0-E297462320DD}" dt="2023-11-24T08:50:06.420" v="81799"/>
          <ac:spMkLst>
            <pc:docMk/>
            <pc:sldMk cId="721183839" sldId="2147478576"/>
            <ac:spMk id="538" creationId="{EDE9CBAF-675D-9476-3BBD-5A325DE17734}"/>
          </ac:spMkLst>
        </pc:spChg>
        <pc:spChg chg="add del mod">
          <ac:chgData name="Steiner Andreas 6206 ED" userId="e6377c33-a923-4f14-8587-531c474c7b48" providerId="ADAL" clId="{6ECD27E6-B224-41CD-B4E0-E297462320DD}" dt="2023-11-24T08:50:08.306" v="81954"/>
          <ac:spMkLst>
            <pc:docMk/>
            <pc:sldMk cId="721183839" sldId="2147478576"/>
            <ac:spMk id="539" creationId="{D206BD50-1775-0DCD-654A-0C18540F3EE2}"/>
          </ac:spMkLst>
        </pc:spChg>
        <pc:spChg chg="add del mod">
          <ac:chgData name="Steiner Andreas 6206 ED" userId="e6377c33-a923-4f14-8587-531c474c7b48" providerId="ADAL" clId="{6ECD27E6-B224-41CD-B4E0-E297462320DD}" dt="2023-11-24T08:50:10.201" v="82109"/>
          <ac:spMkLst>
            <pc:docMk/>
            <pc:sldMk cId="721183839" sldId="2147478576"/>
            <ac:spMk id="540" creationId="{B5D71B4C-060C-BA50-322C-9D6FBC3922BA}"/>
          </ac:spMkLst>
        </pc:spChg>
        <pc:spChg chg="add del mod">
          <ac:chgData name="Steiner Andreas 6206 ED" userId="e6377c33-a923-4f14-8587-531c474c7b48" providerId="ADAL" clId="{6ECD27E6-B224-41CD-B4E0-E297462320DD}" dt="2023-11-24T08:50:12.117" v="82264"/>
          <ac:spMkLst>
            <pc:docMk/>
            <pc:sldMk cId="721183839" sldId="2147478576"/>
            <ac:spMk id="541" creationId="{61C3D97B-4CDB-C6A8-8832-2A339B1273C3}"/>
          </ac:spMkLst>
        </pc:spChg>
        <pc:spChg chg="add del mod">
          <ac:chgData name="Steiner Andreas 6206 ED" userId="e6377c33-a923-4f14-8587-531c474c7b48" providerId="ADAL" clId="{6ECD27E6-B224-41CD-B4E0-E297462320DD}" dt="2023-11-24T08:50:14.182" v="82419"/>
          <ac:spMkLst>
            <pc:docMk/>
            <pc:sldMk cId="721183839" sldId="2147478576"/>
            <ac:spMk id="542" creationId="{547DE7B5-5660-369D-20F4-DB02356B2652}"/>
          </ac:spMkLst>
        </pc:spChg>
        <pc:spChg chg="add del mod">
          <ac:chgData name="Steiner Andreas 6206 ED" userId="e6377c33-a923-4f14-8587-531c474c7b48" providerId="ADAL" clId="{6ECD27E6-B224-41CD-B4E0-E297462320DD}" dt="2023-11-24T08:50:16.130" v="82574"/>
          <ac:spMkLst>
            <pc:docMk/>
            <pc:sldMk cId="721183839" sldId="2147478576"/>
            <ac:spMk id="543" creationId="{8E931E9F-A4E4-5868-6F75-31C000CA7A74}"/>
          </ac:spMkLst>
        </pc:spChg>
        <pc:spChg chg="add del mod">
          <ac:chgData name="Steiner Andreas 6206 ED" userId="e6377c33-a923-4f14-8587-531c474c7b48" providerId="ADAL" clId="{6ECD27E6-B224-41CD-B4E0-E297462320DD}" dt="2023-11-24T08:50:18.118" v="82729"/>
          <ac:spMkLst>
            <pc:docMk/>
            <pc:sldMk cId="721183839" sldId="2147478576"/>
            <ac:spMk id="544" creationId="{7A0ADBC8-17A6-C723-4EBD-3F59E2DD28DF}"/>
          </ac:spMkLst>
        </pc:spChg>
        <pc:spChg chg="add del mod">
          <ac:chgData name="Steiner Andreas 6206 ED" userId="e6377c33-a923-4f14-8587-531c474c7b48" providerId="ADAL" clId="{6ECD27E6-B224-41CD-B4E0-E297462320DD}" dt="2023-11-24T08:50:20.321" v="82884"/>
          <ac:spMkLst>
            <pc:docMk/>
            <pc:sldMk cId="721183839" sldId="2147478576"/>
            <ac:spMk id="545" creationId="{B0ED8A7E-38A7-AF2A-C6AD-1226F55EB8BC}"/>
          </ac:spMkLst>
        </pc:spChg>
        <pc:spChg chg="add del mod">
          <ac:chgData name="Steiner Andreas 6206 ED" userId="e6377c33-a923-4f14-8587-531c474c7b48" providerId="ADAL" clId="{6ECD27E6-B224-41CD-B4E0-E297462320DD}" dt="2023-11-24T08:50:22.254" v="83039"/>
          <ac:spMkLst>
            <pc:docMk/>
            <pc:sldMk cId="721183839" sldId="2147478576"/>
            <ac:spMk id="546" creationId="{D454A789-9C51-2B77-37A5-0A0657FD9DD5}"/>
          </ac:spMkLst>
        </pc:spChg>
        <pc:spChg chg="add del mod">
          <ac:chgData name="Steiner Andreas 6206 ED" userId="e6377c33-a923-4f14-8587-531c474c7b48" providerId="ADAL" clId="{6ECD27E6-B224-41CD-B4E0-E297462320DD}" dt="2023-11-24T08:50:24.345" v="83194"/>
          <ac:spMkLst>
            <pc:docMk/>
            <pc:sldMk cId="721183839" sldId="2147478576"/>
            <ac:spMk id="547" creationId="{5AC5792A-BEBC-804D-0C9D-361F384A3C49}"/>
          </ac:spMkLst>
        </pc:spChg>
        <pc:spChg chg="add del mod">
          <ac:chgData name="Steiner Andreas 6206 ED" userId="e6377c33-a923-4f14-8587-531c474c7b48" providerId="ADAL" clId="{6ECD27E6-B224-41CD-B4E0-E297462320DD}" dt="2023-11-24T08:50:26.349" v="83349"/>
          <ac:spMkLst>
            <pc:docMk/>
            <pc:sldMk cId="721183839" sldId="2147478576"/>
            <ac:spMk id="548" creationId="{A1D06E67-98FD-168E-ADA8-4EEDD644384F}"/>
          </ac:spMkLst>
        </pc:spChg>
        <pc:spChg chg="add del mod">
          <ac:chgData name="Steiner Andreas 6206 ED" userId="e6377c33-a923-4f14-8587-531c474c7b48" providerId="ADAL" clId="{6ECD27E6-B224-41CD-B4E0-E297462320DD}" dt="2023-11-24T08:50:28.282" v="83504"/>
          <ac:spMkLst>
            <pc:docMk/>
            <pc:sldMk cId="721183839" sldId="2147478576"/>
            <ac:spMk id="549" creationId="{F1AF6A0D-12FE-7314-0D8E-0F64FAD4FDEE}"/>
          </ac:spMkLst>
        </pc:spChg>
        <pc:spChg chg="add del mod">
          <ac:chgData name="Steiner Andreas 6206 ED" userId="e6377c33-a923-4f14-8587-531c474c7b48" providerId="ADAL" clId="{6ECD27E6-B224-41CD-B4E0-E297462320DD}" dt="2023-11-24T08:50:30.194" v="83659"/>
          <ac:spMkLst>
            <pc:docMk/>
            <pc:sldMk cId="721183839" sldId="2147478576"/>
            <ac:spMk id="550" creationId="{CB5FACC6-91B9-81A2-2CD9-260FED320E93}"/>
          </ac:spMkLst>
        </pc:spChg>
        <pc:spChg chg="add del mod">
          <ac:chgData name="Steiner Andreas 6206 ED" userId="e6377c33-a923-4f14-8587-531c474c7b48" providerId="ADAL" clId="{6ECD27E6-B224-41CD-B4E0-E297462320DD}" dt="2023-11-24T08:50:32.244" v="83814"/>
          <ac:spMkLst>
            <pc:docMk/>
            <pc:sldMk cId="721183839" sldId="2147478576"/>
            <ac:spMk id="551" creationId="{7DC97203-7D13-2CC7-B025-CEB0875ADC36}"/>
          </ac:spMkLst>
        </pc:spChg>
        <pc:spChg chg="add del mod">
          <ac:chgData name="Steiner Andreas 6206 ED" userId="e6377c33-a923-4f14-8587-531c474c7b48" providerId="ADAL" clId="{6ECD27E6-B224-41CD-B4E0-E297462320DD}" dt="2023-11-24T08:50:34.272" v="83969"/>
          <ac:spMkLst>
            <pc:docMk/>
            <pc:sldMk cId="721183839" sldId="2147478576"/>
            <ac:spMk id="552" creationId="{DAB5CB85-346F-6FC6-5829-8578F83C6D3C}"/>
          </ac:spMkLst>
        </pc:spChg>
        <pc:spChg chg="add del mod">
          <ac:chgData name="Steiner Andreas 6206 ED" userId="e6377c33-a923-4f14-8587-531c474c7b48" providerId="ADAL" clId="{6ECD27E6-B224-41CD-B4E0-E297462320DD}" dt="2023-11-24T08:50:36.512" v="84124"/>
          <ac:spMkLst>
            <pc:docMk/>
            <pc:sldMk cId="721183839" sldId="2147478576"/>
            <ac:spMk id="553" creationId="{B3996704-010B-2501-C487-815A53CA9D17}"/>
          </ac:spMkLst>
        </pc:spChg>
        <pc:spChg chg="add del mod">
          <ac:chgData name="Steiner Andreas 6206 ED" userId="e6377c33-a923-4f14-8587-531c474c7b48" providerId="ADAL" clId="{6ECD27E6-B224-41CD-B4E0-E297462320DD}" dt="2023-11-24T08:50:38.473" v="84279"/>
          <ac:spMkLst>
            <pc:docMk/>
            <pc:sldMk cId="721183839" sldId="2147478576"/>
            <ac:spMk id="554" creationId="{92CBC345-6AF7-6270-6824-43C74F8C7B84}"/>
          </ac:spMkLst>
        </pc:spChg>
        <pc:spChg chg="add del mod">
          <ac:chgData name="Steiner Andreas 6206 ED" userId="e6377c33-a923-4f14-8587-531c474c7b48" providerId="ADAL" clId="{6ECD27E6-B224-41CD-B4E0-E297462320DD}" dt="2023-11-24T08:50:40.457" v="84434"/>
          <ac:spMkLst>
            <pc:docMk/>
            <pc:sldMk cId="721183839" sldId="2147478576"/>
            <ac:spMk id="555" creationId="{C3010412-2EA8-E86A-9A27-471EE16A7332}"/>
          </ac:spMkLst>
        </pc:spChg>
        <pc:spChg chg="add del mod">
          <ac:chgData name="Steiner Andreas 6206 ED" userId="e6377c33-a923-4f14-8587-531c474c7b48" providerId="ADAL" clId="{6ECD27E6-B224-41CD-B4E0-E297462320DD}" dt="2023-11-24T08:50:42.454" v="84589"/>
          <ac:spMkLst>
            <pc:docMk/>
            <pc:sldMk cId="721183839" sldId="2147478576"/>
            <ac:spMk id="556" creationId="{199AD332-B2E8-94F7-3D94-C397FC59AF27}"/>
          </ac:spMkLst>
        </pc:spChg>
        <pc:spChg chg="add del mod">
          <ac:chgData name="Steiner Andreas 6206 ED" userId="e6377c33-a923-4f14-8587-531c474c7b48" providerId="ADAL" clId="{6ECD27E6-B224-41CD-B4E0-E297462320DD}" dt="2023-11-24T08:50:44.622" v="84744"/>
          <ac:spMkLst>
            <pc:docMk/>
            <pc:sldMk cId="721183839" sldId="2147478576"/>
            <ac:spMk id="557" creationId="{F3C12026-770C-D834-04BB-04D9DE0BA9BB}"/>
          </ac:spMkLst>
        </pc:spChg>
        <pc:spChg chg="add del mod">
          <ac:chgData name="Steiner Andreas 6206 ED" userId="e6377c33-a923-4f14-8587-531c474c7b48" providerId="ADAL" clId="{6ECD27E6-B224-41CD-B4E0-E297462320DD}" dt="2023-11-24T08:50:46.724" v="84899"/>
          <ac:spMkLst>
            <pc:docMk/>
            <pc:sldMk cId="721183839" sldId="2147478576"/>
            <ac:spMk id="558" creationId="{C143C791-8909-257F-B9EE-CE3D905E1E89}"/>
          </ac:spMkLst>
        </pc:spChg>
        <pc:spChg chg="add del mod">
          <ac:chgData name="Steiner Andreas 6206 ED" userId="e6377c33-a923-4f14-8587-531c474c7b48" providerId="ADAL" clId="{6ECD27E6-B224-41CD-B4E0-E297462320DD}" dt="2023-11-24T08:50:48.852" v="85054"/>
          <ac:spMkLst>
            <pc:docMk/>
            <pc:sldMk cId="721183839" sldId="2147478576"/>
            <ac:spMk id="559" creationId="{426AA5B8-896E-C845-1907-92801027F34E}"/>
          </ac:spMkLst>
        </pc:spChg>
        <pc:spChg chg="add del mod">
          <ac:chgData name="Steiner Andreas 6206 ED" userId="e6377c33-a923-4f14-8587-531c474c7b48" providerId="ADAL" clId="{6ECD27E6-B224-41CD-B4E0-E297462320DD}" dt="2023-11-24T08:50:50.950" v="85209"/>
          <ac:spMkLst>
            <pc:docMk/>
            <pc:sldMk cId="721183839" sldId="2147478576"/>
            <ac:spMk id="560" creationId="{9F48F0C7-8651-2AE9-877B-1E06958AA6D1}"/>
          </ac:spMkLst>
        </pc:spChg>
        <pc:spChg chg="add del mod">
          <ac:chgData name="Steiner Andreas 6206 ED" userId="e6377c33-a923-4f14-8587-531c474c7b48" providerId="ADAL" clId="{6ECD27E6-B224-41CD-B4E0-E297462320DD}" dt="2023-11-24T08:50:53.070" v="85364"/>
          <ac:spMkLst>
            <pc:docMk/>
            <pc:sldMk cId="721183839" sldId="2147478576"/>
            <ac:spMk id="561" creationId="{9D39C483-3E41-FA01-94E7-5DAEA9679362}"/>
          </ac:spMkLst>
        </pc:spChg>
        <pc:spChg chg="add del mod">
          <ac:chgData name="Steiner Andreas 6206 ED" userId="e6377c33-a923-4f14-8587-531c474c7b48" providerId="ADAL" clId="{6ECD27E6-B224-41CD-B4E0-E297462320DD}" dt="2023-11-24T08:50:54.982" v="85519"/>
          <ac:spMkLst>
            <pc:docMk/>
            <pc:sldMk cId="721183839" sldId="2147478576"/>
            <ac:spMk id="562" creationId="{004C9883-4C5E-215E-9212-BD6B08D61097}"/>
          </ac:spMkLst>
        </pc:spChg>
        <pc:spChg chg="add del mod">
          <ac:chgData name="Steiner Andreas 6206 ED" userId="e6377c33-a923-4f14-8587-531c474c7b48" providerId="ADAL" clId="{6ECD27E6-B224-41CD-B4E0-E297462320DD}" dt="2023-11-24T08:50:56.886" v="85674"/>
          <ac:spMkLst>
            <pc:docMk/>
            <pc:sldMk cId="721183839" sldId="2147478576"/>
            <ac:spMk id="563" creationId="{48BF59B6-C999-BFB2-D468-48791B60C867}"/>
          </ac:spMkLst>
        </pc:spChg>
        <pc:spChg chg="add del mod">
          <ac:chgData name="Steiner Andreas 6206 ED" userId="e6377c33-a923-4f14-8587-531c474c7b48" providerId="ADAL" clId="{6ECD27E6-B224-41CD-B4E0-E297462320DD}" dt="2023-11-24T08:50:59.082" v="85829"/>
          <ac:spMkLst>
            <pc:docMk/>
            <pc:sldMk cId="721183839" sldId="2147478576"/>
            <ac:spMk id="564" creationId="{6A2F8D37-2BE6-83BE-BC1F-3D1A99674CCD}"/>
          </ac:spMkLst>
        </pc:spChg>
        <pc:spChg chg="add del mod">
          <ac:chgData name="Steiner Andreas 6206 ED" userId="e6377c33-a923-4f14-8587-531c474c7b48" providerId="ADAL" clId="{6ECD27E6-B224-41CD-B4E0-E297462320DD}" dt="2023-11-24T08:51:01.027" v="85984"/>
          <ac:spMkLst>
            <pc:docMk/>
            <pc:sldMk cId="721183839" sldId="2147478576"/>
            <ac:spMk id="565" creationId="{2626FD38-A2B2-03FA-ACBE-4061F1EB43FB}"/>
          </ac:spMkLst>
        </pc:spChg>
        <pc:spChg chg="add del mod">
          <ac:chgData name="Steiner Andreas 6206 ED" userId="e6377c33-a923-4f14-8587-531c474c7b48" providerId="ADAL" clId="{6ECD27E6-B224-41CD-B4E0-E297462320DD}" dt="2023-11-24T08:51:03.010" v="86139"/>
          <ac:spMkLst>
            <pc:docMk/>
            <pc:sldMk cId="721183839" sldId="2147478576"/>
            <ac:spMk id="566" creationId="{ACD51755-8CCD-7D78-0ABC-2E797802C7DC}"/>
          </ac:spMkLst>
        </pc:spChg>
        <pc:spChg chg="add del mod">
          <ac:chgData name="Steiner Andreas 6206 ED" userId="e6377c33-a923-4f14-8587-531c474c7b48" providerId="ADAL" clId="{6ECD27E6-B224-41CD-B4E0-E297462320DD}" dt="2023-11-24T08:51:04.881" v="86294"/>
          <ac:spMkLst>
            <pc:docMk/>
            <pc:sldMk cId="721183839" sldId="2147478576"/>
            <ac:spMk id="567" creationId="{0F2C7891-7512-D949-33FF-75A8DFD40652}"/>
          </ac:spMkLst>
        </pc:spChg>
        <pc:spChg chg="add del mod">
          <ac:chgData name="Steiner Andreas 6206 ED" userId="e6377c33-a923-4f14-8587-531c474c7b48" providerId="ADAL" clId="{6ECD27E6-B224-41CD-B4E0-E297462320DD}" dt="2023-11-24T08:51:06.775" v="86449"/>
          <ac:spMkLst>
            <pc:docMk/>
            <pc:sldMk cId="721183839" sldId="2147478576"/>
            <ac:spMk id="568" creationId="{928FC3D7-89A7-E7AD-0A04-A3DB9A359634}"/>
          </ac:spMkLst>
        </pc:spChg>
        <pc:spChg chg="add del mod">
          <ac:chgData name="Steiner Andreas 6206 ED" userId="e6377c33-a923-4f14-8587-531c474c7b48" providerId="ADAL" clId="{6ECD27E6-B224-41CD-B4E0-E297462320DD}" dt="2023-11-24T08:51:08.764" v="86604"/>
          <ac:spMkLst>
            <pc:docMk/>
            <pc:sldMk cId="721183839" sldId="2147478576"/>
            <ac:spMk id="569" creationId="{DBFC5492-04BF-1EF2-CC21-8871ECE41D19}"/>
          </ac:spMkLst>
        </pc:spChg>
        <pc:spChg chg="add del mod">
          <ac:chgData name="Steiner Andreas 6206 ED" userId="e6377c33-a923-4f14-8587-531c474c7b48" providerId="ADAL" clId="{6ECD27E6-B224-41CD-B4E0-E297462320DD}" dt="2023-11-24T08:51:10.796" v="86759"/>
          <ac:spMkLst>
            <pc:docMk/>
            <pc:sldMk cId="721183839" sldId="2147478576"/>
            <ac:spMk id="570" creationId="{668C3A18-7324-1DBA-1629-E36A149344F6}"/>
          </ac:spMkLst>
        </pc:spChg>
        <pc:spChg chg="add del mod">
          <ac:chgData name="Steiner Andreas 6206 ED" userId="e6377c33-a923-4f14-8587-531c474c7b48" providerId="ADAL" clId="{6ECD27E6-B224-41CD-B4E0-E297462320DD}" dt="2023-11-24T08:51:12.692" v="86914"/>
          <ac:spMkLst>
            <pc:docMk/>
            <pc:sldMk cId="721183839" sldId="2147478576"/>
            <ac:spMk id="571" creationId="{41B272FB-AD59-4051-E2A7-358F683883A7}"/>
          </ac:spMkLst>
        </pc:spChg>
        <pc:spChg chg="add del mod">
          <ac:chgData name="Steiner Andreas 6206 ED" userId="e6377c33-a923-4f14-8587-531c474c7b48" providerId="ADAL" clId="{6ECD27E6-B224-41CD-B4E0-E297462320DD}" dt="2023-11-24T08:51:14.880" v="87069"/>
          <ac:spMkLst>
            <pc:docMk/>
            <pc:sldMk cId="721183839" sldId="2147478576"/>
            <ac:spMk id="572" creationId="{2143B10D-B297-95AD-3720-AC8A773C718D}"/>
          </ac:spMkLst>
        </pc:spChg>
        <pc:spChg chg="add del mod">
          <ac:chgData name="Steiner Andreas 6206 ED" userId="e6377c33-a923-4f14-8587-531c474c7b48" providerId="ADAL" clId="{6ECD27E6-B224-41CD-B4E0-E297462320DD}" dt="2023-11-24T08:51:16.967" v="87224"/>
          <ac:spMkLst>
            <pc:docMk/>
            <pc:sldMk cId="721183839" sldId="2147478576"/>
            <ac:spMk id="573" creationId="{DF4938A6-0685-2FF2-4005-4BF471813686}"/>
          </ac:spMkLst>
        </pc:spChg>
        <pc:spChg chg="add del mod">
          <ac:chgData name="Steiner Andreas 6206 ED" userId="e6377c33-a923-4f14-8587-531c474c7b48" providerId="ADAL" clId="{6ECD27E6-B224-41CD-B4E0-E297462320DD}" dt="2023-11-24T08:51:18.884" v="87379"/>
          <ac:spMkLst>
            <pc:docMk/>
            <pc:sldMk cId="721183839" sldId="2147478576"/>
            <ac:spMk id="574" creationId="{16DD9D80-D2B9-65E5-1F7F-A3E5277F666D}"/>
          </ac:spMkLst>
        </pc:spChg>
        <pc:spChg chg="add del mod">
          <ac:chgData name="Steiner Andreas 6206 ED" userId="e6377c33-a923-4f14-8587-531c474c7b48" providerId="ADAL" clId="{6ECD27E6-B224-41CD-B4E0-E297462320DD}" dt="2023-11-24T08:51:20.945" v="87534"/>
          <ac:spMkLst>
            <pc:docMk/>
            <pc:sldMk cId="721183839" sldId="2147478576"/>
            <ac:spMk id="575" creationId="{3C296217-170B-3D03-704C-F011EECACACD}"/>
          </ac:spMkLst>
        </pc:spChg>
        <pc:spChg chg="add del mod">
          <ac:chgData name="Steiner Andreas 6206 ED" userId="e6377c33-a923-4f14-8587-531c474c7b48" providerId="ADAL" clId="{6ECD27E6-B224-41CD-B4E0-E297462320DD}" dt="2023-11-24T08:51:22.895" v="87689"/>
          <ac:spMkLst>
            <pc:docMk/>
            <pc:sldMk cId="721183839" sldId="2147478576"/>
            <ac:spMk id="576" creationId="{75344CE0-9249-D911-7823-D594118A5115}"/>
          </ac:spMkLst>
        </pc:spChg>
        <pc:spChg chg="add del mod">
          <ac:chgData name="Steiner Andreas 6206 ED" userId="e6377c33-a923-4f14-8587-531c474c7b48" providerId="ADAL" clId="{6ECD27E6-B224-41CD-B4E0-E297462320DD}" dt="2023-11-24T08:51:24.804" v="87844"/>
          <ac:spMkLst>
            <pc:docMk/>
            <pc:sldMk cId="721183839" sldId="2147478576"/>
            <ac:spMk id="577" creationId="{471573A6-D4D9-4542-290C-224A881C6146}"/>
          </ac:spMkLst>
        </pc:spChg>
        <pc:spChg chg="add del mod">
          <ac:chgData name="Steiner Andreas 6206 ED" userId="e6377c33-a923-4f14-8587-531c474c7b48" providerId="ADAL" clId="{6ECD27E6-B224-41CD-B4E0-E297462320DD}" dt="2023-11-24T08:51:26.677" v="87999"/>
          <ac:spMkLst>
            <pc:docMk/>
            <pc:sldMk cId="721183839" sldId="2147478576"/>
            <ac:spMk id="578" creationId="{CC367D71-B762-49E3-13CD-3F032A143B2E}"/>
          </ac:spMkLst>
        </pc:spChg>
        <pc:spChg chg="add del mod">
          <ac:chgData name="Steiner Andreas 6206 ED" userId="e6377c33-a923-4f14-8587-531c474c7b48" providerId="ADAL" clId="{6ECD27E6-B224-41CD-B4E0-E297462320DD}" dt="2023-11-24T08:51:28.587" v="88154"/>
          <ac:spMkLst>
            <pc:docMk/>
            <pc:sldMk cId="721183839" sldId="2147478576"/>
            <ac:spMk id="579" creationId="{447108BD-460B-7612-68FF-E42F5158184D}"/>
          </ac:spMkLst>
        </pc:spChg>
        <pc:spChg chg="add del mod">
          <ac:chgData name="Steiner Andreas 6206 ED" userId="e6377c33-a923-4f14-8587-531c474c7b48" providerId="ADAL" clId="{6ECD27E6-B224-41CD-B4E0-E297462320DD}" dt="2023-11-24T08:51:30.563" v="88309"/>
          <ac:spMkLst>
            <pc:docMk/>
            <pc:sldMk cId="721183839" sldId="2147478576"/>
            <ac:spMk id="580" creationId="{B663B385-A66C-9E43-3B87-F17848FA0B5A}"/>
          </ac:spMkLst>
        </pc:spChg>
        <pc:spChg chg="add del mod">
          <ac:chgData name="Steiner Andreas 6206 ED" userId="e6377c33-a923-4f14-8587-531c474c7b48" providerId="ADAL" clId="{6ECD27E6-B224-41CD-B4E0-E297462320DD}" dt="2023-11-24T08:51:32.717" v="88464"/>
          <ac:spMkLst>
            <pc:docMk/>
            <pc:sldMk cId="721183839" sldId="2147478576"/>
            <ac:spMk id="581" creationId="{0BE610B9-7601-A6AF-742A-E26C842D2B89}"/>
          </ac:spMkLst>
        </pc:spChg>
        <pc:spChg chg="add del mod">
          <ac:chgData name="Steiner Andreas 6206 ED" userId="e6377c33-a923-4f14-8587-531c474c7b48" providerId="ADAL" clId="{6ECD27E6-B224-41CD-B4E0-E297462320DD}" dt="2023-11-24T08:51:34.682" v="88619"/>
          <ac:spMkLst>
            <pc:docMk/>
            <pc:sldMk cId="721183839" sldId="2147478576"/>
            <ac:spMk id="582" creationId="{C21091C1-B004-6789-E357-6D5994BB3B2A}"/>
          </ac:spMkLst>
        </pc:spChg>
        <pc:spChg chg="add del mod">
          <ac:chgData name="Steiner Andreas 6206 ED" userId="e6377c33-a923-4f14-8587-531c474c7b48" providerId="ADAL" clId="{6ECD27E6-B224-41CD-B4E0-E297462320DD}" dt="2023-11-24T08:51:36.555" v="88774"/>
          <ac:spMkLst>
            <pc:docMk/>
            <pc:sldMk cId="721183839" sldId="2147478576"/>
            <ac:spMk id="583" creationId="{725C5ABB-6ADA-BB0A-8B89-85D78716A5F8}"/>
          </ac:spMkLst>
        </pc:spChg>
        <pc:spChg chg="add del mod">
          <ac:chgData name="Steiner Andreas 6206 ED" userId="e6377c33-a923-4f14-8587-531c474c7b48" providerId="ADAL" clId="{6ECD27E6-B224-41CD-B4E0-E297462320DD}" dt="2023-11-24T08:51:38.499" v="88929"/>
          <ac:spMkLst>
            <pc:docMk/>
            <pc:sldMk cId="721183839" sldId="2147478576"/>
            <ac:spMk id="584" creationId="{CBCC0696-40A2-BBE4-455D-5CEF660B40F0}"/>
          </ac:spMkLst>
        </pc:spChg>
        <pc:spChg chg="add del mod">
          <ac:chgData name="Steiner Andreas 6206 ED" userId="e6377c33-a923-4f14-8587-531c474c7b48" providerId="ADAL" clId="{6ECD27E6-B224-41CD-B4E0-E297462320DD}" dt="2023-11-24T08:51:40.436" v="89084"/>
          <ac:spMkLst>
            <pc:docMk/>
            <pc:sldMk cId="721183839" sldId="2147478576"/>
            <ac:spMk id="585" creationId="{1DA03F10-EEBC-BBA3-BE32-3BAD0E496389}"/>
          </ac:spMkLst>
        </pc:spChg>
        <pc:spChg chg="add del mod">
          <ac:chgData name="Steiner Andreas 6206 ED" userId="e6377c33-a923-4f14-8587-531c474c7b48" providerId="ADAL" clId="{6ECD27E6-B224-41CD-B4E0-E297462320DD}" dt="2023-11-24T08:51:42.439" v="89239"/>
          <ac:spMkLst>
            <pc:docMk/>
            <pc:sldMk cId="721183839" sldId="2147478576"/>
            <ac:spMk id="586" creationId="{04CF5D21-B3C8-99F0-44FE-683E0374A289}"/>
          </ac:spMkLst>
        </pc:spChg>
        <pc:spChg chg="add del mod">
          <ac:chgData name="Steiner Andreas 6206 ED" userId="e6377c33-a923-4f14-8587-531c474c7b48" providerId="ADAL" clId="{6ECD27E6-B224-41CD-B4E0-E297462320DD}" dt="2023-11-24T08:51:44.551" v="89394"/>
          <ac:spMkLst>
            <pc:docMk/>
            <pc:sldMk cId="721183839" sldId="2147478576"/>
            <ac:spMk id="587" creationId="{3BA20D1B-3D2F-44E2-A336-8254BDC1E625}"/>
          </ac:spMkLst>
        </pc:spChg>
        <pc:spChg chg="add del mod">
          <ac:chgData name="Steiner Andreas 6206 ED" userId="e6377c33-a923-4f14-8587-531c474c7b48" providerId="ADAL" clId="{6ECD27E6-B224-41CD-B4E0-E297462320DD}" dt="2023-11-24T08:51:46.512" v="89549"/>
          <ac:spMkLst>
            <pc:docMk/>
            <pc:sldMk cId="721183839" sldId="2147478576"/>
            <ac:spMk id="588" creationId="{5462520E-B3A1-1B8D-02CB-06C7CBB04725}"/>
          </ac:spMkLst>
        </pc:spChg>
        <pc:spChg chg="add del mod">
          <ac:chgData name="Steiner Andreas 6206 ED" userId="e6377c33-a923-4f14-8587-531c474c7b48" providerId="ADAL" clId="{6ECD27E6-B224-41CD-B4E0-E297462320DD}" dt="2023-11-24T08:51:48.403" v="89704"/>
          <ac:spMkLst>
            <pc:docMk/>
            <pc:sldMk cId="721183839" sldId="2147478576"/>
            <ac:spMk id="589" creationId="{1C5BFEBB-0ED6-C825-83AA-5C9256CF12D7}"/>
          </ac:spMkLst>
        </pc:spChg>
        <pc:spChg chg="add del mod">
          <ac:chgData name="Steiner Andreas 6206 ED" userId="e6377c33-a923-4f14-8587-531c474c7b48" providerId="ADAL" clId="{6ECD27E6-B224-41CD-B4E0-E297462320DD}" dt="2023-11-24T08:51:50.327" v="89859"/>
          <ac:spMkLst>
            <pc:docMk/>
            <pc:sldMk cId="721183839" sldId="2147478576"/>
            <ac:spMk id="590" creationId="{5C7BAE9A-A037-0FCF-9C8D-1C83C5656569}"/>
          </ac:spMkLst>
        </pc:spChg>
        <pc:spChg chg="add del mod">
          <ac:chgData name="Steiner Andreas 6206 ED" userId="e6377c33-a923-4f14-8587-531c474c7b48" providerId="ADAL" clId="{6ECD27E6-B224-41CD-B4E0-E297462320DD}" dt="2023-11-24T08:51:52.230" v="90014"/>
          <ac:spMkLst>
            <pc:docMk/>
            <pc:sldMk cId="721183839" sldId="2147478576"/>
            <ac:spMk id="591" creationId="{8456208A-65A0-DDF0-E02B-1D438AF11A69}"/>
          </ac:spMkLst>
        </pc:spChg>
        <pc:spChg chg="add del mod">
          <ac:chgData name="Steiner Andreas 6206 ED" userId="e6377c33-a923-4f14-8587-531c474c7b48" providerId="ADAL" clId="{6ECD27E6-B224-41CD-B4E0-E297462320DD}" dt="2023-11-24T08:51:54.219" v="90169"/>
          <ac:spMkLst>
            <pc:docMk/>
            <pc:sldMk cId="721183839" sldId="2147478576"/>
            <ac:spMk id="592" creationId="{B38F040E-8A86-218F-FD06-C763B919BB95}"/>
          </ac:spMkLst>
        </pc:spChg>
        <pc:spChg chg="add del mod">
          <ac:chgData name="Steiner Andreas 6206 ED" userId="e6377c33-a923-4f14-8587-531c474c7b48" providerId="ADAL" clId="{6ECD27E6-B224-41CD-B4E0-E297462320DD}" dt="2023-11-24T08:51:56.204" v="90324"/>
          <ac:spMkLst>
            <pc:docMk/>
            <pc:sldMk cId="721183839" sldId="2147478576"/>
            <ac:spMk id="593" creationId="{A8E7C675-985D-3E3C-83D4-07768DE3188B}"/>
          </ac:spMkLst>
        </pc:spChg>
        <pc:spChg chg="add del mod">
          <ac:chgData name="Steiner Andreas 6206 ED" userId="e6377c33-a923-4f14-8587-531c474c7b48" providerId="ADAL" clId="{6ECD27E6-B224-41CD-B4E0-E297462320DD}" dt="2023-11-24T08:51:58.134" v="90479"/>
          <ac:spMkLst>
            <pc:docMk/>
            <pc:sldMk cId="721183839" sldId="2147478576"/>
            <ac:spMk id="594" creationId="{F24E5B99-DD20-8A32-E47F-761F0D9C1E13}"/>
          </ac:spMkLst>
        </pc:spChg>
        <pc:spChg chg="add del mod">
          <ac:chgData name="Steiner Andreas 6206 ED" userId="e6377c33-a923-4f14-8587-531c474c7b48" providerId="ADAL" clId="{6ECD27E6-B224-41CD-B4E0-E297462320DD}" dt="2023-11-24T08:52:00.259" v="90634"/>
          <ac:spMkLst>
            <pc:docMk/>
            <pc:sldMk cId="721183839" sldId="2147478576"/>
            <ac:spMk id="595" creationId="{D6C1857C-BBD0-CACF-9D90-13DDB944B5A0}"/>
          </ac:spMkLst>
        </pc:spChg>
        <pc:spChg chg="add del mod">
          <ac:chgData name="Steiner Andreas 6206 ED" userId="e6377c33-a923-4f14-8587-531c474c7b48" providerId="ADAL" clId="{6ECD27E6-B224-41CD-B4E0-E297462320DD}" dt="2023-11-24T08:52:02.213" v="90789"/>
          <ac:spMkLst>
            <pc:docMk/>
            <pc:sldMk cId="721183839" sldId="2147478576"/>
            <ac:spMk id="596" creationId="{5C15D57C-0302-868C-FB23-E5888D8D1F34}"/>
          </ac:spMkLst>
        </pc:spChg>
        <pc:spChg chg="add del mod">
          <ac:chgData name="Steiner Andreas 6206 ED" userId="e6377c33-a923-4f14-8587-531c474c7b48" providerId="ADAL" clId="{6ECD27E6-B224-41CD-B4E0-E297462320DD}" dt="2023-11-24T08:52:04.138" v="90944"/>
          <ac:spMkLst>
            <pc:docMk/>
            <pc:sldMk cId="721183839" sldId="2147478576"/>
            <ac:spMk id="597" creationId="{08061ADE-1CF7-5D83-8852-B580D17E278E}"/>
          </ac:spMkLst>
        </pc:spChg>
        <pc:spChg chg="add del mod">
          <ac:chgData name="Steiner Andreas 6206 ED" userId="e6377c33-a923-4f14-8587-531c474c7b48" providerId="ADAL" clId="{6ECD27E6-B224-41CD-B4E0-E297462320DD}" dt="2023-11-24T08:52:06.338" v="91099"/>
          <ac:spMkLst>
            <pc:docMk/>
            <pc:sldMk cId="721183839" sldId="2147478576"/>
            <ac:spMk id="598" creationId="{A8778850-6252-43A7-3F30-2CA8148883CF}"/>
          </ac:spMkLst>
        </pc:spChg>
        <pc:spChg chg="add del mod">
          <ac:chgData name="Steiner Andreas 6206 ED" userId="e6377c33-a923-4f14-8587-531c474c7b48" providerId="ADAL" clId="{6ECD27E6-B224-41CD-B4E0-E297462320DD}" dt="2023-11-24T08:52:08.304" v="91254"/>
          <ac:spMkLst>
            <pc:docMk/>
            <pc:sldMk cId="721183839" sldId="2147478576"/>
            <ac:spMk id="599" creationId="{E4A7D759-3FAE-79AA-5529-58E1B25143F0}"/>
          </ac:spMkLst>
        </pc:spChg>
        <pc:spChg chg="add del mod">
          <ac:chgData name="Steiner Andreas 6206 ED" userId="e6377c33-a923-4f14-8587-531c474c7b48" providerId="ADAL" clId="{6ECD27E6-B224-41CD-B4E0-E297462320DD}" dt="2023-11-24T08:52:10.188" v="91409"/>
          <ac:spMkLst>
            <pc:docMk/>
            <pc:sldMk cId="721183839" sldId="2147478576"/>
            <ac:spMk id="600" creationId="{2DC295C6-A537-78AA-DE05-F103FFB3C31B}"/>
          </ac:spMkLst>
        </pc:spChg>
        <pc:spChg chg="add del mod">
          <ac:chgData name="Steiner Andreas 6206 ED" userId="e6377c33-a923-4f14-8587-531c474c7b48" providerId="ADAL" clId="{6ECD27E6-B224-41CD-B4E0-E297462320DD}" dt="2023-11-24T08:52:12.041" v="91564"/>
          <ac:spMkLst>
            <pc:docMk/>
            <pc:sldMk cId="721183839" sldId="2147478576"/>
            <ac:spMk id="601" creationId="{D5E9815D-2C40-9828-B3DC-8D8A1B059B66}"/>
          </ac:spMkLst>
        </pc:spChg>
        <pc:spChg chg="add del mod">
          <ac:chgData name="Steiner Andreas 6206 ED" userId="e6377c33-a923-4f14-8587-531c474c7b48" providerId="ADAL" clId="{6ECD27E6-B224-41CD-B4E0-E297462320DD}" dt="2023-11-24T08:52:13.982" v="91719"/>
          <ac:spMkLst>
            <pc:docMk/>
            <pc:sldMk cId="721183839" sldId="2147478576"/>
            <ac:spMk id="602" creationId="{6914860D-3AF1-DE99-1089-F2DBA3C8551A}"/>
          </ac:spMkLst>
        </pc:spChg>
        <pc:spChg chg="add del mod">
          <ac:chgData name="Steiner Andreas 6206 ED" userId="e6377c33-a923-4f14-8587-531c474c7b48" providerId="ADAL" clId="{6ECD27E6-B224-41CD-B4E0-E297462320DD}" dt="2023-11-24T08:52:15.892" v="91874"/>
          <ac:spMkLst>
            <pc:docMk/>
            <pc:sldMk cId="721183839" sldId="2147478576"/>
            <ac:spMk id="603" creationId="{9C36D140-B9EC-28CB-C684-D582D02B8FC2}"/>
          </ac:spMkLst>
        </pc:spChg>
        <pc:spChg chg="add del mod">
          <ac:chgData name="Steiner Andreas 6206 ED" userId="e6377c33-a923-4f14-8587-531c474c7b48" providerId="ADAL" clId="{6ECD27E6-B224-41CD-B4E0-E297462320DD}" dt="2023-11-24T08:52:18.049" v="92029"/>
          <ac:spMkLst>
            <pc:docMk/>
            <pc:sldMk cId="721183839" sldId="2147478576"/>
            <ac:spMk id="604" creationId="{2E422620-B3FA-25AB-32F9-A7ACBB399BB1}"/>
          </ac:spMkLst>
        </pc:spChg>
        <pc:spChg chg="add del mod">
          <ac:chgData name="Steiner Andreas 6206 ED" userId="e6377c33-a923-4f14-8587-531c474c7b48" providerId="ADAL" clId="{6ECD27E6-B224-41CD-B4E0-E297462320DD}" dt="2023-11-24T08:52:20.016" v="92184"/>
          <ac:spMkLst>
            <pc:docMk/>
            <pc:sldMk cId="721183839" sldId="2147478576"/>
            <ac:spMk id="605" creationId="{B9BE4169-7E4E-8428-91EF-D551349F30CA}"/>
          </ac:spMkLst>
        </pc:spChg>
        <pc:spChg chg="add del mod">
          <ac:chgData name="Steiner Andreas 6206 ED" userId="e6377c33-a923-4f14-8587-531c474c7b48" providerId="ADAL" clId="{6ECD27E6-B224-41CD-B4E0-E297462320DD}" dt="2023-11-24T08:52:21.854" v="92339"/>
          <ac:spMkLst>
            <pc:docMk/>
            <pc:sldMk cId="721183839" sldId="2147478576"/>
            <ac:spMk id="606" creationId="{FE314263-87F1-44D1-7B58-7AE311C72146}"/>
          </ac:spMkLst>
        </pc:spChg>
        <pc:spChg chg="add del mod">
          <ac:chgData name="Steiner Andreas 6206 ED" userId="e6377c33-a923-4f14-8587-531c474c7b48" providerId="ADAL" clId="{6ECD27E6-B224-41CD-B4E0-E297462320DD}" dt="2023-11-24T08:52:23.914" v="92494"/>
          <ac:spMkLst>
            <pc:docMk/>
            <pc:sldMk cId="721183839" sldId="2147478576"/>
            <ac:spMk id="607" creationId="{4DC56BCF-F86F-1A08-F70E-49FD9B9357FF}"/>
          </ac:spMkLst>
        </pc:spChg>
        <pc:spChg chg="add del mod">
          <ac:chgData name="Steiner Andreas 6206 ED" userId="e6377c33-a923-4f14-8587-531c474c7b48" providerId="ADAL" clId="{6ECD27E6-B224-41CD-B4E0-E297462320DD}" dt="2023-11-24T08:52:25.787" v="92649"/>
          <ac:spMkLst>
            <pc:docMk/>
            <pc:sldMk cId="721183839" sldId="2147478576"/>
            <ac:spMk id="608" creationId="{5AF2970B-279B-14E0-80F1-47FD48FA5DAD}"/>
          </ac:spMkLst>
        </pc:spChg>
        <pc:spChg chg="add del mod">
          <ac:chgData name="Steiner Andreas 6206 ED" userId="e6377c33-a923-4f14-8587-531c474c7b48" providerId="ADAL" clId="{6ECD27E6-B224-41CD-B4E0-E297462320DD}" dt="2023-11-24T08:52:27.658" v="92804"/>
          <ac:spMkLst>
            <pc:docMk/>
            <pc:sldMk cId="721183839" sldId="2147478576"/>
            <ac:spMk id="609" creationId="{DDD006F5-E25A-97D4-766A-49861B6EE370}"/>
          </ac:spMkLst>
        </pc:spChg>
        <pc:spChg chg="add del mod">
          <ac:chgData name="Steiner Andreas 6206 ED" userId="e6377c33-a923-4f14-8587-531c474c7b48" providerId="ADAL" clId="{6ECD27E6-B224-41CD-B4E0-E297462320DD}" dt="2023-11-24T08:52:29.756" v="92959"/>
          <ac:spMkLst>
            <pc:docMk/>
            <pc:sldMk cId="721183839" sldId="2147478576"/>
            <ac:spMk id="610" creationId="{8BFE7A7A-55FD-3FCF-BBBB-731D0A673D35}"/>
          </ac:spMkLst>
        </pc:spChg>
        <pc:spChg chg="add del mod">
          <ac:chgData name="Steiner Andreas 6206 ED" userId="e6377c33-a923-4f14-8587-531c474c7b48" providerId="ADAL" clId="{6ECD27E6-B224-41CD-B4E0-E297462320DD}" dt="2023-11-24T08:52:31.679" v="93114"/>
          <ac:spMkLst>
            <pc:docMk/>
            <pc:sldMk cId="721183839" sldId="2147478576"/>
            <ac:spMk id="611" creationId="{D94883D3-BB50-632B-9306-8F9884D885C0}"/>
          </ac:spMkLst>
        </pc:spChg>
        <pc:spChg chg="add del mod">
          <ac:chgData name="Steiner Andreas 6206 ED" userId="e6377c33-a923-4f14-8587-531c474c7b48" providerId="ADAL" clId="{6ECD27E6-B224-41CD-B4E0-E297462320DD}" dt="2023-11-24T08:52:33.602" v="93269"/>
          <ac:spMkLst>
            <pc:docMk/>
            <pc:sldMk cId="721183839" sldId="2147478576"/>
            <ac:spMk id="612" creationId="{3D33393E-A8C1-B223-C2C7-53C84F884DF8}"/>
          </ac:spMkLst>
        </pc:spChg>
        <pc:spChg chg="add del mod">
          <ac:chgData name="Steiner Andreas 6206 ED" userId="e6377c33-a923-4f14-8587-531c474c7b48" providerId="ADAL" clId="{6ECD27E6-B224-41CD-B4E0-E297462320DD}" dt="2023-11-24T08:52:35.504" v="93424"/>
          <ac:spMkLst>
            <pc:docMk/>
            <pc:sldMk cId="721183839" sldId="2147478576"/>
            <ac:spMk id="613" creationId="{6D3536A8-6021-F825-959C-5092D3735A85}"/>
          </ac:spMkLst>
        </pc:spChg>
        <pc:spChg chg="add del mod">
          <ac:chgData name="Steiner Andreas 6206 ED" userId="e6377c33-a923-4f14-8587-531c474c7b48" providerId="ADAL" clId="{6ECD27E6-B224-41CD-B4E0-E297462320DD}" dt="2023-11-24T08:52:37.423" v="93579"/>
          <ac:spMkLst>
            <pc:docMk/>
            <pc:sldMk cId="721183839" sldId="2147478576"/>
            <ac:spMk id="614" creationId="{5F28F142-153F-3E2C-2DF5-3EF21295B42E}"/>
          </ac:spMkLst>
        </pc:spChg>
        <pc:spChg chg="add del mod">
          <ac:chgData name="Steiner Andreas 6206 ED" userId="e6377c33-a923-4f14-8587-531c474c7b48" providerId="ADAL" clId="{6ECD27E6-B224-41CD-B4E0-E297462320DD}" dt="2023-11-24T08:52:39.339" v="93734"/>
          <ac:spMkLst>
            <pc:docMk/>
            <pc:sldMk cId="721183839" sldId="2147478576"/>
            <ac:spMk id="615" creationId="{278476DB-BB9A-7053-CE3A-8EF993956F11}"/>
          </ac:spMkLst>
        </pc:spChg>
        <pc:spChg chg="add del mod">
          <ac:chgData name="Steiner Andreas 6206 ED" userId="e6377c33-a923-4f14-8587-531c474c7b48" providerId="ADAL" clId="{6ECD27E6-B224-41CD-B4E0-E297462320DD}" dt="2023-11-24T08:52:41.389" v="93889"/>
          <ac:spMkLst>
            <pc:docMk/>
            <pc:sldMk cId="721183839" sldId="2147478576"/>
            <ac:spMk id="616" creationId="{4FB0362F-A872-09F8-8E8A-10535AB7ED27}"/>
          </ac:spMkLst>
        </pc:spChg>
        <pc:spChg chg="add del mod">
          <ac:chgData name="Steiner Andreas 6206 ED" userId="e6377c33-a923-4f14-8587-531c474c7b48" providerId="ADAL" clId="{6ECD27E6-B224-41CD-B4E0-E297462320DD}" dt="2023-11-24T08:52:43.335" v="94044"/>
          <ac:spMkLst>
            <pc:docMk/>
            <pc:sldMk cId="721183839" sldId="2147478576"/>
            <ac:spMk id="617" creationId="{7595F1EB-0846-B465-8D02-A70BEFB5A0C9}"/>
          </ac:spMkLst>
        </pc:spChg>
        <pc:spChg chg="add del mod">
          <ac:chgData name="Steiner Andreas 6206 ED" userId="e6377c33-a923-4f14-8587-531c474c7b48" providerId="ADAL" clId="{6ECD27E6-B224-41CD-B4E0-E297462320DD}" dt="2023-11-24T08:52:45.272" v="94199"/>
          <ac:spMkLst>
            <pc:docMk/>
            <pc:sldMk cId="721183839" sldId="2147478576"/>
            <ac:spMk id="618" creationId="{143A8ABB-8C3A-1CD5-A482-B59A2BFDFA4E}"/>
          </ac:spMkLst>
        </pc:spChg>
        <pc:spChg chg="add del mod">
          <ac:chgData name="Steiner Andreas 6206 ED" userId="e6377c33-a923-4f14-8587-531c474c7b48" providerId="ADAL" clId="{6ECD27E6-B224-41CD-B4E0-E297462320DD}" dt="2023-11-24T08:52:47.235" v="94354"/>
          <ac:spMkLst>
            <pc:docMk/>
            <pc:sldMk cId="721183839" sldId="2147478576"/>
            <ac:spMk id="619" creationId="{77AE0D2A-3FCB-7B77-85BA-964B4C9FD3E5}"/>
          </ac:spMkLst>
        </pc:spChg>
        <pc:spChg chg="add del mod">
          <ac:chgData name="Steiner Andreas 6206 ED" userId="e6377c33-a923-4f14-8587-531c474c7b48" providerId="ADAL" clId="{6ECD27E6-B224-41CD-B4E0-E297462320DD}" dt="2023-11-24T08:52:49.314" v="94509"/>
          <ac:spMkLst>
            <pc:docMk/>
            <pc:sldMk cId="721183839" sldId="2147478576"/>
            <ac:spMk id="620" creationId="{1E1503C2-7772-7FAB-45EB-C298753D9967}"/>
          </ac:spMkLst>
        </pc:spChg>
        <pc:spChg chg="add del mod">
          <ac:chgData name="Steiner Andreas 6206 ED" userId="e6377c33-a923-4f14-8587-531c474c7b48" providerId="ADAL" clId="{6ECD27E6-B224-41CD-B4E0-E297462320DD}" dt="2023-11-24T08:52:51.512" v="94664"/>
          <ac:spMkLst>
            <pc:docMk/>
            <pc:sldMk cId="721183839" sldId="2147478576"/>
            <ac:spMk id="621" creationId="{B120CE59-E9AE-367F-21B4-21D536B1DE1F}"/>
          </ac:spMkLst>
        </pc:spChg>
        <pc:spChg chg="add del mod">
          <ac:chgData name="Steiner Andreas 6206 ED" userId="e6377c33-a923-4f14-8587-531c474c7b48" providerId="ADAL" clId="{6ECD27E6-B224-41CD-B4E0-E297462320DD}" dt="2023-11-24T08:52:53.458" v="94819"/>
          <ac:spMkLst>
            <pc:docMk/>
            <pc:sldMk cId="721183839" sldId="2147478576"/>
            <ac:spMk id="622" creationId="{2FD7C093-C7B2-FA62-D517-88C6AA107E1F}"/>
          </ac:spMkLst>
        </pc:spChg>
        <pc:spChg chg="add del mod">
          <ac:chgData name="Steiner Andreas 6206 ED" userId="e6377c33-a923-4f14-8587-531c474c7b48" providerId="ADAL" clId="{6ECD27E6-B224-41CD-B4E0-E297462320DD}" dt="2023-11-24T08:52:55.395" v="94974"/>
          <ac:spMkLst>
            <pc:docMk/>
            <pc:sldMk cId="721183839" sldId="2147478576"/>
            <ac:spMk id="623" creationId="{A5EB2FF9-21C0-2234-C291-E3D9926A39A5}"/>
          </ac:spMkLst>
        </pc:spChg>
        <pc:spChg chg="add del mod">
          <ac:chgData name="Steiner Andreas 6206 ED" userId="e6377c33-a923-4f14-8587-531c474c7b48" providerId="ADAL" clId="{6ECD27E6-B224-41CD-B4E0-E297462320DD}" dt="2023-11-24T08:52:57.424" v="95129"/>
          <ac:spMkLst>
            <pc:docMk/>
            <pc:sldMk cId="721183839" sldId="2147478576"/>
            <ac:spMk id="624" creationId="{E6199A99-D58A-AC95-A5E7-F73FE89EEEAC}"/>
          </ac:spMkLst>
        </pc:spChg>
        <pc:spChg chg="add del mod">
          <ac:chgData name="Steiner Andreas 6206 ED" userId="e6377c33-a923-4f14-8587-531c474c7b48" providerId="ADAL" clId="{6ECD27E6-B224-41CD-B4E0-E297462320DD}" dt="2023-11-24T08:52:59.376" v="95284"/>
          <ac:spMkLst>
            <pc:docMk/>
            <pc:sldMk cId="721183839" sldId="2147478576"/>
            <ac:spMk id="625" creationId="{14D677AF-4EBD-F20A-8849-73A191BF8350}"/>
          </ac:spMkLst>
        </pc:spChg>
        <pc:spChg chg="add del mod">
          <ac:chgData name="Steiner Andreas 6206 ED" userId="e6377c33-a923-4f14-8587-531c474c7b48" providerId="ADAL" clId="{6ECD27E6-B224-41CD-B4E0-E297462320DD}" dt="2023-11-24T08:53:01.383" v="95439"/>
          <ac:spMkLst>
            <pc:docMk/>
            <pc:sldMk cId="721183839" sldId="2147478576"/>
            <ac:spMk id="626" creationId="{8B69EA18-8CC9-5DA1-2DE8-606696EED3F1}"/>
          </ac:spMkLst>
        </pc:spChg>
        <pc:spChg chg="add del mod">
          <ac:chgData name="Steiner Andreas 6206 ED" userId="e6377c33-a923-4f14-8587-531c474c7b48" providerId="ADAL" clId="{6ECD27E6-B224-41CD-B4E0-E297462320DD}" dt="2023-11-24T08:53:03.507" v="95594"/>
          <ac:spMkLst>
            <pc:docMk/>
            <pc:sldMk cId="721183839" sldId="2147478576"/>
            <ac:spMk id="627" creationId="{64FD18DD-9F5E-B4E9-DFE6-FD565D22782E}"/>
          </ac:spMkLst>
        </pc:spChg>
        <pc:spChg chg="add del mod">
          <ac:chgData name="Steiner Andreas 6206 ED" userId="e6377c33-a923-4f14-8587-531c474c7b48" providerId="ADAL" clId="{6ECD27E6-B224-41CD-B4E0-E297462320DD}" dt="2023-11-24T08:53:05.466" v="95749"/>
          <ac:spMkLst>
            <pc:docMk/>
            <pc:sldMk cId="721183839" sldId="2147478576"/>
            <ac:spMk id="628" creationId="{F3EFE7BA-F494-2056-EFDE-A54A3315B1BE}"/>
          </ac:spMkLst>
        </pc:spChg>
        <pc:spChg chg="add del mod">
          <ac:chgData name="Steiner Andreas 6206 ED" userId="e6377c33-a923-4f14-8587-531c474c7b48" providerId="ADAL" clId="{6ECD27E6-B224-41CD-B4E0-E297462320DD}" dt="2023-11-24T08:53:07.344" v="95904"/>
          <ac:spMkLst>
            <pc:docMk/>
            <pc:sldMk cId="721183839" sldId="2147478576"/>
            <ac:spMk id="629" creationId="{D58A6FC0-686F-1F09-514D-90552C4EFB67}"/>
          </ac:spMkLst>
        </pc:spChg>
        <pc:spChg chg="add del mod">
          <ac:chgData name="Steiner Andreas 6206 ED" userId="e6377c33-a923-4f14-8587-531c474c7b48" providerId="ADAL" clId="{6ECD27E6-B224-41CD-B4E0-E297462320DD}" dt="2023-11-24T08:53:09.283" v="96059"/>
          <ac:spMkLst>
            <pc:docMk/>
            <pc:sldMk cId="721183839" sldId="2147478576"/>
            <ac:spMk id="630" creationId="{11174A4F-9F46-0D0D-8827-DC3E98ACF274}"/>
          </ac:spMkLst>
        </pc:spChg>
        <pc:spChg chg="add del mod">
          <ac:chgData name="Steiner Andreas 6206 ED" userId="e6377c33-a923-4f14-8587-531c474c7b48" providerId="ADAL" clId="{6ECD27E6-B224-41CD-B4E0-E297462320DD}" dt="2023-11-24T08:53:11.231" v="96214"/>
          <ac:spMkLst>
            <pc:docMk/>
            <pc:sldMk cId="721183839" sldId="2147478576"/>
            <ac:spMk id="631" creationId="{FF5D388B-FE90-A7F6-909F-08591BC99364}"/>
          </ac:spMkLst>
        </pc:spChg>
        <pc:spChg chg="add del mod">
          <ac:chgData name="Steiner Andreas 6206 ED" userId="e6377c33-a923-4f14-8587-531c474c7b48" providerId="ADAL" clId="{6ECD27E6-B224-41CD-B4E0-E297462320DD}" dt="2023-11-24T08:53:13.225" v="96369"/>
          <ac:spMkLst>
            <pc:docMk/>
            <pc:sldMk cId="721183839" sldId="2147478576"/>
            <ac:spMk id="632" creationId="{F09B946A-609B-C779-BE8D-E2580E6E9894}"/>
          </ac:spMkLst>
        </pc:spChg>
        <pc:spChg chg="add del mod">
          <ac:chgData name="Steiner Andreas 6206 ED" userId="e6377c33-a923-4f14-8587-531c474c7b48" providerId="ADAL" clId="{6ECD27E6-B224-41CD-B4E0-E297462320DD}" dt="2023-11-24T08:53:15.309" v="96524"/>
          <ac:spMkLst>
            <pc:docMk/>
            <pc:sldMk cId="721183839" sldId="2147478576"/>
            <ac:spMk id="633" creationId="{8A3ED3C9-4EF2-BB80-DD32-C15606B5B26A}"/>
          </ac:spMkLst>
        </pc:spChg>
        <pc:spChg chg="add del mod">
          <ac:chgData name="Steiner Andreas 6206 ED" userId="e6377c33-a923-4f14-8587-531c474c7b48" providerId="ADAL" clId="{6ECD27E6-B224-41CD-B4E0-E297462320DD}" dt="2023-11-24T08:53:17.273" v="96679"/>
          <ac:spMkLst>
            <pc:docMk/>
            <pc:sldMk cId="721183839" sldId="2147478576"/>
            <ac:spMk id="634" creationId="{B7952972-ADF8-DBA8-5C5E-BFF8EDCEA909}"/>
          </ac:spMkLst>
        </pc:spChg>
        <pc:spChg chg="add del mod">
          <ac:chgData name="Steiner Andreas 6206 ED" userId="e6377c33-a923-4f14-8587-531c474c7b48" providerId="ADAL" clId="{6ECD27E6-B224-41CD-B4E0-E297462320DD}" dt="2023-11-24T08:53:19.243" v="96834"/>
          <ac:spMkLst>
            <pc:docMk/>
            <pc:sldMk cId="721183839" sldId="2147478576"/>
            <ac:spMk id="635" creationId="{916BC51B-BA48-0697-5D58-06443EF8E3A2}"/>
          </ac:spMkLst>
        </pc:spChg>
        <pc:spChg chg="add del mod">
          <ac:chgData name="Steiner Andreas 6206 ED" userId="e6377c33-a923-4f14-8587-531c474c7b48" providerId="ADAL" clId="{6ECD27E6-B224-41CD-B4E0-E297462320DD}" dt="2023-11-24T08:53:21.197" v="96989"/>
          <ac:spMkLst>
            <pc:docMk/>
            <pc:sldMk cId="721183839" sldId="2147478576"/>
            <ac:spMk id="636" creationId="{0851F0C8-33A1-3891-9386-0739E2AD2F53}"/>
          </ac:spMkLst>
        </pc:spChg>
        <pc:spChg chg="add del mod">
          <ac:chgData name="Steiner Andreas 6206 ED" userId="e6377c33-a923-4f14-8587-531c474c7b48" providerId="ADAL" clId="{6ECD27E6-B224-41CD-B4E0-E297462320DD}" dt="2023-11-24T08:53:23.159" v="97144"/>
          <ac:spMkLst>
            <pc:docMk/>
            <pc:sldMk cId="721183839" sldId="2147478576"/>
            <ac:spMk id="637" creationId="{85947A0E-6BD3-7BD8-1CB2-7620A24517A7}"/>
          </ac:spMkLst>
        </pc:spChg>
        <pc:spChg chg="add del mod">
          <ac:chgData name="Steiner Andreas 6206 ED" userId="e6377c33-a923-4f14-8587-531c474c7b48" providerId="ADAL" clId="{6ECD27E6-B224-41CD-B4E0-E297462320DD}" dt="2023-11-24T08:53:25.275" v="97299"/>
          <ac:spMkLst>
            <pc:docMk/>
            <pc:sldMk cId="721183839" sldId="2147478576"/>
            <ac:spMk id="638" creationId="{387A2E66-2286-ADFF-BEE7-19B118D2E42A}"/>
          </ac:spMkLst>
        </pc:spChg>
        <pc:spChg chg="add del mod">
          <ac:chgData name="Steiner Andreas 6206 ED" userId="e6377c33-a923-4f14-8587-531c474c7b48" providerId="ADAL" clId="{6ECD27E6-B224-41CD-B4E0-E297462320DD}" dt="2023-11-24T08:53:27.263" v="97454"/>
          <ac:spMkLst>
            <pc:docMk/>
            <pc:sldMk cId="721183839" sldId="2147478576"/>
            <ac:spMk id="639" creationId="{F991602E-F49F-BDAD-65B2-A9324A7E9C68}"/>
          </ac:spMkLst>
        </pc:spChg>
        <pc:spChg chg="add del mod">
          <ac:chgData name="Steiner Andreas 6206 ED" userId="e6377c33-a923-4f14-8587-531c474c7b48" providerId="ADAL" clId="{6ECD27E6-B224-41CD-B4E0-E297462320DD}" dt="2023-11-24T08:53:29.153" v="97609"/>
          <ac:spMkLst>
            <pc:docMk/>
            <pc:sldMk cId="721183839" sldId="2147478576"/>
            <ac:spMk id="640" creationId="{8B45B067-969F-C15C-CFC5-16DFE36594A3}"/>
          </ac:spMkLst>
        </pc:spChg>
        <pc:spChg chg="add del mod">
          <ac:chgData name="Steiner Andreas 6206 ED" userId="e6377c33-a923-4f14-8587-531c474c7b48" providerId="ADAL" clId="{6ECD27E6-B224-41CD-B4E0-E297462320DD}" dt="2023-11-24T08:53:31.054" v="97764"/>
          <ac:spMkLst>
            <pc:docMk/>
            <pc:sldMk cId="721183839" sldId="2147478576"/>
            <ac:spMk id="641" creationId="{1E95D64B-675B-8218-02BA-D84253B1E905}"/>
          </ac:spMkLst>
        </pc:spChg>
        <pc:spChg chg="add del mod">
          <ac:chgData name="Steiner Andreas 6206 ED" userId="e6377c33-a923-4f14-8587-531c474c7b48" providerId="ADAL" clId="{6ECD27E6-B224-41CD-B4E0-E297462320DD}" dt="2023-11-24T08:53:32.986" v="97919"/>
          <ac:spMkLst>
            <pc:docMk/>
            <pc:sldMk cId="721183839" sldId="2147478576"/>
            <ac:spMk id="642" creationId="{1955FDBF-CB2F-5F6E-3551-FC5504EAD637}"/>
          </ac:spMkLst>
        </pc:spChg>
        <pc:spChg chg="add del mod">
          <ac:chgData name="Steiner Andreas 6206 ED" userId="e6377c33-a923-4f14-8587-531c474c7b48" providerId="ADAL" clId="{6ECD27E6-B224-41CD-B4E0-E297462320DD}" dt="2023-11-24T08:53:34.915" v="98074"/>
          <ac:spMkLst>
            <pc:docMk/>
            <pc:sldMk cId="721183839" sldId="2147478576"/>
            <ac:spMk id="643" creationId="{9796D30E-3B9D-8DCE-8739-03CD78622A56}"/>
          </ac:spMkLst>
        </pc:spChg>
        <pc:spChg chg="add del mod">
          <ac:chgData name="Steiner Andreas 6206 ED" userId="e6377c33-a923-4f14-8587-531c474c7b48" providerId="ADAL" clId="{6ECD27E6-B224-41CD-B4E0-E297462320DD}" dt="2023-11-24T08:53:37.011" v="98229"/>
          <ac:spMkLst>
            <pc:docMk/>
            <pc:sldMk cId="721183839" sldId="2147478576"/>
            <ac:spMk id="644" creationId="{B980C4F4-7A6D-BE08-771E-3F0945DB432F}"/>
          </ac:spMkLst>
        </pc:spChg>
        <pc:spChg chg="add del mod">
          <ac:chgData name="Steiner Andreas 6206 ED" userId="e6377c33-a923-4f14-8587-531c474c7b48" providerId="ADAL" clId="{6ECD27E6-B224-41CD-B4E0-E297462320DD}" dt="2023-11-24T08:53:38.926" v="98384"/>
          <ac:spMkLst>
            <pc:docMk/>
            <pc:sldMk cId="721183839" sldId="2147478576"/>
            <ac:spMk id="645" creationId="{79398431-AF86-1F18-DCF1-F6FB62E2FFFC}"/>
          </ac:spMkLst>
        </pc:spChg>
        <pc:spChg chg="add del mod">
          <ac:chgData name="Steiner Andreas 6206 ED" userId="e6377c33-a923-4f14-8587-531c474c7b48" providerId="ADAL" clId="{6ECD27E6-B224-41CD-B4E0-E297462320DD}" dt="2023-11-24T08:53:40.887" v="98539"/>
          <ac:spMkLst>
            <pc:docMk/>
            <pc:sldMk cId="721183839" sldId="2147478576"/>
            <ac:spMk id="646" creationId="{28C75588-AB1C-C659-AF80-D0019F41EF8F}"/>
          </ac:spMkLst>
        </pc:spChg>
        <pc:spChg chg="add del mod">
          <ac:chgData name="Steiner Andreas 6206 ED" userId="e6377c33-a923-4f14-8587-531c474c7b48" providerId="ADAL" clId="{6ECD27E6-B224-41CD-B4E0-E297462320DD}" dt="2023-11-24T08:53:42.831" v="98694"/>
          <ac:spMkLst>
            <pc:docMk/>
            <pc:sldMk cId="721183839" sldId="2147478576"/>
            <ac:spMk id="647" creationId="{8EAFF4F4-5059-B9E5-4FDB-1C8FB29C14D8}"/>
          </ac:spMkLst>
        </pc:spChg>
        <pc:spChg chg="add del mod">
          <ac:chgData name="Steiner Andreas 6206 ED" userId="e6377c33-a923-4f14-8587-531c474c7b48" providerId="ADAL" clId="{6ECD27E6-B224-41CD-B4E0-E297462320DD}" dt="2023-11-24T08:53:44.777" v="98849"/>
          <ac:spMkLst>
            <pc:docMk/>
            <pc:sldMk cId="721183839" sldId="2147478576"/>
            <ac:spMk id="648" creationId="{E4A3CD02-139B-3F9D-DE38-EEC2A5F3E4E3}"/>
          </ac:spMkLst>
        </pc:spChg>
        <pc:spChg chg="add del mod">
          <ac:chgData name="Steiner Andreas 6206 ED" userId="e6377c33-a923-4f14-8587-531c474c7b48" providerId="ADAL" clId="{6ECD27E6-B224-41CD-B4E0-E297462320DD}" dt="2023-11-24T08:53:46.719" v="99004"/>
          <ac:spMkLst>
            <pc:docMk/>
            <pc:sldMk cId="721183839" sldId="2147478576"/>
            <ac:spMk id="649" creationId="{62D6F438-9E61-4265-537D-7C986BC54219}"/>
          </ac:spMkLst>
        </pc:spChg>
        <pc:spChg chg="add del mod">
          <ac:chgData name="Steiner Andreas 6206 ED" userId="e6377c33-a923-4f14-8587-531c474c7b48" providerId="ADAL" clId="{6ECD27E6-B224-41CD-B4E0-E297462320DD}" dt="2023-11-24T08:53:48.777" v="99159"/>
          <ac:spMkLst>
            <pc:docMk/>
            <pc:sldMk cId="721183839" sldId="2147478576"/>
            <ac:spMk id="650" creationId="{74BA930D-96B5-85E9-10C7-92ADC8DA0B9C}"/>
          </ac:spMkLst>
        </pc:spChg>
        <pc:spChg chg="add del mod">
          <ac:chgData name="Steiner Andreas 6206 ED" userId="e6377c33-a923-4f14-8587-531c474c7b48" providerId="ADAL" clId="{6ECD27E6-B224-41CD-B4E0-E297462320DD}" dt="2023-11-24T08:53:50.730" v="99314"/>
          <ac:spMkLst>
            <pc:docMk/>
            <pc:sldMk cId="721183839" sldId="2147478576"/>
            <ac:spMk id="651" creationId="{9A37334F-3DC0-AA4C-858B-24AE7DE7189A}"/>
          </ac:spMkLst>
        </pc:spChg>
        <pc:spChg chg="add del mod">
          <ac:chgData name="Steiner Andreas 6206 ED" userId="e6377c33-a923-4f14-8587-531c474c7b48" providerId="ADAL" clId="{6ECD27E6-B224-41CD-B4E0-E297462320DD}" dt="2023-11-24T08:53:52.719" v="99469"/>
          <ac:spMkLst>
            <pc:docMk/>
            <pc:sldMk cId="721183839" sldId="2147478576"/>
            <ac:spMk id="652" creationId="{46705A09-2573-1DFE-E5A5-E40CD8E52C3E}"/>
          </ac:spMkLst>
        </pc:spChg>
        <pc:spChg chg="add del mod">
          <ac:chgData name="Steiner Andreas 6206 ED" userId="e6377c33-a923-4f14-8587-531c474c7b48" providerId="ADAL" clId="{6ECD27E6-B224-41CD-B4E0-E297462320DD}" dt="2023-11-24T08:53:54.676" v="99624"/>
          <ac:spMkLst>
            <pc:docMk/>
            <pc:sldMk cId="721183839" sldId="2147478576"/>
            <ac:spMk id="653" creationId="{DA2CAA33-DAE7-6DDC-273D-2617139B20F2}"/>
          </ac:spMkLst>
        </pc:spChg>
        <pc:spChg chg="add del mod">
          <ac:chgData name="Steiner Andreas 6206 ED" userId="e6377c33-a923-4f14-8587-531c474c7b48" providerId="ADAL" clId="{6ECD27E6-B224-41CD-B4E0-E297462320DD}" dt="2023-11-24T08:53:56.608" v="99779"/>
          <ac:spMkLst>
            <pc:docMk/>
            <pc:sldMk cId="721183839" sldId="2147478576"/>
            <ac:spMk id="654" creationId="{AD277140-9B85-25EF-75CD-0EA77E50E2B1}"/>
          </ac:spMkLst>
        </pc:spChg>
        <pc:spChg chg="add del mod">
          <ac:chgData name="Steiner Andreas 6206 ED" userId="e6377c33-a923-4f14-8587-531c474c7b48" providerId="ADAL" clId="{6ECD27E6-B224-41CD-B4E0-E297462320DD}" dt="2023-11-24T08:53:58.685" v="99934"/>
          <ac:spMkLst>
            <pc:docMk/>
            <pc:sldMk cId="721183839" sldId="2147478576"/>
            <ac:spMk id="655" creationId="{823BE985-4E34-EE7E-83AA-A773A6D8613C}"/>
          </ac:spMkLst>
        </pc:spChg>
        <pc:spChg chg="add del mod">
          <ac:chgData name="Steiner Andreas 6206 ED" userId="e6377c33-a923-4f14-8587-531c474c7b48" providerId="ADAL" clId="{6ECD27E6-B224-41CD-B4E0-E297462320DD}" dt="2023-11-24T08:54:00.783" v="100089"/>
          <ac:spMkLst>
            <pc:docMk/>
            <pc:sldMk cId="721183839" sldId="2147478576"/>
            <ac:spMk id="656" creationId="{401147EF-6C59-150E-980E-01EB80796DC3}"/>
          </ac:spMkLst>
        </pc:spChg>
        <pc:spChg chg="add del mod">
          <ac:chgData name="Steiner Andreas 6206 ED" userId="e6377c33-a923-4f14-8587-531c474c7b48" providerId="ADAL" clId="{6ECD27E6-B224-41CD-B4E0-E297462320DD}" dt="2023-11-24T08:54:02.778" v="100244"/>
          <ac:spMkLst>
            <pc:docMk/>
            <pc:sldMk cId="721183839" sldId="2147478576"/>
            <ac:spMk id="657" creationId="{200168E6-4707-C0F2-4467-6D1C4EE6D4A0}"/>
          </ac:spMkLst>
        </pc:spChg>
        <pc:spChg chg="add del mod">
          <ac:chgData name="Steiner Andreas 6206 ED" userId="e6377c33-a923-4f14-8587-531c474c7b48" providerId="ADAL" clId="{6ECD27E6-B224-41CD-B4E0-E297462320DD}" dt="2023-11-24T08:54:04.726" v="100399"/>
          <ac:spMkLst>
            <pc:docMk/>
            <pc:sldMk cId="721183839" sldId="2147478576"/>
            <ac:spMk id="658" creationId="{547D929C-955F-1FD4-7521-55CA46591ECA}"/>
          </ac:spMkLst>
        </pc:spChg>
        <pc:spChg chg="add del mod">
          <ac:chgData name="Steiner Andreas 6206 ED" userId="e6377c33-a923-4f14-8587-531c474c7b48" providerId="ADAL" clId="{6ECD27E6-B224-41CD-B4E0-E297462320DD}" dt="2023-11-24T08:54:06.697" v="100554"/>
          <ac:spMkLst>
            <pc:docMk/>
            <pc:sldMk cId="721183839" sldId="2147478576"/>
            <ac:spMk id="659" creationId="{55B6E71B-6E78-10F1-16A0-4E76FEA98AB6}"/>
          </ac:spMkLst>
        </pc:spChg>
        <pc:spChg chg="add del mod">
          <ac:chgData name="Steiner Andreas 6206 ED" userId="e6377c33-a923-4f14-8587-531c474c7b48" providerId="ADAL" clId="{6ECD27E6-B224-41CD-B4E0-E297462320DD}" dt="2023-11-24T08:54:08.688" v="100709"/>
          <ac:spMkLst>
            <pc:docMk/>
            <pc:sldMk cId="721183839" sldId="2147478576"/>
            <ac:spMk id="660" creationId="{908FEC89-C097-BC78-E6AC-4642E574EA78}"/>
          </ac:spMkLst>
        </pc:spChg>
        <pc:spChg chg="add del mod">
          <ac:chgData name="Steiner Andreas 6206 ED" userId="e6377c33-a923-4f14-8587-531c474c7b48" providerId="ADAL" clId="{6ECD27E6-B224-41CD-B4E0-E297462320DD}" dt="2023-11-24T08:54:10.821" v="100864"/>
          <ac:spMkLst>
            <pc:docMk/>
            <pc:sldMk cId="721183839" sldId="2147478576"/>
            <ac:spMk id="661" creationId="{5CA523D3-E8E5-9C34-3A34-EBE2AE0FCD3B}"/>
          </ac:spMkLst>
        </pc:spChg>
        <pc:spChg chg="add del mod">
          <ac:chgData name="Steiner Andreas 6206 ED" userId="e6377c33-a923-4f14-8587-531c474c7b48" providerId="ADAL" clId="{6ECD27E6-B224-41CD-B4E0-E297462320DD}" dt="2023-11-24T08:54:12.746" v="101019"/>
          <ac:spMkLst>
            <pc:docMk/>
            <pc:sldMk cId="721183839" sldId="2147478576"/>
            <ac:spMk id="662" creationId="{CEC29DEB-49F6-F807-1EB7-DD6A22A0549F}"/>
          </ac:spMkLst>
        </pc:spChg>
        <pc:spChg chg="add del mod">
          <ac:chgData name="Steiner Andreas 6206 ED" userId="e6377c33-a923-4f14-8587-531c474c7b48" providerId="ADAL" clId="{6ECD27E6-B224-41CD-B4E0-E297462320DD}" dt="2023-11-24T08:54:14.713" v="101174"/>
          <ac:spMkLst>
            <pc:docMk/>
            <pc:sldMk cId="721183839" sldId="2147478576"/>
            <ac:spMk id="663" creationId="{E2559171-713F-53CD-5C56-946BC3790180}"/>
          </ac:spMkLst>
        </pc:spChg>
        <pc:spChg chg="add del mod">
          <ac:chgData name="Steiner Andreas 6206 ED" userId="e6377c33-a923-4f14-8587-531c474c7b48" providerId="ADAL" clId="{6ECD27E6-B224-41CD-B4E0-E297462320DD}" dt="2023-11-24T08:54:16.599" v="101329"/>
          <ac:spMkLst>
            <pc:docMk/>
            <pc:sldMk cId="721183839" sldId="2147478576"/>
            <ac:spMk id="664" creationId="{32567D37-813B-217F-86C7-9A6DAB309C2B}"/>
          </ac:spMkLst>
        </pc:spChg>
        <pc:spChg chg="add del mod">
          <ac:chgData name="Steiner Andreas 6206 ED" userId="e6377c33-a923-4f14-8587-531c474c7b48" providerId="ADAL" clId="{6ECD27E6-B224-41CD-B4E0-E297462320DD}" dt="2023-11-24T08:54:18.516" v="101484"/>
          <ac:spMkLst>
            <pc:docMk/>
            <pc:sldMk cId="721183839" sldId="2147478576"/>
            <ac:spMk id="665" creationId="{99C978C8-BF1F-0AA5-0E88-96E65F8F593A}"/>
          </ac:spMkLst>
        </pc:spChg>
        <pc:spChg chg="add del mod">
          <ac:chgData name="Steiner Andreas 6206 ED" userId="e6377c33-a923-4f14-8587-531c474c7b48" providerId="ADAL" clId="{6ECD27E6-B224-41CD-B4E0-E297462320DD}" dt="2023-11-24T08:54:20.481" v="101639"/>
          <ac:spMkLst>
            <pc:docMk/>
            <pc:sldMk cId="721183839" sldId="2147478576"/>
            <ac:spMk id="666" creationId="{3F621696-5022-ABE1-3ADC-E810B16F5C25}"/>
          </ac:spMkLst>
        </pc:spChg>
        <pc:spChg chg="add del mod">
          <ac:chgData name="Steiner Andreas 6206 ED" userId="e6377c33-a923-4f14-8587-531c474c7b48" providerId="ADAL" clId="{6ECD27E6-B224-41CD-B4E0-E297462320DD}" dt="2023-11-24T08:54:22.584" v="101794"/>
          <ac:spMkLst>
            <pc:docMk/>
            <pc:sldMk cId="721183839" sldId="2147478576"/>
            <ac:spMk id="667" creationId="{D815EF57-39E9-56F0-324D-6B0A3E163264}"/>
          </ac:spMkLst>
        </pc:spChg>
        <pc:spChg chg="add del mod">
          <ac:chgData name="Steiner Andreas 6206 ED" userId="e6377c33-a923-4f14-8587-531c474c7b48" providerId="ADAL" clId="{6ECD27E6-B224-41CD-B4E0-E297462320DD}" dt="2023-11-24T08:54:24.551" v="101949"/>
          <ac:spMkLst>
            <pc:docMk/>
            <pc:sldMk cId="721183839" sldId="2147478576"/>
            <ac:spMk id="668" creationId="{638A8A75-0BEE-04D1-89F1-C71FBB1EF0FB}"/>
          </ac:spMkLst>
        </pc:spChg>
        <pc:spChg chg="add del mod">
          <ac:chgData name="Steiner Andreas 6206 ED" userId="e6377c33-a923-4f14-8587-531c474c7b48" providerId="ADAL" clId="{6ECD27E6-B224-41CD-B4E0-E297462320DD}" dt="2023-11-24T08:54:26.499" v="102104"/>
          <ac:spMkLst>
            <pc:docMk/>
            <pc:sldMk cId="721183839" sldId="2147478576"/>
            <ac:spMk id="669" creationId="{89070EFD-60EE-49A0-8A61-859980C301BD}"/>
          </ac:spMkLst>
        </pc:spChg>
        <pc:spChg chg="add del mod">
          <ac:chgData name="Steiner Andreas 6206 ED" userId="e6377c33-a923-4f14-8587-531c474c7b48" providerId="ADAL" clId="{6ECD27E6-B224-41CD-B4E0-E297462320DD}" dt="2023-11-24T08:54:28.456" v="102259"/>
          <ac:spMkLst>
            <pc:docMk/>
            <pc:sldMk cId="721183839" sldId="2147478576"/>
            <ac:spMk id="670" creationId="{573A7D12-4273-57E8-ADA2-9C9B4D242662}"/>
          </ac:spMkLst>
        </pc:spChg>
        <pc:spChg chg="add del mod">
          <ac:chgData name="Steiner Andreas 6206 ED" userId="e6377c33-a923-4f14-8587-531c474c7b48" providerId="ADAL" clId="{6ECD27E6-B224-41CD-B4E0-E297462320DD}" dt="2023-11-24T08:54:30.382" v="102414"/>
          <ac:spMkLst>
            <pc:docMk/>
            <pc:sldMk cId="721183839" sldId="2147478576"/>
            <ac:spMk id="671" creationId="{3159A3B3-662E-B0E4-4EDA-92077E062D4B}"/>
          </ac:spMkLst>
        </pc:spChg>
        <pc:spChg chg="add del mod">
          <ac:chgData name="Steiner Andreas 6206 ED" userId="e6377c33-a923-4f14-8587-531c474c7b48" providerId="ADAL" clId="{6ECD27E6-B224-41CD-B4E0-E297462320DD}" dt="2023-11-24T08:54:32.545" v="102569"/>
          <ac:spMkLst>
            <pc:docMk/>
            <pc:sldMk cId="721183839" sldId="2147478576"/>
            <ac:spMk id="672" creationId="{585BB01E-A677-2CA6-F92A-71D1CB8E7322}"/>
          </ac:spMkLst>
        </pc:spChg>
        <pc:spChg chg="add del mod">
          <ac:chgData name="Steiner Andreas 6206 ED" userId="e6377c33-a923-4f14-8587-531c474c7b48" providerId="ADAL" clId="{6ECD27E6-B224-41CD-B4E0-E297462320DD}" dt="2023-11-24T08:54:34.517" v="102724"/>
          <ac:spMkLst>
            <pc:docMk/>
            <pc:sldMk cId="721183839" sldId="2147478576"/>
            <ac:spMk id="673" creationId="{482E83CC-9FEE-FE0D-042D-AD81AD687224}"/>
          </ac:spMkLst>
        </pc:spChg>
        <pc:spChg chg="add del mod">
          <ac:chgData name="Steiner Andreas 6206 ED" userId="e6377c33-a923-4f14-8587-531c474c7b48" providerId="ADAL" clId="{6ECD27E6-B224-41CD-B4E0-E297462320DD}" dt="2023-11-24T08:54:36.448" v="102879"/>
          <ac:spMkLst>
            <pc:docMk/>
            <pc:sldMk cId="721183839" sldId="2147478576"/>
            <ac:spMk id="674" creationId="{02679AB7-539E-BC0D-9DB7-DB5B31C2162C}"/>
          </ac:spMkLst>
        </pc:spChg>
        <pc:spChg chg="add del mod">
          <ac:chgData name="Steiner Andreas 6206 ED" userId="e6377c33-a923-4f14-8587-531c474c7b48" providerId="ADAL" clId="{6ECD27E6-B224-41CD-B4E0-E297462320DD}" dt="2023-11-24T08:54:38.671" v="103034"/>
          <ac:spMkLst>
            <pc:docMk/>
            <pc:sldMk cId="721183839" sldId="2147478576"/>
            <ac:spMk id="675" creationId="{2082E109-74E4-0D5A-C921-8E7C29943184}"/>
          </ac:spMkLst>
        </pc:spChg>
        <pc:spChg chg="add del mod">
          <ac:chgData name="Steiner Andreas 6206 ED" userId="e6377c33-a923-4f14-8587-531c474c7b48" providerId="ADAL" clId="{6ECD27E6-B224-41CD-B4E0-E297462320DD}" dt="2023-11-24T08:54:40.822" v="103189"/>
          <ac:spMkLst>
            <pc:docMk/>
            <pc:sldMk cId="721183839" sldId="2147478576"/>
            <ac:spMk id="676" creationId="{DCC93368-8EBD-43CA-EE77-5B21743AA1CB}"/>
          </ac:spMkLst>
        </pc:spChg>
        <pc:spChg chg="add del mod">
          <ac:chgData name="Steiner Andreas 6206 ED" userId="e6377c33-a923-4f14-8587-531c474c7b48" providerId="ADAL" clId="{6ECD27E6-B224-41CD-B4E0-E297462320DD}" dt="2023-11-24T08:54:42.736" v="103344"/>
          <ac:spMkLst>
            <pc:docMk/>
            <pc:sldMk cId="721183839" sldId="2147478576"/>
            <ac:spMk id="677" creationId="{F6258456-02FD-E1FC-3749-F56830218256}"/>
          </ac:spMkLst>
        </pc:spChg>
        <pc:spChg chg="add del mod">
          <ac:chgData name="Steiner Andreas 6206 ED" userId="e6377c33-a923-4f14-8587-531c474c7b48" providerId="ADAL" clId="{6ECD27E6-B224-41CD-B4E0-E297462320DD}" dt="2023-11-24T08:54:45.003" v="103499"/>
          <ac:spMkLst>
            <pc:docMk/>
            <pc:sldMk cId="721183839" sldId="2147478576"/>
            <ac:spMk id="678" creationId="{07187124-13E7-79D9-B23A-8BFDA7D6A12B}"/>
          </ac:spMkLst>
        </pc:spChg>
        <pc:spChg chg="add del mod">
          <ac:chgData name="Steiner Andreas 6206 ED" userId="e6377c33-a923-4f14-8587-531c474c7b48" providerId="ADAL" clId="{6ECD27E6-B224-41CD-B4E0-E297462320DD}" dt="2023-11-24T08:54:47.240" v="103654"/>
          <ac:spMkLst>
            <pc:docMk/>
            <pc:sldMk cId="721183839" sldId="2147478576"/>
            <ac:spMk id="679" creationId="{9A422F35-A868-D027-19E6-36818C34269B}"/>
          </ac:spMkLst>
        </pc:spChg>
        <pc:spChg chg="add del mod">
          <ac:chgData name="Steiner Andreas 6206 ED" userId="e6377c33-a923-4f14-8587-531c474c7b48" providerId="ADAL" clId="{6ECD27E6-B224-41CD-B4E0-E297462320DD}" dt="2023-11-24T08:54:49.364" v="103809"/>
          <ac:spMkLst>
            <pc:docMk/>
            <pc:sldMk cId="721183839" sldId="2147478576"/>
            <ac:spMk id="680" creationId="{8032ACB8-D405-1CA0-042C-0A877AFD9CAC}"/>
          </ac:spMkLst>
        </pc:spChg>
        <pc:spChg chg="add del mod">
          <ac:chgData name="Steiner Andreas 6206 ED" userId="e6377c33-a923-4f14-8587-531c474c7b48" providerId="ADAL" clId="{6ECD27E6-B224-41CD-B4E0-E297462320DD}" dt="2023-11-24T08:54:51.726" v="103964"/>
          <ac:spMkLst>
            <pc:docMk/>
            <pc:sldMk cId="721183839" sldId="2147478576"/>
            <ac:spMk id="681" creationId="{45145279-D601-A7C8-7436-87886F3C0A24}"/>
          </ac:spMkLst>
        </pc:spChg>
        <pc:spChg chg="add del mod">
          <ac:chgData name="Steiner Andreas 6206 ED" userId="e6377c33-a923-4f14-8587-531c474c7b48" providerId="ADAL" clId="{6ECD27E6-B224-41CD-B4E0-E297462320DD}" dt="2023-11-24T08:54:53.785" v="104119"/>
          <ac:spMkLst>
            <pc:docMk/>
            <pc:sldMk cId="721183839" sldId="2147478576"/>
            <ac:spMk id="682" creationId="{CC7E9D3A-5DCB-3F12-13E7-F25CD13B9179}"/>
          </ac:spMkLst>
        </pc:spChg>
        <pc:spChg chg="add del mod">
          <ac:chgData name="Steiner Andreas 6206 ED" userId="e6377c33-a923-4f14-8587-531c474c7b48" providerId="ADAL" clId="{6ECD27E6-B224-41CD-B4E0-E297462320DD}" dt="2023-11-24T08:54:55.909" v="104274"/>
          <ac:spMkLst>
            <pc:docMk/>
            <pc:sldMk cId="721183839" sldId="2147478576"/>
            <ac:spMk id="683" creationId="{DD1C9A51-5E1C-31B4-B290-D75FA365FF85}"/>
          </ac:spMkLst>
        </pc:spChg>
        <pc:spChg chg="add del mod">
          <ac:chgData name="Steiner Andreas 6206 ED" userId="e6377c33-a923-4f14-8587-531c474c7b48" providerId="ADAL" clId="{6ECD27E6-B224-41CD-B4E0-E297462320DD}" dt="2023-11-24T08:54:57.984" v="104429"/>
          <ac:spMkLst>
            <pc:docMk/>
            <pc:sldMk cId="721183839" sldId="2147478576"/>
            <ac:spMk id="684" creationId="{10D7CABE-899B-DA67-91BA-739021B4B615}"/>
          </ac:spMkLst>
        </pc:spChg>
        <pc:spChg chg="add del mod">
          <ac:chgData name="Steiner Andreas 6206 ED" userId="e6377c33-a923-4f14-8587-531c474c7b48" providerId="ADAL" clId="{6ECD27E6-B224-41CD-B4E0-E297462320DD}" dt="2023-11-24T08:54:59.991" v="104584"/>
          <ac:spMkLst>
            <pc:docMk/>
            <pc:sldMk cId="721183839" sldId="2147478576"/>
            <ac:spMk id="685" creationId="{939C4AD5-C43C-8466-D303-53B44BFCD84E}"/>
          </ac:spMkLst>
        </pc:spChg>
        <pc:spChg chg="add del mod">
          <ac:chgData name="Steiner Andreas 6206 ED" userId="e6377c33-a923-4f14-8587-531c474c7b48" providerId="ADAL" clId="{6ECD27E6-B224-41CD-B4E0-E297462320DD}" dt="2023-11-24T08:55:01.942" v="104739"/>
          <ac:spMkLst>
            <pc:docMk/>
            <pc:sldMk cId="721183839" sldId="2147478576"/>
            <ac:spMk id="686" creationId="{962181C6-D6E7-ADDC-B418-6025A6C2B0A9}"/>
          </ac:spMkLst>
        </pc:spChg>
        <pc:spChg chg="add del mod">
          <ac:chgData name="Steiner Andreas 6206 ED" userId="e6377c33-a923-4f14-8587-531c474c7b48" providerId="ADAL" clId="{6ECD27E6-B224-41CD-B4E0-E297462320DD}" dt="2023-11-24T08:55:03.910" v="104894"/>
          <ac:spMkLst>
            <pc:docMk/>
            <pc:sldMk cId="721183839" sldId="2147478576"/>
            <ac:spMk id="687" creationId="{A6CCF6FB-FBE1-F57D-9A5A-27910AB09CFF}"/>
          </ac:spMkLst>
        </pc:spChg>
        <pc:spChg chg="add del mod">
          <ac:chgData name="Steiner Andreas 6206 ED" userId="e6377c33-a923-4f14-8587-531c474c7b48" providerId="ADAL" clId="{6ECD27E6-B224-41CD-B4E0-E297462320DD}" dt="2023-11-24T08:55:06.032" v="105049"/>
          <ac:spMkLst>
            <pc:docMk/>
            <pc:sldMk cId="721183839" sldId="2147478576"/>
            <ac:spMk id="688" creationId="{C8A0C3EF-6B42-CE3D-E398-C65E1B985E5E}"/>
          </ac:spMkLst>
        </pc:spChg>
        <pc:spChg chg="add del mod">
          <ac:chgData name="Steiner Andreas 6206 ED" userId="e6377c33-a923-4f14-8587-531c474c7b48" providerId="ADAL" clId="{6ECD27E6-B224-41CD-B4E0-E297462320DD}" dt="2023-11-24T08:55:08.124" v="105204"/>
          <ac:spMkLst>
            <pc:docMk/>
            <pc:sldMk cId="721183839" sldId="2147478576"/>
            <ac:spMk id="689" creationId="{454967F4-5308-C145-FBFE-C48290033463}"/>
          </ac:spMkLst>
        </pc:spChg>
        <pc:spChg chg="add del mod">
          <ac:chgData name="Steiner Andreas 6206 ED" userId="e6377c33-a923-4f14-8587-531c474c7b48" providerId="ADAL" clId="{6ECD27E6-B224-41CD-B4E0-E297462320DD}" dt="2023-11-24T08:55:10.113" v="105359"/>
          <ac:spMkLst>
            <pc:docMk/>
            <pc:sldMk cId="721183839" sldId="2147478576"/>
            <ac:spMk id="690" creationId="{B2856E50-F764-C370-DA1E-611F782266F7}"/>
          </ac:spMkLst>
        </pc:spChg>
        <pc:spChg chg="add del mod">
          <ac:chgData name="Steiner Andreas 6206 ED" userId="e6377c33-a923-4f14-8587-531c474c7b48" providerId="ADAL" clId="{6ECD27E6-B224-41CD-B4E0-E297462320DD}" dt="2023-11-24T08:55:12.098" v="105514"/>
          <ac:spMkLst>
            <pc:docMk/>
            <pc:sldMk cId="721183839" sldId="2147478576"/>
            <ac:spMk id="691" creationId="{B6F07235-43F8-85B5-5E14-E9ECD87CF0E5}"/>
          </ac:spMkLst>
        </pc:spChg>
        <pc:spChg chg="add del mod">
          <ac:chgData name="Steiner Andreas 6206 ED" userId="e6377c33-a923-4f14-8587-531c474c7b48" providerId="ADAL" clId="{6ECD27E6-B224-41CD-B4E0-E297462320DD}" dt="2023-11-24T08:55:14.157" v="105669"/>
          <ac:spMkLst>
            <pc:docMk/>
            <pc:sldMk cId="721183839" sldId="2147478576"/>
            <ac:spMk id="692" creationId="{74C5F3BB-7CD9-570A-6B13-674215F435D5}"/>
          </ac:spMkLst>
        </pc:spChg>
        <pc:spChg chg="add del mod">
          <ac:chgData name="Steiner Andreas 6206 ED" userId="e6377c33-a923-4f14-8587-531c474c7b48" providerId="ADAL" clId="{6ECD27E6-B224-41CD-B4E0-E297462320DD}" dt="2023-11-24T08:55:16.222" v="105824"/>
          <ac:spMkLst>
            <pc:docMk/>
            <pc:sldMk cId="721183839" sldId="2147478576"/>
            <ac:spMk id="693" creationId="{3F8B3F5D-1E1A-D70F-4013-78233B8AD91A}"/>
          </ac:spMkLst>
        </pc:spChg>
        <pc:spChg chg="add del mod">
          <ac:chgData name="Steiner Andreas 6206 ED" userId="e6377c33-a923-4f14-8587-531c474c7b48" providerId="ADAL" clId="{6ECD27E6-B224-41CD-B4E0-E297462320DD}" dt="2023-11-24T08:55:18.260" v="105979"/>
          <ac:spMkLst>
            <pc:docMk/>
            <pc:sldMk cId="721183839" sldId="2147478576"/>
            <ac:spMk id="694" creationId="{3C15AF3E-5D3E-9167-FCC1-2C3C64ED8271}"/>
          </ac:spMkLst>
        </pc:spChg>
        <pc:spChg chg="add del mod">
          <ac:chgData name="Steiner Andreas 6206 ED" userId="e6377c33-a923-4f14-8587-531c474c7b48" providerId="ADAL" clId="{6ECD27E6-B224-41CD-B4E0-E297462320DD}" dt="2023-11-24T08:55:20.278" v="106134"/>
          <ac:spMkLst>
            <pc:docMk/>
            <pc:sldMk cId="721183839" sldId="2147478576"/>
            <ac:spMk id="695" creationId="{C3D5B4CF-A7A9-98B4-6444-85735E1F8259}"/>
          </ac:spMkLst>
        </pc:spChg>
        <pc:spChg chg="add del mod">
          <ac:chgData name="Steiner Andreas 6206 ED" userId="e6377c33-a923-4f14-8587-531c474c7b48" providerId="ADAL" clId="{6ECD27E6-B224-41CD-B4E0-E297462320DD}" dt="2023-11-24T08:55:22.220" v="106289"/>
          <ac:spMkLst>
            <pc:docMk/>
            <pc:sldMk cId="721183839" sldId="2147478576"/>
            <ac:spMk id="696" creationId="{807CA2C4-BC41-B750-B08C-D9F24BEF6A70}"/>
          </ac:spMkLst>
        </pc:spChg>
        <pc:spChg chg="add del mod">
          <ac:chgData name="Steiner Andreas 6206 ED" userId="e6377c33-a923-4f14-8587-531c474c7b48" providerId="ADAL" clId="{6ECD27E6-B224-41CD-B4E0-E297462320DD}" dt="2023-11-24T08:55:24.230" v="106444"/>
          <ac:spMkLst>
            <pc:docMk/>
            <pc:sldMk cId="721183839" sldId="2147478576"/>
            <ac:spMk id="697" creationId="{1EC37452-5327-7FD8-8429-A4905F64CDB5}"/>
          </ac:spMkLst>
        </pc:spChg>
        <pc:spChg chg="add del mod">
          <ac:chgData name="Steiner Andreas 6206 ED" userId="e6377c33-a923-4f14-8587-531c474c7b48" providerId="ADAL" clId="{6ECD27E6-B224-41CD-B4E0-E297462320DD}" dt="2023-11-24T08:55:26.200" v="106599"/>
          <ac:spMkLst>
            <pc:docMk/>
            <pc:sldMk cId="721183839" sldId="2147478576"/>
            <ac:spMk id="698" creationId="{BC4F3A3D-51B9-C6A2-CBA7-C24C154ED73C}"/>
          </ac:spMkLst>
        </pc:spChg>
        <pc:spChg chg="add del mod">
          <ac:chgData name="Steiner Andreas 6206 ED" userId="e6377c33-a923-4f14-8587-531c474c7b48" providerId="ADAL" clId="{6ECD27E6-B224-41CD-B4E0-E297462320DD}" dt="2023-11-24T08:55:28.351" v="106754"/>
          <ac:spMkLst>
            <pc:docMk/>
            <pc:sldMk cId="721183839" sldId="2147478576"/>
            <ac:spMk id="699" creationId="{4D00753B-34CA-9CE4-9AC5-C78632903960}"/>
          </ac:spMkLst>
        </pc:spChg>
        <pc:spChg chg="add del mod">
          <ac:chgData name="Steiner Andreas 6206 ED" userId="e6377c33-a923-4f14-8587-531c474c7b48" providerId="ADAL" clId="{6ECD27E6-B224-41CD-B4E0-E297462320DD}" dt="2023-11-24T08:55:30.326" v="106909"/>
          <ac:spMkLst>
            <pc:docMk/>
            <pc:sldMk cId="721183839" sldId="2147478576"/>
            <ac:spMk id="700" creationId="{3524B135-E9D3-7907-130A-3B7CF136A2EF}"/>
          </ac:spMkLst>
        </pc:spChg>
        <pc:spChg chg="add del mod">
          <ac:chgData name="Steiner Andreas 6206 ED" userId="e6377c33-a923-4f14-8587-531c474c7b48" providerId="ADAL" clId="{6ECD27E6-B224-41CD-B4E0-E297462320DD}" dt="2023-11-24T08:55:32.522" v="107064"/>
          <ac:spMkLst>
            <pc:docMk/>
            <pc:sldMk cId="721183839" sldId="2147478576"/>
            <ac:spMk id="701" creationId="{CCC4B535-8950-BD4C-FE05-9DD8931C83EA}"/>
          </ac:spMkLst>
        </pc:spChg>
        <pc:spChg chg="add del mod">
          <ac:chgData name="Steiner Andreas 6206 ED" userId="e6377c33-a923-4f14-8587-531c474c7b48" providerId="ADAL" clId="{6ECD27E6-B224-41CD-B4E0-E297462320DD}" dt="2023-11-24T08:55:34.419" v="107219"/>
          <ac:spMkLst>
            <pc:docMk/>
            <pc:sldMk cId="721183839" sldId="2147478576"/>
            <ac:spMk id="702" creationId="{1F6D6CCA-7AFA-A2C1-9CA3-068B02164805}"/>
          </ac:spMkLst>
        </pc:spChg>
        <pc:spChg chg="add del mod">
          <ac:chgData name="Steiner Andreas 6206 ED" userId="e6377c33-a923-4f14-8587-531c474c7b48" providerId="ADAL" clId="{6ECD27E6-B224-41CD-B4E0-E297462320DD}" dt="2023-11-24T08:55:36.355" v="107374"/>
          <ac:spMkLst>
            <pc:docMk/>
            <pc:sldMk cId="721183839" sldId="2147478576"/>
            <ac:spMk id="703" creationId="{3B81E3C9-2D65-2106-0BC4-96B851431E9B}"/>
          </ac:spMkLst>
        </pc:spChg>
        <pc:spChg chg="add del mod">
          <ac:chgData name="Steiner Andreas 6206 ED" userId="e6377c33-a923-4f14-8587-531c474c7b48" providerId="ADAL" clId="{6ECD27E6-B224-41CD-B4E0-E297462320DD}" dt="2023-11-24T08:55:38.381" v="107529"/>
          <ac:spMkLst>
            <pc:docMk/>
            <pc:sldMk cId="721183839" sldId="2147478576"/>
            <ac:spMk id="704" creationId="{B917DEFA-112B-F301-5E96-277905B8914E}"/>
          </ac:spMkLst>
        </pc:spChg>
        <pc:spChg chg="add del mod">
          <ac:chgData name="Steiner Andreas 6206 ED" userId="e6377c33-a923-4f14-8587-531c474c7b48" providerId="ADAL" clId="{6ECD27E6-B224-41CD-B4E0-E297462320DD}" dt="2023-11-24T08:55:40.425" v="107684"/>
          <ac:spMkLst>
            <pc:docMk/>
            <pc:sldMk cId="721183839" sldId="2147478576"/>
            <ac:spMk id="705" creationId="{9BD7A890-2255-8A86-C052-D33732725BBF}"/>
          </ac:spMkLst>
        </pc:spChg>
        <pc:spChg chg="add del mod">
          <ac:chgData name="Steiner Andreas 6206 ED" userId="e6377c33-a923-4f14-8587-531c474c7b48" providerId="ADAL" clId="{6ECD27E6-B224-41CD-B4E0-E297462320DD}" dt="2023-11-24T08:55:42.306" v="107839"/>
          <ac:spMkLst>
            <pc:docMk/>
            <pc:sldMk cId="721183839" sldId="2147478576"/>
            <ac:spMk id="706" creationId="{092F3E58-0103-6956-3C1F-99ED76AB46AD}"/>
          </ac:spMkLst>
        </pc:spChg>
        <pc:spChg chg="add del mod">
          <ac:chgData name="Steiner Andreas 6206 ED" userId="e6377c33-a923-4f14-8587-531c474c7b48" providerId="ADAL" clId="{6ECD27E6-B224-41CD-B4E0-E297462320DD}" dt="2023-11-24T08:55:44.278" v="107994"/>
          <ac:spMkLst>
            <pc:docMk/>
            <pc:sldMk cId="721183839" sldId="2147478576"/>
            <ac:spMk id="707" creationId="{88369FF7-2084-BA74-9E35-EE6599C1EFC2}"/>
          </ac:spMkLst>
        </pc:spChg>
        <pc:spChg chg="add del mod">
          <ac:chgData name="Steiner Andreas 6206 ED" userId="e6377c33-a923-4f14-8587-531c474c7b48" providerId="ADAL" clId="{6ECD27E6-B224-41CD-B4E0-E297462320DD}" dt="2023-11-24T08:55:46.594" v="108149"/>
          <ac:spMkLst>
            <pc:docMk/>
            <pc:sldMk cId="721183839" sldId="2147478576"/>
            <ac:spMk id="708" creationId="{04119F98-5C76-7216-7B43-FC8B5B60B115}"/>
          </ac:spMkLst>
        </pc:spChg>
        <pc:spChg chg="add del mod">
          <ac:chgData name="Steiner Andreas 6206 ED" userId="e6377c33-a923-4f14-8587-531c474c7b48" providerId="ADAL" clId="{6ECD27E6-B224-41CD-B4E0-E297462320DD}" dt="2023-11-24T08:55:48.810" v="108304"/>
          <ac:spMkLst>
            <pc:docMk/>
            <pc:sldMk cId="721183839" sldId="2147478576"/>
            <ac:spMk id="709" creationId="{823454D2-F9F0-38A8-F862-343E16F9E8EE}"/>
          </ac:spMkLst>
        </pc:spChg>
        <pc:spChg chg="add del mod">
          <ac:chgData name="Steiner Andreas 6206 ED" userId="e6377c33-a923-4f14-8587-531c474c7b48" providerId="ADAL" clId="{6ECD27E6-B224-41CD-B4E0-E297462320DD}" dt="2023-11-24T08:55:51.245" v="108459"/>
          <ac:spMkLst>
            <pc:docMk/>
            <pc:sldMk cId="721183839" sldId="2147478576"/>
            <ac:spMk id="710" creationId="{3F61271B-A5DC-3CF9-D1CD-FD9EA067FFFF}"/>
          </ac:spMkLst>
        </pc:spChg>
        <pc:spChg chg="add del mod">
          <ac:chgData name="Steiner Andreas 6206 ED" userId="e6377c33-a923-4f14-8587-531c474c7b48" providerId="ADAL" clId="{6ECD27E6-B224-41CD-B4E0-E297462320DD}" dt="2023-11-24T08:55:53.285" v="108614"/>
          <ac:spMkLst>
            <pc:docMk/>
            <pc:sldMk cId="721183839" sldId="2147478576"/>
            <ac:spMk id="711" creationId="{7BA57032-7710-6CD1-56F6-7EE4A435D9C0}"/>
          </ac:spMkLst>
        </pc:spChg>
        <pc:spChg chg="add del mod">
          <ac:chgData name="Steiner Andreas 6206 ED" userId="e6377c33-a923-4f14-8587-531c474c7b48" providerId="ADAL" clId="{6ECD27E6-B224-41CD-B4E0-E297462320DD}" dt="2023-11-24T08:55:55.416" v="108769"/>
          <ac:spMkLst>
            <pc:docMk/>
            <pc:sldMk cId="721183839" sldId="2147478576"/>
            <ac:spMk id="712" creationId="{121D254E-564C-1BDF-6A54-B1F073C74062}"/>
          </ac:spMkLst>
        </pc:spChg>
        <pc:spChg chg="add del mod">
          <ac:chgData name="Steiner Andreas 6206 ED" userId="e6377c33-a923-4f14-8587-531c474c7b48" providerId="ADAL" clId="{6ECD27E6-B224-41CD-B4E0-E297462320DD}" dt="2023-11-24T08:55:57.433" v="108924"/>
          <ac:spMkLst>
            <pc:docMk/>
            <pc:sldMk cId="721183839" sldId="2147478576"/>
            <ac:spMk id="713" creationId="{FAF008E9-7321-6060-1998-190EDCF8971F}"/>
          </ac:spMkLst>
        </pc:spChg>
        <pc:spChg chg="add del mod">
          <ac:chgData name="Steiner Andreas 6206 ED" userId="e6377c33-a923-4f14-8587-531c474c7b48" providerId="ADAL" clId="{6ECD27E6-B224-41CD-B4E0-E297462320DD}" dt="2023-11-24T08:55:59.518" v="109079"/>
          <ac:spMkLst>
            <pc:docMk/>
            <pc:sldMk cId="721183839" sldId="2147478576"/>
            <ac:spMk id="714" creationId="{47446C64-41AE-31AD-D5CC-92A68C3FBFFF}"/>
          </ac:spMkLst>
        </pc:spChg>
        <pc:spChg chg="add del mod">
          <ac:chgData name="Steiner Andreas 6206 ED" userId="e6377c33-a923-4f14-8587-531c474c7b48" providerId="ADAL" clId="{6ECD27E6-B224-41CD-B4E0-E297462320DD}" dt="2023-11-24T08:56:01.890" v="109234"/>
          <ac:spMkLst>
            <pc:docMk/>
            <pc:sldMk cId="721183839" sldId="2147478576"/>
            <ac:spMk id="715" creationId="{5475FE7A-BB22-7F43-016A-881FCF132DE2}"/>
          </ac:spMkLst>
        </pc:spChg>
        <pc:spChg chg="add del mod">
          <ac:chgData name="Steiner Andreas 6206 ED" userId="e6377c33-a923-4f14-8587-531c474c7b48" providerId="ADAL" clId="{6ECD27E6-B224-41CD-B4E0-E297462320DD}" dt="2023-11-24T08:56:04.142" v="109389"/>
          <ac:spMkLst>
            <pc:docMk/>
            <pc:sldMk cId="721183839" sldId="2147478576"/>
            <ac:spMk id="716" creationId="{55CC102F-E06C-CD83-A1A6-8906BFE931A7}"/>
          </ac:spMkLst>
        </pc:spChg>
        <pc:spChg chg="add del mod">
          <ac:chgData name="Steiner Andreas 6206 ED" userId="e6377c33-a923-4f14-8587-531c474c7b48" providerId="ADAL" clId="{6ECD27E6-B224-41CD-B4E0-E297462320DD}" dt="2023-11-24T08:56:06.441" v="109544"/>
          <ac:spMkLst>
            <pc:docMk/>
            <pc:sldMk cId="721183839" sldId="2147478576"/>
            <ac:spMk id="717" creationId="{39BE5AA2-F20B-0154-9118-1449271C6C56}"/>
          </ac:spMkLst>
        </pc:spChg>
        <pc:spChg chg="add del mod">
          <ac:chgData name="Steiner Andreas 6206 ED" userId="e6377c33-a923-4f14-8587-531c474c7b48" providerId="ADAL" clId="{6ECD27E6-B224-41CD-B4E0-E297462320DD}" dt="2023-11-24T08:56:08.728" v="109699"/>
          <ac:spMkLst>
            <pc:docMk/>
            <pc:sldMk cId="721183839" sldId="2147478576"/>
            <ac:spMk id="718" creationId="{052992AC-870B-1EE4-A805-B55453BD125B}"/>
          </ac:spMkLst>
        </pc:spChg>
        <pc:spChg chg="add del mod">
          <ac:chgData name="Steiner Andreas 6206 ED" userId="e6377c33-a923-4f14-8587-531c474c7b48" providerId="ADAL" clId="{6ECD27E6-B224-41CD-B4E0-E297462320DD}" dt="2023-11-24T08:56:10.772" v="109854"/>
          <ac:spMkLst>
            <pc:docMk/>
            <pc:sldMk cId="721183839" sldId="2147478576"/>
            <ac:spMk id="719" creationId="{2EE445FB-7091-BB1A-0811-946C30E296BC}"/>
          </ac:spMkLst>
        </pc:spChg>
        <pc:spChg chg="add del mod">
          <ac:chgData name="Steiner Andreas 6206 ED" userId="e6377c33-a923-4f14-8587-531c474c7b48" providerId="ADAL" clId="{6ECD27E6-B224-41CD-B4E0-E297462320DD}" dt="2023-11-24T08:56:12.888" v="110009"/>
          <ac:spMkLst>
            <pc:docMk/>
            <pc:sldMk cId="721183839" sldId="2147478576"/>
            <ac:spMk id="720" creationId="{7EDAEF8F-2999-EF3C-27F9-AB92602589A1}"/>
          </ac:spMkLst>
        </pc:spChg>
        <pc:spChg chg="add del mod">
          <ac:chgData name="Steiner Andreas 6206 ED" userId="e6377c33-a923-4f14-8587-531c474c7b48" providerId="ADAL" clId="{6ECD27E6-B224-41CD-B4E0-E297462320DD}" dt="2023-11-24T08:56:15.014" v="110164"/>
          <ac:spMkLst>
            <pc:docMk/>
            <pc:sldMk cId="721183839" sldId="2147478576"/>
            <ac:spMk id="721" creationId="{055CC35C-9550-0980-7213-EF918101155F}"/>
          </ac:spMkLst>
        </pc:spChg>
        <pc:spChg chg="add del mod">
          <ac:chgData name="Steiner Andreas 6206 ED" userId="e6377c33-a923-4f14-8587-531c474c7b48" providerId="ADAL" clId="{6ECD27E6-B224-41CD-B4E0-E297462320DD}" dt="2023-11-24T08:56:16.994" v="110319"/>
          <ac:spMkLst>
            <pc:docMk/>
            <pc:sldMk cId="721183839" sldId="2147478576"/>
            <ac:spMk id="722" creationId="{68562935-E78C-EF7E-15C2-18E098AFB099}"/>
          </ac:spMkLst>
        </pc:spChg>
        <pc:spChg chg="add del mod">
          <ac:chgData name="Steiner Andreas 6206 ED" userId="e6377c33-a923-4f14-8587-531c474c7b48" providerId="ADAL" clId="{6ECD27E6-B224-41CD-B4E0-E297462320DD}" dt="2023-11-24T08:56:18.973" v="110474"/>
          <ac:spMkLst>
            <pc:docMk/>
            <pc:sldMk cId="721183839" sldId="2147478576"/>
            <ac:spMk id="723" creationId="{6C998287-3C2A-CEBF-B53F-F48B318D6B7D}"/>
          </ac:spMkLst>
        </pc:spChg>
        <pc:spChg chg="add del mod">
          <ac:chgData name="Steiner Andreas 6206 ED" userId="e6377c33-a923-4f14-8587-531c474c7b48" providerId="ADAL" clId="{6ECD27E6-B224-41CD-B4E0-E297462320DD}" dt="2023-11-24T08:56:20.917" v="110629"/>
          <ac:spMkLst>
            <pc:docMk/>
            <pc:sldMk cId="721183839" sldId="2147478576"/>
            <ac:spMk id="724" creationId="{E5CA21F4-7EA7-357B-4983-5C621C68013A}"/>
          </ac:spMkLst>
        </pc:spChg>
        <pc:spChg chg="add del mod">
          <ac:chgData name="Steiner Andreas 6206 ED" userId="e6377c33-a923-4f14-8587-531c474c7b48" providerId="ADAL" clId="{6ECD27E6-B224-41CD-B4E0-E297462320DD}" dt="2023-11-24T08:56:23.053" v="110784"/>
          <ac:spMkLst>
            <pc:docMk/>
            <pc:sldMk cId="721183839" sldId="2147478576"/>
            <ac:spMk id="725" creationId="{BF88262F-4004-654F-0C3E-89A4FFA8AB19}"/>
          </ac:spMkLst>
        </pc:spChg>
        <pc:spChg chg="add del mod">
          <ac:chgData name="Steiner Andreas 6206 ED" userId="e6377c33-a923-4f14-8587-531c474c7b48" providerId="ADAL" clId="{6ECD27E6-B224-41CD-B4E0-E297462320DD}" dt="2023-11-24T08:56:25.258" v="110939"/>
          <ac:spMkLst>
            <pc:docMk/>
            <pc:sldMk cId="721183839" sldId="2147478576"/>
            <ac:spMk id="726" creationId="{77D3680E-AB0E-2816-E41A-396B0407CBD8}"/>
          </ac:spMkLst>
        </pc:spChg>
        <pc:spChg chg="add del mod">
          <ac:chgData name="Steiner Andreas 6206 ED" userId="e6377c33-a923-4f14-8587-531c474c7b48" providerId="ADAL" clId="{6ECD27E6-B224-41CD-B4E0-E297462320DD}" dt="2023-11-24T08:56:27.281" v="111094"/>
          <ac:spMkLst>
            <pc:docMk/>
            <pc:sldMk cId="721183839" sldId="2147478576"/>
            <ac:spMk id="727" creationId="{2CA336EF-AE08-5D12-937F-5B76F0558C92}"/>
          </ac:spMkLst>
        </pc:spChg>
        <pc:spChg chg="add del mod">
          <ac:chgData name="Steiner Andreas 6206 ED" userId="e6377c33-a923-4f14-8587-531c474c7b48" providerId="ADAL" clId="{6ECD27E6-B224-41CD-B4E0-E297462320DD}" dt="2023-11-24T08:56:29.315" v="111249"/>
          <ac:spMkLst>
            <pc:docMk/>
            <pc:sldMk cId="721183839" sldId="2147478576"/>
            <ac:spMk id="728" creationId="{C880534D-645F-63F7-A3A6-6329C191E807}"/>
          </ac:spMkLst>
        </pc:spChg>
        <pc:spChg chg="add del mod">
          <ac:chgData name="Steiner Andreas 6206 ED" userId="e6377c33-a923-4f14-8587-531c474c7b48" providerId="ADAL" clId="{6ECD27E6-B224-41CD-B4E0-E297462320DD}" dt="2023-11-24T08:56:31.424" v="111404"/>
          <ac:spMkLst>
            <pc:docMk/>
            <pc:sldMk cId="721183839" sldId="2147478576"/>
            <ac:spMk id="729" creationId="{87B4C088-874F-EA3E-6F75-CA9103C5CB58}"/>
          </ac:spMkLst>
        </pc:spChg>
        <pc:spChg chg="add del mod">
          <ac:chgData name="Steiner Andreas 6206 ED" userId="e6377c33-a923-4f14-8587-531c474c7b48" providerId="ADAL" clId="{6ECD27E6-B224-41CD-B4E0-E297462320DD}" dt="2023-11-24T08:56:33.652" v="111559"/>
          <ac:spMkLst>
            <pc:docMk/>
            <pc:sldMk cId="721183839" sldId="2147478576"/>
            <ac:spMk id="730" creationId="{6F0FE957-87EF-9EAB-8607-331E1BE83E7B}"/>
          </ac:spMkLst>
        </pc:spChg>
        <pc:spChg chg="add del mod">
          <ac:chgData name="Steiner Andreas 6206 ED" userId="e6377c33-a923-4f14-8587-531c474c7b48" providerId="ADAL" clId="{6ECD27E6-B224-41CD-B4E0-E297462320DD}" dt="2023-11-24T08:56:35.832" v="111714"/>
          <ac:spMkLst>
            <pc:docMk/>
            <pc:sldMk cId="721183839" sldId="2147478576"/>
            <ac:spMk id="731" creationId="{73A1DD8A-08B6-2391-57CE-A1FCA058DF7E}"/>
          </ac:spMkLst>
        </pc:spChg>
        <pc:spChg chg="add del mod">
          <ac:chgData name="Steiner Andreas 6206 ED" userId="e6377c33-a923-4f14-8587-531c474c7b48" providerId="ADAL" clId="{6ECD27E6-B224-41CD-B4E0-E297462320DD}" dt="2023-11-24T08:56:37.898" v="111869"/>
          <ac:spMkLst>
            <pc:docMk/>
            <pc:sldMk cId="721183839" sldId="2147478576"/>
            <ac:spMk id="732" creationId="{E23A04D7-51A5-75F2-E253-B6C6F54399E6}"/>
          </ac:spMkLst>
        </pc:spChg>
        <pc:spChg chg="add del mod">
          <ac:chgData name="Steiner Andreas 6206 ED" userId="e6377c33-a923-4f14-8587-531c474c7b48" providerId="ADAL" clId="{6ECD27E6-B224-41CD-B4E0-E297462320DD}" dt="2023-11-24T08:56:40.051" v="112024"/>
          <ac:spMkLst>
            <pc:docMk/>
            <pc:sldMk cId="721183839" sldId="2147478576"/>
            <ac:spMk id="733" creationId="{042381F1-B5BD-0775-1FEE-23D2B8024728}"/>
          </ac:spMkLst>
        </pc:spChg>
        <pc:spChg chg="add del mod">
          <ac:chgData name="Steiner Andreas 6206 ED" userId="e6377c33-a923-4f14-8587-531c474c7b48" providerId="ADAL" clId="{6ECD27E6-B224-41CD-B4E0-E297462320DD}" dt="2023-11-24T08:56:42.001" v="112179"/>
          <ac:spMkLst>
            <pc:docMk/>
            <pc:sldMk cId="721183839" sldId="2147478576"/>
            <ac:spMk id="734" creationId="{D6ED1972-C66A-F8BD-E01B-86B10B0182A2}"/>
          </ac:spMkLst>
        </pc:spChg>
        <pc:spChg chg="add del mod">
          <ac:chgData name="Steiner Andreas 6206 ED" userId="e6377c33-a923-4f14-8587-531c474c7b48" providerId="ADAL" clId="{6ECD27E6-B224-41CD-B4E0-E297462320DD}" dt="2023-11-24T08:56:44" v="112334"/>
          <ac:spMkLst>
            <pc:docMk/>
            <pc:sldMk cId="721183839" sldId="2147478576"/>
            <ac:spMk id="735" creationId="{155D9824-8B8A-52BC-1825-9353A240C78B}"/>
          </ac:spMkLst>
        </pc:spChg>
        <pc:spChg chg="add del mod">
          <ac:chgData name="Steiner Andreas 6206 ED" userId="e6377c33-a923-4f14-8587-531c474c7b48" providerId="ADAL" clId="{6ECD27E6-B224-41CD-B4E0-E297462320DD}" dt="2023-11-24T08:56:46.032" v="112489"/>
          <ac:spMkLst>
            <pc:docMk/>
            <pc:sldMk cId="721183839" sldId="2147478576"/>
            <ac:spMk id="736" creationId="{46E7A648-6D28-C576-E11C-8693B41F52FB}"/>
          </ac:spMkLst>
        </pc:spChg>
        <pc:spChg chg="add del mod">
          <ac:chgData name="Steiner Andreas 6206 ED" userId="e6377c33-a923-4f14-8587-531c474c7b48" providerId="ADAL" clId="{6ECD27E6-B224-41CD-B4E0-E297462320DD}" dt="2023-11-24T08:56:48.244" v="112644"/>
          <ac:spMkLst>
            <pc:docMk/>
            <pc:sldMk cId="721183839" sldId="2147478576"/>
            <ac:spMk id="737" creationId="{274B6AED-8F94-12F5-8ED6-E0B2C163828A}"/>
          </ac:spMkLst>
        </pc:spChg>
        <pc:spChg chg="add del mod">
          <ac:chgData name="Steiner Andreas 6206 ED" userId="e6377c33-a923-4f14-8587-531c474c7b48" providerId="ADAL" clId="{6ECD27E6-B224-41CD-B4E0-E297462320DD}" dt="2023-11-24T08:56:50.299" v="112799"/>
          <ac:spMkLst>
            <pc:docMk/>
            <pc:sldMk cId="721183839" sldId="2147478576"/>
            <ac:spMk id="738" creationId="{02A383DD-38E7-F2D4-FE56-EDD35146CD59}"/>
          </ac:spMkLst>
        </pc:spChg>
        <pc:spChg chg="add del mod">
          <ac:chgData name="Steiner Andreas 6206 ED" userId="e6377c33-a923-4f14-8587-531c474c7b48" providerId="ADAL" clId="{6ECD27E6-B224-41CD-B4E0-E297462320DD}" dt="2023-11-24T08:56:52.229" v="112954"/>
          <ac:spMkLst>
            <pc:docMk/>
            <pc:sldMk cId="721183839" sldId="2147478576"/>
            <ac:spMk id="739" creationId="{9403B269-55A1-7A86-6791-69DF5479476C}"/>
          </ac:spMkLst>
        </pc:spChg>
        <pc:spChg chg="add del mod">
          <ac:chgData name="Steiner Andreas 6206 ED" userId="e6377c33-a923-4f14-8587-531c474c7b48" providerId="ADAL" clId="{6ECD27E6-B224-41CD-B4E0-E297462320DD}" dt="2023-11-24T08:56:54.349" v="113109"/>
          <ac:spMkLst>
            <pc:docMk/>
            <pc:sldMk cId="721183839" sldId="2147478576"/>
            <ac:spMk id="740" creationId="{3D75641D-D2F4-1B10-08D8-9D2D41A277F4}"/>
          </ac:spMkLst>
        </pc:spChg>
        <pc:spChg chg="add del mod">
          <ac:chgData name="Steiner Andreas 6206 ED" userId="e6377c33-a923-4f14-8587-531c474c7b48" providerId="ADAL" clId="{6ECD27E6-B224-41CD-B4E0-E297462320DD}" dt="2023-11-24T08:56:56.308" v="113264"/>
          <ac:spMkLst>
            <pc:docMk/>
            <pc:sldMk cId="721183839" sldId="2147478576"/>
            <ac:spMk id="741" creationId="{CCDD09F2-0000-CB68-5A78-CFD6E6A5129A}"/>
          </ac:spMkLst>
        </pc:spChg>
        <pc:spChg chg="add del mod">
          <ac:chgData name="Steiner Andreas 6206 ED" userId="e6377c33-a923-4f14-8587-531c474c7b48" providerId="ADAL" clId="{6ECD27E6-B224-41CD-B4E0-E297462320DD}" dt="2023-11-24T08:56:58.433" v="113419"/>
          <ac:spMkLst>
            <pc:docMk/>
            <pc:sldMk cId="721183839" sldId="2147478576"/>
            <ac:spMk id="742" creationId="{65FA4E1D-CD93-5FBF-0ACF-1C00C70FD668}"/>
          </ac:spMkLst>
        </pc:spChg>
        <pc:spChg chg="add del mod">
          <ac:chgData name="Steiner Andreas 6206 ED" userId="e6377c33-a923-4f14-8587-531c474c7b48" providerId="ADAL" clId="{6ECD27E6-B224-41CD-B4E0-E297462320DD}" dt="2023-11-24T08:57:00.735" v="113574"/>
          <ac:spMkLst>
            <pc:docMk/>
            <pc:sldMk cId="721183839" sldId="2147478576"/>
            <ac:spMk id="743" creationId="{50FEC4D5-18A7-BB7C-0EB1-28DF3A84B4E9}"/>
          </ac:spMkLst>
        </pc:spChg>
        <pc:spChg chg="add del mod">
          <ac:chgData name="Steiner Andreas 6206 ED" userId="e6377c33-a923-4f14-8587-531c474c7b48" providerId="ADAL" clId="{6ECD27E6-B224-41CD-B4E0-E297462320DD}" dt="2023-11-24T08:57:03.109" v="113729"/>
          <ac:spMkLst>
            <pc:docMk/>
            <pc:sldMk cId="721183839" sldId="2147478576"/>
            <ac:spMk id="744" creationId="{E5346D02-9415-B39C-D5C3-8D9F5D598F44}"/>
          </ac:spMkLst>
        </pc:spChg>
        <pc:spChg chg="add del mod">
          <ac:chgData name="Steiner Andreas 6206 ED" userId="e6377c33-a923-4f14-8587-531c474c7b48" providerId="ADAL" clId="{6ECD27E6-B224-41CD-B4E0-E297462320DD}" dt="2023-11-24T09:02:21.594" v="113884"/>
          <ac:spMkLst>
            <pc:docMk/>
            <pc:sldMk cId="721183839" sldId="2147478576"/>
            <ac:spMk id="745" creationId="{B4E918DB-FE12-2C4E-2FBD-0DC6D8BDA341}"/>
          </ac:spMkLst>
        </pc:spChg>
        <pc:spChg chg="add del mod">
          <ac:chgData name="Steiner Andreas 6206 ED" userId="e6377c33-a923-4f14-8587-531c474c7b48" providerId="ADAL" clId="{6ECD27E6-B224-41CD-B4E0-E297462320DD}" dt="2023-11-24T09:02:27.508" v="114039"/>
          <ac:spMkLst>
            <pc:docMk/>
            <pc:sldMk cId="721183839" sldId="2147478576"/>
            <ac:spMk id="746" creationId="{FDA332F2-4DE4-DDD3-BDD4-9CAC4C002410}"/>
          </ac:spMkLst>
        </pc:spChg>
        <pc:spChg chg="add del mod">
          <ac:chgData name="Steiner Andreas 6206 ED" userId="e6377c33-a923-4f14-8587-531c474c7b48" providerId="ADAL" clId="{6ECD27E6-B224-41CD-B4E0-E297462320DD}" dt="2023-11-24T09:02:30.063" v="114194"/>
          <ac:spMkLst>
            <pc:docMk/>
            <pc:sldMk cId="721183839" sldId="2147478576"/>
            <ac:spMk id="747" creationId="{EBA1A839-42B9-23F7-C77B-C8A1C5129109}"/>
          </ac:spMkLst>
        </pc:spChg>
        <pc:spChg chg="add del mod">
          <ac:chgData name="Steiner Andreas 6206 ED" userId="e6377c33-a923-4f14-8587-531c474c7b48" providerId="ADAL" clId="{6ECD27E6-B224-41CD-B4E0-E297462320DD}" dt="2023-11-24T09:02:33.359" v="114349"/>
          <ac:spMkLst>
            <pc:docMk/>
            <pc:sldMk cId="721183839" sldId="2147478576"/>
            <ac:spMk id="748" creationId="{F2C48DF3-6CF8-B246-2FD5-7ED69995218B}"/>
          </ac:spMkLst>
        </pc:spChg>
        <pc:spChg chg="add del mod">
          <ac:chgData name="Steiner Andreas 6206 ED" userId="e6377c33-a923-4f14-8587-531c474c7b48" providerId="ADAL" clId="{6ECD27E6-B224-41CD-B4E0-E297462320DD}" dt="2023-11-24T09:02:36.773" v="114504"/>
          <ac:spMkLst>
            <pc:docMk/>
            <pc:sldMk cId="721183839" sldId="2147478576"/>
            <ac:spMk id="749" creationId="{1CC6105D-B59C-4288-C5CA-A2BA8A10E4C1}"/>
          </ac:spMkLst>
        </pc:spChg>
        <pc:spChg chg="add del mod">
          <ac:chgData name="Steiner Andreas 6206 ED" userId="e6377c33-a923-4f14-8587-531c474c7b48" providerId="ADAL" clId="{6ECD27E6-B224-41CD-B4E0-E297462320DD}" dt="2023-11-24T11:31:22.554" v="114659"/>
          <ac:spMkLst>
            <pc:docMk/>
            <pc:sldMk cId="721183839" sldId="2147478576"/>
            <ac:spMk id="750" creationId="{323BF4C6-5106-0492-78F3-6FD70C74A588}"/>
          </ac:spMkLst>
        </pc:spChg>
        <pc:spChg chg="add del mod">
          <ac:chgData name="Steiner Andreas 6206 ED" userId="e6377c33-a923-4f14-8587-531c474c7b48" providerId="ADAL" clId="{6ECD27E6-B224-41CD-B4E0-E297462320DD}" dt="2023-11-24T11:33:29.870" v="114814"/>
          <ac:spMkLst>
            <pc:docMk/>
            <pc:sldMk cId="721183839" sldId="2147478576"/>
            <ac:spMk id="751" creationId="{C9F47A0D-1819-FDDC-89E9-57163CC63F37}"/>
          </ac:spMkLst>
        </pc:spChg>
        <pc:spChg chg="add del mod">
          <ac:chgData name="Steiner Andreas 6206 ED" userId="e6377c33-a923-4f14-8587-531c474c7b48" providerId="ADAL" clId="{6ECD27E6-B224-41CD-B4E0-E297462320DD}" dt="2023-11-24T11:33:36.363" v="114969"/>
          <ac:spMkLst>
            <pc:docMk/>
            <pc:sldMk cId="721183839" sldId="2147478576"/>
            <ac:spMk id="752" creationId="{55119868-665D-7C5F-B090-2236CE70850F}"/>
          </ac:spMkLst>
        </pc:spChg>
        <pc:spChg chg="add del mod">
          <ac:chgData name="Steiner Andreas 6206 ED" userId="e6377c33-a923-4f14-8587-531c474c7b48" providerId="ADAL" clId="{6ECD27E6-B224-41CD-B4E0-E297462320DD}" dt="2023-11-24T11:33:39.478" v="115124"/>
          <ac:spMkLst>
            <pc:docMk/>
            <pc:sldMk cId="721183839" sldId="2147478576"/>
            <ac:spMk id="753" creationId="{0637BF47-9F12-5EFA-6530-92FCC37C8535}"/>
          </ac:spMkLst>
        </pc:spChg>
        <pc:spChg chg="add del mod">
          <ac:chgData name="Steiner Andreas 6206 ED" userId="e6377c33-a923-4f14-8587-531c474c7b48" providerId="ADAL" clId="{6ECD27E6-B224-41CD-B4E0-E297462320DD}" dt="2023-11-24T11:33:43.040" v="115279"/>
          <ac:spMkLst>
            <pc:docMk/>
            <pc:sldMk cId="721183839" sldId="2147478576"/>
            <ac:spMk id="754" creationId="{D0911B2E-D96F-203E-298D-6DBFFE8FFE9F}"/>
          </ac:spMkLst>
        </pc:spChg>
        <pc:spChg chg="add del mod">
          <ac:chgData name="Steiner Andreas 6206 ED" userId="e6377c33-a923-4f14-8587-531c474c7b48" providerId="ADAL" clId="{6ECD27E6-B224-41CD-B4E0-E297462320DD}" dt="2023-11-24T11:33:46.254" v="115434"/>
          <ac:spMkLst>
            <pc:docMk/>
            <pc:sldMk cId="721183839" sldId="2147478576"/>
            <ac:spMk id="755" creationId="{168F326D-0223-DDE1-AA7C-D0E5DF279D01}"/>
          </ac:spMkLst>
        </pc:spChg>
        <pc:spChg chg="add del mod">
          <ac:chgData name="Steiner Andreas 6206 ED" userId="e6377c33-a923-4f14-8587-531c474c7b48" providerId="ADAL" clId="{6ECD27E6-B224-41CD-B4E0-E297462320DD}" dt="2023-11-24T11:33:49.333" v="115589"/>
          <ac:spMkLst>
            <pc:docMk/>
            <pc:sldMk cId="721183839" sldId="2147478576"/>
            <ac:spMk id="756" creationId="{1250A4A9-054B-1546-62D4-CD986F7C65B5}"/>
          </ac:spMkLst>
        </pc:spChg>
        <pc:spChg chg="add del mod">
          <ac:chgData name="Steiner Andreas 6206 ED" userId="e6377c33-a923-4f14-8587-531c474c7b48" providerId="ADAL" clId="{6ECD27E6-B224-41CD-B4E0-E297462320DD}" dt="2023-11-24T11:33:52.016" v="115744"/>
          <ac:spMkLst>
            <pc:docMk/>
            <pc:sldMk cId="721183839" sldId="2147478576"/>
            <ac:spMk id="757" creationId="{8FEA8EDF-A11C-19B6-B06B-BC34228A3E5A}"/>
          </ac:spMkLst>
        </pc:spChg>
        <pc:spChg chg="add del mod">
          <ac:chgData name="Steiner Andreas 6206 ED" userId="e6377c33-a923-4f14-8587-531c474c7b48" providerId="ADAL" clId="{6ECD27E6-B224-41CD-B4E0-E297462320DD}" dt="2023-11-24T11:33:54.857" v="115899"/>
          <ac:spMkLst>
            <pc:docMk/>
            <pc:sldMk cId="721183839" sldId="2147478576"/>
            <ac:spMk id="758" creationId="{E0A63D66-EECF-62A7-2B3D-C95B945BDB0B}"/>
          </ac:spMkLst>
        </pc:spChg>
        <pc:spChg chg="add del mod">
          <ac:chgData name="Steiner Andreas 6206 ED" userId="e6377c33-a923-4f14-8587-531c474c7b48" providerId="ADAL" clId="{6ECD27E6-B224-41CD-B4E0-E297462320DD}" dt="2023-11-24T11:33:57.357" v="116054"/>
          <ac:spMkLst>
            <pc:docMk/>
            <pc:sldMk cId="721183839" sldId="2147478576"/>
            <ac:spMk id="759" creationId="{CA253900-0C4F-A586-3898-742A76E8B191}"/>
          </ac:spMkLst>
        </pc:spChg>
        <pc:spChg chg="add del mod">
          <ac:chgData name="Steiner Andreas 6206 ED" userId="e6377c33-a923-4f14-8587-531c474c7b48" providerId="ADAL" clId="{6ECD27E6-B224-41CD-B4E0-E297462320DD}" dt="2023-11-24T11:33:59.703" v="116209"/>
          <ac:spMkLst>
            <pc:docMk/>
            <pc:sldMk cId="721183839" sldId="2147478576"/>
            <ac:spMk id="760" creationId="{BC328584-21D7-9A1E-DD99-7DD3D7DCC7EF}"/>
          </ac:spMkLst>
        </pc:spChg>
        <pc:spChg chg="add del mod">
          <ac:chgData name="Steiner Andreas 6206 ED" userId="e6377c33-a923-4f14-8587-531c474c7b48" providerId="ADAL" clId="{6ECD27E6-B224-41CD-B4E0-E297462320DD}" dt="2023-11-24T11:34:02.068" v="116364"/>
          <ac:spMkLst>
            <pc:docMk/>
            <pc:sldMk cId="721183839" sldId="2147478576"/>
            <ac:spMk id="761" creationId="{64185EB8-2ECC-71D9-570D-F99BF1A55FED}"/>
          </ac:spMkLst>
        </pc:spChg>
        <pc:spChg chg="add del mod">
          <ac:chgData name="Steiner Andreas 6206 ED" userId="e6377c33-a923-4f14-8587-531c474c7b48" providerId="ADAL" clId="{6ECD27E6-B224-41CD-B4E0-E297462320DD}" dt="2023-11-24T11:34:04.378" v="116519"/>
          <ac:spMkLst>
            <pc:docMk/>
            <pc:sldMk cId="721183839" sldId="2147478576"/>
            <ac:spMk id="762" creationId="{4E9B93BB-71F0-FBE5-A7AF-7E0E7F1BD5A7}"/>
          </ac:spMkLst>
        </pc:spChg>
        <pc:spChg chg="add del mod">
          <ac:chgData name="Steiner Andreas 6206 ED" userId="e6377c33-a923-4f14-8587-531c474c7b48" providerId="ADAL" clId="{6ECD27E6-B224-41CD-B4E0-E297462320DD}" dt="2023-11-24T11:34:06.856" v="116674"/>
          <ac:spMkLst>
            <pc:docMk/>
            <pc:sldMk cId="721183839" sldId="2147478576"/>
            <ac:spMk id="763" creationId="{11CE8E00-4C72-7AFE-51EE-EEA64C6253D1}"/>
          </ac:spMkLst>
        </pc:spChg>
        <pc:spChg chg="add del mod">
          <ac:chgData name="Steiner Andreas 6206 ED" userId="e6377c33-a923-4f14-8587-531c474c7b48" providerId="ADAL" clId="{6ECD27E6-B224-41CD-B4E0-E297462320DD}" dt="2023-11-24T11:34:09.473" v="116829"/>
          <ac:spMkLst>
            <pc:docMk/>
            <pc:sldMk cId="721183839" sldId="2147478576"/>
            <ac:spMk id="764" creationId="{1F19EE58-49CF-C084-14AF-42F08BA88B49}"/>
          </ac:spMkLst>
        </pc:spChg>
        <pc:spChg chg="add del mod">
          <ac:chgData name="Steiner Andreas 6206 ED" userId="e6377c33-a923-4f14-8587-531c474c7b48" providerId="ADAL" clId="{6ECD27E6-B224-41CD-B4E0-E297462320DD}" dt="2023-11-24T11:34:11.438" v="116984"/>
          <ac:spMkLst>
            <pc:docMk/>
            <pc:sldMk cId="721183839" sldId="2147478576"/>
            <ac:spMk id="765" creationId="{76EADC0A-D5BC-269F-C317-914882D3403D}"/>
          </ac:spMkLst>
        </pc:spChg>
        <pc:spChg chg="add del mod">
          <ac:chgData name="Steiner Andreas 6206 ED" userId="e6377c33-a923-4f14-8587-531c474c7b48" providerId="ADAL" clId="{6ECD27E6-B224-41CD-B4E0-E297462320DD}" dt="2023-11-24T11:34:13.197" v="117139"/>
          <ac:spMkLst>
            <pc:docMk/>
            <pc:sldMk cId="721183839" sldId="2147478576"/>
            <ac:spMk id="766" creationId="{A345688E-99E9-3DEC-6EFA-4448C81A4D6D}"/>
          </ac:spMkLst>
        </pc:spChg>
        <pc:spChg chg="add del mod">
          <ac:chgData name="Steiner Andreas 6206 ED" userId="e6377c33-a923-4f14-8587-531c474c7b48" providerId="ADAL" clId="{6ECD27E6-B224-41CD-B4E0-E297462320DD}" dt="2023-11-24T11:34:14.981" v="117294"/>
          <ac:spMkLst>
            <pc:docMk/>
            <pc:sldMk cId="721183839" sldId="2147478576"/>
            <ac:spMk id="767" creationId="{E87294B2-437F-9945-BFB1-B7BD1C1BC82B}"/>
          </ac:spMkLst>
        </pc:spChg>
        <pc:spChg chg="add del mod">
          <ac:chgData name="Steiner Andreas 6206 ED" userId="e6377c33-a923-4f14-8587-531c474c7b48" providerId="ADAL" clId="{6ECD27E6-B224-41CD-B4E0-E297462320DD}" dt="2023-11-24T11:34:16.776" v="117449"/>
          <ac:spMkLst>
            <pc:docMk/>
            <pc:sldMk cId="721183839" sldId="2147478576"/>
            <ac:spMk id="768" creationId="{3EFBD812-E58E-8E70-147B-4F26FFE02AC0}"/>
          </ac:spMkLst>
        </pc:spChg>
        <pc:spChg chg="add del mod">
          <ac:chgData name="Steiner Andreas 6206 ED" userId="e6377c33-a923-4f14-8587-531c474c7b48" providerId="ADAL" clId="{6ECD27E6-B224-41CD-B4E0-E297462320DD}" dt="2023-11-24T11:34:18.588" v="117604"/>
          <ac:spMkLst>
            <pc:docMk/>
            <pc:sldMk cId="721183839" sldId="2147478576"/>
            <ac:spMk id="769" creationId="{0CB425DB-8CBB-926A-CBE1-2040BD69AA95}"/>
          </ac:spMkLst>
        </pc:spChg>
        <pc:spChg chg="add del mod">
          <ac:chgData name="Steiner Andreas 6206 ED" userId="e6377c33-a923-4f14-8587-531c474c7b48" providerId="ADAL" clId="{6ECD27E6-B224-41CD-B4E0-E297462320DD}" dt="2023-11-24T11:34:20.691" v="117759"/>
          <ac:spMkLst>
            <pc:docMk/>
            <pc:sldMk cId="721183839" sldId="2147478576"/>
            <ac:spMk id="770" creationId="{050D918F-D0F2-1B54-FB2A-0594557713AC}"/>
          </ac:spMkLst>
        </pc:spChg>
        <pc:spChg chg="add del mod">
          <ac:chgData name="Steiner Andreas 6206 ED" userId="e6377c33-a923-4f14-8587-531c474c7b48" providerId="ADAL" clId="{6ECD27E6-B224-41CD-B4E0-E297462320DD}" dt="2023-11-24T11:34:22.625" v="117914"/>
          <ac:spMkLst>
            <pc:docMk/>
            <pc:sldMk cId="721183839" sldId="2147478576"/>
            <ac:spMk id="771" creationId="{4EAAD98B-92BF-0C82-5FD9-889126B9C127}"/>
          </ac:spMkLst>
        </pc:spChg>
        <pc:spChg chg="add del mod">
          <ac:chgData name="Steiner Andreas 6206 ED" userId="e6377c33-a923-4f14-8587-531c474c7b48" providerId="ADAL" clId="{6ECD27E6-B224-41CD-B4E0-E297462320DD}" dt="2023-11-24T11:34:24.739" v="118069"/>
          <ac:spMkLst>
            <pc:docMk/>
            <pc:sldMk cId="721183839" sldId="2147478576"/>
            <ac:spMk id="772" creationId="{EB773F56-C9A6-73E9-2593-B713BD28FED2}"/>
          </ac:spMkLst>
        </pc:spChg>
        <pc:spChg chg="add del mod">
          <ac:chgData name="Steiner Andreas 6206 ED" userId="e6377c33-a923-4f14-8587-531c474c7b48" providerId="ADAL" clId="{6ECD27E6-B224-41CD-B4E0-E297462320DD}" dt="2023-11-24T11:34:27.287" v="118224"/>
          <ac:spMkLst>
            <pc:docMk/>
            <pc:sldMk cId="721183839" sldId="2147478576"/>
            <ac:spMk id="773" creationId="{F2A4EF68-82C9-94CB-C70E-01F152A638B9}"/>
          </ac:spMkLst>
        </pc:spChg>
        <pc:spChg chg="add del mod">
          <ac:chgData name="Steiner Andreas 6206 ED" userId="e6377c33-a923-4f14-8587-531c474c7b48" providerId="ADAL" clId="{6ECD27E6-B224-41CD-B4E0-E297462320DD}" dt="2023-11-24T11:34:29.344" v="118379"/>
          <ac:spMkLst>
            <pc:docMk/>
            <pc:sldMk cId="721183839" sldId="2147478576"/>
            <ac:spMk id="774" creationId="{4DE0ACA7-0034-EB7E-63C0-D29DD1BBCF9C}"/>
          </ac:spMkLst>
        </pc:spChg>
        <pc:spChg chg="add del mod">
          <ac:chgData name="Steiner Andreas 6206 ED" userId="e6377c33-a923-4f14-8587-531c474c7b48" providerId="ADAL" clId="{6ECD27E6-B224-41CD-B4E0-E297462320DD}" dt="2023-11-24T11:34:31.611" v="118534"/>
          <ac:spMkLst>
            <pc:docMk/>
            <pc:sldMk cId="721183839" sldId="2147478576"/>
            <ac:spMk id="775" creationId="{C09F6CC6-F93D-3E0D-08E7-3073EE9A705D}"/>
          </ac:spMkLst>
        </pc:spChg>
        <pc:spChg chg="add del mod">
          <ac:chgData name="Steiner Andreas 6206 ED" userId="e6377c33-a923-4f14-8587-531c474c7b48" providerId="ADAL" clId="{6ECD27E6-B224-41CD-B4E0-E297462320DD}" dt="2023-11-24T11:34:33.588" v="118689"/>
          <ac:spMkLst>
            <pc:docMk/>
            <pc:sldMk cId="721183839" sldId="2147478576"/>
            <ac:spMk id="776" creationId="{0A1499E5-D0B5-5B1E-D9D1-720180869675}"/>
          </ac:spMkLst>
        </pc:spChg>
        <pc:spChg chg="add del mod">
          <ac:chgData name="Steiner Andreas 6206 ED" userId="e6377c33-a923-4f14-8587-531c474c7b48" providerId="ADAL" clId="{6ECD27E6-B224-41CD-B4E0-E297462320DD}" dt="2023-11-24T11:34:35.572" v="118844"/>
          <ac:spMkLst>
            <pc:docMk/>
            <pc:sldMk cId="721183839" sldId="2147478576"/>
            <ac:spMk id="777" creationId="{B8CD5DE2-C9CC-547B-ADC5-F1F418388809}"/>
          </ac:spMkLst>
        </pc:spChg>
        <pc:spChg chg="add del mod">
          <ac:chgData name="Steiner Andreas 6206 ED" userId="e6377c33-a923-4f14-8587-531c474c7b48" providerId="ADAL" clId="{6ECD27E6-B224-41CD-B4E0-E297462320DD}" dt="2023-11-24T11:34:37.666" v="118999"/>
          <ac:spMkLst>
            <pc:docMk/>
            <pc:sldMk cId="721183839" sldId="2147478576"/>
            <ac:spMk id="778" creationId="{E1E82ADD-AB6B-6BA5-454C-1D001AB2D2A5}"/>
          </ac:spMkLst>
        </pc:spChg>
        <pc:spChg chg="add del mod">
          <ac:chgData name="Steiner Andreas 6206 ED" userId="e6377c33-a923-4f14-8587-531c474c7b48" providerId="ADAL" clId="{6ECD27E6-B224-41CD-B4E0-E297462320DD}" dt="2023-11-24T11:34:39.624" v="119154"/>
          <ac:spMkLst>
            <pc:docMk/>
            <pc:sldMk cId="721183839" sldId="2147478576"/>
            <ac:spMk id="779" creationId="{50E738B7-C85D-243D-89AD-683958E7782A}"/>
          </ac:spMkLst>
        </pc:spChg>
        <pc:spChg chg="add del mod">
          <ac:chgData name="Steiner Andreas 6206 ED" userId="e6377c33-a923-4f14-8587-531c474c7b48" providerId="ADAL" clId="{6ECD27E6-B224-41CD-B4E0-E297462320DD}" dt="2023-11-24T11:34:41.767" v="119309"/>
          <ac:spMkLst>
            <pc:docMk/>
            <pc:sldMk cId="721183839" sldId="2147478576"/>
            <ac:spMk id="780" creationId="{81F83F36-CD39-01D0-BD9D-3615B55F5E7E}"/>
          </ac:spMkLst>
        </pc:spChg>
        <pc:spChg chg="add del mod">
          <ac:chgData name="Steiner Andreas 6206 ED" userId="e6377c33-a923-4f14-8587-531c474c7b48" providerId="ADAL" clId="{6ECD27E6-B224-41CD-B4E0-E297462320DD}" dt="2023-11-24T11:34:43.947" v="119464"/>
          <ac:spMkLst>
            <pc:docMk/>
            <pc:sldMk cId="721183839" sldId="2147478576"/>
            <ac:spMk id="781" creationId="{97640F78-578E-B77F-7F57-6FF5BDD6FECF}"/>
          </ac:spMkLst>
        </pc:spChg>
        <pc:spChg chg="add del mod">
          <ac:chgData name="Steiner Andreas 6206 ED" userId="e6377c33-a923-4f14-8587-531c474c7b48" providerId="ADAL" clId="{6ECD27E6-B224-41CD-B4E0-E297462320DD}" dt="2023-11-24T11:34:45.935" v="119619"/>
          <ac:spMkLst>
            <pc:docMk/>
            <pc:sldMk cId="721183839" sldId="2147478576"/>
            <ac:spMk id="782" creationId="{34F4C637-1990-CCCE-814B-B136EB6B7FF7}"/>
          </ac:spMkLst>
        </pc:spChg>
        <pc:spChg chg="add del mod">
          <ac:chgData name="Steiner Andreas 6206 ED" userId="e6377c33-a923-4f14-8587-531c474c7b48" providerId="ADAL" clId="{6ECD27E6-B224-41CD-B4E0-E297462320DD}" dt="2023-11-24T11:34:47.870" v="119774"/>
          <ac:spMkLst>
            <pc:docMk/>
            <pc:sldMk cId="721183839" sldId="2147478576"/>
            <ac:spMk id="783" creationId="{43A0E57B-6F7C-472B-6216-8B910A870807}"/>
          </ac:spMkLst>
        </pc:spChg>
        <pc:spChg chg="add del mod">
          <ac:chgData name="Steiner Andreas 6206 ED" userId="e6377c33-a923-4f14-8587-531c474c7b48" providerId="ADAL" clId="{6ECD27E6-B224-41CD-B4E0-E297462320DD}" dt="2023-11-24T11:34:50.059" v="119929"/>
          <ac:spMkLst>
            <pc:docMk/>
            <pc:sldMk cId="721183839" sldId="2147478576"/>
            <ac:spMk id="784" creationId="{296C48EC-3EDA-93A9-C7B3-9C06C1804E2C}"/>
          </ac:spMkLst>
        </pc:spChg>
        <pc:spChg chg="add del mod">
          <ac:chgData name="Steiner Andreas 6206 ED" userId="e6377c33-a923-4f14-8587-531c474c7b48" providerId="ADAL" clId="{6ECD27E6-B224-41CD-B4E0-E297462320DD}" dt="2023-11-24T11:34:52.139" v="120084"/>
          <ac:spMkLst>
            <pc:docMk/>
            <pc:sldMk cId="721183839" sldId="2147478576"/>
            <ac:spMk id="785" creationId="{8D7DE462-BE34-3946-B100-1CD8D53EBA53}"/>
          </ac:spMkLst>
        </pc:spChg>
        <pc:spChg chg="add del mod">
          <ac:chgData name="Steiner Andreas 6206 ED" userId="e6377c33-a923-4f14-8587-531c474c7b48" providerId="ADAL" clId="{6ECD27E6-B224-41CD-B4E0-E297462320DD}" dt="2023-11-24T11:34:54.116" v="120239"/>
          <ac:spMkLst>
            <pc:docMk/>
            <pc:sldMk cId="721183839" sldId="2147478576"/>
            <ac:spMk id="786" creationId="{1AEEB520-8129-CEA9-0CCA-42C968FE68E8}"/>
          </ac:spMkLst>
        </pc:spChg>
        <pc:spChg chg="add del mod">
          <ac:chgData name="Steiner Andreas 6206 ED" userId="e6377c33-a923-4f14-8587-531c474c7b48" providerId="ADAL" clId="{6ECD27E6-B224-41CD-B4E0-E297462320DD}" dt="2023-11-24T11:34:55.986" v="120394"/>
          <ac:spMkLst>
            <pc:docMk/>
            <pc:sldMk cId="721183839" sldId="2147478576"/>
            <ac:spMk id="787" creationId="{90953B69-AAED-4ACD-564E-298F1BBD9B86}"/>
          </ac:spMkLst>
        </pc:spChg>
        <pc:spChg chg="add del mod">
          <ac:chgData name="Steiner Andreas 6206 ED" userId="e6377c33-a923-4f14-8587-531c474c7b48" providerId="ADAL" clId="{6ECD27E6-B224-41CD-B4E0-E297462320DD}" dt="2023-11-24T11:34:57.793" v="120549"/>
          <ac:spMkLst>
            <pc:docMk/>
            <pc:sldMk cId="721183839" sldId="2147478576"/>
            <ac:spMk id="788" creationId="{D31BFC4E-005F-E44A-3949-3BBFA27137D0}"/>
          </ac:spMkLst>
        </pc:spChg>
        <pc:spChg chg="add del mod">
          <ac:chgData name="Steiner Andreas 6206 ED" userId="e6377c33-a923-4f14-8587-531c474c7b48" providerId="ADAL" clId="{6ECD27E6-B224-41CD-B4E0-E297462320DD}" dt="2023-11-24T11:34:59.682" v="120704"/>
          <ac:spMkLst>
            <pc:docMk/>
            <pc:sldMk cId="721183839" sldId="2147478576"/>
            <ac:spMk id="789" creationId="{A1F5F9E0-F7D9-1759-AAC1-29175D13C48B}"/>
          </ac:spMkLst>
        </pc:spChg>
        <pc:spChg chg="add del mod">
          <ac:chgData name="Steiner Andreas 6206 ED" userId="e6377c33-a923-4f14-8587-531c474c7b48" providerId="ADAL" clId="{6ECD27E6-B224-41CD-B4E0-E297462320DD}" dt="2023-11-24T11:35:01.519" v="120859"/>
          <ac:spMkLst>
            <pc:docMk/>
            <pc:sldMk cId="721183839" sldId="2147478576"/>
            <ac:spMk id="790" creationId="{410C0262-1DCF-075B-AF55-F72727A8CCE0}"/>
          </ac:spMkLst>
        </pc:spChg>
        <pc:spChg chg="add del mod">
          <ac:chgData name="Steiner Andreas 6206 ED" userId="e6377c33-a923-4f14-8587-531c474c7b48" providerId="ADAL" clId="{6ECD27E6-B224-41CD-B4E0-E297462320DD}" dt="2023-11-24T11:35:03.392" v="121014"/>
          <ac:spMkLst>
            <pc:docMk/>
            <pc:sldMk cId="721183839" sldId="2147478576"/>
            <ac:spMk id="791" creationId="{2C23706B-FDF0-4B61-ACF2-047A8B0C1431}"/>
          </ac:spMkLst>
        </pc:spChg>
        <pc:spChg chg="add del mod">
          <ac:chgData name="Steiner Andreas 6206 ED" userId="e6377c33-a923-4f14-8587-531c474c7b48" providerId="ADAL" clId="{6ECD27E6-B224-41CD-B4E0-E297462320DD}" dt="2023-11-24T11:35:05.291" v="121169"/>
          <ac:spMkLst>
            <pc:docMk/>
            <pc:sldMk cId="721183839" sldId="2147478576"/>
            <ac:spMk id="792" creationId="{3C3DAEA4-0F72-9853-D2D8-DE4875B25E29}"/>
          </ac:spMkLst>
        </pc:spChg>
        <pc:spChg chg="add del mod">
          <ac:chgData name="Steiner Andreas 6206 ED" userId="e6377c33-a923-4f14-8587-531c474c7b48" providerId="ADAL" clId="{6ECD27E6-B224-41CD-B4E0-E297462320DD}" dt="2023-11-24T11:35:07.409" v="121324"/>
          <ac:spMkLst>
            <pc:docMk/>
            <pc:sldMk cId="721183839" sldId="2147478576"/>
            <ac:spMk id="793" creationId="{0C0A74BB-DE83-5BC7-A5C9-E9C8EB358AD3}"/>
          </ac:spMkLst>
        </pc:spChg>
        <pc:spChg chg="add del mod">
          <ac:chgData name="Steiner Andreas 6206 ED" userId="e6377c33-a923-4f14-8587-531c474c7b48" providerId="ADAL" clId="{6ECD27E6-B224-41CD-B4E0-E297462320DD}" dt="2023-11-24T11:35:09.443" v="121479"/>
          <ac:spMkLst>
            <pc:docMk/>
            <pc:sldMk cId="721183839" sldId="2147478576"/>
            <ac:spMk id="794" creationId="{D3E5A530-5FA6-8444-EBA0-E61F78DEB95D}"/>
          </ac:spMkLst>
        </pc:spChg>
        <pc:spChg chg="add del mod">
          <ac:chgData name="Steiner Andreas 6206 ED" userId="e6377c33-a923-4f14-8587-531c474c7b48" providerId="ADAL" clId="{6ECD27E6-B224-41CD-B4E0-E297462320DD}" dt="2023-11-24T11:35:11.402" v="121634"/>
          <ac:spMkLst>
            <pc:docMk/>
            <pc:sldMk cId="721183839" sldId="2147478576"/>
            <ac:spMk id="795" creationId="{987562A8-A93F-105E-E336-CF70E8E2D88D}"/>
          </ac:spMkLst>
        </pc:spChg>
        <pc:spChg chg="add del mod">
          <ac:chgData name="Steiner Andreas 6206 ED" userId="e6377c33-a923-4f14-8587-531c474c7b48" providerId="ADAL" clId="{6ECD27E6-B224-41CD-B4E0-E297462320DD}" dt="2023-11-24T11:35:13.131" v="121789"/>
          <ac:spMkLst>
            <pc:docMk/>
            <pc:sldMk cId="721183839" sldId="2147478576"/>
            <ac:spMk id="796" creationId="{6956F54F-BB8C-6B19-1700-2418D71EC4C0}"/>
          </ac:spMkLst>
        </pc:spChg>
        <pc:spChg chg="add del mod">
          <ac:chgData name="Steiner Andreas 6206 ED" userId="e6377c33-a923-4f14-8587-531c474c7b48" providerId="ADAL" clId="{6ECD27E6-B224-41CD-B4E0-E297462320DD}" dt="2023-11-24T11:35:15.075" v="121944"/>
          <ac:spMkLst>
            <pc:docMk/>
            <pc:sldMk cId="721183839" sldId="2147478576"/>
            <ac:spMk id="797" creationId="{CA0BD8F0-3150-C98C-B262-C5E89EFA1D24}"/>
          </ac:spMkLst>
        </pc:spChg>
        <pc:spChg chg="add del mod">
          <ac:chgData name="Steiner Andreas 6206 ED" userId="e6377c33-a923-4f14-8587-531c474c7b48" providerId="ADAL" clId="{6ECD27E6-B224-41CD-B4E0-E297462320DD}" dt="2023-11-24T11:35:16.763" v="122099"/>
          <ac:spMkLst>
            <pc:docMk/>
            <pc:sldMk cId="721183839" sldId="2147478576"/>
            <ac:spMk id="798" creationId="{86917AA9-9DE7-7FA2-BBBB-4EA710A13EAD}"/>
          </ac:spMkLst>
        </pc:spChg>
        <pc:spChg chg="add del mod">
          <ac:chgData name="Steiner Andreas 6206 ED" userId="e6377c33-a923-4f14-8587-531c474c7b48" providerId="ADAL" clId="{6ECD27E6-B224-41CD-B4E0-E297462320DD}" dt="2023-11-24T11:35:18.465" v="122254"/>
          <ac:spMkLst>
            <pc:docMk/>
            <pc:sldMk cId="721183839" sldId="2147478576"/>
            <ac:spMk id="799" creationId="{201C714B-C12F-FECA-3D2D-98A10A841057}"/>
          </ac:spMkLst>
        </pc:spChg>
        <pc:spChg chg="add del mod">
          <ac:chgData name="Steiner Andreas 6206 ED" userId="e6377c33-a923-4f14-8587-531c474c7b48" providerId="ADAL" clId="{6ECD27E6-B224-41CD-B4E0-E297462320DD}" dt="2023-11-24T11:35:20.093" v="122409"/>
          <ac:spMkLst>
            <pc:docMk/>
            <pc:sldMk cId="721183839" sldId="2147478576"/>
            <ac:spMk id="800" creationId="{A4BB10E6-6A56-E503-420E-977AA85B7ABD}"/>
          </ac:spMkLst>
        </pc:spChg>
        <pc:spChg chg="add del mod">
          <ac:chgData name="Steiner Andreas 6206 ED" userId="e6377c33-a923-4f14-8587-531c474c7b48" providerId="ADAL" clId="{6ECD27E6-B224-41CD-B4E0-E297462320DD}" dt="2023-11-24T11:35:21.728" v="122564"/>
          <ac:spMkLst>
            <pc:docMk/>
            <pc:sldMk cId="721183839" sldId="2147478576"/>
            <ac:spMk id="801" creationId="{7E38CD87-6260-1B1C-CBFC-55CE75E5F358}"/>
          </ac:spMkLst>
        </pc:spChg>
        <pc:spChg chg="add del mod">
          <ac:chgData name="Steiner Andreas 6206 ED" userId="e6377c33-a923-4f14-8587-531c474c7b48" providerId="ADAL" clId="{6ECD27E6-B224-41CD-B4E0-E297462320DD}" dt="2023-11-24T11:35:23.438" v="122719"/>
          <ac:spMkLst>
            <pc:docMk/>
            <pc:sldMk cId="721183839" sldId="2147478576"/>
            <ac:spMk id="802" creationId="{FA8B5B28-A9E4-969E-1842-39C945B7B594}"/>
          </ac:spMkLst>
        </pc:spChg>
        <pc:spChg chg="add del mod">
          <ac:chgData name="Steiner Andreas 6206 ED" userId="e6377c33-a923-4f14-8587-531c474c7b48" providerId="ADAL" clId="{6ECD27E6-B224-41CD-B4E0-E297462320DD}" dt="2023-11-24T11:35:25.478" v="122874"/>
          <ac:spMkLst>
            <pc:docMk/>
            <pc:sldMk cId="721183839" sldId="2147478576"/>
            <ac:spMk id="803" creationId="{2E434A4A-A39F-4F4F-5741-12E554A8F56F}"/>
          </ac:spMkLst>
        </pc:spChg>
        <pc:spChg chg="add del mod">
          <ac:chgData name="Steiner Andreas 6206 ED" userId="e6377c33-a923-4f14-8587-531c474c7b48" providerId="ADAL" clId="{6ECD27E6-B224-41CD-B4E0-E297462320DD}" dt="2023-11-24T11:35:27.489" v="123029"/>
          <ac:spMkLst>
            <pc:docMk/>
            <pc:sldMk cId="721183839" sldId="2147478576"/>
            <ac:spMk id="804" creationId="{479A2CD4-95A3-BEF9-7621-97E369B0B1FA}"/>
          </ac:spMkLst>
        </pc:spChg>
        <pc:spChg chg="add del mod">
          <ac:chgData name="Steiner Andreas 6206 ED" userId="e6377c33-a923-4f14-8587-531c474c7b48" providerId="ADAL" clId="{6ECD27E6-B224-41CD-B4E0-E297462320DD}" dt="2023-11-24T11:35:29.378" v="123184"/>
          <ac:spMkLst>
            <pc:docMk/>
            <pc:sldMk cId="721183839" sldId="2147478576"/>
            <ac:spMk id="805" creationId="{8779EF1C-3482-3B47-3BEA-B5977CD3B174}"/>
          </ac:spMkLst>
        </pc:spChg>
        <pc:spChg chg="add del mod">
          <ac:chgData name="Steiner Andreas 6206 ED" userId="e6377c33-a923-4f14-8587-531c474c7b48" providerId="ADAL" clId="{6ECD27E6-B224-41CD-B4E0-E297462320DD}" dt="2023-11-24T11:35:31.108" v="123339"/>
          <ac:spMkLst>
            <pc:docMk/>
            <pc:sldMk cId="721183839" sldId="2147478576"/>
            <ac:spMk id="806" creationId="{4117BA9E-02BA-213C-051F-9F2BD8897C30}"/>
          </ac:spMkLst>
        </pc:spChg>
        <pc:spChg chg="add del mod">
          <ac:chgData name="Steiner Andreas 6206 ED" userId="e6377c33-a923-4f14-8587-531c474c7b48" providerId="ADAL" clId="{6ECD27E6-B224-41CD-B4E0-E297462320DD}" dt="2023-11-24T11:35:34.030" v="123494"/>
          <ac:spMkLst>
            <pc:docMk/>
            <pc:sldMk cId="721183839" sldId="2147478576"/>
            <ac:spMk id="807" creationId="{3001C106-0AB7-BDF1-9A3C-CE915574B723}"/>
          </ac:spMkLst>
        </pc:spChg>
        <pc:spChg chg="add del mod">
          <ac:chgData name="Steiner Andreas 6206 ED" userId="e6377c33-a923-4f14-8587-531c474c7b48" providerId="ADAL" clId="{6ECD27E6-B224-41CD-B4E0-E297462320DD}" dt="2023-11-24T11:35:35.857" v="123649"/>
          <ac:spMkLst>
            <pc:docMk/>
            <pc:sldMk cId="721183839" sldId="2147478576"/>
            <ac:spMk id="808" creationId="{55A5CBF3-DC92-D5F1-B6C3-2160DFA4A40C}"/>
          </ac:spMkLst>
        </pc:spChg>
        <pc:spChg chg="add del mod">
          <ac:chgData name="Steiner Andreas 6206 ED" userId="e6377c33-a923-4f14-8587-531c474c7b48" providerId="ADAL" clId="{6ECD27E6-B224-41CD-B4E0-E297462320DD}" dt="2023-11-24T11:35:37.530" v="123804"/>
          <ac:spMkLst>
            <pc:docMk/>
            <pc:sldMk cId="721183839" sldId="2147478576"/>
            <ac:spMk id="809" creationId="{831471A7-575D-616D-0542-E94147E8B575}"/>
          </ac:spMkLst>
        </pc:spChg>
        <pc:spChg chg="add del mod">
          <ac:chgData name="Steiner Andreas 6206 ED" userId="e6377c33-a923-4f14-8587-531c474c7b48" providerId="ADAL" clId="{6ECD27E6-B224-41CD-B4E0-E297462320DD}" dt="2023-11-24T11:35:39.164" v="123959"/>
          <ac:spMkLst>
            <pc:docMk/>
            <pc:sldMk cId="721183839" sldId="2147478576"/>
            <ac:spMk id="810" creationId="{7F8B8C64-282E-9A89-C6EC-0CDDA7B8F5FD}"/>
          </ac:spMkLst>
        </pc:spChg>
        <pc:spChg chg="add del mod">
          <ac:chgData name="Steiner Andreas 6206 ED" userId="e6377c33-a923-4f14-8587-531c474c7b48" providerId="ADAL" clId="{6ECD27E6-B224-41CD-B4E0-E297462320DD}" dt="2023-11-24T11:35:40.876" v="124114"/>
          <ac:spMkLst>
            <pc:docMk/>
            <pc:sldMk cId="721183839" sldId="2147478576"/>
            <ac:spMk id="811" creationId="{6CB6A4B2-30EA-8E02-EC11-8C1FACCDFFB4}"/>
          </ac:spMkLst>
        </pc:spChg>
        <pc:spChg chg="add del mod">
          <ac:chgData name="Steiner Andreas 6206 ED" userId="e6377c33-a923-4f14-8587-531c474c7b48" providerId="ADAL" clId="{6ECD27E6-B224-41CD-B4E0-E297462320DD}" dt="2023-11-24T11:35:42.463" v="124269"/>
          <ac:spMkLst>
            <pc:docMk/>
            <pc:sldMk cId="721183839" sldId="2147478576"/>
            <ac:spMk id="812" creationId="{F362C646-2D83-5761-ED53-DC8BC771023A}"/>
          </ac:spMkLst>
        </pc:spChg>
        <pc:spChg chg="add del mod">
          <ac:chgData name="Steiner Andreas 6206 ED" userId="e6377c33-a923-4f14-8587-531c474c7b48" providerId="ADAL" clId="{6ECD27E6-B224-41CD-B4E0-E297462320DD}" dt="2023-11-24T11:35:44.148" v="124424"/>
          <ac:spMkLst>
            <pc:docMk/>
            <pc:sldMk cId="721183839" sldId="2147478576"/>
            <ac:spMk id="813" creationId="{80627A54-8979-46F4-28C9-229A953B4706}"/>
          </ac:spMkLst>
        </pc:spChg>
        <pc:spChg chg="add del mod">
          <ac:chgData name="Steiner Andreas 6206 ED" userId="e6377c33-a923-4f14-8587-531c474c7b48" providerId="ADAL" clId="{6ECD27E6-B224-41CD-B4E0-E297462320DD}" dt="2023-11-24T11:35:45.798" v="124579"/>
          <ac:spMkLst>
            <pc:docMk/>
            <pc:sldMk cId="721183839" sldId="2147478576"/>
            <ac:spMk id="814" creationId="{C51C33F6-9259-5D73-9D64-C4B84901AA7B}"/>
          </ac:spMkLst>
        </pc:spChg>
        <pc:spChg chg="add del mod">
          <ac:chgData name="Steiner Andreas 6206 ED" userId="e6377c33-a923-4f14-8587-531c474c7b48" providerId="ADAL" clId="{6ECD27E6-B224-41CD-B4E0-E297462320DD}" dt="2023-11-24T11:35:47.506" v="124734"/>
          <ac:spMkLst>
            <pc:docMk/>
            <pc:sldMk cId="721183839" sldId="2147478576"/>
            <ac:spMk id="815" creationId="{80AE77C6-8C1D-E8FA-E52C-1B0348E68CC0}"/>
          </ac:spMkLst>
        </pc:spChg>
        <pc:spChg chg="add del mod">
          <ac:chgData name="Steiner Andreas 6206 ED" userId="e6377c33-a923-4f14-8587-531c474c7b48" providerId="ADAL" clId="{6ECD27E6-B224-41CD-B4E0-E297462320DD}" dt="2023-11-24T11:35:49.292" v="124889"/>
          <ac:spMkLst>
            <pc:docMk/>
            <pc:sldMk cId="721183839" sldId="2147478576"/>
            <ac:spMk id="816" creationId="{837DBE90-36D8-DACA-295F-104B348BF832}"/>
          </ac:spMkLst>
        </pc:spChg>
        <pc:spChg chg="add del mod">
          <ac:chgData name="Steiner Andreas 6206 ED" userId="e6377c33-a923-4f14-8587-531c474c7b48" providerId="ADAL" clId="{6ECD27E6-B224-41CD-B4E0-E297462320DD}" dt="2023-11-24T11:35:51.207" v="125044"/>
          <ac:spMkLst>
            <pc:docMk/>
            <pc:sldMk cId="721183839" sldId="2147478576"/>
            <ac:spMk id="817" creationId="{17DEDF37-3492-8DD3-1562-7D9A214DB40E}"/>
          </ac:spMkLst>
        </pc:spChg>
        <pc:spChg chg="add del mod">
          <ac:chgData name="Steiner Andreas 6206 ED" userId="e6377c33-a923-4f14-8587-531c474c7b48" providerId="ADAL" clId="{6ECD27E6-B224-41CD-B4E0-E297462320DD}" dt="2023-11-24T11:35:52.926" v="125199"/>
          <ac:spMkLst>
            <pc:docMk/>
            <pc:sldMk cId="721183839" sldId="2147478576"/>
            <ac:spMk id="818" creationId="{9D78D863-F3AD-EA43-928D-26C69097851C}"/>
          </ac:spMkLst>
        </pc:spChg>
        <pc:spChg chg="add del mod">
          <ac:chgData name="Steiner Andreas 6206 ED" userId="e6377c33-a923-4f14-8587-531c474c7b48" providerId="ADAL" clId="{6ECD27E6-B224-41CD-B4E0-E297462320DD}" dt="2023-11-24T11:35:54.941" v="125354"/>
          <ac:spMkLst>
            <pc:docMk/>
            <pc:sldMk cId="721183839" sldId="2147478576"/>
            <ac:spMk id="819" creationId="{5FCE82E7-9BBA-9AF1-2AAF-064391B5A3EA}"/>
          </ac:spMkLst>
        </pc:spChg>
        <pc:spChg chg="add del mod">
          <ac:chgData name="Steiner Andreas 6206 ED" userId="e6377c33-a923-4f14-8587-531c474c7b48" providerId="ADAL" clId="{6ECD27E6-B224-41CD-B4E0-E297462320DD}" dt="2023-11-24T11:35:57.128" v="125509"/>
          <ac:spMkLst>
            <pc:docMk/>
            <pc:sldMk cId="721183839" sldId="2147478576"/>
            <ac:spMk id="820" creationId="{CDDE2A5E-94A6-9A91-8ED7-692F977A95F4}"/>
          </ac:spMkLst>
        </pc:spChg>
        <pc:spChg chg="add del mod">
          <ac:chgData name="Steiner Andreas 6206 ED" userId="e6377c33-a923-4f14-8587-531c474c7b48" providerId="ADAL" clId="{6ECD27E6-B224-41CD-B4E0-E297462320DD}" dt="2023-11-24T11:35:58.899" v="125664"/>
          <ac:spMkLst>
            <pc:docMk/>
            <pc:sldMk cId="721183839" sldId="2147478576"/>
            <ac:spMk id="821" creationId="{2499876E-B753-CF7A-EEF3-61FC3EB5C301}"/>
          </ac:spMkLst>
        </pc:spChg>
        <pc:spChg chg="add del mod">
          <ac:chgData name="Steiner Andreas 6206 ED" userId="e6377c33-a923-4f14-8587-531c474c7b48" providerId="ADAL" clId="{6ECD27E6-B224-41CD-B4E0-E297462320DD}" dt="2023-11-24T11:36:00.637" v="125819"/>
          <ac:spMkLst>
            <pc:docMk/>
            <pc:sldMk cId="721183839" sldId="2147478576"/>
            <ac:spMk id="822" creationId="{58A73811-8A9D-70FA-A81E-86015B1581DE}"/>
          </ac:spMkLst>
        </pc:spChg>
        <pc:spChg chg="add del mod">
          <ac:chgData name="Steiner Andreas 6206 ED" userId="e6377c33-a923-4f14-8587-531c474c7b48" providerId="ADAL" clId="{6ECD27E6-B224-41CD-B4E0-E297462320DD}" dt="2023-11-24T11:36:02.369" v="125974"/>
          <ac:spMkLst>
            <pc:docMk/>
            <pc:sldMk cId="721183839" sldId="2147478576"/>
            <ac:spMk id="823" creationId="{ACF67A7C-C3AF-0D0C-8CCF-9FAC92F262B2}"/>
          </ac:spMkLst>
        </pc:spChg>
        <pc:spChg chg="add del mod">
          <ac:chgData name="Steiner Andreas 6206 ED" userId="e6377c33-a923-4f14-8587-531c474c7b48" providerId="ADAL" clId="{6ECD27E6-B224-41CD-B4E0-E297462320DD}" dt="2023-11-24T11:36:04.119" v="126129"/>
          <ac:spMkLst>
            <pc:docMk/>
            <pc:sldMk cId="721183839" sldId="2147478576"/>
            <ac:spMk id="824" creationId="{1F2B3DC6-F782-68ED-5A0D-996CD4A8AC2E}"/>
          </ac:spMkLst>
        </pc:spChg>
        <pc:spChg chg="add del mod">
          <ac:chgData name="Steiner Andreas 6206 ED" userId="e6377c33-a923-4f14-8587-531c474c7b48" providerId="ADAL" clId="{6ECD27E6-B224-41CD-B4E0-E297462320DD}" dt="2023-11-24T11:36:05.896" v="126284"/>
          <ac:spMkLst>
            <pc:docMk/>
            <pc:sldMk cId="721183839" sldId="2147478576"/>
            <ac:spMk id="825" creationId="{1429F3AC-7822-09FB-48DB-D3327F049853}"/>
          </ac:spMkLst>
        </pc:spChg>
        <pc:spChg chg="add del mod">
          <ac:chgData name="Steiner Andreas 6206 ED" userId="e6377c33-a923-4f14-8587-531c474c7b48" providerId="ADAL" clId="{6ECD27E6-B224-41CD-B4E0-E297462320DD}" dt="2023-11-24T11:36:07.586" v="126439"/>
          <ac:spMkLst>
            <pc:docMk/>
            <pc:sldMk cId="721183839" sldId="2147478576"/>
            <ac:spMk id="826" creationId="{436F9260-620C-FEA5-1644-C3E08D2EB558}"/>
          </ac:spMkLst>
        </pc:spChg>
        <pc:spChg chg="add del mod">
          <ac:chgData name="Steiner Andreas 6206 ED" userId="e6377c33-a923-4f14-8587-531c474c7b48" providerId="ADAL" clId="{6ECD27E6-B224-41CD-B4E0-E297462320DD}" dt="2023-11-24T11:36:09.426" v="126594"/>
          <ac:spMkLst>
            <pc:docMk/>
            <pc:sldMk cId="721183839" sldId="2147478576"/>
            <ac:spMk id="827" creationId="{1A34A92E-CE86-3C07-7981-2AF1D5BF002F}"/>
          </ac:spMkLst>
        </pc:spChg>
        <pc:spChg chg="add del mod">
          <ac:chgData name="Steiner Andreas 6206 ED" userId="e6377c33-a923-4f14-8587-531c474c7b48" providerId="ADAL" clId="{6ECD27E6-B224-41CD-B4E0-E297462320DD}" dt="2023-11-24T11:36:11.241" v="126749"/>
          <ac:spMkLst>
            <pc:docMk/>
            <pc:sldMk cId="721183839" sldId="2147478576"/>
            <ac:spMk id="828" creationId="{D3A84CB6-83CF-3CF2-E5B6-797333CE082F}"/>
          </ac:spMkLst>
        </pc:spChg>
        <pc:spChg chg="add del mod">
          <ac:chgData name="Steiner Andreas 6206 ED" userId="e6377c33-a923-4f14-8587-531c474c7b48" providerId="ADAL" clId="{6ECD27E6-B224-41CD-B4E0-E297462320DD}" dt="2023-11-24T11:36:13.140" v="126904"/>
          <ac:spMkLst>
            <pc:docMk/>
            <pc:sldMk cId="721183839" sldId="2147478576"/>
            <ac:spMk id="829" creationId="{6401F974-3907-91E2-804D-C7E22DF9A590}"/>
          </ac:spMkLst>
        </pc:spChg>
        <pc:spChg chg="add del mod">
          <ac:chgData name="Steiner Andreas 6206 ED" userId="e6377c33-a923-4f14-8587-531c474c7b48" providerId="ADAL" clId="{6ECD27E6-B224-41CD-B4E0-E297462320DD}" dt="2023-11-24T11:36:15.029" v="127059"/>
          <ac:spMkLst>
            <pc:docMk/>
            <pc:sldMk cId="721183839" sldId="2147478576"/>
            <ac:spMk id="830" creationId="{CB9CF7B9-5C51-2B44-A122-97D45025604F}"/>
          </ac:spMkLst>
        </pc:spChg>
        <pc:spChg chg="add del mod">
          <ac:chgData name="Steiner Andreas 6206 ED" userId="e6377c33-a923-4f14-8587-531c474c7b48" providerId="ADAL" clId="{6ECD27E6-B224-41CD-B4E0-E297462320DD}" dt="2023-11-24T11:36:17.606" v="127214"/>
          <ac:spMkLst>
            <pc:docMk/>
            <pc:sldMk cId="721183839" sldId="2147478576"/>
            <ac:spMk id="831" creationId="{3FA52E35-9094-8F3C-3AA6-6CDC4486AC36}"/>
          </ac:spMkLst>
        </pc:spChg>
        <pc:spChg chg="add del mod">
          <ac:chgData name="Steiner Andreas 6206 ED" userId="e6377c33-a923-4f14-8587-531c474c7b48" providerId="ADAL" clId="{6ECD27E6-B224-41CD-B4E0-E297462320DD}" dt="2023-11-24T11:36:20.177" v="127369"/>
          <ac:spMkLst>
            <pc:docMk/>
            <pc:sldMk cId="721183839" sldId="2147478576"/>
            <ac:spMk id="832" creationId="{F873EA55-DA9C-04A8-9EA9-23BD3B02DB84}"/>
          </ac:spMkLst>
        </pc:spChg>
        <pc:spChg chg="add del mod">
          <ac:chgData name="Steiner Andreas 6206 ED" userId="e6377c33-a923-4f14-8587-531c474c7b48" providerId="ADAL" clId="{6ECD27E6-B224-41CD-B4E0-E297462320DD}" dt="2023-11-24T11:36:22.515" v="127524"/>
          <ac:spMkLst>
            <pc:docMk/>
            <pc:sldMk cId="721183839" sldId="2147478576"/>
            <ac:spMk id="833" creationId="{59C78652-DCDC-E2E6-1157-778120C69585}"/>
          </ac:spMkLst>
        </pc:spChg>
        <pc:spChg chg="add del mod">
          <ac:chgData name="Steiner Andreas 6206 ED" userId="e6377c33-a923-4f14-8587-531c474c7b48" providerId="ADAL" clId="{6ECD27E6-B224-41CD-B4E0-E297462320DD}" dt="2023-11-24T11:36:25.667" v="127679"/>
          <ac:spMkLst>
            <pc:docMk/>
            <pc:sldMk cId="721183839" sldId="2147478576"/>
            <ac:spMk id="834" creationId="{7E19E31E-53B8-4DA7-3C17-EF8EF4A4C806}"/>
          </ac:spMkLst>
        </pc:spChg>
        <pc:spChg chg="add del mod">
          <ac:chgData name="Steiner Andreas 6206 ED" userId="e6377c33-a923-4f14-8587-531c474c7b48" providerId="ADAL" clId="{6ECD27E6-B224-41CD-B4E0-E297462320DD}" dt="2023-11-24T11:36:28.479" v="127834"/>
          <ac:spMkLst>
            <pc:docMk/>
            <pc:sldMk cId="721183839" sldId="2147478576"/>
            <ac:spMk id="835" creationId="{8A8BEF40-64CC-6876-A121-E297F6D46625}"/>
          </ac:spMkLst>
        </pc:spChg>
        <pc:spChg chg="add del mod">
          <ac:chgData name="Steiner Andreas 6206 ED" userId="e6377c33-a923-4f14-8587-531c474c7b48" providerId="ADAL" clId="{6ECD27E6-B224-41CD-B4E0-E297462320DD}" dt="2023-11-24T11:36:31.139" v="127989"/>
          <ac:spMkLst>
            <pc:docMk/>
            <pc:sldMk cId="721183839" sldId="2147478576"/>
            <ac:spMk id="836" creationId="{F5B3FD4A-7EB1-1DAE-3696-7B75A932DBEC}"/>
          </ac:spMkLst>
        </pc:spChg>
        <pc:spChg chg="add del mod">
          <ac:chgData name="Steiner Andreas 6206 ED" userId="e6377c33-a923-4f14-8587-531c474c7b48" providerId="ADAL" clId="{6ECD27E6-B224-41CD-B4E0-E297462320DD}" dt="2023-11-24T11:36:33.407" v="128144"/>
          <ac:spMkLst>
            <pc:docMk/>
            <pc:sldMk cId="721183839" sldId="2147478576"/>
            <ac:spMk id="837" creationId="{C1A17B06-F9E7-3709-9F51-200501947227}"/>
          </ac:spMkLst>
        </pc:spChg>
        <pc:spChg chg="add del mod">
          <ac:chgData name="Steiner Andreas 6206 ED" userId="e6377c33-a923-4f14-8587-531c474c7b48" providerId="ADAL" clId="{6ECD27E6-B224-41CD-B4E0-E297462320DD}" dt="2023-11-24T11:36:35.463" v="128299"/>
          <ac:spMkLst>
            <pc:docMk/>
            <pc:sldMk cId="721183839" sldId="2147478576"/>
            <ac:spMk id="838" creationId="{1E08DC15-10EC-7668-F761-6F061510E9AE}"/>
          </ac:spMkLst>
        </pc:spChg>
        <pc:spChg chg="add del mod">
          <ac:chgData name="Steiner Andreas 6206 ED" userId="e6377c33-a923-4f14-8587-531c474c7b48" providerId="ADAL" clId="{6ECD27E6-B224-41CD-B4E0-E297462320DD}" dt="2023-11-24T11:36:37.574" v="128454"/>
          <ac:spMkLst>
            <pc:docMk/>
            <pc:sldMk cId="721183839" sldId="2147478576"/>
            <ac:spMk id="839" creationId="{805BE1DB-DE89-5F53-4169-57BEDD37CEB2}"/>
          </ac:spMkLst>
        </pc:spChg>
        <pc:spChg chg="add del mod">
          <ac:chgData name="Steiner Andreas 6206 ED" userId="e6377c33-a923-4f14-8587-531c474c7b48" providerId="ADAL" clId="{6ECD27E6-B224-41CD-B4E0-E297462320DD}" dt="2023-11-24T11:36:39.790" v="128609"/>
          <ac:spMkLst>
            <pc:docMk/>
            <pc:sldMk cId="721183839" sldId="2147478576"/>
            <ac:spMk id="840" creationId="{DD69E8B6-18CF-1454-52FC-7A2C79300B71}"/>
          </ac:spMkLst>
        </pc:spChg>
        <pc:spChg chg="add del mod">
          <ac:chgData name="Steiner Andreas 6206 ED" userId="e6377c33-a923-4f14-8587-531c474c7b48" providerId="ADAL" clId="{6ECD27E6-B224-41CD-B4E0-E297462320DD}" dt="2023-11-24T11:36:42.343" v="128764"/>
          <ac:spMkLst>
            <pc:docMk/>
            <pc:sldMk cId="721183839" sldId="2147478576"/>
            <ac:spMk id="841" creationId="{BD3570B4-760C-B43C-98D9-1E74147E1F71}"/>
          </ac:spMkLst>
        </pc:spChg>
        <pc:spChg chg="add del mod">
          <ac:chgData name="Steiner Andreas 6206 ED" userId="e6377c33-a923-4f14-8587-531c474c7b48" providerId="ADAL" clId="{6ECD27E6-B224-41CD-B4E0-E297462320DD}" dt="2023-11-24T11:36:44.642" v="128919"/>
          <ac:spMkLst>
            <pc:docMk/>
            <pc:sldMk cId="721183839" sldId="2147478576"/>
            <ac:spMk id="842" creationId="{25BA540A-C4CD-C1F6-F137-164C611BAAE7}"/>
          </ac:spMkLst>
        </pc:spChg>
        <pc:spChg chg="add del mod">
          <ac:chgData name="Steiner Andreas 6206 ED" userId="e6377c33-a923-4f14-8587-531c474c7b48" providerId="ADAL" clId="{6ECD27E6-B224-41CD-B4E0-E297462320DD}" dt="2023-11-24T11:36:46.611" v="129074"/>
          <ac:spMkLst>
            <pc:docMk/>
            <pc:sldMk cId="721183839" sldId="2147478576"/>
            <ac:spMk id="843" creationId="{1DD436BD-E9D1-22CE-A928-C5D552355E9C}"/>
          </ac:spMkLst>
        </pc:spChg>
        <pc:spChg chg="add del mod">
          <ac:chgData name="Steiner Andreas 6206 ED" userId="e6377c33-a923-4f14-8587-531c474c7b48" providerId="ADAL" clId="{6ECD27E6-B224-41CD-B4E0-E297462320DD}" dt="2023-11-24T11:36:48.574" v="129229"/>
          <ac:spMkLst>
            <pc:docMk/>
            <pc:sldMk cId="721183839" sldId="2147478576"/>
            <ac:spMk id="844" creationId="{89B2CCCB-247C-D463-90F5-50B68790F3EA}"/>
          </ac:spMkLst>
        </pc:spChg>
        <pc:spChg chg="add del mod">
          <ac:chgData name="Steiner Andreas 6206 ED" userId="e6377c33-a923-4f14-8587-531c474c7b48" providerId="ADAL" clId="{6ECD27E6-B224-41CD-B4E0-E297462320DD}" dt="2023-11-24T11:36:50.555" v="129384"/>
          <ac:spMkLst>
            <pc:docMk/>
            <pc:sldMk cId="721183839" sldId="2147478576"/>
            <ac:spMk id="845" creationId="{9EB0F421-123F-A2F3-2DA6-308FC34F1DA7}"/>
          </ac:spMkLst>
        </pc:spChg>
        <pc:spChg chg="add del mod">
          <ac:chgData name="Steiner Andreas 6206 ED" userId="e6377c33-a923-4f14-8587-531c474c7b48" providerId="ADAL" clId="{6ECD27E6-B224-41CD-B4E0-E297462320DD}" dt="2023-11-24T11:36:52.688" v="129539"/>
          <ac:spMkLst>
            <pc:docMk/>
            <pc:sldMk cId="721183839" sldId="2147478576"/>
            <ac:spMk id="846" creationId="{72F4D053-CB7A-7B58-91FA-3E028423C0E6}"/>
          </ac:spMkLst>
        </pc:spChg>
        <pc:spChg chg="add del mod">
          <ac:chgData name="Steiner Andreas 6206 ED" userId="e6377c33-a923-4f14-8587-531c474c7b48" providerId="ADAL" clId="{6ECD27E6-B224-41CD-B4E0-E297462320DD}" dt="2023-11-24T11:36:55.576" v="129694"/>
          <ac:spMkLst>
            <pc:docMk/>
            <pc:sldMk cId="721183839" sldId="2147478576"/>
            <ac:spMk id="847" creationId="{2CB61C4E-8ABD-3C82-882A-25776C70D452}"/>
          </ac:spMkLst>
        </pc:spChg>
        <pc:spChg chg="add del mod">
          <ac:chgData name="Steiner Andreas 6206 ED" userId="e6377c33-a923-4f14-8587-531c474c7b48" providerId="ADAL" clId="{6ECD27E6-B224-41CD-B4E0-E297462320DD}" dt="2023-11-24T11:36:57.828" v="129849"/>
          <ac:spMkLst>
            <pc:docMk/>
            <pc:sldMk cId="721183839" sldId="2147478576"/>
            <ac:spMk id="848" creationId="{BE150127-3847-2D51-A20F-13DD12D9AE8C}"/>
          </ac:spMkLst>
        </pc:spChg>
        <pc:spChg chg="add del mod">
          <ac:chgData name="Steiner Andreas 6206 ED" userId="e6377c33-a923-4f14-8587-531c474c7b48" providerId="ADAL" clId="{6ECD27E6-B224-41CD-B4E0-E297462320DD}" dt="2023-11-24T11:37:00.167" v="130004"/>
          <ac:spMkLst>
            <pc:docMk/>
            <pc:sldMk cId="721183839" sldId="2147478576"/>
            <ac:spMk id="849" creationId="{80E177DC-E6D3-8779-FAF4-57DF2408583A}"/>
          </ac:spMkLst>
        </pc:spChg>
        <pc:spChg chg="add del mod">
          <ac:chgData name="Steiner Andreas 6206 ED" userId="e6377c33-a923-4f14-8587-531c474c7b48" providerId="ADAL" clId="{6ECD27E6-B224-41CD-B4E0-E297462320DD}" dt="2023-11-24T11:37:01.986" v="130159"/>
          <ac:spMkLst>
            <pc:docMk/>
            <pc:sldMk cId="721183839" sldId="2147478576"/>
            <ac:spMk id="850" creationId="{5B83C9CD-1C96-F1F1-8A6B-58D1734E4753}"/>
          </ac:spMkLst>
        </pc:spChg>
        <pc:spChg chg="add del mod">
          <ac:chgData name="Steiner Andreas 6206 ED" userId="e6377c33-a923-4f14-8587-531c474c7b48" providerId="ADAL" clId="{6ECD27E6-B224-41CD-B4E0-E297462320DD}" dt="2023-11-24T11:37:03.727" v="130314"/>
          <ac:spMkLst>
            <pc:docMk/>
            <pc:sldMk cId="721183839" sldId="2147478576"/>
            <ac:spMk id="851" creationId="{56D7684E-4C82-6D98-E68D-F3D9417E7F82}"/>
          </ac:spMkLst>
        </pc:spChg>
        <pc:spChg chg="add del mod">
          <ac:chgData name="Steiner Andreas 6206 ED" userId="e6377c33-a923-4f14-8587-531c474c7b48" providerId="ADAL" clId="{6ECD27E6-B224-41CD-B4E0-E297462320DD}" dt="2023-11-24T11:37:05.607" v="130469"/>
          <ac:spMkLst>
            <pc:docMk/>
            <pc:sldMk cId="721183839" sldId="2147478576"/>
            <ac:spMk id="852" creationId="{E0293DA0-1F6B-D230-544D-3C5644BE3B74}"/>
          </ac:spMkLst>
        </pc:spChg>
        <pc:spChg chg="add del mod">
          <ac:chgData name="Steiner Andreas 6206 ED" userId="e6377c33-a923-4f14-8587-531c474c7b48" providerId="ADAL" clId="{6ECD27E6-B224-41CD-B4E0-E297462320DD}" dt="2023-11-24T11:37:07.370" v="130624"/>
          <ac:spMkLst>
            <pc:docMk/>
            <pc:sldMk cId="721183839" sldId="2147478576"/>
            <ac:spMk id="853" creationId="{821B5484-B92D-D584-4FC7-7CB6DF42CA35}"/>
          </ac:spMkLst>
        </pc:spChg>
        <pc:spChg chg="add del mod">
          <ac:chgData name="Steiner Andreas 6206 ED" userId="e6377c33-a923-4f14-8587-531c474c7b48" providerId="ADAL" clId="{6ECD27E6-B224-41CD-B4E0-E297462320DD}" dt="2023-11-24T11:37:09.081" v="130779"/>
          <ac:spMkLst>
            <pc:docMk/>
            <pc:sldMk cId="721183839" sldId="2147478576"/>
            <ac:spMk id="854" creationId="{91089FC7-A9DD-FC85-B514-C22D01A1ED20}"/>
          </ac:spMkLst>
        </pc:spChg>
        <pc:spChg chg="add del mod">
          <ac:chgData name="Steiner Andreas 6206 ED" userId="e6377c33-a923-4f14-8587-531c474c7b48" providerId="ADAL" clId="{6ECD27E6-B224-41CD-B4E0-E297462320DD}" dt="2023-11-24T11:37:10.751" v="130934"/>
          <ac:spMkLst>
            <pc:docMk/>
            <pc:sldMk cId="721183839" sldId="2147478576"/>
            <ac:spMk id="855" creationId="{7CF6599E-2554-0536-221B-6BD6593357C3}"/>
          </ac:spMkLst>
        </pc:spChg>
        <pc:spChg chg="add del mod">
          <ac:chgData name="Steiner Andreas 6206 ED" userId="e6377c33-a923-4f14-8587-531c474c7b48" providerId="ADAL" clId="{6ECD27E6-B224-41CD-B4E0-E297462320DD}" dt="2023-11-24T11:37:12.449" v="131089"/>
          <ac:spMkLst>
            <pc:docMk/>
            <pc:sldMk cId="721183839" sldId="2147478576"/>
            <ac:spMk id="856" creationId="{BA8DCE3D-6004-7599-D932-A5DF74FE75B9}"/>
          </ac:spMkLst>
        </pc:spChg>
        <pc:spChg chg="add del mod">
          <ac:chgData name="Steiner Andreas 6206 ED" userId="e6377c33-a923-4f14-8587-531c474c7b48" providerId="ADAL" clId="{6ECD27E6-B224-41CD-B4E0-E297462320DD}" dt="2023-11-24T11:37:14.118" v="131244"/>
          <ac:spMkLst>
            <pc:docMk/>
            <pc:sldMk cId="721183839" sldId="2147478576"/>
            <ac:spMk id="857" creationId="{2C0199DB-AC46-AFE6-6417-3BA3BF62359C}"/>
          </ac:spMkLst>
        </pc:spChg>
        <pc:spChg chg="add del mod">
          <ac:chgData name="Steiner Andreas 6206 ED" userId="e6377c33-a923-4f14-8587-531c474c7b48" providerId="ADAL" clId="{6ECD27E6-B224-41CD-B4E0-E297462320DD}" dt="2023-11-24T11:37:16.171" v="131399"/>
          <ac:spMkLst>
            <pc:docMk/>
            <pc:sldMk cId="721183839" sldId="2147478576"/>
            <ac:spMk id="858" creationId="{BE2F595A-B964-37E2-9F1E-B62EFD7AA72D}"/>
          </ac:spMkLst>
        </pc:spChg>
        <pc:spChg chg="add del mod">
          <ac:chgData name="Steiner Andreas 6206 ED" userId="e6377c33-a923-4f14-8587-531c474c7b48" providerId="ADAL" clId="{6ECD27E6-B224-41CD-B4E0-E297462320DD}" dt="2023-11-24T11:37:18.157" v="131554"/>
          <ac:spMkLst>
            <pc:docMk/>
            <pc:sldMk cId="721183839" sldId="2147478576"/>
            <ac:spMk id="859" creationId="{55F95725-9171-5167-032E-42C49E93358F}"/>
          </ac:spMkLst>
        </pc:spChg>
        <pc:spChg chg="add del mod">
          <ac:chgData name="Steiner Andreas 6206 ED" userId="e6377c33-a923-4f14-8587-531c474c7b48" providerId="ADAL" clId="{6ECD27E6-B224-41CD-B4E0-E297462320DD}" dt="2023-11-24T11:37:20.040" v="131709"/>
          <ac:spMkLst>
            <pc:docMk/>
            <pc:sldMk cId="721183839" sldId="2147478576"/>
            <ac:spMk id="860" creationId="{04557F9F-5B88-488A-D44B-4A041BC40F5A}"/>
          </ac:spMkLst>
        </pc:spChg>
        <pc:spChg chg="add del mod">
          <ac:chgData name="Steiner Andreas 6206 ED" userId="e6377c33-a923-4f14-8587-531c474c7b48" providerId="ADAL" clId="{6ECD27E6-B224-41CD-B4E0-E297462320DD}" dt="2023-11-24T11:37:21.952" v="131864"/>
          <ac:spMkLst>
            <pc:docMk/>
            <pc:sldMk cId="721183839" sldId="2147478576"/>
            <ac:spMk id="861" creationId="{6C9193EB-5A24-8759-39DB-BB39CF77686A}"/>
          </ac:spMkLst>
        </pc:spChg>
        <pc:spChg chg="add del mod">
          <ac:chgData name="Steiner Andreas 6206 ED" userId="e6377c33-a923-4f14-8587-531c474c7b48" providerId="ADAL" clId="{6ECD27E6-B224-41CD-B4E0-E297462320DD}" dt="2023-11-24T11:37:23.730" v="132019"/>
          <ac:spMkLst>
            <pc:docMk/>
            <pc:sldMk cId="721183839" sldId="2147478576"/>
            <ac:spMk id="862" creationId="{6CFB8474-ECA6-C42A-DD1D-5FA837939A93}"/>
          </ac:spMkLst>
        </pc:spChg>
        <pc:spChg chg="add del mod">
          <ac:chgData name="Steiner Andreas 6206 ED" userId="e6377c33-a923-4f14-8587-531c474c7b48" providerId="ADAL" clId="{6ECD27E6-B224-41CD-B4E0-E297462320DD}" dt="2023-11-24T11:37:25.434" v="132174"/>
          <ac:spMkLst>
            <pc:docMk/>
            <pc:sldMk cId="721183839" sldId="2147478576"/>
            <ac:spMk id="863" creationId="{ACF8A5ED-7510-3BD5-8875-C857626B9FD5}"/>
          </ac:spMkLst>
        </pc:spChg>
        <pc:spChg chg="add del mod">
          <ac:chgData name="Steiner Andreas 6206 ED" userId="e6377c33-a923-4f14-8587-531c474c7b48" providerId="ADAL" clId="{6ECD27E6-B224-41CD-B4E0-E297462320DD}" dt="2023-11-24T11:37:27.406" v="132329"/>
          <ac:spMkLst>
            <pc:docMk/>
            <pc:sldMk cId="721183839" sldId="2147478576"/>
            <ac:spMk id="864" creationId="{B4EE428E-B6C3-F16C-3611-9AF4B5EFE9B5}"/>
          </ac:spMkLst>
        </pc:spChg>
        <pc:spChg chg="add del mod">
          <ac:chgData name="Steiner Andreas 6206 ED" userId="e6377c33-a923-4f14-8587-531c474c7b48" providerId="ADAL" clId="{6ECD27E6-B224-41CD-B4E0-E297462320DD}" dt="2023-11-24T11:37:30.100" v="132484"/>
          <ac:spMkLst>
            <pc:docMk/>
            <pc:sldMk cId="721183839" sldId="2147478576"/>
            <ac:spMk id="865" creationId="{9A62E646-11A8-429C-19CE-F955A8E780CC}"/>
          </ac:spMkLst>
        </pc:spChg>
        <pc:spChg chg="add del mod">
          <ac:chgData name="Steiner Andreas 6206 ED" userId="e6377c33-a923-4f14-8587-531c474c7b48" providerId="ADAL" clId="{6ECD27E6-B224-41CD-B4E0-E297462320DD}" dt="2023-11-24T11:37:32.724" v="132639"/>
          <ac:spMkLst>
            <pc:docMk/>
            <pc:sldMk cId="721183839" sldId="2147478576"/>
            <ac:spMk id="866" creationId="{5B734A6E-B465-1EC7-FBE8-23C23EF7DCAD}"/>
          </ac:spMkLst>
        </pc:spChg>
        <pc:spChg chg="add del mod">
          <ac:chgData name="Steiner Andreas 6206 ED" userId="e6377c33-a923-4f14-8587-531c474c7b48" providerId="ADAL" clId="{6ECD27E6-B224-41CD-B4E0-E297462320DD}" dt="2023-11-24T11:37:35.590" v="132794"/>
          <ac:spMkLst>
            <pc:docMk/>
            <pc:sldMk cId="721183839" sldId="2147478576"/>
            <ac:spMk id="867" creationId="{89CE0962-5A27-D25D-C691-56B1A91C0CB6}"/>
          </ac:spMkLst>
        </pc:spChg>
        <pc:spChg chg="add del mod">
          <ac:chgData name="Steiner Andreas 6206 ED" userId="e6377c33-a923-4f14-8587-531c474c7b48" providerId="ADAL" clId="{6ECD27E6-B224-41CD-B4E0-E297462320DD}" dt="2023-11-24T11:37:38.313" v="132949"/>
          <ac:spMkLst>
            <pc:docMk/>
            <pc:sldMk cId="721183839" sldId="2147478576"/>
            <ac:spMk id="868" creationId="{31A4122C-0D38-70C8-13B8-BFA721CC2C7C}"/>
          </ac:spMkLst>
        </pc:spChg>
        <pc:spChg chg="add del mod">
          <ac:chgData name="Steiner Andreas 6206 ED" userId="e6377c33-a923-4f14-8587-531c474c7b48" providerId="ADAL" clId="{6ECD27E6-B224-41CD-B4E0-E297462320DD}" dt="2023-11-24T11:37:40.866" v="133104"/>
          <ac:spMkLst>
            <pc:docMk/>
            <pc:sldMk cId="721183839" sldId="2147478576"/>
            <ac:spMk id="869" creationId="{55FFF5DF-B9DF-EFAA-F69D-DD9829952952}"/>
          </ac:spMkLst>
        </pc:spChg>
        <pc:spChg chg="add del mod">
          <ac:chgData name="Steiner Andreas 6206 ED" userId="e6377c33-a923-4f14-8587-531c474c7b48" providerId="ADAL" clId="{6ECD27E6-B224-41CD-B4E0-E297462320DD}" dt="2023-11-24T11:37:43.867" v="133259"/>
          <ac:spMkLst>
            <pc:docMk/>
            <pc:sldMk cId="721183839" sldId="2147478576"/>
            <ac:spMk id="870" creationId="{00CAD690-1649-61A1-53EB-DF3F8B0AB0DF}"/>
          </ac:spMkLst>
        </pc:spChg>
        <pc:spChg chg="add del mod">
          <ac:chgData name="Steiner Andreas 6206 ED" userId="e6377c33-a923-4f14-8587-531c474c7b48" providerId="ADAL" clId="{6ECD27E6-B224-41CD-B4E0-E297462320DD}" dt="2023-11-24T11:37:48.048" v="133414"/>
          <ac:spMkLst>
            <pc:docMk/>
            <pc:sldMk cId="721183839" sldId="2147478576"/>
            <ac:spMk id="871" creationId="{84426BA3-C2F5-DF18-A3F3-816BC2235FE1}"/>
          </ac:spMkLst>
        </pc:spChg>
        <pc:spChg chg="add del mod">
          <ac:chgData name="Steiner Andreas 6206 ED" userId="e6377c33-a923-4f14-8587-531c474c7b48" providerId="ADAL" clId="{6ECD27E6-B224-41CD-B4E0-E297462320DD}" dt="2023-11-24T11:37:51.189" v="133569"/>
          <ac:spMkLst>
            <pc:docMk/>
            <pc:sldMk cId="721183839" sldId="2147478576"/>
            <ac:spMk id="872" creationId="{0192B6FB-DAB2-41D7-D6A1-DA923955A12B}"/>
          </ac:spMkLst>
        </pc:spChg>
        <pc:spChg chg="add del mod">
          <ac:chgData name="Steiner Andreas 6206 ED" userId="e6377c33-a923-4f14-8587-531c474c7b48" providerId="ADAL" clId="{6ECD27E6-B224-41CD-B4E0-E297462320DD}" dt="2023-11-24T11:37:54.092" v="133724"/>
          <ac:spMkLst>
            <pc:docMk/>
            <pc:sldMk cId="721183839" sldId="2147478576"/>
            <ac:spMk id="873" creationId="{626968B0-8D73-7245-91D9-AE8E7CDAC896}"/>
          </ac:spMkLst>
        </pc:spChg>
        <pc:spChg chg="add del mod">
          <ac:chgData name="Steiner Andreas 6206 ED" userId="e6377c33-a923-4f14-8587-531c474c7b48" providerId="ADAL" clId="{6ECD27E6-B224-41CD-B4E0-E297462320DD}" dt="2023-11-24T11:37:56.431" v="133879"/>
          <ac:spMkLst>
            <pc:docMk/>
            <pc:sldMk cId="721183839" sldId="2147478576"/>
            <ac:spMk id="874" creationId="{2ABED8BA-2A18-62EB-6C03-4471F03A971D}"/>
          </ac:spMkLst>
        </pc:spChg>
        <pc:spChg chg="add del mod">
          <ac:chgData name="Steiner Andreas 6206 ED" userId="e6377c33-a923-4f14-8587-531c474c7b48" providerId="ADAL" clId="{6ECD27E6-B224-41CD-B4E0-E297462320DD}" dt="2023-11-24T11:37:59.039" v="134034"/>
          <ac:spMkLst>
            <pc:docMk/>
            <pc:sldMk cId="721183839" sldId="2147478576"/>
            <ac:spMk id="875" creationId="{C1432377-D8C0-A360-8838-E415C4785918}"/>
          </ac:spMkLst>
        </pc:spChg>
        <pc:spChg chg="add del mod">
          <ac:chgData name="Steiner Andreas 6206 ED" userId="e6377c33-a923-4f14-8587-531c474c7b48" providerId="ADAL" clId="{6ECD27E6-B224-41CD-B4E0-E297462320DD}" dt="2023-11-24T11:38:01.299" v="134189"/>
          <ac:spMkLst>
            <pc:docMk/>
            <pc:sldMk cId="721183839" sldId="2147478576"/>
            <ac:spMk id="876" creationId="{5C3BBA83-4BB6-2953-6BE4-F5A4C5DAA150}"/>
          </ac:spMkLst>
        </pc:spChg>
        <pc:spChg chg="add del mod">
          <ac:chgData name="Steiner Andreas 6206 ED" userId="e6377c33-a923-4f14-8587-531c474c7b48" providerId="ADAL" clId="{6ECD27E6-B224-41CD-B4E0-E297462320DD}" dt="2023-11-24T11:38:03.850" v="134344"/>
          <ac:spMkLst>
            <pc:docMk/>
            <pc:sldMk cId="721183839" sldId="2147478576"/>
            <ac:spMk id="877" creationId="{5B2C30C7-FA23-5341-228A-7EE092EB6EA5}"/>
          </ac:spMkLst>
        </pc:spChg>
        <pc:spChg chg="add del mod">
          <ac:chgData name="Steiner Andreas 6206 ED" userId="e6377c33-a923-4f14-8587-531c474c7b48" providerId="ADAL" clId="{6ECD27E6-B224-41CD-B4E0-E297462320DD}" dt="2023-11-24T11:38:06.229" v="134499"/>
          <ac:spMkLst>
            <pc:docMk/>
            <pc:sldMk cId="721183839" sldId="2147478576"/>
            <ac:spMk id="878" creationId="{1BCDD573-5E47-0549-E5A7-BDA07CEF5FCC}"/>
          </ac:spMkLst>
        </pc:spChg>
        <pc:spChg chg="add del mod">
          <ac:chgData name="Steiner Andreas 6206 ED" userId="e6377c33-a923-4f14-8587-531c474c7b48" providerId="ADAL" clId="{6ECD27E6-B224-41CD-B4E0-E297462320DD}" dt="2023-11-24T11:38:09.007" v="134654"/>
          <ac:spMkLst>
            <pc:docMk/>
            <pc:sldMk cId="721183839" sldId="2147478576"/>
            <ac:spMk id="879" creationId="{A80AF23A-524F-53C7-15A2-DD9F860E794B}"/>
          </ac:spMkLst>
        </pc:spChg>
        <pc:spChg chg="add del mod">
          <ac:chgData name="Steiner Andreas 6206 ED" userId="e6377c33-a923-4f14-8587-531c474c7b48" providerId="ADAL" clId="{6ECD27E6-B224-41CD-B4E0-E297462320DD}" dt="2023-11-24T11:38:11.928" v="134809"/>
          <ac:spMkLst>
            <pc:docMk/>
            <pc:sldMk cId="721183839" sldId="2147478576"/>
            <ac:spMk id="880" creationId="{3134DC02-AC5A-D4F5-ADDB-69436A84B829}"/>
          </ac:spMkLst>
        </pc:spChg>
        <pc:spChg chg="add del mod">
          <ac:chgData name="Steiner Andreas 6206 ED" userId="e6377c33-a923-4f14-8587-531c474c7b48" providerId="ADAL" clId="{6ECD27E6-B224-41CD-B4E0-E297462320DD}" dt="2023-11-24T11:38:14.172" v="134964"/>
          <ac:spMkLst>
            <pc:docMk/>
            <pc:sldMk cId="721183839" sldId="2147478576"/>
            <ac:spMk id="881" creationId="{A4E4D750-D25C-78D7-1E6F-74A2D1970361}"/>
          </ac:spMkLst>
        </pc:spChg>
        <pc:spChg chg="add del mod">
          <ac:chgData name="Steiner Andreas 6206 ED" userId="e6377c33-a923-4f14-8587-531c474c7b48" providerId="ADAL" clId="{6ECD27E6-B224-41CD-B4E0-E297462320DD}" dt="2023-11-24T11:38:16.662" v="135119"/>
          <ac:spMkLst>
            <pc:docMk/>
            <pc:sldMk cId="721183839" sldId="2147478576"/>
            <ac:spMk id="882" creationId="{C50A7491-20FA-4886-D55F-244FC48CA202}"/>
          </ac:spMkLst>
        </pc:spChg>
        <pc:spChg chg="add del mod">
          <ac:chgData name="Steiner Andreas 6206 ED" userId="e6377c33-a923-4f14-8587-531c474c7b48" providerId="ADAL" clId="{6ECD27E6-B224-41CD-B4E0-E297462320DD}" dt="2023-11-24T11:38:19.453" v="135274"/>
          <ac:spMkLst>
            <pc:docMk/>
            <pc:sldMk cId="721183839" sldId="2147478576"/>
            <ac:spMk id="883" creationId="{843286A9-F018-B676-2CB7-B82AFFF0A10F}"/>
          </ac:spMkLst>
        </pc:spChg>
        <pc:spChg chg="add del mod">
          <ac:chgData name="Steiner Andreas 6206 ED" userId="e6377c33-a923-4f14-8587-531c474c7b48" providerId="ADAL" clId="{6ECD27E6-B224-41CD-B4E0-E297462320DD}" dt="2023-11-24T11:38:22.019" v="135429"/>
          <ac:spMkLst>
            <pc:docMk/>
            <pc:sldMk cId="721183839" sldId="2147478576"/>
            <ac:spMk id="884" creationId="{CA466B98-BF69-7A9A-8D44-7DE97C326287}"/>
          </ac:spMkLst>
        </pc:spChg>
        <pc:spChg chg="add del mod">
          <ac:chgData name="Steiner Andreas 6206 ED" userId="e6377c33-a923-4f14-8587-531c474c7b48" providerId="ADAL" clId="{6ECD27E6-B224-41CD-B4E0-E297462320DD}" dt="2023-11-24T11:38:24.872" v="135584"/>
          <ac:spMkLst>
            <pc:docMk/>
            <pc:sldMk cId="721183839" sldId="2147478576"/>
            <ac:spMk id="885" creationId="{A18A2EA0-AA26-786A-BAA9-C33C375F6BF8}"/>
          </ac:spMkLst>
        </pc:spChg>
        <pc:spChg chg="add del mod">
          <ac:chgData name="Steiner Andreas 6206 ED" userId="e6377c33-a923-4f14-8587-531c474c7b48" providerId="ADAL" clId="{6ECD27E6-B224-41CD-B4E0-E297462320DD}" dt="2023-11-24T11:38:27.643" v="135739"/>
          <ac:spMkLst>
            <pc:docMk/>
            <pc:sldMk cId="721183839" sldId="2147478576"/>
            <ac:spMk id="886" creationId="{58F0C5C3-B31B-0956-7400-5E8B5FE15B7D}"/>
          </ac:spMkLst>
        </pc:spChg>
        <pc:spChg chg="add del mod">
          <ac:chgData name="Steiner Andreas 6206 ED" userId="e6377c33-a923-4f14-8587-531c474c7b48" providerId="ADAL" clId="{6ECD27E6-B224-41CD-B4E0-E297462320DD}" dt="2023-11-24T11:38:30.324" v="135894"/>
          <ac:spMkLst>
            <pc:docMk/>
            <pc:sldMk cId="721183839" sldId="2147478576"/>
            <ac:spMk id="887" creationId="{07BA1ADE-EC21-D2C6-A1C1-5A8CA11D59D3}"/>
          </ac:spMkLst>
        </pc:spChg>
        <pc:spChg chg="add del mod">
          <ac:chgData name="Steiner Andreas 6206 ED" userId="e6377c33-a923-4f14-8587-531c474c7b48" providerId="ADAL" clId="{6ECD27E6-B224-41CD-B4E0-E297462320DD}" dt="2023-11-24T11:38:32.648" v="136049"/>
          <ac:spMkLst>
            <pc:docMk/>
            <pc:sldMk cId="721183839" sldId="2147478576"/>
            <ac:spMk id="888" creationId="{FD8C1251-4ADC-9D0B-8363-69A78E754FBD}"/>
          </ac:spMkLst>
        </pc:spChg>
        <pc:spChg chg="add del mod">
          <ac:chgData name="Steiner Andreas 6206 ED" userId="e6377c33-a923-4f14-8587-531c474c7b48" providerId="ADAL" clId="{6ECD27E6-B224-41CD-B4E0-E297462320DD}" dt="2023-11-24T11:38:35.135" v="136204"/>
          <ac:spMkLst>
            <pc:docMk/>
            <pc:sldMk cId="721183839" sldId="2147478576"/>
            <ac:spMk id="889" creationId="{7A11CA10-7C95-D2D7-6348-37E999602B3D}"/>
          </ac:spMkLst>
        </pc:spChg>
        <pc:spChg chg="add del mod">
          <ac:chgData name="Steiner Andreas 6206 ED" userId="e6377c33-a923-4f14-8587-531c474c7b48" providerId="ADAL" clId="{6ECD27E6-B224-41CD-B4E0-E297462320DD}" dt="2023-11-24T11:38:37.864" v="136359"/>
          <ac:spMkLst>
            <pc:docMk/>
            <pc:sldMk cId="721183839" sldId="2147478576"/>
            <ac:spMk id="890" creationId="{D14AB471-52BD-84B1-E932-68D6DB487F68}"/>
          </ac:spMkLst>
        </pc:spChg>
        <pc:spChg chg="add del mod">
          <ac:chgData name="Steiner Andreas 6206 ED" userId="e6377c33-a923-4f14-8587-531c474c7b48" providerId="ADAL" clId="{6ECD27E6-B224-41CD-B4E0-E297462320DD}" dt="2023-11-24T11:38:40.544" v="136514"/>
          <ac:spMkLst>
            <pc:docMk/>
            <pc:sldMk cId="721183839" sldId="2147478576"/>
            <ac:spMk id="891" creationId="{9C3A903B-93CB-E7C4-8E0C-5E0F1AF2796A}"/>
          </ac:spMkLst>
        </pc:spChg>
        <pc:spChg chg="add del mod">
          <ac:chgData name="Steiner Andreas 6206 ED" userId="e6377c33-a923-4f14-8587-531c474c7b48" providerId="ADAL" clId="{6ECD27E6-B224-41CD-B4E0-E297462320DD}" dt="2023-11-24T11:38:42.948" v="136669"/>
          <ac:spMkLst>
            <pc:docMk/>
            <pc:sldMk cId="721183839" sldId="2147478576"/>
            <ac:spMk id="892" creationId="{4E4FCDF4-97CF-0D6D-3CCA-82C8E02476DC}"/>
          </ac:spMkLst>
        </pc:spChg>
        <pc:spChg chg="add del mod">
          <ac:chgData name="Steiner Andreas 6206 ED" userId="e6377c33-a923-4f14-8587-531c474c7b48" providerId="ADAL" clId="{6ECD27E6-B224-41CD-B4E0-E297462320DD}" dt="2023-11-24T11:38:45.315" v="136824"/>
          <ac:spMkLst>
            <pc:docMk/>
            <pc:sldMk cId="721183839" sldId="2147478576"/>
            <ac:spMk id="893" creationId="{E1E3C8B5-049E-9712-EB5F-AF764B45D349}"/>
          </ac:spMkLst>
        </pc:spChg>
        <pc:spChg chg="add del mod">
          <ac:chgData name="Steiner Andreas 6206 ED" userId="e6377c33-a923-4f14-8587-531c474c7b48" providerId="ADAL" clId="{6ECD27E6-B224-41CD-B4E0-E297462320DD}" dt="2023-11-24T11:38:47.707" v="136979"/>
          <ac:spMkLst>
            <pc:docMk/>
            <pc:sldMk cId="721183839" sldId="2147478576"/>
            <ac:spMk id="894" creationId="{59901611-B672-F1BA-096F-B805C74ECC51}"/>
          </ac:spMkLst>
        </pc:spChg>
        <pc:spChg chg="add del mod">
          <ac:chgData name="Steiner Andreas 6206 ED" userId="e6377c33-a923-4f14-8587-531c474c7b48" providerId="ADAL" clId="{6ECD27E6-B224-41CD-B4E0-E297462320DD}" dt="2023-11-24T11:38:50.735" v="137134"/>
          <ac:spMkLst>
            <pc:docMk/>
            <pc:sldMk cId="721183839" sldId="2147478576"/>
            <ac:spMk id="895" creationId="{A9525EB7-E143-225B-7F6E-E468D82485B3}"/>
          </ac:spMkLst>
        </pc:spChg>
        <pc:spChg chg="add del mod">
          <ac:chgData name="Steiner Andreas 6206 ED" userId="e6377c33-a923-4f14-8587-531c474c7b48" providerId="ADAL" clId="{6ECD27E6-B224-41CD-B4E0-E297462320DD}" dt="2023-11-24T11:38:53.134" v="137289"/>
          <ac:spMkLst>
            <pc:docMk/>
            <pc:sldMk cId="721183839" sldId="2147478576"/>
            <ac:spMk id="896" creationId="{9A938872-C5CC-24B4-6E8A-8CC2F8A9812D}"/>
          </ac:spMkLst>
        </pc:spChg>
        <pc:spChg chg="add del mod">
          <ac:chgData name="Steiner Andreas 6206 ED" userId="e6377c33-a923-4f14-8587-531c474c7b48" providerId="ADAL" clId="{6ECD27E6-B224-41CD-B4E0-E297462320DD}" dt="2023-11-24T11:38:55.611" v="137444"/>
          <ac:spMkLst>
            <pc:docMk/>
            <pc:sldMk cId="721183839" sldId="2147478576"/>
            <ac:spMk id="897" creationId="{B5B181C0-0226-BFF5-B77A-D0DF1E20BF68}"/>
          </ac:spMkLst>
        </pc:spChg>
        <pc:spChg chg="add del mod">
          <ac:chgData name="Steiner Andreas 6206 ED" userId="e6377c33-a923-4f14-8587-531c474c7b48" providerId="ADAL" clId="{6ECD27E6-B224-41CD-B4E0-E297462320DD}" dt="2023-11-24T11:38:58.219" v="137599"/>
          <ac:spMkLst>
            <pc:docMk/>
            <pc:sldMk cId="721183839" sldId="2147478576"/>
            <ac:spMk id="898" creationId="{8AE5F5EA-E46C-11B1-A9EF-AB346945EA8B}"/>
          </ac:spMkLst>
        </pc:spChg>
        <pc:spChg chg="add del mod">
          <ac:chgData name="Steiner Andreas 6206 ED" userId="e6377c33-a923-4f14-8587-531c474c7b48" providerId="ADAL" clId="{6ECD27E6-B224-41CD-B4E0-E297462320DD}" dt="2023-11-24T11:39:00.464" v="137754"/>
          <ac:spMkLst>
            <pc:docMk/>
            <pc:sldMk cId="721183839" sldId="2147478576"/>
            <ac:spMk id="899" creationId="{33AB9EC4-5B21-0FCC-0A14-04FAC69148A5}"/>
          </ac:spMkLst>
        </pc:spChg>
        <pc:spChg chg="add del mod">
          <ac:chgData name="Steiner Andreas 6206 ED" userId="e6377c33-a923-4f14-8587-531c474c7b48" providerId="ADAL" clId="{6ECD27E6-B224-41CD-B4E0-E297462320DD}" dt="2023-11-24T11:39:03.487" v="137909"/>
          <ac:spMkLst>
            <pc:docMk/>
            <pc:sldMk cId="721183839" sldId="2147478576"/>
            <ac:spMk id="900" creationId="{D36826E7-752B-7CD9-4B30-19EF8C74EACC}"/>
          </ac:spMkLst>
        </pc:spChg>
        <pc:spChg chg="add del mod">
          <ac:chgData name="Steiner Andreas 6206 ED" userId="e6377c33-a923-4f14-8587-531c474c7b48" providerId="ADAL" clId="{6ECD27E6-B224-41CD-B4E0-E297462320DD}" dt="2023-11-24T11:39:06.156" v="138064"/>
          <ac:spMkLst>
            <pc:docMk/>
            <pc:sldMk cId="721183839" sldId="2147478576"/>
            <ac:spMk id="901" creationId="{8C05F1F9-7515-15B8-A1F2-1CE8230B3D75}"/>
          </ac:spMkLst>
        </pc:spChg>
        <pc:spChg chg="add del mod">
          <ac:chgData name="Steiner Andreas 6206 ED" userId="e6377c33-a923-4f14-8587-531c474c7b48" providerId="ADAL" clId="{6ECD27E6-B224-41CD-B4E0-E297462320DD}" dt="2023-11-24T11:39:08.664" v="138219"/>
          <ac:spMkLst>
            <pc:docMk/>
            <pc:sldMk cId="721183839" sldId="2147478576"/>
            <ac:spMk id="902" creationId="{08C3041D-E28D-A4F8-C99C-FFA485F5E9D4}"/>
          </ac:spMkLst>
        </pc:spChg>
        <pc:spChg chg="add del mod">
          <ac:chgData name="Steiner Andreas 6206 ED" userId="e6377c33-a923-4f14-8587-531c474c7b48" providerId="ADAL" clId="{6ECD27E6-B224-41CD-B4E0-E297462320DD}" dt="2023-11-24T11:39:11.012" v="138374"/>
          <ac:spMkLst>
            <pc:docMk/>
            <pc:sldMk cId="721183839" sldId="2147478576"/>
            <ac:spMk id="903" creationId="{405821E9-412A-F414-9A45-8F984923B9D8}"/>
          </ac:spMkLst>
        </pc:spChg>
        <pc:spChg chg="add del mod">
          <ac:chgData name="Steiner Andreas 6206 ED" userId="e6377c33-a923-4f14-8587-531c474c7b48" providerId="ADAL" clId="{6ECD27E6-B224-41CD-B4E0-E297462320DD}" dt="2023-11-24T11:39:13.466" v="138529"/>
          <ac:spMkLst>
            <pc:docMk/>
            <pc:sldMk cId="721183839" sldId="2147478576"/>
            <ac:spMk id="904" creationId="{26CDA764-963F-FAB5-4E9F-2662433E49E5}"/>
          </ac:spMkLst>
        </pc:spChg>
        <pc:spChg chg="add del mod">
          <ac:chgData name="Steiner Andreas 6206 ED" userId="e6377c33-a923-4f14-8587-531c474c7b48" providerId="ADAL" clId="{6ECD27E6-B224-41CD-B4E0-E297462320DD}" dt="2023-11-24T11:39:16.161" v="138684"/>
          <ac:spMkLst>
            <pc:docMk/>
            <pc:sldMk cId="721183839" sldId="2147478576"/>
            <ac:spMk id="905" creationId="{37D2807C-267C-127E-B504-5BE42311E598}"/>
          </ac:spMkLst>
        </pc:spChg>
        <pc:spChg chg="add del mod">
          <ac:chgData name="Steiner Andreas 6206 ED" userId="e6377c33-a923-4f14-8587-531c474c7b48" providerId="ADAL" clId="{6ECD27E6-B224-41CD-B4E0-E297462320DD}" dt="2023-11-24T11:39:19.022" v="138839"/>
          <ac:spMkLst>
            <pc:docMk/>
            <pc:sldMk cId="721183839" sldId="2147478576"/>
            <ac:spMk id="906" creationId="{687D4393-C9B1-9690-172B-CAA073F76B2C}"/>
          </ac:spMkLst>
        </pc:spChg>
        <pc:spChg chg="add del mod">
          <ac:chgData name="Steiner Andreas 6206 ED" userId="e6377c33-a923-4f14-8587-531c474c7b48" providerId="ADAL" clId="{6ECD27E6-B224-41CD-B4E0-E297462320DD}" dt="2023-11-24T11:39:21.660" v="138994"/>
          <ac:spMkLst>
            <pc:docMk/>
            <pc:sldMk cId="721183839" sldId="2147478576"/>
            <ac:spMk id="907" creationId="{68BFFD8A-B5B0-FFC6-9183-EC938F72C733}"/>
          </ac:spMkLst>
        </pc:spChg>
        <pc:spChg chg="add del mod">
          <ac:chgData name="Steiner Andreas 6206 ED" userId="e6377c33-a923-4f14-8587-531c474c7b48" providerId="ADAL" clId="{6ECD27E6-B224-41CD-B4E0-E297462320DD}" dt="2023-11-24T11:39:24.230" v="139149"/>
          <ac:spMkLst>
            <pc:docMk/>
            <pc:sldMk cId="721183839" sldId="2147478576"/>
            <ac:spMk id="908" creationId="{E4BBFCFB-44A5-C4E2-6A25-69A53643C22A}"/>
          </ac:spMkLst>
        </pc:spChg>
        <pc:spChg chg="add del mod">
          <ac:chgData name="Steiner Andreas 6206 ED" userId="e6377c33-a923-4f14-8587-531c474c7b48" providerId="ADAL" clId="{6ECD27E6-B224-41CD-B4E0-E297462320DD}" dt="2023-11-24T11:39:27.019" v="139304"/>
          <ac:spMkLst>
            <pc:docMk/>
            <pc:sldMk cId="721183839" sldId="2147478576"/>
            <ac:spMk id="909" creationId="{C38FDCC5-4F1F-5ACC-A754-EAA241FD17B5}"/>
          </ac:spMkLst>
        </pc:spChg>
        <pc:spChg chg="add del mod">
          <ac:chgData name="Steiner Andreas 6206 ED" userId="e6377c33-a923-4f14-8587-531c474c7b48" providerId="ADAL" clId="{6ECD27E6-B224-41CD-B4E0-E297462320DD}" dt="2023-11-24T11:39:29.650" v="139459"/>
          <ac:spMkLst>
            <pc:docMk/>
            <pc:sldMk cId="721183839" sldId="2147478576"/>
            <ac:spMk id="910" creationId="{4E57944E-7EEA-0AE8-4092-2EF9BF8BA5D4}"/>
          </ac:spMkLst>
        </pc:spChg>
        <pc:spChg chg="add del mod">
          <ac:chgData name="Steiner Andreas 6206 ED" userId="e6377c33-a923-4f14-8587-531c474c7b48" providerId="ADAL" clId="{6ECD27E6-B224-41CD-B4E0-E297462320DD}" dt="2023-11-24T11:39:32.686" v="139614"/>
          <ac:spMkLst>
            <pc:docMk/>
            <pc:sldMk cId="721183839" sldId="2147478576"/>
            <ac:spMk id="911" creationId="{401FE1C0-804E-A8AA-A1E9-FEBB2B7DCF4E}"/>
          </ac:spMkLst>
        </pc:spChg>
        <pc:spChg chg="add del mod">
          <ac:chgData name="Steiner Andreas 6206 ED" userId="e6377c33-a923-4f14-8587-531c474c7b48" providerId="ADAL" clId="{6ECD27E6-B224-41CD-B4E0-E297462320DD}" dt="2023-11-24T11:39:35.392" v="139769"/>
          <ac:spMkLst>
            <pc:docMk/>
            <pc:sldMk cId="721183839" sldId="2147478576"/>
            <ac:spMk id="912" creationId="{38F04E22-019B-BA53-DF0F-6A32B93EA7D5}"/>
          </ac:spMkLst>
        </pc:spChg>
        <pc:spChg chg="add del mod">
          <ac:chgData name="Steiner Andreas 6206 ED" userId="e6377c33-a923-4f14-8587-531c474c7b48" providerId="ADAL" clId="{6ECD27E6-B224-41CD-B4E0-E297462320DD}" dt="2023-11-24T11:39:38.307" v="139924"/>
          <ac:spMkLst>
            <pc:docMk/>
            <pc:sldMk cId="721183839" sldId="2147478576"/>
            <ac:spMk id="913" creationId="{5A6338C5-CF9A-705F-2C44-B1F181F9DC27}"/>
          </ac:spMkLst>
        </pc:spChg>
        <pc:spChg chg="add del mod">
          <ac:chgData name="Steiner Andreas 6206 ED" userId="e6377c33-a923-4f14-8587-531c474c7b48" providerId="ADAL" clId="{6ECD27E6-B224-41CD-B4E0-E297462320DD}" dt="2023-11-24T11:39:40.974" v="140079"/>
          <ac:spMkLst>
            <pc:docMk/>
            <pc:sldMk cId="721183839" sldId="2147478576"/>
            <ac:spMk id="914" creationId="{A55A9A18-1227-A4D3-58D5-05F3EE17DE9A}"/>
          </ac:spMkLst>
        </pc:spChg>
        <pc:spChg chg="add del mod">
          <ac:chgData name="Steiner Andreas 6206 ED" userId="e6377c33-a923-4f14-8587-531c474c7b48" providerId="ADAL" clId="{6ECD27E6-B224-41CD-B4E0-E297462320DD}" dt="2023-11-24T11:39:43.592" v="140234"/>
          <ac:spMkLst>
            <pc:docMk/>
            <pc:sldMk cId="721183839" sldId="2147478576"/>
            <ac:spMk id="915" creationId="{763FA6F0-6240-E19F-65D3-99F79B65F9DB}"/>
          </ac:spMkLst>
        </pc:spChg>
        <pc:spChg chg="add del mod">
          <ac:chgData name="Steiner Andreas 6206 ED" userId="e6377c33-a923-4f14-8587-531c474c7b48" providerId="ADAL" clId="{6ECD27E6-B224-41CD-B4E0-E297462320DD}" dt="2023-11-24T11:39:46.169" v="140389"/>
          <ac:spMkLst>
            <pc:docMk/>
            <pc:sldMk cId="721183839" sldId="2147478576"/>
            <ac:spMk id="916" creationId="{55C389FB-1606-C177-FDD8-ACE44DFCAC1A}"/>
          </ac:spMkLst>
        </pc:spChg>
        <pc:spChg chg="add del mod">
          <ac:chgData name="Steiner Andreas 6206 ED" userId="e6377c33-a923-4f14-8587-531c474c7b48" providerId="ADAL" clId="{6ECD27E6-B224-41CD-B4E0-E297462320DD}" dt="2023-11-24T11:39:48.595" v="140544"/>
          <ac:spMkLst>
            <pc:docMk/>
            <pc:sldMk cId="721183839" sldId="2147478576"/>
            <ac:spMk id="917" creationId="{33E3B543-1BD3-5ADC-D98D-35BE8B80FC34}"/>
          </ac:spMkLst>
        </pc:spChg>
        <pc:spChg chg="add del mod">
          <ac:chgData name="Steiner Andreas 6206 ED" userId="e6377c33-a923-4f14-8587-531c474c7b48" providerId="ADAL" clId="{6ECD27E6-B224-41CD-B4E0-E297462320DD}" dt="2023-11-24T11:39:51.603" v="140699"/>
          <ac:spMkLst>
            <pc:docMk/>
            <pc:sldMk cId="721183839" sldId="2147478576"/>
            <ac:spMk id="918" creationId="{75F639EF-B3B8-E814-E7D9-7A9575A859B8}"/>
          </ac:spMkLst>
        </pc:spChg>
        <pc:spChg chg="add del mod">
          <ac:chgData name="Steiner Andreas 6206 ED" userId="e6377c33-a923-4f14-8587-531c474c7b48" providerId="ADAL" clId="{6ECD27E6-B224-41CD-B4E0-E297462320DD}" dt="2023-11-24T11:39:54.478" v="140854"/>
          <ac:spMkLst>
            <pc:docMk/>
            <pc:sldMk cId="721183839" sldId="2147478576"/>
            <ac:spMk id="919" creationId="{4EACB02F-6E72-8453-E948-25952AFCDE40}"/>
          </ac:spMkLst>
        </pc:spChg>
        <pc:spChg chg="add del mod">
          <ac:chgData name="Steiner Andreas 6206 ED" userId="e6377c33-a923-4f14-8587-531c474c7b48" providerId="ADAL" clId="{6ECD27E6-B224-41CD-B4E0-E297462320DD}" dt="2023-11-24T11:39:56.995" v="141009"/>
          <ac:spMkLst>
            <pc:docMk/>
            <pc:sldMk cId="721183839" sldId="2147478576"/>
            <ac:spMk id="920" creationId="{C657924A-B71D-B828-566B-60DC99A8156D}"/>
          </ac:spMkLst>
        </pc:spChg>
        <pc:spChg chg="add del mod">
          <ac:chgData name="Steiner Andreas 6206 ED" userId="e6377c33-a923-4f14-8587-531c474c7b48" providerId="ADAL" clId="{6ECD27E6-B224-41CD-B4E0-E297462320DD}" dt="2023-11-24T11:39:59.362" v="141164"/>
          <ac:spMkLst>
            <pc:docMk/>
            <pc:sldMk cId="721183839" sldId="2147478576"/>
            <ac:spMk id="921" creationId="{79B227CF-4E11-7647-C7DE-9A1251C80107}"/>
          </ac:spMkLst>
        </pc:spChg>
        <pc:spChg chg="add del mod">
          <ac:chgData name="Steiner Andreas 6206 ED" userId="e6377c33-a923-4f14-8587-531c474c7b48" providerId="ADAL" clId="{6ECD27E6-B224-41CD-B4E0-E297462320DD}" dt="2023-11-24T11:40:02.126" v="141319"/>
          <ac:spMkLst>
            <pc:docMk/>
            <pc:sldMk cId="721183839" sldId="2147478576"/>
            <ac:spMk id="922" creationId="{E19F260E-A42E-91E6-A43D-F3CD1FA9B053}"/>
          </ac:spMkLst>
        </pc:spChg>
        <pc:spChg chg="add del mod">
          <ac:chgData name="Steiner Andreas 6206 ED" userId="e6377c33-a923-4f14-8587-531c474c7b48" providerId="ADAL" clId="{6ECD27E6-B224-41CD-B4E0-E297462320DD}" dt="2023-11-24T11:40:04.964" v="141474"/>
          <ac:spMkLst>
            <pc:docMk/>
            <pc:sldMk cId="721183839" sldId="2147478576"/>
            <ac:spMk id="923" creationId="{2A92B169-873A-2639-6088-E6ABD33BAFA6}"/>
          </ac:spMkLst>
        </pc:spChg>
        <pc:spChg chg="add del mod">
          <ac:chgData name="Steiner Andreas 6206 ED" userId="e6377c33-a923-4f14-8587-531c474c7b48" providerId="ADAL" clId="{6ECD27E6-B224-41CD-B4E0-E297462320DD}" dt="2023-11-24T11:40:07.724" v="141629"/>
          <ac:spMkLst>
            <pc:docMk/>
            <pc:sldMk cId="721183839" sldId="2147478576"/>
            <ac:spMk id="924" creationId="{FD724006-5D9D-C0E9-84DD-2F66D1A64E04}"/>
          </ac:spMkLst>
        </pc:spChg>
        <pc:spChg chg="add del mod">
          <ac:chgData name="Steiner Andreas 6206 ED" userId="e6377c33-a923-4f14-8587-531c474c7b48" providerId="ADAL" clId="{6ECD27E6-B224-41CD-B4E0-E297462320DD}" dt="2023-11-24T11:40:10.154" v="141784"/>
          <ac:spMkLst>
            <pc:docMk/>
            <pc:sldMk cId="721183839" sldId="2147478576"/>
            <ac:spMk id="925" creationId="{E076B6B0-86C5-BB41-7DE4-1CB7C83DBF42}"/>
          </ac:spMkLst>
        </pc:spChg>
        <pc:spChg chg="add del mod">
          <ac:chgData name="Steiner Andreas 6206 ED" userId="e6377c33-a923-4f14-8587-531c474c7b48" providerId="ADAL" clId="{6ECD27E6-B224-41CD-B4E0-E297462320DD}" dt="2023-11-24T11:40:12.642" v="141939"/>
          <ac:spMkLst>
            <pc:docMk/>
            <pc:sldMk cId="721183839" sldId="2147478576"/>
            <ac:spMk id="926" creationId="{E505E68E-5855-8879-B659-A46C561D7B6C}"/>
          </ac:spMkLst>
        </pc:spChg>
        <pc:spChg chg="add del mod">
          <ac:chgData name="Steiner Andreas 6206 ED" userId="e6377c33-a923-4f14-8587-531c474c7b48" providerId="ADAL" clId="{6ECD27E6-B224-41CD-B4E0-E297462320DD}" dt="2023-11-24T11:40:16.391" v="142094"/>
          <ac:spMkLst>
            <pc:docMk/>
            <pc:sldMk cId="721183839" sldId="2147478576"/>
            <ac:spMk id="927" creationId="{0A4FD406-AADF-CAB9-D948-615ED7D27A3B}"/>
          </ac:spMkLst>
        </pc:spChg>
        <pc:spChg chg="add del mod">
          <ac:chgData name="Steiner Andreas 6206 ED" userId="e6377c33-a923-4f14-8587-531c474c7b48" providerId="ADAL" clId="{6ECD27E6-B224-41CD-B4E0-E297462320DD}" dt="2023-11-24T11:40:19.749" v="142249"/>
          <ac:spMkLst>
            <pc:docMk/>
            <pc:sldMk cId="721183839" sldId="2147478576"/>
            <ac:spMk id="928" creationId="{5C4F2664-644A-D227-07B7-F4EC848CCB11}"/>
          </ac:spMkLst>
        </pc:spChg>
        <pc:spChg chg="add del mod">
          <ac:chgData name="Steiner Andreas 6206 ED" userId="e6377c33-a923-4f14-8587-531c474c7b48" providerId="ADAL" clId="{6ECD27E6-B224-41CD-B4E0-E297462320DD}" dt="2023-11-24T11:40:22.547" v="142404"/>
          <ac:spMkLst>
            <pc:docMk/>
            <pc:sldMk cId="721183839" sldId="2147478576"/>
            <ac:spMk id="929" creationId="{EF385B4C-3689-012C-AECB-4D5D5821FE8D}"/>
          </ac:spMkLst>
        </pc:spChg>
        <pc:spChg chg="add del mod">
          <ac:chgData name="Steiner Andreas 6206 ED" userId="e6377c33-a923-4f14-8587-531c474c7b48" providerId="ADAL" clId="{6ECD27E6-B224-41CD-B4E0-E297462320DD}" dt="2023-11-24T11:40:25.229" v="142559"/>
          <ac:spMkLst>
            <pc:docMk/>
            <pc:sldMk cId="721183839" sldId="2147478576"/>
            <ac:spMk id="930" creationId="{CAFEB17B-9ECF-6991-6F07-7D9727719BBC}"/>
          </ac:spMkLst>
        </pc:spChg>
        <pc:spChg chg="add del mod">
          <ac:chgData name="Steiner Andreas 6206 ED" userId="e6377c33-a923-4f14-8587-531c474c7b48" providerId="ADAL" clId="{6ECD27E6-B224-41CD-B4E0-E297462320DD}" dt="2023-11-24T11:40:28.349" v="142714"/>
          <ac:spMkLst>
            <pc:docMk/>
            <pc:sldMk cId="721183839" sldId="2147478576"/>
            <ac:spMk id="931" creationId="{F5A9FE3C-FC34-2852-E30D-F679F7E1A92C}"/>
          </ac:spMkLst>
        </pc:spChg>
        <pc:spChg chg="add del mod">
          <ac:chgData name="Steiner Andreas 6206 ED" userId="e6377c33-a923-4f14-8587-531c474c7b48" providerId="ADAL" clId="{6ECD27E6-B224-41CD-B4E0-E297462320DD}" dt="2023-11-24T11:40:31.013" v="142869"/>
          <ac:spMkLst>
            <pc:docMk/>
            <pc:sldMk cId="721183839" sldId="2147478576"/>
            <ac:spMk id="932" creationId="{2E4CDC32-2DB9-E4A4-72BA-EFE88B6BDA99}"/>
          </ac:spMkLst>
        </pc:spChg>
        <pc:spChg chg="add del mod">
          <ac:chgData name="Steiner Andreas 6206 ED" userId="e6377c33-a923-4f14-8587-531c474c7b48" providerId="ADAL" clId="{6ECD27E6-B224-41CD-B4E0-E297462320DD}" dt="2023-11-24T11:40:33.578" v="143024"/>
          <ac:spMkLst>
            <pc:docMk/>
            <pc:sldMk cId="721183839" sldId="2147478576"/>
            <ac:spMk id="933" creationId="{E2588CB8-25B9-6FB0-3366-924423D50694}"/>
          </ac:spMkLst>
        </pc:spChg>
        <pc:spChg chg="add del mod">
          <ac:chgData name="Steiner Andreas 6206 ED" userId="e6377c33-a923-4f14-8587-531c474c7b48" providerId="ADAL" clId="{6ECD27E6-B224-41CD-B4E0-E297462320DD}" dt="2023-11-24T11:40:36.322" v="143179"/>
          <ac:spMkLst>
            <pc:docMk/>
            <pc:sldMk cId="721183839" sldId="2147478576"/>
            <ac:spMk id="934" creationId="{862A265F-4F89-B5E4-857F-C0314725AEC0}"/>
          </ac:spMkLst>
        </pc:spChg>
        <pc:spChg chg="add del mod">
          <ac:chgData name="Steiner Andreas 6206 ED" userId="e6377c33-a923-4f14-8587-531c474c7b48" providerId="ADAL" clId="{6ECD27E6-B224-41CD-B4E0-E297462320DD}" dt="2023-11-24T11:40:39.338" v="143334"/>
          <ac:spMkLst>
            <pc:docMk/>
            <pc:sldMk cId="721183839" sldId="2147478576"/>
            <ac:spMk id="935" creationId="{0CDFA5E4-8796-6E82-F5CC-62644A413F9A}"/>
          </ac:spMkLst>
        </pc:spChg>
        <pc:spChg chg="add del mod">
          <ac:chgData name="Steiner Andreas 6206 ED" userId="e6377c33-a923-4f14-8587-531c474c7b48" providerId="ADAL" clId="{6ECD27E6-B224-41CD-B4E0-E297462320DD}" dt="2023-11-24T11:40:42.309" v="143489"/>
          <ac:spMkLst>
            <pc:docMk/>
            <pc:sldMk cId="721183839" sldId="2147478576"/>
            <ac:spMk id="936" creationId="{EE2D0415-E7AF-7912-60D4-BDB4B1354070}"/>
          </ac:spMkLst>
        </pc:spChg>
        <pc:spChg chg="add del mod">
          <ac:chgData name="Steiner Andreas 6206 ED" userId="e6377c33-a923-4f14-8587-531c474c7b48" providerId="ADAL" clId="{6ECD27E6-B224-41CD-B4E0-E297462320DD}" dt="2023-11-24T11:40:44.978" v="143644"/>
          <ac:spMkLst>
            <pc:docMk/>
            <pc:sldMk cId="721183839" sldId="2147478576"/>
            <ac:spMk id="937" creationId="{56E39B33-0030-DC5A-A02C-074A08513647}"/>
          </ac:spMkLst>
        </pc:spChg>
        <pc:spChg chg="add del mod">
          <ac:chgData name="Steiner Andreas 6206 ED" userId="e6377c33-a923-4f14-8587-531c474c7b48" providerId="ADAL" clId="{6ECD27E6-B224-41CD-B4E0-E297462320DD}" dt="2023-11-24T11:40:47.734" v="143799"/>
          <ac:spMkLst>
            <pc:docMk/>
            <pc:sldMk cId="721183839" sldId="2147478576"/>
            <ac:spMk id="938" creationId="{8E5D5124-6940-3811-EA3A-BF240EFB4AAD}"/>
          </ac:spMkLst>
        </pc:spChg>
        <pc:spChg chg="add del mod">
          <ac:chgData name="Steiner Andreas 6206 ED" userId="e6377c33-a923-4f14-8587-531c474c7b48" providerId="ADAL" clId="{6ECD27E6-B224-41CD-B4E0-E297462320DD}" dt="2023-11-24T11:40:50.492" v="143954"/>
          <ac:spMkLst>
            <pc:docMk/>
            <pc:sldMk cId="721183839" sldId="2147478576"/>
            <ac:spMk id="939" creationId="{1F527E02-CD9A-2A36-1323-5D7B76FCC7BC}"/>
          </ac:spMkLst>
        </pc:spChg>
        <pc:spChg chg="add del mod">
          <ac:chgData name="Steiner Andreas 6206 ED" userId="e6377c33-a923-4f14-8587-531c474c7b48" providerId="ADAL" clId="{6ECD27E6-B224-41CD-B4E0-E297462320DD}" dt="2023-11-24T11:40:53.366" v="144109"/>
          <ac:spMkLst>
            <pc:docMk/>
            <pc:sldMk cId="721183839" sldId="2147478576"/>
            <ac:spMk id="940" creationId="{762E6C7B-B3F9-4C1C-632F-4248FDE09B96}"/>
          </ac:spMkLst>
        </pc:spChg>
        <pc:spChg chg="add del mod">
          <ac:chgData name="Steiner Andreas 6206 ED" userId="e6377c33-a923-4f14-8587-531c474c7b48" providerId="ADAL" clId="{6ECD27E6-B224-41CD-B4E0-E297462320DD}" dt="2023-11-24T11:40:56.033" v="144264"/>
          <ac:spMkLst>
            <pc:docMk/>
            <pc:sldMk cId="721183839" sldId="2147478576"/>
            <ac:spMk id="941" creationId="{497BAE0B-C026-4E68-136A-5C01A3F682B4}"/>
          </ac:spMkLst>
        </pc:spChg>
        <pc:spChg chg="add del mod">
          <ac:chgData name="Steiner Andreas 6206 ED" userId="e6377c33-a923-4f14-8587-531c474c7b48" providerId="ADAL" clId="{6ECD27E6-B224-41CD-B4E0-E297462320DD}" dt="2023-11-24T11:40:58.629" v="144419"/>
          <ac:spMkLst>
            <pc:docMk/>
            <pc:sldMk cId="721183839" sldId="2147478576"/>
            <ac:spMk id="942" creationId="{AD7FB63F-95F4-72F5-2243-65C49BA0D009}"/>
          </ac:spMkLst>
        </pc:spChg>
        <pc:spChg chg="add del mod">
          <ac:chgData name="Steiner Andreas 6206 ED" userId="e6377c33-a923-4f14-8587-531c474c7b48" providerId="ADAL" clId="{6ECD27E6-B224-41CD-B4E0-E297462320DD}" dt="2023-11-24T11:41:01.185" v="144574"/>
          <ac:spMkLst>
            <pc:docMk/>
            <pc:sldMk cId="721183839" sldId="2147478576"/>
            <ac:spMk id="943" creationId="{B4F1F734-BC69-07B6-C5AB-D56AB3AF2F0A}"/>
          </ac:spMkLst>
        </pc:spChg>
        <pc:spChg chg="add del mod">
          <ac:chgData name="Steiner Andreas 6206 ED" userId="e6377c33-a923-4f14-8587-531c474c7b48" providerId="ADAL" clId="{6ECD27E6-B224-41CD-B4E0-E297462320DD}" dt="2023-11-24T11:41:03.852" v="144729"/>
          <ac:spMkLst>
            <pc:docMk/>
            <pc:sldMk cId="721183839" sldId="2147478576"/>
            <ac:spMk id="944" creationId="{F98B3DF3-F6B7-FAF5-B89D-40C5A985B361}"/>
          </ac:spMkLst>
        </pc:spChg>
        <pc:spChg chg="add del mod">
          <ac:chgData name="Steiner Andreas 6206 ED" userId="e6377c33-a923-4f14-8587-531c474c7b48" providerId="ADAL" clId="{6ECD27E6-B224-41CD-B4E0-E297462320DD}" dt="2023-11-24T11:41:07.008" v="144884"/>
          <ac:spMkLst>
            <pc:docMk/>
            <pc:sldMk cId="721183839" sldId="2147478576"/>
            <ac:spMk id="945" creationId="{E162F79B-8FB8-5106-1C56-49BFF71FD819}"/>
          </ac:spMkLst>
        </pc:spChg>
        <pc:spChg chg="add del mod">
          <ac:chgData name="Steiner Andreas 6206 ED" userId="e6377c33-a923-4f14-8587-531c474c7b48" providerId="ADAL" clId="{6ECD27E6-B224-41CD-B4E0-E297462320DD}" dt="2023-11-24T11:41:10.129" v="145039"/>
          <ac:spMkLst>
            <pc:docMk/>
            <pc:sldMk cId="721183839" sldId="2147478576"/>
            <ac:spMk id="946" creationId="{898CBAB6-3D98-6973-0241-FAFF92EC75A2}"/>
          </ac:spMkLst>
        </pc:spChg>
        <pc:spChg chg="add del mod">
          <ac:chgData name="Steiner Andreas 6206 ED" userId="e6377c33-a923-4f14-8587-531c474c7b48" providerId="ADAL" clId="{6ECD27E6-B224-41CD-B4E0-E297462320DD}" dt="2023-11-24T11:41:12.976" v="145194"/>
          <ac:spMkLst>
            <pc:docMk/>
            <pc:sldMk cId="721183839" sldId="2147478576"/>
            <ac:spMk id="947" creationId="{78C21BBD-AFDC-2C7F-281C-64EE8D0B9E0B}"/>
          </ac:spMkLst>
        </pc:spChg>
        <pc:spChg chg="add del mod">
          <ac:chgData name="Steiner Andreas 6206 ED" userId="e6377c33-a923-4f14-8587-531c474c7b48" providerId="ADAL" clId="{6ECD27E6-B224-41CD-B4E0-E297462320DD}" dt="2023-11-24T11:41:16.015" v="145349"/>
          <ac:spMkLst>
            <pc:docMk/>
            <pc:sldMk cId="721183839" sldId="2147478576"/>
            <ac:spMk id="948" creationId="{84FB0938-5F90-D608-720E-A7724DE29690}"/>
          </ac:spMkLst>
        </pc:spChg>
        <pc:spChg chg="add del mod">
          <ac:chgData name="Steiner Andreas 6206 ED" userId="e6377c33-a923-4f14-8587-531c474c7b48" providerId="ADAL" clId="{6ECD27E6-B224-41CD-B4E0-E297462320DD}" dt="2023-11-24T11:41:19.223" v="145504"/>
          <ac:spMkLst>
            <pc:docMk/>
            <pc:sldMk cId="721183839" sldId="2147478576"/>
            <ac:spMk id="949" creationId="{41FAAD1D-F5CB-F40B-C935-CBFFA7165E75}"/>
          </ac:spMkLst>
        </pc:spChg>
        <pc:spChg chg="add del mod">
          <ac:chgData name="Steiner Andreas 6206 ED" userId="e6377c33-a923-4f14-8587-531c474c7b48" providerId="ADAL" clId="{6ECD27E6-B224-41CD-B4E0-E297462320DD}" dt="2023-11-24T11:41:21.766" v="145659"/>
          <ac:spMkLst>
            <pc:docMk/>
            <pc:sldMk cId="721183839" sldId="2147478576"/>
            <ac:spMk id="950" creationId="{34537557-0C6D-4E6F-CDFF-0FC2972046AD}"/>
          </ac:spMkLst>
        </pc:spChg>
        <pc:spChg chg="add del mod">
          <ac:chgData name="Steiner Andreas 6206 ED" userId="e6377c33-a923-4f14-8587-531c474c7b48" providerId="ADAL" clId="{6ECD27E6-B224-41CD-B4E0-E297462320DD}" dt="2023-11-24T11:41:25.639" v="145814"/>
          <ac:spMkLst>
            <pc:docMk/>
            <pc:sldMk cId="721183839" sldId="2147478576"/>
            <ac:spMk id="951" creationId="{932DCAC7-601C-CB49-BF4E-077511BA353E}"/>
          </ac:spMkLst>
        </pc:spChg>
        <pc:spChg chg="add del mod">
          <ac:chgData name="Steiner Andreas 6206 ED" userId="e6377c33-a923-4f14-8587-531c474c7b48" providerId="ADAL" clId="{6ECD27E6-B224-41CD-B4E0-E297462320DD}" dt="2023-11-24T11:41:28.654" v="145969"/>
          <ac:spMkLst>
            <pc:docMk/>
            <pc:sldMk cId="721183839" sldId="2147478576"/>
            <ac:spMk id="952" creationId="{52D6F085-43E4-7066-4282-57EB162D8C0B}"/>
          </ac:spMkLst>
        </pc:spChg>
        <pc:spChg chg="add del mod">
          <ac:chgData name="Steiner Andreas 6206 ED" userId="e6377c33-a923-4f14-8587-531c474c7b48" providerId="ADAL" clId="{6ECD27E6-B224-41CD-B4E0-E297462320DD}" dt="2023-11-24T11:41:31.357" v="146124"/>
          <ac:spMkLst>
            <pc:docMk/>
            <pc:sldMk cId="721183839" sldId="2147478576"/>
            <ac:spMk id="953" creationId="{113C2D45-DE4B-92C9-6ED9-5EE8DC770DD2}"/>
          </ac:spMkLst>
        </pc:spChg>
        <pc:spChg chg="add del mod">
          <ac:chgData name="Steiner Andreas 6206 ED" userId="e6377c33-a923-4f14-8587-531c474c7b48" providerId="ADAL" clId="{6ECD27E6-B224-41CD-B4E0-E297462320DD}" dt="2023-11-24T11:41:33.533" v="146279"/>
          <ac:spMkLst>
            <pc:docMk/>
            <pc:sldMk cId="721183839" sldId="2147478576"/>
            <ac:spMk id="954" creationId="{5202B6F3-29D9-10A0-1C5E-60CEA7C9FB46}"/>
          </ac:spMkLst>
        </pc:spChg>
        <pc:spChg chg="add del mod">
          <ac:chgData name="Steiner Andreas 6206 ED" userId="e6377c33-a923-4f14-8587-531c474c7b48" providerId="ADAL" clId="{6ECD27E6-B224-41CD-B4E0-E297462320DD}" dt="2023-11-24T11:41:35.664" v="146434"/>
          <ac:spMkLst>
            <pc:docMk/>
            <pc:sldMk cId="721183839" sldId="2147478576"/>
            <ac:spMk id="955" creationId="{9A569456-2497-F83A-CF9A-6F053F9DCA85}"/>
          </ac:spMkLst>
        </pc:spChg>
        <pc:spChg chg="add del mod">
          <ac:chgData name="Steiner Andreas 6206 ED" userId="e6377c33-a923-4f14-8587-531c474c7b48" providerId="ADAL" clId="{6ECD27E6-B224-41CD-B4E0-E297462320DD}" dt="2023-11-24T11:41:37.876" v="146589"/>
          <ac:spMkLst>
            <pc:docMk/>
            <pc:sldMk cId="721183839" sldId="2147478576"/>
            <ac:spMk id="956" creationId="{AD87DB0E-0853-820F-FB4B-A7FC8EAEBDB9}"/>
          </ac:spMkLst>
        </pc:spChg>
        <pc:spChg chg="add del mod">
          <ac:chgData name="Steiner Andreas 6206 ED" userId="e6377c33-a923-4f14-8587-531c474c7b48" providerId="ADAL" clId="{6ECD27E6-B224-41CD-B4E0-E297462320DD}" dt="2023-11-24T11:41:40.631" v="146744"/>
          <ac:spMkLst>
            <pc:docMk/>
            <pc:sldMk cId="721183839" sldId="2147478576"/>
            <ac:spMk id="957" creationId="{D9E3BA2A-CB6B-CAD3-A9C4-4906DC754D3A}"/>
          </ac:spMkLst>
        </pc:spChg>
        <pc:spChg chg="add del mod">
          <ac:chgData name="Steiner Andreas 6206 ED" userId="e6377c33-a923-4f14-8587-531c474c7b48" providerId="ADAL" clId="{6ECD27E6-B224-41CD-B4E0-E297462320DD}" dt="2023-11-24T11:41:42.794" v="146899"/>
          <ac:spMkLst>
            <pc:docMk/>
            <pc:sldMk cId="721183839" sldId="2147478576"/>
            <ac:spMk id="958" creationId="{29423368-290A-A633-ADCD-594BB27BBB07}"/>
          </ac:spMkLst>
        </pc:spChg>
        <pc:spChg chg="add del mod">
          <ac:chgData name="Steiner Andreas 6206 ED" userId="e6377c33-a923-4f14-8587-531c474c7b48" providerId="ADAL" clId="{6ECD27E6-B224-41CD-B4E0-E297462320DD}" dt="2023-11-24T11:41:44.870" v="147054"/>
          <ac:spMkLst>
            <pc:docMk/>
            <pc:sldMk cId="721183839" sldId="2147478576"/>
            <ac:spMk id="959" creationId="{5C47A1D3-1DCD-70BD-1765-7E6219B97318}"/>
          </ac:spMkLst>
        </pc:spChg>
        <pc:spChg chg="add del mod">
          <ac:chgData name="Steiner Andreas 6206 ED" userId="e6377c33-a923-4f14-8587-531c474c7b48" providerId="ADAL" clId="{6ECD27E6-B224-41CD-B4E0-E297462320DD}" dt="2023-11-24T11:41:47.381" v="147209"/>
          <ac:spMkLst>
            <pc:docMk/>
            <pc:sldMk cId="721183839" sldId="2147478576"/>
            <ac:spMk id="960" creationId="{15B2C4A1-A1F6-8934-B1C4-1ADC877E1C80}"/>
          </ac:spMkLst>
        </pc:spChg>
        <pc:spChg chg="add del mod">
          <ac:chgData name="Steiner Andreas 6206 ED" userId="e6377c33-a923-4f14-8587-531c474c7b48" providerId="ADAL" clId="{6ECD27E6-B224-41CD-B4E0-E297462320DD}" dt="2023-11-24T11:41:49.496" v="147364"/>
          <ac:spMkLst>
            <pc:docMk/>
            <pc:sldMk cId="721183839" sldId="2147478576"/>
            <ac:spMk id="961" creationId="{43F0C7F9-8990-19C7-6CD2-52E0B6DE5CEC}"/>
          </ac:spMkLst>
        </pc:spChg>
        <pc:spChg chg="add del mod">
          <ac:chgData name="Steiner Andreas 6206 ED" userId="e6377c33-a923-4f14-8587-531c474c7b48" providerId="ADAL" clId="{6ECD27E6-B224-41CD-B4E0-E297462320DD}" dt="2023-11-24T11:41:51.823" v="147519"/>
          <ac:spMkLst>
            <pc:docMk/>
            <pc:sldMk cId="721183839" sldId="2147478576"/>
            <ac:spMk id="962" creationId="{7D6BCDAA-3971-5118-DE95-36497DB82B38}"/>
          </ac:spMkLst>
        </pc:spChg>
        <pc:spChg chg="add del mod">
          <ac:chgData name="Steiner Andreas 6206 ED" userId="e6377c33-a923-4f14-8587-531c474c7b48" providerId="ADAL" clId="{6ECD27E6-B224-41CD-B4E0-E297462320DD}" dt="2023-11-24T11:41:54.232" v="147674"/>
          <ac:spMkLst>
            <pc:docMk/>
            <pc:sldMk cId="721183839" sldId="2147478576"/>
            <ac:spMk id="963" creationId="{39B4056C-9DFC-8339-E226-AE3B55B12798}"/>
          </ac:spMkLst>
        </pc:spChg>
        <pc:spChg chg="add del mod">
          <ac:chgData name="Steiner Andreas 6206 ED" userId="e6377c33-a923-4f14-8587-531c474c7b48" providerId="ADAL" clId="{6ECD27E6-B224-41CD-B4E0-E297462320DD}" dt="2023-11-24T11:41:57.341" v="147829"/>
          <ac:spMkLst>
            <pc:docMk/>
            <pc:sldMk cId="721183839" sldId="2147478576"/>
            <ac:spMk id="964" creationId="{B54FCF86-0B8D-15EF-6252-E59759C0967A}"/>
          </ac:spMkLst>
        </pc:spChg>
        <pc:spChg chg="add del mod">
          <ac:chgData name="Steiner Andreas 6206 ED" userId="e6377c33-a923-4f14-8587-531c474c7b48" providerId="ADAL" clId="{6ECD27E6-B224-41CD-B4E0-E297462320DD}" dt="2023-11-24T11:42:00.710" v="147984"/>
          <ac:spMkLst>
            <pc:docMk/>
            <pc:sldMk cId="721183839" sldId="2147478576"/>
            <ac:spMk id="965" creationId="{44D7229D-2BD1-7876-0066-63A74EDAA3AC}"/>
          </ac:spMkLst>
        </pc:spChg>
        <pc:spChg chg="add del mod">
          <ac:chgData name="Steiner Andreas 6206 ED" userId="e6377c33-a923-4f14-8587-531c474c7b48" providerId="ADAL" clId="{6ECD27E6-B224-41CD-B4E0-E297462320DD}" dt="2023-11-24T11:42:04.029" v="148139"/>
          <ac:spMkLst>
            <pc:docMk/>
            <pc:sldMk cId="721183839" sldId="2147478576"/>
            <ac:spMk id="966" creationId="{47125FA1-66D9-8F2E-539C-E58E5DDDB761}"/>
          </ac:spMkLst>
        </pc:spChg>
        <pc:spChg chg="add del mod">
          <ac:chgData name="Steiner Andreas 6206 ED" userId="e6377c33-a923-4f14-8587-531c474c7b48" providerId="ADAL" clId="{6ECD27E6-B224-41CD-B4E0-E297462320DD}" dt="2023-11-24T11:42:06.528" v="148294"/>
          <ac:spMkLst>
            <pc:docMk/>
            <pc:sldMk cId="721183839" sldId="2147478576"/>
            <ac:spMk id="967" creationId="{ABFD7CA2-A98B-E2D3-08DE-943978331B18}"/>
          </ac:spMkLst>
        </pc:spChg>
        <pc:spChg chg="add del mod">
          <ac:chgData name="Steiner Andreas 6206 ED" userId="e6377c33-a923-4f14-8587-531c474c7b48" providerId="ADAL" clId="{6ECD27E6-B224-41CD-B4E0-E297462320DD}" dt="2023-11-24T11:42:08.783" v="148449"/>
          <ac:spMkLst>
            <pc:docMk/>
            <pc:sldMk cId="721183839" sldId="2147478576"/>
            <ac:spMk id="968" creationId="{F1167766-2DCB-9A46-0557-EE788B8C2586}"/>
          </ac:spMkLst>
        </pc:spChg>
        <pc:spChg chg="add del mod">
          <ac:chgData name="Steiner Andreas 6206 ED" userId="e6377c33-a923-4f14-8587-531c474c7b48" providerId="ADAL" clId="{6ECD27E6-B224-41CD-B4E0-E297462320DD}" dt="2023-11-24T11:42:11.380" v="148604"/>
          <ac:spMkLst>
            <pc:docMk/>
            <pc:sldMk cId="721183839" sldId="2147478576"/>
            <ac:spMk id="969" creationId="{40BD6D2E-632C-49CE-611E-597B13D344F3}"/>
          </ac:spMkLst>
        </pc:spChg>
        <pc:spChg chg="add del mod">
          <ac:chgData name="Steiner Andreas 6206 ED" userId="e6377c33-a923-4f14-8587-531c474c7b48" providerId="ADAL" clId="{6ECD27E6-B224-41CD-B4E0-E297462320DD}" dt="2023-11-24T11:42:13.983" v="148759"/>
          <ac:spMkLst>
            <pc:docMk/>
            <pc:sldMk cId="721183839" sldId="2147478576"/>
            <ac:spMk id="970" creationId="{E1E671CF-68B9-AB20-6B26-0889570FC9AF}"/>
          </ac:spMkLst>
        </pc:spChg>
        <pc:spChg chg="add del mod">
          <ac:chgData name="Steiner Andreas 6206 ED" userId="e6377c33-a923-4f14-8587-531c474c7b48" providerId="ADAL" clId="{6ECD27E6-B224-41CD-B4E0-E297462320DD}" dt="2023-11-24T11:42:16.290" v="148914"/>
          <ac:spMkLst>
            <pc:docMk/>
            <pc:sldMk cId="721183839" sldId="2147478576"/>
            <ac:spMk id="971" creationId="{2F71A299-AEA4-E1E8-6FF3-2088EA3BAA96}"/>
          </ac:spMkLst>
        </pc:spChg>
        <pc:spChg chg="add del mod">
          <ac:chgData name="Steiner Andreas 6206 ED" userId="e6377c33-a923-4f14-8587-531c474c7b48" providerId="ADAL" clId="{6ECD27E6-B224-41CD-B4E0-E297462320DD}" dt="2023-11-24T11:42:18.397" v="149069"/>
          <ac:spMkLst>
            <pc:docMk/>
            <pc:sldMk cId="721183839" sldId="2147478576"/>
            <ac:spMk id="972" creationId="{B57BE31E-F042-7E13-D966-60F2AAFF76D6}"/>
          </ac:spMkLst>
        </pc:spChg>
        <pc:spChg chg="add del mod">
          <ac:chgData name="Steiner Andreas 6206 ED" userId="e6377c33-a923-4f14-8587-531c474c7b48" providerId="ADAL" clId="{6ECD27E6-B224-41CD-B4E0-E297462320DD}" dt="2023-11-24T11:42:20.451" v="149224"/>
          <ac:spMkLst>
            <pc:docMk/>
            <pc:sldMk cId="721183839" sldId="2147478576"/>
            <ac:spMk id="973" creationId="{D12E9C38-7E8F-E834-1897-3A48F43F69DA}"/>
          </ac:spMkLst>
        </pc:spChg>
        <pc:spChg chg="add del mod">
          <ac:chgData name="Steiner Andreas 6206 ED" userId="e6377c33-a923-4f14-8587-531c474c7b48" providerId="ADAL" clId="{6ECD27E6-B224-41CD-B4E0-E297462320DD}" dt="2023-11-24T11:42:22.520" v="149379"/>
          <ac:spMkLst>
            <pc:docMk/>
            <pc:sldMk cId="721183839" sldId="2147478576"/>
            <ac:spMk id="974" creationId="{E1F196BC-5DD7-F2C7-1F1B-9B20E358154D}"/>
          </ac:spMkLst>
        </pc:spChg>
        <pc:spChg chg="add del mod">
          <ac:chgData name="Steiner Andreas 6206 ED" userId="e6377c33-a923-4f14-8587-531c474c7b48" providerId="ADAL" clId="{6ECD27E6-B224-41CD-B4E0-E297462320DD}" dt="2023-11-24T11:42:24.460" v="149534"/>
          <ac:spMkLst>
            <pc:docMk/>
            <pc:sldMk cId="721183839" sldId="2147478576"/>
            <ac:spMk id="975" creationId="{8BFC6D88-8E7F-F600-ABC5-1C2FF9C0486E}"/>
          </ac:spMkLst>
        </pc:spChg>
        <pc:spChg chg="add del mod">
          <ac:chgData name="Steiner Andreas 6206 ED" userId="e6377c33-a923-4f14-8587-531c474c7b48" providerId="ADAL" clId="{6ECD27E6-B224-41CD-B4E0-E297462320DD}" dt="2023-11-24T11:42:26.392" v="149689"/>
          <ac:spMkLst>
            <pc:docMk/>
            <pc:sldMk cId="721183839" sldId="2147478576"/>
            <ac:spMk id="976" creationId="{44EB063A-31CB-7158-4AF7-5C4F1B8F62C9}"/>
          </ac:spMkLst>
        </pc:spChg>
        <pc:spChg chg="add del mod">
          <ac:chgData name="Steiner Andreas 6206 ED" userId="e6377c33-a923-4f14-8587-531c474c7b48" providerId="ADAL" clId="{6ECD27E6-B224-41CD-B4E0-E297462320DD}" dt="2023-11-24T11:42:29.512" v="149844"/>
          <ac:spMkLst>
            <pc:docMk/>
            <pc:sldMk cId="721183839" sldId="2147478576"/>
            <ac:spMk id="977" creationId="{BF00E2E0-E25D-4730-4E3B-174387F8F432}"/>
          </ac:spMkLst>
        </pc:spChg>
        <pc:spChg chg="add del mod">
          <ac:chgData name="Steiner Andreas 6206 ED" userId="e6377c33-a923-4f14-8587-531c474c7b48" providerId="ADAL" clId="{6ECD27E6-B224-41CD-B4E0-E297462320DD}" dt="2023-11-24T11:42:32.493" v="149999"/>
          <ac:spMkLst>
            <pc:docMk/>
            <pc:sldMk cId="721183839" sldId="2147478576"/>
            <ac:spMk id="978" creationId="{9A1B6540-463C-E7CD-CD43-758D3C1DB5F2}"/>
          </ac:spMkLst>
        </pc:spChg>
        <pc:spChg chg="add del mod">
          <ac:chgData name="Steiner Andreas 6206 ED" userId="e6377c33-a923-4f14-8587-531c474c7b48" providerId="ADAL" clId="{6ECD27E6-B224-41CD-B4E0-E297462320DD}" dt="2023-11-24T11:42:35.757" v="150154"/>
          <ac:spMkLst>
            <pc:docMk/>
            <pc:sldMk cId="721183839" sldId="2147478576"/>
            <ac:spMk id="979" creationId="{46F85D4C-44E9-23A8-C0C3-EC70959D4D2A}"/>
          </ac:spMkLst>
        </pc:spChg>
        <pc:spChg chg="add del mod">
          <ac:chgData name="Steiner Andreas 6206 ED" userId="e6377c33-a923-4f14-8587-531c474c7b48" providerId="ADAL" clId="{6ECD27E6-B224-41CD-B4E0-E297462320DD}" dt="2023-11-24T11:42:38.052" v="150309"/>
          <ac:spMkLst>
            <pc:docMk/>
            <pc:sldMk cId="721183839" sldId="2147478576"/>
            <ac:spMk id="980" creationId="{EE38CB40-1541-0E34-E35F-2F3EA607198D}"/>
          </ac:spMkLst>
        </pc:spChg>
        <pc:spChg chg="add del mod">
          <ac:chgData name="Steiner Andreas 6206 ED" userId="e6377c33-a923-4f14-8587-531c474c7b48" providerId="ADAL" clId="{6ECD27E6-B224-41CD-B4E0-E297462320DD}" dt="2023-11-24T11:42:40.157" v="150464"/>
          <ac:spMkLst>
            <pc:docMk/>
            <pc:sldMk cId="721183839" sldId="2147478576"/>
            <ac:spMk id="981" creationId="{ADEAAF4E-39E9-2EDC-2C15-86B3DC609802}"/>
          </ac:spMkLst>
        </pc:spChg>
        <pc:spChg chg="add del mod">
          <ac:chgData name="Steiner Andreas 6206 ED" userId="e6377c33-a923-4f14-8587-531c474c7b48" providerId="ADAL" clId="{6ECD27E6-B224-41CD-B4E0-E297462320DD}" dt="2023-11-24T11:42:42.211" v="150619"/>
          <ac:spMkLst>
            <pc:docMk/>
            <pc:sldMk cId="721183839" sldId="2147478576"/>
            <ac:spMk id="982" creationId="{9A5C59F5-FFC3-7CBF-0FCE-AFA05868FCDF}"/>
          </ac:spMkLst>
        </pc:spChg>
        <pc:spChg chg="add del mod">
          <ac:chgData name="Steiner Andreas 6206 ED" userId="e6377c33-a923-4f14-8587-531c474c7b48" providerId="ADAL" clId="{6ECD27E6-B224-41CD-B4E0-E297462320DD}" dt="2023-11-24T11:42:44.308" v="150774"/>
          <ac:spMkLst>
            <pc:docMk/>
            <pc:sldMk cId="721183839" sldId="2147478576"/>
            <ac:spMk id="983" creationId="{3E982407-7E65-BC69-9A16-9CDC83F570B9}"/>
          </ac:spMkLst>
        </pc:spChg>
        <pc:spChg chg="add del mod">
          <ac:chgData name="Steiner Andreas 6206 ED" userId="e6377c33-a923-4f14-8587-531c474c7b48" providerId="ADAL" clId="{6ECD27E6-B224-41CD-B4E0-E297462320DD}" dt="2023-11-24T11:42:46.561" v="150929"/>
          <ac:spMkLst>
            <pc:docMk/>
            <pc:sldMk cId="721183839" sldId="2147478576"/>
            <ac:spMk id="984" creationId="{61B6AF8B-0FEF-AE70-9228-C6B2BEAE54AC}"/>
          </ac:spMkLst>
        </pc:spChg>
        <pc:spChg chg="add del mod">
          <ac:chgData name="Steiner Andreas 6206 ED" userId="e6377c33-a923-4f14-8587-531c474c7b48" providerId="ADAL" clId="{6ECD27E6-B224-41CD-B4E0-E297462320DD}" dt="2023-11-24T11:42:48.785" v="151084"/>
          <ac:spMkLst>
            <pc:docMk/>
            <pc:sldMk cId="721183839" sldId="2147478576"/>
            <ac:spMk id="985" creationId="{8C30BE17-7499-76C7-A988-8E4F218085FC}"/>
          </ac:spMkLst>
        </pc:spChg>
        <pc:spChg chg="add del mod">
          <ac:chgData name="Steiner Andreas 6206 ED" userId="e6377c33-a923-4f14-8587-531c474c7b48" providerId="ADAL" clId="{6ECD27E6-B224-41CD-B4E0-E297462320DD}" dt="2023-11-24T11:42:51.040" v="151239"/>
          <ac:spMkLst>
            <pc:docMk/>
            <pc:sldMk cId="721183839" sldId="2147478576"/>
            <ac:spMk id="986" creationId="{5B163F59-0CA2-EECD-D7C0-89BDFC49CB7D}"/>
          </ac:spMkLst>
        </pc:spChg>
        <pc:spChg chg="add del mod">
          <ac:chgData name="Steiner Andreas 6206 ED" userId="e6377c33-a923-4f14-8587-531c474c7b48" providerId="ADAL" clId="{6ECD27E6-B224-41CD-B4E0-E297462320DD}" dt="2023-11-24T11:42:53.379" v="151394"/>
          <ac:spMkLst>
            <pc:docMk/>
            <pc:sldMk cId="721183839" sldId="2147478576"/>
            <ac:spMk id="987" creationId="{2D176AF5-BD28-08D0-79B8-FDA7CD7D5EDC}"/>
          </ac:spMkLst>
        </pc:spChg>
        <pc:spChg chg="add del mod">
          <ac:chgData name="Steiner Andreas 6206 ED" userId="e6377c33-a923-4f14-8587-531c474c7b48" providerId="ADAL" clId="{6ECD27E6-B224-41CD-B4E0-E297462320DD}" dt="2023-11-24T11:42:55.613" v="151549"/>
          <ac:spMkLst>
            <pc:docMk/>
            <pc:sldMk cId="721183839" sldId="2147478576"/>
            <ac:spMk id="988" creationId="{1721A34F-B13D-F9A1-D530-9519030DA6E3}"/>
          </ac:spMkLst>
        </pc:spChg>
        <pc:spChg chg="add del mod">
          <ac:chgData name="Steiner Andreas 6206 ED" userId="e6377c33-a923-4f14-8587-531c474c7b48" providerId="ADAL" clId="{6ECD27E6-B224-41CD-B4E0-E297462320DD}" dt="2023-11-24T11:42:58.080" v="151704"/>
          <ac:spMkLst>
            <pc:docMk/>
            <pc:sldMk cId="721183839" sldId="2147478576"/>
            <ac:spMk id="989" creationId="{9CBF3C20-2628-397B-3812-52CAFB7A2B07}"/>
          </ac:spMkLst>
        </pc:spChg>
        <pc:spChg chg="add del mod">
          <ac:chgData name="Steiner Andreas 6206 ED" userId="e6377c33-a923-4f14-8587-531c474c7b48" providerId="ADAL" clId="{6ECD27E6-B224-41CD-B4E0-E297462320DD}" dt="2023-11-24T11:43:01.801" v="151859"/>
          <ac:spMkLst>
            <pc:docMk/>
            <pc:sldMk cId="721183839" sldId="2147478576"/>
            <ac:spMk id="990" creationId="{ADEF50EB-D297-ED95-5B82-13A867019053}"/>
          </ac:spMkLst>
        </pc:spChg>
        <pc:spChg chg="add del mod">
          <ac:chgData name="Steiner Andreas 6206 ED" userId="e6377c33-a923-4f14-8587-531c474c7b48" providerId="ADAL" clId="{6ECD27E6-B224-41CD-B4E0-E297462320DD}" dt="2023-11-24T11:43:04.100" v="152014"/>
          <ac:spMkLst>
            <pc:docMk/>
            <pc:sldMk cId="721183839" sldId="2147478576"/>
            <ac:spMk id="991" creationId="{1732BC9C-F4E8-C4FA-CD9E-5E2CB084ECF2}"/>
          </ac:spMkLst>
        </pc:spChg>
        <pc:spChg chg="add del mod">
          <ac:chgData name="Steiner Andreas 6206 ED" userId="e6377c33-a923-4f14-8587-531c474c7b48" providerId="ADAL" clId="{6ECD27E6-B224-41CD-B4E0-E297462320DD}" dt="2023-11-24T11:43:06.314" v="152169"/>
          <ac:spMkLst>
            <pc:docMk/>
            <pc:sldMk cId="721183839" sldId="2147478576"/>
            <ac:spMk id="992" creationId="{CB5C0BDB-BC16-C73D-5E31-3AE8EA347753}"/>
          </ac:spMkLst>
        </pc:spChg>
        <pc:spChg chg="add del mod">
          <ac:chgData name="Steiner Andreas 6206 ED" userId="e6377c33-a923-4f14-8587-531c474c7b48" providerId="ADAL" clId="{6ECD27E6-B224-41CD-B4E0-E297462320DD}" dt="2023-11-24T11:43:08.428" v="152324"/>
          <ac:spMkLst>
            <pc:docMk/>
            <pc:sldMk cId="721183839" sldId="2147478576"/>
            <ac:spMk id="993" creationId="{003CBA5D-3881-0584-39D4-888FAC87D8A6}"/>
          </ac:spMkLst>
        </pc:spChg>
        <pc:spChg chg="add del mod">
          <ac:chgData name="Steiner Andreas 6206 ED" userId="e6377c33-a923-4f14-8587-531c474c7b48" providerId="ADAL" clId="{6ECD27E6-B224-41CD-B4E0-E297462320DD}" dt="2023-11-24T11:43:10.593" v="152479"/>
          <ac:spMkLst>
            <pc:docMk/>
            <pc:sldMk cId="721183839" sldId="2147478576"/>
            <ac:spMk id="994" creationId="{B4E65ED9-02B2-C7A6-050B-21445A195975}"/>
          </ac:spMkLst>
        </pc:spChg>
        <pc:spChg chg="add del mod">
          <ac:chgData name="Steiner Andreas 6206 ED" userId="e6377c33-a923-4f14-8587-531c474c7b48" providerId="ADAL" clId="{6ECD27E6-B224-41CD-B4E0-E297462320DD}" dt="2023-11-24T11:43:12.801" v="152634"/>
          <ac:spMkLst>
            <pc:docMk/>
            <pc:sldMk cId="721183839" sldId="2147478576"/>
            <ac:spMk id="995" creationId="{D8C6E828-9906-08D9-CD26-4C13ADCF921C}"/>
          </ac:spMkLst>
        </pc:spChg>
        <pc:spChg chg="add del mod">
          <ac:chgData name="Steiner Andreas 6206 ED" userId="e6377c33-a923-4f14-8587-531c474c7b48" providerId="ADAL" clId="{6ECD27E6-B224-41CD-B4E0-E297462320DD}" dt="2023-11-24T11:43:15.135" v="152789"/>
          <ac:spMkLst>
            <pc:docMk/>
            <pc:sldMk cId="721183839" sldId="2147478576"/>
            <ac:spMk id="996" creationId="{2D49FD20-FD49-04CF-16EF-1D34919547F7}"/>
          </ac:spMkLst>
        </pc:spChg>
        <pc:spChg chg="add del mod">
          <ac:chgData name="Steiner Andreas 6206 ED" userId="e6377c33-a923-4f14-8587-531c474c7b48" providerId="ADAL" clId="{6ECD27E6-B224-41CD-B4E0-E297462320DD}" dt="2023-11-24T11:43:18.202" v="152944"/>
          <ac:spMkLst>
            <pc:docMk/>
            <pc:sldMk cId="721183839" sldId="2147478576"/>
            <ac:spMk id="997" creationId="{2E7B66DA-5EE0-DA8D-46F6-922DCF9F1E6E}"/>
          </ac:spMkLst>
        </pc:spChg>
        <pc:spChg chg="add del mod">
          <ac:chgData name="Steiner Andreas 6206 ED" userId="e6377c33-a923-4f14-8587-531c474c7b48" providerId="ADAL" clId="{6ECD27E6-B224-41CD-B4E0-E297462320DD}" dt="2023-11-24T11:43:22.370" v="153099"/>
          <ac:spMkLst>
            <pc:docMk/>
            <pc:sldMk cId="721183839" sldId="2147478576"/>
            <ac:spMk id="998" creationId="{8100D735-2529-31C7-C006-DA21ECA4392F}"/>
          </ac:spMkLst>
        </pc:spChg>
        <pc:spChg chg="add del mod">
          <ac:chgData name="Steiner Andreas 6206 ED" userId="e6377c33-a923-4f14-8587-531c474c7b48" providerId="ADAL" clId="{6ECD27E6-B224-41CD-B4E0-E297462320DD}" dt="2023-11-24T11:43:24.848" v="153254"/>
          <ac:spMkLst>
            <pc:docMk/>
            <pc:sldMk cId="721183839" sldId="2147478576"/>
            <ac:spMk id="999" creationId="{4592F3D2-48D7-7921-F581-ECE5988667B8}"/>
          </ac:spMkLst>
        </pc:spChg>
        <pc:spChg chg="add del mod">
          <ac:chgData name="Steiner Andreas 6206 ED" userId="e6377c33-a923-4f14-8587-531c474c7b48" providerId="ADAL" clId="{6ECD27E6-B224-41CD-B4E0-E297462320DD}" dt="2023-11-24T11:43:27.097" v="153409"/>
          <ac:spMkLst>
            <pc:docMk/>
            <pc:sldMk cId="721183839" sldId="2147478576"/>
            <ac:spMk id="1000" creationId="{04E5A04E-9579-C13A-A347-9BB92E77E229}"/>
          </ac:spMkLst>
        </pc:spChg>
        <pc:spChg chg="add del mod">
          <ac:chgData name="Steiner Andreas 6206 ED" userId="e6377c33-a923-4f14-8587-531c474c7b48" providerId="ADAL" clId="{6ECD27E6-B224-41CD-B4E0-E297462320DD}" dt="2023-11-24T11:43:29.371" v="153564"/>
          <ac:spMkLst>
            <pc:docMk/>
            <pc:sldMk cId="721183839" sldId="2147478576"/>
            <ac:spMk id="1001" creationId="{CA503DDA-E8A0-5DDB-C88C-C64C4DCA77DE}"/>
          </ac:spMkLst>
        </pc:spChg>
        <pc:spChg chg="add del mod">
          <ac:chgData name="Steiner Andreas 6206 ED" userId="e6377c33-a923-4f14-8587-531c474c7b48" providerId="ADAL" clId="{6ECD27E6-B224-41CD-B4E0-E297462320DD}" dt="2023-11-24T11:43:31.620" v="153719"/>
          <ac:spMkLst>
            <pc:docMk/>
            <pc:sldMk cId="721183839" sldId="2147478576"/>
            <ac:spMk id="1002" creationId="{908BE5B2-07AD-B0DF-5B47-313397F02D45}"/>
          </ac:spMkLst>
        </pc:spChg>
        <pc:spChg chg="add del mod">
          <ac:chgData name="Steiner Andreas 6206 ED" userId="e6377c33-a923-4f14-8587-531c474c7b48" providerId="ADAL" clId="{6ECD27E6-B224-41CD-B4E0-E297462320DD}" dt="2023-11-24T11:43:34.329" v="153874"/>
          <ac:spMkLst>
            <pc:docMk/>
            <pc:sldMk cId="721183839" sldId="2147478576"/>
            <ac:spMk id="1003" creationId="{36B33EF0-8A10-6E29-5FEE-10841987DFB5}"/>
          </ac:spMkLst>
        </pc:spChg>
        <pc:spChg chg="add del mod">
          <ac:chgData name="Steiner Andreas 6206 ED" userId="e6377c33-a923-4f14-8587-531c474c7b48" providerId="ADAL" clId="{6ECD27E6-B224-41CD-B4E0-E297462320DD}" dt="2023-11-24T11:43:36.493" v="154029"/>
          <ac:spMkLst>
            <pc:docMk/>
            <pc:sldMk cId="721183839" sldId="2147478576"/>
            <ac:spMk id="1004" creationId="{D232C7EA-01D4-98E9-9523-7D851DC120F8}"/>
          </ac:spMkLst>
        </pc:spChg>
        <pc:spChg chg="add del mod">
          <ac:chgData name="Steiner Andreas 6206 ED" userId="e6377c33-a923-4f14-8587-531c474c7b48" providerId="ADAL" clId="{6ECD27E6-B224-41CD-B4E0-E297462320DD}" dt="2023-11-24T11:43:38.691" v="154184"/>
          <ac:spMkLst>
            <pc:docMk/>
            <pc:sldMk cId="721183839" sldId="2147478576"/>
            <ac:spMk id="1005" creationId="{5725DCC2-D28E-587C-41C8-3261BE35197C}"/>
          </ac:spMkLst>
        </pc:spChg>
        <pc:spChg chg="add del mod">
          <ac:chgData name="Steiner Andreas 6206 ED" userId="e6377c33-a923-4f14-8587-531c474c7b48" providerId="ADAL" clId="{6ECD27E6-B224-41CD-B4E0-E297462320DD}" dt="2023-11-24T11:43:40.998" v="154339"/>
          <ac:spMkLst>
            <pc:docMk/>
            <pc:sldMk cId="721183839" sldId="2147478576"/>
            <ac:spMk id="1006" creationId="{630244DF-5EA8-D663-43B4-FA9B952EB57D}"/>
          </ac:spMkLst>
        </pc:spChg>
        <pc:spChg chg="add del mod">
          <ac:chgData name="Steiner Andreas 6206 ED" userId="e6377c33-a923-4f14-8587-531c474c7b48" providerId="ADAL" clId="{6ECD27E6-B224-41CD-B4E0-E297462320DD}" dt="2023-11-24T11:43:43.986" v="154494"/>
          <ac:spMkLst>
            <pc:docMk/>
            <pc:sldMk cId="721183839" sldId="2147478576"/>
            <ac:spMk id="1007" creationId="{DE79B278-94A6-7B11-F26B-E96E77606AE6}"/>
          </ac:spMkLst>
        </pc:spChg>
        <pc:spChg chg="add del mod">
          <ac:chgData name="Steiner Andreas 6206 ED" userId="e6377c33-a923-4f14-8587-531c474c7b48" providerId="ADAL" clId="{6ECD27E6-B224-41CD-B4E0-E297462320DD}" dt="2023-11-24T11:43:46.322" v="154649"/>
          <ac:spMkLst>
            <pc:docMk/>
            <pc:sldMk cId="721183839" sldId="2147478576"/>
            <ac:spMk id="1008" creationId="{6A5896B1-EEC6-8697-1615-BB059074E32C}"/>
          </ac:spMkLst>
        </pc:spChg>
        <pc:spChg chg="add del mod">
          <ac:chgData name="Steiner Andreas 6206 ED" userId="e6377c33-a923-4f14-8587-531c474c7b48" providerId="ADAL" clId="{6ECD27E6-B224-41CD-B4E0-E297462320DD}" dt="2023-11-24T11:43:48.622" v="154804"/>
          <ac:spMkLst>
            <pc:docMk/>
            <pc:sldMk cId="721183839" sldId="2147478576"/>
            <ac:spMk id="1009" creationId="{BF4C0180-18EB-2871-4B56-F7746AEDFE18}"/>
          </ac:spMkLst>
        </pc:spChg>
        <pc:spChg chg="add del mod">
          <ac:chgData name="Steiner Andreas 6206 ED" userId="e6377c33-a923-4f14-8587-531c474c7b48" providerId="ADAL" clId="{6ECD27E6-B224-41CD-B4E0-E297462320DD}" dt="2023-11-24T11:43:50.666" v="154959"/>
          <ac:spMkLst>
            <pc:docMk/>
            <pc:sldMk cId="721183839" sldId="2147478576"/>
            <ac:spMk id="1010" creationId="{9EE4691D-1864-729E-A034-6DDD1ABAECDB}"/>
          </ac:spMkLst>
        </pc:spChg>
        <pc:spChg chg="add del mod">
          <ac:chgData name="Steiner Andreas 6206 ED" userId="e6377c33-a923-4f14-8587-531c474c7b48" providerId="ADAL" clId="{6ECD27E6-B224-41CD-B4E0-E297462320DD}" dt="2023-11-24T11:43:52.854" v="155114"/>
          <ac:spMkLst>
            <pc:docMk/>
            <pc:sldMk cId="721183839" sldId="2147478576"/>
            <ac:spMk id="1011" creationId="{2AB8654D-A7AD-27EF-FCF9-AA46D9008F97}"/>
          </ac:spMkLst>
        </pc:spChg>
        <pc:spChg chg="add del mod">
          <ac:chgData name="Steiner Andreas 6206 ED" userId="e6377c33-a923-4f14-8587-531c474c7b48" providerId="ADAL" clId="{6ECD27E6-B224-41CD-B4E0-E297462320DD}" dt="2023-11-24T11:43:55.881" v="155269"/>
          <ac:spMkLst>
            <pc:docMk/>
            <pc:sldMk cId="721183839" sldId="2147478576"/>
            <ac:spMk id="1012" creationId="{E8A52ADB-795A-30D8-1678-9CAFEF5A5800}"/>
          </ac:spMkLst>
        </pc:spChg>
        <pc:spChg chg="add del mod">
          <ac:chgData name="Steiner Andreas 6206 ED" userId="e6377c33-a923-4f14-8587-531c474c7b48" providerId="ADAL" clId="{6ECD27E6-B224-41CD-B4E0-E297462320DD}" dt="2023-11-24T11:43:58.212" v="155424"/>
          <ac:spMkLst>
            <pc:docMk/>
            <pc:sldMk cId="721183839" sldId="2147478576"/>
            <ac:spMk id="1013" creationId="{3E5EAC0F-5EDD-2E14-EAE5-1043B98CACEC}"/>
          </ac:spMkLst>
        </pc:spChg>
        <pc:spChg chg="add del mod">
          <ac:chgData name="Steiner Andreas 6206 ED" userId="e6377c33-a923-4f14-8587-531c474c7b48" providerId="ADAL" clId="{6ECD27E6-B224-41CD-B4E0-E297462320DD}" dt="2023-11-24T11:44:00.318" v="155579"/>
          <ac:spMkLst>
            <pc:docMk/>
            <pc:sldMk cId="721183839" sldId="2147478576"/>
            <ac:spMk id="1014" creationId="{C264C673-4BFA-0B79-D806-F4242FFB2294}"/>
          </ac:spMkLst>
        </pc:spChg>
        <pc:spChg chg="add del mod">
          <ac:chgData name="Steiner Andreas 6206 ED" userId="e6377c33-a923-4f14-8587-531c474c7b48" providerId="ADAL" clId="{6ECD27E6-B224-41CD-B4E0-E297462320DD}" dt="2023-11-24T11:44:02.322" v="155734"/>
          <ac:spMkLst>
            <pc:docMk/>
            <pc:sldMk cId="721183839" sldId="2147478576"/>
            <ac:spMk id="1015" creationId="{8D789517-3DBE-7925-C24F-B154342D4C44}"/>
          </ac:spMkLst>
        </pc:spChg>
        <pc:spChg chg="add del mod">
          <ac:chgData name="Steiner Andreas 6206 ED" userId="e6377c33-a923-4f14-8587-531c474c7b48" providerId="ADAL" clId="{6ECD27E6-B224-41CD-B4E0-E297462320DD}" dt="2023-11-24T11:44:04.359" v="155889"/>
          <ac:spMkLst>
            <pc:docMk/>
            <pc:sldMk cId="721183839" sldId="2147478576"/>
            <ac:spMk id="1016" creationId="{F3C5B90C-D5BC-D231-3349-EEDDC299F6C4}"/>
          </ac:spMkLst>
        </pc:spChg>
        <pc:spChg chg="add del mod">
          <ac:chgData name="Steiner Andreas 6206 ED" userId="e6377c33-a923-4f14-8587-531c474c7b48" providerId="ADAL" clId="{6ECD27E6-B224-41CD-B4E0-E297462320DD}" dt="2023-11-24T11:44:06.377" v="156044"/>
          <ac:spMkLst>
            <pc:docMk/>
            <pc:sldMk cId="721183839" sldId="2147478576"/>
            <ac:spMk id="1017" creationId="{A22CF7E0-EEA1-C8D1-DEBF-C59AD19DC471}"/>
          </ac:spMkLst>
        </pc:spChg>
        <pc:spChg chg="add del mod">
          <ac:chgData name="Steiner Andreas 6206 ED" userId="e6377c33-a923-4f14-8587-531c474c7b48" providerId="ADAL" clId="{6ECD27E6-B224-41CD-B4E0-E297462320DD}" dt="2023-11-24T11:44:08.562" v="156199"/>
          <ac:spMkLst>
            <pc:docMk/>
            <pc:sldMk cId="721183839" sldId="2147478576"/>
            <ac:spMk id="1018" creationId="{805AA952-EB2C-062C-09C0-54AF7B8ECD3C}"/>
          </ac:spMkLst>
        </pc:spChg>
        <pc:spChg chg="add del mod">
          <ac:chgData name="Steiner Andreas 6206 ED" userId="e6377c33-a923-4f14-8587-531c474c7b48" providerId="ADAL" clId="{6ECD27E6-B224-41CD-B4E0-E297462320DD}" dt="2023-11-24T11:44:10.625" v="156354"/>
          <ac:spMkLst>
            <pc:docMk/>
            <pc:sldMk cId="721183839" sldId="2147478576"/>
            <ac:spMk id="1019" creationId="{CD8DD064-6F34-5088-A5C2-EA9BC23C72C2}"/>
          </ac:spMkLst>
        </pc:spChg>
        <pc:spChg chg="add del mod">
          <ac:chgData name="Steiner Andreas 6206 ED" userId="e6377c33-a923-4f14-8587-531c474c7b48" providerId="ADAL" clId="{6ECD27E6-B224-41CD-B4E0-E297462320DD}" dt="2023-11-24T11:44:12.628" v="156509"/>
          <ac:spMkLst>
            <pc:docMk/>
            <pc:sldMk cId="721183839" sldId="2147478576"/>
            <ac:spMk id="1020" creationId="{AC570576-95D9-BCD2-D935-C6F04FACD71C}"/>
          </ac:spMkLst>
        </pc:spChg>
        <pc:spChg chg="add del mod">
          <ac:chgData name="Steiner Andreas 6206 ED" userId="e6377c33-a923-4f14-8587-531c474c7b48" providerId="ADAL" clId="{6ECD27E6-B224-41CD-B4E0-E297462320DD}" dt="2023-11-24T11:44:14.619" v="156664"/>
          <ac:spMkLst>
            <pc:docMk/>
            <pc:sldMk cId="721183839" sldId="2147478576"/>
            <ac:spMk id="1021" creationId="{0AC608E1-2E66-BDAE-D3DE-ED77E85B7B74}"/>
          </ac:spMkLst>
        </pc:spChg>
        <pc:spChg chg="add del mod">
          <ac:chgData name="Steiner Andreas 6206 ED" userId="e6377c33-a923-4f14-8587-531c474c7b48" providerId="ADAL" clId="{6ECD27E6-B224-41CD-B4E0-E297462320DD}" dt="2023-11-24T11:44:16.610" v="156819"/>
          <ac:spMkLst>
            <pc:docMk/>
            <pc:sldMk cId="721183839" sldId="2147478576"/>
            <ac:spMk id="1022" creationId="{908E5C48-04E0-5082-0298-EBE637CAC543}"/>
          </ac:spMkLst>
        </pc:spChg>
        <pc:spChg chg="add del mod">
          <ac:chgData name="Steiner Andreas 6206 ED" userId="e6377c33-a923-4f14-8587-531c474c7b48" providerId="ADAL" clId="{6ECD27E6-B224-41CD-B4E0-E297462320DD}" dt="2023-11-24T11:44:18.708" v="156974"/>
          <ac:spMkLst>
            <pc:docMk/>
            <pc:sldMk cId="721183839" sldId="2147478576"/>
            <ac:spMk id="1023" creationId="{A6F0549C-578C-471D-63F4-353121C0445D}"/>
          </ac:spMkLst>
        </pc:spChg>
        <pc:spChg chg="add del mod">
          <ac:chgData name="Steiner Andreas 6206 ED" userId="e6377c33-a923-4f14-8587-531c474c7b48" providerId="ADAL" clId="{6ECD27E6-B224-41CD-B4E0-E297462320DD}" dt="2023-11-24T11:44:20.825" v="157129"/>
          <ac:spMkLst>
            <pc:docMk/>
            <pc:sldMk cId="721183839" sldId="2147478576"/>
            <ac:spMk id="1024" creationId="{557037A1-7C55-E919-98B0-AE9FAE9F1DA4}"/>
          </ac:spMkLst>
        </pc:spChg>
        <pc:spChg chg="add del mod">
          <ac:chgData name="Steiner Andreas 6206 ED" userId="e6377c33-a923-4f14-8587-531c474c7b48" providerId="ADAL" clId="{6ECD27E6-B224-41CD-B4E0-E297462320DD}" dt="2023-11-24T11:44:23.146" v="157284"/>
          <ac:spMkLst>
            <pc:docMk/>
            <pc:sldMk cId="721183839" sldId="2147478576"/>
            <ac:spMk id="1025" creationId="{508D27AD-D9C5-62EC-1B2B-7689C0626A25}"/>
          </ac:spMkLst>
        </pc:spChg>
        <pc:spChg chg="add del mod">
          <ac:chgData name="Steiner Andreas 6206 ED" userId="e6377c33-a923-4f14-8587-531c474c7b48" providerId="ADAL" clId="{6ECD27E6-B224-41CD-B4E0-E297462320DD}" dt="2023-11-24T11:44:25.305" v="157439"/>
          <ac:spMkLst>
            <pc:docMk/>
            <pc:sldMk cId="721183839" sldId="2147478576"/>
            <ac:spMk id="1026" creationId="{B02D12BA-26BB-D70A-155F-638F2B23A0E5}"/>
          </ac:spMkLst>
        </pc:spChg>
        <pc:spChg chg="add del mod">
          <ac:chgData name="Steiner Andreas 6206 ED" userId="e6377c33-a923-4f14-8587-531c474c7b48" providerId="ADAL" clId="{6ECD27E6-B224-41CD-B4E0-E297462320DD}" dt="2023-11-24T11:44:30.721" v="157594"/>
          <ac:spMkLst>
            <pc:docMk/>
            <pc:sldMk cId="721183839" sldId="2147478576"/>
            <ac:spMk id="1027" creationId="{A3FF5F45-2FCC-15FB-77A2-87039F703F6E}"/>
          </ac:spMkLst>
        </pc:spChg>
        <pc:spChg chg="add mod">
          <ac:chgData name="Steiner Andreas 6206 ED" userId="e6377c33-a923-4f14-8587-531c474c7b48" providerId="ADAL" clId="{6ECD27E6-B224-41CD-B4E0-E297462320DD}" dt="2023-11-24T11:44:30.723" v="157595"/>
          <ac:spMkLst>
            <pc:docMk/>
            <pc:sldMk cId="721183839" sldId="2147478576"/>
            <ac:spMk id="1028" creationId="{D76B3A67-2DB9-7B77-8FDE-C906F2DBAEB9}"/>
          </ac:spMkLst>
        </pc:spChg>
      </pc:sldChg>
      <pc:sldChg chg="addSp delSp modSp mod">
        <pc:chgData name="Steiner Andreas 6206 ED" userId="e6377c33-a923-4f14-8587-531c474c7b48" providerId="ADAL" clId="{6ECD27E6-B224-41CD-B4E0-E297462320DD}" dt="2023-11-24T11:44:30.625" v="157553"/>
        <pc:sldMkLst>
          <pc:docMk/>
          <pc:sldMk cId="3184642303" sldId="2147478578"/>
        </pc:sldMkLst>
        <pc:spChg chg="mod">
          <ac:chgData name="Steiner Andreas 6206 ED" userId="e6377c33-a923-4f14-8587-531c474c7b48" providerId="ADAL" clId="{6ECD27E6-B224-41CD-B4E0-E297462320DD}" dt="2023-11-24T11:44:30.605" v="157549" actId="20577"/>
          <ac:spMkLst>
            <pc:docMk/>
            <pc:sldMk cId="3184642303" sldId="2147478578"/>
            <ac:spMk id="3" creationId="{71897E71-8AFF-C212-B1C9-DEA217931D44}"/>
          </ac:spMkLst>
        </pc:spChg>
        <pc:spChg chg="del">
          <ac:chgData name="Steiner Andreas 6206 ED" userId="e6377c33-a923-4f14-8587-531c474c7b48" providerId="ADAL" clId="{6ECD27E6-B224-41CD-B4E0-E297462320DD}" dt="2023-11-23T19:49:53.475" v="47"/>
          <ac:spMkLst>
            <pc:docMk/>
            <pc:sldMk cId="3184642303" sldId="2147478578"/>
            <ac:spMk id="5" creationId="{616302D9-A1D0-477B-2F2A-C54FA9205DCA}"/>
          </ac:spMkLst>
        </pc:spChg>
        <pc:spChg chg="add del mod">
          <ac:chgData name="Steiner Andreas 6206 ED" userId="e6377c33-a923-4f14-8587-531c474c7b48" providerId="ADAL" clId="{6ECD27E6-B224-41CD-B4E0-E297462320DD}" dt="2023-11-23T19:49:53.478" v="50"/>
          <ac:spMkLst>
            <pc:docMk/>
            <pc:sldMk cId="3184642303" sldId="2147478578"/>
            <ac:spMk id="7" creationId="{C79F28DA-8E64-FCB1-13A7-907979B42CD3}"/>
          </ac:spMkLst>
        </pc:spChg>
        <pc:spChg chg="add del mod">
          <ac:chgData name="Steiner Andreas 6206 ED" userId="e6377c33-a923-4f14-8587-531c474c7b48" providerId="ADAL" clId="{6ECD27E6-B224-41CD-B4E0-E297462320DD}" dt="2023-11-23T19:49:54.403" v="227"/>
          <ac:spMkLst>
            <pc:docMk/>
            <pc:sldMk cId="3184642303" sldId="2147478578"/>
            <ac:spMk id="8" creationId="{359CCCB2-A12A-858B-6D0E-92E8373B4D57}"/>
          </ac:spMkLst>
        </pc:spChg>
        <pc:spChg chg="add del mod">
          <ac:chgData name="Steiner Andreas 6206 ED" userId="e6377c33-a923-4f14-8587-531c474c7b48" providerId="ADAL" clId="{6ECD27E6-B224-41CD-B4E0-E297462320DD}" dt="2023-11-23T19:50:25.183" v="382"/>
          <ac:spMkLst>
            <pc:docMk/>
            <pc:sldMk cId="3184642303" sldId="2147478578"/>
            <ac:spMk id="27" creationId="{E80CC3F4-D3EF-26CD-919D-D1B6222F7A24}"/>
          </ac:spMkLst>
        </pc:spChg>
        <pc:spChg chg="add del mod">
          <ac:chgData name="Steiner Andreas 6206 ED" userId="e6377c33-a923-4f14-8587-531c474c7b48" providerId="ADAL" clId="{6ECD27E6-B224-41CD-B4E0-E297462320DD}" dt="2023-11-23T19:50:34.995" v="537"/>
          <ac:spMkLst>
            <pc:docMk/>
            <pc:sldMk cId="3184642303" sldId="2147478578"/>
            <ac:spMk id="29" creationId="{7E38CD07-9A56-2DFE-AC1D-772E7D9DA56B}"/>
          </ac:spMkLst>
        </pc:spChg>
        <pc:spChg chg="add del mod">
          <ac:chgData name="Steiner Andreas 6206 ED" userId="e6377c33-a923-4f14-8587-531c474c7b48" providerId="ADAL" clId="{6ECD27E6-B224-41CD-B4E0-E297462320DD}" dt="2023-11-23T19:50:46.660" v="692"/>
          <ac:spMkLst>
            <pc:docMk/>
            <pc:sldMk cId="3184642303" sldId="2147478578"/>
            <ac:spMk id="30" creationId="{72B1945D-58AB-1589-938F-7A14BEBCEFA9}"/>
          </ac:spMkLst>
        </pc:spChg>
        <pc:spChg chg="add del mod">
          <ac:chgData name="Steiner Andreas 6206 ED" userId="e6377c33-a923-4f14-8587-531c474c7b48" providerId="ADAL" clId="{6ECD27E6-B224-41CD-B4E0-E297462320DD}" dt="2023-11-23T19:50:58.368" v="847"/>
          <ac:spMkLst>
            <pc:docMk/>
            <pc:sldMk cId="3184642303" sldId="2147478578"/>
            <ac:spMk id="31" creationId="{CCCD47F3-8D65-2D29-3CFC-9FD3AE1CDC88}"/>
          </ac:spMkLst>
        </pc:spChg>
        <pc:spChg chg="add del mod">
          <ac:chgData name="Steiner Andreas 6206 ED" userId="e6377c33-a923-4f14-8587-531c474c7b48" providerId="ADAL" clId="{6ECD27E6-B224-41CD-B4E0-E297462320DD}" dt="2023-11-23T19:51:09.051" v="1002"/>
          <ac:spMkLst>
            <pc:docMk/>
            <pc:sldMk cId="3184642303" sldId="2147478578"/>
            <ac:spMk id="33" creationId="{F49568E0-4122-3BE2-B467-3DFCA59D51B9}"/>
          </ac:spMkLst>
        </pc:spChg>
        <pc:spChg chg="add del mod">
          <ac:chgData name="Steiner Andreas 6206 ED" userId="e6377c33-a923-4f14-8587-531c474c7b48" providerId="ADAL" clId="{6ECD27E6-B224-41CD-B4E0-E297462320DD}" dt="2023-11-23T19:51:20.035" v="1157"/>
          <ac:spMkLst>
            <pc:docMk/>
            <pc:sldMk cId="3184642303" sldId="2147478578"/>
            <ac:spMk id="34" creationId="{85EB2672-02A1-DE62-741C-E648C8C3CCBD}"/>
          </ac:spMkLst>
        </pc:spChg>
        <pc:spChg chg="add del mod">
          <ac:chgData name="Steiner Andreas 6206 ED" userId="e6377c33-a923-4f14-8587-531c474c7b48" providerId="ADAL" clId="{6ECD27E6-B224-41CD-B4E0-E297462320DD}" dt="2023-11-23T19:51:31.532" v="1312"/>
          <ac:spMkLst>
            <pc:docMk/>
            <pc:sldMk cId="3184642303" sldId="2147478578"/>
            <ac:spMk id="35" creationId="{EAB562E7-0DF7-3D03-4DB6-0506EDA7A038}"/>
          </ac:spMkLst>
        </pc:spChg>
        <pc:spChg chg="add del mod">
          <ac:chgData name="Steiner Andreas 6206 ED" userId="e6377c33-a923-4f14-8587-531c474c7b48" providerId="ADAL" clId="{6ECD27E6-B224-41CD-B4E0-E297462320DD}" dt="2023-11-23T19:51:42.176" v="1467"/>
          <ac:spMkLst>
            <pc:docMk/>
            <pc:sldMk cId="3184642303" sldId="2147478578"/>
            <ac:spMk id="38" creationId="{E11E0646-876D-C3E1-88F5-86CE6DE007A7}"/>
          </ac:spMkLst>
        </pc:spChg>
        <pc:spChg chg="add del mod">
          <ac:chgData name="Steiner Andreas 6206 ED" userId="e6377c33-a923-4f14-8587-531c474c7b48" providerId="ADAL" clId="{6ECD27E6-B224-41CD-B4E0-E297462320DD}" dt="2023-11-23T19:51:53.535" v="1622"/>
          <ac:spMkLst>
            <pc:docMk/>
            <pc:sldMk cId="3184642303" sldId="2147478578"/>
            <ac:spMk id="40" creationId="{33081659-EF1A-A59C-0C17-40CA00A78C41}"/>
          </ac:spMkLst>
        </pc:spChg>
        <pc:spChg chg="add del mod">
          <ac:chgData name="Steiner Andreas 6206 ED" userId="e6377c33-a923-4f14-8587-531c474c7b48" providerId="ADAL" clId="{6ECD27E6-B224-41CD-B4E0-E297462320DD}" dt="2023-11-23T19:52:05.164" v="1777"/>
          <ac:spMkLst>
            <pc:docMk/>
            <pc:sldMk cId="3184642303" sldId="2147478578"/>
            <ac:spMk id="41" creationId="{BCE6FD7B-0431-11F1-A393-944B8B185044}"/>
          </ac:spMkLst>
        </pc:spChg>
        <pc:spChg chg="add del mod">
          <ac:chgData name="Steiner Andreas 6206 ED" userId="e6377c33-a923-4f14-8587-531c474c7b48" providerId="ADAL" clId="{6ECD27E6-B224-41CD-B4E0-E297462320DD}" dt="2023-11-23T19:52:16.861" v="1932"/>
          <ac:spMkLst>
            <pc:docMk/>
            <pc:sldMk cId="3184642303" sldId="2147478578"/>
            <ac:spMk id="42" creationId="{A60FF7E2-125F-3FD8-BEAD-7F9A38AA4E17}"/>
          </ac:spMkLst>
        </pc:spChg>
        <pc:spChg chg="add del mod">
          <ac:chgData name="Steiner Andreas 6206 ED" userId="e6377c33-a923-4f14-8587-531c474c7b48" providerId="ADAL" clId="{6ECD27E6-B224-41CD-B4E0-E297462320DD}" dt="2023-11-23T19:52:28.558" v="2087"/>
          <ac:spMkLst>
            <pc:docMk/>
            <pc:sldMk cId="3184642303" sldId="2147478578"/>
            <ac:spMk id="44" creationId="{8A40E062-79EA-9C52-255E-D76E7324963D}"/>
          </ac:spMkLst>
        </pc:spChg>
        <pc:spChg chg="add del mod">
          <ac:chgData name="Steiner Andreas 6206 ED" userId="e6377c33-a923-4f14-8587-531c474c7b48" providerId="ADAL" clId="{6ECD27E6-B224-41CD-B4E0-E297462320DD}" dt="2023-11-23T19:52:40.240" v="2242"/>
          <ac:spMkLst>
            <pc:docMk/>
            <pc:sldMk cId="3184642303" sldId="2147478578"/>
            <ac:spMk id="45" creationId="{8AEFAE5E-3BBD-C465-7660-CA79028E65C4}"/>
          </ac:spMkLst>
        </pc:spChg>
        <pc:spChg chg="add del mod">
          <ac:chgData name="Steiner Andreas 6206 ED" userId="e6377c33-a923-4f14-8587-531c474c7b48" providerId="ADAL" clId="{6ECD27E6-B224-41CD-B4E0-E297462320DD}" dt="2023-11-23T19:52:51.654" v="2397"/>
          <ac:spMkLst>
            <pc:docMk/>
            <pc:sldMk cId="3184642303" sldId="2147478578"/>
            <ac:spMk id="46" creationId="{5ADC389D-39FC-A1B2-D9B7-AEE57DCE2B7F}"/>
          </ac:spMkLst>
        </pc:spChg>
        <pc:spChg chg="add del mod">
          <ac:chgData name="Steiner Andreas 6206 ED" userId="e6377c33-a923-4f14-8587-531c474c7b48" providerId="ADAL" clId="{6ECD27E6-B224-41CD-B4E0-E297462320DD}" dt="2023-11-23T19:53:03.304" v="2552"/>
          <ac:spMkLst>
            <pc:docMk/>
            <pc:sldMk cId="3184642303" sldId="2147478578"/>
            <ac:spMk id="47" creationId="{2D5157C4-92F1-1EBC-51A4-FBD84560512D}"/>
          </ac:spMkLst>
        </pc:spChg>
        <pc:spChg chg="add del mod">
          <ac:chgData name="Steiner Andreas 6206 ED" userId="e6377c33-a923-4f14-8587-531c474c7b48" providerId="ADAL" clId="{6ECD27E6-B224-41CD-B4E0-E297462320DD}" dt="2023-11-23T19:53:15.042" v="2707"/>
          <ac:spMkLst>
            <pc:docMk/>
            <pc:sldMk cId="3184642303" sldId="2147478578"/>
            <ac:spMk id="48" creationId="{978A959D-23F0-460C-8C5A-1DEE2E480339}"/>
          </ac:spMkLst>
        </pc:spChg>
        <pc:spChg chg="add del mod">
          <ac:chgData name="Steiner Andreas 6206 ED" userId="e6377c33-a923-4f14-8587-531c474c7b48" providerId="ADAL" clId="{6ECD27E6-B224-41CD-B4E0-E297462320DD}" dt="2023-11-23T19:53:26.725" v="2862"/>
          <ac:spMkLst>
            <pc:docMk/>
            <pc:sldMk cId="3184642303" sldId="2147478578"/>
            <ac:spMk id="49" creationId="{B4B2BC5A-17D1-E9F3-5192-828BA35DD7A3}"/>
          </ac:spMkLst>
        </pc:spChg>
        <pc:spChg chg="add del mod">
          <ac:chgData name="Steiner Andreas 6206 ED" userId="e6377c33-a923-4f14-8587-531c474c7b48" providerId="ADAL" clId="{6ECD27E6-B224-41CD-B4E0-E297462320DD}" dt="2023-11-23T19:53:38.367" v="3017"/>
          <ac:spMkLst>
            <pc:docMk/>
            <pc:sldMk cId="3184642303" sldId="2147478578"/>
            <ac:spMk id="50" creationId="{9DBE6FFF-69F8-F164-142D-E8B7DB1E95EC}"/>
          </ac:spMkLst>
        </pc:spChg>
        <pc:spChg chg="add del mod">
          <ac:chgData name="Steiner Andreas 6206 ED" userId="e6377c33-a923-4f14-8587-531c474c7b48" providerId="ADAL" clId="{6ECD27E6-B224-41CD-B4E0-E297462320DD}" dt="2023-11-23T19:53:50.044" v="3172"/>
          <ac:spMkLst>
            <pc:docMk/>
            <pc:sldMk cId="3184642303" sldId="2147478578"/>
            <ac:spMk id="51" creationId="{2BB39E11-AF19-994E-EE11-3DD94B874CDC}"/>
          </ac:spMkLst>
        </pc:spChg>
        <pc:spChg chg="add del mod">
          <ac:chgData name="Steiner Andreas 6206 ED" userId="e6377c33-a923-4f14-8587-531c474c7b48" providerId="ADAL" clId="{6ECD27E6-B224-41CD-B4E0-E297462320DD}" dt="2023-11-23T19:54:01.720" v="3327"/>
          <ac:spMkLst>
            <pc:docMk/>
            <pc:sldMk cId="3184642303" sldId="2147478578"/>
            <ac:spMk id="52" creationId="{584AAA90-1899-E5AC-D825-D6180758E9A7}"/>
          </ac:spMkLst>
        </pc:spChg>
        <pc:spChg chg="add del mod">
          <ac:chgData name="Steiner Andreas 6206 ED" userId="e6377c33-a923-4f14-8587-531c474c7b48" providerId="ADAL" clId="{6ECD27E6-B224-41CD-B4E0-E297462320DD}" dt="2023-11-23T19:54:13.409" v="3482"/>
          <ac:spMkLst>
            <pc:docMk/>
            <pc:sldMk cId="3184642303" sldId="2147478578"/>
            <ac:spMk id="53" creationId="{916F334D-1640-473F-45EF-2677F08D5DF4}"/>
          </ac:spMkLst>
        </pc:spChg>
        <pc:spChg chg="add del mod">
          <ac:chgData name="Steiner Andreas 6206 ED" userId="e6377c33-a923-4f14-8587-531c474c7b48" providerId="ADAL" clId="{6ECD27E6-B224-41CD-B4E0-E297462320DD}" dt="2023-11-23T19:54:25.072" v="3637"/>
          <ac:spMkLst>
            <pc:docMk/>
            <pc:sldMk cId="3184642303" sldId="2147478578"/>
            <ac:spMk id="54" creationId="{747307CB-5CED-2344-32F7-F78789CD75E9}"/>
          </ac:spMkLst>
        </pc:spChg>
        <pc:spChg chg="add del mod">
          <ac:chgData name="Steiner Andreas 6206 ED" userId="e6377c33-a923-4f14-8587-531c474c7b48" providerId="ADAL" clId="{6ECD27E6-B224-41CD-B4E0-E297462320DD}" dt="2023-11-23T19:54:36.786" v="3792"/>
          <ac:spMkLst>
            <pc:docMk/>
            <pc:sldMk cId="3184642303" sldId="2147478578"/>
            <ac:spMk id="55" creationId="{2FE4F07B-3F0B-0A88-0B18-82893EEC95D9}"/>
          </ac:spMkLst>
        </pc:spChg>
        <pc:spChg chg="add del mod">
          <ac:chgData name="Steiner Andreas 6206 ED" userId="e6377c33-a923-4f14-8587-531c474c7b48" providerId="ADAL" clId="{6ECD27E6-B224-41CD-B4E0-E297462320DD}" dt="2023-11-23T19:54:48.141" v="3947"/>
          <ac:spMkLst>
            <pc:docMk/>
            <pc:sldMk cId="3184642303" sldId="2147478578"/>
            <ac:spMk id="56" creationId="{9DAD79E2-828C-32DD-20CE-5952D4CA95BB}"/>
          </ac:spMkLst>
        </pc:spChg>
        <pc:spChg chg="add del mod">
          <ac:chgData name="Steiner Andreas 6206 ED" userId="e6377c33-a923-4f14-8587-531c474c7b48" providerId="ADAL" clId="{6ECD27E6-B224-41CD-B4E0-E297462320DD}" dt="2023-11-23T19:54:59.759" v="4102"/>
          <ac:spMkLst>
            <pc:docMk/>
            <pc:sldMk cId="3184642303" sldId="2147478578"/>
            <ac:spMk id="57" creationId="{CB546868-F2F1-C628-C322-A02DF3574B7F}"/>
          </ac:spMkLst>
        </pc:spChg>
        <pc:spChg chg="add del mod">
          <ac:chgData name="Steiner Andreas 6206 ED" userId="e6377c33-a923-4f14-8587-531c474c7b48" providerId="ADAL" clId="{6ECD27E6-B224-41CD-B4E0-E297462320DD}" dt="2023-11-23T19:55:11.498" v="4257"/>
          <ac:spMkLst>
            <pc:docMk/>
            <pc:sldMk cId="3184642303" sldId="2147478578"/>
            <ac:spMk id="58" creationId="{ABD256E9-F7C1-E0FE-12CE-C5BA0D02C4ED}"/>
          </ac:spMkLst>
        </pc:spChg>
        <pc:spChg chg="add del mod">
          <ac:chgData name="Steiner Andreas 6206 ED" userId="e6377c33-a923-4f14-8587-531c474c7b48" providerId="ADAL" clId="{6ECD27E6-B224-41CD-B4E0-E297462320DD}" dt="2023-11-23T19:55:23.174" v="4412"/>
          <ac:spMkLst>
            <pc:docMk/>
            <pc:sldMk cId="3184642303" sldId="2147478578"/>
            <ac:spMk id="61" creationId="{7C35B3F1-BE81-1D99-1C0A-F953C32DFB98}"/>
          </ac:spMkLst>
        </pc:spChg>
        <pc:spChg chg="add del mod">
          <ac:chgData name="Steiner Andreas 6206 ED" userId="e6377c33-a923-4f14-8587-531c474c7b48" providerId="ADAL" clId="{6ECD27E6-B224-41CD-B4E0-E297462320DD}" dt="2023-11-23T19:55:34.816" v="4567"/>
          <ac:spMkLst>
            <pc:docMk/>
            <pc:sldMk cId="3184642303" sldId="2147478578"/>
            <ac:spMk id="62" creationId="{CDC6B83E-2057-F0E8-1EDA-766785577092}"/>
          </ac:spMkLst>
        </pc:spChg>
        <pc:spChg chg="add del mod">
          <ac:chgData name="Steiner Andreas 6206 ED" userId="e6377c33-a923-4f14-8587-531c474c7b48" providerId="ADAL" clId="{6ECD27E6-B224-41CD-B4E0-E297462320DD}" dt="2023-11-23T19:55:46.171" v="4722"/>
          <ac:spMkLst>
            <pc:docMk/>
            <pc:sldMk cId="3184642303" sldId="2147478578"/>
            <ac:spMk id="63" creationId="{EA53BCE6-3686-055D-985A-38D33A56656A}"/>
          </ac:spMkLst>
        </pc:spChg>
        <pc:spChg chg="add del mod">
          <ac:chgData name="Steiner Andreas 6206 ED" userId="e6377c33-a923-4f14-8587-531c474c7b48" providerId="ADAL" clId="{6ECD27E6-B224-41CD-B4E0-E297462320DD}" dt="2023-11-23T19:55:57.819" v="4877"/>
          <ac:spMkLst>
            <pc:docMk/>
            <pc:sldMk cId="3184642303" sldId="2147478578"/>
            <ac:spMk id="64" creationId="{F4C831AB-2E92-CA85-F735-77248A0859B9}"/>
          </ac:spMkLst>
        </pc:spChg>
        <pc:spChg chg="add del mod">
          <ac:chgData name="Steiner Andreas 6206 ED" userId="e6377c33-a923-4f14-8587-531c474c7b48" providerId="ADAL" clId="{6ECD27E6-B224-41CD-B4E0-E297462320DD}" dt="2023-11-23T19:56:09.487" v="5032"/>
          <ac:spMkLst>
            <pc:docMk/>
            <pc:sldMk cId="3184642303" sldId="2147478578"/>
            <ac:spMk id="65" creationId="{7EC8ADCC-C832-912A-92CC-990A966E58F8}"/>
          </ac:spMkLst>
        </pc:spChg>
        <pc:spChg chg="add del mod">
          <ac:chgData name="Steiner Andreas 6206 ED" userId="e6377c33-a923-4f14-8587-531c474c7b48" providerId="ADAL" clId="{6ECD27E6-B224-41CD-B4E0-E297462320DD}" dt="2023-11-23T19:56:21.183" v="5187"/>
          <ac:spMkLst>
            <pc:docMk/>
            <pc:sldMk cId="3184642303" sldId="2147478578"/>
            <ac:spMk id="66" creationId="{2B20A689-0F3F-3F38-1E93-AA605114040A}"/>
          </ac:spMkLst>
        </pc:spChg>
        <pc:spChg chg="add del mod">
          <ac:chgData name="Steiner Andreas 6206 ED" userId="e6377c33-a923-4f14-8587-531c474c7b48" providerId="ADAL" clId="{6ECD27E6-B224-41CD-B4E0-E297462320DD}" dt="2023-11-23T19:56:32.871" v="5342"/>
          <ac:spMkLst>
            <pc:docMk/>
            <pc:sldMk cId="3184642303" sldId="2147478578"/>
            <ac:spMk id="67" creationId="{8BBDB45C-15E3-FBB8-7C03-F397EAB92094}"/>
          </ac:spMkLst>
        </pc:spChg>
        <pc:spChg chg="add del mod">
          <ac:chgData name="Steiner Andreas 6206 ED" userId="e6377c33-a923-4f14-8587-531c474c7b48" providerId="ADAL" clId="{6ECD27E6-B224-41CD-B4E0-E297462320DD}" dt="2023-11-23T19:56:44.249" v="5497"/>
          <ac:spMkLst>
            <pc:docMk/>
            <pc:sldMk cId="3184642303" sldId="2147478578"/>
            <ac:spMk id="68" creationId="{3308E76F-8EF8-4166-CE2E-0B095019F889}"/>
          </ac:spMkLst>
        </pc:spChg>
        <pc:spChg chg="add del mod">
          <ac:chgData name="Steiner Andreas 6206 ED" userId="e6377c33-a923-4f14-8587-531c474c7b48" providerId="ADAL" clId="{6ECD27E6-B224-41CD-B4E0-E297462320DD}" dt="2023-11-23T19:56:54.605" v="5652"/>
          <ac:spMkLst>
            <pc:docMk/>
            <pc:sldMk cId="3184642303" sldId="2147478578"/>
            <ac:spMk id="69" creationId="{1AE40838-C778-B2F9-F275-2EFDDC548A80}"/>
          </ac:spMkLst>
        </pc:spChg>
        <pc:spChg chg="add del mod">
          <ac:chgData name="Steiner Andreas 6206 ED" userId="e6377c33-a923-4f14-8587-531c474c7b48" providerId="ADAL" clId="{6ECD27E6-B224-41CD-B4E0-E297462320DD}" dt="2023-11-23T19:57:06.071" v="5807"/>
          <ac:spMkLst>
            <pc:docMk/>
            <pc:sldMk cId="3184642303" sldId="2147478578"/>
            <ac:spMk id="70" creationId="{21AB387B-CC4B-4A07-83FB-A77D939C971C}"/>
          </ac:spMkLst>
        </pc:spChg>
        <pc:spChg chg="add del mod">
          <ac:chgData name="Steiner Andreas 6206 ED" userId="e6377c33-a923-4f14-8587-531c474c7b48" providerId="ADAL" clId="{6ECD27E6-B224-41CD-B4E0-E297462320DD}" dt="2023-11-23T19:57:17.743" v="5962"/>
          <ac:spMkLst>
            <pc:docMk/>
            <pc:sldMk cId="3184642303" sldId="2147478578"/>
            <ac:spMk id="71" creationId="{03778331-FA3C-A8B2-2C0B-86F7D8AE8A9E}"/>
          </ac:spMkLst>
        </pc:spChg>
        <pc:spChg chg="add del mod">
          <ac:chgData name="Steiner Andreas 6206 ED" userId="e6377c33-a923-4f14-8587-531c474c7b48" providerId="ADAL" clId="{6ECD27E6-B224-41CD-B4E0-E297462320DD}" dt="2023-11-23T19:57:29.228" v="6117"/>
          <ac:spMkLst>
            <pc:docMk/>
            <pc:sldMk cId="3184642303" sldId="2147478578"/>
            <ac:spMk id="72" creationId="{25A6C27F-50B0-BA2F-2C27-1072313C3D34}"/>
          </ac:spMkLst>
        </pc:spChg>
        <pc:spChg chg="add del mod">
          <ac:chgData name="Steiner Andreas 6206 ED" userId="e6377c33-a923-4f14-8587-531c474c7b48" providerId="ADAL" clId="{6ECD27E6-B224-41CD-B4E0-E297462320DD}" dt="2023-11-23T19:57:40.838" v="6272"/>
          <ac:spMkLst>
            <pc:docMk/>
            <pc:sldMk cId="3184642303" sldId="2147478578"/>
            <ac:spMk id="73" creationId="{CE7E8071-D524-73EB-BC2A-AC2DBCBEABD3}"/>
          </ac:spMkLst>
        </pc:spChg>
        <pc:spChg chg="add del mod">
          <ac:chgData name="Steiner Andreas 6206 ED" userId="e6377c33-a923-4f14-8587-531c474c7b48" providerId="ADAL" clId="{6ECD27E6-B224-41CD-B4E0-E297462320DD}" dt="2023-11-23T19:57:52.510" v="6427"/>
          <ac:spMkLst>
            <pc:docMk/>
            <pc:sldMk cId="3184642303" sldId="2147478578"/>
            <ac:spMk id="74" creationId="{9972388F-DF9E-52C4-A22B-F530580056BA}"/>
          </ac:spMkLst>
        </pc:spChg>
        <pc:spChg chg="add del mod">
          <ac:chgData name="Steiner Andreas 6206 ED" userId="e6377c33-a923-4f14-8587-531c474c7b48" providerId="ADAL" clId="{6ECD27E6-B224-41CD-B4E0-E297462320DD}" dt="2023-11-23T19:58:04.200" v="6582"/>
          <ac:spMkLst>
            <pc:docMk/>
            <pc:sldMk cId="3184642303" sldId="2147478578"/>
            <ac:spMk id="75" creationId="{730D1DC3-04EE-7256-0D9F-1071E36769F3}"/>
          </ac:spMkLst>
        </pc:spChg>
        <pc:spChg chg="add del mod">
          <ac:chgData name="Steiner Andreas 6206 ED" userId="e6377c33-a923-4f14-8587-531c474c7b48" providerId="ADAL" clId="{6ECD27E6-B224-41CD-B4E0-E297462320DD}" dt="2023-11-23T19:58:15.614" v="6737"/>
          <ac:spMkLst>
            <pc:docMk/>
            <pc:sldMk cId="3184642303" sldId="2147478578"/>
            <ac:spMk id="76" creationId="{BA25BA55-36A4-ED3F-C592-050F1CD00E4C}"/>
          </ac:spMkLst>
        </pc:spChg>
        <pc:spChg chg="add del mod">
          <ac:chgData name="Steiner Andreas 6206 ED" userId="e6377c33-a923-4f14-8587-531c474c7b48" providerId="ADAL" clId="{6ECD27E6-B224-41CD-B4E0-E297462320DD}" dt="2023-11-23T19:58:27.729" v="6892"/>
          <ac:spMkLst>
            <pc:docMk/>
            <pc:sldMk cId="3184642303" sldId="2147478578"/>
            <ac:spMk id="77" creationId="{AE3B142D-9922-0593-E62F-E3E5CF05483F}"/>
          </ac:spMkLst>
        </pc:spChg>
        <pc:spChg chg="add del mod">
          <ac:chgData name="Steiner Andreas 6206 ED" userId="e6377c33-a923-4f14-8587-531c474c7b48" providerId="ADAL" clId="{6ECD27E6-B224-41CD-B4E0-E297462320DD}" dt="2023-11-23T19:58:39.472" v="7047"/>
          <ac:spMkLst>
            <pc:docMk/>
            <pc:sldMk cId="3184642303" sldId="2147478578"/>
            <ac:spMk id="78" creationId="{BD114F3D-A665-3D81-576A-4C8167E023A2}"/>
          </ac:spMkLst>
        </pc:spChg>
        <pc:spChg chg="add del mod">
          <ac:chgData name="Steiner Andreas 6206 ED" userId="e6377c33-a923-4f14-8587-531c474c7b48" providerId="ADAL" clId="{6ECD27E6-B224-41CD-B4E0-E297462320DD}" dt="2023-11-23T19:58:51.162" v="7202"/>
          <ac:spMkLst>
            <pc:docMk/>
            <pc:sldMk cId="3184642303" sldId="2147478578"/>
            <ac:spMk id="79" creationId="{2CB305A2-DB94-8720-0566-5C9D0D5438E2}"/>
          </ac:spMkLst>
        </pc:spChg>
        <pc:spChg chg="add del mod">
          <ac:chgData name="Steiner Andreas 6206 ED" userId="e6377c33-a923-4f14-8587-531c474c7b48" providerId="ADAL" clId="{6ECD27E6-B224-41CD-B4E0-E297462320DD}" dt="2023-11-23T19:59:02.558" v="7357"/>
          <ac:spMkLst>
            <pc:docMk/>
            <pc:sldMk cId="3184642303" sldId="2147478578"/>
            <ac:spMk id="80" creationId="{5730673F-11C0-3A16-9A48-269F78E2D9E2}"/>
          </ac:spMkLst>
        </pc:spChg>
        <pc:spChg chg="add del mod">
          <ac:chgData name="Steiner Andreas 6206 ED" userId="e6377c33-a923-4f14-8587-531c474c7b48" providerId="ADAL" clId="{6ECD27E6-B224-41CD-B4E0-E297462320DD}" dt="2023-11-24T08:31:41.385" v="7512"/>
          <ac:spMkLst>
            <pc:docMk/>
            <pc:sldMk cId="3184642303" sldId="2147478578"/>
            <ac:spMk id="81" creationId="{1DAC3787-8B23-5225-CF4A-E0861231EA93}"/>
          </ac:spMkLst>
        </pc:spChg>
        <pc:spChg chg="add del mod">
          <ac:chgData name="Steiner Andreas 6206 ED" userId="e6377c33-a923-4f14-8587-531c474c7b48" providerId="ADAL" clId="{6ECD27E6-B224-41CD-B4E0-E297462320DD}" dt="2023-11-24T08:31:45.113" v="7667"/>
          <ac:spMkLst>
            <pc:docMk/>
            <pc:sldMk cId="3184642303" sldId="2147478578"/>
            <ac:spMk id="82" creationId="{DF2A8458-7B9C-C0A5-49D6-A6B090D63B9C}"/>
          </ac:spMkLst>
        </pc:spChg>
        <pc:spChg chg="add del mod">
          <ac:chgData name="Steiner Andreas 6206 ED" userId="e6377c33-a923-4f14-8587-531c474c7b48" providerId="ADAL" clId="{6ECD27E6-B224-41CD-B4E0-E297462320DD}" dt="2023-11-24T08:31:46.953" v="7822"/>
          <ac:spMkLst>
            <pc:docMk/>
            <pc:sldMk cId="3184642303" sldId="2147478578"/>
            <ac:spMk id="83" creationId="{8839D9FC-44F9-41AB-D5EB-397EB1F0D9D3}"/>
          </ac:spMkLst>
        </pc:spChg>
        <pc:spChg chg="add del mod">
          <ac:chgData name="Steiner Andreas 6206 ED" userId="e6377c33-a923-4f14-8587-531c474c7b48" providerId="ADAL" clId="{6ECD27E6-B224-41CD-B4E0-E297462320DD}" dt="2023-11-24T08:31:48.798" v="7977"/>
          <ac:spMkLst>
            <pc:docMk/>
            <pc:sldMk cId="3184642303" sldId="2147478578"/>
            <ac:spMk id="84" creationId="{2E898635-A48F-C0A6-4862-C7D6A214670E}"/>
          </ac:spMkLst>
        </pc:spChg>
        <pc:spChg chg="add del mod">
          <ac:chgData name="Steiner Andreas 6206 ED" userId="e6377c33-a923-4f14-8587-531c474c7b48" providerId="ADAL" clId="{6ECD27E6-B224-41CD-B4E0-E297462320DD}" dt="2023-11-24T08:31:50.686" v="8132"/>
          <ac:spMkLst>
            <pc:docMk/>
            <pc:sldMk cId="3184642303" sldId="2147478578"/>
            <ac:spMk id="85" creationId="{B6FA6A91-2503-ED40-290C-33F2F6D2CABE}"/>
          </ac:spMkLst>
        </pc:spChg>
        <pc:spChg chg="add del mod">
          <ac:chgData name="Steiner Andreas 6206 ED" userId="e6377c33-a923-4f14-8587-531c474c7b48" providerId="ADAL" clId="{6ECD27E6-B224-41CD-B4E0-E297462320DD}" dt="2023-11-24T08:31:52.468" v="8287"/>
          <ac:spMkLst>
            <pc:docMk/>
            <pc:sldMk cId="3184642303" sldId="2147478578"/>
            <ac:spMk id="86" creationId="{BE2D0324-D14C-ECEC-96A7-5C99651724FE}"/>
          </ac:spMkLst>
        </pc:spChg>
        <pc:spChg chg="add del mod">
          <ac:chgData name="Steiner Andreas 6206 ED" userId="e6377c33-a923-4f14-8587-531c474c7b48" providerId="ADAL" clId="{6ECD27E6-B224-41CD-B4E0-E297462320DD}" dt="2023-11-24T08:31:54.295" v="8442"/>
          <ac:spMkLst>
            <pc:docMk/>
            <pc:sldMk cId="3184642303" sldId="2147478578"/>
            <ac:spMk id="87" creationId="{026F52B1-B928-FCD0-97BC-8592AF8ACA16}"/>
          </ac:spMkLst>
        </pc:spChg>
        <pc:spChg chg="add del mod">
          <ac:chgData name="Steiner Andreas 6206 ED" userId="e6377c33-a923-4f14-8587-531c474c7b48" providerId="ADAL" clId="{6ECD27E6-B224-41CD-B4E0-E297462320DD}" dt="2023-11-24T08:31:56.137" v="8597"/>
          <ac:spMkLst>
            <pc:docMk/>
            <pc:sldMk cId="3184642303" sldId="2147478578"/>
            <ac:spMk id="88" creationId="{B78A990B-B614-9DCE-1BC3-E937DE5B6F94}"/>
          </ac:spMkLst>
        </pc:spChg>
        <pc:spChg chg="add del mod">
          <ac:chgData name="Steiner Andreas 6206 ED" userId="e6377c33-a923-4f14-8587-531c474c7b48" providerId="ADAL" clId="{6ECD27E6-B224-41CD-B4E0-E297462320DD}" dt="2023-11-24T08:31:57.991" v="8752"/>
          <ac:spMkLst>
            <pc:docMk/>
            <pc:sldMk cId="3184642303" sldId="2147478578"/>
            <ac:spMk id="89" creationId="{408CEA7D-AD4A-59EF-AF20-66B9513002CF}"/>
          </ac:spMkLst>
        </pc:spChg>
        <pc:spChg chg="add del mod">
          <ac:chgData name="Steiner Andreas 6206 ED" userId="e6377c33-a923-4f14-8587-531c474c7b48" providerId="ADAL" clId="{6ECD27E6-B224-41CD-B4E0-E297462320DD}" dt="2023-11-24T08:32:00.694" v="8907"/>
          <ac:spMkLst>
            <pc:docMk/>
            <pc:sldMk cId="3184642303" sldId="2147478578"/>
            <ac:spMk id="90" creationId="{D711AF5C-8424-6660-E181-8D01AB55EB36}"/>
          </ac:spMkLst>
        </pc:spChg>
        <pc:spChg chg="add del mod">
          <ac:chgData name="Steiner Andreas 6206 ED" userId="e6377c33-a923-4f14-8587-531c474c7b48" providerId="ADAL" clId="{6ECD27E6-B224-41CD-B4E0-E297462320DD}" dt="2023-11-24T08:32:02.996" v="9062"/>
          <ac:spMkLst>
            <pc:docMk/>
            <pc:sldMk cId="3184642303" sldId="2147478578"/>
            <ac:spMk id="91" creationId="{A706AFF8-2334-16F3-0883-114D959DD178}"/>
          </ac:spMkLst>
        </pc:spChg>
        <pc:spChg chg="add del mod">
          <ac:chgData name="Steiner Andreas 6206 ED" userId="e6377c33-a923-4f14-8587-531c474c7b48" providerId="ADAL" clId="{6ECD27E6-B224-41CD-B4E0-E297462320DD}" dt="2023-11-24T08:32:05.080" v="9217"/>
          <ac:spMkLst>
            <pc:docMk/>
            <pc:sldMk cId="3184642303" sldId="2147478578"/>
            <ac:spMk id="92" creationId="{F8C5BEA8-F14B-9018-8BB0-549D886AE4DA}"/>
          </ac:spMkLst>
        </pc:spChg>
        <pc:spChg chg="add del mod">
          <ac:chgData name="Steiner Andreas 6206 ED" userId="e6377c33-a923-4f14-8587-531c474c7b48" providerId="ADAL" clId="{6ECD27E6-B224-41CD-B4E0-E297462320DD}" dt="2023-11-24T08:32:07.025" v="9372"/>
          <ac:spMkLst>
            <pc:docMk/>
            <pc:sldMk cId="3184642303" sldId="2147478578"/>
            <ac:spMk id="93" creationId="{70D0440B-9F0C-3D17-8CAE-1FE2A72D433D}"/>
          </ac:spMkLst>
        </pc:spChg>
        <pc:spChg chg="add del mod">
          <ac:chgData name="Steiner Andreas 6206 ED" userId="e6377c33-a923-4f14-8587-531c474c7b48" providerId="ADAL" clId="{6ECD27E6-B224-41CD-B4E0-E297462320DD}" dt="2023-11-24T08:32:09.361" v="9527"/>
          <ac:spMkLst>
            <pc:docMk/>
            <pc:sldMk cId="3184642303" sldId="2147478578"/>
            <ac:spMk id="94" creationId="{0414A644-2A9E-28AC-B891-807829DD9C70}"/>
          </ac:spMkLst>
        </pc:spChg>
        <pc:spChg chg="add del mod">
          <ac:chgData name="Steiner Andreas 6206 ED" userId="e6377c33-a923-4f14-8587-531c474c7b48" providerId="ADAL" clId="{6ECD27E6-B224-41CD-B4E0-E297462320DD}" dt="2023-11-24T08:32:11.618" v="9682"/>
          <ac:spMkLst>
            <pc:docMk/>
            <pc:sldMk cId="3184642303" sldId="2147478578"/>
            <ac:spMk id="95" creationId="{73E36214-F160-6B1E-13A8-3E787A6BE6BD}"/>
          </ac:spMkLst>
        </pc:spChg>
        <pc:spChg chg="add del mod">
          <ac:chgData name="Steiner Andreas 6206 ED" userId="e6377c33-a923-4f14-8587-531c474c7b48" providerId="ADAL" clId="{6ECD27E6-B224-41CD-B4E0-E297462320DD}" dt="2023-11-24T08:32:13.831" v="9837"/>
          <ac:spMkLst>
            <pc:docMk/>
            <pc:sldMk cId="3184642303" sldId="2147478578"/>
            <ac:spMk id="96" creationId="{E0D66013-AE8B-5ECD-E892-E3D8A3962199}"/>
          </ac:spMkLst>
        </pc:spChg>
        <pc:spChg chg="add del mod">
          <ac:chgData name="Steiner Andreas 6206 ED" userId="e6377c33-a923-4f14-8587-531c474c7b48" providerId="ADAL" clId="{6ECD27E6-B224-41CD-B4E0-E297462320DD}" dt="2023-11-24T08:32:15.776" v="9992"/>
          <ac:spMkLst>
            <pc:docMk/>
            <pc:sldMk cId="3184642303" sldId="2147478578"/>
            <ac:spMk id="97" creationId="{338B4AAD-1053-2E03-039E-1ACF236E4732}"/>
          </ac:spMkLst>
        </pc:spChg>
        <pc:spChg chg="add del mod">
          <ac:chgData name="Steiner Andreas 6206 ED" userId="e6377c33-a923-4f14-8587-531c474c7b48" providerId="ADAL" clId="{6ECD27E6-B224-41CD-B4E0-E297462320DD}" dt="2023-11-24T08:32:17.770" v="10147"/>
          <ac:spMkLst>
            <pc:docMk/>
            <pc:sldMk cId="3184642303" sldId="2147478578"/>
            <ac:spMk id="98" creationId="{B2D2DA38-4F70-36AE-D4C9-AF14A8D6AF45}"/>
          </ac:spMkLst>
        </pc:spChg>
        <pc:spChg chg="add del mod">
          <ac:chgData name="Steiner Andreas 6206 ED" userId="e6377c33-a923-4f14-8587-531c474c7b48" providerId="ADAL" clId="{6ECD27E6-B224-41CD-B4E0-E297462320DD}" dt="2023-11-24T08:32:19.718" v="10302"/>
          <ac:spMkLst>
            <pc:docMk/>
            <pc:sldMk cId="3184642303" sldId="2147478578"/>
            <ac:spMk id="99" creationId="{ADD8B87E-CBFF-D631-6D18-4AC24D78A6B4}"/>
          </ac:spMkLst>
        </pc:spChg>
        <pc:spChg chg="add del mod">
          <ac:chgData name="Steiner Andreas 6206 ED" userId="e6377c33-a923-4f14-8587-531c474c7b48" providerId="ADAL" clId="{6ECD27E6-B224-41CD-B4E0-E297462320DD}" dt="2023-11-24T08:32:21.681" v="10457"/>
          <ac:spMkLst>
            <pc:docMk/>
            <pc:sldMk cId="3184642303" sldId="2147478578"/>
            <ac:spMk id="100" creationId="{8D05DC4B-949D-354D-1F09-654C9CE839F6}"/>
          </ac:spMkLst>
        </pc:spChg>
        <pc:spChg chg="add del mod">
          <ac:chgData name="Steiner Andreas 6206 ED" userId="e6377c33-a923-4f14-8587-531c474c7b48" providerId="ADAL" clId="{6ECD27E6-B224-41CD-B4E0-E297462320DD}" dt="2023-11-24T08:32:23.818" v="10612"/>
          <ac:spMkLst>
            <pc:docMk/>
            <pc:sldMk cId="3184642303" sldId="2147478578"/>
            <ac:spMk id="101" creationId="{477039A2-AC05-848F-1239-0AFEB7DDD038}"/>
          </ac:spMkLst>
        </pc:spChg>
        <pc:spChg chg="add del mod">
          <ac:chgData name="Steiner Andreas 6206 ED" userId="e6377c33-a923-4f14-8587-531c474c7b48" providerId="ADAL" clId="{6ECD27E6-B224-41CD-B4E0-E297462320DD}" dt="2023-11-24T08:32:25.814" v="10767"/>
          <ac:spMkLst>
            <pc:docMk/>
            <pc:sldMk cId="3184642303" sldId="2147478578"/>
            <ac:spMk id="102" creationId="{BB01A48D-D264-34BB-764E-3CD03D723BE1}"/>
          </ac:spMkLst>
        </pc:spChg>
        <pc:spChg chg="add del mod">
          <ac:chgData name="Steiner Andreas 6206 ED" userId="e6377c33-a923-4f14-8587-531c474c7b48" providerId="ADAL" clId="{6ECD27E6-B224-41CD-B4E0-E297462320DD}" dt="2023-11-24T08:32:27.778" v="10922"/>
          <ac:spMkLst>
            <pc:docMk/>
            <pc:sldMk cId="3184642303" sldId="2147478578"/>
            <ac:spMk id="103" creationId="{2BE9C910-6FC5-5645-A8A8-2D8D63E67DCB}"/>
          </ac:spMkLst>
        </pc:spChg>
        <pc:spChg chg="add del mod">
          <ac:chgData name="Steiner Andreas 6206 ED" userId="e6377c33-a923-4f14-8587-531c474c7b48" providerId="ADAL" clId="{6ECD27E6-B224-41CD-B4E0-E297462320DD}" dt="2023-11-24T08:32:29.717" v="11077"/>
          <ac:spMkLst>
            <pc:docMk/>
            <pc:sldMk cId="3184642303" sldId="2147478578"/>
            <ac:spMk id="104" creationId="{673CE0CA-D877-0051-717E-A020C89B31FE}"/>
          </ac:spMkLst>
        </pc:spChg>
        <pc:spChg chg="add del mod">
          <ac:chgData name="Steiner Andreas 6206 ED" userId="e6377c33-a923-4f14-8587-531c474c7b48" providerId="ADAL" clId="{6ECD27E6-B224-41CD-B4E0-E297462320DD}" dt="2023-11-24T08:32:31.801" v="11232"/>
          <ac:spMkLst>
            <pc:docMk/>
            <pc:sldMk cId="3184642303" sldId="2147478578"/>
            <ac:spMk id="105" creationId="{467DF3D8-AF3C-3D74-790D-DAA1B653CE88}"/>
          </ac:spMkLst>
        </pc:spChg>
        <pc:spChg chg="add del mod">
          <ac:chgData name="Steiner Andreas 6206 ED" userId="e6377c33-a923-4f14-8587-531c474c7b48" providerId="ADAL" clId="{6ECD27E6-B224-41CD-B4E0-E297462320DD}" dt="2023-11-24T08:32:34.080" v="11387"/>
          <ac:spMkLst>
            <pc:docMk/>
            <pc:sldMk cId="3184642303" sldId="2147478578"/>
            <ac:spMk id="106" creationId="{372F7DD3-BFED-5CB7-7BE5-ED6AEF2C811A}"/>
          </ac:spMkLst>
        </pc:spChg>
        <pc:spChg chg="add del mod">
          <ac:chgData name="Steiner Andreas 6206 ED" userId="e6377c33-a923-4f14-8587-531c474c7b48" providerId="ADAL" clId="{6ECD27E6-B224-41CD-B4E0-E297462320DD}" dt="2023-11-24T08:32:36.538" v="11542"/>
          <ac:spMkLst>
            <pc:docMk/>
            <pc:sldMk cId="3184642303" sldId="2147478578"/>
            <ac:spMk id="107" creationId="{C55F5601-D1F2-7CAB-F9B8-08A0FE759C1D}"/>
          </ac:spMkLst>
        </pc:spChg>
        <pc:spChg chg="add del mod">
          <ac:chgData name="Steiner Andreas 6206 ED" userId="e6377c33-a923-4f14-8587-531c474c7b48" providerId="ADAL" clId="{6ECD27E6-B224-41CD-B4E0-E297462320DD}" dt="2023-11-24T08:32:38.476" v="11697"/>
          <ac:spMkLst>
            <pc:docMk/>
            <pc:sldMk cId="3184642303" sldId="2147478578"/>
            <ac:spMk id="108" creationId="{8B36A9E7-08F5-74B2-F818-5D6878FA75FA}"/>
          </ac:spMkLst>
        </pc:spChg>
        <pc:spChg chg="add del mod">
          <ac:chgData name="Steiner Andreas 6206 ED" userId="e6377c33-a923-4f14-8587-531c474c7b48" providerId="ADAL" clId="{6ECD27E6-B224-41CD-B4E0-E297462320DD}" dt="2023-11-24T08:32:40.538" v="11852"/>
          <ac:spMkLst>
            <pc:docMk/>
            <pc:sldMk cId="3184642303" sldId="2147478578"/>
            <ac:spMk id="109" creationId="{D6A5844F-F7C6-170A-EE83-A6B8019BDB44}"/>
          </ac:spMkLst>
        </pc:spChg>
        <pc:spChg chg="add del mod">
          <ac:chgData name="Steiner Andreas 6206 ED" userId="e6377c33-a923-4f14-8587-531c474c7b48" providerId="ADAL" clId="{6ECD27E6-B224-41CD-B4E0-E297462320DD}" dt="2023-11-24T08:32:42.734" v="12007"/>
          <ac:spMkLst>
            <pc:docMk/>
            <pc:sldMk cId="3184642303" sldId="2147478578"/>
            <ac:spMk id="110" creationId="{8F790E1A-2CAF-7D4B-5F32-11B14BEC437C}"/>
          </ac:spMkLst>
        </pc:spChg>
        <pc:spChg chg="add del mod">
          <ac:chgData name="Steiner Andreas 6206 ED" userId="e6377c33-a923-4f14-8587-531c474c7b48" providerId="ADAL" clId="{6ECD27E6-B224-41CD-B4E0-E297462320DD}" dt="2023-11-24T08:32:44.872" v="12162"/>
          <ac:spMkLst>
            <pc:docMk/>
            <pc:sldMk cId="3184642303" sldId="2147478578"/>
            <ac:spMk id="111" creationId="{87B68581-61DA-D14A-763F-889272A4BF6A}"/>
          </ac:spMkLst>
        </pc:spChg>
        <pc:spChg chg="add del mod">
          <ac:chgData name="Steiner Andreas 6206 ED" userId="e6377c33-a923-4f14-8587-531c474c7b48" providerId="ADAL" clId="{6ECD27E6-B224-41CD-B4E0-E297462320DD}" dt="2023-11-24T08:32:47.025" v="12317"/>
          <ac:spMkLst>
            <pc:docMk/>
            <pc:sldMk cId="3184642303" sldId="2147478578"/>
            <ac:spMk id="112" creationId="{06CBA7B1-2720-2858-04F6-52B65DD0D1F6}"/>
          </ac:spMkLst>
        </pc:spChg>
        <pc:spChg chg="add del mod">
          <ac:chgData name="Steiner Andreas 6206 ED" userId="e6377c33-a923-4f14-8587-531c474c7b48" providerId="ADAL" clId="{6ECD27E6-B224-41CD-B4E0-E297462320DD}" dt="2023-11-24T08:32:49.114" v="12472"/>
          <ac:spMkLst>
            <pc:docMk/>
            <pc:sldMk cId="3184642303" sldId="2147478578"/>
            <ac:spMk id="113" creationId="{7C6B2430-3AD9-B78B-7C31-F9F9D9C399BB}"/>
          </ac:spMkLst>
        </pc:spChg>
        <pc:spChg chg="add del mod">
          <ac:chgData name="Steiner Andreas 6206 ED" userId="e6377c33-a923-4f14-8587-531c474c7b48" providerId="ADAL" clId="{6ECD27E6-B224-41CD-B4E0-E297462320DD}" dt="2023-11-24T08:32:51.067" v="12627"/>
          <ac:spMkLst>
            <pc:docMk/>
            <pc:sldMk cId="3184642303" sldId="2147478578"/>
            <ac:spMk id="114" creationId="{669A3E8A-C88B-66C5-D66F-DAA6644E1FE2}"/>
          </ac:spMkLst>
        </pc:spChg>
        <pc:spChg chg="add del mod">
          <ac:chgData name="Steiner Andreas 6206 ED" userId="e6377c33-a923-4f14-8587-531c474c7b48" providerId="ADAL" clId="{6ECD27E6-B224-41CD-B4E0-E297462320DD}" dt="2023-11-24T08:32:53.082" v="12782"/>
          <ac:spMkLst>
            <pc:docMk/>
            <pc:sldMk cId="3184642303" sldId="2147478578"/>
            <ac:spMk id="115" creationId="{24C15B46-C67D-4298-5056-E3F15B7FB8D2}"/>
          </ac:spMkLst>
        </pc:spChg>
        <pc:spChg chg="add del mod">
          <ac:chgData name="Steiner Andreas 6206 ED" userId="e6377c33-a923-4f14-8587-531c474c7b48" providerId="ADAL" clId="{6ECD27E6-B224-41CD-B4E0-E297462320DD}" dt="2023-11-24T08:32:55.062" v="12937"/>
          <ac:spMkLst>
            <pc:docMk/>
            <pc:sldMk cId="3184642303" sldId="2147478578"/>
            <ac:spMk id="116" creationId="{B78DCB4D-602D-6E18-B28A-2CFE27C6E3B1}"/>
          </ac:spMkLst>
        </pc:spChg>
        <pc:spChg chg="add del mod">
          <ac:chgData name="Steiner Andreas 6206 ED" userId="e6377c33-a923-4f14-8587-531c474c7b48" providerId="ADAL" clId="{6ECD27E6-B224-41CD-B4E0-E297462320DD}" dt="2023-11-24T08:32:56.997" v="13092"/>
          <ac:spMkLst>
            <pc:docMk/>
            <pc:sldMk cId="3184642303" sldId="2147478578"/>
            <ac:spMk id="117" creationId="{1165E401-C077-9EAC-0444-DED8232E0FE9}"/>
          </ac:spMkLst>
        </pc:spChg>
        <pc:spChg chg="add del mod">
          <ac:chgData name="Steiner Andreas 6206 ED" userId="e6377c33-a923-4f14-8587-531c474c7b48" providerId="ADAL" clId="{6ECD27E6-B224-41CD-B4E0-E297462320DD}" dt="2023-11-24T08:32:59.062" v="13247"/>
          <ac:spMkLst>
            <pc:docMk/>
            <pc:sldMk cId="3184642303" sldId="2147478578"/>
            <ac:spMk id="118" creationId="{853E82A1-7AA3-F52F-4479-A03EAD8FE0F6}"/>
          </ac:spMkLst>
        </pc:spChg>
        <pc:spChg chg="add del mod">
          <ac:chgData name="Steiner Andreas 6206 ED" userId="e6377c33-a923-4f14-8587-531c474c7b48" providerId="ADAL" clId="{6ECD27E6-B224-41CD-B4E0-E297462320DD}" dt="2023-11-24T08:33:01.201" v="13402"/>
          <ac:spMkLst>
            <pc:docMk/>
            <pc:sldMk cId="3184642303" sldId="2147478578"/>
            <ac:spMk id="119" creationId="{A166988C-945A-550B-0D62-742FC620B527}"/>
          </ac:spMkLst>
        </pc:spChg>
        <pc:spChg chg="add del mod">
          <ac:chgData name="Steiner Andreas 6206 ED" userId="e6377c33-a923-4f14-8587-531c474c7b48" providerId="ADAL" clId="{6ECD27E6-B224-41CD-B4E0-E297462320DD}" dt="2023-11-24T08:33:03.547" v="13557"/>
          <ac:spMkLst>
            <pc:docMk/>
            <pc:sldMk cId="3184642303" sldId="2147478578"/>
            <ac:spMk id="120" creationId="{DF64B471-4E42-8390-8C85-FB251358437C}"/>
          </ac:spMkLst>
        </pc:spChg>
        <pc:spChg chg="add del mod">
          <ac:chgData name="Steiner Andreas 6206 ED" userId="e6377c33-a923-4f14-8587-531c474c7b48" providerId="ADAL" clId="{6ECD27E6-B224-41CD-B4E0-E297462320DD}" dt="2023-11-24T08:33:05.881" v="13712"/>
          <ac:spMkLst>
            <pc:docMk/>
            <pc:sldMk cId="3184642303" sldId="2147478578"/>
            <ac:spMk id="121" creationId="{4162945B-ABBA-58D5-B149-44BA31FC3012}"/>
          </ac:spMkLst>
        </pc:spChg>
        <pc:spChg chg="add del mod">
          <ac:chgData name="Steiner Andreas 6206 ED" userId="e6377c33-a923-4f14-8587-531c474c7b48" providerId="ADAL" clId="{6ECD27E6-B224-41CD-B4E0-E297462320DD}" dt="2023-11-24T08:33:08.103" v="13867"/>
          <ac:spMkLst>
            <pc:docMk/>
            <pc:sldMk cId="3184642303" sldId="2147478578"/>
            <ac:spMk id="122" creationId="{370BCE36-20B9-85A2-81FC-5852A7118FFC}"/>
          </ac:spMkLst>
        </pc:spChg>
        <pc:spChg chg="add del mod">
          <ac:chgData name="Steiner Andreas 6206 ED" userId="e6377c33-a923-4f14-8587-531c474c7b48" providerId="ADAL" clId="{6ECD27E6-B224-41CD-B4E0-E297462320DD}" dt="2023-11-24T08:33:10.553" v="14022"/>
          <ac:spMkLst>
            <pc:docMk/>
            <pc:sldMk cId="3184642303" sldId="2147478578"/>
            <ac:spMk id="123" creationId="{05E3E6E0-266D-E29A-55A5-4BAB25179530}"/>
          </ac:spMkLst>
        </pc:spChg>
        <pc:spChg chg="add del mod">
          <ac:chgData name="Steiner Andreas 6206 ED" userId="e6377c33-a923-4f14-8587-531c474c7b48" providerId="ADAL" clId="{6ECD27E6-B224-41CD-B4E0-E297462320DD}" dt="2023-11-24T08:33:12.554" v="14177"/>
          <ac:spMkLst>
            <pc:docMk/>
            <pc:sldMk cId="3184642303" sldId="2147478578"/>
            <ac:spMk id="124" creationId="{CF9971EC-9C52-88E2-3F6B-2452C2ADBA4B}"/>
          </ac:spMkLst>
        </pc:spChg>
        <pc:spChg chg="add del mod">
          <ac:chgData name="Steiner Andreas 6206 ED" userId="e6377c33-a923-4f14-8587-531c474c7b48" providerId="ADAL" clId="{6ECD27E6-B224-41CD-B4E0-E297462320DD}" dt="2023-11-24T08:33:14.455" v="14332"/>
          <ac:spMkLst>
            <pc:docMk/>
            <pc:sldMk cId="3184642303" sldId="2147478578"/>
            <ac:spMk id="125" creationId="{E6C0852C-148C-1F08-4287-5A2B6A667ED4}"/>
          </ac:spMkLst>
        </pc:spChg>
        <pc:spChg chg="add del mod">
          <ac:chgData name="Steiner Andreas 6206 ED" userId="e6377c33-a923-4f14-8587-531c474c7b48" providerId="ADAL" clId="{6ECD27E6-B224-41CD-B4E0-E297462320DD}" dt="2023-11-24T08:33:16.447" v="14487"/>
          <ac:spMkLst>
            <pc:docMk/>
            <pc:sldMk cId="3184642303" sldId="2147478578"/>
            <ac:spMk id="126" creationId="{FA4129CD-530E-CB5D-0005-D7513EBB6BE3}"/>
          </ac:spMkLst>
        </pc:spChg>
        <pc:spChg chg="add del mod">
          <ac:chgData name="Steiner Andreas 6206 ED" userId="e6377c33-a923-4f14-8587-531c474c7b48" providerId="ADAL" clId="{6ECD27E6-B224-41CD-B4E0-E297462320DD}" dt="2023-11-24T08:33:18.754" v="14642"/>
          <ac:spMkLst>
            <pc:docMk/>
            <pc:sldMk cId="3184642303" sldId="2147478578"/>
            <ac:spMk id="127" creationId="{CBCE8221-0D71-5758-708E-A38D8EC67599}"/>
          </ac:spMkLst>
        </pc:spChg>
        <pc:spChg chg="add del mod">
          <ac:chgData name="Steiner Andreas 6206 ED" userId="e6377c33-a923-4f14-8587-531c474c7b48" providerId="ADAL" clId="{6ECD27E6-B224-41CD-B4E0-E297462320DD}" dt="2023-11-24T08:33:21.045" v="14797"/>
          <ac:spMkLst>
            <pc:docMk/>
            <pc:sldMk cId="3184642303" sldId="2147478578"/>
            <ac:spMk id="128" creationId="{43D1419D-9F79-FD38-071E-6E879928EBC9}"/>
          </ac:spMkLst>
        </pc:spChg>
        <pc:spChg chg="add del mod">
          <ac:chgData name="Steiner Andreas 6206 ED" userId="e6377c33-a923-4f14-8587-531c474c7b48" providerId="ADAL" clId="{6ECD27E6-B224-41CD-B4E0-E297462320DD}" dt="2023-11-24T08:33:23.424" v="14952"/>
          <ac:spMkLst>
            <pc:docMk/>
            <pc:sldMk cId="3184642303" sldId="2147478578"/>
            <ac:spMk id="129" creationId="{1E7B65EE-9B21-3005-47A8-7482D1C9E363}"/>
          </ac:spMkLst>
        </pc:spChg>
        <pc:spChg chg="add del mod">
          <ac:chgData name="Steiner Andreas 6206 ED" userId="e6377c33-a923-4f14-8587-531c474c7b48" providerId="ADAL" clId="{6ECD27E6-B224-41CD-B4E0-E297462320DD}" dt="2023-11-24T08:33:25.878" v="15107"/>
          <ac:spMkLst>
            <pc:docMk/>
            <pc:sldMk cId="3184642303" sldId="2147478578"/>
            <ac:spMk id="130" creationId="{83AFD94B-2ADE-C8BA-56F7-2548D4D0708E}"/>
          </ac:spMkLst>
        </pc:spChg>
        <pc:spChg chg="add del mod">
          <ac:chgData name="Steiner Andreas 6206 ED" userId="e6377c33-a923-4f14-8587-531c474c7b48" providerId="ADAL" clId="{6ECD27E6-B224-41CD-B4E0-E297462320DD}" dt="2023-11-24T08:33:28.126" v="15262"/>
          <ac:spMkLst>
            <pc:docMk/>
            <pc:sldMk cId="3184642303" sldId="2147478578"/>
            <ac:spMk id="131" creationId="{E6CD978F-32F3-6370-BB5A-66081D157F39}"/>
          </ac:spMkLst>
        </pc:spChg>
        <pc:spChg chg="add del mod">
          <ac:chgData name="Steiner Andreas 6206 ED" userId="e6377c33-a923-4f14-8587-531c474c7b48" providerId="ADAL" clId="{6ECD27E6-B224-41CD-B4E0-E297462320DD}" dt="2023-11-24T08:33:30.589" v="15417"/>
          <ac:spMkLst>
            <pc:docMk/>
            <pc:sldMk cId="3184642303" sldId="2147478578"/>
            <ac:spMk id="132" creationId="{FB963E0E-AAFA-135B-E9A0-4F59E487FFAF}"/>
          </ac:spMkLst>
        </pc:spChg>
        <pc:spChg chg="add del mod">
          <ac:chgData name="Steiner Andreas 6206 ED" userId="e6377c33-a923-4f14-8587-531c474c7b48" providerId="ADAL" clId="{6ECD27E6-B224-41CD-B4E0-E297462320DD}" dt="2023-11-24T08:33:33.382" v="15572"/>
          <ac:spMkLst>
            <pc:docMk/>
            <pc:sldMk cId="3184642303" sldId="2147478578"/>
            <ac:spMk id="133" creationId="{31A4C257-8795-03C0-566B-E2E99FD8B817}"/>
          </ac:spMkLst>
        </pc:spChg>
        <pc:spChg chg="add del mod">
          <ac:chgData name="Steiner Andreas 6206 ED" userId="e6377c33-a923-4f14-8587-531c474c7b48" providerId="ADAL" clId="{6ECD27E6-B224-41CD-B4E0-E297462320DD}" dt="2023-11-24T08:33:35.729" v="15727"/>
          <ac:spMkLst>
            <pc:docMk/>
            <pc:sldMk cId="3184642303" sldId="2147478578"/>
            <ac:spMk id="134" creationId="{15710639-754F-1709-278D-7E1B74C35AE8}"/>
          </ac:spMkLst>
        </pc:spChg>
        <pc:spChg chg="add del mod">
          <ac:chgData name="Steiner Andreas 6206 ED" userId="e6377c33-a923-4f14-8587-531c474c7b48" providerId="ADAL" clId="{6ECD27E6-B224-41CD-B4E0-E297462320DD}" dt="2023-11-24T08:33:37.855" v="15882"/>
          <ac:spMkLst>
            <pc:docMk/>
            <pc:sldMk cId="3184642303" sldId="2147478578"/>
            <ac:spMk id="135" creationId="{18CA1EC5-8EDE-2F4F-05BD-AB3112582346}"/>
          </ac:spMkLst>
        </pc:spChg>
        <pc:spChg chg="add del mod">
          <ac:chgData name="Steiner Andreas 6206 ED" userId="e6377c33-a923-4f14-8587-531c474c7b48" providerId="ADAL" clId="{6ECD27E6-B224-41CD-B4E0-E297462320DD}" dt="2023-11-24T08:33:40.173" v="16037"/>
          <ac:spMkLst>
            <pc:docMk/>
            <pc:sldMk cId="3184642303" sldId="2147478578"/>
            <ac:spMk id="136" creationId="{BF252EDE-5135-1158-9418-5BEB7BC0DF16}"/>
          </ac:spMkLst>
        </pc:spChg>
        <pc:spChg chg="add del mod">
          <ac:chgData name="Steiner Andreas 6206 ED" userId="e6377c33-a923-4f14-8587-531c474c7b48" providerId="ADAL" clId="{6ECD27E6-B224-41CD-B4E0-E297462320DD}" dt="2023-11-24T08:33:42.696" v="16192"/>
          <ac:spMkLst>
            <pc:docMk/>
            <pc:sldMk cId="3184642303" sldId="2147478578"/>
            <ac:spMk id="137" creationId="{79C67A7A-4163-C361-4141-49D5567E8D1B}"/>
          </ac:spMkLst>
        </pc:spChg>
        <pc:spChg chg="add del mod">
          <ac:chgData name="Steiner Andreas 6206 ED" userId="e6377c33-a923-4f14-8587-531c474c7b48" providerId="ADAL" clId="{6ECD27E6-B224-41CD-B4E0-E297462320DD}" dt="2023-11-24T08:33:45.357" v="16347"/>
          <ac:spMkLst>
            <pc:docMk/>
            <pc:sldMk cId="3184642303" sldId="2147478578"/>
            <ac:spMk id="138" creationId="{AA772181-AFDB-6E88-30D9-B4186ADFDDDA}"/>
          </ac:spMkLst>
        </pc:spChg>
        <pc:spChg chg="add del mod">
          <ac:chgData name="Steiner Andreas 6206 ED" userId="e6377c33-a923-4f14-8587-531c474c7b48" providerId="ADAL" clId="{6ECD27E6-B224-41CD-B4E0-E297462320DD}" dt="2023-11-24T08:33:47.553" v="16502"/>
          <ac:spMkLst>
            <pc:docMk/>
            <pc:sldMk cId="3184642303" sldId="2147478578"/>
            <ac:spMk id="139" creationId="{CEF86EFF-F3B8-8CB5-C361-AECFF6FCE55A}"/>
          </ac:spMkLst>
        </pc:spChg>
        <pc:spChg chg="add del mod">
          <ac:chgData name="Steiner Andreas 6206 ED" userId="e6377c33-a923-4f14-8587-531c474c7b48" providerId="ADAL" clId="{6ECD27E6-B224-41CD-B4E0-E297462320DD}" dt="2023-11-24T08:33:50.241" v="16657"/>
          <ac:spMkLst>
            <pc:docMk/>
            <pc:sldMk cId="3184642303" sldId="2147478578"/>
            <ac:spMk id="140" creationId="{BE3106DA-A5D5-D34F-7911-6C8C29408D8C}"/>
          </ac:spMkLst>
        </pc:spChg>
        <pc:spChg chg="add del mod">
          <ac:chgData name="Steiner Andreas 6206 ED" userId="e6377c33-a923-4f14-8587-531c474c7b48" providerId="ADAL" clId="{6ECD27E6-B224-41CD-B4E0-E297462320DD}" dt="2023-11-24T08:33:52.695" v="16812"/>
          <ac:spMkLst>
            <pc:docMk/>
            <pc:sldMk cId="3184642303" sldId="2147478578"/>
            <ac:spMk id="141" creationId="{FD19CF1F-33E5-E059-0985-3C6922D05529}"/>
          </ac:spMkLst>
        </pc:spChg>
        <pc:spChg chg="add del mod">
          <ac:chgData name="Steiner Andreas 6206 ED" userId="e6377c33-a923-4f14-8587-531c474c7b48" providerId="ADAL" clId="{6ECD27E6-B224-41CD-B4E0-E297462320DD}" dt="2023-11-24T08:33:54.844" v="16967"/>
          <ac:spMkLst>
            <pc:docMk/>
            <pc:sldMk cId="3184642303" sldId="2147478578"/>
            <ac:spMk id="142" creationId="{3DE7D422-1DD4-C611-F15A-803BF6F5143A}"/>
          </ac:spMkLst>
        </pc:spChg>
        <pc:spChg chg="add del mod">
          <ac:chgData name="Steiner Andreas 6206 ED" userId="e6377c33-a923-4f14-8587-531c474c7b48" providerId="ADAL" clId="{6ECD27E6-B224-41CD-B4E0-E297462320DD}" dt="2023-11-24T08:33:57.186" v="17122"/>
          <ac:spMkLst>
            <pc:docMk/>
            <pc:sldMk cId="3184642303" sldId="2147478578"/>
            <ac:spMk id="143" creationId="{6B76C11F-BE81-85BB-739C-3730D61E30C2}"/>
          </ac:spMkLst>
        </pc:spChg>
        <pc:spChg chg="add del mod">
          <ac:chgData name="Steiner Andreas 6206 ED" userId="e6377c33-a923-4f14-8587-531c474c7b48" providerId="ADAL" clId="{6ECD27E6-B224-41CD-B4E0-E297462320DD}" dt="2023-11-24T08:33:59.658" v="17277"/>
          <ac:spMkLst>
            <pc:docMk/>
            <pc:sldMk cId="3184642303" sldId="2147478578"/>
            <ac:spMk id="144" creationId="{34B8875B-3296-B8A1-0A6A-48FEBAB778EA}"/>
          </ac:spMkLst>
        </pc:spChg>
        <pc:spChg chg="add del mod">
          <ac:chgData name="Steiner Andreas 6206 ED" userId="e6377c33-a923-4f14-8587-531c474c7b48" providerId="ADAL" clId="{6ECD27E6-B224-41CD-B4E0-E297462320DD}" dt="2023-11-24T08:34:01.636" v="17432"/>
          <ac:spMkLst>
            <pc:docMk/>
            <pc:sldMk cId="3184642303" sldId="2147478578"/>
            <ac:spMk id="145" creationId="{C6A248C1-6C11-9ED2-6E21-21880B3C633B}"/>
          </ac:spMkLst>
        </pc:spChg>
        <pc:spChg chg="add del mod">
          <ac:chgData name="Steiner Andreas 6206 ED" userId="e6377c33-a923-4f14-8587-531c474c7b48" providerId="ADAL" clId="{6ECD27E6-B224-41CD-B4E0-E297462320DD}" dt="2023-11-24T08:34:04.012" v="17587"/>
          <ac:spMkLst>
            <pc:docMk/>
            <pc:sldMk cId="3184642303" sldId="2147478578"/>
            <ac:spMk id="146" creationId="{E47F2E44-3A99-89C6-CA4A-CBEE2D4AB06F}"/>
          </ac:spMkLst>
        </pc:spChg>
        <pc:spChg chg="add del mod">
          <ac:chgData name="Steiner Andreas 6206 ED" userId="e6377c33-a923-4f14-8587-531c474c7b48" providerId="ADAL" clId="{6ECD27E6-B224-41CD-B4E0-E297462320DD}" dt="2023-11-24T08:34:05.923" v="17742"/>
          <ac:spMkLst>
            <pc:docMk/>
            <pc:sldMk cId="3184642303" sldId="2147478578"/>
            <ac:spMk id="147" creationId="{7A1A241A-7D1B-B58C-CC62-3249AE4C1FB8}"/>
          </ac:spMkLst>
        </pc:spChg>
        <pc:spChg chg="add del mod">
          <ac:chgData name="Steiner Andreas 6206 ED" userId="e6377c33-a923-4f14-8587-531c474c7b48" providerId="ADAL" clId="{6ECD27E6-B224-41CD-B4E0-E297462320DD}" dt="2023-11-24T08:34:08.027" v="17897"/>
          <ac:spMkLst>
            <pc:docMk/>
            <pc:sldMk cId="3184642303" sldId="2147478578"/>
            <ac:spMk id="148" creationId="{A48168C1-C027-8B72-EF9B-5888C9DC6C53}"/>
          </ac:spMkLst>
        </pc:spChg>
        <pc:spChg chg="add del mod">
          <ac:chgData name="Steiner Andreas 6206 ED" userId="e6377c33-a923-4f14-8587-531c474c7b48" providerId="ADAL" clId="{6ECD27E6-B224-41CD-B4E0-E297462320DD}" dt="2023-11-24T08:34:09.973" v="18052"/>
          <ac:spMkLst>
            <pc:docMk/>
            <pc:sldMk cId="3184642303" sldId="2147478578"/>
            <ac:spMk id="149" creationId="{4727A871-F6D7-8367-7018-62372333A3BB}"/>
          </ac:spMkLst>
        </pc:spChg>
        <pc:spChg chg="add del mod">
          <ac:chgData name="Steiner Andreas 6206 ED" userId="e6377c33-a923-4f14-8587-531c474c7b48" providerId="ADAL" clId="{6ECD27E6-B224-41CD-B4E0-E297462320DD}" dt="2023-11-24T08:34:12.046" v="18207"/>
          <ac:spMkLst>
            <pc:docMk/>
            <pc:sldMk cId="3184642303" sldId="2147478578"/>
            <ac:spMk id="150" creationId="{864D4C95-E51B-EC6C-FCD3-2D163FB59F6B}"/>
          </ac:spMkLst>
        </pc:spChg>
        <pc:spChg chg="add del mod">
          <ac:chgData name="Steiner Andreas 6206 ED" userId="e6377c33-a923-4f14-8587-531c474c7b48" providerId="ADAL" clId="{6ECD27E6-B224-41CD-B4E0-E297462320DD}" dt="2023-11-24T08:34:14.302" v="18362"/>
          <ac:spMkLst>
            <pc:docMk/>
            <pc:sldMk cId="3184642303" sldId="2147478578"/>
            <ac:spMk id="151" creationId="{A17BCB14-938D-05B1-30E6-C5BCEC878913}"/>
          </ac:spMkLst>
        </pc:spChg>
        <pc:spChg chg="add del mod">
          <ac:chgData name="Steiner Andreas 6206 ED" userId="e6377c33-a923-4f14-8587-531c474c7b48" providerId="ADAL" clId="{6ECD27E6-B224-41CD-B4E0-E297462320DD}" dt="2023-11-24T08:34:16.430" v="18517"/>
          <ac:spMkLst>
            <pc:docMk/>
            <pc:sldMk cId="3184642303" sldId="2147478578"/>
            <ac:spMk id="152" creationId="{041A7724-CD5F-A92E-B2F6-206ACE5EE406}"/>
          </ac:spMkLst>
        </pc:spChg>
        <pc:spChg chg="add del mod">
          <ac:chgData name="Steiner Andreas 6206 ED" userId="e6377c33-a923-4f14-8587-531c474c7b48" providerId="ADAL" clId="{6ECD27E6-B224-41CD-B4E0-E297462320DD}" dt="2023-11-24T08:34:18.598" v="18672"/>
          <ac:spMkLst>
            <pc:docMk/>
            <pc:sldMk cId="3184642303" sldId="2147478578"/>
            <ac:spMk id="153" creationId="{55741E55-9642-4381-9FCC-C6E61F6B0E86}"/>
          </ac:spMkLst>
        </pc:spChg>
        <pc:spChg chg="add del mod">
          <ac:chgData name="Steiner Andreas 6206 ED" userId="e6377c33-a923-4f14-8587-531c474c7b48" providerId="ADAL" clId="{6ECD27E6-B224-41CD-B4E0-E297462320DD}" dt="2023-11-24T08:34:20.724" v="18827"/>
          <ac:spMkLst>
            <pc:docMk/>
            <pc:sldMk cId="3184642303" sldId="2147478578"/>
            <ac:spMk id="154" creationId="{E909EE28-6F59-20BD-C32D-998F9B454DA9}"/>
          </ac:spMkLst>
        </pc:spChg>
        <pc:spChg chg="add del mod">
          <ac:chgData name="Steiner Andreas 6206 ED" userId="e6377c33-a923-4f14-8587-531c474c7b48" providerId="ADAL" clId="{6ECD27E6-B224-41CD-B4E0-E297462320DD}" dt="2023-11-24T08:34:22.819" v="18982"/>
          <ac:spMkLst>
            <pc:docMk/>
            <pc:sldMk cId="3184642303" sldId="2147478578"/>
            <ac:spMk id="155" creationId="{715DBEDE-CABF-05F8-849B-AD951CFBB36C}"/>
          </ac:spMkLst>
        </pc:spChg>
        <pc:spChg chg="add del mod">
          <ac:chgData name="Steiner Andreas 6206 ED" userId="e6377c33-a923-4f14-8587-531c474c7b48" providerId="ADAL" clId="{6ECD27E6-B224-41CD-B4E0-E297462320DD}" dt="2023-11-24T08:34:26.098" v="19137"/>
          <ac:spMkLst>
            <pc:docMk/>
            <pc:sldMk cId="3184642303" sldId="2147478578"/>
            <ac:spMk id="156" creationId="{55D948A0-0F11-4108-D982-5BA749302E84}"/>
          </ac:spMkLst>
        </pc:spChg>
        <pc:spChg chg="add del mod">
          <ac:chgData name="Steiner Andreas 6206 ED" userId="e6377c33-a923-4f14-8587-531c474c7b48" providerId="ADAL" clId="{6ECD27E6-B224-41CD-B4E0-E297462320DD}" dt="2023-11-24T08:34:28.749" v="19292"/>
          <ac:spMkLst>
            <pc:docMk/>
            <pc:sldMk cId="3184642303" sldId="2147478578"/>
            <ac:spMk id="157" creationId="{CAC23C01-CB8F-4DFA-A286-EFEE408D38BD}"/>
          </ac:spMkLst>
        </pc:spChg>
        <pc:spChg chg="add del mod">
          <ac:chgData name="Steiner Andreas 6206 ED" userId="e6377c33-a923-4f14-8587-531c474c7b48" providerId="ADAL" clId="{6ECD27E6-B224-41CD-B4E0-E297462320DD}" dt="2023-11-24T08:34:31.385" v="19447"/>
          <ac:spMkLst>
            <pc:docMk/>
            <pc:sldMk cId="3184642303" sldId="2147478578"/>
            <ac:spMk id="158" creationId="{E4245F28-6124-94B9-93D2-B26CA368B968}"/>
          </ac:spMkLst>
        </pc:spChg>
        <pc:spChg chg="add del mod">
          <ac:chgData name="Steiner Andreas 6206 ED" userId="e6377c33-a923-4f14-8587-531c474c7b48" providerId="ADAL" clId="{6ECD27E6-B224-41CD-B4E0-E297462320DD}" dt="2023-11-24T08:34:33.567" v="19602"/>
          <ac:spMkLst>
            <pc:docMk/>
            <pc:sldMk cId="3184642303" sldId="2147478578"/>
            <ac:spMk id="159" creationId="{571E1DDB-DBEE-2C8A-1E6D-36A60E25FB48}"/>
          </ac:spMkLst>
        </pc:spChg>
        <pc:spChg chg="add del mod">
          <ac:chgData name="Steiner Andreas 6206 ED" userId="e6377c33-a923-4f14-8587-531c474c7b48" providerId="ADAL" clId="{6ECD27E6-B224-41CD-B4E0-E297462320DD}" dt="2023-11-24T08:34:35.808" v="19757"/>
          <ac:spMkLst>
            <pc:docMk/>
            <pc:sldMk cId="3184642303" sldId="2147478578"/>
            <ac:spMk id="160" creationId="{679CC2A6-A64E-E0AC-316A-974820B689C7}"/>
          </ac:spMkLst>
        </pc:spChg>
        <pc:spChg chg="add del mod">
          <ac:chgData name="Steiner Andreas 6206 ED" userId="e6377c33-a923-4f14-8587-531c474c7b48" providerId="ADAL" clId="{6ECD27E6-B224-41CD-B4E0-E297462320DD}" dt="2023-11-24T08:34:38.083" v="19912"/>
          <ac:spMkLst>
            <pc:docMk/>
            <pc:sldMk cId="3184642303" sldId="2147478578"/>
            <ac:spMk id="161" creationId="{72104629-D9AC-93F2-C725-5FAF47071000}"/>
          </ac:spMkLst>
        </pc:spChg>
        <pc:spChg chg="add del mod">
          <ac:chgData name="Steiner Andreas 6206 ED" userId="e6377c33-a923-4f14-8587-531c474c7b48" providerId="ADAL" clId="{6ECD27E6-B224-41CD-B4E0-E297462320DD}" dt="2023-11-24T08:34:40.359" v="20067"/>
          <ac:spMkLst>
            <pc:docMk/>
            <pc:sldMk cId="3184642303" sldId="2147478578"/>
            <ac:spMk id="162" creationId="{2EC5D988-C4B9-0DD0-64B1-3EC990B70E05}"/>
          </ac:spMkLst>
        </pc:spChg>
        <pc:spChg chg="add del mod">
          <ac:chgData name="Steiner Andreas 6206 ED" userId="e6377c33-a923-4f14-8587-531c474c7b48" providerId="ADAL" clId="{6ECD27E6-B224-41CD-B4E0-E297462320DD}" dt="2023-11-24T08:34:43.129" v="20222"/>
          <ac:spMkLst>
            <pc:docMk/>
            <pc:sldMk cId="3184642303" sldId="2147478578"/>
            <ac:spMk id="163" creationId="{3C93B1EA-E5ED-E9B2-D65D-AC42AB4F0958}"/>
          </ac:spMkLst>
        </pc:spChg>
        <pc:spChg chg="add del mod">
          <ac:chgData name="Steiner Andreas 6206 ED" userId="e6377c33-a923-4f14-8587-531c474c7b48" providerId="ADAL" clId="{6ECD27E6-B224-41CD-B4E0-E297462320DD}" dt="2023-11-24T08:34:45.434" v="20377"/>
          <ac:spMkLst>
            <pc:docMk/>
            <pc:sldMk cId="3184642303" sldId="2147478578"/>
            <ac:spMk id="164" creationId="{981A78FB-CAE9-B4D0-BD12-6D00D4E9D6C6}"/>
          </ac:spMkLst>
        </pc:spChg>
        <pc:spChg chg="add del mod">
          <ac:chgData name="Steiner Andreas 6206 ED" userId="e6377c33-a923-4f14-8587-531c474c7b48" providerId="ADAL" clId="{6ECD27E6-B224-41CD-B4E0-E297462320DD}" dt="2023-11-24T08:34:47.715" v="20532"/>
          <ac:spMkLst>
            <pc:docMk/>
            <pc:sldMk cId="3184642303" sldId="2147478578"/>
            <ac:spMk id="165" creationId="{9560E459-8C56-02D1-6482-CF1F21E1833C}"/>
          </ac:spMkLst>
        </pc:spChg>
        <pc:spChg chg="add del mod">
          <ac:chgData name="Steiner Andreas 6206 ED" userId="e6377c33-a923-4f14-8587-531c474c7b48" providerId="ADAL" clId="{6ECD27E6-B224-41CD-B4E0-E297462320DD}" dt="2023-11-24T08:34:50.052" v="20687"/>
          <ac:spMkLst>
            <pc:docMk/>
            <pc:sldMk cId="3184642303" sldId="2147478578"/>
            <ac:spMk id="166" creationId="{9BADF3BF-8129-351E-C364-FBA9A64DDD09}"/>
          </ac:spMkLst>
        </pc:spChg>
        <pc:spChg chg="add del mod">
          <ac:chgData name="Steiner Andreas 6206 ED" userId="e6377c33-a923-4f14-8587-531c474c7b48" providerId="ADAL" clId="{6ECD27E6-B224-41CD-B4E0-E297462320DD}" dt="2023-11-24T08:34:52.638" v="20842"/>
          <ac:spMkLst>
            <pc:docMk/>
            <pc:sldMk cId="3184642303" sldId="2147478578"/>
            <ac:spMk id="167" creationId="{197586D7-663B-92A1-C78F-855665938340}"/>
          </ac:spMkLst>
        </pc:spChg>
        <pc:spChg chg="add del mod">
          <ac:chgData name="Steiner Andreas 6206 ED" userId="e6377c33-a923-4f14-8587-531c474c7b48" providerId="ADAL" clId="{6ECD27E6-B224-41CD-B4E0-E297462320DD}" dt="2023-11-24T08:34:55.150" v="20997"/>
          <ac:spMkLst>
            <pc:docMk/>
            <pc:sldMk cId="3184642303" sldId="2147478578"/>
            <ac:spMk id="168" creationId="{89292CFA-33A6-9B64-18CF-3C868C4492CE}"/>
          </ac:spMkLst>
        </pc:spChg>
        <pc:spChg chg="add del mod">
          <ac:chgData name="Steiner Andreas 6206 ED" userId="e6377c33-a923-4f14-8587-531c474c7b48" providerId="ADAL" clId="{6ECD27E6-B224-41CD-B4E0-E297462320DD}" dt="2023-11-24T08:34:57.439" v="21152"/>
          <ac:spMkLst>
            <pc:docMk/>
            <pc:sldMk cId="3184642303" sldId="2147478578"/>
            <ac:spMk id="169" creationId="{37F4CB83-04E2-BFF9-3E46-5B5F40EF07A2}"/>
          </ac:spMkLst>
        </pc:spChg>
        <pc:spChg chg="add del mod">
          <ac:chgData name="Steiner Andreas 6206 ED" userId="e6377c33-a923-4f14-8587-531c474c7b48" providerId="ADAL" clId="{6ECD27E6-B224-41CD-B4E0-E297462320DD}" dt="2023-11-24T08:34:59.977" v="21307"/>
          <ac:spMkLst>
            <pc:docMk/>
            <pc:sldMk cId="3184642303" sldId="2147478578"/>
            <ac:spMk id="170" creationId="{78E9626E-49CC-2951-5F9A-987C5EC1E538}"/>
          </ac:spMkLst>
        </pc:spChg>
        <pc:spChg chg="add del mod">
          <ac:chgData name="Steiner Andreas 6206 ED" userId="e6377c33-a923-4f14-8587-531c474c7b48" providerId="ADAL" clId="{6ECD27E6-B224-41CD-B4E0-E297462320DD}" dt="2023-11-24T08:35:02.637" v="21462"/>
          <ac:spMkLst>
            <pc:docMk/>
            <pc:sldMk cId="3184642303" sldId="2147478578"/>
            <ac:spMk id="171" creationId="{4EC5ABC6-DA45-480A-0C80-8A2C4AA7F6EF}"/>
          </ac:spMkLst>
        </pc:spChg>
        <pc:spChg chg="add del mod">
          <ac:chgData name="Steiner Andreas 6206 ED" userId="e6377c33-a923-4f14-8587-531c474c7b48" providerId="ADAL" clId="{6ECD27E6-B224-41CD-B4E0-E297462320DD}" dt="2023-11-24T08:35:05.142" v="21617"/>
          <ac:spMkLst>
            <pc:docMk/>
            <pc:sldMk cId="3184642303" sldId="2147478578"/>
            <ac:spMk id="172" creationId="{AACDBC70-1214-2138-FDAF-D91D2D8AFA88}"/>
          </ac:spMkLst>
        </pc:spChg>
        <pc:spChg chg="add del mod">
          <ac:chgData name="Steiner Andreas 6206 ED" userId="e6377c33-a923-4f14-8587-531c474c7b48" providerId="ADAL" clId="{6ECD27E6-B224-41CD-B4E0-E297462320DD}" dt="2023-11-24T08:35:07.614" v="21772"/>
          <ac:spMkLst>
            <pc:docMk/>
            <pc:sldMk cId="3184642303" sldId="2147478578"/>
            <ac:spMk id="173" creationId="{145FB6D8-171D-E46D-AA7E-E1F8C356692E}"/>
          </ac:spMkLst>
        </pc:spChg>
        <pc:spChg chg="add del mod">
          <ac:chgData name="Steiner Andreas 6206 ED" userId="e6377c33-a923-4f14-8587-531c474c7b48" providerId="ADAL" clId="{6ECD27E6-B224-41CD-B4E0-E297462320DD}" dt="2023-11-24T08:35:10.167" v="21927"/>
          <ac:spMkLst>
            <pc:docMk/>
            <pc:sldMk cId="3184642303" sldId="2147478578"/>
            <ac:spMk id="174" creationId="{9612CF28-31D3-CC34-C9A5-B8CB4A03A099}"/>
          </ac:spMkLst>
        </pc:spChg>
        <pc:spChg chg="add del mod">
          <ac:chgData name="Steiner Andreas 6206 ED" userId="e6377c33-a923-4f14-8587-531c474c7b48" providerId="ADAL" clId="{6ECD27E6-B224-41CD-B4E0-E297462320DD}" dt="2023-11-24T08:35:12.601" v="22082"/>
          <ac:spMkLst>
            <pc:docMk/>
            <pc:sldMk cId="3184642303" sldId="2147478578"/>
            <ac:spMk id="175" creationId="{59BD200A-02DF-CB6B-8E04-538BCF8552E5}"/>
          </ac:spMkLst>
        </pc:spChg>
        <pc:spChg chg="add del mod">
          <ac:chgData name="Steiner Andreas 6206 ED" userId="e6377c33-a923-4f14-8587-531c474c7b48" providerId="ADAL" clId="{6ECD27E6-B224-41CD-B4E0-E297462320DD}" dt="2023-11-24T08:35:14.708" v="22237"/>
          <ac:spMkLst>
            <pc:docMk/>
            <pc:sldMk cId="3184642303" sldId="2147478578"/>
            <ac:spMk id="176" creationId="{2352CB1A-6650-1C5C-FFC9-100A79C56CD6}"/>
          </ac:spMkLst>
        </pc:spChg>
        <pc:spChg chg="add del mod">
          <ac:chgData name="Steiner Andreas 6206 ED" userId="e6377c33-a923-4f14-8587-531c474c7b48" providerId="ADAL" clId="{6ECD27E6-B224-41CD-B4E0-E297462320DD}" dt="2023-11-24T08:35:17.068" v="22392"/>
          <ac:spMkLst>
            <pc:docMk/>
            <pc:sldMk cId="3184642303" sldId="2147478578"/>
            <ac:spMk id="177" creationId="{D2D6A464-4D54-A9AF-95F7-CF5182B127EB}"/>
          </ac:spMkLst>
        </pc:spChg>
        <pc:spChg chg="add del mod">
          <ac:chgData name="Steiner Andreas 6206 ED" userId="e6377c33-a923-4f14-8587-531c474c7b48" providerId="ADAL" clId="{6ECD27E6-B224-41CD-B4E0-E297462320DD}" dt="2023-11-24T08:35:19.496" v="22547"/>
          <ac:spMkLst>
            <pc:docMk/>
            <pc:sldMk cId="3184642303" sldId="2147478578"/>
            <ac:spMk id="178" creationId="{4DC60EBF-B7CB-E55D-294F-07473A87294B}"/>
          </ac:spMkLst>
        </pc:spChg>
        <pc:spChg chg="add del mod">
          <ac:chgData name="Steiner Andreas 6206 ED" userId="e6377c33-a923-4f14-8587-531c474c7b48" providerId="ADAL" clId="{6ECD27E6-B224-41CD-B4E0-E297462320DD}" dt="2023-11-24T08:35:21.945" v="22702"/>
          <ac:spMkLst>
            <pc:docMk/>
            <pc:sldMk cId="3184642303" sldId="2147478578"/>
            <ac:spMk id="179" creationId="{2CCCC51F-9382-D962-268D-1171D3347A90}"/>
          </ac:spMkLst>
        </pc:spChg>
        <pc:spChg chg="add del mod">
          <ac:chgData name="Steiner Andreas 6206 ED" userId="e6377c33-a923-4f14-8587-531c474c7b48" providerId="ADAL" clId="{6ECD27E6-B224-41CD-B4E0-E297462320DD}" dt="2023-11-24T08:35:24.255" v="22857"/>
          <ac:spMkLst>
            <pc:docMk/>
            <pc:sldMk cId="3184642303" sldId="2147478578"/>
            <ac:spMk id="180" creationId="{50AAE494-13E4-39CC-717F-BA18D79CDFB4}"/>
          </ac:spMkLst>
        </pc:spChg>
        <pc:spChg chg="add del mod">
          <ac:chgData name="Steiner Andreas 6206 ED" userId="e6377c33-a923-4f14-8587-531c474c7b48" providerId="ADAL" clId="{6ECD27E6-B224-41CD-B4E0-E297462320DD}" dt="2023-11-24T08:35:26.904" v="23012"/>
          <ac:spMkLst>
            <pc:docMk/>
            <pc:sldMk cId="3184642303" sldId="2147478578"/>
            <ac:spMk id="181" creationId="{8F261658-82CE-E999-04C0-F8872D083F99}"/>
          </ac:spMkLst>
        </pc:spChg>
        <pc:spChg chg="add del mod">
          <ac:chgData name="Steiner Andreas 6206 ED" userId="e6377c33-a923-4f14-8587-531c474c7b48" providerId="ADAL" clId="{6ECD27E6-B224-41CD-B4E0-E297462320DD}" dt="2023-11-24T08:35:29.599" v="23167"/>
          <ac:spMkLst>
            <pc:docMk/>
            <pc:sldMk cId="3184642303" sldId="2147478578"/>
            <ac:spMk id="182" creationId="{5CE827C5-A430-8E09-5AF1-0D4FD9A42DC0}"/>
          </ac:spMkLst>
        </pc:spChg>
        <pc:spChg chg="add del mod">
          <ac:chgData name="Steiner Andreas 6206 ED" userId="e6377c33-a923-4f14-8587-531c474c7b48" providerId="ADAL" clId="{6ECD27E6-B224-41CD-B4E0-E297462320DD}" dt="2023-11-24T08:35:31.987" v="23322"/>
          <ac:spMkLst>
            <pc:docMk/>
            <pc:sldMk cId="3184642303" sldId="2147478578"/>
            <ac:spMk id="183" creationId="{FE2D164E-7C09-CD90-CEC1-52B430841BB2}"/>
          </ac:spMkLst>
        </pc:spChg>
        <pc:spChg chg="add del mod">
          <ac:chgData name="Steiner Andreas 6206 ED" userId="e6377c33-a923-4f14-8587-531c474c7b48" providerId="ADAL" clId="{6ECD27E6-B224-41CD-B4E0-E297462320DD}" dt="2023-11-24T08:35:34.374" v="23477"/>
          <ac:spMkLst>
            <pc:docMk/>
            <pc:sldMk cId="3184642303" sldId="2147478578"/>
            <ac:spMk id="184" creationId="{1D99C42C-840B-DFA3-6DCC-03B4ED60F112}"/>
          </ac:spMkLst>
        </pc:spChg>
        <pc:spChg chg="add del mod">
          <ac:chgData name="Steiner Andreas 6206 ED" userId="e6377c33-a923-4f14-8587-531c474c7b48" providerId="ADAL" clId="{6ECD27E6-B224-41CD-B4E0-E297462320DD}" dt="2023-11-24T08:35:36.693" v="23632"/>
          <ac:spMkLst>
            <pc:docMk/>
            <pc:sldMk cId="3184642303" sldId="2147478578"/>
            <ac:spMk id="185" creationId="{B498A6EF-962E-4F26-1775-78878BB808CD}"/>
          </ac:spMkLst>
        </pc:spChg>
        <pc:spChg chg="add del mod">
          <ac:chgData name="Steiner Andreas 6206 ED" userId="e6377c33-a923-4f14-8587-531c474c7b48" providerId="ADAL" clId="{6ECD27E6-B224-41CD-B4E0-E297462320DD}" dt="2023-11-24T08:35:39.097" v="23787"/>
          <ac:spMkLst>
            <pc:docMk/>
            <pc:sldMk cId="3184642303" sldId="2147478578"/>
            <ac:spMk id="186" creationId="{217D48A8-3E95-87B5-AD16-584DD0FED92C}"/>
          </ac:spMkLst>
        </pc:spChg>
        <pc:spChg chg="add del mod">
          <ac:chgData name="Steiner Andreas 6206 ED" userId="e6377c33-a923-4f14-8587-531c474c7b48" providerId="ADAL" clId="{6ECD27E6-B224-41CD-B4E0-E297462320DD}" dt="2023-11-24T08:35:41.793" v="23942"/>
          <ac:spMkLst>
            <pc:docMk/>
            <pc:sldMk cId="3184642303" sldId="2147478578"/>
            <ac:spMk id="187" creationId="{35A45F2E-C628-22FF-362F-12AD3B6511DF}"/>
          </ac:spMkLst>
        </pc:spChg>
        <pc:spChg chg="add del mod">
          <ac:chgData name="Steiner Andreas 6206 ED" userId="e6377c33-a923-4f14-8587-531c474c7b48" providerId="ADAL" clId="{6ECD27E6-B224-41CD-B4E0-E297462320DD}" dt="2023-11-24T08:35:44.228" v="24097"/>
          <ac:spMkLst>
            <pc:docMk/>
            <pc:sldMk cId="3184642303" sldId="2147478578"/>
            <ac:spMk id="188" creationId="{D759B8B8-8095-89F8-CA40-2C0A27E520F9}"/>
          </ac:spMkLst>
        </pc:spChg>
        <pc:spChg chg="add del mod">
          <ac:chgData name="Steiner Andreas 6206 ED" userId="e6377c33-a923-4f14-8587-531c474c7b48" providerId="ADAL" clId="{6ECD27E6-B224-41CD-B4E0-E297462320DD}" dt="2023-11-24T08:35:46.528" v="24252"/>
          <ac:spMkLst>
            <pc:docMk/>
            <pc:sldMk cId="3184642303" sldId="2147478578"/>
            <ac:spMk id="189" creationId="{40F88DC0-DABF-3280-DFEB-F2094C3A413E}"/>
          </ac:spMkLst>
        </pc:spChg>
        <pc:spChg chg="add del mod">
          <ac:chgData name="Steiner Andreas 6206 ED" userId="e6377c33-a923-4f14-8587-531c474c7b48" providerId="ADAL" clId="{6ECD27E6-B224-41CD-B4E0-E297462320DD}" dt="2023-11-24T08:35:48.754" v="24407"/>
          <ac:spMkLst>
            <pc:docMk/>
            <pc:sldMk cId="3184642303" sldId="2147478578"/>
            <ac:spMk id="190" creationId="{13F0C941-6861-B97C-2FC9-26F734088482}"/>
          </ac:spMkLst>
        </pc:spChg>
        <pc:spChg chg="add del mod">
          <ac:chgData name="Steiner Andreas 6206 ED" userId="e6377c33-a923-4f14-8587-531c474c7b48" providerId="ADAL" clId="{6ECD27E6-B224-41CD-B4E0-E297462320DD}" dt="2023-11-24T08:35:51.052" v="24562"/>
          <ac:spMkLst>
            <pc:docMk/>
            <pc:sldMk cId="3184642303" sldId="2147478578"/>
            <ac:spMk id="191" creationId="{51A82D09-1F2C-95B3-D2C5-2FF3D42EE788}"/>
          </ac:spMkLst>
        </pc:spChg>
        <pc:spChg chg="add del mod">
          <ac:chgData name="Steiner Andreas 6206 ED" userId="e6377c33-a923-4f14-8587-531c474c7b48" providerId="ADAL" clId="{6ECD27E6-B224-41CD-B4E0-E297462320DD}" dt="2023-11-24T08:35:53.919" v="24717"/>
          <ac:spMkLst>
            <pc:docMk/>
            <pc:sldMk cId="3184642303" sldId="2147478578"/>
            <ac:spMk id="192" creationId="{5664A588-EB51-B033-CFD6-9E49A0ADFA85}"/>
          </ac:spMkLst>
        </pc:spChg>
        <pc:spChg chg="add del mod">
          <ac:chgData name="Steiner Andreas 6206 ED" userId="e6377c33-a923-4f14-8587-531c474c7b48" providerId="ADAL" clId="{6ECD27E6-B224-41CD-B4E0-E297462320DD}" dt="2023-11-24T08:35:56.446" v="24872"/>
          <ac:spMkLst>
            <pc:docMk/>
            <pc:sldMk cId="3184642303" sldId="2147478578"/>
            <ac:spMk id="193" creationId="{9DA8A8EB-9637-E1FC-3FDB-5B240676F630}"/>
          </ac:spMkLst>
        </pc:spChg>
        <pc:spChg chg="add del mod">
          <ac:chgData name="Steiner Andreas 6206 ED" userId="e6377c33-a923-4f14-8587-531c474c7b48" providerId="ADAL" clId="{6ECD27E6-B224-41CD-B4E0-E297462320DD}" dt="2023-11-24T08:35:58.958" v="25027"/>
          <ac:spMkLst>
            <pc:docMk/>
            <pc:sldMk cId="3184642303" sldId="2147478578"/>
            <ac:spMk id="194" creationId="{055036DC-3D52-56C4-689E-7E29BD3C48CD}"/>
          </ac:spMkLst>
        </pc:spChg>
        <pc:spChg chg="add del mod">
          <ac:chgData name="Steiner Andreas 6206 ED" userId="e6377c33-a923-4f14-8587-531c474c7b48" providerId="ADAL" clId="{6ECD27E6-B224-41CD-B4E0-E297462320DD}" dt="2023-11-24T08:36:01.410" v="25182"/>
          <ac:spMkLst>
            <pc:docMk/>
            <pc:sldMk cId="3184642303" sldId="2147478578"/>
            <ac:spMk id="195" creationId="{004F6DA1-8A8F-7431-EE97-B1F77C32D696}"/>
          </ac:spMkLst>
        </pc:spChg>
        <pc:spChg chg="add del mod">
          <ac:chgData name="Steiner Andreas 6206 ED" userId="e6377c33-a923-4f14-8587-531c474c7b48" providerId="ADAL" clId="{6ECD27E6-B224-41CD-B4E0-E297462320DD}" dt="2023-11-24T08:36:04.011" v="25337"/>
          <ac:spMkLst>
            <pc:docMk/>
            <pc:sldMk cId="3184642303" sldId="2147478578"/>
            <ac:spMk id="196" creationId="{100C8EB2-3A5A-6953-FA77-EBF37591005E}"/>
          </ac:spMkLst>
        </pc:spChg>
        <pc:spChg chg="add del mod">
          <ac:chgData name="Steiner Andreas 6206 ED" userId="e6377c33-a923-4f14-8587-531c474c7b48" providerId="ADAL" clId="{6ECD27E6-B224-41CD-B4E0-E297462320DD}" dt="2023-11-24T08:36:06.577" v="25492"/>
          <ac:spMkLst>
            <pc:docMk/>
            <pc:sldMk cId="3184642303" sldId="2147478578"/>
            <ac:spMk id="197" creationId="{99109C50-0D6F-971F-2CFC-9134A660358E}"/>
          </ac:spMkLst>
        </pc:spChg>
        <pc:spChg chg="add del mod">
          <ac:chgData name="Steiner Andreas 6206 ED" userId="e6377c33-a923-4f14-8587-531c474c7b48" providerId="ADAL" clId="{6ECD27E6-B224-41CD-B4E0-E297462320DD}" dt="2023-11-24T08:36:09.090" v="25647"/>
          <ac:spMkLst>
            <pc:docMk/>
            <pc:sldMk cId="3184642303" sldId="2147478578"/>
            <ac:spMk id="198" creationId="{54845A30-4A56-0C48-BE38-791C5DBDD883}"/>
          </ac:spMkLst>
        </pc:spChg>
        <pc:spChg chg="add del mod">
          <ac:chgData name="Steiner Andreas 6206 ED" userId="e6377c33-a923-4f14-8587-531c474c7b48" providerId="ADAL" clId="{6ECD27E6-B224-41CD-B4E0-E297462320DD}" dt="2023-11-24T08:36:11.619" v="25802"/>
          <ac:spMkLst>
            <pc:docMk/>
            <pc:sldMk cId="3184642303" sldId="2147478578"/>
            <ac:spMk id="199" creationId="{38CF8290-0ADD-B836-12FD-058D1F6AA7A8}"/>
          </ac:spMkLst>
        </pc:spChg>
        <pc:spChg chg="add del mod">
          <ac:chgData name="Steiner Andreas 6206 ED" userId="e6377c33-a923-4f14-8587-531c474c7b48" providerId="ADAL" clId="{6ECD27E6-B224-41CD-B4E0-E297462320DD}" dt="2023-11-24T08:36:14.024" v="25957"/>
          <ac:spMkLst>
            <pc:docMk/>
            <pc:sldMk cId="3184642303" sldId="2147478578"/>
            <ac:spMk id="200" creationId="{7D4A6E29-3548-4D7C-BEB1-FB803165A82F}"/>
          </ac:spMkLst>
        </pc:spChg>
        <pc:spChg chg="add del mod">
          <ac:chgData name="Steiner Andreas 6206 ED" userId="e6377c33-a923-4f14-8587-531c474c7b48" providerId="ADAL" clId="{6ECD27E6-B224-41CD-B4E0-E297462320DD}" dt="2023-11-24T08:36:16.719" v="26112"/>
          <ac:spMkLst>
            <pc:docMk/>
            <pc:sldMk cId="3184642303" sldId="2147478578"/>
            <ac:spMk id="201" creationId="{5130CC36-05B0-CDC3-4A66-50BA5BF87E9A}"/>
          </ac:spMkLst>
        </pc:spChg>
        <pc:spChg chg="add del mod">
          <ac:chgData name="Steiner Andreas 6206 ED" userId="e6377c33-a923-4f14-8587-531c474c7b48" providerId="ADAL" clId="{6ECD27E6-B224-41CD-B4E0-E297462320DD}" dt="2023-11-24T08:36:19.252" v="26267"/>
          <ac:spMkLst>
            <pc:docMk/>
            <pc:sldMk cId="3184642303" sldId="2147478578"/>
            <ac:spMk id="202" creationId="{B4F89878-9E67-3241-8AE1-3F0AB3F81736}"/>
          </ac:spMkLst>
        </pc:spChg>
        <pc:spChg chg="add del mod">
          <ac:chgData name="Steiner Andreas 6206 ED" userId="e6377c33-a923-4f14-8587-531c474c7b48" providerId="ADAL" clId="{6ECD27E6-B224-41CD-B4E0-E297462320DD}" dt="2023-11-24T08:36:21.511" v="26422"/>
          <ac:spMkLst>
            <pc:docMk/>
            <pc:sldMk cId="3184642303" sldId="2147478578"/>
            <ac:spMk id="203" creationId="{26987530-F981-4C31-BD5F-97D0748B083C}"/>
          </ac:spMkLst>
        </pc:spChg>
        <pc:spChg chg="add del mod">
          <ac:chgData name="Steiner Andreas 6206 ED" userId="e6377c33-a923-4f14-8587-531c474c7b48" providerId="ADAL" clId="{6ECD27E6-B224-41CD-B4E0-E297462320DD}" dt="2023-11-24T08:36:24.007" v="26577"/>
          <ac:spMkLst>
            <pc:docMk/>
            <pc:sldMk cId="3184642303" sldId="2147478578"/>
            <ac:spMk id="204" creationId="{85824FA1-0BC3-6E63-E6E3-2EFA211B8277}"/>
          </ac:spMkLst>
        </pc:spChg>
        <pc:spChg chg="add del mod">
          <ac:chgData name="Steiner Andreas 6206 ED" userId="e6377c33-a923-4f14-8587-531c474c7b48" providerId="ADAL" clId="{6ECD27E6-B224-41CD-B4E0-E297462320DD}" dt="2023-11-24T08:36:26.517" v="26732"/>
          <ac:spMkLst>
            <pc:docMk/>
            <pc:sldMk cId="3184642303" sldId="2147478578"/>
            <ac:spMk id="205" creationId="{0413B675-5536-0A94-62B4-6FFFA97F4C53}"/>
          </ac:spMkLst>
        </pc:spChg>
        <pc:spChg chg="add del mod">
          <ac:chgData name="Steiner Andreas 6206 ED" userId="e6377c33-a923-4f14-8587-531c474c7b48" providerId="ADAL" clId="{6ECD27E6-B224-41CD-B4E0-E297462320DD}" dt="2023-11-24T08:36:29.437" v="26887"/>
          <ac:spMkLst>
            <pc:docMk/>
            <pc:sldMk cId="3184642303" sldId="2147478578"/>
            <ac:spMk id="206" creationId="{106880AB-3F28-2DB3-4254-EB10B5E83E94}"/>
          </ac:spMkLst>
        </pc:spChg>
        <pc:spChg chg="add del mod">
          <ac:chgData name="Steiner Andreas 6206 ED" userId="e6377c33-a923-4f14-8587-531c474c7b48" providerId="ADAL" clId="{6ECD27E6-B224-41CD-B4E0-E297462320DD}" dt="2023-11-24T08:36:32.101" v="27042"/>
          <ac:spMkLst>
            <pc:docMk/>
            <pc:sldMk cId="3184642303" sldId="2147478578"/>
            <ac:spMk id="207" creationId="{346B9552-7DDE-8E08-749D-ECBD761C3083}"/>
          </ac:spMkLst>
        </pc:spChg>
        <pc:spChg chg="add del mod">
          <ac:chgData name="Steiner Andreas 6206 ED" userId="e6377c33-a923-4f14-8587-531c474c7b48" providerId="ADAL" clId="{6ECD27E6-B224-41CD-B4E0-E297462320DD}" dt="2023-11-24T08:36:34.681" v="27197"/>
          <ac:spMkLst>
            <pc:docMk/>
            <pc:sldMk cId="3184642303" sldId="2147478578"/>
            <ac:spMk id="208" creationId="{94C4EA52-7210-D1BA-BDB8-D1E4370AE0C3}"/>
          </ac:spMkLst>
        </pc:spChg>
        <pc:spChg chg="add del mod">
          <ac:chgData name="Steiner Andreas 6206 ED" userId="e6377c33-a923-4f14-8587-531c474c7b48" providerId="ADAL" clId="{6ECD27E6-B224-41CD-B4E0-E297462320DD}" dt="2023-11-24T08:36:37.201" v="27352"/>
          <ac:spMkLst>
            <pc:docMk/>
            <pc:sldMk cId="3184642303" sldId="2147478578"/>
            <ac:spMk id="209" creationId="{6891D211-13CF-CE22-2A50-FE2B11867C6D}"/>
          </ac:spMkLst>
        </pc:spChg>
        <pc:spChg chg="add del mod">
          <ac:chgData name="Steiner Andreas 6206 ED" userId="e6377c33-a923-4f14-8587-531c474c7b48" providerId="ADAL" clId="{6ECD27E6-B224-41CD-B4E0-E297462320DD}" dt="2023-11-24T08:36:39.732" v="27507"/>
          <ac:spMkLst>
            <pc:docMk/>
            <pc:sldMk cId="3184642303" sldId="2147478578"/>
            <ac:spMk id="210" creationId="{08B9EDA4-EBB0-6123-F36A-41A5D68A056C}"/>
          </ac:spMkLst>
        </pc:spChg>
        <pc:spChg chg="add del mod">
          <ac:chgData name="Steiner Andreas 6206 ED" userId="e6377c33-a923-4f14-8587-531c474c7b48" providerId="ADAL" clId="{6ECD27E6-B224-41CD-B4E0-E297462320DD}" dt="2023-11-24T08:36:42.568" v="27662"/>
          <ac:spMkLst>
            <pc:docMk/>
            <pc:sldMk cId="3184642303" sldId="2147478578"/>
            <ac:spMk id="211" creationId="{552F7BB1-1D50-E748-5C5F-2D6CEA4E709F}"/>
          </ac:spMkLst>
        </pc:spChg>
        <pc:spChg chg="add del mod">
          <ac:chgData name="Steiner Andreas 6206 ED" userId="e6377c33-a923-4f14-8587-531c474c7b48" providerId="ADAL" clId="{6ECD27E6-B224-41CD-B4E0-E297462320DD}" dt="2023-11-24T08:36:45.085" v="27817"/>
          <ac:spMkLst>
            <pc:docMk/>
            <pc:sldMk cId="3184642303" sldId="2147478578"/>
            <ac:spMk id="212" creationId="{A5152796-6E15-32BA-29AB-9EE0658FA83A}"/>
          </ac:spMkLst>
        </pc:spChg>
        <pc:spChg chg="add del mod">
          <ac:chgData name="Steiner Andreas 6206 ED" userId="e6377c33-a923-4f14-8587-531c474c7b48" providerId="ADAL" clId="{6ECD27E6-B224-41CD-B4E0-E297462320DD}" dt="2023-11-24T08:36:47.464" v="27972"/>
          <ac:spMkLst>
            <pc:docMk/>
            <pc:sldMk cId="3184642303" sldId="2147478578"/>
            <ac:spMk id="213" creationId="{B1ACF291-744C-B77C-0A2C-5FCD75D68016}"/>
          </ac:spMkLst>
        </pc:spChg>
        <pc:spChg chg="add del mod">
          <ac:chgData name="Steiner Andreas 6206 ED" userId="e6377c33-a923-4f14-8587-531c474c7b48" providerId="ADAL" clId="{6ECD27E6-B224-41CD-B4E0-E297462320DD}" dt="2023-11-24T08:36:49.919" v="28127"/>
          <ac:spMkLst>
            <pc:docMk/>
            <pc:sldMk cId="3184642303" sldId="2147478578"/>
            <ac:spMk id="214" creationId="{3AC88A30-F1B8-9528-6F5F-B2596D648A65}"/>
          </ac:spMkLst>
        </pc:spChg>
        <pc:spChg chg="add del mod">
          <ac:chgData name="Steiner Andreas 6206 ED" userId="e6377c33-a923-4f14-8587-531c474c7b48" providerId="ADAL" clId="{6ECD27E6-B224-41CD-B4E0-E297462320DD}" dt="2023-11-24T08:36:52.920" v="28282"/>
          <ac:spMkLst>
            <pc:docMk/>
            <pc:sldMk cId="3184642303" sldId="2147478578"/>
            <ac:spMk id="215" creationId="{4F9F01B6-346D-60BA-C2F7-F80E91FDD80D}"/>
          </ac:spMkLst>
        </pc:spChg>
        <pc:spChg chg="add del mod">
          <ac:chgData name="Steiner Andreas 6206 ED" userId="e6377c33-a923-4f14-8587-531c474c7b48" providerId="ADAL" clId="{6ECD27E6-B224-41CD-B4E0-E297462320DD}" dt="2023-11-24T08:36:56.018" v="28437"/>
          <ac:spMkLst>
            <pc:docMk/>
            <pc:sldMk cId="3184642303" sldId="2147478578"/>
            <ac:spMk id="216" creationId="{FDD9166C-7EB5-99D5-BE57-B56FBC3D8039}"/>
          </ac:spMkLst>
        </pc:spChg>
        <pc:spChg chg="add del mod">
          <ac:chgData name="Steiner Andreas 6206 ED" userId="e6377c33-a923-4f14-8587-531c474c7b48" providerId="ADAL" clId="{6ECD27E6-B224-41CD-B4E0-E297462320DD}" dt="2023-11-24T08:36:58.800" v="28592"/>
          <ac:spMkLst>
            <pc:docMk/>
            <pc:sldMk cId="3184642303" sldId="2147478578"/>
            <ac:spMk id="217" creationId="{430DC28A-25C5-EFC6-9F45-233A917D276E}"/>
          </ac:spMkLst>
        </pc:spChg>
        <pc:spChg chg="add del mod">
          <ac:chgData name="Steiner Andreas 6206 ED" userId="e6377c33-a923-4f14-8587-531c474c7b48" providerId="ADAL" clId="{6ECD27E6-B224-41CD-B4E0-E297462320DD}" dt="2023-11-24T08:37:01.580" v="28747"/>
          <ac:spMkLst>
            <pc:docMk/>
            <pc:sldMk cId="3184642303" sldId="2147478578"/>
            <ac:spMk id="218" creationId="{7AA63B5A-178E-F9CD-AC15-AC2112BE9780}"/>
          </ac:spMkLst>
        </pc:spChg>
        <pc:spChg chg="add del mod">
          <ac:chgData name="Steiner Andreas 6206 ED" userId="e6377c33-a923-4f14-8587-531c474c7b48" providerId="ADAL" clId="{6ECD27E6-B224-41CD-B4E0-E297462320DD}" dt="2023-11-24T08:37:04.280" v="28902"/>
          <ac:spMkLst>
            <pc:docMk/>
            <pc:sldMk cId="3184642303" sldId="2147478578"/>
            <ac:spMk id="219" creationId="{3BFC9E38-2C45-8B45-6936-F93134CAA790}"/>
          </ac:spMkLst>
        </pc:spChg>
        <pc:spChg chg="add del mod">
          <ac:chgData name="Steiner Andreas 6206 ED" userId="e6377c33-a923-4f14-8587-531c474c7b48" providerId="ADAL" clId="{6ECD27E6-B224-41CD-B4E0-E297462320DD}" dt="2023-11-24T08:37:07.171" v="29057"/>
          <ac:spMkLst>
            <pc:docMk/>
            <pc:sldMk cId="3184642303" sldId="2147478578"/>
            <ac:spMk id="220" creationId="{1A394D7B-8BDB-6981-B471-C9C68C773639}"/>
          </ac:spMkLst>
        </pc:spChg>
        <pc:spChg chg="add del mod">
          <ac:chgData name="Steiner Andreas 6206 ED" userId="e6377c33-a923-4f14-8587-531c474c7b48" providerId="ADAL" clId="{6ECD27E6-B224-41CD-B4E0-E297462320DD}" dt="2023-11-24T08:37:09.719" v="29212"/>
          <ac:spMkLst>
            <pc:docMk/>
            <pc:sldMk cId="3184642303" sldId="2147478578"/>
            <ac:spMk id="221" creationId="{94A4D41A-395C-ACCB-2809-33E5EE807A8D}"/>
          </ac:spMkLst>
        </pc:spChg>
        <pc:spChg chg="add del mod">
          <ac:chgData name="Steiner Andreas 6206 ED" userId="e6377c33-a923-4f14-8587-531c474c7b48" providerId="ADAL" clId="{6ECD27E6-B224-41CD-B4E0-E297462320DD}" dt="2023-11-24T08:37:12.488" v="29367"/>
          <ac:spMkLst>
            <pc:docMk/>
            <pc:sldMk cId="3184642303" sldId="2147478578"/>
            <ac:spMk id="222" creationId="{6C223D48-15EB-18BB-2256-32DDEC7C2164}"/>
          </ac:spMkLst>
        </pc:spChg>
        <pc:spChg chg="add del mod">
          <ac:chgData name="Steiner Andreas 6206 ED" userId="e6377c33-a923-4f14-8587-531c474c7b48" providerId="ADAL" clId="{6ECD27E6-B224-41CD-B4E0-E297462320DD}" dt="2023-11-24T08:37:15.758" v="29522"/>
          <ac:spMkLst>
            <pc:docMk/>
            <pc:sldMk cId="3184642303" sldId="2147478578"/>
            <ac:spMk id="223" creationId="{D2467D4D-B166-C57B-383B-97E90DF0670B}"/>
          </ac:spMkLst>
        </pc:spChg>
        <pc:spChg chg="add del mod">
          <ac:chgData name="Steiner Andreas 6206 ED" userId="e6377c33-a923-4f14-8587-531c474c7b48" providerId="ADAL" clId="{6ECD27E6-B224-41CD-B4E0-E297462320DD}" dt="2023-11-24T08:37:18.561" v="29677"/>
          <ac:spMkLst>
            <pc:docMk/>
            <pc:sldMk cId="3184642303" sldId="2147478578"/>
            <ac:spMk id="224" creationId="{5D407BCD-F392-F5CF-2292-E4ACF34149DB}"/>
          </ac:spMkLst>
        </pc:spChg>
        <pc:spChg chg="add del mod">
          <ac:chgData name="Steiner Andreas 6206 ED" userId="e6377c33-a923-4f14-8587-531c474c7b48" providerId="ADAL" clId="{6ECD27E6-B224-41CD-B4E0-E297462320DD}" dt="2023-11-24T08:37:21.039" v="29832"/>
          <ac:spMkLst>
            <pc:docMk/>
            <pc:sldMk cId="3184642303" sldId="2147478578"/>
            <ac:spMk id="225" creationId="{A84B3D04-6D09-CF0C-B721-BBBF38B2223B}"/>
          </ac:spMkLst>
        </pc:spChg>
        <pc:spChg chg="add del mod">
          <ac:chgData name="Steiner Andreas 6206 ED" userId="e6377c33-a923-4f14-8587-531c474c7b48" providerId="ADAL" clId="{6ECD27E6-B224-41CD-B4E0-E297462320DD}" dt="2023-11-24T08:37:23.890" v="29987"/>
          <ac:spMkLst>
            <pc:docMk/>
            <pc:sldMk cId="3184642303" sldId="2147478578"/>
            <ac:spMk id="226" creationId="{12B3EEE0-A23D-0061-2513-E50841BB91AE}"/>
          </ac:spMkLst>
        </pc:spChg>
        <pc:spChg chg="add del mod">
          <ac:chgData name="Steiner Andreas 6206 ED" userId="e6377c33-a923-4f14-8587-531c474c7b48" providerId="ADAL" clId="{6ECD27E6-B224-41CD-B4E0-E297462320DD}" dt="2023-11-24T08:37:26.414" v="30142"/>
          <ac:spMkLst>
            <pc:docMk/>
            <pc:sldMk cId="3184642303" sldId="2147478578"/>
            <ac:spMk id="227" creationId="{07C03266-52C3-F875-2537-41918437C232}"/>
          </ac:spMkLst>
        </pc:spChg>
        <pc:spChg chg="add del mod">
          <ac:chgData name="Steiner Andreas 6206 ED" userId="e6377c33-a923-4f14-8587-531c474c7b48" providerId="ADAL" clId="{6ECD27E6-B224-41CD-B4E0-E297462320DD}" dt="2023-11-24T08:37:29.559" v="30297"/>
          <ac:spMkLst>
            <pc:docMk/>
            <pc:sldMk cId="3184642303" sldId="2147478578"/>
            <ac:spMk id="228" creationId="{91E44E67-673D-652D-3A09-523432B1D9E2}"/>
          </ac:spMkLst>
        </pc:spChg>
        <pc:spChg chg="add del mod">
          <ac:chgData name="Steiner Andreas 6206 ED" userId="e6377c33-a923-4f14-8587-531c474c7b48" providerId="ADAL" clId="{6ECD27E6-B224-41CD-B4E0-E297462320DD}" dt="2023-11-24T08:37:32.590" v="30452"/>
          <ac:spMkLst>
            <pc:docMk/>
            <pc:sldMk cId="3184642303" sldId="2147478578"/>
            <ac:spMk id="229" creationId="{4D1FA84B-20AB-F8B6-9448-B7E49D17645A}"/>
          </ac:spMkLst>
        </pc:spChg>
        <pc:spChg chg="add del mod">
          <ac:chgData name="Steiner Andreas 6206 ED" userId="e6377c33-a923-4f14-8587-531c474c7b48" providerId="ADAL" clId="{6ECD27E6-B224-41CD-B4E0-E297462320DD}" dt="2023-11-24T08:37:35.194" v="30607"/>
          <ac:spMkLst>
            <pc:docMk/>
            <pc:sldMk cId="3184642303" sldId="2147478578"/>
            <ac:spMk id="230" creationId="{8FD0A099-003D-AFE7-6DA9-40B16E04F0D3}"/>
          </ac:spMkLst>
        </pc:spChg>
        <pc:spChg chg="add del mod">
          <ac:chgData name="Steiner Andreas 6206 ED" userId="e6377c33-a923-4f14-8587-531c474c7b48" providerId="ADAL" clId="{6ECD27E6-B224-41CD-B4E0-E297462320DD}" dt="2023-11-24T08:37:37.869" v="30762"/>
          <ac:spMkLst>
            <pc:docMk/>
            <pc:sldMk cId="3184642303" sldId="2147478578"/>
            <ac:spMk id="231" creationId="{3C7CE08F-DD3A-5071-360E-21E5FCCB18FE}"/>
          </ac:spMkLst>
        </pc:spChg>
        <pc:spChg chg="add del mod">
          <ac:chgData name="Steiner Andreas 6206 ED" userId="e6377c33-a923-4f14-8587-531c474c7b48" providerId="ADAL" clId="{6ECD27E6-B224-41CD-B4E0-E297462320DD}" dt="2023-11-24T08:37:41.424" v="30917"/>
          <ac:spMkLst>
            <pc:docMk/>
            <pc:sldMk cId="3184642303" sldId="2147478578"/>
            <ac:spMk id="232" creationId="{6F672E70-A170-91B3-84B7-2EEF4B4FC9C5}"/>
          </ac:spMkLst>
        </pc:spChg>
        <pc:spChg chg="add del mod">
          <ac:chgData name="Steiner Andreas 6206 ED" userId="e6377c33-a923-4f14-8587-531c474c7b48" providerId="ADAL" clId="{6ECD27E6-B224-41CD-B4E0-E297462320DD}" dt="2023-11-24T08:37:44.788" v="31072"/>
          <ac:spMkLst>
            <pc:docMk/>
            <pc:sldMk cId="3184642303" sldId="2147478578"/>
            <ac:spMk id="233" creationId="{594070D7-B4C0-35B3-37A7-5401AF2BD181}"/>
          </ac:spMkLst>
        </pc:spChg>
        <pc:spChg chg="add del mod">
          <ac:chgData name="Steiner Andreas 6206 ED" userId="e6377c33-a923-4f14-8587-531c474c7b48" providerId="ADAL" clId="{6ECD27E6-B224-41CD-B4E0-E297462320DD}" dt="2023-11-24T08:37:47.580" v="31227"/>
          <ac:spMkLst>
            <pc:docMk/>
            <pc:sldMk cId="3184642303" sldId="2147478578"/>
            <ac:spMk id="234" creationId="{73716024-E4E6-C453-AEAF-4BA0E52E37A8}"/>
          </ac:spMkLst>
        </pc:spChg>
        <pc:spChg chg="add del mod">
          <ac:chgData name="Steiner Andreas 6206 ED" userId="e6377c33-a923-4f14-8587-531c474c7b48" providerId="ADAL" clId="{6ECD27E6-B224-41CD-B4E0-E297462320DD}" dt="2023-11-24T08:37:50.348" v="31382"/>
          <ac:spMkLst>
            <pc:docMk/>
            <pc:sldMk cId="3184642303" sldId="2147478578"/>
            <ac:spMk id="235" creationId="{217A0785-D2BB-29D1-8EFF-34D58956A84C}"/>
          </ac:spMkLst>
        </pc:spChg>
        <pc:spChg chg="add del mod">
          <ac:chgData name="Steiner Andreas 6206 ED" userId="e6377c33-a923-4f14-8587-531c474c7b48" providerId="ADAL" clId="{6ECD27E6-B224-41CD-B4E0-E297462320DD}" dt="2023-11-24T08:37:52.966" v="31537"/>
          <ac:spMkLst>
            <pc:docMk/>
            <pc:sldMk cId="3184642303" sldId="2147478578"/>
            <ac:spMk id="236" creationId="{7E2BFE57-240D-39EF-BAE5-5AAA9795EECD}"/>
          </ac:spMkLst>
        </pc:spChg>
        <pc:spChg chg="add del mod">
          <ac:chgData name="Steiner Andreas 6206 ED" userId="e6377c33-a923-4f14-8587-531c474c7b48" providerId="ADAL" clId="{6ECD27E6-B224-41CD-B4E0-E297462320DD}" dt="2023-11-24T08:37:56.954" v="31692"/>
          <ac:spMkLst>
            <pc:docMk/>
            <pc:sldMk cId="3184642303" sldId="2147478578"/>
            <ac:spMk id="237" creationId="{C61A4AEB-0C12-CE1A-5F15-97FF37E9D286}"/>
          </ac:spMkLst>
        </pc:spChg>
        <pc:spChg chg="add del mod">
          <ac:chgData name="Steiner Andreas 6206 ED" userId="e6377c33-a923-4f14-8587-531c474c7b48" providerId="ADAL" clId="{6ECD27E6-B224-41CD-B4E0-E297462320DD}" dt="2023-11-24T08:37:59.777" v="31847"/>
          <ac:spMkLst>
            <pc:docMk/>
            <pc:sldMk cId="3184642303" sldId="2147478578"/>
            <ac:spMk id="238" creationId="{13DEECE0-AA46-2F6D-E8BF-5575FCCACDA7}"/>
          </ac:spMkLst>
        </pc:spChg>
        <pc:spChg chg="add del mod">
          <ac:chgData name="Steiner Andreas 6206 ED" userId="e6377c33-a923-4f14-8587-531c474c7b48" providerId="ADAL" clId="{6ECD27E6-B224-41CD-B4E0-E297462320DD}" dt="2023-11-24T08:38:02.805" v="32002"/>
          <ac:spMkLst>
            <pc:docMk/>
            <pc:sldMk cId="3184642303" sldId="2147478578"/>
            <ac:spMk id="239" creationId="{FB5B49A8-6C5A-438A-AB4F-7351C37766C5}"/>
          </ac:spMkLst>
        </pc:spChg>
        <pc:spChg chg="add del mod">
          <ac:chgData name="Steiner Andreas 6206 ED" userId="e6377c33-a923-4f14-8587-531c474c7b48" providerId="ADAL" clId="{6ECD27E6-B224-41CD-B4E0-E297462320DD}" dt="2023-11-24T08:38:05.679" v="32157"/>
          <ac:spMkLst>
            <pc:docMk/>
            <pc:sldMk cId="3184642303" sldId="2147478578"/>
            <ac:spMk id="240" creationId="{8B1ACA61-2B54-10ED-0312-0494716D4D48}"/>
          </ac:spMkLst>
        </pc:spChg>
        <pc:spChg chg="add del mod">
          <ac:chgData name="Steiner Andreas 6206 ED" userId="e6377c33-a923-4f14-8587-531c474c7b48" providerId="ADAL" clId="{6ECD27E6-B224-41CD-B4E0-E297462320DD}" dt="2023-11-24T08:38:08.816" v="32312"/>
          <ac:spMkLst>
            <pc:docMk/>
            <pc:sldMk cId="3184642303" sldId="2147478578"/>
            <ac:spMk id="241" creationId="{BA4D71C7-61B9-2277-1381-860C6C532DFA}"/>
          </ac:spMkLst>
        </pc:spChg>
        <pc:spChg chg="add del mod">
          <ac:chgData name="Steiner Andreas 6206 ED" userId="e6377c33-a923-4f14-8587-531c474c7b48" providerId="ADAL" clId="{6ECD27E6-B224-41CD-B4E0-E297462320DD}" dt="2023-11-24T08:38:11.539" v="32467"/>
          <ac:spMkLst>
            <pc:docMk/>
            <pc:sldMk cId="3184642303" sldId="2147478578"/>
            <ac:spMk id="242" creationId="{34D0F0FD-A944-5750-5C07-B8CE9F0FD5D3}"/>
          </ac:spMkLst>
        </pc:spChg>
        <pc:spChg chg="add del mod">
          <ac:chgData name="Steiner Andreas 6206 ED" userId="e6377c33-a923-4f14-8587-531c474c7b48" providerId="ADAL" clId="{6ECD27E6-B224-41CD-B4E0-E297462320DD}" dt="2023-11-24T08:38:14.185" v="32622"/>
          <ac:spMkLst>
            <pc:docMk/>
            <pc:sldMk cId="3184642303" sldId="2147478578"/>
            <ac:spMk id="243" creationId="{C04256E7-B662-C7DE-866D-8261B913E5D7}"/>
          </ac:spMkLst>
        </pc:spChg>
        <pc:spChg chg="add del mod">
          <ac:chgData name="Steiner Andreas 6206 ED" userId="e6377c33-a923-4f14-8587-531c474c7b48" providerId="ADAL" clId="{6ECD27E6-B224-41CD-B4E0-E297462320DD}" dt="2023-11-24T08:38:16.896" v="32777"/>
          <ac:spMkLst>
            <pc:docMk/>
            <pc:sldMk cId="3184642303" sldId="2147478578"/>
            <ac:spMk id="244" creationId="{67114C3E-45E3-62C8-D2AC-85C4A1E1E3FB}"/>
          </ac:spMkLst>
        </pc:spChg>
        <pc:spChg chg="add del mod">
          <ac:chgData name="Steiner Andreas 6206 ED" userId="e6377c33-a923-4f14-8587-531c474c7b48" providerId="ADAL" clId="{6ECD27E6-B224-41CD-B4E0-E297462320DD}" dt="2023-11-24T08:38:19.886" v="32932"/>
          <ac:spMkLst>
            <pc:docMk/>
            <pc:sldMk cId="3184642303" sldId="2147478578"/>
            <ac:spMk id="245" creationId="{52E308B5-E319-3AD3-28F4-4D75237C38F7}"/>
          </ac:spMkLst>
        </pc:spChg>
        <pc:spChg chg="add del mod">
          <ac:chgData name="Steiner Andreas 6206 ED" userId="e6377c33-a923-4f14-8587-531c474c7b48" providerId="ADAL" clId="{6ECD27E6-B224-41CD-B4E0-E297462320DD}" dt="2023-11-24T08:38:22.662" v="33087"/>
          <ac:spMkLst>
            <pc:docMk/>
            <pc:sldMk cId="3184642303" sldId="2147478578"/>
            <ac:spMk id="246" creationId="{60E258A7-4D36-DCC4-EE87-AFBF74D50265}"/>
          </ac:spMkLst>
        </pc:spChg>
        <pc:spChg chg="add del mod">
          <ac:chgData name="Steiner Andreas 6206 ED" userId="e6377c33-a923-4f14-8587-531c474c7b48" providerId="ADAL" clId="{6ECD27E6-B224-41CD-B4E0-E297462320DD}" dt="2023-11-24T08:38:25.518" v="33242"/>
          <ac:spMkLst>
            <pc:docMk/>
            <pc:sldMk cId="3184642303" sldId="2147478578"/>
            <ac:spMk id="247" creationId="{91776C67-F175-6926-BD05-A78B3EE145C5}"/>
          </ac:spMkLst>
        </pc:spChg>
        <pc:spChg chg="add del mod">
          <ac:chgData name="Steiner Andreas 6206 ED" userId="e6377c33-a923-4f14-8587-531c474c7b48" providerId="ADAL" clId="{6ECD27E6-B224-41CD-B4E0-E297462320DD}" dt="2023-11-24T08:38:29.086" v="33397"/>
          <ac:spMkLst>
            <pc:docMk/>
            <pc:sldMk cId="3184642303" sldId="2147478578"/>
            <ac:spMk id="248" creationId="{7ACC0FF0-612A-C984-AD81-0B61E7A0FFBD}"/>
          </ac:spMkLst>
        </pc:spChg>
        <pc:spChg chg="add del mod">
          <ac:chgData name="Steiner Andreas 6206 ED" userId="e6377c33-a923-4f14-8587-531c474c7b48" providerId="ADAL" clId="{6ECD27E6-B224-41CD-B4E0-E297462320DD}" dt="2023-11-24T08:38:32.215" v="33552"/>
          <ac:spMkLst>
            <pc:docMk/>
            <pc:sldMk cId="3184642303" sldId="2147478578"/>
            <ac:spMk id="249" creationId="{C0D10649-A492-95A1-D3DE-89A1D59BAC07}"/>
          </ac:spMkLst>
        </pc:spChg>
        <pc:spChg chg="add del mod">
          <ac:chgData name="Steiner Andreas 6206 ED" userId="e6377c33-a923-4f14-8587-531c474c7b48" providerId="ADAL" clId="{6ECD27E6-B224-41CD-B4E0-E297462320DD}" dt="2023-11-24T08:38:34.999" v="33707"/>
          <ac:spMkLst>
            <pc:docMk/>
            <pc:sldMk cId="3184642303" sldId="2147478578"/>
            <ac:spMk id="250" creationId="{4A01E137-66F0-6742-12FF-6A59981E101C}"/>
          </ac:spMkLst>
        </pc:spChg>
        <pc:spChg chg="add del mod">
          <ac:chgData name="Steiner Andreas 6206 ED" userId="e6377c33-a923-4f14-8587-531c474c7b48" providerId="ADAL" clId="{6ECD27E6-B224-41CD-B4E0-E297462320DD}" dt="2023-11-24T08:38:37.639" v="33862"/>
          <ac:spMkLst>
            <pc:docMk/>
            <pc:sldMk cId="3184642303" sldId="2147478578"/>
            <ac:spMk id="251" creationId="{3DEC2DAB-F755-71D1-8238-6CC55CEC02E9}"/>
          </ac:spMkLst>
        </pc:spChg>
        <pc:spChg chg="add del mod">
          <ac:chgData name="Steiner Andreas 6206 ED" userId="e6377c33-a923-4f14-8587-531c474c7b48" providerId="ADAL" clId="{6ECD27E6-B224-41CD-B4E0-E297462320DD}" dt="2023-11-24T08:38:40.159" v="34017"/>
          <ac:spMkLst>
            <pc:docMk/>
            <pc:sldMk cId="3184642303" sldId="2147478578"/>
            <ac:spMk id="252" creationId="{6B7420AE-71AA-CBB5-6B7F-4600CE03D2F1}"/>
          </ac:spMkLst>
        </pc:spChg>
        <pc:spChg chg="add del mod">
          <ac:chgData name="Steiner Andreas 6206 ED" userId="e6377c33-a923-4f14-8587-531c474c7b48" providerId="ADAL" clId="{6ECD27E6-B224-41CD-B4E0-E297462320DD}" dt="2023-11-24T08:38:42.664" v="34172"/>
          <ac:spMkLst>
            <pc:docMk/>
            <pc:sldMk cId="3184642303" sldId="2147478578"/>
            <ac:spMk id="253" creationId="{86A3CADD-B155-0089-EFF1-A87925151B33}"/>
          </ac:spMkLst>
        </pc:spChg>
        <pc:spChg chg="add del mod">
          <ac:chgData name="Steiner Andreas 6206 ED" userId="e6377c33-a923-4f14-8587-531c474c7b48" providerId="ADAL" clId="{6ECD27E6-B224-41CD-B4E0-E297462320DD}" dt="2023-11-24T08:38:46.690" v="34327"/>
          <ac:spMkLst>
            <pc:docMk/>
            <pc:sldMk cId="3184642303" sldId="2147478578"/>
            <ac:spMk id="254" creationId="{7191D7A2-F575-20CF-8FB9-01DFD0A93F39}"/>
          </ac:spMkLst>
        </pc:spChg>
        <pc:spChg chg="add del mod">
          <ac:chgData name="Steiner Andreas 6206 ED" userId="e6377c33-a923-4f14-8587-531c474c7b48" providerId="ADAL" clId="{6ECD27E6-B224-41CD-B4E0-E297462320DD}" dt="2023-11-24T08:38:49.408" v="34482"/>
          <ac:spMkLst>
            <pc:docMk/>
            <pc:sldMk cId="3184642303" sldId="2147478578"/>
            <ac:spMk id="255" creationId="{5ECD5363-BBB9-C28D-B4BA-767564D02601}"/>
          </ac:spMkLst>
        </pc:spChg>
        <pc:spChg chg="add del mod">
          <ac:chgData name="Steiner Andreas 6206 ED" userId="e6377c33-a923-4f14-8587-531c474c7b48" providerId="ADAL" clId="{6ECD27E6-B224-41CD-B4E0-E297462320DD}" dt="2023-11-24T08:38:52.189" v="34637"/>
          <ac:spMkLst>
            <pc:docMk/>
            <pc:sldMk cId="3184642303" sldId="2147478578"/>
            <ac:spMk id="256" creationId="{07E207B4-32A1-FB1F-CE56-AE9C79F67793}"/>
          </ac:spMkLst>
        </pc:spChg>
        <pc:spChg chg="add del mod">
          <ac:chgData name="Steiner Andreas 6206 ED" userId="e6377c33-a923-4f14-8587-531c474c7b48" providerId="ADAL" clId="{6ECD27E6-B224-41CD-B4E0-E297462320DD}" dt="2023-11-24T08:38:55.138" v="34792"/>
          <ac:spMkLst>
            <pc:docMk/>
            <pc:sldMk cId="3184642303" sldId="2147478578"/>
            <ac:spMk id="257" creationId="{1CE5B732-772D-CD9E-D8D0-1EA2B549907B}"/>
          </ac:spMkLst>
        </pc:spChg>
        <pc:spChg chg="add del mod">
          <ac:chgData name="Steiner Andreas 6206 ED" userId="e6377c33-a923-4f14-8587-531c474c7b48" providerId="ADAL" clId="{6ECD27E6-B224-41CD-B4E0-E297462320DD}" dt="2023-11-24T08:38:58.278" v="34947"/>
          <ac:spMkLst>
            <pc:docMk/>
            <pc:sldMk cId="3184642303" sldId="2147478578"/>
            <ac:spMk id="258" creationId="{A5624B9E-F4F4-94D2-6215-6FF6A8A4D49B}"/>
          </ac:spMkLst>
        </pc:spChg>
        <pc:spChg chg="add del mod">
          <ac:chgData name="Steiner Andreas 6206 ED" userId="e6377c33-a923-4f14-8587-531c474c7b48" providerId="ADAL" clId="{6ECD27E6-B224-41CD-B4E0-E297462320DD}" dt="2023-11-24T08:39:01.697" v="35102"/>
          <ac:spMkLst>
            <pc:docMk/>
            <pc:sldMk cId="3184642303" sldId="2147478578"/>
            <ac:spMk id="259" creationId="{A6CDFE92-B264-5DF7-8F3C-ED7F907B6B9F}"/>
          </ac:spMkLst>
        </pc:spChg>
        <pc:spChg chg="add del mod">
          <ac:chgData name="Steiner Andreas 6206 ED" userId="e6377c33-a923-4f14-8587-531c474c7b48" providerId="ADAL" clId="{6ECD27E6-B224-41CD-B4E0-E297462320DD}" dt="2023-11-24T08:39:05.016" v="35257"/>
          <ac:spMkLst>
            <pc:docMk/>
            <pc:sldMk cId="3184642303" sldId="2147478578"/>
            <ac:spMk id="260" creationId="{CB8E6422-7E36-6BF3-C306-7DDEA6CC5C73}"/>
          </ac:spMkLst>
        </pc:spChg>
        <pc:spChg chg="add del mod">
          <ac:chgData name="Steiner Andreas 6206 ED" userId="e6377c33-a923-4f14-8587-531c474c7b48" providerId="ADAL" clId="{6ECD27E6-B224-41CD-B4E0-E297462320DD}" dt="2023-11-24T08:39:07.854" v="35412"/>
          <ac:spMkLst>
            <pc:docMk/>
            <pc:sldMk cId="3184642303" sldId="2147478578"/>
            <ac:spMk id="261" creationId="{62A9FA7C-BC98-A06D-E6FD-8FC5E59DA89A}"/>
          </ac:spMkLst>
        </pc:spChg>
        <pc:spChg chg="add del mod">
          <ac:chgData name="Steiner Andreas 6206 ED" userId="e6377c33-a923-4f14-8587-531c474c7b48" providerId="ADAL" clId="{6ECD27E6-B224-41CD-B4E0-E297462320DD}" dt="2023-11-24T08:39:12.482" v="35567"/>
          <ac:spMkLst>
            <pc:docMk/>
            <pc:sldMk cId="3184642303" sldId="2147478578"/>
            <ac:spMk id="262" creationId="{1406A891-93DF-F5C8-9480-589A81A85FC8}"/>
          </ac:spMkLst>
        </pc:spChg>
        <pc:spChg chg="add del mod">
          <ac:chgData name="Steiner Andreas 6206 ED" userId="e6377c33-a923-4f14-8587-531c474c7b48" providerId="ADAL" clId="{6ECD27E6-B224-41CD-B4E0-E297462320DD}" dt="2023-11-24T08:39:15.248" v="35722"/>
          <ac:spMkLst>
            <pc:docMk/>
            <pc:sldMk cId="3184642303" sldId="2147478578"/>
            <ac:spMk id="263" creationId="{6270013A-14B0-5487-4D4F-6D47D471C234}"/>
          </ac:spMkLst>
        </pc:spChg>
        <pc:spChg chg="add del mod">
          <ac:chgData name="Steiner Andreas 6206 ED" userId="e6377c33-a923-4f14-8587-531c474c7b48" providerId="ADAL" clId="{6ECD27E6-B224-41CD-B4E0-E297462320DD}" dt="2023-11-24T08:39:17.802" v="35877"/>
          <ac:spMkLst>
            <pc:docMk/>
            <pc:sldMk cId="3184642303" sldId="2147478578"/>
            <ac:spMk id="264" creationId="{06C21BD8-E3B0-6C9E-1BC8-6B07887BF355}"/>
          </ac:spMkLst>
        </pc:spChg>
        <pc:spChg chg="add del mod">
          <ac:chgData name="Steiner Andreas 6206 ED" userId="e6377c33-a923-4f14-8587-531c474c7b48" providerId="ADAL" clId="{6ECD27E6-B224-41CD-B4E0-E297462320DD}" dt="2023-11-24T08:39:20.504" v="36032"/>
          <ac:spMkLst>
            <pc:docMk/>
            <pc:sldMk cId="3184642303" sldId="2147478578"/>
            <ac:spMk id="265" creationId="{82BCA823-9BAF-77C2-146C-77AEDDDEB756}"/>
          </ac:spMkLst>
        </pc:spChg>
        <pc:spChg chg="add del mod">
          <ac:chgData name="Steiner Andreas 6206 ED" userId="e6377c33-a923-4f14-8587-531c474c7b48" providerId="ADAL" clId="{6ECD27E6-B224-41CD-B4E0-E297462320DD}" dt="2023-11-24T08:39:23.584" v="36187"/>
          <ac:spMkLst>
            <pc:docMk/>
            <pc:sldMk cId="3184642303" sldId="2147478578"/>
            <ac:spMk id="266" creationId="{1B5109D3-CE2B-D2D4-29D5-70310969B6B9}"/>
          </ac:spMkLst>
        </pc:spChg>
        <pc:spChg chg="add del mod">
          <ac:chgData name="Steiner Andreas 6206 ED" userId="e6377c33-a923-4f14-8587-531c474c7b48" providerId="ADAL" clId="{6ECD27E6-B224-41CD-B4E0-E297462320DD}" dt="2023-11-24T08:39:26.422" v="36342"/>
          <ac:spMkLst>
            <pc:docMk/>
            <pc:sldMk cId="3184642303" sldId="2147478578"/>
            <ac:spMk id="267" creationId="{C11C35F3-BBE3-F218-C02F-6DFEE0D9CEDA}"/>
          </ac:spMkLst>
        </pc:spChg>
        <pc:spChg chg="add del mod">
          <ac:chgData name="Steiner Andreas 6206 ED" userId="e6377c33-a923-4f14-8587-531c474c7b48" providerId="ADAL" clId="{6ECD27E6-B224-41CD-B4E0-E297462320DD}" dt="2023-11-24T08:39:29.165" v="36497"/>
          <ac:spMkLst>
            <pc:docMk/>
            <pc:sldMk cId="3184642303" sldId="2147478578"/>
            <ac:spMk id="268" creationId="{ACBF1C13-D199-DBE2-9A7C-26A182F35386}"/>
          </ac:spMkLst>
        </pc:spChg>
        <pc:spChg chg="add del mod">
          <ac:chgData name="Steiner Andreas 6206 ED" userId="e6377c33-a923-4f14-8587-531c474c7b48" providerId="ADAL" clId="{6ECD27E6-B224-41CD-B4E0-E297462320DD}" dt="2023-11-24T08:39:31.716" v="36652"/>
          <ac:spMkLst>
            <pc:docMk/>
            <pc:sldMk cId="3184642303" sldId="2147478578"/>
            <ac:spMk id="269" creationId="{23C31961-340D-FBC4-86FB-DB5623BCB959}"/>
          </ac:spMkLst>
        </pc:spChg>
        <pc:spChg chg="add del mod">
          <ac:chgData name="Steiner Andreas 6206 ED" userId="e6377c33-a923-4f14-8587-531c474c7b48" providerId="ADAL" clId="{6ECD27E6-B224-41CD-B4E0-E297462320DD}" dt="2023-11-24T08:39:34.258" v="36807"/>
          <ac:spMkLst>
            <pc:docMk/>
            <pc:sldMk cId="3184642303" sldId="2147478578"/>
            <ac:spMk id="270" creationId="{F0532B99-B104-A0AF-7CBF-C18A3F4B92C0}"/>
          </ac:spMkLst>
        </pc:spChg>
        <pc:spChg chg="add del mod">
          <ac:chgData name="Steiner Andreas 6206 ED" userId="e6377c33-a923-4f14-8587-531c474c7b48" providerId="ADAL" clId="{6ECD27E6-B224-41CD-B4E0-E297462320DD}" dt="2023-11-24T08:39:37.143" v="36962"/>
          <ac:spMkLst>
            <pc:docMk/>
            <pc:sldMk cId="3184642303" sldId="2147478578"/>
            <ac:spMk id="271" creationId="{79F3994D-61B2-DF5F-B4B0-24939D04015F}"/>
          </ac:spMkLst>
        </pc:spChg>
        <pc:spChg chg="add del mod">
          <ac:chgData name="Steiner Andreas 6206 ED" userId="e6377c33-a923-4f14-8587-531c474c7b48" providerId="ADAL" clId="{6ECD27E6-B224-41CD-B4E0-E297462320DD}" dt="2023-11-24T08:39:39.793" v="37117"/>
          <ac:spMkLst>
            <pc:docMk/>
            <pc:sldMk cId="3184642303" sldId="2147478578"/>
            <ac:spMk id="272" creationId="{FDF443DD-C3CB-1698-F829-F1D08E9F60D4}"/>
          </ac:spMkLst>
        </pc:spChg>
        <pc:spChg chg="add del mod">
          <ac:chgData name="Steiner Andreas 6206 ED" userId="e6377c33-a923-4f14-8587-531c474c7b48" providerId="ADAL" clId="{6ECD27E6-B224-41CD-B4E0-E297462320DD}" dt="2023-11-24T08:39:42.281" v="37272"/>
          <ac:spMkLst>
            <pc:docMk/>
            <pc:sldMk cId="3184642303" sldId="2147478578"/>
            <ac:spMk id="273" creationId="{9B130BB9-7858-25D4-18EC-0770ED409ABF}"/>
          </ac:spMkLst>
        </pc:spChg>
        <pc:spChg chg="add del mod">
          <ac:chgData name="Steiner Andreas 6206 ED" userId="e6377c33-a923-4f14-8587-531c474c7b48" providerId="ADAL" clId="{6ECD27E6-B224-41CD-B4E0-E297462320DD}" dt="2023-11-24T08:39:44.813" v="37427"/>
          <ac:spMkLst>
            <pc:docMk/>
            <pc:sldMk cId="3184642303" sldId="2147478578"/>
            <ac:spMk id="274" creationId="{4AC10FC9-2CA6-52FE-2172-2D8FF406A983}"/>
          </ac:spMkLst>
        </pc:spChg>
        <pc:spChg chg="add del mod">
          <ac:chgData name="Steiner Andreas 6206 ED" userId="e6377c33-a923-4f14-8587-531c474c7b48" providerId="ADAL" clId="{6ECD27E6-B224-41CD-B4E0-E297462320DD}" dt="2023-11-24T08:39:47.728" v="37582"/>
          <ac:spMkLst>
            <pc:docMk/>
            <pc:sldMk cId="3184642303" sldId="2147478578"/>
            <ac:spMk id="275" creationId="{1AAA0172-F42B-C6FE-43EB-85489BE48009}"/>
          </ac:spMkLst>
        </pc:spChg>
        <pc:spChg chg="add del mod">
          <ac:chgData name="Steiner Andreas 6206 ED" userId="e6377c33-a923-4f14-8587-531c474c7b48" providerId="ADAL" clId="{6ECD27E6-B224-41CD-B4E0-E297462320DD}" dt="2023-11-24T08:39:50.537" v="37737"/>
          <ac:spMkLst>
            <pc:docMk/>
            <pc:sldMk cId="3184642303" sldId="2147478578"/>
            <ac:spMk id="276" creationId="{6333A2D1-DC95-40A6-9A0D-150599E81D77}"/>
          </ac:spMkLst>
        </pc:spChg>
        <pc:spChg chg="add del mod">
          <ac:chgData name="Steiner Andreas 6206 ED" userId="e6377c33-a923-4f14-8587-531c474c7b48" providerId="ADAL" clId="{6ECD27E6-B224-41CD-B4E0-E297462320DD}" dt="2023-11-24T08:39:53.098" v="37892"/>
          <ac:spMkLst>
            <pc:docMk/>
            <pc:sldMk cId="3184642303" sldId="2147478578"/>
            <ac:spMk id="277" creationId="{35A0D87B-BCFA-A217-390C-31A6A8CC3829}"/>
          </ac:spMkLst>
        </pc:spChg>
        <pc:spChg chg="add del mod">
          <ac:chgData name="Steiner Andreas 6206 ED" userId="e6377c33-a923-4f14-8587-531c474c7b48" providerId="ADAL" clId="{6ECD27E6-B224-41CD-B4E0-E297462320DD}" dt="2023-11-24T08:39:56.087" v="38047"/>
          <ac:spMkLst>
            <pc:docMk/>
            <pc:sldMk cId="3184642303" sldId="2147478578"/>
            <ac:spMk id="278" creationId="{FFED20D7-7077-77D4-E4C2-9A96EF95634B}"/>
          </ac:spMkLst>
        </pc:spChg>
        <pc:spChg chg="add del mod">
          <ac:chgData name="Steiner Andreas 6206 ED" userId="e6377c33-a923-4f14-8587-531c474c7b48" providerId="ADAL" clId="{6ECD27E6-B224-41CD-B4E0-E297462320DD}" dt="2023-11-24T08:39:59.129" v="38202"/>
          <ac:spMkLst>
            <pc:docMk/>
            <pc:sldMk cId="3184642303" sldId="2147478578"/>
            <ac:spMk id="279" creationId="{43E022ED-E9C8-061F-FA92-B8DFFB9278F1}"/>
          </ac:spMkLst>
        </pc:spChg>
        <pc:spChg chg="add del mod">
          <ac:chgData name="Steiner Andreas 6206 ED" userId="e6377c33-a923-4f14-8587-531c474c7b48" providerId="ADAL" clId="{6ECD27E6-B224-41CD-B4E0-E297462320DD}" dt="2023-11-24T08:40:02.608" v="38357"/>
          <ac:spMkLst>
            <pc:docMk/>
            <pc:sldMk cId="3184642303" sldId="2147478578"/>
            <ac:spMk id="280" creationId="{B017D99A-4121-AEB1-EF44-4FB688AEC991}"/>
          </ac:spMkLst>
        </pc:spChg>
        <pc:spChg chg="add del mod">
          <ac:chgData name="Steiner Andreas 6206 ED" userId="e6377c33-a923-4f14-8587-531c474c7b48" providerId="ADAL" clId="{6ECD27E6-B224-41CD-B4E0-E297462320DD}" dt="2023-11-24T08:40:05.369" v="38512"/>
          <ac:spMkLst>
            <pc:docMk/>
            <pc:sldMk cId="3184642303" sldId="2147478578"/>
            <ac:spMk id="281" creationId="{AD35A671-71A7-C242-AC7C-185C9F123509}"/>
          </ac:spMkLst>
        </pc:spChg>
        <pc:spChg chg="add del mod">
          <ac:chgData name="Steiner Andreas 6206 ED" userId="e6377c33-a923-4f14-8587-531c474c7b48" providerId="ADAL" clId="{6ECD27E6-B224-41CD-B4E0-E297462320DD}" dt="2023-11-24T08:40:07.890" v="38667"/>
          <ac:spMkLst>
            <pc:docMk/>
            <pc:sldMk cId="3184642303" sldId="2147478578"/>
            <ac:spMk id="282" creationId="{50637DDF-7C06-746F-6041-4FABE8D35D86}"/>
          </ac:spMkLst>
        </pc:spChg>
        <pc:spChg chg="add del mod">
          <ac:chgData name="Steiner Andreas 6206 ED" userId="e6377c33-a923-4f14-8587-531c474c7b48" providerId="ADAL" clId="{6ECD27E6-B224-41CD-B4E0-E297462320DD}" dt="2023-11-24T08:40:10.584" v="38822"/>
          <ac:spMkLst>
            <pc:docMk/>
            <pc:sldMk cId="3184642303" sldId="2147478578"/>
            <ac:spMk id="283" creationId="{588A28AA-B614-090B-E8BE-B522A810C00D}"/>
          </ac:spMkLst>
        </pc:spChg>
        <pc:spChg chg="add del mod">
          <ac:chgData name="Steiner Andreas 6206 ED" userId="e6377c33-a923-4f14-8587-531c474c7b48" providerId="ADAL" clId="{6ECD27E6-B224-41CD-B4E0-E297462320DD}" dt="2023-11-24T08:40:13.711" v="38977"/>
          <ac:spMkLst>
            <pc:docMk/>
            <pc:sldMk cId="3184642303" sldId="2147478578"/>
            <ac:spMk id="284" creationId="{38E6FDD2-6308-F4FF-38C3-16AC5535FE05}"/>
          </ac:spMkLst>
        </pc:spChg>
        <pc:spChg chg="add del mod">
          <ac:chgData name="Steiner Andreas 6206 ED" userId="e6377c33-a923-4f14-8587-531c474c7b48" providerId="ADAL" clId="{6ECD27E6-B224-41CD-B4E0-E297462320DD}" dt="2023-11-24T08:40:16.465" v="39132"/>
          <ac:spMkLst>
            <pc:docMk/>
            <pc:sldMk cId="3184642303" sldId="2147478578"/>
            <ac:spMk id="285" creationId="{F7378681-B88C-818A-A7A0-16391D8CF668}"/>
          </ac:spMkLst>
        </pc:spChg>
        <pc:spChg chg="add del mod">
          <ac:chgData name="Steiner Andreas 6206 ED" userId="e6377c33-a923-4f14-8587-531c474c7b48" providerId="ADAL" clId="{6ECD27E6-B224-41CD-B4E0-E297462320DD}" dt="2023-11-24T08:40:18.995" v="39287"/>
          <ac:spMkLst>
            <pc:docMk/>
            <pc:sldMk cId="3184642303" sldId="2147478578"/>
            <ac:spMk id="286" creationId="{C045F9F1-1E80-F4AF-D943-1AA62D0EF0B3}"/>
          </ac:spMkLst>
        </pc:spChg>
        <pc:spChg chg="add del mod">
          <ac:chgData name="Steiner Andreas 6206 ED" userId="e6377c33-a923-4f14-8587-531c474c7b48" providerId="ADAL" clId="{6ECD27E6-B224-41CD-B4E0-E297462320DD}" dt="2023-11-24T08:40:21.409" v="39442"/>
          <ac:spMkLst>
            <pc:docMk/>
            <pc:sldMk cId="3184642303" sldId="2147478578"/>
            <ac:spMk id="287" creationId="{9E779567-5EC4-8852-660D-A983EA66ABE2}"/>
          </ac:spMkLst>
        </pc:spChg>
        <pc:spChg chg="add del mod">
          <ac:chgData name="Steiner Andreas 6206 ED" userId="e6377c33-a923-4f14-8587-531c474c7b48" providerId="ADAL" clId="{6ECD27E6-B224-41CD-B4E0-E297462320DD}" dt="2023-11-24T08:40:23.988" v="39597"/>
          <ac:spMkLst>
            <pc:docMk/>
            <pc:sldMk cId="3184642303" sldId="2147478578"/>
            <ac:spMk id="288" creationId="{01DC62BD-C9A8-A633-BE93-14184165280E}"/>
          </ac:spMkLst>
        </pc:spChg>
        <pc:spChg chg="add del mod">
          <ac:chgData name="Steiner Andreas 6206 ED" userId="e6377c33-a923-4f14-8587-531c474c7b48" providerId="ADAL" clId="{6ECD27E6-B224-41CD-B4E0-E297462320DD}" dt="2023-11-24T08:40:26.984" v="39752"/>
          <ac:spMkLst>
            <pc:docMk/>
            <pc:sldMk cId="3184642303" sldId="2147478578"/>
            <ac:spMk id="289" creationId="{B6580082-EC9A-E113-B631-8F45AB7C2211}"/>
          </ac:spMkLst>
        </pc:spChg>
        <pc:spChg chg="add del mod">
          <ac:chgData name="Steiner Andreas 6206 ED" userId="e6377c33-a923-4f14-8587-531c474c7b48" providerId="ADAL" clId="{6ECD27E6-B224-41CD-B4E0-E297462320DD}" dt="2023-11-24T08:40:29.640" v="39907"/>
          <ac:spMkLst>
            <pc:docMk/>
            <pc:sldMk cId="3184642303" sldId="2147478578"/>
            <ac:spMk id="290" creationId="{CF79A58A-354E-51BC-411E-07EBA0BA06FB}"/>
          </ac:spMkLst>
        </pc:spChg>
        <pc:spChg chg="add del mod">
          <ac:chgData name="Steiner Andreas 6206 ED" userId="e6377c33-a923-4f14-8587-531c474c7b48" providerId="ADAL" clId="{6ECD27E6-B224-41CD-B4E0-E297462320DD}" dt="2023-11-24T08:40:32.180" v="40062"/>
          <ac:spMkLst>
            <pc:docMk/>
            <pc:sldMk cId="3184642303" sldId="2147478578"/>
            <ac:spMk id="291" creationId="{0D5F7158-F046-922C-EAB9-0B545C663DD9}"/>
          </ac:spMkLst>
        </pc:spChg>
        <pc:spChg chg="add del mod">
          <ac:chgData name="Steiner Andreas 6206 ED" userId="e6377c33-a923-4f14-8587-531c474c7b48" providerId="ADAL" clId="{6ECD27E6-B224-41CD-B4E0-E297462320DD}" dt="2023-11-24T08:40:34.799" v="40217"/>
          <ac:spMkLst>
            <pc:docMk/>
            <pc:sldMk cId="3184642303" sldId="2147478578"/>
            <ac:spMk id="292" creationId="{4C359947-8E04-63B5-074D-4D2143C77E01}"/>
          </ac:spMkLst>
        </pc:spChg>
        <pc:spChg chg="add del mod">
          <ac:chgData name="Steiner Andreas 6206 ED" userId="e6377c33-a923-4f14-8587-531c474c7b48" providerId="ADAL" clId="{6ECD27E6-B224-41CD-B4E0-E297462320DD}" dt="2023-11-24T08:40:38.153" v="40372"/>
          <ac:spMkLst>
            <pc:docMk/>
            <pc:sldMk cId="3184642303" sldId="2147478578"/>
            <ac:spMk id="293" creationId="{D955CF9E-D338-C04A-B29B-C8B50DC8FFDF}"/>
          </ac:spMkLst>
        </pc:spChg>
        <pc:spChg chg="add del mod">
          <ac:chgData name="Steiner Andreas 6206 ED" userId="e6377c33-a923-4f14-8587-531c474c7b48" providerId="ADAL" clId="{6ECD27E6-B224-41CD-B4E0-E297462320DD}" dt="2023-11-24T08:40:40.820" v="40527"/>
          <ac:spMkLst>
            <pc:docMk/>
            <pc:sldMk cId="3184642303" sldId="2147478578"/>
            <ac:spMk id="294" creationId="{5EBBBA46-221D-9362-42E3-D2D5C8859FD6}"/>
          </ac:spMkLst>
        </pc:spChg>
        <pc:spChg chg="add del mod">
          <ac:chgData name="Steiner Andreas 6206 ED" userId="e6377c33-a923-4f14-8587-531c474c7b48" providerId="ADAL" clId="{6ECD27E6-B224-41CD-B4E0-E297462320DD}" dt="2023-11-24T08:40:43.706" v="40682"/>
          <ac:spMkLst>
            <pc:docMk/>
            <pc:sldMk cId="3184642303" sldId="2147478578"/>
            <ac:spMk id="295" creationId="{B45B5802-AA98-0870-490F-AFD9E3AC811F}"/>
          </ac:spMkLst>
        </pc:spChg>
        <pc:spChg chg="add del mod">
          <ac:chgData name="Steiner Andreas 6206 ED" userId="e6377c33-a923-4f14-8587-531c474c7b48" providerId="ADAL" clId="{6ECD27E6-B224-41CD-B4E0-E297462320DD}" dt="2023-11-24T08:40:46.154" v="40837"/>
          <ac:spMkLst>
            <pc:docMk/>
            <pc:sldMk cId="3184642303" sldId="2147478578"/>
            <ac:spMk id="296" creationId="{070F4AF7-65DD-F903-D9A1-FA1DD1277E5D}"/>
          </ac:spMkLst>
        </pc:spChg>
        <pc:spChg chg="add del mod">
          <ac:chgData name="Steiner Andreas 6206 ED" userId="e6377c33-a923-4f14-8587-531c474c7b48" providerId="ADAL" clId="{6ECD27E6-B224-41CD-B4E0-E297462320DD}" dt="2023-11-24T08:40:48.863" v="40992"/>
          <ac:spMkLst>
            <pc:docMk/>
            <pc:sldMk cId="3184642303" sldId="2147478578"/>
            <ac:spMk id="297" creationId="{E390CFC2-DF24-BBB8-A32D-54882D7E3237}"/>
          </ac:spMkLst>
        </pc:spChg>
        <pc:spChg chg="add del mod">
          <ac:chgData name="Steiner Andreas 6206 ED" userId="e6377c33-a923-4f14-8587-531c474c7b48" providerId="ADAL" clId="{6ECD27E6-B224-41CD-B4E0-E297462320DD}" dt="2023-11-24T08:40:51.807" v="41147"/>
          <ac:spMkLst>
            <pc:docMk/>
            <pc:sldMk cId="3184642303" sldId="2147478578"/>
            <ac:spMk id="298" creationId="{5B145933-4C93-8451-E0B5-B111A4CF9492}"/>
          </ac:spMkLst>
        </pc:spChg>
        <pc:spChg chg="add del mod">
          <ac:chgData name="Steiner Andreas 6206 ED" userId="e6377c33-a923-4f14-8587-531c474c7b48" providerId="ADAL" clId="{6ECD27E6-B224-41CD-B4E0-E297462320DD}" dt="2023-11-24T08:40:54.313" v="41302"/>
          <ac:spMkLst>
            <pc:docMk/>
            <pc:sldMk cId="3184642303" sldId="2147478578"/>
            <ac:spMk id="299" creationId="{DAA92543-27A7-C65F-FC15-24A9C93E1BCA}"/>
          </ac:spMkLst>
        </pc:spChg>
        <pc:spChg chg="add del mod">
          <ac:chgData name="Steiner Andreas 6206 ED" userId="e6377c33-a923-4f14-8587-531c474c7b48" providerId="ADAL" clId="{6ECD27E6-B224-41CD-B4E0-E297462320DD}" dt="2023-11-24T08:40:56.794" v="41457"/>
          <ac:spMkLst>
            <pc:docMk/>
            <pc:sldMk cId="3184642303" sldId="2147478578"/>
            <ac:spMk id="300" creationId="{3CF104C5-0630-0919-7AA1-369EA715227A}"/>
          </ac:spMkLst>
        </pc:spChg>
        <pc:spChg chg="add del mod">
          <ac:chgData name="Steiner Andreas 6206 ED" userId="e6377c33-a923-4f14-8587-531c474c7b48" providerId="ADAL" clId="{6ECD27E6-B224-41CD-B4E0-E297462320DD}" dt="2023-11-24T08:40:59.498" v="41612"/>
          <ac:spMkLst>
            <pc:docMk/>
            <pc:sldMk cId="3184642303" sldId="2147478578"/>
            <ac:spMk id="301" creationId="{57601B44-94F1-C572-D624-33BBDA28BCBB}"/>
          </ac:spMkLst>
        </pc:spChg>
        <pc:spChg chg="add del mod">
          <ac:chgData name="Steiner Andreas 6206 ED" userId="e6377c33-a923-4f14-8587-531c474c7b48" providerId="ADAL" clId="{6ECD27E6-B224-41CD-B4E0-E297462320DD}" dt="2023-11-24T08:41:02.468" v="41767"/>
          <ac:spMkLst>
            <pc:docMk/>
            <pc:sldMk cId="3184642303" sldId="2147478578"/>
            <ac:spMk id="302" creationId="{055B2E0F-9F75-67A6-93A5-8902D44B7481}"/>
          </ac:spMkLst>
        </pc:spChg>
        <pc:spChg chg="add del mod">
          <ac:chgData name="Steiner Andreas 6206 ED" userId="e6377c33-a923-4f14-8587-531c474c7b48" providerId="ADAL" clId="{6ECD27E6-B224-41CD-B4E0-E297462320DD}" dt="2023-11-24T08:41:05.194" v="41922"/>
          <ac:spMkLst>
            <pc:docMk/>
            <pc:sldMk cId="3184642303" sldId="2147478578"/>
            <ac:spMk id="303" creationId="{6FE2AC7E-4FED-8BFF-00B3-FCB97188B6E5}"/>
          </ac:spMkLst>
        </pc:spChg>
        <pc:spChg chg="add del mod">
          <ac:chgData name="Steiner Andreas 6206 ED" userId="e6377c33-a923-4f14-8587-531c474c7b48" providerId="ADAL" clId="{6ECD27E6-B224-41CD-B4E0-E297462320DD}" dt="2023-11-24T08:41:08.377" v="42077"/>
          <ac:spMkLst>
            <pc:docMk/>
            <pc:sldMk cId="3184642303" sldId="2147478578"/>
            <ac:spMk id="304" creationId="{9DC56AA2-40F7-8D1D-3BB0-05148396B20C}"/>
          </ac:spMkLst>
        </pc:spChg>
        <pc:spChg chg="add del mod">
          <ac:chgData name="Steiner Andreas 6206 ED" userId="e6377c33-a923-4f14-8587-531c474c7b48" providerId="ADAL" clId="{6ECD27E6-B224-41CD-B4E0-E297462320DD}" dt="2023-11-24T08:41:12.340" v="42232"/>
          <ac:spMkLst>
            <pc:docMk/>
            <pc:sldMk cId="3184642303" sldId="2147478578"/>
            <ac:spMk id="305" creationId="{22C3558A-8C64-C6F8-20C2-740E352219BB}"/>
          </ac:spMkLst>
        </pc:spChg>
        <pc:spChg chg="add del mod">
          <ac:chgData name="Steiner Andreas 6206 ED" userId="e6377c33-a923-4f14-8587-531c474c7b48" providerId="ADAL" clId="{6ECD27E6-B224-41CD-B4E0-E297462320DD}" dt="2023-11-24T08:41:15.178" v="42387"/>
          <ac:spMkLst>
            <pc:docMk/>
            <pc:sldMk cId="3184642303" sldId="2147478578"/>
            <ac:spMk id="306" creationId="{FBEDE312-0A4B-CA1A-60E9-8EBFCCBA2E58}"/>
          </ac:spMkLst>
        </pc:spChg>
        <pc:spChg chg="add del mod">
          <ac:chgData name="Steiner Andreas 6206 ED" userId="e6377c33-a923-4f14-8587-531c474c7b48" providerId="ADAL" clId="{6ECD27E6-B224-41CD-B4E0-E297462320DD}" dt="2023-11-24T08:41:17.330" v="42542"/>
          <ac:spMkLst>
            <pc:docMk/>
            <pc:sldMk cId="3184642303" sldId="2147478578"/>
            <ac:spMk id="307" creationId="{A7C75B03-2D92-50EA-0B09-A90979F5AC2C}"/>
          </ac:spMkLst>
        </pc:spChg>
        <pc:spChg chg="add del mod">
          <ac:chgData name="Steiner Andreas 6206 ED" userId="e6377c33-a923-4f14-8587-531c474c7b48" providerId="ADAL" clId="{6ECD27E6-B224-41CD-B4E0-E297462320DD}" dt="2023-11-24T08:41:19.772" v="42697"/>
          <ac:spMkLst>
            <pc:docMk/>
            <pc:sldMk cId="3184642303" sldId="2147478578"/>
            <ac:spMk id="308" creationId="{AFDE2CE3-EC3F-0E0C-2468-16834245E69B}"/>
          </ac:spMkLst>
        </pc:spChg>
        <pc:spChg chg="add del mod">
          <ac:chgData name="Steiner Andreas 6206 ED" userId="e6377c33-a923-4f14-8587-531c474c7b48" providerId="ADAL" clId="{6ECD27E6-B224-41CD-B4E0-E297462320DD}" dt="2023-11-24T08:41:22.103" v="42852"/>
          <ac:spMkLst>
            <pc:docMk/>
            <pc:sldMk cId="3184642303" sldId="2147478578"/>
            <ac:spMk id="309" creationId="{157261F5-D615-4FA2-6E37-172F2F9FFD80}"/>
          </ac:spMkLst>
        </pc:spChg>
        <pc:spChg chg="add del mod">
          <ac:chgData name="Steiner Andreas 6206 ED" userId="e6377c33-a923-4f14-8587-531c474c7b48" providerId="ADAL" clId="{6ECD27E6-B224-41CD-B4E0-E297462320DD}" dt="2023-11-24T08:41:24.249" v="43007"/>
          <ac:spMkLst>
            <pc:docMk/>
            <pc:sldMk cId="3184642303" sldId="2147478578"/>
            <ac:spMk id="310" creationId="{201D131E-4326-EB6C-0A3B-48E26412E61D}"/>
          </ac:spMkLst>
        </pc:spChg>
        <pc:spChg chg="add del mod">
          <ac:chgData name="Steiner Andreas 6206 ED" userId="e6377c33-a923-4f14-8587-531c474c7b48" providerId="ADAL" clId="{6ECD27E6-B224-41CD-B4E0-E297462320DD}" dt="2023-11-24T08:41:26.736" v="43162"/>
          <ac:spMkLst>
            <pc:docMk/>
            <pc:sldMk cId="3184642303" sldId="2147478578"/>
            <ac:spMk id="311" creationId="{7FA8321B-BCF8-FC81-4838-A7080DE6CA64}"/>
          </ac:spMkLst>
        </pc:spChg>
        <pc:spChg chg="add del mod">
          <ac:chgData name="Steiner Andreas 6206 ED" userId="e6377c33-a923-4f14-8587-531c474c7b48" providerId="ADAL" clId="{6ECD27E6-B224-41CD-B4E0-E297462320DD}" dt="2023-11-24T08:41:28.905" v="43317"/>
          <ac:spMkLst>
            <pc:docMk/>
            <pc:sldMk cId="3184642303" sldId="2147478578"/>
            <ac:spMk id="312" creationId="{939C1797-75B8-2751-7870-5CCECB028140}"/>
          </ac:spMkLst>
        </pc:spChg>
        <pc:spChg chg="add del mod">
          <ac:chgData name="Steiner Andreas 6206 ED" userId="e6377c33-a923-4f14-8587-531c474c7b48" providerId="ADAL" clId="{6ECD27E6-B224-41CD-B4E0-E297462320DD}" dt="2023-11-24T08:41:31.089" v="43472"/>
          <ac:spMkLst>
            <pc:docMk/>
            <pc:sldMk cId="3184642303" sldId="2147478578"/>
            <ac:spMk id="313" creationId="{BC11E00D-FEEC-3BAF-1179-7C3C9A02E99D}"/>
          </ac:spMkLst>
        </pc:spChg>
        <pc:spChg chg="add del mod">
          <ac:chgData name="Steiner Andreas 6206 ED" userId="e6377c33-a923-4f14-8587-531c474c7b48" providerId="ADAL" clId="{6ECD27E6-B224-41CD-B4E0-E297462320DD}" dt="2023-11-24T08:41:35.437" v="43627"/>
          <ac:spMkLst>
            <pc:docMk/>
            <pc:sldMk cId="3184642303" sldId="2147478578"/>
            <ac:spMk id="314" creationId="{4A3E1BA7-6AA7-F95A-B307-843704FAC3E9}"/>
          </ac:spMkLst>
        </pc:spChg>
        <pc:spChg chg="add del mod">
          <ac:chgData name="Steiner Andreas 6206 ED" userId="e6377c33-a923-4f14-8587-531c474c7b48" providerId="ADAL" clId="{6ECD27E6-B224-41CD-B4E0-E297462320DD}" dt="2023-11-24T08:41:38.440" v="43782"/>
          <ac:spMkLst>
            <pc:docMk/>
            <pc:sldMk cId="3184642303" sldId="2147478578"/>
            <ac:spMk id="315" creationId="{761E7887-932D-CC8C-4E80-2B70D39E8219}"/>
          </ac:spMkLst>
        </pc:spChg>
        <pc:spChg chg="add del mod">
          <ac:chgData name="Steiner Andreas 6206 ED" userId="e6377c33-a923-4f14-8587-531c474c7b48" providerId="ADAL" clId="{6ECD27E6-B224-41CD-B4E0-E297462320DD}" dt="2023-11-24T08:41:40.761" v="43937"/>
          <ac:spMkLst>
            <pc:docMk/>
            <pc:sldMk cId="3184642303" sldId="2147478578"/>
            <ac:spMk id="316" creationId="{96B5BE9A-11AA-1F0E-5203-DB9413084E1C}"/>
          </ac:spMkLst>
        </pc:spChg>
        <pc:spChg chg="add del mod">
          <ac:chgData name="Steiner Andreas 6206 ED" userId="e6377c33-a923-4f14-8587-531c474c7b48" providerId="ADAL" clId="{6ECD27E6-B224-41CD-B4E0-E297462320DD}" dt="2023-11-24T08:41:43.153" v="44092"/>
          <ac:spMkLst>
            <pc:docMk/>
            <pc:sldMk cId="3184642303" sldId="2147478578"/>
            <ac:spMk id="317" creationId="{82ABC247-BA79-86CD-06B7-D04A20712D11}"/>
          </ac:spMkLst>
        </pc:spChg>
        <pc:spChg chg="add del mod">
          <ac:chgData name="Steiner Andreas 6206 ED" userId="e6377c33-a923-4f14-8587-531c474c7b48" providerId="ADAL" clId="{6ECD27E6-B224-41CD-B4E0-E297462320DD}" dt="2023-11-24T08:41:45.075" v="44247"/>
          <ac:spMkLst>
            <pc:docMk/>
            <pc:sldMk cId="3184642303" sldId="2147478578"/>
            <ac:spMk id="318" creationId="{EB69A802-D746-423C-11FD-5521F081BAFD}"/>
          </ac:spMkLst>
        </pc:spChg>
        <pc:spChg chg="add del mod">
          <ac:chgData name="Steiner Andreas 6206 ED" userId="e6377c33-a923-4f14-8587-531c474c7b48" providerId="ADAL" clId="{6ECD27E6-B224-41CD-B4E0-E297462320DD}" dt="2023-11-24T08:41:46.978" v="44402"/>
          <ac:spMkLst>
            <pc:docMk/>
            <pc:sldMk cId="3184642303" sldId="2147478578"/>
            <ac:spMk id="319" creationId="{DB225B6B-E022-6732-AE2D-22227C8DB4AC}"/>
          </ac:spMkLst>
        </pc:spChg>
        <pc:spChg chg="add del mod">
          <ac:chgData name="Steiner Andreas 6206 ED" userId="e6377c33-a923-4f14-8587-531c474c7b48" providerId="ADAL" clId="{6ECD27E6-B224-41CD-B4E0-E297462320DD}" dt="2023-11-24T08:41:49.003" v="44557"/>
          <ac:spMkLst>
            <pc:docMk/>
            <pc:sldMk cId="3184642303" sldId="2147478578"/>
            <ac:spMk id="320" creationId="{48DD787A-C0B2-A3AA-4A30-BE63F0562B7E}"/>
          </ac:spMkLst>
        </pc:spChg>
        <pc:spChg chg="add del mod">
          <ac:chgData name="Steiner Andreas 6206 ED" userId="e6377c33-a923-4f14-8587-531c474c7b48" providerId="ADAL" clId="{6ECD27E6-B224-41CD-B4E0-E297462320DD}" dt="2023-11-24T08:41:50.884" v="44712"/>
          <ac:spMkLst>
            <pc:docMk/>
            <pc:sldMk cId="3184642303" sldId="2147478578"/>
            <ac:spMk id="321" creationId="{66DF4D36-42C7-154A-8024-C6C660E112D8}"/>
          </ac:spMkLst>
        </pc:spChg>
        <pc:spChg chg="add del mod">
          <ac:chgData name="Steiner Andreas 6206 ED" userId="e6377c33-a923-4f14-8587-531c474c7b48" providerId="ADAL" clId="{6ECD27E6-B224-41CD-B4E0-E297462320DD}" dt="2023-11-24T08:41:53.214" v="44867"/>
          <ac:spMkLst>
            <pc:docMk/>
            <pc:sldMk cId="3184642303" sldId="2147478578"/>
            <ac:spMk id="322" creationId="{7F921B8E-B7D6-0054-0A38-F8D545FFA79C}"/>
          </ac:spMkLst>
        </pc:spChg>
        <pc:spChg chg="add del mod">
          <ac:chgData name="Steiner Andreas 6206 ED" userId="e6377c33-a923-4f14-8587-531c474c7b48" providerId="ADAL" clId="{6ECD27E6-B224-41CD-B4E0-E297462320DD}" dt="2023-11-24T08:41:55.148" v="45022"/>
          <ac:spMkLst>
            <pc:docMk/>
            <pc:sldMk cId="3184642303" sldId="2147478578"/>
            <ac:spMk id="323" creationId="{7D5BEDF6-E241-2399-68EC-F9CD4B488C2D}"/>
          </ac:spMkLst>
        </pc:spChg>
        <pc:spChg chg="add del mod">
          <ac:chgData name="Steiner Andreas 6206 ED" userId="e6377c33-a923-4f14-8587-531c474c7b48" providerId="ADAL" clId="{6ECD27E6-B224-41CD-B4E0-E297462320DD}" dt="2023-11-24T08:41:57.409" v="45177"/>
          <ac:spMkLst>
            <pc:docMk/>
            <pc:sldMk cId="3184642303" sldId="2147478578"/>
            <ac:spMk id="324" creationId="{F60A9B31-B4FC-DA0A-D671-E5DE6B2DFBE9}"/>
          </ac:spMkLst>
        </pc:spChg>
        <pc:spChg chg="add del mod">
          <ac:chgData name="Steiner Andreas 6206 ED" userId="e6377c33-a923-4f14-8587-531c474c7b48" providerId="ADAL" clId="{6ECD27E6-B224-41CD-B4E0-E297462320DD}" dt="2023-11-24T08:41:59.535" v="45332"/>
          <ac:spMkLst>
            <pc:docMk/>
            <pc:sldMk cId="3184642303" sldId="2147478578"/>
            <ac:spMk id="325" creationId="{3D8E0D89-64EF-6BCC-BD0D-4AB2D06CE718}"/>
          </ac:spMkLst>
        </pc:spChg>
        <pc:spChg chg="add del mod">
          <ac:chgData name="Steiner Andreas 6206 ED" userId="e6377c33-a923-4f14-8587-531c474c7b48" providerId="ADAL" clId="{6ECD27E6-B224-41CD-B4E0-E297462320DD}" dt="2023-11-24T08:42:01.791" v="45487"/>
          <ac:spMkLst>
            <pc:docMk/>
            <pc:sldMk cId="3184642303" sldId="2147478578"/>
            <ac:spMk id="326" creationId="{4AAC5765-2275-FEC5-D464-720D2C53DAEA}"/>
          </ac:spMkLst>
        </pc:spChg>
        <pc:spChg chg="add del mod">
          <ac:chgData name="Steiner Andreas 6206 ED" userId="e6377c33-a923-4f14-8587-531c474c7b48" providerId="ADAL" clId="{6ECD27E6-B224-41CD-B4E0-E297462320DD}" dt="2023-11-24T08:42:03.811" v="45642"/>
          <ac:spMkLst>
            <pc:docMk/>
            <pc:sldMk cId="3184642303" sldId="2147478578"/>
            <ac:spMk id="327" creationId="{8384BE1D-2A89-FCED-B1A6-398D89F67F7B}"/>
          </ac:spMkLst>
        </pc:spChg>
        <pc:spChg chg="add del mod">
          <ac:chgData name="Steiner Andreas 6206 ED" userId="e6377c33-a923-4f14-8587-531c474c7b48" providerId="ADAL" clId="{6ECD27E6-B224-41CD-B4E0-E297462320DD}" dt="2023-11-24T08:42:05.770" v="45797"/>
          <ac:spMkLst>
            <pc:docMk/>
            <pc:sldMk cId="3184642303" sldId="2147478578"/>
            <ac:spMk id="328" creationId="{95B8772D-890C-98D2-06C7-0DB43CB417F4}"/>
          </ac:spMkLst>
        </pc:spChg>
        <pc:spChg chg="add del mod">
          <ac:chgData name="Steiner Andreas 6206 ED" userId="e6377c33-a923-4f14-8587-531c474c7b48" providerId="ADAL" clId="{6ECD27E6-B224-41CD-B4E0-E297462320DD}" dt="2023-11-24T08:42:07.684" v="45952"/>
          <ac:spMkLst>
            <pc:docMk/>
            <pc:sldMk cId="3184642303" sldId="2147478578"/>
            <ac:spMk id="329" creationId="{07C320E4-7AF0-8DCA-FBFE-2E4A665428D2}"/>
          </ac:spMkLst>
        </pc:spChg>
        <pc:spChg chg="add del mod">
          <ac:chgData name="Steiner Andreas 6206 ED" userId="e6377c33-a923-4f14-8587-531c474c7b48" providerId="ADAL" clId="{6ECD27E6-B224-41CD-B4E0-E297462320DD}" dt="2023-11-24T08:42:09.572" v="46107"/>
          <ac:spMkLst>
            <pc:docMk/>
            <pc:sldMk cId="3184642303" sldId="2147478578"/>
            <ac:spMk id="330" creationId="{1E1C8E42-66FA-4695-B3E0-1ED058616281}"/>
          </ac:spMkLst>
        </pc:spChg>
        <pc:spChg chg="add del mod">
          <ac:chgData name="Steiner Andreas 6206 ED" userId="e6377c33-a923-4f14-8587-531c474c7b48" providerId="ADAL" clId="{6ECD27E6-B224-41CD-B4E0-E297462320DD}" dt="2023-11-24T08:42:11.897" v="46262"/>
          <ac:spMkLst>
            <pc:docMk/>
            <pc:sldMk cId="3184642303" sldId="2147478578"/>
            <ac:spMk id="331" creationId="{65087621-2CEE-F1B4-B5BD-3897B14F1A4A}"/>
          </ac:spMkLst>
        </pc:spChg>
        <pc:spChg chg="add del mod">
          <ac:chgData name="Steiner Andreas 6206 ED" userId="e6377c33-a923-4f14-8587-531c474c7b48" providerId="ADAL" clId="{6ECD27E6-B224-41CD-B4E0-E297462320DD}" dt="2023-11-24T08:42:14.260" v="46417"/>
          <ac:spMkLst>
            <pc:docMk/>
            <pc:sldMk cId="3184642303" sldId="2147478578"/>
            <ac:spMk id="332" creationId="{0812C8C0-8F5B-EB64-EE1A-B28DE1F06BDD}"/>
          </ac:spMkLst>
        </pc:spChg>
        <pc:spChg chg="add del mod">
          <ac:chgData name="Steiner Andreas 6206 ED" userId="e6377c33-a923-4f14-8587-531c474c7b48" providerId="ADAL" clId="{6ECD27E6-B224-41CD-B4E0-E297462320DD}" dt="2023-11-24T08:42:16.841" v="46572"/>
          <ac:spMkLst>
            <pc:docMk/>
            <pc:sldMk cId="3184642303" sldId="2147478578"/>
            <ac:spMk id="333" creationId="{C8ED2FF1-8F24-04F1-A097-AB3B30AFA220}"/>
          </ac:spMkLst>
        </pc:spChg>
        <pc:spChg chg="add del mod">
          <ac:chgData name="Steiner Andreas 6206 ED" userId="e6377c33-a923-4f14-8587-531c474c7b48" providerId="ADAL" clId="{6ECD27E6-B224-41CD-B4E0-E297462320DD}" dt="2023-11-24T08:42:18.956" v="46727"/>
          <ac:spMkLst>
            <pc:docMk/>
            <pc:sldMk cId="3184642303" sldId="2147478578"/>
            <ac:spMk id="334" creationId="{B05DBCD3-3600-A283-6A14-0F6E22B8CC39}"/>
          </ac:spMkLst>
        </pc:spChg>
        <pc:spChg chg="add del mod">
          <ac:chgData name="Steiner Andreas 6206 ED" userId="e6377c33-a923-4f14-8587-531c474c7b48" providerId="ADAL" clId="{6ECD27E6-B224-41CD-B4E0-E297462320DD}" dt="2023-11-24T08:42:21.255" v="46882"/>
          <ac:spMkLst>
            <pc:docMk/>
            <pc:sldMk cId="3184642303" sldId="2147478578"/>
            <ac:spMk id="335" creationId="{8B3DED2C-81FF-5953-810F-317D102BC046}"/>
          </ac:spMkLst>
        </pc:spChg>
        <pc:spChg chg="add del mod">
          <ac:chgData name="Steiner Andreas 6206 ED" userId="e6377c33-a923-4f14-8587-531c474c7b48" providerId="ADAL" clId="{6ECD27E6-B224-41CD-B4E0-E297462320DD}" dt="2023-11-24T08:42:23.904" v="47037"/>
          <ac:spMkLst>
            <pc:docMk/>
            <pc:sldMk cId="3184642303" sldId="2147478578"/>
            <ac:spMk id="336" creationId="{C79C66AE-835D-7DC2-D2D0-0F5C03DA8863}"/>
          </ac:spMkLst>
        </pc:spChg>
        <pc:spChg chg="add del mod">
          <ac:chgData name="Steiner Andreas 6206 ED" userId="e6377c33-a923-4f14-8587-531c474c7b48" providerId="ADAL" clId="{6ECD27E6-B224-41CD-B4E0-E297462320DD}" dt="2023-11-24T08:42:25.912" v="47192"/>
          <ac:spMkLst>
            <pc:docMk/>
            <pc:sldMk cId="3184642303" sldId="2147478578"/>
            <ac:spMk id="337" creationId="{94BD49C9-9A63-F003-0904-020F9D981C28}"/>
          </ac:spMkLst>
        </pc:spChg>
        <pc:spChg chg="add del mod">
          <ac:chgData name="Steiner Andreas 6206 ED" userId="e6377c33-a923-4f14-8587-531c474c7b48" providerId="ADAL" clId="{6ECD27E6-B224-41CD-B4E0-E297462320DD}" dt="2023-11-24T08:42:27.812" v="47347"/>
          <ac:spMkLst>
            <pc:docMk/>
            <pc:sldMk cId="3184642303" sldId="2147478578"/>
            <ac:spMk id="338" creationId="{F81E6320-CA19-185B-CF85-30162C886F79}"/>
          </ac:spMkLst>
        </pc:spChg>
        <pc:spChg chg="add del mod">
          <ac:chgData name="Steiner Andreas 6206 ED" userId="e6377c33-a923-4f14-8587-531c474c7b48" providerId="ADAL" clId="{6ECD27E6-B224-41CD-B4E0-E297462320DD}" dt="2023-11-24T08:42:29.573" v="47502"/>
          <ac:spMkLst>
            <pc:docMk/>
            <pc:sldMk cId="3184642303" sldId="2147478578"/>
            <ac:spMk id="339" creationId="{6228DA28-3770-A9B5-EF9C-FA195538624C}"/>
          </ac:spMkLst>
        </pc:spChg>
        <pc:spChg chg="add del mod">
          <ac:chgData name="Steiner Andreas 6206 ED" userId="e6377c33-a923-4f14-8587-531c474c7b48" providerId="ADAL" clId="{6ECD27E6-B224-41CD-B4E0-E297462320DD}" dt="2023-11-24T08:42:31.460" v="47657"/>
          <ac:spMkLst>
            <pc:docMk/>
            <pc:sldMk cId="3184642303" sldId="2147478578"/>
            <ac:spMk id="340" creationId="{77330043-44A2-0D22-53B7-A2288EC8251A}"/>
          </ac:spMkLst>
        </pc:spChg>
        <pc:spChg chg="add del mod">
          <ac:chgData name="Steiner Andreas 6206 ED" userId="e6377c33-a923-4f14-8587-531c474c7b48" providerId="ADAL" clId="{6ECD27E6-B224-41CD-B4E0-E297462320DD}" dt="2023-11-24T08:42:33.443" v="47812"/>
          <ac:spMkLst>
            <pc:docMk/>
            <pc:sldMk cId="3184642303" sldId="2147478578"/>
            <ac:spMk id="341" creationId="{B6DC44E8-E13A-3740-E7D3-5BC20D29030A}"/>
          </ac:spMkLst>
        </pc:spChg>
        <pc:spChg chg="add del mod">
          <ac:chgData name="Steiner Andreas 6206 ED" userId="e6377c33-a923-4f14-8587-531c474c7b48" providerId="ADAL" clId="{6ECD27E6-B224-41CD-B4E0-E297462320DD}" dt="2023-11-24T08:42:35.516" v="47967"/>
          <ac:spMkLst>
            <pc:docMk/>
            <pc:sldMk cId="3184642303" sldId="2147478578"/>
            <ac:spMk id="342" creationId="{384C01B2-EC88-025E-0523-6FCDF3F22019}"/>
          </ac:spMkLst>
        </pc:spChg>
        <pc:spChg chg="add del mod">
          <ac:chgData name="Steiner Andreas 6206 ED" userId="e6377c33-a923-4f14-8587-531c474c7b48" providerId="ADAL" clId="{6ECD27E6-B224-41CD-B4E0-E297462320DD}" dt="2023-11-24T08:42:37.405" v="48122"/>
          <ac:spMkLst>
            <pc:docMk/>
            <pc:sldMk cId="3184642303" sldId="2147478578"/>
            <ac:spMk id="343" creationId="{1F472BDE-EF66-6A6A-BCE9-86FB3681F993}"/>
          </ac:spMkLst>
        </pc:spChg>
        <pc:spChg chg="add del mod">
          <ac:chgData name="Steiner Andreas 6206 ED" userId="e6377c33-a923-4f14-8587-531c474c7b48" providerId="ADAL" clId="{6ECD27E6-B224-41CD-B4E0-E297462320DD}" dt="2023-11-24T08:42:39.269" v="48277"/>
          <ac:spMkLst>
            <pc:docMk/>
            <pc:sldMk cId="3184642303" sldId="2147478578"/>
            <ac:spMk id="344" creationId="{EC586422-9805-0BF3-FF7A-1B014DA5EE72}"/>
          </ac:spMkLst>
        </pc:spChg>
        <pc:spChg chg="add del mod">
          <ac:chgData name="Steiner Andreas 6206 ED" userId="e6377c33-a923-4f14-8587-531c474c7b48" providerId="ADAL" clId="{6ECD27E6-B224-41CD-B4E0-E297462320DD}" dt="2023-11-24T08:42:41.369" v="48432"/>
          <ac:spMkLst>
            <pc:docMk/>
            <pc:sldMk cId="3184642303" sldId="2147478578"/>
            <ac:spMk id="345" creationId="{86C52047-E47D-9A60-CB69-66587B085C2F}"/>
          </ac:spMkLst>
        </pc:spChg>
        <pc:spChg chg="add del mod">
          <ac:chgData name="Steiner Andreas 6206 ED" userId="e6377c33-a923-4f14-8587-531c474c7b48" providerId="ADAL" clId="{6ECD27E6-B224-41CD-B4E0-E297462320DD}" dt="2023-11-24T08:42:43.488" v="48587"/>
          <ac:spMkLst>
            <pc:docMk/>
            <pc:sldMk cId="3184642303" sldId="2147478578"/>
            <ac:spMk id="346" creationId="{114C703E-A021-C5CD-7FFA-210C4D0A7A33}"/>
          </ac:spMkLst>
        </pc:spChg>
        <pc:spChg chg="add del mod">
          <ac:chgData name="Steiner Andreas 6206 ED" userId="e6377c33-a923-4f14-8587-531c474c7b48" providerId="ADAL" clId="{6ECD27E6-B224-41CD-B4E0-E297462320DD}" dt="2023-11-24T08:42:45.504" v="48742"/>
          <ac:spMkLst>
            <pc:docMk/>
            <pc:sldMk cId="3184642303" sldId="2147478578"/>
            <ac:spMk id="347" creationId="{47484679-A9ED-D300-CCAB-9315B69C1AD9}"/>
          </ac:spMkLst>
        </pc:spChg>
        <pc:spChg chg="add del mod">
          <ac:chgData name="Steiner Andreas 6206 ED" userId="e6377c33-a923-4f14-8587-531c474c7b48" providerId="ADAL" clId="{6ECD27E6-B224-41CD-B4E0-E297462320DD}" dt="2023-11-24T08:42:47.407" v="48897"/>
          <ac:spMkLst>
            <pc:docMk/>
            <pc:sldMk cId="3184642303" sldId="2147478578"/>
            <ac:spMk id="348" creationId="{A6E25D0D-EA85-6E7D-A4E6-BCA75E927A45}"/>
          </ac:spMkLst>
        </pc:spChg>
        <pc:spChg chg="add del mod">
          <ac:chgData name="Steiner Andreas 6206 ED" userId="e6377c33-a923-4f14-8587-531c474c7b48" providerId="ADAL" clId="{6ECD27E6-B224-41CD-B4E0-E297462320DD}" dt="2023-11-24T08:42:49.223" v="49052"/>
          <ac:spMkLst>
            <pc:docMk/>
            <pc:sldMk cId="3184642303" sldId="2147478578"/>
            <ac:spMk id="349" creationId="{CCA3674D-8BEE-99B5-E616-E203C15242B1}"/>
          </ac:spMkLst>
        </pc:spChg>
        <pc:spChg chg="add del mod">
          <ac:chgData name="Steiner Andreas 6206 ED" userId="e6377c33-a923-4f14-8587-531c474c7b48" providerId="ADAL" clId="{6ECD27E6-B224-41CD-B4E0-E297462320DD}" dt="2023-11-24T08:42:51.091" v="49207"/>
          <ac:spMkLst>
            <pc:docMk/>
            <pc:sldMk cId="3184642303" sldId="2147478578"/>
            <ac:spMk id="350" creationId="{A62C9816-1F63-8109-CB1C-52787D055050}"/>
          </ac:spMkLst>
        </pc:spChg>
        <pc:spChg chg="add del mod">
          <ac:chgData name="Steiner Andreas 6206 ED" userId="e6377c33-a923-4f14-8587-531c474c7b48" providerId="ADAL" clId="{6ECD27E6-B224-41CD-B4E0-E297462320DD}" dt="2023-11-24T08:42:53.172" v="49362"/>
          <ac:spMkLst>
            <pc:docMk/>
            <pc:sldMk cId="3184642303" sldId="2147478578"/>
            <ac:spMk id="351" creationId="{9616BD60-C32E-EF48-DBFB-CD93FAF5BB2E}"/>
          </ac:spMkLst>
        </pc:spChg>
        <pc:spChg chg="add del mod">
          <ac:chgData name="Steiner Andreas 6206 ED" userId="e6377c33-a923-4f14-8587-531c474c7b48" providerId="ADAL" clId="{6ECD27E6-B224-41CD-B4E0-E297462320DD}" dt="2023-11-24T08:42:55.762" v="49517"/>
          <ac:spMkLst>
            <pc:docMk/>
            <pc:sldMk cId="3184642303" sldId="2147478578"/>
            <ac:spMk id="352" creationId="{9FC15C44-6E90-7767-869D-C44DDEB7167F}"/>
          </ac:spMkLst>
        </pc:spChg>
        <pc:spChg chg="add del mod">
          <ac:chgData name="Steiner Andreas 6206 ED" userId="e6377c33-a923-4f14-8587-531c474c7b48" providerId="ADAL" clId="{6ECD27E6-B224-41CD-B4E0-E297462320DD}" dt="2023-11-24T08:42:57.880" v="49672"/>
          <ac:spMkLst>
            <pc:docMk/>
            <pc:sldMk cId="3184642303" sldId="2147478578"/>
            <ac:spMk id="353" creationId="{2032AF3D-B940-5BFB-A577-274DB4CF2840}"/>
          </ac:spMkLst>
        </pc:spChg>
        <pc:spChg chg="add del mod">
          <ac:chgData name="Steiner Andreas 6206 ED" userId="e6377c33-a923-4f14-8587-531c474c7b48" providerId="ADAL" clId="{6ECD27E6-B224-41CD-B4E0-E297462320DD}" dt="2023-11-24T08:42:59.810" v="49827"/>
          <ac:spMkLst>
            <pc:docMk/>
            <pc:sldMk cId="3184642303" sldId="2147478578"/>
            <ac:spMk id="354" creationId="{7AAF2283-F2AC-96F9-C5C2-9D5A14E95540}"/>
          </ac:spMkLst>
        </pc:spChg>
        <pc:spChg chg="add del mod">
          <ac:chgData name="Steiner Andreas 6206 ED" userId="e6377c33-a923-4f14-8587-531c474c7b48" providerId="ADAL" clId="{6ECD27E6-B224-41CD-B4E0-E297462320DD}" dt="2023-11-24T08:43:01.805" v="49982"/>
          <ac:spMkLst>
            <pc:docMk/>
            <pc:sldMk cId="3184642303" sldId="2147478578"/>
            <ac:spMk id="355" creationId="{216F66C2-1CD0-943A-8D40-E82EAC5E51D0}"/>
          </ac:spMkLst>
        </pc:spChg>
        <pc:spChg chg="add del mod">
          <ac:chgData name="Steiner Andreas 6206 ED" userId="e6377c33-a923-4f14-8587-531c474c7b48" providerId="ADAL" clId="{6ECD27E6-B224-41CD-B4E0-E297462320DD}" dt="2023-11-24T08:43:03.800" v="50137"/>
          <ac:spMkLst>
            <pc:docMk/>
            <pc:sldMk cId="3184642303" sldId="2147478578"/>
            <ac:spMk id="356" creationId="{212743F0-99E5-9D48-E39C-D12D4A6AFED3}"/>
          </ac:spMkLst>
        </pc:spChg>
        <pc:spChg chg="add del mod">
          <ac:chgData name="Steiner Andreas 6206 ED" userId="e6377c33-a923-4f14-8587-531c474c7b48" providerId="ADAL" clId="{6ECD27E6-B224-41CD-B4E0-E297462320DD}" dt="2023-11-24T08:43:05.665" v="50292"/>
          <ac:spMkLst>
            <pc:docMk/>
            <pc:sldMk cId="3184642303" sldId="2147478578"/>
            <ac:spMk id="357" creationId="{181072FE-9FAB-9E66-3BFF-F33D0C58BFFF}"/>
          </ac:spMkLst>
        </pc:spChg>
        <pc:spChg chg="add del mod">
          <ac:chgData name="Steiner Andreas 6206 ED" userId="e6377c33-a923-4f14-8587-531c474c7b48" providerId="ADAL" clId="{6ECD27E6-B224-41CD-B4E0-E297462320DD}" dt="2023-11-24T08:43:07.844" v="50447"/>
          <ac:spMkLst>
            <pc:docMk/>
            <pc:sldMk cId="3184642303" sldId="2147478578"/>
            <ac:spMk id="358" creationId="{312D1CAE-CD91-DC67-20EF-A4AC7DBC3EDD}"/>
          </ac:spMkLst>
        </pc:spChg>
        <pc:spChg chg="add del mod">
          <ac:chgData name="Steiner Andreas 6206 ED" userId="e6377c33-a923-4f14-8587-531c474c7b48" providerId="ADAL" clId="{6ECD27E6-B224-41CD-B4E0-E297462320DD}" dt="2023-11-24T08:43:09.953" v="50602"/>
          <ac:spMkLst>
            <pc:docMk/>
            <pc:sldMk cId="3184642303" sldId="2147478578"/>
            <ac:spMk id="359" creationId="{B53AFCFE-65C1-662D-B145-10F6B30FEDF5}"/>
          </ac:spMkLst>
        </pc:spChg>
        <pc:spChg chg="add del mod">
          <ac:chgData name="Steiner Andreas 6206 ED" userId="e6377c33-a923-4f14-8587-531c474c7b48" providerId="ADAL" clId="{6ECD27E6-B224-41CD-B4E0-E297462320DD}" dt="2023-11-24T08:43:11.780" v="50757"/>
          <ac:spMkLst>
            <pc:docMk/>
            <pc:sldMk cId="3184642303" sldId="2147478578"/>
            <ac:spMk id="360" creationId="{A182F8FF-05CD-CA11-175B-E528177FDED8}"/>
          </ac:spMkLst>
        </pc:spChg>
        <pc:spChg chg="add del mod">
          <ac:chgData name="Steiner Andreas 6206 ED" userId="e6377c33-a923-4f14-8587-531c474c7b48" providerId="ADAL" clId="{6ECD27E6-B224-41CD-B4E0-E297462320DD}" dt="2023-11-24T08:43:13.838" v="50912"/>
          <ac:spMkLst>
            <pc:docMk/>
            <pc:sldMk cId="3184642303" sldId="2147478578"/>
            <ac:spMk id="361" creationId="{7F4345B6-F0AA-5F4B-744C-B4216D2DA0F9}"/>
          </ac:spMkLst>
        </pc:spChg>
        <pc:spChg chg="add del mod">
          <ac:chgData name="Steiner Andreas 6206 ED" userId="e6377c33-a923-4f14-8587-531c474c7b48" providerId="ADAL" clId="{6ECD27E6-B224-41CD-B4E0-E297462320DD}" dt="2023-11-24T08:43:15.799" v="51067"/>
          <ac:spMkLst>
            <pc:docMk/>
            <pc:sldMk cId="3184642303" sldId="2147478578"/>
            <ac:spMk id="362" creationId="{F1DB9C4C-8EF0-3D30-B66E-EF31A371600C}"/>
          </ac:spMkLst>
        </pc:spChg>
        <pc:spChg chg="add del mod">
          <ac:chgData name="Steiner Andreas 6206 ED" userId="e6377c33-a923-4f14-8587-531c474c7b48" providerId="ADAL" clId="{6ECD27E6-B224-41CD-B4E0-E297462320DD}" dt="2023-11-24T08:43:17.897" v="51222"/>
          <ac:spMkLst>
            <pc:docMk/>
            <pc:sldMk cId="3184642303" sldId="2147478578"/>
            <ac:spMk id="363" creationId="{82186A1F-7FE6-D6E6-1ABD-6867FE56871C}"/>
          </ac:spMkLst>
        </pc:spChg>
        <pc:spChg chg="add del mod">
          <ac:chgData name="Steiner Andreas 6206 ED" userId="e6377c33-a923-4f14-8587-531c474c7b48" providerId="ADAL" clId="{6ECD27E6-B224-41CD-B4E0-E297462320DD}" dt="2023-11-24T08:43:19.879" v="51377"/>
          <ac:spMkLst>
            <pc:docMk/>
            <pc:sldMk cId="3184642303" sldId="2147478578"/>
            <ac:spMk id="364" creationId="{4F55A9C7-3D83-E92D-A0B4-50449524428B}"/>
          </ac:spMkLst>
        </pc:spChg>
        <pc:spChg chg="add del mod">
          <ac:chgData name="Steiner Andreas 6206 ED" userId="e6377c33-a923-4f14-8587-531c474c7b48" providerId="ADAL" clId="{6ECD27E6-B224-41CD-B4E0-E297462320DD}" dt="2023-11-24T08:43:21.787" v="51532"/>
          <ac:spMkLst>
            <pc:docMk/>
            <pc:sldMk cId="3184642303" sldId="2147478578"/>
            <ac:spMk id="365" creationId="{74A7253D-E661-413B-0B9F-06F33EBBCD36}"/>
          </ac:spMkLst>
        </pc:spChg>
        <pc:spChg chg="add del mod">
          <ac:chgData name="Steiner Andreas 6206 ED" userId="e6377c33-a923-4f14-8587-531c474c7b48" providerId="ADAL" clId="{6ECD27E6-B224-41CD-B4E0-E297462320DD}" dt="2023-11-24T08:43:23.717" v="51687"/>
          <ac:spMkLst>
            <pc:docMk/>
            <pc:sldMk cId="3184642303" sldId="2147478578"/>
            <ac:spMk id="366" creationId="{17C6258B-0DB7-2714-918D-6640CC109C25}"/>
          </ac:spMkLst>
        </pc:spChg>
        <pc:spChg chg="add del mod">
          <ac:chgData name="Steiner Andreas 6206 ED" userId="e6377c33-a923-4f14-8587-531c474c7b48" providerId="ADAL" clId="{6ECD27E6-B224-41CD-B4E0-E297462320DD}" dt="2023-11-24T08:43:25.617" v="51842"/>
          <ac:spMkLst>
            <pc:docMk/>
            <pc:sldMk cId="3184642303" sldId="2147478578"/>
            <ac:spMk id="367" creationId="{A105E629-E376-6D73-42FC-5D07E48ABD4E}"/>
          </ac:spMkLst>
        </pc:spChg>
        <pc:spChg chg="add del mod">
          <ac:chgData name="Steiner Andreas 6206 ED" userId="e6377c33-a923-4f14-8587-531c474c7b48" providerId="ADAL" clId="{6ECD27E6-B224-41CD-B4E0-E297462320DD}" dt="2023-11-24T08:43:27.433" v="51997"/>
          <ac:spMkLst>
            <pc:docMk/>
            <pc:sldMk cId="3184642303" sldId="2147478578"/>
            <ac:spMk id="368" creationId="{C8B5CDF1-B261-FDD0-570C-3A0ADCA11943}"/>
          </ac:spMkLst>
        </pc:spChg>
        <pc:spChg chg="add del mod">
          <ac:chgData name="Steiner Andreas 6206 ED" userId="e6377c33-a923-4f14-8587-531c474c7b48" providerId="ADAL" clId="{6ECD27E6-B224-41CD-B4E0-E297462320DD}" dt="2023-11-24T08:43:29.254" v="52152"/>
          <ac:spMkLst>
            <pc:docMk/>
            <pc:sldMk cId="3184642303" sldId="2147478578"/>
            <ac:spMk id="369" creationId="{B88FE709-00C8-C8DC-BA64-E55C12836783}"/>
          </ac:spMkLst>
        </pc:spChg>
        <pc:spChg chg="add del mod">
          <ac:chgData name="Steiner Andreas 6206 ED" userId="e6377c33-a923-4f14-8587-531c474c7b48" providerId="ADAL" clId="{6ECD27E6-B224-41CD-B4E0-E297462320DD}" dt="2023-11-24T08:43:31.857" v="52307"/>
          <ac:spMkLst>
            <pc:docMk/>
            <pc:sldMk cId="3184642303" sldId="2147478578"/>
            <ac:spMk id="370" creationId="{07CD9561-AA9A-6D2F-9776-B05F507CD057}"/>
          </ac:spMkLst>
        </pc:spChg>
        <pc:spChg chg="add del mod">
          <ac:chgData name="Steiner Andreas 6206 ED" userId="e6377c33-a923-4f14-8587-531c474c7b48" providerId="ADAL" clId="{6ECD27E6-B224-41CD-B4E0-E297462320DD}" dt="2023-11-24T08:43:34.426" v="52462"/>
          <ac:spMkLst>
            <pc:docMk/>
            <pc:sldMk cId="3184642303" sldId="2147478578"/>
            <ac:spMk id="371" creationId="{B43889AD-9C46-77E5-7E3E-1CDB1285DE8F}"/>
          </ac:spMkLst>
        </pc:spChg>
        <pc:spChg chg="add del mod">
          <ac:chgData name="Steiner Andreas 6206 ED" userId="e6377c33-a923-4f14-8587-531c474c7b48" providerId="ADAL" clId="{6ECD27E6-B224-41CD-B4E0-E297462320DD}" dt="2023-11-24T08:43:36.518" v="52617"/>
          <ac:spMkLst>
            <pc:docMk/>
            <pc:sldMk cId="3184642303" sldId="2147478578"/>
            <ac:spMk id="372" creationId="{9C6A6BB6-FECB-1617-D811-0FA9282CEF15}"/>
          </ac:spMkLst>
        </pc:spChg>
        <pc:spChg chg="add del mod">
          <ac:chgData name="Steiner Andreas 6206 ED" userId="e6377c33-a923-4f14-8587-531c474c7b48" providerId="ADAL" clId="{6ECD27E6-B224-41CD-B4E0-E297462320DD}" dt="2023-11-24T08:43:38.600" v="52772"/>
          <ac:spMkLst>
            <pc:docMk/>
            <pc:sldMk cId="3184642303" sldId="2147478578"/>
            <ac:spMk id="373" creationId="{8FE10348-94C7-2B1C-ABBA-A1AF5786F338}"/>
          </ac:spMkLst>
        </pc:spChg>
        <pc:spChg chg="add del mod">
          <ac:chgData name="Steiner Andreas 6206 ED" userId="e6377c33-a923-4f14-8587-531c474c7b48" providerId="ADAL" clId="{6ECD27E6-B224-41CD-B4E0-E297462320DD}" dt="2023-11-24T08:43:40.749" v="52927"/>
          <ac:spMkLst>
            <pc:docMk/>
            <pc:sldMk cId="3184642303" sldId="2147478578"/>
            <ac:spMk id="374" creationId="{EA88F8C2-50C9-97D2-2E4F-22B214D2588D}"/>
          </ac:spMkLst>
        </pc:spChg>
        <pc:spChg chg="add del mod">
          <ac:chgData name="Steiner Andreas 6206 ED" userId="e6377c33-a923-4f14-8587-531c474c7b48" providerId="ADAL" clId="{6ECD27E6-B224-41CD-B4E0-E297462320DD}" dt="2023-11-24T08:43:42.735" v="53082"/>
          <ac:spMkLst>
            <pc:docMk/>
            <pc:sldMk cId="3184642303" sldId="2147478578"/>
            <ac:spMk id="375" creationId="{336107FC-3125-415D-8DF2-E09F3F975877}"/>
          </ac:spMkLst>
        </pc:spChg>
        <pc:spChg chg="add del mod">
          <ac:chgData name="Steiner Andreas 6206 ED" userId="e6377c33-a923-4f14-8587-531c474c7b48" providerId="ADAL" clId="{6ECD27E6-B224-41CD-B4E0-E297462320DD}" dt="2023-11-24T08:43:44.563" v="53237"/>
          <ac:spMkLst>
            <pc:docMk/>
            <pc:sldMk cId="3184642303" sldId="2147478578"/>
            <ac:spMk id="376" creationId="{9EEFDE3E-9CA6-9C29-48AD-69F4B7E95E48}"/>
          </ac:spMkLst>
        </pc:spChg>
        <pc:spChg chg="add del mod">
          <ac:chgData name="Steiner Andreas 6206 ED" userId="e6377c33-a923-4f14-8587-531c474c7b48" providerId="ADAL" clId="{6ECD27E6-B224-41CD-B4E0-E297462320DD}" dt="2023-11-24T08:43:46.340" v="53392"/>
          <ac:spMkLst>
            <pc:docMk/>
            <pc:sldMk cId="3184642303" sldId="2147478578"/>
            <ac:spMk id="377" creationId="{B4A10B50-FD03-4538-0143-10F259A709BD}"/>
          </ac:spMkLst>
        </pc:spChg>
        <pc:spChg chg="add del mod">
          <ac:chgData name="Steiner Andreas 6206 ED" userId="e6377c33-a923-4f14-8587-531c474c7b48" providerId="ADAL" clId="{6ECD27E6-B224-41CD-B4E0-E297462320DD}" dt="2023-11-24T08:43:48.285" v="53547"/>
          <ac:spMkLst>
            <pc:docMk/>
            <pc:sldMk cId="3184642303" sldId="2147478578"/>
            <ac:spMk id="378" creationId="{676BA7E6-74F6-108F-BDB1-E6B41B7EC3C9}"/>
          </ac:spMkLst>
        </pc:spChg>
        <pc:spChg chg="add del mod">
          <ac:chgData name="Steiner Andreas 6206 ED" userId="e6377c33-a923-4f14-8587-531c474c7b48" providerId="ADAL" clId="{6ECD27E6-B224-41CD-B4E0-E297462320DD}" dt="2023-11-24T08:43:50.254" v="53702"/>
          <ac:spMkLst>
            <pc:docMk/>
            <pc:sldMk cId="3184642303" sldId="2147478578"/>
            <ac:spMk id="379" creationId="{3ADE2018-9EEE-BE49-EC7E-F7D6A6C25194}"/>
          </ac:spMkLst>
        </pc:spChg>
        <pc:spChg chg="add del mod">
          <ac:chgData name="Steiner Andreas 6206 ED" userId="e6377c33-a923-4f14-8587-531c474c7b48" providerId="ADAL" clId="{6ECD27E6-B224-41CD-B4E0-E297462320DD}" dt="2023-11-24T08:43:52.323" v="53857"/>
          <ac:spMkLst>
            <pc:docMk/>
            <pc:sldMk cId="3184642303" sldId="2147478578"/>
            <ac:spMk id="380" creationId="{B8B4C171-7B1E-85E0-8F19-70FFA22C6330}"/>
          </ac:spMkLst>
        </pc:spChg>
        <pc:spChg chg="add del mod">
          <ac:chgData name="Steiner Andreas 6206 ED" userId="e6377c33-a923-4f14-8587-531c474c7b48" providerId="ADAL" clId="{6ECD27E6-B224-41CD-B4E0-E297462320DD}" dt="2023-11-24T08:43:55.046" v="54012"/>
          <ac:spMkLst>
            <pc:docMk/>
            <pc:sldMk cId="3184642303" sldId="2147478578"/>
            <ac:spMk id="381" creationId="{5C7696D2-0EB4-57D6-5097-E044AA0E0462}"/>
          </ac:spMkLst>
        </pc:spChg>
        <pc:spChg chg="add del mod">
          <ac:chgData name="Steiner Andreas 6206 ED" userId="e6377c33-a923-4f14-8587-531c474c7b48" providerId="ADAL" clId="{6ECD27E6-B224-41CD-B4E0-E297462320DD}" dt="2023-11-24T08:43:57.109" v="54167"/>
          <ac:spMkLst>
            <pc:docMk/>
            <pc:sldMk cId="3184642303" sldId="2147478578"/>
            <ac:spMk id="382" creationId="{CBA20BF6-59A1-9AE5-92B1-50FDD1C23CD6}"/>
          </ac:spMkLst>
        </pc:spChg>
        <pc:spChg chg="add del mod">
          <ac:chgData name="Steiner Andreas 6206 ED" userId="e6377c33-a923-4f14-8587-531c474c7b48" providerId="ADAL" clId="{6ECD27E6-B224-41CD-B4E0-E297462320DD}" dt="2023-11-24T08:43:59.245" v="54322"/>
          <ac:spMkLst>
            <pc:docMk/>
            <pc:sldMk cId="3184642303" sldId="2147478578"/>
            <ac:spMk id="383" creationId="{6DDAFF9E-1BE1-44B6-1E0C-7052F337FB17}"/>
          </ac:spMkLst>
        </pc:spChg>
        <pc:spChg chg="add del mod">
          <ac:chgData name="Steiner Andreas 6206 ED" userId="e6377c33-a923-4f14-8587-531c474c7b48" providerId="ADAL" clId="{6ECD27E6-B224-41CD-B4E0-E297462320DD}" dt="2023-11-24T08:44:01.547" v="54477"/>
          <ac:spMkLst>
            <pc:docMk/>
            <pc:sldMk cId="3184642303" sldId="2147478578"/>
            <ac:spMk id="384" creationId="{8B133F1D-9B27-A86C-BF60-647698A4AFA5}"/>
          </ac:spMkLst>
        </pc:spChg>
        <pc:spChg chg="add del mod">
          <ac:chgData name="Steiner Andreas 6206 ED" userId="e6377c33-a923-4f14-8587-531c474c7b48" providerId="ADAL" clId="{6ECD27E6-B224-41CD-B4E0-E297462320DD}" dt="2023-11-24T08:44:03.664" v="54632"/>
          <ac:spMkLst>
            <pc:docMk/>
            <pc:sldMk cId="3184642303" sldId="2147478578"/>
            <ac:spMk id="385" creationId="{35C2AF34-4332-DD27-B057-664AE5BA9CC4}"/>
          </ac:spMkLst>
        </pc:spChg>
        <pc:spChg chg="add del mod">
          <ac:chgData name="Steiner Andreas 6206 ED" userId="e6377c33-a923-4f14-8587-531c474c7b48" providerId="ADAL" clId="{6ECD27E6-B224-41CD-B4E0-E297462320DD}" dt="2023-11-24T08:44:05.776" v="54787"/>
          <ac:spMkLst>
            <pc:docMk/>
            <pc:sldMk cId="3184642303" sldId="2147478578"/>
            <ac:spMk id="386" creationId="{502011AF-B95D-92B3-62AF-2DBCE1DE04B0}"/>
          </ac:spMkLst>
        </pc:spChg>
        <pc:spChg chg="add del mod">
          <ac:chgData name="Steiner Andreas 6206 ED" userId="e6377c33-a923-4f14-8587-531c474c7b48" providerId="ADAL" clId="{6ECD27E6-B224-41CD-B4E0-E297462320DD}" dt="2023-11-24T08:44:07.767" v="54942"/>
          <ac:spMkLst>
            <pc:docMk/>
            <pc:sldMk cId="3184642303" sldId="2147478578"/>
            <ac:spMk id="387" creationId="{4FA76B55-DA7F-BD97-DCDD-8315C83526AC}"/>
          </ac:spMkLst>
        </pc:spChg>
        <pc:spChg chg="add del mod">
          <ac:chgData name="Steiner Andreas 6206 ED" userId="e6377c33-a923-4f14-8587-531c474c7b48" providerId="ADAL" clId="{6ECD27E6-B224-41CD-B4E0-E297462320DD}" dt="2023-11-24T08:44:09.752" v="55097"/>
          <ac:spMkLst>
            <pc:docMk/>
            <pc:sldMk cId="3184642303" sldId="2147478578"/>
            <ac:spMk id="388" creationId="{1BE5F49B-308F-E655-735D-465FD87789C4}"/>
          </ac:spMkLst>
        </pc:spChg>
        <pc:spChg chg="add del mod">
          <ac:chgData name="Steiner Andreas 6206 ED" userId="e6377c33-a923-4f14-8587-531c474c7b48" providerId="ADAL" clId="{6ECD27E6-B224-41CD-B4E0-E297462320DD}" dt="2023-11-24T08:44:11.722" v="55252"/>
          <ac:spMkLst>
            <pc:docMk/>
            <pc:sldMk cId="3184642303" sldId="2147478578"/>
            <ac:spMk id="389" creationId="{95E10101-BC2B-FF26-D4B3-B3F90DE75CC1}"/>
          </ac:spMkLst>
        </pc:spChg>
        <pc:spChg chg="add del mod">
          <ac:chgData name="Steiner Andreas 6206 ED" userId="e6377c33-a923-4f14-8587-531c474c7b48" providerId="ADAL" clId="{6ECD27E6-B224-41CD-B4E0-E297462320DD}" dt="2023-11-24T08:44:13.901" v="55407"/>
          <ac:spMkLst>
            <pc:docMk/>
            <pc:sldMk cId="3184642303" sldId="2147478578"/>
            <ac:spMk id="390" creationId="{23EFBA23-D580-34EA-A2D5-9110D7010103}"/>
          </ac:spMkLst>
        </pc:spChg>
        <pc:spChg chg="add del mod">
          <ac:chgData name="Steiner Andreas 6206 ED" userId="e6377c33-a923-4f14-8587-531c474c7b48" providerId="ADAL" clId="{6ECD27E6-B224-41CD-B4E0-E297462320DD}" dt="2023-11-24T08:44:15.979" v="55562"/>
          <ac:spMkLst>
            <pc:docMk/>
            <pc:sldMk cId="3184642303" sldId="2147478578"/>
            <ac:spMk id="391" creationId="{C577E2A5-647A-0FAB-5BA4-B1CF59FF75E6}"/>
          </ac:spMkLst>
        </pc:spChg>
        <pc:spChg chg="add del mod">
          <ac:chgData name="Steiner Andreas 6206 ED" userId="e6377c33-a923-4f14-8587-531c474c7b48" providerId="ADAL" clId="{6ECD27E6-B224-41CD-B4E0-E297462320DD}" dt="2023-11-24T08:44:18.425" v="55717"/>
          <ac:spMkLst>
            <pc:docMk/>
            <pc:sldMk cId="3184642303" sldId="2147478578"/>
            <ac:spMk id="392" creationId="{5E3BB6E0-1095-0329-8AF6-3EB05D1CE140}"/>
          </ac:spMkLst>
        </pc:spChg>
        <pc:spChg chg="add del mod">
          <ac:chgData name="Steiner Andreas 6206 ED" userId="e6377c33-a923-4f14-8587-531c474c7b48" providerId="ADAL" clId="{6ECD27E6-B224-41CD-B4E0-E297462320DD}" dt="2023-11-24T08:44:21.248" v="55872"/>
          <ac:spMkLst>
            <pc:docMk/>
            <pc:sldMk cId="3184642303" sldId="2147478578"/>
            <ac:spMk id="393" creationId="{FD40B598-A02C-D784-4F63-E49F71AD821A}"/>
          </ac:spMkLst>
        </pc:spChg>
        <pc:spChg chg="add del mod">
          <ac:chgData name="Steiner Andreas 6206 ED" userId="e6377c33-a923-4f14-8587-531c474c7b48" providerId="ADAL" clId="{6ECD27E6-B224-41CD-B4E0-E297462320DD}" dt="2023-11-24T08:44:23.693" v="56027"/>
          <ac:spMkLst>
            <pc:docMk/>
            <pc:sldMk cId="3184642303" sldId="2147478578"/>
            <ac:spMk id="394" creationId="{B102DEBA-FA52-D8E6-11B8-068236DA2518}"/>
          </ac:spMkLst>
        </pc:spChg>
        <pc:spChg chg="add del mod">
          <ac:chgData name="Steiner Andreas 6206 ED" userId="e6377c33-a923-4f14-8587-531c474c7b48" providerId="ADAL" clId="{6ECD27E6-B224-41CD-B4E0-E297462320DD}" dt="2023-11-24T08:44:25.618" v="56182"/>
          <ac:spMkLst>
            <pc:docMk/>
            <pc:sldMk cId="3184642303" sldId="2147478578"/>
            <ac:spMk id="395" creationId="{190B3A51-5EE5-F2BE-1ED2-0ECD505F58CF}"/>
          </ac:spMkLst>
        </pc:spChg>
        <pc:spChg chg="add del mod">
          <ac:chgData name="Steiner Andreas 6206 ED" userId="e6377c33-a923-4f14-8587-531c474c7b48" providerId="ADAL" clId="{6ECD27E6-B224-41CD-B4E0-E297462320DD}" dt="2023-11-24T08:44:27.813" v="56337"/>
          <ac:spMkLst>
            <pc:docMk/>
            <pc:sldMk cId="3184642303" sldId="2147478578"/>
            <ac:spMk id="396" creationId="{BBEC9650-92AB-BEAC-F066-83167AACE2B8}"/>
          </ac:spMkLst>
        </pc:spChg>
        <pc:spChg chg="add del mod">
          <ac:chgData name="Steiner Andreas 6206 ED" userId="e6377c33-a923-4f14-8587-531c474c7b48" providerId="ADAL" clId="{6ECD27E6-B224-41CD-B4E0-E297462320DD}" dt="2023-11-24T08:44:29.826" v="56492"/>
          <ac:spMkLst>
            <pc:docMk/>
            <pc:sldMk cId="3184642303" sldId="2147478578"/>
            <ac:spMk id="397" creationId="{9207F019-1E7D-3E3C-0D9F-578051FA99EB}"/>
          </ac:spMkLst>
        </pc:spChg>
        <pc:spChg chg="add del mod">
          <ac:chgData name="Steiner Andreas 6206 ED" userId="e6377c33-a923-4f14-8587-531c474c7b48" providerId="ADAL" clId="{6ECD27E6-B224-41CD-B4E0-E297462320DD}" dt="2023-11-24T08:44:31.802" v="56647"/>
          <ac:spMkLst>
            <pc:docMk/>
            <pc:sldMk cId="3184642303" sldId="2147478578"/>
            <ac:spMk id="398" creationId="{0AB7CBD2-0F42-A9DD-982E-45F7130F8FFA}"/>
          </ac:spMkLst>
        </pc:spChg>
        <pc:spChg chg="add del mod">
          <ac:chgData name="Steiner Andreas 6206 ED" userId="e6377c33-a923-4f14-8587-531c474c7b48" providerId="ADAL" clId="{6ECD27E6-B224-41CD-B4E0-E297462320DD}" dt="2023-11-24T08:44:33.754" v="56802"/>
          <ac:spMkLst>
            <pc:docMk/>
            <pc:sldMk cId="3184642303" sldId="2147478578"/>
            <ac:spMk id="399" creationId="{DB9AA197-FF05-2724-F61D-12D9E5B03102}"/>
          </ac:spMkLst>
        </pc:spChg>
        <pc:spChg chg="add del mod">
          <ac:chgData name="Steiner Andreas 6206 ED" userId="e6377c33-a923-4f14-8587-531c474c7b48" providerId="ADAL" clId="{6ECD27E6-B224-41CD-B4E0-E297462320DD}" dt="2023-11-24T08:44:36.092" v="56957"/>
          <ac:spMkLst>
            <pc:docMk/>
            <pc:sldMk cId="3184642303" sldId="2147478578"/>
            <ac:spMk id="400" creationId="{39EFD6BD-4AD3-863D-9447-501B79DDC65E}"/>
          </ac:spMkLst>
        </pc:spChg>
        <pc:spChg chg="add del mod">
          <ac:chgData name="Steiner Andreas 6206 ED" userId="e6377c33-a923-4f14-8587-531c474c7b48" providerId="ADAL" clId="{6ECD27E6-B224-41CD-B4E0-E297462320DD}" dt="2023-11-24T08:44:38.727" v="57112"/>
          <ac:spMkLst>
            <pc:docMk/>
            <pc:sldMk cId="3184642303" sldId="2147478578"/>
            <ac:spMk id="401" creationId="{046578E4-9B22-0BB7-3862-EBFC159046E0}"/>
          </ac:spMkLst>
        </pc:spChg>
        <pc:spChg chg="add del mod">
          <ac:chgData name="Steiner Andreas 6206 ED" userId="e6377c33-a923-4f14-8587-531c474c7b48" providerId="ADAL" clId="{6ECD27E6-B224-41CD-B4E0-E297462320DD}" dt="2023-11-24T08:44:41.053" v="57267"/>
          <ac:spMkLst>
            <pc:docMk/>
            <pc:sldMk cId="3184642303" sldId="2147478578"/>
            <ac:spMk id="402" creationId="{5E5E1E5D-215B-A6F4-FB2A-15E3897AC5F5}"/>
          </ac:spMkLst>
        </pc:spChg>
        <pc:spChg chg="add del mod">
          <ac:chgData name="Steiner Andreas 6206 ED" userId="e6377c33-a923-4f14-8587-531c474c7b48" providerId="ADAL" clId="{6ECD27E6-B224-41CD-B4E0-E297462320DD}" dt="2023-11-24T08:44:43.285" v="57422"/>
          <ac:spMkLst>
            <pc:docMk/>
            <pc:sldMk cId="3184642303" sldId="2147478578"/>
            <ac:spMk id="403" creationId="{B43D0C55-4B11-8C8B-E1D1-FEBE39AD235F}"/>
          </ac:spMkLst>
        </pc:spChg>
        <pc:spChg chg="add del mod">
          <ac:chgData name="Steiner Andreas 6206 ED" userId="e6377c33-a923-4f14-8587-531c474c7b48" providerId="ADAL" clId="{6ECD27E6-B224-41CD-B4E0-E297462320DD}" dt="2023-11-24T08:44:45.435" v="57577"/>
          <ac:spMkLst>
            <pc:docMk/>
            <pc:sldMk cId="3184642303" sldId="2147478578"/>
            <ac:spMk id="404" creationId="{E109F2F4-7749-EE73-4225-14B04B90DA9A}"/>
          </ac:spMkLst>
        </pc:spChg>
        <pc:spChg chg="add del mod">
          <ac:chgData name="Steiner Andreas 6206 ED" userId="e6377c33-a923-4f14-8587-531c474c7b48" providerId="ADAL" clId="{6ECD27E6-B224-41CD-B4E0-E297462320DD}" dt="2023-11-24T08:44:48.114" v="57732"/>
          <ac:spMkLst>
            <pc:docMk/>
            <pc:sldMk cId="3184642303" sldId="2147478578"/>
            <ac:spMk id="405" creationId="{7BA51742-9AD1-2F2B-E582-FDF003E4E1FE}"/>
          </ac:spMkLst>
        </pc:spChg>
        <pc:spChg chg="add del mod">
          <ac:chgData name="Steiner Andreas 6206 ED" userId="e6377c33-a923-4f14-8587-531c474c7b48" providerId="ADAL" clId="{6ECD27E6-B224-41CD-B4E0-E297462320DD}" dt="2023-11-24T08:44:50.449" v="57887"/>
          <ac:spMkLst>
            <pc:docMk/>
            <pc:sldMk cId="3184642303" sldId="2147478578"/>
            <ac:spMk id="406" creationId="{2EBA3C76-5E0F-B9F0-8C66-4DCFA172019E}"/>
          </ac:spMkLst>
        </pc:spChg>
        <pc:spChg chg="add del mod">
          <ac:chgData name="Steiner Andreas 6206 ED" userId="e6377c33-a923-4f14-8587-531c474c7b48" providerId="ADAL" clId="{6ECD27E6-B224-41CD-B4E0-E297462320DD}" dt="2023-11-24T08:44:52.594" v="58042"/>
          <ac:spMkLst>
            <pc:docMk/>
            <pc:sldMk cId="3184642303" sldId="2147478578"/>
            <ac:spMk id="407" creationId="{7CC5E429-1D5C-EE75-D54D-D7BEF68457C5}"/>
          </ac:spMkLst>
        </pc:spChg>
        <pc:spChg chg="add del mod">
          <ac:chgData name="Steiner Andreas 6206 ED" userId="e6377c33-a923-4f14-8587-531c474c7b48" providerId="ADAL" clId="{6ECD27E6-B224-41CD-B4E0-E297462320DD}" dt="2023-11-24T08:44:54.784" v="58197"/>
          <ac:spMkLst>
            <pc:docMk/>
            <pc:sldMk cId="3184642303" sldId="2147478578"/>
            <ac:spMk id="408" creationId="{63383676-B99A-274D-8D7C-AD93E4038BA1}"/>
          </ac:spMkLst>
        </pc:spChg>
        <pc:spChg chg="add del mod">
          <ac:chgData name="Steiner Andreas 6206 ED" userId="e6377c33-a923-4f14-8587-531c474c7b48" providerId="ADAL" clId="{6ECD27E6-B224-41CD-B4E0-E297462320DD}" dt="2023-11-24T08:44:56.816" v="58352"/>
          <ac:spMkLst>
            <pc:docMk/>
            <pc:sldMk cId="3184642303" sldId="2147478578"/>
            <ac:spMk id="409" creationId="{1DE9CF35-8BD0-2027-8625-CB997C699946}"/>
          </ac:spMkLst>
        </pc:spChg>
        <pc:spChg chg="add del mod">
          <ac:chgData name="Steiner Andreas 6206 ED" userId="e6377c33-a923-4f14-8587-531c474c7b48" providerId="ADAL" clId="{6ECD27E6-B224-41CD-B4E0-E297462320DD}" dt="2023-11-24T08:44:58.749" v="58507"/>
          <ac:spMkLst>
            <pc:docMk/>
            <pc:sldMk cId="3184642303" sldId="2147478578"/>
            <ac:spMk id="410" creationId="{16D6955F-5617-3CA9-92B7-D5A6B79D5BF3}"/>
          </ac:spMkLst>
        </pc:spChg>
        <pc:spChg chg="add del mod">
          <ac:chgData name="Steiner Andreas 6206 ED" userId="e6377c33-a923-4f14-8587-531c474c7b48" providerId="ADAL" clId="{6ECD27E6-B224-41CD-B4E0-E297462320DD}" dt="2023-11-24T08:45:00.902" v="58662"/>
          <ac:spMkLst>
            <pc:docMk/>
            <pc:sldMk cId="3184642303" sldId="2147478578"/>
            <ac:spMk id="411" creationId="{CD437A17-DE4D-A1AE-7A30-3D63E1532BB6}"/>
          </ac:spMkLst>
        </pc:spChg>
        <pc:spChg chg="add del mod">
          <ac:chgData name="Steiner Andreas 6206 ED" userId="e6377c33-a923-4f14-8587-531c474c7b48" providerId="ADAL" clId="{6ECD27E6-B224-41CD-B4E0-E297462320DD}" dt="2023-11-24T08:45:02.832" v="58817"/>
          <ac:spMkLst>
            <pc:docMk/>
            <pc:sldMk cId="3184642303" sldId="2147478578"/>
            <ac:spMk id="412" creationId="{3DF2F559-A66D-23B3-4C9E-817D41D0350B}"/>
          </ac:spMkLst>
        </pc:spChg>
        <pc:spChg chg="add del mod">
          <ac:chgData name="Steiner Andreas 6206 ED" userId="e6377c33-a923-4f14-8587-531c474c7b48" providerId="ADAL" clId="{6ECD27E6-B224-41CD-B4E0-E297462320DD}" dt="2023-11-24T08:45:04.686" v="58972"/>
          <ac:spMkLst>
            <pc:docMk/>
            <pc:sldMk cId="3184642303" sldId="2147478578"/>
            <ac:spMk id="413" creationId="{35A620D6-2292-734B-879C-9C7893EAFD27}"/>
          </ac:spMkLst>
        </pc:spChg>
        <pc:spChg chg="add del mod">
          <ac:chgData name="Steiner Andreas 6206 ED" userId="e6377c33-a923-4f14-8587-531c474c7b48" providerId="ADAL" clId="{6ECD27E6-B224-41CD-B4E0-E297462320DD}" dt="2023-11-24T08:45:06.542" v="59127"/>
          <ac:spMkLst>
            <pc:docMk/>
            <pc:sldMk cId="3184642303" sldId="2147478578"/>
            <ac:spMk id="414" creationId="{BB0F3712-0AB7-486B-7BFC-D2F4F8AF62FF}"/>
          </ac:spMkLst>
        </pc:spChg>
        <pc:spChg chg="add del mod">
          <ac:chgData name="Steiner Andreas 6206 ED" userId="e6377c33-a923-4f14-8587-531c474c7b48" providerId="ADAL" clId="{6ECD27E6-B224-41CD-B4E0-E297462320DD}" dt="2023-11-24T08:45:08.379" v="59282"/>
          <ac:spMkLst>
            <pc:docMk/>
            <pc:sldMk cId="3184642303" sldId="2147478578"/>
            <ac:spMk id="415" creationId="{5FAB88E0-E5A9-9D43-0CAD-2B68A4F8FA85}"/>
          </ac:spMkLst>
        </pc:spChg>
        <pc:spChg chg="add del mod">
          <ac:chgData name="Steiner Andreas 6206 ED" userId="e6377c33-a923-4f14-8587-531c474c7b48" providerId="ADAL" clId="{6ECD27E6-B224-41CD-B4E0-E297462320DD}" dt="2023-11-24T08:45:10.172" v="59437"/>
          <ac:spMkLst>
            <pc:docMk/>
            <pc:sldMk cId="3184642303" sldId="2147478578"/>
            <ac:spMk id="416" creationId="{3FCF589B-6276-5566-1FBD-6782EF6D094A}"/>
          </ac:spMkLst>
        </pc:spChg>
        <pc:spChg chg="add del mod">
          <ac:chgData name="Steiner Andreas 6206 ED" userId="e6377c33-a923-4f14-8587-531c474c7b48" providerId="ADAL" clId="{6ECD27E6-B224-41CD-B4E0-E297462320DD}" dt="2023-11-24T08:45:12.267" v="59592"/>
          <ac:spMkLst>
            <pc:docMk/>
            <pc:sldMk cId="3184642303" sldId="2147478578"/>
            <ac:spMk id="417" creationId="{2ED8A4CE-934F-668A-FBB9-C4112DCE7F6F}"/>
          </ac:spMkLst>
        </pc:spChg>
        <pc:spChg chg="add del mod">
          <ac:chgData name="Steiner Andreas 6206 ED" userId="e6377c33-a923-4f14-8587-531c474c7b48" providerId="ADAL" clId="{6ECD27E6-B224-41CD-B4E0-E297462320DD}" dt="2023-11-24T08:45:14.190" v="59747"/>
          <ac:spMkLst>
            <pc:docMk/>
            <pc:sldMk cId="3184642303" sldId="2147478578"/>
            <ac:spMk id="418" creationId="{76B405D5-F4AD-584E-E297-828905824333}"/>
          </ac:spMkLst>
        </pc:spChg>
        <pc:spChg chg="add del mod">
          <ac:chgData name="Steiner Andreas 6206 ED" userId="e6377c33-a923-4f14-8587-531c474c7b48" providerId="ADAL" clId="{6ECD27E6-B224-41CD-B4E0-E297462320DD}" dt="2023-11-24T08:45:16.270" v="59902"/>
          <ac:spMkLst>
            <pc:docMk/>
            <pc:sldMk cId="3184642303" sldId="2147478578"/>
            <ac:spMk id="419" creationId="{1C6B4A3E-5B96-65E9-29FA-AEBA4DDCD387}"/>
          </ac:spMkLst>
        </pc:spChg>
        <pc:spChg chg="add del mod">
          <ac:chgData name="Steiner Andreas 6206 ED" userId="e6377c33-a923-4f14-8587-531c474c7b48" providerId="ADAL" clId="{6ECD27E6-B224-41CD-B4E0-E297462320DD}" dt="2023-11-24T08:45:18.208" v="60057"/>
          <ac:spMkLst>
            <pc:docMk/>
            <pc:sldMk cId="3184642303" sldId="2147478578"/>
            <ac:spMk id="420" creationId="{A262199F-DE3B-E879-B1E7-608CD26D3C98}"/>
          </ac:spMkLst>
        </pc:spChg>
        <pc:spChg chg="add del mod">
          <ac:chgData name="Steiner Andreas 6206 ED" userId="e6377c33-a923-4f14-8587-531c474c7b48" providerId="ADAL" clId="{6ECD27E6-B224-41CD-B4E0-E297462320DD}" dt="2023-11-24T08:45:20.108" v="60212"/>
          <ac:spMkLst>
            <pc:docMk/>
            <pc:sldMk cId="3184642303" sldId="2147478578"/>
            <ac:spMk id="421" creationId="{6BFB5C71-F53D-E236-91BF-26C92F00677D}"/>
          </ac:spMkLst>
        </pc:spChg>
        <pc:spChg chg="add del mod">
          <ac:chgData name="Steiner Andreas 6206 ED" userId="e6377c33-a923-4f14-8587-531c474c7b48" providerId="ADAL" clId="{6ECD27E6-B224-41CD-B4E0-E297462320DD}" dt="2023-11-24T08:45:22.229" v="60367"/>
          <ac:spMkLst>
            <pc:docMk/>
            <pc:sldMk cId="3184642303" sldId="2147478578"/>
            <ac:spMk id="422" creationId="{A91D9F31-ABB7-181B-5D2E-6F09DA48191D}"/>
          </ac:spMkLst>
        </pc:spChg>
        <pc:spChg chg="add del mod">
          <ac:chgData name="Steiner Andreas 6206 ED" userId="e6377c33-a923-4f14-8587-531c474c7b48" providerId="ADAL" clId="{6ECD27E6-B224-41CD-B4E0-E297462320DD}" dt="2023-11-24T08:45:24.444" v="60522"/>
          <ac:spMkLst>
            <pc:docMk/>
            <pc:sldMk cId="3184642303" sldId="2147478578"/>
            <ac:spMk id="423" creationId="{170BF333-A593-5999-E99A-5966E319557C}"/>
          </ac:spMkLst>
        </pc:spChg>
        <pc:spChg chg="add del mod">
          <ac:chgData name="Steiner Andreas 6206 ED" userId="e6377c33-a923-4f14-8587-531c474c7b48" providerId="ADAL" clId="{6ECD27E6-B224-41CD-B4E0-E297462320DD}" dt="2023-11-24T08:45:26.415" v="60677"/>
          <ac:spMkLst>
            <pc:docMk/>
            <pc:sldMk cId="3184642303" sldId="2147478578"/>
            <ac:spMk id="424" creationId="{A60C54F0-BDF3-4045-920A-544A2A577847}"/>
          </ac:spMkLst>
        </pc:spChg>
        <pc:spChg chg="add del mod">
          <ac:chgData name="Steiner Andreas 6206 ED" userId="e6377c33-a923-4f14-8587-531c474c7b48" providerId="ADAL" clId="{6ECD27E6-B224-41CD-B4E0-E297462320DD}" dt="2023-11-24T08:45:28.313" v="60832"/>
          <ac:spMkLst>
            <pc:docMk/>
            <pc:sldMk cId="3184642303" sldId="2147478578"/>
            <ac:spMk id="425" creationId="{FB34326A-A7FD-0719-7F75-AA69E08E40D2}"/>
          </ac:spMkLst>
        </pc:spChg>
        <pc:spChg chg="add del mod">
          <ac:chgData name="Steiner Andreas 6206 ED" userId="e6377c33-a923-4f14-8587-531c474c7b48" providerId="ADAL" clId="{6ECD27E6-B224-41CD-B4E0-E297462320DD}" dt="2023-11-24T08:45:30.133" v="60987"/>
          <ac:spMkLst>
            <pc:docMk/>
            <pc:sldMk cId="3184642303" sldId="2147478578"/>
            <ac:spMk id="426" creationId="{A535DE41-F363-CACC-EC62-EC3224B3D6BD}"/>
          </ac:spMkLst>
        </pc:spChg>
        <pc:spChg chg="add del mod">
          <ac:chgData name="Steiner Andreas 6206 ED" userId="e6377c33-a923-4f14-8587-531c474c7b48" providerId="ADAL" clId="{6ECD27E6-B224-41CD-B4E0-E297462320DD}" dt="2023-11-24T08:45:32.007" v="61142"/>
          <ac:spMkLst>
            <pc:docMk/>
            <pc:sldMk cId="3184642303" sldId="2147478578"/>
            <ac:spMk id="427" creationId="{ED192AAB-C66C-0647-A228-ABE547BA5298}"/>
          </ac:spMkLst>
        </pc:spChg>
        <pc:spChg chg="add del mod">
          <ac:chgData name="Steiner Andreas 6206 ED" userId="e6377c33-a923-4f14-8587-531c474c7b48" providerId="ADAL" clId="{6ECD27E6-B224-41CD-B4E0-E297462320DD}" dt="2023-11-24T08:45:34.116" v="61297"/>
          <ac:spMkLst>
            <pc:docMk/>
            <pc:sldMk cId="3184642303" sldId="2147478578"/>
            <ac:spMk id="428" creationId="{17024A93-84EC-05D4-AF74-1D7198861B1E}"/>
          </ac:spMkLst>
        </pc:spChg>
        <pc:spChg chg="add del mod">
          <ac:chgData name="Steiner Andreas 6206 ED" userId="e6377c33-a923-4f14-8587-531c474c7b48" providerId="ADAL" clId="{6ECD27E6-B224-41CD-B4E0-E297462320DD}" dt="2023-11-24T08:45:36.177" v="61452"/>
          <ac:spMkLst>
            <pc:docMk/>
            <pc:sldMk cId="3184642303" sldId="2147478578"/>
            <ac:spMk id="429" creationId="{D9D52384-E0F4-28BF-967C-C5F029F898A7}"/>
          </ac:spMkLst>
        </pc:spChg>
        <pc:spChg chg="add del mod">
          <ac:chgData name="Steiner Andreas 6206 ED" userId="e6377c33-a923-4f14-8587-531c474c7b48" providerId="ADAL" clId="{6ECD27E6-B224-41CD-B4E0-E297462320DD}" dt="2023-11-24T08:45:38.079" v="61607"/>
          <ac:spMkLst>
            <pc:docMk/>
            <pc:sldMk cId="3184642303" sldId="2147478578"/>
            <ac:spMk id="430" creationId="{52889C5A-297D-4C1E-B48A-372C20183D55}"/>
          </ac:spMkLst>
        </pc:spChg>
        <pc:spChg chg="add del mod">
          <ac:chgData name="Steiner Andreas 6206 ED" userId="e6377c33-a923-4f14-8587-531c474c7b48" providerId="ADAL" clId="{6ECD27E6-B224-41CD-B4E0-E297462320DD}" dt="2023-11-24T08:45:39.953" v="61762"/>
          <ac:spMkLst>
            <pc:docMk/>
            <pc:sldMk cId="3184642303" sldId="2147478578"/>
            <ac:spMk id="431" creationId="{6F363A08-B411-B953-9E46-FADD9069CB39}"/>
          </ac:spMkLst>
        </pc:spChg>
        <pc:spChg chg="add del mod">
          <ac:chgData name="Steiner Andreas 6206 ED" userId="e6377c33-a923-4f14-8587-531c474c7b48" providerId="ADAL" clId="{6ECD27E6-B224-41CD-B4E0-E297462320DD}" dt="2023-11-24T08:45:41.951" v="61917"/>
          <ac:spMkLst>
            <pc:docMk/>
            <pc:sldMk cId="3184642303" sldId="2147478578"/>
            <ac:spMk id="432" creationId="{318C89E9-1421-82A1-2997-39E509746BC9}"/>
          </ac:spMkLst>
        </pc:spChg>
        <pc:spChg chg="add del mod">
          <ac:chgData name="Steiner Andreas 6206 ED" userId="e6377c33-a923-4f14-8587-531c474c7b48" providerId="ADAL" clId="{6ECD27E6-B224-41CD-B4E0-E297462320DD}" dt="2023-11-24T08:45:43.950" v="62072"/>
          <ac:spMkLst>
            <pc:docMk/>
            <pc:sldMk cId="3184642303" sldId="2147478578"/>
            <ac:spMk id="433" creationId="{29814CB7-8A4A-E0A7-0EB1-537FC4EB3086}"/>
          </ac:spMkLst>
        </pc:spChg>
        <pc:spChg chg="add del mod">
          <ac:chgData name="Steiner Andreas 6206 ED" userId="e6377c33-a923-4f14-8587-531c474c7b48" providerId="ADAL" clId="{6ECD27E6-B224-41CD-B4E0-E297462320DD}" dt="2023-11-24T08:45:46.048" v="62227"/>
          <ac:spMkLst>
            <pc:docMk/>
            <pc:sldMk cId="3184642303" sldId="2147478578"/>
            <ac:spMk id="434" creationId="{7D0EC9D8-D05E-7199-D8ED-88A98A10EF1F}"/>
          </ac:spMkLst>
        </pc:spChg>
        <pc:spChg chg="add del mod">
          <ac:chgData name="Steiner Andreas 6206 ED" userId="e6377c33-a923-4f14-8587-531c474c7b48" providerId="ADAL" clId="{6ECD27E6-B224-41CD-B4E0-E297462320DD}" dt="2023-11-24T08:45:47.954" v="62382"/>
          <ac:spMkLst>
            <pc:docMk/>
            <pc:sldMk cId="3184642303" sldId="2147478578"/>
            <ac:spMk id="435" creationId="{E9203C42-3A0B-74C0-8425-352E6B04FEF6}"/>
          </ac:spMkLst>
        </pc:spChg>
        <pc:spChg chg="add del mod">
          <ac:chgData name="Steiner Andreas 6206 ED" userId="e6377c33-a923-4f14-8587-531c474c7b48" providerId="ADAL" clId="{6ECD27E6-B224-41CD-B4E0-E297462320DD}" dt="2023-11-24T08:45:50.243" v="62537"/>
          <ac:spMkLst>
            <pc:docMk/>
            <pc:sldMk cId="3184642303" sldId="2147478578"/>
            <ac:spMk id="436" creationId="{37AA7FE1-9394-D83C-5208-687474F8EFFE}"/>
          </ac:spMkLst>
        </pc:spChg>
        <pc:spChg chg="add del mod">
          <ac:chgData name="Steiner Andreas 6206 ED" userId="e6377c33-a923-4f14-8587-531c474c7b48" providerId="ADAL" clId="{6ECD27E6-B224-41CD-B4E0-E297462320DD}" dt="2023-11-24T08:45:52.300" v="62692"/>
          <ac:spMkLst>
            <pc:docMk/>
            <pc:sldMk cId="3184642303" sldId="2147478578"/>
            <ac:spMk id="437" creationId="{A41123A9-734F-76FF-FAD4-4C0352A67A0B}"/>
          </ac:spMkLst>
        </pc:spChg>
        <pc:spChg chg="add del mod">
          <ac:chgData name="Steiner Andreas 6206 ED" userId="e6377c33-a923-4f14-8587-531c474c7b48" providerId="ADAL" clId="{6ECD27E6-B224-41CD-B4E0-E297462320DD}" dt="2023-11-24T08:45:54.317" v="62847"/>
          <ac:spMkLst>
            <pc:docMk/>
            <pc:sldMk cId="3184642303" sldId="2147478578"/>
            <ac:spMk id="438" creationId="{B5CCDE9B-0992-82D9-8F30-C7180EFD0EBF}"/>
          </ac:spMkLst>
        </pc:spChg>
        <pc:spChg chg="add del mod">
          <ac:chgData name="Steiner Andreas 6206 ED" userId="e6377c33-a923-4f14-8587-531c474c7b48" providerId="ADAL" clId="{6ECD27E6-B224-41CD-B4E0-E297462320DD}" dt="2023-11-24T08:45:56.475" v="63002"/>
          <ac:spMkLst>
            <pc:docMk/>
            <pc:sldMk cId="3184642303" sldId="2147478578"/>
            <ac:spMk id="439" creationId="{32780D29-0DD6-BC00-E081-E4CD64948570}"/>
          </ac:spMkLst>
        </pc:spChg>
        <pc:spChg chg="add del mod">
          <ac:chgData name="Steiner Andreas 6206 ED" userId="e6377c33-a923-4f14-8587-531c474c7b48" providerId="ADAL" clId="{6ECD27E6-B224-41CD-B4E0-E297462320DD}" dt="2023-11-24T08:45:58.535" v="63157"/>
          <ac:spMkLst>
            <pc:docMk/>
            <pc:sldMk cId="3184642303" sldId="2147478578"/>
            <ac:spMk id="440" creationId="{AEFBCD78-6939-5B97-8943-A0471780E2A5}"/>
          </ac:spMkLst>
        </pc:spChg>
        <pc:spChg chg="add del mod">
          <ac:chgData name="Steiner Andreas 6206 ED" userId="e6377c33-a923-4f14-8587-531c474c7b48" providerId="ADAL" clId="{6ECD27E6-B224-41CD-B4E0-E297462320DD}" dt="2023-11-24T08:46:00.615" v="63312"/>
          <ac:spMkLst>
            <pc:docMk/>
            <pc:sldMk cId="3184642303" sldId="2147478578"/>
            <ac:spMk id="441" creationId="{BA9D405F-2467-A45E-60DA-7C6F837CE9AC}"/>
          </ac:spMkLst>
        </pc:spChg>
        <pc:spChg chg="add del mod">
          <ac:chgData name="Steiner Andreas 6206 ED" userId="e6377c33-a923-4f14-8587-531c474c7b48" providerId="ADAL" clId="{6ECD27E6-B224-41CD-B4E0-E297462320DD}" dt="2023-11-24T08:46:02.689" v="63467"/>
          <ac:spMkLst>
            <pc:docMk/>
            <pc:sldMk cId="3184642303" sldId="2147478578"/>
            <ac:spMk id="442" creationId="{8D853AC3-224C-BBB8-07D1-DF6FBE03C1C6}"/>
          </ac:spMkLst>
        </pc:spChg>
        <pc:spChg chg="add del mod">
          <ac:chgData name="Steiner Andreas 6206 ED" userId="e6377c33-a923-4f14-8587-531c474c7b48" providerId="ADAL" clId="{6ECD27E6-B224-41CD-B4E0-E297462320DD}" dt="2023-11-24T08:46:04.986" v="63622"/>
          <ac:spMkLst>
            <pc:docMk/>
            <pc:sldMk cId="3184642303" sldId="2147478578"/>
            <ac:spMk id="443" creationId="{3D5EAC49-6A63-BC01-936E-282F38BC7586}"/>
          </ac:spMkLst>
        </pc:spChg>
        <pc:spChg chg="add del mod">
          <ac:chgData name="Steiner Andreas 6206 ED" userId="e6377c33-a923-4f14-8587-531c474c7b48" providerId="ADAL" clId="{6ECD27E6-B224-41CD-B4E0-E297462320DD}" dt="2023-11-24T08:46:07.599" v="63777"/>
          <ac:spMkLst>
            <pc:docMk/>
            <pc:sldMk cId="3184642303" sldId="2147478578"/>
            <ac:spMk id="444" creationId="{413BE031-F52B-E68E-2981-8C88F0BB6EE9}"/>
          </ac:spMkLst>
        </pc:spChg>
        <pc:spChg chg="add del mod">
          <ac:chgData name="Steiner Andreas 6206 ED" userId="e6377c33-a923-4f14-8587-531c474c7b48" providerId="ADAL" clId="{6ECD27E6-B224-41CD-B4E0-E297462320DD}" dt="2023-11-24T08:46:09.782" v="63932"/>
          <ac:spMkLst>
            <pc:docMk/>
            <pc:sldMk cId="3184642303" sldId="2147478578"/>
            <ac:spMk id="445" creationId="{B6545CF6-8505-1C62-8E90-286882ED40F3}"/>
          </ac:spMkLst>
        </pc:spChg>
        <pc:spChg chg="add del mod">
          <ac:chgData name="Steiner Andreas 6206 ED" userId="e6377c33-a923-4f14-8587-531c474c7b48" providerId="ADAL" clId="{6ECD27E6-B224-41CD-B4E0-E297462320DD}" dt="2023-11-24T08:46:11.978" v="64087"/>
          <ac:spMkLst>
            <pc:docMk/>
            <pc:sldMk cId="3184642303" sldId="2147478578"/>
            <ac:spMk id="446" creationId="{693693CB-53E3-A15D-814B-3E0F92706D95}"/>
          </ac:spMkLst>
        </pc:spChg>
        <pc:spChg chg="add del mod">
          <ac:chgData name="Steiner Andreas 6206 ED" userId="e6377c33-a923-4f14-8587-531c474c7b48" providerId="ADAL" clId="{6ECD27E6-B224-41CD-B4E0-E297462320DD}" dt="2023-11-24T08:46:14.132" v="64242"/>
          <ac:spMkLst>
            <pc:docMk/>
            <pc:sldMk cId="3184642303" sldId="2147478578"/>
            <ac:spMk id="447" creationId="{022A1D4E-02D6-2955-76CB-A5DDFED6EA8E}"/>
          </ac:spMkLst>
        </pc:spChg>
        <pc:spChg chg="add del mod">
          <ac:chgData name="Steiner Andreas 6206 ED" userId="e6377c33-a923-4f14-8587-531c474c7b48" providerId="ADAL" clId="{6ECD27E6-B224-41CD-B4E0-E297462320DD}" dt="2023-11-24T08:46:16.366" v="64397"/>
          <ac:spMkLst>
            <pc:docMk/>
            <pc:sldMk cId="3184642303" sldId="2147478578"/>
            <ac:spMk id="448" creationId="{98E91E60-B35E-E26B-4D62-75BC7B5E803D}"/>
          </ac:spMkLst>
        </pc:spChg>
        <pc:spChg chg="add del mod">
          <ac:chgData name="Steiner Andreas 6206 ED" userId="e6377c33-a923-4f14-8587-531c474c7b48" providerId="ADAL" clId="{6ECD27E6-B224-41CD-B4E0-E297462320DD}" dt="2023-11-24T08:46:18.246" v="64552"/>
          <ac:spMkLst>
            <pc:docMk/>
            <pc:sldMk cId="3184642303" sldId="2147478578"/>
            <ac:spMk id="449" creationId="{03120D78-AD8E-F5EB-8FC7-30757B072790}"/>
          </ac:spMkLst>
        </pc:spChg>
        <pc:spChg chg="add del mod">
          <ac:chgData name="Steiner Andreas 6206 ED" userId="e6377c33-a923-4f14-8587-531c474c7b48" providerId="ADAL" clId="{6ECD27E6-B224-41CD-B4E0-E297462320DD}" dt="2023-11-24T08:46:20.736" v="64707"/>
          <ac:spMkLst>
            <pc:docMk/>
            <pc:sldMk cId="3184642303" sldId="2147478578"/>
            <ac:spMk id="450" creationId="{31803807-706D-CD21-3F14-CB9E92BBE50C}"/>
          </ac:spMkLst>
        </pc:spChg>
        <pc:spChg chg="add del mod">
          <ac:chgData name="Steiner Andreas 6206 ED" userId="e6377c33-a923-4f14-8587-531c474c7b48" providerId="ADAL" clId="{6ECD27E6-B224-41CD-B4E0-E297462320DD}" dt="2023-11-24T08:46:23.003" v="64862"/>
          <ac:spMkLst>
            <pc:docMk/>
            <pc:sldMk cId="3184642303" sldId="2147478578"/>
            <ac:spMk id="451" creationId="{8F2C3BD2-3FAE-AD83-317A-8FC6376AF67F}"/>
          </ac:spMkLst>
        </pc:spChg>
        <pc:spChg chg="add del mod">
          <ac:chgData name="Steiner Andreas 6206 ED" userId="e6377c33-a923-4f14-8587-531c474c7b48" providerId="ADAL" clId="{6ECD27E6-B224-41CD-B4E0-E297462320DD}" dt="2023-11-24T08:46:25.279" v="65017"/>
          <ac:spMkLst>
            <pc:docMk/>
            <pc:sldMk cId="3184642303" sldId="2147478578"/>
            <ac:spMk id="452" creationId="{BDD2019A-0133-2AC8-CB72-39B9D7631370}"/>
          </ac:spMkLst>
        </pc:spChg>
        <pc:spChg chg="add del mod">
          <ac:chgData name="Steiner Andreas 6206 ED" userId="e6377c33-a923-4f14-8587-531c474c7b48" providerId="ADAL" clId="{6ECD27E6-B224-41CD-B4E0-E297462320DD}" dt="2023-11-24T08:46:27.611" v="65172"/>
          <ac:spMkLst>
            <pc:docMk/>
            <pc:sldMk cId="3184642303" sldId="2147478578"/>
            <ac:spMk id="453" creationId="{C73CE5B9-134D-D4F2-32FF-9306613FDEB7}"/>
          </ac:spMkLst>
        </pc:spChg>
        <pc:spChg chg="add del mod">
          <ac:chgData name="Steiner Andreas 6206 ED" userId="e6377c33-a923-4f14-8587-531c474c7b48" providerId="ADAL" clId="{6ECD27E6-B224-41CD-B4E0-E297462320DD}" dt="2023-11-24T08:46:29.618" v="65327"/>
          <ac:spMkLst>
            <pc:docMk/>
            <pc:sldMk cId="3184642303" sldId="2147478578"/>
            <ac:spMk id="454" creationId="{40293144-2718-982F-BDB4-A641371A0E12}"/>
          </ac:spMkLst>
        </pc:spChg>
        <pc:spChg chg="add del mod">
          <ac:chgData name="Steiner Andreas 6206 ED" userId="e6377c33-a923-4f14-8587-531c474c7b48" providerId="ADAL" clId="{6ECD27E6-B224-41CD-B4E0-E297462320DD}" dt="2023-11-24T08:46:32.091" v="65482"/>
          <ac:spMkLst>
            <pc:docMk/>
            <pc:sldMk cId="3184642303" sldId="2147478578"/>
            <ac:spMk id="455" creationId="{DCC35732-0835-C0B7-8EAE-99C84C03963B}"/>
          </ac:spMkLst>
        </pc:spChg>
        <pc:spChg chg="add del mod">
          <ac:chgData name="Steiner Andreas 6206 ED" userId="e6377c33-a923-4f14-8587-531c474c7b48" providerId="ADAL" clId="{6ECD27E6-B224-41CD-B4E0-E297462320DD}" dt="2023-11-24T08:46:34.178" v="65637"/>
          <ac:spMkLst>
            <pc:docMk/>
            <pc:sldMk cId="3184642303" sldId="2147478578"/>
            <ac:spMk id="456" creationId="{90DE6EB2-C9BC-72EE-5686-AA32B64BBC15}"/>
          </ac:spMkLst>
        </pc:spChg>
        <pc:spChg chg="add del mod">
          <ac:chgData name="Steiner Andreas 6206 ED" userId="e6377c33-a923-4f14-8587-531c474c7b48" providerId="ADAL" clId="{6ECD27E6-B224-41CD-B4E0-E297462320DD}" dt="2023-11-24T08:46:36.117" v="65792"/>
          <ac:spMkLst>
            <pc:docMk/>
            <pc:sldMk cId="3184642303" sldId="2147478578"/>
            <ac:spMk id="457" creationId="{DC32BE19-71DE-1258-6F17-5CA432921099}"/>
          </ac:spMkLst>
        </pc:spChg>
        <pc:spChg chg="add del mod">
          <ac:chgData name="Steiner Andreas 6206 ED" userId="e6377c33-a923-4f14-8587-531c474c7b48" providerId="ADAL" clId="{6ECD27E6-B224-41CD-B4E0-E297462320DD}" dt="2023-11-24T08:46:38.185" v="65947"/>
          <ac:spMkLst>
            <pc:docMk/>
            <pc:sldMk cId="3184642303" sldId="2147478578"/>
            <ac:spMk id="458" creationId="{4744EA91-42D2-4B97-2D5B-6BCD3A59E5C2}"/>
          </ac:spMkLst>
        </pc:spChg>
        <pc:spChg chg="add del mod">
          <ac:chgData name="Steiner Andreas 6206 ED" userId="e6377c33-a923-4f14-8587-531c474c7b48" providerId="ADAL" clId="{6ECD27E6-B224-41CD-B4E0-E297462320DD}" dt="2023-11-24T08:46:40.259" v="66102"/>
          <ac:spMkLst>
            <pc:docMk/>
            <pc:sldMk cId="3184642303" sldId="2147478578"/>
            <ac:spMk id="459" creationId="{519771F6-113F-0F7A-8344-323F1189DE80}"/>
          </ac:spMkLst>
        </pc:spChg>
        <pc:spChg chg="add del mod">
          <ac:chgData name="Steiner Andreas 6206 ED" userId="e6377c33-a923-4f14-8587-531c474c7b48" providerId="ADAL" clId="{6ECD27E6-B224-41CD-B4E0-E297462320DD}" dt="2023-11-24T08:46:42.527" v="66257"/>
          <ac:spMkLst>
            <pc:docMk/>
            <pc:sldMk cId="3184642303" sldId="2147478578"/>
            <ac:spMk id="460" creationId="{2704F792-92CD-3F5E-0C85-3E62051F629E}"/>
          </ac:spMkLst>
        </pc:spChg>
        <pc:spChg chg="add del mod">
          <ac:chgData name="Steiner Andreas 6206 ED" userId="e6377c33-a923-4f14-8587-531c474c7b48" providerId="ADAL" clId="{6ECD27E6-B224-41CD-B4E0-E297462320DD}" dt="2023-11-24T08:46:44.653" v="66412"/>
          <ac:spMkLst>
            <pc:docMk/>
            <pc:sldMk cId="3184642303" sldId="2147478578"/>
            <ac:spMk id="461" creationId="{91D2B55C-846D-D167-D925-A03FE943C165}"/>
          </ac:spMkLst>
        </pc:spChg>
        <pc:spChg chg="add del mod">
          <ac:chgData name="Steiner Andreas 6206 ED" userId="e6377c33-a923-4f14-8587-531c474c7b48" providerId="ADAL" clId="{6ECD27E6-B224-41CD-B4E0-E297462320DD}" dt="2023-11-24T08:46:46.714" v="66567"/>
          <ac:spMkLst>
            <pc:docMk/>
            <pc:sldMk cId="3184642303" sldId="2147478578"/>
            <ac:spMk id="462" creationId="{063BEB51-B3AC-A1BB-7A96-9D5A1EFE1620}"/>
          </ac:spMkLst>
        </pc:spChg>
        <pc:spChg chg="add del mod">
          <ac:chgData name="Steiner Andreas 6206 ED" userId="e6377c33-a923-4f14-8587-531c474c7b48" providerId="ADAL" clId="{6ECD27E6-B224-41CD-B4E0-E297462320DD}" dt="2023-11-24T08:46:48.841" v="66722"/>
          <ac:spMkLst>
            <pc:docMk/>
            <pc:sldMk cId="3184642303" sldId="2147478578"/>
            <ac:spMk id="463" creationId="{98A1A674-57F6-7870-B0FA-9FE56188F8AB}"/>
          </ac:spMkLst>
        </pc:spChg>
        <pc:spChg chg="add del mod">
          <ac:chgData name="Steiner Andreas 6206 ED" userId="e6377c33-a923-4f14-8587-531c474c7b48" providerId="ADAL" clId="{6ECD27E6-B224-41CD-B4E0-E297462320DD}" dt="2023-11-24T08:46:50.907" v="66877"/>
          <ac:spMkLst>
            <pc:docMk/>
            <pc:sldMk cId="3184642303" sldId="2147478578"/>
            <ac:spMk id="464" creationId="{F2FC6D94-B5B9-5830-C1AD-56717C9304B2}"/>
          </ac:spMkLst>
        </pc:spChg>
        <pc:spChg chg="add del mod">
          <ac:chgData name="Steiner Andreas 6206 ED" userId="e6377c33-a923-4f14-8587-531c474c7b48" providerId="ADAL" clId="{6ECD27E6-B224-41CD-B4E0-E297462320DD}" dt="2023-11-24T08:46:52.976" v="67032"/>
          <ac:spMkLst>
            <pc:docMk/>
            <pc:sldMk cId="3184642303" sldId="2147478578"/>
            <ac:spMk id="465" creationId="{3F4EE5E3-34BC-535D-8B36-8DF6D8269538}"/>
          </ac:spMkLst>
        </pc:spChg>
        <pc:spChg chg="add del mod">
          <ac:chgData name="Steiner Andreas 6206 ED" userId="e6377c33-a923-4f14-8587-531c474c7b48" providerId="ADAL" clId="{6ECD27E6-B224-41CD-B4E0-E297462320DD}" dt="2023-11-24T08:46:54.920" v="67187"/>
          <ac:spMkLst>
            <pc:docMk/>
            <pc:sldMk cId="3184642303" sldId="2147478578"/>
            <ac:spMk id="466" creationId="{F1D92899-4005-AA99-2A8F-4F90B228CD87}"/>
          </ac:spMkLst>
        </pc:spChg>
        <pc:spChg chg="add del mod">
          <ac:chgData name="Steiner Andreas 6206 ED" userId="e6377c33-a923-4f14-8587-531c474c7b48" providerId="ADAL" clId="{6ECD27E6-B224-41CD-B4E0-E297462320DD}" dt="2023-11-24T08:46:56.920" v="67342"/>
          <ac:spMkLst>
            <pc:docMk/>
            <pc:sldMk cId="3184642303" sldId="2147478578"/>
            <ac:spMk id="467" creationId="{0A5B0214-A439-15EB-CFD2-32A98CB7A520}"/>
          </ac:spMkLst>
        </pc:spChg>
        <pc:spChg chg="add del mod">
          <ac:chgData name="Steiner Andreas 6206 ED" userId="e6377c33-a923-4f14-8587-531c474c7b48" providerId="ADAL" clId="{6ECD27E6-B224-41CD-B4E0-E297462320DD}" dt="2023-11-24T08:46:58.785" v="67497"/>
          <ac:spMkLst>
            <pc:docMk/>
            <pc:sldMk cId="3184642303" sldId="2147478578"/>
            <ac:spMk id="468" creationId="{61A2C6A0-E7AA-73E3-D580-1DD4579A907F}"/>
          </ac:spMkLst>
        </pc:spChg>
        <pc:spChg chg="add del mod">
          <ac:chgData name="Steiner Andreas 6206 ED" userId="e6377c33-a923-4f14-8587-531c474c7b48" providerId="ADAL" clId="{6ECD27E6-B224-41CD-B4E0-E297462320DD}" dt="2023-11-24T08:47:00.882" v="67652"/>
          <ac:spMkLst>
            <pc:docMk/>
            <pc:sldMk cId="3184642303" sldId="2147478578"/>
            <ac:spMk id="469" creationId="{9DD4F6E4-19CA-0F13-7685-4B649FDFB550}"/>
          </ac:spMkLst>
        </pc:spChg>
        <pc:spChg chg="add del mod">
          <ac:chgData name="Steiner Andreas 6206 ED" userId="e6377c33-a923-4f14-8587-531c474c7b48" providerId="ADAL" clId="{6ECD27E6-B224-41CD-B4E0-E297462320DD}" dt="2023-11-24T08:47:03.020" v="67807"/>
          <ac:spMkLst>
            <pc:docMk/>
            <pc:sldMk cId="3184642303" sldId="2147478578"/>
            <ac:spMk id="470" creationId="{F935D8D1-62A2-F4D5-BD48-4A59FC483DE5}"/>
          </ac:spMkLst>
        </pc:spChg>
        <pc:spChg chg="add del mod">
          <ac:chgData name="Steiner Andreas 6206 ED" userId="e6377c33-a923-4f14-8587-531c474c7b48" providerId="ADAL" clId="{6ECD27E6-B224-41CD-B4E0-E297462320DD}" dt="2023-11-24T08:47:05.049" v="67962"/>
          <ac:spMkLst>
            <pc:docMk/>
            <pc:sldMk cId="3184642303" sldId="2147478578"/>
            <ac:spMk id="471" creationId="{06AA5E1A-1B71-11CF-C7B7-DDBC9266FE4E}"/>
          </ac:spMkLst>
        </pc:spChg>
        <pc:spChg chg="add del mod">
          <ac:chgData name="Steiner Andreas 6206 ED" userId="e6377c33-a923-4f14-8587-531c474c7b48" providerId="ADAL" clId="{6ECD27E6-B224-41CD-B4E0-E297462320DD}" dt="2023-11-24T08:47:06.825" v="68117"/>
          <ac:spMkLst>
            <pc:docMk/>
            <pc:sldMk cId="3184642303" sldId="2147478578"/>
            <ac:spMk id="472" creationId="{72D99929-DC93-0E56-86F9-DEDC3DC3C78F}"/>
          </ac:spMkLst>
        </pc:spChg>
        <pc:spChg chg="add del mod">
          <ac:chgData name="Steiner Andreas 6206 ED" userId="e6377c33-a923-4f14-8587-531c474c7b48" providerId="ADAL" clId="{6ECD27E6-B224-41CD-B4E0-E297462320DD}" dt="2023-11-24T08:47:08.709" v="68272"/>
          <ac:spMkLst>
            <pc:docMk/>
            <pc:sldMk cId="3184642303" sldId="2147478578"/>
            <ac:spMk id="473" creationId="{D1E94440-D2A2-6EAC-ABA8-FE0C306FCE09}"/>
          </ac:spMkLst>
        </pc:spChg>
        <pc:spChg chg="add del mod">
          <ac:chgData name="Steiner Andreas 6206 ED" userId="e6377c33-a923-4f14-8587-531c474c7b48" providerId="ADAL" clId="{6ECD27E6-B224-41CD-B4E0-E297462320DD}" dt="2023-11-24T08:47:10.564" v="68427"/>
          <ac:spMkLst>
            <pc:docMk/>
            <pc:sldMk cId="3184642303" sldId="2147478578"/>
            <ac:spMk id="474" creationId="{DEB07051-A069-B48F-C48B-B7ABADA51EBD}"/>
          </ac:spMkLst>
        </pc:spChg>
        <pc:spChg chg="add del mod">
          <ac:chgData name="Steiner Andreas 6206 ED" userId="e6377c33-a923-4f14-8587-531c474c7b48" providerId="ADAL" clId="{6ECD27E6-B224-41CD-B4E0-E297462320DD}" dt="2023-11-24T08:47:12.468" v="68582"/>
          <ac:spMkLst>
            <pc:docMk/>
            <pc:sldMk cId="3184642303" sldId="2147478578"/>
            <ac:spMk id="475" creationId="{79049B27-9C97-78D3-05EB-3B0D0AD15153}"/>
          </ac:spMkLst>
        </pc:spChg>
        <pc:spChg chg="add del mod">
          <ac:chgData name="Steiner Andreas 6206 ED" userId="e6377c33-a923-4f14-8587-531c474c7b48" providerId="ADAL" clId="{6ECD27E6-B224-41CD-B4E0-E297462320DD}" dt="2023-11-24T08:47:14.611" v="68737"/>
          <ac:spMkLst>
            <pc:docMk/>
            <pc:sldMk cId="3184642303" sldId="2147478578"/>
            <ac:spMk id="476" creationId="{6A3EAD13-D1C1-DC42-7A17-DACDE92BDAE5}"/>
          </ac:spMkLst>
        </pc:spChg>
        <pc:spChg chg="add del mod">
          <ac:chgData name="Steiner Andreas 6206 ED" userId="e6377c33-a923-4f14-8587-531c474c7b48" providerId="ADAL" clId="{6ECD27E6-B224-41CD-B4E0-E297462320DD}" dt="2023-11-24T08:47:16.597" v="68892"/>
          <ac:spMkLst>
            <pc:docMk/>
            <pc:sldMk cId="3184642303" sldId="2147478578"/>
            <ac:spMk id="477" creationId="{F5186D31-811C-3D66-BAA8-0C3973772FF9}"/>
          </ac:spMkLst>
        </pc:spChg>
        <pc:spChg chg="add del mod">
          <ac:chgData name="Steiner Andreas 6206 ED" userId="e6377c33-a923-4f14-8587-531c474c7b48" providerId="ADAL" clId="{6ECD27E6-B224-41CD-B4E0-E297462320DD}" dt="2023-11-24T08:47:18.496" v="69047"/>
          <ac:spMkLst>
            <pc:docMk/>
            <pc:sldMk cId="3184642303" sldId="2147478578"/>
            <ac:spMk id="478" creationId="{C43D230C-64E3-F52E-7FBD-9C9E03382B5C}"/>
          </ac:spMkLst>
        </pc:spChg>
        <pc:spChg chg="add del mod">
          <ac:chgData name="Steiner Andreas 6206 ED" userId="e6377c33-a923-4f14-8587-531c474c7b48" providerId="ADAL" clId="{6ECD27E6-B224-41CD-B4E0-E297462320DD}" dt="2023-11-24T08:47:20.498" v="69202"/>
          <ac:spMkLst>
            <pc:docMk/>
            <pc:sldMk cId="3184642303" sldId="2147478578"/>
            <ac:spMk id="479" creationId="{D778C304-05C7-32C4-59C4-C6D392EC1391}"/>
          </ac:spMkLst>
        </pc:spChg>
        <pc:spChg chg="add del mod">
          <ac:chgData name="Steiner Andreas 6206 ED" userId="e6377c33-a923-4f14-8587-531c474c7b48" providerId="ADAL" clId="{6ECD27E6-B224-41CD-B4E0-E297462320DD}" dt="2023-11-24T08:47:22.822" v="69357"/>
          <ac:spMkLst>
            <pc:docMk/>
            <pc:sldMk cId="3184642303" sldId="2147478578"/>
            <ac:spMk id="480" creationId="{105825D3-2404-D6E9-BB27-F2548ABCA6E1}"/>
          </ac:spMkLst>
        </pc:spChg>
        <pc:spChg chg="add del mod">
          <ac:chgData name="Steiner Andreas 6206 ED" userId="e6377c33-a923-4f14-8587-531c474c7b48" providerId="ADAL" clId="{6ECD27E6-B224-41CD-B4E0-E297462320DD}" dt="2023-11-24T08:47:25.510" v="69512"/>
          <ac:spMkLst>
            <pc:docMk/>
            <pc:sldMk cId="3184642303" sldId="2147478578"/>
            <ac:spMk id="481" creationId="{4A419C3F-02CD-72EC-423C-E57D8AD23C16}"/>
          </ac:spMkLst>
        </pc:spChg>
        <pc:spChg chg="add del mod">
          <ac:chgData name="Steiner Andreas 6206 ED" userId="e6377c33-a923-4f14-8587-531c474c7b48" providerId="ADAL" clId="{6ECD27E6-B224-41CD-B4E0-E297462320DD}" dt="2023-11-24T08:47:27.733" v="69667"/>
          <ac:spMkLst>
            <pc:docMk/>
            <pc:sldMk cId="3184642303" sldId="2147478578"/>
            <ac:spMk id="482" creationId="{00D8A234-215F-DCDD-47C4-C7214C2161EF}"/>
          </ac:spMkLst>
        </pc:spChg>
        <pc:spChg chg="add del mod">
          <ac:chgData name="Steiner Andreas 6206 ED" userId="e6377c33-a923-4f14-8587-531c474c7b48" providerId="ADAL" clId="{6ECD27E6-B224-41CD-B4E0-E297462320DD}" dt="2023-11-24T08:47:29.805" v="69822"/>
          <ac:spMkLst>
            <pc:docMk/>
            <pc:sldMk cId="3184642303" sldId="2147478578"/>
            <ac:spMk id="483" creationId="{22D35608-9321-E6A0-8237-F153F6E506C5}"/>
          </ac:spMkLst>
        </pc:spChg>
        <pc:spChg chg="add del mod">
          <ac:chgData name="Steiner Andreas 6206 ED" userId="e6377c33-a923-4f14-8587-531c474c7b48" providerId="ADAL" clId="{6ECD27E6-B224-41CD-B4E0-E297462320DD}" dt="2023-11-24T08:47:31.777" v="69977"/>
          <ac:spMkLst>
            <pc:docMk/>
            <pc:sldMk cId="3184642303" sldId="2147478578"/>
            <ac:spMk id="484" creationId="{DC52C9A1-242A-0AA7-7086-AD346533447D}"/>
          </ac:spMkLst>
        </pc:spChg>
        <pc:spChg chg="add del mod">
          <ac:chgData name="Steiner Andreas 6206 ED" userId="e6377c33-a923-4f14-8587-531c474c7b48" providerId="ADAL" clId="{6ECD27E6-B224-41CD-B4E0-E297462320DD}" dt="2023-11-24T08:47:33.774" v="70132"/>
          <ac:spMkLst>
            <pc:docMk/>
            <pc:sldMk cId="3184642303" sldId="2147478578"/>
            <ac:spMk id="485" creationId="{AFEA7D37-F96F-24E2-681C-40A73FCFCD6F}"/>
          </ac:spMkLst>
        </pc:spChg>
        <pc:spChg chg="add del mod">
          <ac:chgData name="Steiner Andreas 6206 ED" userId="e6377c33-a923-4f14-8587-531c474c7b48" providerId="ADAL" clId="{6ECD27E6-B224-41CD-B4E0-E297462320DD}" dt="2023-11-24T08:47:35.925" v="70287"/>
          <ac:spMkLst>
            <pc:docMk/>
            <pc:sldMk cId="3184642303" sldId="2147478578"/>
            <ac:spMk id="486" creationId="{97417835-09F1-3BC3-0C11-ADA288FFB2E1}"/>
          </ac:spMkLst>
        </pc:spChg>
        <pc:spChg chg="add del mod">
          <ac:chgData name="Steiner Andreas 6206 ED" userId="e6377c33-a923-4f14-8587-531c474c7b48" providerId="ADAL" clId="{6ECD27E6-B224-41CD-B4E0-E297462320DD}" dt="2023-11-24T08:47:38.030" v="70442"/>
          <ac:spMkLst>
            <pc:docMk/>
            <pc:sldMk cId="3184642303" sldId="2147478578"/>
            <ac:spMk id="487" creationId="{36481280-A2FF-7C81-009F-C5487E31908E}"/>
          </ac:spMkLst>
        </pc:spChg>
        <pc:spChg chg="add del mod">
          <ac:chgData name="Steiner Andreas 6206 ED" userId="e6377c33-a923-4f14-8587-531c474c7b48" providerId="ADAL" clId="{6ECD27E6-B224-41CD-B4E0-E297462320DD}" dt="2023-11-24T08:47:40.108" v="70597"/>
          <ac:spMkLst>
            <pc:docMk/>
            <pc:sldMk cId="3184642303" sldId="2147478578"/>
            <ac:spMk id="488" creationId="{33314E35-DC0F-C4A4-4268-19A9C54E310D}"/>
          </ac:spMkLst>
        </pc:spChg>
        <pc:spChg chg="add del mod">
          <ac:chgData name="Steiner Andreas 6206 ED" userId="e6377c33-a923-4f14-8587-531c474c7b48" providerId="ADAL" clId="{6ECD27E6-B224-41CD-B4E0-E297462320DD}" dt="2023-11-24T08:47:42.043" v="70752"/>
          <ac:spMkLst>
            <pc:docMk/>
            <pc:sldMk cId="3184642303" sldId="2147478578"/>
            <ac:spMk id="489" creationId="{D783E666-5885-397C-D040-CEF95CA41AEC}"/>
          </ac:spMkLst>
        </pc:spChg>
        <pc:spChg chg="add del mod">
          <ac:chgData name="Steiner Andreas 6206 ED" userId="e6377c33-a923-4f14-8587-531c474c7b48" providerId="ADAL" clId="{6ECD27E6-B224-41CD-B4E0-E297462320DD}" dt="2023-11-24T08:47:43.961" v="70907"/>
          <ac:spMkLst>
            <pc:docMk/>
            <pc:sldMk cId="3184642303" sldId="2147478578"/>
            <ac:spMk id="490" creationId="{4DD27DD7-4DB3-5BD6-EBC0-B3C0208CFBD8}"/>
          </ac:spMkLst>
        </pc:spChg>
        <pc:spChg chg="add del mod">
          <ac:chgData name="Steiner Andreas 6206 ED" userId="e6377c33-a923-4f14-8587-531c474c7b48" providerId="ADAL" clId="{6ECD27E6-B224-41CD-B4E0-E297462320DD}" dt="2023-11-24T08:47:45.882" v="71062"/>
          <ac:spMkLst>
            <pc:docMk/>
            <pc:sldMk cId="3184642303" sldId="2147478578"/>
            <ac:spMk id="491" creationId="{F2870684-FC09-EDB7-163D-B57D9877163B}"/>
          </ac:spMkLst>
        </pc:spChg>
        <pc:spChg chg="add del mod">
          <ac:chgData name="Steiner Andreas 6206 ED" userId="e6377c33-a923-4f14-8587-531c474c7b48" providerId="ADAL" clId="{6ECD27E6-B224-41CD-B4E0-E297462320DD}" dt="2023-11-24T08:47:47.957" v="71217"/>
          <ac:spMkLst>
            <pc:docMk/>
            <pc:sldMk cId="3184642303" sldId="2147478578"/>
            <ac:spMk id="492" creationId="{0E8E8E20-90A3-DC14-59FC-86B989BE6173}"/>
          </ac:spMkLst>
        </pc:spChg>
        <pc:spChg chg="add del mod">
          <ac:chgData name="Steiner Andreas 6206 ED" userId="e6377c33-a923-4f14-8587-531c474c7b48" providerId="ADAL" clId="{6ECD27E6-B224-41CD-B4E0-E297462320DD}" dt="2023-11-24T08:47:50.040" v="71372"/>
          <ac:spMkLst>
            <pc:docMk/>
            <pc:sldMk cId="3184642303" sldId="2147478578"/>
            <ac:spMk id="493" creationId="{45A7EFDD-96FF-AC4D-E56A-FB7ACED09FD7}"/>
          </ac:spMkLst>
        </pc:spChg>
        <pc:spChg chg="add del mod">
          <ac:chgData name="Steiner Andreas 6206 ED" userId="e6377c33-a923-4f14-8587-531c474c7b48" providerId="ADAL" clId="{6ECD27E6-B224-41CD-B4E0-E297462320DD}" dt="2023-11-24T08:47:51.993" v="71527"/>
          <ac:spMkLst>
            <pc:docMk/>
            <pc:sldMk cId="3184642303" sldId="2147478578"/>
            <ac:spMk id="494" creationId="{5DA1C94F-AA0B-6B1E-092D-1595C9F5218F}"/>
          </ac:spMkLst>
        </pc:spChg>
        <pc:spChg chg="add del mod">
          <ac:chgData name="Steiner Andreas 6206 ED" userId="e6377c33-a923-4f14-8587-531c474c7b48" providerId="ADAL" clId="{6ECD27E6-B224-41CD-B4E0-E297462320DD}" dt="2023-11-24T08:47:53.948" v="71682"/>
          <ac:spMkLst>
            <pc:docMk/>
            <pc:sldMk cId="3184642303" sldId="2147478578"/>
            <ac:spMk id="495" creationId="{3F0B54E0-CF82-0280-8F54-AE9A58CB8445}"/>
          </ac:spMkLst>
        </pc:spChg>
        <pc:spChg chg="add del mod">
          <ac:chgData name="Steiner Andreas 6206 ED" userId="e6377c33-a923-4f14-8587-531c474c7b48" providerId="ADAL" clId="{6ECD27E6-B224-41CD-B4E0-E297462320DD}" dt="2023-11-24T08:47:55.773" v="71837"/>
          <ac:spMkLst>
            <pc:docMk/>
            <pc:sldMk cId="3184642303" sldId="2147478578"/>
            <ac:spMk id="496" creationId="{8156708F-D3A3-B8F5-9DE4-516CA9D09451}"/>
          </ac:spMkLst>
        </pc:spChg>
        <pc:spChg chg="add del mod">
          <ac:chgData name="Steiner Andreas 6206 ED" userId="e6377c33-a923-4f14-8587-531c474c7b48" providerId="ADAL" clId="{6ECD27E6-B224-41CD-B4E0-E297462320DD}" dt="2023-11-24T08:47:57.761" v="71992"/>
          <ac:spMkLst>
            <pc:docMk/>
            <pc:sldMk cId="3184642303" sldId="2147478578"/>
            <ac:spMk id="497" creationId="{ABB9EC3C-FEC9-0DB0-38D7-7588225A7663}"/>
          </ac:spMkLst>
        </pc:spChg>
        <pc:spChg chg="add del mod">
          <ac:chgData name="Steiner Andreas 6206 ED" userId="e6377c33-a923-4f14-8587-531c474c7b48" providerId="ADAL" clId="{6ECD27E6-B224-41CD-B4E0-E297462320DD}" dt="2023-11-24T08:47:59.874" v="72147"/>
          <ac:spMkLst>
            <pc:docMk/>
            <pc:sldMk cId="3184642303" sldId="2147478578"/>
            <ac:spMk id="498" creationId="{CD212A04-44AA-A1A4-3DA9-5D305E637FEE}"/>
          </ac:spMkLst>
        </pc:spChg>
        <pc:spChg chg="add del mod">
          <ac:chgData name="Steiner Andreas 6206 ED" userId="e6377c33-a923-4f14-8587-531c474c7b48" providerId="ADAL" clId="{6ECD27E6-B224-41CD-B4E0-E297462320DD}" dt="2023-11-24T08:48:02.012" v="72302"/>
          <ac:spMkLst>
            <pc:docMk/>
            <pc:sldMk cId="3184642303" sldId="2147478578"/>
            <ac:spMk id="499" creationId="{201EE3AC-A3BC-75D9-AA0D-75F9E84EE42D}"/>
          </ac:spMkLst>
        </pc:spChg>
        <pc:spChg chg="add del mod">
          <ac:chgData name="Steiner Andreas 6206 ED" userId="e6377c33-a923-4f14-8587-531c474c7b48" providerId="ADAL" clId="{6ECD27E6-B224-41CD-B4E0-E297462320DD}" dt="2023-11-24T08:48:04.042" v="72457"/>
          <ac:spMkLst>
            <pc:docMk/>
            <pc:sldMk cId="3184642303" sldId="2147478578"/>
            <ac:spMk id="500" creationId="{46651DB6-DE31-3D5C-4C87-0B2B318A6DB9}"/>
          </ac:spMkLst>
        </pc:spChg>
        <pc:spChg chg="add del mod">
          <ac:chgData name="Steiner Andreas 6206 ED" userId="e6377c33-a923-4f14-8587-531c474c7b48" providerId="ADAL" clId="{6ECD27E6-B224-41CD-B4E0-E297462320DD}" dt="2023-11-24T08:48:06.225" v="72612"/>
          <ac:spMkLst>
            <pc:docMk/>
            <pc:sldMk cId="3184642303" sldId="2147478578"/>
            <ac:spMk id="501" creationId="{17D98CA1-8DB7-59A6-DCD3-7B72A402082C}"/>
          </ac:spMkLst>
        </pc:spChg>
        <pc:spChg chg="add del mod">
          <ac:chgData name="Steiner Andreas 6206 ED" userId="e6377c33-a923-4f14-8587-531c474c7b48" providerId="ADAL" clId="{6ECD27E6-B224-41CD-B4E0-E297462320DD}" dt="2023-11-24T08:48:08.423" v="72767"/>
          <ac:spMkLst>
            <pc:docMk/>
            <pc:sldMk cId="3184642303" sldId="2147478578"/>
            <ac:spMk id="502" creationId="{9344128A-9685-7951-9904-328DB11B3CE9}"/>
          </ac:spMkLst>
        </pc:spChg>
        <pc:spChg chg="add del mod">
          <ac:chgData name="Steiner Andreas 6206 ED" userId="e6377c33-a923-4f14-8587-531c474c7b48" providerId="ADAL" clId="{6ECD27E6-B224-41CD-B4E0-E297462320DD}" dt="2023-11-24T08:48:10.458" v="72922"/>
          <ac:spMkLst>
            <pc:docMk/>
            <pc:sldMk cId="3184642303" sldId="2147478578"/>
            <ac:spMk id="503" creationId="{8C657707-61A1-6E4A-2A3B-5A42EFDAC47B}"/>
          </ac:spMkLst>
        </pc:spChg>
        <pc:spChg chg="add del mod">
          <ac:chgData name="Steiner Andreas 6206 ED" userId="e6377c33-a923-4f14-8587-531c474c7b48" providerId="ADAL" clId="{6ECD27E6-B224-41CD-B4E0-E297462320DD}" dt="2023-11-24T08:48:12.433" v="73077"/>
          <ac:spMkLst>
            <pc:docMk/>
            <pc:sldMk cId="3184642303" sldId="2147478578"/>
            <ac:spMk id="504" creationId="{29FCB774-D8E0-5079-4603-E4E585161EFC}"/>
          </ac:spMkLst>
        </pc:spChg>
        <pc:spChg chg="add del mod">
          <ac:chgData name="Steiner Andreas 6206 ED" userId="e6377c33-a923-4f14-8587-531c474c7b48" providerId="ADAL" clId="{6ECD27E6-B224-41CD-B4E0-E297462320DD}" dt="2023-11-24T08:48:14.902" v="73232"/>
          <ac:spMkLst>
            <pc:docMk/>
            <pc:sldMk cId="3184642303" sldId="2147478578"/>
            <ac:spMk id="505" creationId="{2948E7A8-3FC8-0F14-233D-7578477B83DE}"/>
          </ac:spMkLst>
        </pc:spChg>
        <pc:spChg chg="add del mod">
          <ac:chgData name="Steiner Andreas 6206 ED" userId="e6377c33-a923-4f14-8587-531c474c7b48" providerId="ADAL" clId="{6ECD27E6-B224-41CD-B4E0-E297462320DD}" dt="2023-11-24T08:48:17.714" v="73387"/>
          <ac:spMkLst>
            <pc:docMk/>
            <pc:sldMk cId="3184642303" sldId="2147478578"/>
            <ac:spMk id="506" creationId="{484994B2-CCB2-8A33-02DD-EB52AD40CA77}"/>
          </ac:spMkLst>
        </pc:spChg>
        <pc:spChg chg="add del mod">
          <ac:chgData name="Steiner Andreas 6206 ED" userId="e6377c33-a923-4f14-8587-531c474c7b48" providerId="ADAL" clId="{6ECD27E6-B224-41CD-B4E0-E297462320DD}" dt="2023-11-24T08:48:20.260" v="73542"/>
          <ac:spMkLst>
            <pc:docMk/>
            <pc:sldMk cId="3184642303" sldId="2147478578"/>
            <ac:spMk id="507" creationId="{EEF2BC8A-E7B7-7E32-A349-D207A9448B2C}"/>
          </ac:spMkLst>
        </pc:spChg>
        <pc:spChg chg="add del mod">
          <ac:chgData name="Steiner Andreas 6206 ED" userId="e6377c33-a923-4f14-8587-531c474c7b48" providerId="ADAL" clId="{6ECD27E6-B224-41CD-B4E0-E297462320DD}" dt="2023-11-24T08:48:22.398" v="73697"/>
          <ac:spMkLst>
            <pc:docMk/>
            <pc:sldMk cId="3184642303" sldId="2147478578"/>
            <ac:spMk id="508" creationId="{37A1B305-28F2-7F13-D25A-50347A6B6BFC}"/>
          </ac:spMkLst>
        </pc:spChg>
        <pc:spChg chg="add del mod">
          <ac:chgData name="Steiner Andreas 6206 ED" userId="e6377c33-a923-4f14-8587-531c474c7b48" providerId="ADAL" clId="{6ECD27E6-B224-41CD-B4E0-E297462320DD}" dt="2023-11-24T08:48:24.484" v="73852"/>
          <ac:spMkLst>
            <pc:docMk/>
            <pc:sldMk cId="3184642303" sldId="2147478578"/>
            <ac:spMk id="509" creationId="{2FA550A4-FF6E-4518-BF99-C045E3930FC3}"/>
          </ac:spMkLst>
        </pc:spChg>
        <pc:spChg chg="add del mod">
          <ac:chgData name="Steiner Andreas 6206 ED" userId="e6377c33-a923-4f14-8587-531c474c7b48" providerId="ADAL" clId="{6ECD27E6-B224-41CD-B4E0-E297462320DD}" dt="2023-11-24T08:48:26.594" v="74007"/>
          <ac:spMkLst>
            <pc:docMk/>
            <pc:sldMk cId="3184642303" sldId="2147478578"/>
            <ac:spMk id="510" creationId="{F36944D9-6A2E-CEC6-7BBE-94F6910E90EB}"/>
          </ac:spMkLst>
        </pc:spChg>
        <pc:spChg chg="add del mod">
          <ac:chgData name="Steiner Andreas 6206 ED" userId="e6377c33-a923-4f14-8587-531c474c7b48" providerId="ADAL" clId="{6ECD27E6-B224-41CD-B4E0-E297462320DD}" dt="2023-11-24T08:48:28.609" v="74162"/>
          <ac:spMkLst>
            <pc:docMk/>
            <pc:sldMk cId="3184642303" sldId="2147478578"/>
            <ac:spMk id="511" creationId="{2927B659-A5BA-8B07-2F99-C86480F8C5CE}"/>
          </ac:spMkLst>
        </pc:spChg>
        <pc:spChg chg="add del mod">
          <ac:chgData name="Steiner Andreas 6206 ED" userId="e6377c33-a923-4f14-8587-531c474c7b48" providerId="ADAL" clId="{6ECD27E6-B224-41CD-B4E0-E297462320DD}" dt="2023-11-24T08:48:30.489" v="74317"/>
          <ac:spMkLst>
            <pc:docMk/>
            <pc:sldMk cId="3184642303" sldId="2147478578"/>
            <ac:spMk id="512" creationId="{64203E35-D4C3-4BFF-93F6-A5B420337C7C}"/>
          </ac:spMkLst>
        </pc:spChg>
        <pc:spChg chg="add del mod">
          <ac:chgData name="Steiner Andreas 6206 ED" userId="e6377c33-a923-4f14-8587-531c474c7b48" providerId="ADAL" clId="{6ECD27E6-B224-41CD-B4E0-E297462320DD}" dt="2023-11-24T08:48:32.447" v="74472"/>
          <ac:spMkLst>
            <pc:docMk/>
            <pc:sldMk cId="3184642303" sldId="2147478578"/>
            <ac:spMk id="513" creationId="{EA005DFA-F917-5FAE-E20E-2F0E6A357D28}"/>
          </ac:spMkLst>
        </pc:spChg>
        <pc:spChg chg="add del mod">
          <ac:chgData name="Steiner Andreas 6206 ED" userId="e6377c33-a923-4f14-8587-531c474c7b48" providerId="ADAL" clId="{6ECD27E6-B224-41CD-B4E0-E297462320DD}" dt="2023-11-24T08:48:34.728" v="74627"/>
          <ac:spMkLst>
            <pc:docMk/>
            <pc:sldMk cId="3184642303" sldId="2147478578"/>
            <ac:spMk id="514" creationId="{5E229265-C9F9-1886-795E-BA5A9ACDFFCA}"/>
          </ac:spMkLst>
        </pc:spChg>
        <pc:spChg chg="add del mod">
          <ac:chgData name="Steiner Andreas 6206 ED" userId="e6377c33-a923-4f14-8587-531c474c7b48" providerId="ADAL" clId="{6ECD27E6-B224-41CD-B4E0-E297462320DD}" dt="2023-11-24T08:48:36.851" v="74782"/>
          <ac:spMkLst>
            <pc:docMk/>
            <pc:sldMk cId="3184642303" sldId="2147478578"/>
            <ac:spMk id="515" creationId="{81E42200-F7BF-6B0F-1C24-4103859C7CE3}"/>
          </ac:spMkLst>
        </pc:spChg>
        <pc:spChg chg="add del mod">
          <ac:chgData name="Steiner Andreas 6206 ED" userId="e6377c33-a923-4f14-8587-531c474c7b48" providerId="ADAL" clId="{6ECD27E6-B224-41CD-B4E0-E297462320DD}" dt="2023-11-24T08:48:38.926" v="74937"/>
          <ac:spMkLst>
            <pc:docMk/>
            <pc:sldMk cId="3184642303" sldId="2147478578"/>
            <ac:spMk id="516" creationId="{7F9F08E9-51F3-FEFE-1874-90035BB7F6C3}"/>
          </ac:spMkLst>
        </pc:spChg>
        <pc:spChg chg="add del mod">
          <ac:chgData name="Steiner Andreas 6206 ED" userId="e6377c33-a923-4f14-8587-531c474c7b48" providerId="ADAL" clId="{6ECD27E6-B224-41CD-B4E0-E297462320DD}" dt="2023-11-24T08:48:41.050" v="75092"/>
          <ac:spMkLst>
            <pc:docMk/>
            <pc:sldMk cId="3184642303" sldId="2147478578"/>
            <ac:spMk id="517" creationId="{9146420D-E5C1-FF10-3AC1-4FDC92A355A4}"/>
          </ac:spMkLst>
        </pc:spChg>
        <pc:spChg chg="add del mod">
          <ac:chgData name="Steiner Andreas 6206 ED" userId="e6377c33-a923-4f14-8587-531c474c7b48" providerId="ADAL" clId="{6ECD27E6-B224-41CD-B4E0-E297462320DD}" dt="2023-11-24T08:48:43.482" v="75247"/>
          <ac:spMkLst>
            <pc:docMk/>
            <pc:sldMk cId="3184642303" sldId="2147478578"/>
            <ac:spMk id="518" creationId="{FAFAD568-9E1E-2459-787B-D9B398976C74}"/>
          </ac:spMkLst>
        </pc:spChg>
        <pc:spChg chg="add del mod">
          <ac:chgData name="Steiner Andreas 6206 ED" userId="e6377c33-a923-4f14-8587-531c474c7b48" providerId="ADAL" clId="{6ECD27E6-B224-41CD-B4E0-E297462320DD}" dt="2023-11-24T08:48:45.792" v="75402"/>
          <ac:spMkLst>
            <pc:docMk/>
            <pc:sldMk cId="3184642303" sldId="2147478578"/>
            <ac:spMk id="519" creationId="{68EB77FD-0221-1E55-A6E3-CCA720D2CD03}"/>
          </ac:spMkLst>
        </pc:spChg>
        <pc:spChg chg="add del mod">
          <ac:chgData name="Steiner Andreas 6206 ED" userId="e6377c33-a923-4f14-8587-531c474c7b48" providerId="ADAL" clId="{6ECD27E6-B224-41CD-B4E0-E297462320DD}" dt="2023-11-24T08:48:47.851" v="75557"/>
          <ac:spMkLst>
            <pc:docMk/>
            <pc:sldMk cId="3184642303" sldId="2147478578"/>
            <ac:spMk id="520" creationId="{66113F77-6632-23D3-B387-9E0AAF4F12F1}"/>
          </ac:spMkLst>
        </pc:spChg>
        <pc:spChg chg="add del mod">
          <ac:chgData name="Steiner Andreas 6206 ED" userId="e6377c33-a923-4f14-8587-531c474c7b48" providerId="ADAL" clId="{6ECD27E6-B224-41CD-B4E0-E297462320DD}" dt="2023-11-24T08:48:49.786" v="75712"/>
          <ac:spMkLst>
            <pc:docMk/>
            <pc:sldMk cId="3184642303" sldId="2147478578"/>
            <ac:spMk id="521" creationId="{0F7ED358-518C-4DD3-5996-D2EA78F85C88}"/>
          </ac:spMkLst>
        </pc:spChg>
        <pc:spChg chg="add del mod">
          <ac:chgData name="Steiner Andreas 6206 ED" userId="e6377c33-a923-4f14-8587-531c474c7b48" providerId="ADAL" clId="{6ECD27E6-B224-41CD-B4E0-E297462320DD}" dt="2023-11-24T08:48:52.017" v="75867"/>
          <ac:spMkLst>
            <pc:docMk/>
            <pc:sldMk cId="3184642303" sldId="2147478578"/>
            <ac:spMk id="522" creationId="{55323F0B-DF23-F6CE-10F0-F333224775F2}"/>
          </ac:spMkLst>
        </pc:spChg>
        <pc:spChg chg="add del mod">
          <ac:chgData name="Steiner Andreas 6206 ED" userId="e6377c33-a923-4f14-8587-531c474c7b48" providerId="ADAL" clId="{6ECD27E6-B224-41CD-B4E0-E297462320DD}" dt="2023-11-24T08:48:53.953" v="76022"/>
          <ac:spMkLst>
            <pc:docMk/>
            <pc:sldMk cId="3184642303" sldId="2147478578"/>
            <ac:spMk id="523" creationId="{9C42DDA0-BC92-F077-9079-2C7023CDD8AF}"/>
          </ac:spMkLst>
        </pc:spChg>
        <pc:spChg chg="add del mod">
          <ac:chgData name="Steiner Andreas 6206 ED" userId="e6377c33-a923-4f14-8587-531c474c7b48" providerId="ADAL" clId="{6ECD27E6-B224-41CD-B4E0-E297462320DD}" dt="2023-11-24T08:48:55.929" v="76177"/>
          <ac:spMkLst>
            <pc:docMk/>
            <pc:sldMk cId="3184642303" sldId="2147478578"/>
            <ac:spMk id="524" creationId="{389D4E19-D45C-E244-1D24-B758AEB495AC}"/>
          </ac:spMkLst>
        </pc:spChg>
        <pc:spChg chg="add del mod">
          <ac:chgData name="Steiner Andreas 6206 ED" userId="e6377c33-a923-4f14-8587-531c474c7b48" providerId="ADAL" clId="{6ECD27E6-B224-41CD-B4E0-E297462320DD}" dt="2023-11-24T08:48:57.884" v="76332"/>
          <ac:spMkLst>
            <pc:docMk/>
            <pc:sldMk cId="3184642303" sldId="2147478578"/>
            <ac:spMk id="525" creationId="{FCB08466-47C6-642D-289C-5BC43BB051B7}"/>
          </ac:spMkLst>
        </pc:spChg>
        <pc:spChg chg="add del mod">
          <ac:chgData name="Steiner Andreas 6206 ED" userId="e6377c33-a923-4f14-8587-531c474c7b48" providerId="ADAL" clId="{6ECD27E6-B224-41CD-B4E0-E297462320DD}" dt="2023-11-24T08:48:59.938" v="76487"/>
          <ac:spMkLst>
            <pc:docMk/>
            <pc:sldMk cId="3184642303" sldId="2147478578"/>
            <ac:spMk id="526" creationId="{FE04477E-534F-53F0-AE19-C32EE4F43241}"/>
          </ac:spMkLst>
        </pc:spChg>
        <pc:spChg chg="add del mod">
          <ac:chgData name="Steiner Andreas 6206 ED" userId="e6377c33-a923-4f14-8587-531c474c7b48" providerId="ADAL" clId="{6ECD27E6-B224-41CD-B4E0-E297462320DD}" dt="2023-11-24T08:49:01.918" v="76642"/>
          <ac:spMkLst>
            <pc:docMk/>
            <pc:sldMk cId="3184642303" sldId="2147478578"/>
            <ac:spMk id="527" creationId="{999CDEC3-8374-9027-A683-13BE4479B90A}"/>
          </ac:spMkLst>
        </pc:spChg>
        <pc:spChg chg="add del mod">
          <ac:chgData name="Steiner Andreas 6206 ED" userId="e6377c33-a923-4f14-8587-531c474c7b48" providerId="ADAL" clId="{6ECD27E6-B224-41CD-B4E0-E297462320DD}" dt="2023-11-24T08:49:03.875" v="76797"/>
          <ac:spMkLst>
            <pc:docMk/>
            <pc:sldMk cId="3184642303" sldId="2147478578"/>
            <ac:spMk id="528" creationId="{D44DAF4E-61EA-291E-CAFB-B9C80259CDFA}"/>
          </ac:spMkLst>
        </pc:spChg>
        <pc:spChg chg="add del mod">
          <ac:chgData name="Steiner Andreas 6206 ED" userId="e6377c33-a923-4f14-8587-531c474c7b48" providerId="ADAL" clId="{6ECD27E6-B224-41CD-B4E0-E297462320DD}" dt="2023-11-24T08:49:05.768" v="76952"/>
          <ac:spMkLst>
            <pc:docMk/>
            <pc:sldMk cId="3184642303" sldId="2147478578"/>
            <ac:spMk id="529" creationId="{6B8B386E-6C04-224F-95F2-D6E5883F0A97}"/>
          </ac:spMkLst>
        </pc:spChg>
        <pc:spChg chg="add del mod">
          <ac:chgData name="Steiner Andreas 6206 ED" userId="e6377c33-a923-4f14-8587-531c474c7b48" providerId="ADAL" clId="{6ECD27E6-B224-41CD-B4E0-E297462320DD}" dt="2023-11-24T08:49:07.882" v="77107"/>
          <ac:spMkLst>
            <pc:docMk/>
            <pc:sldMk cId="3184642303" sldId="2147478578"/>
            <ac:spMk id="530" creationId="{FA83A75B-22E7-445A-F53F-E2FBC7FEBE06}"/>
          </ac:spMkLst>
        </pc:spChg>
        <pc:spChg chg="add del mod">
          <ac:chgData name="Steiner Andreas 6206 ED" userId="e6377c33-a923-4f14-8587-531c474c7b48" providerId="ADAL" clId="{6ECD27E6-B224-41CD-B4E0-E297462320DD}" dt="2023-11-24T08:49:09.775" v="77262"/>
          <ac:spMkLst>
            <pc:docMk/>
            <pc:sldMk cId="3184642303" sldId="2147478578"/>
            <ac:spMk id="531" creationId="{FC355C89-CFB2-A5DB-B697-CE7B49B9BD9D}"/>
          </ac:spMkLst>
        </pc:spChg>
        <pc:spChg chg="add del mod">
          <ac:chgData name="Steiner Andreas 6206 ED" userId="e6377c33-a923-4f14-8587-531c474c7b48" providerId="ADAL" clId="{6ECD27E6-B224-41CD-B4E0-E297462320DD}" dt="2023-11-24T08:49:11.551" v="77417"/>
          <ac:spMkLst>
            <pc:docMk/>
            <pc:sldMk cId="3184642303" sldId="2147478578"/>
            <ac:spMk id="532" creationId="{0BEF791E-D894-D268-EFCB-7DF4E388477E}"/>
          </ac:spMkLst>
        </pc:spChg>
        <pc:spChg chg="add del mod">
          <ac:chgData name="Steiner Andreas 6206 ED" userId="e6377c33-a923-4f14-8587-531c474c7b48" providerId="ADAL" clId="{6ECD27E6-B224-41CD-B4E0-E297462320DD}" dt="2023-11-24T08:49:13.632" v="77572"/>
          <ac:spMkLst>
            <pc:docMk/>
            <pc:sldMk cId="3184642303" sldId="2147478578"/>
            <ac:spMk id="533" creationId="{3659D312-6ABF-EAD6-733F-A18F7524A22A}"/>
          </ac:spMkLst>
        </pc:spChg>
        <pc:spChg chg="add del mod">
          <ac:chgData name="Steiner Andreas 6206 ED" userId="e6377c33-a923-4f14-8587-531c474c7b48" providerId="ADAL" clId="{6ECD27E6-B224-41CD-B4E0-E297462320DD}" dt="2023-11-24T08:49:15.640" v="77727"/>
          <ac:spMkLst>
            <pc:docMk/>
            <pc:sldMk cId="3184642303" sldId="2147478578"/>
            <ac:spMk id="534" creationId="{98B33F53-98AF-181F-DF55-D719974490F7}"/>
          </ac:spMkLst>
        </pc:spChg>
        <pc:spChg chg="add del mod">
          <ac:chgData name="Steiner Andreas 6206 ED" userId="e6377c33-a923-4f14-8587-531c474c7b48" providerId="ADAL" clId="{6ECD27E6-B224-41CD-B4E0-E297462320DD}" dt="2023-11-24T08:49:17.654" v="77882"/>
          <ac:spMkLst>
            <pc:docMk/>
            <pc:sldMk cId="3184642303" sldId="2147478578"/>
            <ac:spMk id="535" creationId="{46EB9257-274F-C7A5-6548-E9081F2138A1}"/>
          </ac:spMkLst>
        </pc:spChg>
        <pc:spChg chg="add del mod">
          <ac:chgData name="Steiner Andreas 6206 ED" userId="e6377c33-a923-4f14-8587-531c474c7b48" providerId="ADAL" clId="{6ECD27E6-B224-41CD-B4E0-E297462320DD}" dt="2023-11-24T08:49:19.720" v="78037"/>
          <ac:spMkLst>
            <pc:docMk/>
            <pc:sldMk cId="3184642303" sldId="2147478578"/>
            <ac:spMk id="536" creationId="{A5533F27-0D37-8A17-0CEE-5028EDF99BCA}"/>
          </ac:spMkLst>
        </pc:spChg>
        <pc:spChg chg="add del mod">
          <ac:chgData name="Steiner Andreas 6206 ED" userId="e6377c33-a923-4f14-8587-531c474c7b48" providerId="ADAL" clId="{6ECD27E6-B224-41CD-B4E0-E297462320DD}" dt="2023-11-24T08:49:21.631" v="78192"/>
          <ac:spMkLst>
            <pc:docMk/>
            <pc:sldMk cId="3184642303" sldId="2147478578"/>
            <ac:spMk id="537" creationId="{85039DA8-93A8-4C5C-DB16-C4C01C3F2739}"/>
          </ac:spMkLst>
        </pc:spChg>
        <pc:spChg chg="add del mod">
          <ac:chgData name="Steiner Andreas 6206 ED" userId="e6377c33-a923-4f14-8587-531c474c7b48" providerId="ADAL" clId="{6ECD27E6-B224-41CD-B4E0-E297462320DD}" dt="2023-11-24T08:49:23.516" v="78347"/>
          <ac:spMkLst>
            <pc:docMk/>
            <pc:sldMk cId="3184642303" sldId="2147478578"/>
            <ac:spMk id="538" creationId="{0125FA31-6D16-2D02-F174-4EBCCE3A08C3}"/>
          </ac:spMkLst>
        </pc:spChg>
        <pc:spChg chg="add del mod">
          <ac:chgData name="Steiner Andreas 6206 ED" userId="e6377c33-a923-4f14-8587-531c474c7b48" providerId="ADAL" clId="{6ECD27E6-B224-41CD-B4E0-E297462320DD}" dt="2023-11-24T08:49:25.408" v="78502"/>
          <ac:spMkLst>
            <pc:docMk/>
            <pc:sldMk cId="3184642303" sldId="2147478578"/>
            <ac:spMk id="539" creationId="{5DE23A28-A168-6CB6-67D9-A9003A8EFF2A}"/>
          </ac:spMkLst>
        </pc:spChg>
        <pc:spChg chg="add del mod">
          <ac:chgData name="Steiner Andreas 6206 ED" userId="e6377c33-a923-4f14-8587-531c474c7b48" providerId="ADAL" clId="{6ECD27E6-B224-41CD-B4E0-E297462320DD}" dt="2023-11-24T08:49:27.456" v="78657"/>
          <ac:spMkLst>
            <pc:docMk/>
            <pc:sldMk cId="3184642303" sldId="2147478578"/>
            <ac:spMk id="540" creationId="{FF3FE2E6-CA69-5232-E55D-3F6146BEBAE7}"/>
          </ac:spMkLst>
        </pc:spChg>
        <pc:spChg chg="add del mod">
          <ac:chgData name="Steiner Andreas 6206 ED" userId="e6377c33-a923-4f14-8587-531c474c7b48" providerId="ADAL" clId="{6ECD27E6-B224-41CD-B4E0-E297462320DD}" dt="2023-11-24T08:49:29.459" v="78812"/>
          <ac:spMkLst>
            <pc:docMk/>
            <pc:sldMk cId="3184642303" sldId="2147478578"/>
            <ac:spMk id="541" creationId="{77385634-E10A-49F2-ACFD-BB22BBD681EC}"/>
          </ac:spMkLst>
        </pc:spChg>
        <pc:spChg chg="add del mod">
          <ac:chgData name="Steiner Andreas 6206 ED" userId="e6377c33-a923-4f14-8587-531c474c7b48" providerId="ADAL" clId="{6ECD27E6-B224-41CD-B4E0-E297462320DD}" dt="2023-11-24T08:49:31.429" v="78967"/>
          <ac:spMkLst>
            <pc:docMk/>
            <pc:sldMk cId="3184642303" sldId="2147478578"/>
            <ac:spMk id="542" creationId="{2701377D-8BCF-CA51-E376-2B50EA4D2FD7}"/>
          </ac:spMkLst>
        </pc:spChg>
        <pc:spChg chg="add del mod">
          <ac:chgData name="Steiner Andreas 6206 ED" userId="e6377c33-a923-4f14-8587-531c474c7b48" providerId="ADAL" clId="{6ECD27E6-B224-41CD-B4E0-E297462320DD}" dt="2023-11-24T08:49:33.328" v="79122"/>
          <ac:spMkLst>
            <pc:docMk/>
            <pc:sldMk cId="3184642303" sldId="2147478578"/>
            <ac:spMk id="543" creationId="{883DA7ED-CF7A-F9B1-8261-336E9949620B}"/>
          </ac:spMkLst>
        </pc:spChg>
        <pc:spChg chg="add del mod">
          <ac:chgData name="Steiner Andreas 6206 ED" userId="e6377c33-a923-4f14-8587-531c474c7b48" providerId="ADAL" clId="{6ECD27E6-B224-41CD-B4E0-E297462320DD}" dt="2023-11-24T08:49:35.238" v="79277"/>
          <ac:spMkLst>
            <pc:docMk/>
            <pc:sldMk cId="3184642303" sldId="2147478578"/>
            <ac:spMk id="544" creationId="{A31FBB49-397B-1751-AB30-93BF6E8665F2}"/>
          </ac:spMkLst>
        </pc:spChg>
        <pc:spChg chg="add del mod">
          <ac:chgData name="Steiner Andreas 6206 ED" userId="e6377c33-a923-4f14-8587-531c474c7b48" providerId="ADAL" clId="{6ECD27E6-B224-41CD-B4E0-E297462320DD}" dt="2023-11-24T08:49:37.075" v="79432"/>
          <ac:spMkLst>
            <pc:docMk/>
            <pc:sldMk cId="3184642303" sldId="2147478578"/>
            <ac:spMk id="545" creationId="{709A6D52-97F5-C100-0AC3-B1A97F7200F0}"/>
          </ac:spMkLst>
        </pc:spChg>
        <pc:spChg chg="add del mod">
          <ac:chgData name="Steiner Andreas 6206 ED" userId="e6377c33-a923-4f14-8587-531c474c7b48" providerId="ADAL" clId="{6ECD27E6-B224-41CD-B4E0-E297462320DD}" dt="2023-11-24T08:49:39.036" v="79587"/>
          <ac:spMkLst>
            <pc:docMk/>
            <pc:sldMk cId="3184642303" sldId="2147478578"/>
            <ac:spMk id="546" creationId="{B29B5029-84BF-32BC-FE4B-EA09AA38B2D2}"/>
          </ac:spMkLst>
        </pc:spChg>
        <pc:spChg chg="add del mod">
          <ac:chgData name="Steiner Andreas 6206 ED" userId="e6377c33-a923-4f14-8587-531c474c7b48" providerId="ADAL" clId="{6ECD27E6-B224-41CD-B4E0-E297462320DD}" dt="2023-11-24T08:49:41.104" v="79742"/>
          <ac:spMkLst>
            <pc:docMk/>
            <pc:sldMk cId="3184642303" sldId="2147478578"/>
            <ac:spMk id="547" creationId="{0975AAA9-3A55-77E7-8407-C58B09814521}"/>
          </ac:spMkLst>
        </pc:spChg>
        <pc:spChg chg="add del mod">
          <ac:chgData name="Steiner Andreas 6206 ED" userId="e6377c33-a923-4f14-8587-531c474c7b48" providerId="ADAL" clId="{6ECD27E6-B224-41CD-B4E0-E297462320DD}" dt="2023-11-24T08:49:43.035" v="79897"/>
          <ac:spMkLst>
            <pc:docMk/>
            <pc:sldMk cId="3184642303" sldId="2147478578"/>
            <ac:spMk id="548" creationId="{FEBB7231-84EF-05EA-D53C-2C8E4B04CAAF}"/>
          </ac:spMkLst>
        </pc:spChg>
        <pc:spChg chg="add del mod">
          <ac:chgData name="Steiner Andreas 6206 ED" userId="e6377c33-a923-4f14-8587-531c474c7b48" providerId="ADAL" clId="{6ECD27E6-B224-41CD-B4E0-E297462320DD}" dt="2023-11-24T08:49:44.974" v="80052"/>
          <ac:spMkLst>
            <pc:docMk/>
            <pc:sldMk cId="3184642303" sldId="2147478578"/>
            <ac:spMk id="549" creationId="{B94F53C9-59DF-DAD7-1642-36C8C55534F0}"/>
          </ac:spMkLst>
        </pc:spChg>
        <pc:spChg chg="add del mod">
          <ac:chgData name="Steiner Andreas 6206 ED" userId="e6377c33-a923-4f14-8587-531c474c7b48" providerId="ADAL" clId="{6ECD27E6-B224-41CD-B4E0-E297462320DD}" dt="2023-11-24T08:49:46.927" v="80207"/>
          <ac:spMkLst>
            <pc:docMk/>
            <pc:sldMk cId="3184642303" sldId="2147478578"/>
            <ac:spMk id="550" creationId="{8ED2986A-F468-17A0-92C1-58B4B48D9C9F}"/>
          </ac:spMkLst>
        </pc:spChg>
        <pc:spChg chg="add del mod">
          <ac:chgData name="Steiner Andreas 6206 ED" userId="e6377c33-a923-4f14-8587-531c474c7b48" providerId="ADAL" clId="{6ECD27E6-B224-41CD-B4E0-E297462320DD}" dt="2023-11-24T08:49:48.813" v="80362"/>
          <ac:spMkLst>
            <pc:docMk/>
            <pc:sldMk cId="3184642303" sldId="2147478578"/>
            <ac:spMk id="551" creationId="{116D4A1C-213B-F441-84A7-E5C96A503EAD}"/>
          </ac:spMkLst>
        </pc:spChg>
        <pc:spChg chg="add del mod">
          <ac:chgData name="Steiner Andreas 6206 ED" userId="e6377c33-a923-4f14-8587-531c474c7b48" providerId="ADAL" clId="{6ECD27E6-B224-41CD-B4E0-E297462320DD}" dt="2023-11-24T08:49:50.709" v="80517"/>
          <ac:spMkLst>
            <pc:docMk/>
            <pc:sldMk cId="3184642303" sldId="2147478578"/>
            <ac:spMk id="552" creationId="{3FA5A7A4-F9C5-46A1-4D9F-D960CD998128}"/>
          </ac:spMkLst>
        </pc:spChg>
        <pc:spChg chg="add del mod">
          <ac:chgData name="Steiner Andreas 6206 ED" userId="e6377c33-a923-4f14-8587-531c474c7b48" providerId="ADAL" clId="{6ECD27E6-B224-41CD-B4E0-E297462320DD}" dt="2023-11-24T08:49:52.641" v="80672"/>
          <ac:spMkLst>
            <pc:docMk/>
            <pc:sldMk cId="3184642303" sldId="2147478578"/>
            <ac:spMk id="553" creationId="{08C89516-25C3-8103-9859-DB7219C44FD6}"/>
          </ac:spMkLst>
        </pc:spChg>
        <pc:spChg chg="add del mod">
          <ac:chgData name="Steiner Andreas 6206 ED" userId="e6377c33-a923-4f14-8587-531c474c7b48" providerId="ADAL" clId="{6ECD27E6-B224-41CD-B4E0-E297462320DD}" dt="2023-11-24T08:49:54.577" v="80827"/>
          <ac:spMkLst>
            <pc:docMk/>
            <pc:sldMk cId="3184642303" sldId="2147478578"/>
            <ac:spMk id="554" creationId="{9B22E0B6-7978-C60E-B2D6-094A83B1E25C}"/>
          </ac:spMkLst>
        </pc:spChg>
        <pc:spChg chg="add del mod">
          <ac:chgData name="Steiner Andreas 6206 ED" userId="e6377c33-a923-4f14-8587-531c474c7b48" providerId="ADAL" clId="{6ECD27E6-B224-41CD-B4E0-E297462320DD}" dt="2023-11-24T08:49:56.449" v="80982"/>
          <ac:spMkLst>
            <pc:docMk/>
            <pc:sldMk cId="3184642303" sldId="2147478578"/>
            <ac:spMk id="555" creationId="{9C853699-D782-A823-77C6-F02ECD3AACA1}"/>
          </ac:spMkLst>
        </pc:spChg>
        <pc:spChg chg="add del mod">
          <ac:chgData name="Steiner Andreas 6206 ED" userId="e6377c33-a923-4f14-8587-531c474c7b48" providerId="ADAL" clId="{6ECD27E6-B224-41CD-B4E0-E297462320DD}" dt="2023-11-24T08:49:58.328" v="81137"/>
          <ac:spMkLst>
            <pc:docMk/>
            <pc:sldMk cId="3184642303" sldId="2147478578"/>
            <ac:spMk id="556" creationId="{5C46B306-9ACC-7075-AAEE-3B6D7C7E4913}"/>
          </ac:spMkLst>
        </pc:spChg>
        <pc:spChg chg="add del mod">
          <ac:chgData name="Steiner Andreas 6206 ED" userId="e6377c33-a923-4f14-8587-531c474c7b48" providerId="ADAL" clId="{6ECD27E6-B224-41CD-B4E0-E297462320DD}" dt="2023-11-24T08:50:00.267" v="81292"/>
          <ac:spMkLst>
            <pc:docMk/>
            <pc:sldMk cId="3184642303" sldId="2147478578"/>
            <ac:spMk id="557" creationId="{F38EE6DE-58E4-4FB2-A8B3-E32365D5385C}"/>
          </ac:spMkLst>
        </pc:spChg>
        <pc:spChg chg="add del mod">
          <ac:chgData name="Steiner Andreas 6206 ED" userId="e6377c33-a923-4f14-8587-531c474c7b48" providerId="ADAL" clId="{6ECD27E6-B224-41CD-B4E0-E297462320DD}" dt="2023-11-24T08:50:02.332" v="81447"/>
          <ac:spMkLst>
            <pc:docMk/>
            <pc:sldMk cId="3184642303" sldId="2147478578"/>
            <ac:spMk id="558" creationId="{51D8ACE8-A17C-5D64-32BD-C371B6A36EAB}"/>
          </ac:spMkLst>
        </pc:spChg>
        <pc:spChg chg="add del mod">
          <ac:chgData name="Steiner Andreas 6206 ED" userId="e6377c33-a923-4f14-8587-531c474c7b48" providerId="ADAL" clId="{6ECD27E6-B224-41CD-B4E0-E297462320DD}" dt="2023-11-24T08:50:04.389" v="81602"/>
          <ac:spMkLst>
            <pc:docMk/>
            <pc:sldMk cId="3184642303" sldId="2147478578"/>
            <ac:spMk id="559" creationId="{CF2E6878-E0F2-C60B-5F61-6DC477E3957C}"/>
          </ac:spMkLst>
        </pc:spChg>
        <pc:spChg chg="add del mod">
          <ac:chgData name="Steiner Andreas 6206 ED" userId="e6377c33-a923-4f14-8587-531c474c7b48" providerId="ADAL" clId="{6ECD27E6-B224-41CD-B4E0-E297462320DD}" dt="2023-11-24T08:50:06.342" v="81757"/>
          <ac:spMkLst>
            <pc:docMk/>
            <pc:sldMk cId="3184642303" sldId="2147478578"/>
            <ac:spMk id="560" creationId="{9BFCCDAC-7ABA-1B30-D9E2-12EE90ECE967}"/>
          </ac:spMkLst>
        </pc:spChg>
        <pc:spChg chg="add del mod">
          <ac:chgData name="Steiner Andreas 6206 ED" userId="e6377c33-a923-4f14-8587-531c474c7b48" providerId="ADAL" clId="{6ECD27E6-B224-41CD-B4E0-E297462320DD}" dt="2023-11-24T08:50:08.236" v="81912"/>
          <ac:spMkLst>
            <pc:docMk/>
            <pc:sldMk cId="3184642303" sldId="2147478578"/>
            <ac:spMk id="561" creationId="{A892FFDB-DCFD-4CFF-D9AE-7061C3A4C78C}"/>
          </ac:spMkLst>
        </pc:spChg>
        <pc:spChg chg="add del mod">
          <ac:chgData name="Steiner Andreas 6206 ED" userId="e6377c33-a923-4f14-8587-531c474c7b48" providerId="ADAL" clId="{6ECD27E6-B224-41CD-B4E0-E297462320DD}" dt="2023-11-24T08:50:10.117" v="82067"/>
          <ac:spMkLst>
            <pc:docMk/>
            <pc:sldMk cId="3184642303" sldId="2147478578"/>
            <ac:spMk id="562" creationId="{68261986-6727-545F-AFF8-EDCF95B2AF60}"/>
          </ac:spMkLst>
        </pc:spChg>
        <pc:spChg chg="add del mod">
          <ac:chgData name="Steiner Andreas 6206 ED" userId="e6377c33-a923-4f14-8587-531c474c7b48" providerId="ADAL" clId="{6ECD27E6-B224-41CD-B4E0-E297462320DD}" dt="2023-11-24T08:50:12.026" v="82222"/>
          <ac:spMkLst>
            <pc:docMk/>
            <pc:sldMk cId="3184642303" sldId="2147478578"/>
            <ac:spMk id="563" creationId="{9E5532C0-B22D-645C-932B-F1D6C365C71E}"/>
          </ac:spMkLst>
        </pc:spChg>
        <pc:spChg chg="add del mod">
          <ac:chgData name="Steiner Andreas 6206 ED" userId="e6377c33-a923-4f14-8587-531c474c7b48" providerId="ADAL" clId="{6ECD27E6-B224-41CD-B4E0-E297462320DD}" dt="2023-11-24T08:50:14.098" v="82377"/>
          <ac:spMkLst>
            <pc:docMk/>
            <pc:sldMk cId="3184642303" sldId="2147478578"/>
            <ac:spMk id="564" creationId="{78D95CAF-07D2-B6CB-B49F-8E903E2ED36A}"/>
          </ac:spMkLst>
        </pc:spChg>
        <pc:spChg chg="add del mod">
          <ac:chgData name="Steiner Andreas 6206 ED" userId="e6377c33-a923-4f14-8587-531c474c7b48" providerId="ADAL" clId="{6ECD27E6-B224-41CD-B4E0-E297462320DD}" dt="2023-11-24T08:50:16.057" v="82532"/>
          <ac:spMkLst>
            <pc:docMk/>
            <pc:sldMk cId="3184642303" sldId="2147478578"/>
            <ac:spMk id="565" creationId="{D5C86B0A-819E-9217-2827-BE43DFE14BD6}"/>
          </ac:spMkLst>
        </pc:spChg>
        <pc:spChg chg="add del mod">
          <ac:chgData name="Steiner Andreas 6206 ED" userId="e6377c33-a923-4f14-8587-531c474c7b48" providerId="ADAL" clId="{6ECD27E6-B224-41CD-B4E0-E297462320DD}" dt="2023-11-24T08:50:18.028" v="82687"/>
          <ac:spMkLst>
            <pc:docMk/>
            <pc:sldMk cId="3184642303" sldId="2147478578"/>
            <ac:spMk id="566" creationId="{0B59856A-6448-ED32-3782-FA854799DD48}"/>
          </ac:spMkLst>
        </pc:spChg>
        <pc:spChg chg="add del mod">
          <ac:chgData name="Steiner Andreas 6206 ED" userId="e6377c33-a923-4f14-8587-531c474c7b48" providerId="ADAL" clId="{6ECD27E6-B224-41CD-B4E0-E297462320DD}" dt="2023-11-24T08:50:20.208" v="82842"/>
          <ac:spMkLst>
            <pc:docMk/>
            <pc:sldMk cId="3184642303" sldId="2147478578"/>
            <ac:spMk id="567" creationId="{8AB620D5-99EC-797F-DECF-83FD4E349DDB}"/>
          </ac:spMkLst>
        </pc:spChg>
        <pc:spChg chg="add del mod">
          <ac:chgData name="Steiner Andreas 6206 ED" userId="e6377c33-a923-4f14-8587-531c474c7b48" providerId="ADAL" clId="{6ECD27E6-B224-41CD-B4E0-E297462320DD}" dt="2023-11-24T08:50:22.185" v="82997"/>
          <ac:spMkLst>
            <pc:docMk/>
            <pc:sldMk cId="3184642303" sldId="2147478578"/>
            <ac:spMk id="568" creationId="{DC9535A4-A6E9-7BD5-1179-5A605E8EE968}"/>
          </ac:spMkLst>
        </pc:spChg>
        <pc:spChg chg="add del mod">
          <ac:chgData name="Steiner Andreas 6206 ED" userId="e6377c33-a923-4f14-8587-531c474c7b48" providerId="ADAL" clId="{6ECD27E6-B224-41CD-B4E0-E297462320DD}" dt="2023-11-24T08:50:24.245" v="83152"/>
          <ac:spMkLst>
            <pc:docMk/>
            <pc:sldMk cId="3184642303" sldId="2147478578"/>
            <ac:spMk id="569" creationId="{EF4B0FAD-01AB-E89C-1B68-D0F0DEC49AC9}"/>
          </ac:spMkLst>
        </pc:spChg>
        <pc:spChg chg="add del mod">
          <ac:chgData name="Steiner Andreas 6206 ED" userId="e6377c33-a923-4f14-8587-531c474c7b48" providerId="ADAL" clId="{6ECD27E6-B224-41CD-B4E0-E297462320DD}" dt="2023-11-24T08:50:26.277" v="83307"/>
          <ac:spMkLst>
            <pc:docMk/>
            <pc:sldMk cId="3184642303" sldId="2147478578"/>
            <ac:spMk id="570" creationId="{C6602E8C-45FD-F22E-776C-88593B5BC492}"/>
          </ac:spMkLst>
        </pc:spChg>
        <pc:spChg chg="add del mod">
          <ac:chgData name="Steiner Andreas 6206 ED" userId="e6377c33-a923-4f14-8587-531c474c7b48" providerId="ADAL" clId="{6ECD27E6-B224-41CD-B4E0-E297462320DD}" dt="2023-11-24T08:50:28.201" v="83462"/>
          <ac:spMkLst>
            <pc:docMk/>
            <pc:sldMk cId="3184642303" sldId="2147478578"/>
            <ac:spMk id="571" creationId="{6C633C26-01FB-A86E-9B3D-88908AFC61A2}"/>
          </ac:spMkLst>
        </pc:spChg>
        <pc:spChg chg="add del mod">
          <ac:chgData name="Steiner Andreas 6206 ED" userId="e6377c33-a923-4f14-8587-531c474c7b48" providerId="ADAL" clId="{6ECD27E6-B224-41CD-B4E0-E297462320DD}" dt="2023-11-24T08:50:30.111" v="83617"/>
          <ac:spMkLst>
            <pc:docMk/>
            <pc:sldMk cId="3184642303" sldId="2147478578"/>
            <ac:spMk id="572" creationId="{72637068-BFFE-9D3A-15F1-26DE9FDD60C7}"/>
          </ac:spMkLst>
        </pc:spChg>
        <pc:spChg chg="add del mod">
          <ac:chgData name="Steiner Andreas 6206 ED" userId="e6377c33-a923-4f14-8587-531c474c7b48" providerId="ADAL" clId="{6ECD27E6-B224-41CD-B4E0-E297462320DD}" dt="2023-11-24T08:50:32.151" v="83772"/>
          <ac:spMkLst>
            <pc:docMk/>
            <pc:sldMk cId="3184642303" sldId="2147478578"/>
            <ac:spMk id="573" creationId="{93504233-251D-F618-D6DC-FDC369CA1691}"/>
          </ac:spMkLst>
        </pc:spChg>
        <pc:spChg chg="add del mod">
          <ac:chgData name="Steiner Andreas 6206 ED" userId="e6377c33-a923-4f14-8587-531c474c7b48" providerId="ADAL" clId="{6ECD27E6-B224-41CD-B4E0-E297462320DD}" dt="2023-11-24T08:50:34.189" v="83927"/>
          <ac:spMkLst>
            <pc:docMk/>
            <pc:sldMk cId="3184642303" sldId="2147478578"/>
            <ac:spMk id="574" creationId="{A6D4E169-433D-AD35-37A6-00EE6E1C34F5}"/>
          </ac:spMkLst>
        </pc:spChg>
        <pc:spChg chg="add del mod">
          <ac:chgData name="Steiner Andreas 6206 ED" userId="e6377c33-a923-4f14-8587-531c474c7b48" providerId="ADAL" clId="{6ECD27E6-B224-41CD-B4E0-E297462320DD}" dt="2023-11-24T08:50:36.433" v="84082"/>
          <ac:spMkLst>
            <pc:docMk/>
            <pc:sldMk cId="3184642303" sldId="2147478578"/>
            <ac:spMk id="575" creationId="{4C07EBB6-E647-D452-1F6D-4EACC2D9F873}"/>
          </ac:spMkLst>
        </pc:spChg>
        <pc:spChg chg="add del mod">
          <ac:chgData name="Steiner Andreas 6206 ED" userId="e6377c33-a923-4f14-8587-531c474c7b48" providerId="ADAL" clId="{6ECD27E6-B224-41CD-B4E0-E297462320DD}" dt="2023-11-24T08:50:38.392" v="84237"/>
          <ac:spMkLst>
            <pc:docMk/>
            <pc:sldMk cId="3184642303" sldId="2147478578"/>
            <ac:spMk id="576" creationId="{156BD4FE-3686-8C61-7C95-E847D38246FE}"/>
          </ac:spMkLst>
        </pc:spChg>
        <pc:spChg chg="add del mod">
          <ac:chgData name="Steiner Andreas 6206 ED" userId="e6377c33-a923-4f14-8587-531c474c7b48" providerId="ADAL" clId="{6ECD27E6-B224-41CD-B4E0-E297462320DD}" dt="2023-11-24T08:50:40.361" v="84392"/>
          <ac:spMkLst>
            <pc:docMk/>
            <pc:sldMk cId="3184642303" sldId="2147478578"/>
            <ac:spMk id="577" creationId="{CFB7310C-1DCB-8568-6C47-65CB0583C879}"/>
          </ac:spMkLst>
        </pc:spChg>
        <pc:spChg chg="add del mod">
          <ac:chgData name="Steiner Andreas 6206 ED" userId="e6377c33-a923-4f14-8587-531c474c7b48" providerId="ADAL" clId="{6ECD27E6-B224-41CD-B4E0-E297462320DD}" dt="2023-11-24T08:50:42.373" v="84547"/>
          <ac:spMkLst>
            <pc:docMk/>
            <pc:sldMk cId="3184642303" sldId="2147478578"/>
            <ac:spMk id="578" creationId="{C035FA4B-2769-F3C5-937B-4C8FC8D2E52A}"/>
          </ac:spMkLst>
        </pc:spChg>
        <pc:spChg chg="add del mod">
          <ac:chgData name="Steiner Andreas 6206 ED" userId="e6377c33-a923-4f14-8587-531c474c7b48" providerId="ADAL" clId="{6ECD27E6-B224-41CD-B4E0-E297462320DD}" dt="2023-11-24T08:50:44.519" v="84702"/>
          <ac:spMkLst>
            <pc:docMk/>
            <pc:sldMk cId="3184642303" sldId="2147478578"/>
            <ac:spMk id="579" creationId="{DFC36F48-9867-BEDB-4236-D8DD587DA632}"/>
          </ac:spMkLst>
        </pc:spChg>
        <pc:spChg chg="add del mod">
          <ac:chgData name="Steiner Andreas 6206 ED" userId="e6377c33-a923-4f14-8587-531c474c7b48" providerId="ADAL" clId="{6ECD27E6-B224-41CD-B4E0-E297462320DD}" dt="2023-11-24T08:50:46.618" v="84857"/>
          <ac:spMkLst>
            <pc:docMk/>
            <pc:sldMk cId="3184642303" sldId="2147478578"/>
            <ac:spMk id="580" creationId="{AE515EFE-13F0-A949-D70A-A1ED4810A088}"/>
          </ac:spMkLst>
        </pc:spChg>
        <pc:spChg chg="add del mod">
          <ac:chgData name="Steiner Andreas 6206 ED" userId="e6377c33-a923-4f14-8587-531c474c7b48" providerId="ADAL" clId="{6ECD27E6-B224-41CD-B4E0-E297462320DD}" dt="2023-11-24T08:50:48.765" v="85012"/>
          <ac:spMkLst>
            <pc:docMk/>
            <pc:sldMk cId="3184642303" sldId="2147478578"/>
            <ac:spMk id="581" creationId="{C62F584C-38E7-00A6-06ED-BEEE1C99DB60}"/>
          </ac:spMkLst>
        </pc:spChg>
        <pc:spChg chg="add del mod">
          <ac:chgData name="Steiner Andreas 6206 ED" userId="e6377c33-a923-4f14-8587-531c474c7b48" providerId="ADAL" clId="{6ECD27E6-B224-41CD-B4E0-E297462320DD}" dt="2023-11-24T08:50:50.859" v="85167"/>
          <ac:spMkLst>
            <pc:docMk/>
            <pc:sldMk cId="3184642303" sldId="2147478578"/>
            <ac:spMk id="582" creationId="{21317802-72E7-C689-13D6-34E881E31E87}"/>
          </ac:spMkLst>
        </pc:spChg>
        <pc:spChg chg="add del mod">
          <ac:chgData name="Steiner Andreas 6206 ED" userId="e6377c33-a923-4f14-8587-531c474c7b48" providerId="ADAL" clId="{6ECD27E6-B224-41CD-B4E0-E297462320DD}" dt="2023-11-24T08:50:52.993" v="85322"/>
          <ac:spMkLst>
            <pc:docMk/>
            <pc:sldMk cId="3184642303" sldId="2147478578"/>
            <ac:spMk id="583" creationId="{CD8B8259-9CD7-9197-8C6A-3F94D056821F}"/>
          </ac:spMkLst>
        </pc:spChg>
        <pc:spChg chg="add del mod">
          <ac:chgData name="Steiner Andreas 6206 ED" userId="e6377c33-a923-4f14-8587-531c474c7b48" providerId="ADAL" clId="{6ECD27E6-B224-41CD-B4E0-E297462320DD}" dt="2023-11-24T08:50:54.904" v="85477"/>
          <ac:spMkLst>
            <pc:docMk/>
            <pc:sldMk cId="3184642303" sldId="2147478578"/>
            <ac:spMk id="584" creationId="{BFA95E53-7DD0-34A1-D2EF-8F89EC39406F}"/>
          </ac:spMkLst>
        </pc:spChg>
        <pc:spChg chg="add del mod">
          <ac:chgData name="Steiner Andreas 6206 ED" userId="e6377c33-a923-4f14-8587-531c474c7b48" providerId="ADAL" clId="{6ECD27E6-B224-41CD-B4E0-E297462320DD}" dt="2023-11-24T08:50:56.811" v="85632"/>
          <ac:spMkLst>
            <pc:docMk/>
            <pc:sldMk cId="3184642303" sldId="2147478578"/>
            <ac:spMk id="585" creationId="{BC323D0F-09BB-57CA-8487-88427C683D66}"/>
          </ac:spMkLst>
        </pc:spChg>
        <pc:spChg chg="add del mod">
          <ac:chgData name="Steiner Andreas 6206 ED" userId="e6377c33-a923-4f14-8587-531c474c7b48" providerId="ADAL" clId="{6ECD27E6-B224-41CD-B4E0-E297462320DD}" dt="2023-11-24T08:50:58.987" v="85787"/>
          <ac:spMkLst>
            <pc:docMk/>
            <pc:sldMk cId="3184642303" sldId="2147478578"/>
            <ac:spMk id="586" creationId="{F27D5713-1533-6CD4-4056-684C6785BFB9}"/>
          </ac:spMkLst>
        </pc:spChg>
        <pc:spChg chg="add del mod">
          <ac:chgData name="Steiner Andreas 6206 ED" userId="e6377c33-a923-4f14-8587-531c474c7b48" providerId="ADAL" clId="{6ECD27E6-B224-41CD-B4E0-E297462320DD}" dt="2023-11-24T08:51:00.956" v="85942"/>
          <ac:spMkLst>
            <pc:docMk/>
            <pc:sldMk cId="3184642303" sldId="2147478578"/>
            <ac:spMk id="587" creationId="{B304436A-E343-5587-E47F-D3FC0402D21F}"/>
          </ac:spMkLst>
        </pc:spChg>
        <pc:spChg chg="add del mod">
          <ac:chgData name="Steiner Andreas 6206 ED" userId="e6377c33-a923-4f14-8587-531c474c7b48" providerId="ADAL" clId="{6ECD27E6-B224-41CD-B4E0-E297462320DD}" dt="2023-11-24T08:51:02.930" v="86097"/>
          <ac:spMkLst>
            <pc:docMk/>
            <pc:sldMk cId="3184642303" sldId="2147478578"/>
            <ac:spMk id="588" creationId="{3C67FF69-8193-FA8B-ECCE-84E0BAF32712}"/>
          </ac:spMkLst>
        </pc:spChg>
        <pc:spChg chg="add del mod">
          <ac:chgData name="Steiner Andreas 6206 ED" userId="e6377c33-a923-4f14-8587-531c474c7b48" providerId="ADAL" clId="{6ECD27E6-B224-41CD-B4E0-E297462320DD}" dt="2023-11-24T08:51:04.779" v="86252"/>
          <ac:spMkLst>
            <pc:docMk/>
            <pc:sldMk cId="3184642303" sldId="2147478578"/>
            <ac:spMk id="589" creationId="{7C3AD07C-3A27-470E-1595-7AF162902111}"/>
          </ac:spMkLst>
        </pc:spChg>
        <pc:spChg chg="add del mod">
          <ac:chgData name="Steiner Andreas 6206 ED" userId="e6377c33-a923-4f14-8587-531c474c7b48" providerId="ADAL" clId="{6ECD27E6-B224-41CD-B4E0-E297462320DD}" dt="2023-11-24T08:51:06.709" v="86407"/>
          <ac:spMkLst>
            <pc:docMk/>
            <pc:sldMk cId="3184642303" sldId="2147478578"/>
            <ac:spMk id="590" creationId="{9645BB05-EF98-9303-AE52-5D6FF25CB155}"/>
          </ac:spMkLst>
        </pc:spChg>
        <pc:spChg chg="add del mod">
          <ac:chgData name="Steiner Andreas 6206 ED" userId="e6377c33-a923-4f14-8587-531c474c7b48" providerId="ADAL" clId="{6ECD27E6-B224-41CD-B4E0-E297462320DD}" dt="2023-11-24T08:51:08.688" v="86562"/>
          <ac:spMkLst>
            <pc:docMk/>
            <pc:sldMk cId="3184642303" sldId="2147478578"/>
            <ac:spMk id="591" creationId="{62078419-5778-EB2D-2820-C4A2A660FC48}"/>
          </ac:spMkLst>
        </pc:spChg>
        <pc:spChg chg="add del mod">
          <ac:chgData name="Steiner Andreas 6206 ED" userId="e6377c33-a923-4f14-8587-531c474c7b48" providerId="ADAL" clId="{6ECD27E6-B224-41CD-B4E0-E297462320DD}" dt="2023-11-24T08:51:10.716" v="86717"/>
          <ac:spMkLst>
            <pc:docMk/>
            <pc:sldMk cId="3184642303" sldId="2147478578"/>
            <ac:spMk id="592" creationId="{CC6AB625-227A-92F9-510B-620A50C9DC91}"/>
          </ac:spMkLst>
        </pc:spChg>
        <pc:spChg chg="add del mod">
          <ac:chgData name="Steiner Andreas 6206 ED" userId="e6377c33-a923-4f14-8587-531c474c7b48" providerId="ADAL" clId="{6ECD27E6-B224-41CD-B4E0-E297462320DD}" dt="2023-11-24T08:51:12.604" v="86872"/>
          <ac:spMkLst>
            <pc:docMk/>
            <pc:sldMk cId="3184642303" sldId="2147478578"/>
            <ac:spMk id="593" creationId="{C0E7B035-8040-0F5F-9E83-3F7954B4FC66}"/>
          </ac:spMkLst>
        </pc:spChg>
        <pc:spChg chg="add del mod">
          <ac:chgData name="Steiner Andreas 6206 ED" userId="e6377c33-a923-4f14-8587-531c474c7b48" providerId="ADAL" clId="{6ECD27E6-B224-41CD-B4E0-E297462320DD}" dt="2023-11-24T08:51:14.780" v="87027"/>
          <ac:spMkLst>
            <pc:docMk/>
            <pc:sldMk cId="3184642303" sldId="2147478578"/>
            <ac:spMk id="594" creationId="{3A665706-A91A-8A98-8CFA-7369A61CA6A7}"/>
          </ac:spMkLst>
        </pc:spChg>
        <pc:spChg chg="add del mod">
          <ac:chgData name="Steiner Andreas 6206 ED" userId="e6377c33-a923-4f14-8587-531c474c7b48" providerId="ADAL" clId="{6ECD27E6-B224-41CD-B4E0-E297462320DD}" dt="2023-11-24T08:51:16.896" v="87182"/>
          <ac:spMkLst>
            <pc:docMk/>
            <pc:sldMk cId="3184642303" sldId="2147478578"/>
            <ac:spMk id="595" creationId="{CDE3836C-2132-B035-9970-312C6B6B6FE4}"/>
          </ac:spMkLst>
        </pc:spChg>
        <pc:spChg chg="add del mod">
          <ac:chgData name="Steiner Andreas 6206 ED" userId="e6377c33-a923-4f14-8587-531c474c7b48" providerId="ADAL" clId="{6ECD27E6-B224-41CD-B4E0-E297462320DD}" dt="2023-11-24T08:51:18.802" v="87337"/>
          <ac:spMkLst>
            <pc:docMk/>
            <pc:sldMk cId="3184642303" sldId="2147478578"/>
            <ac:spMk id="596" creationId="{82A6883E-8785-BD7D-F815-609D528E54F1}"/>
          </ac:spMkLst>
        </pc:spChg>
        <pc:spChg chg="add del mod">
          <ac:chgData name="Steiner Andreas 6206 ED" userId="e6377c33-a923-4f14-8587-531c474c7b48" providerId="ADAL" clId="{6ECD27E6-B224-41CD-B4E0-E297462320DD}" dt="2023-11-24T08:51:20.852" v="87492"/>
          <ac:spMkLst>
            <pc:docMk/>
            <pc:sldMk cId="3184642303" sldId="2147478578"/>
            <ac:spMk id="597" creationId="{BC97C7A9-FCD9-CA2F-0C4F-4D353FF468D5}"/>
          </ac:spMkLst>
        </pc:spChg>
        <pc:spChg chg="add del mod">
          <ac:chgData name="Steiner Andreas 6206 ED" userId="e6377c33-a923-4f14-8587-531c474c7b48" providerId="ADAL" clId="{6ECD27E6-B224-41CD-B4E0-E297462320DD}" dt="2023-11-24T08:51:22.798" v="87647"/>
          <ac:spMkLst>
            <pc:docMk/>
            <pc:sldMk cId="3184642303" sldId="2147478578"/>
            <ac:spMk id="598" creationId="{DA0EA994-9874-D839-7062-A7DFAC53E8B3}"/>
          </ac:spMkLst>
        </pc:spChg>
        <pc:spChg chg="add del mod">
          <ac:chgData name="Steiner Andreas 6206 ED" userId="e6377c33-a923-4f14-8587-531c474c7b48" providerId="ADAL" clId="{6ECD27E6-B224-41CD-B4E0-E297462320DD}" dt="2023-11-24T08:51:24.730" v="87802"/>
          <ac:spMkLst>
            <pc:docMk/>
            <pc:sldMk cId="3184642303" sldId="2147478578"/>
            <ac:spMk id="599" creationId="{83ABE7F6-D9A7-C83B-A472-E7F8D3DF9B8A}"/>
          </ac:spMkLst>
        </pc:spChg>
        <pc:spChg chg="add del mod">
          <ac:chgData name="Steiner Andreas 6206 ED" userId="e6377c33-a923-4f14-8587-531c474c7b48" providerId="ADAL" clId="{6ECD27E6-B224-41CD-B4E0-E297462320DD}" dt="2023-11-24T08:51:26.600" v="87957"/>
          <ac:spMkLst>
            <pc:docMk/>
            <pc:sldMk cId="3184642303" sldId="2147478578"/>
            <ac:spMk id="600" creationId="{DD41A968-D186-A82F-0C74-979605DC6203}"/>
          </ac:spMkLst>
        </pc:spChg>
        <pc:spChg chg="add del mod">
          <ac:chgData name="Steiner Andreas 6206 ED" userId="e6377c33-a923-4f14-8587-531c474c7b48" providerId="ADAL" clId="{6ECD27E6-B224-41CD-B4E0-E297462320DD}" dt="2023-11-24T08:51:28.503" v="88112"/>
          <ac:spMkLst>
            <pc:docMk/>
            <pc:sldMk cId="3184642303" sldId="2147478578"/>
            <ac:spMk id="601" creationId="{8C9F8849-384B-3F7A-971D-8ED30AD79B52}"/>
          </ac:spMkLst>
        </pc:spChg>
        <pc:spChg chg="add del mod">
          <ac:chgData name="Steiner Andreas 6206 ED" userId="e6377c33-a923-4f14-8587-531c474c7b48" providerId="ADAL" clId="{6ECD27E6-B224-41CD-B4E0-E297462320DD}" dt="2023-11-24T08:51:30.454" v="88267"/>
          <ac:spMkLst>
            <pc:docMk/>
            <pc:sldMk cId="3184642303" sldId="2147478578"/>
            <ac:spMk id="602" creationId="{D490D1BD-9BA3-5BDA-E417-2043E9FFBEB3}"/>
          </ac:spMkLst>
        </pc:spChg>
        <pc:spChg chg="add del mod">
          <ac:chgData name="Steiner Andreas 6206 ED" userId="e6377c33-a923-4f14-8587-531c474c7b48" providerId="ADAL" clId="{6ECD27E6-B224-41CD-B4E0-E297462320DD}" dt="2023-11-24T08:51:32.629" v="88422"/>
          <ac:spMkLst>
            <pc:docMk/>
            <pc:sldMk cId="3184642303" sldId="2147478578"/>
            <ac:spMk id="603" creationId="{DE32D1C8-D6F8-A3ED-72DB-C65777CD53B9}"/>
          </ac:spMkLst>
        </pc:spChg>
        <pc:spChg chg="add del mod">
          <ac:chgData name="Steiner Andreas 6206 ED" userId="e6377c33-a923-4f14-8587-531c474c7b48" providerId="ADAL" clId="{6ECD27E6-B224-41CD-B4E0-E297462320DD}" dt="2023-11-24T08:51:34.601" v="88577"/>
          <ac:spMkLst>
            <pc:docMk/>
            <pc:sldMk cId="3184642303" sldId="2147478578"/>
            <ac:spMk id="604" creationId="{5C292498-F728-C663-823D-0102ECB67A5E}"/>
          </ac:spMkLst>
        </pc:spChg>
        <pc:spChg chg="add del mod">
          <ac:chgData name="Steiner Andreas 6206 ED" userId="e6377c33-a923-4f14-8587-531c474c7b48" providerId="ADAL" clId="{6ECD27E6-B224-41CD-B4E0-E297462320DD}" dt="2023-11-24T08:51:36.475" v="88732"/>
          <ac:spMkLst>
            <pc:docMk/>
            <pc:sldMk cId="3184642303" sldId="2147478578"/>
            <ac:spMk id="605" creationId="{C43FFD35-00A1-F064-942A-E10A05E74ADA}"/>
          </ac:spMkLst>
        </pc:spChg>
        <pc:spChg chg="add del mod">
          <ac:chgData name="Steiner Andreas 6206 ED" userId="e6377c33-a923-4f14-8587-531c474c7b48" providerId="ADAL" clId="{6ECD27E6-B224-41CD-B4E0-E297462320DD}" dt="2023-11-24T08:51:38.415" v="88887"/>
          <ac:spMkLst>
            <pc:docMk/>
            <pc:sldMk cId="3184642303" sldId="2147478578"/>
            <ac:spMk id="606" creationId="{BA8B22A3-2F16-9AD7-BC3D-99E5168907A8}"/>
          </ac:spMkLst>
        </pc:spChg>
        <pc:spChg chg="add del mod">
          <ac:chgData name="Steiner Andreas 6206 ED" userId="e6377c33-a923-4f14-8587-531c474c7b48" providerId="ADAL" clId="{6ECD27E6-B224-41CD-B4E0-E297462320DD}" dt="2023-11-24T08:51:40.350" v="89042"/>
          <ac:spMkLst>
            <pc:docMk/>
            <pc:sldMk cId="3184642303" sldId="2147478578"/>
            <ac:spMk id="607" creationId="{E2E652E0-1C29-7B72-6EC9-75E5C0CB18FA}"/>
          </ac:spMkLst>
        </pc:spChg>
        <pc:spChg chg="add del mod">
          <ac:chgData name="Steiner Andreas 6206 ED" userId="e6377c33-a923-4f14-8587-531c474c7b48" providerId="ADAL" clId="{6ECD27E6-B224-41CD-B4E0-E297462320DD}" dt="2023-11-24T08:51:42.322" v="89197"/>
          <ac:spMkLst>
            <pc:docMk/>
            <pc:sldMk cId="3184642303" sldId="2147478578"/>
            <ac:spMk id="608" creationId="{FD40A2C8-F69E-0760-E059-7D8FCE66470E}"/>
          </ac:spMkLst>
        </pc:spChg>
        <pc:spChg chg="add del mod">
          <ac:chgData name="Steiner Andreas 6206 ED" userId="e6377c33-a923-4f14-8587-531c474c7b48" providerId="ADAL" clId="{6ECD27E6-B224-41CD-B4E0-E297462320DD}" dt="2023-11-24T08:51:44.457" v="89352"/>
          <ac:spMkLst>
            <pc:docMk/>
            <pc:sldMk cId="3184642303" sldId="2147478578"/>
            <ac:spMk id="609" creationId="{1EBB556D-5F42-3586-867D-7C7B2C23B0A9}"/>
          </ac:spMkLst>
        </pc:spChg>
        <pc:spChg chg="add del mod">
          <ac:chgData name="Steiner Andreas 6206 ED" userId="e6377c33-a923-4f14-8587-531c474c7b48" providerId="ADAL" clId="{6ECD27E6-B224-41CD-B4E0-E297462320DD}" dt="2023-11-24T08:51:46.436" v="89507"/>
          <ac:spMkLst>
            <pc:docMk/>
            <pc:sldMk cId="3184642303" sldId="2147478578"/>
            <ac:spMk id="610" creationId="{60F4BCF2-AC89-F909-903A-062B83B0E513}"/>
          </ac:spMkLst>
        </pc:spChg>
        <pc:spChg chg="add del mod">
          <ac:chgData name="Steiner Andreas 6206 ED" userId="e6377c33-a923-4f14-8587-531c474c7b48" providerId="ADAL" clId="{6ECD27E6-B224-41CD-B4E0-E297462320DD}" dt="2023-11-24T08:51:48.325" v="89662"/>
          <ac:spMkLst>
            <pc:docMk/>
            <pc:sldMk cId="3184642303" sldId="2147478578"/>
            <ac:spMk id="611" creationId="{9F9D8131-527A-25BC-0351-E4071780314F}"/>
          </ac:spMkLst>
        </pc:spChg>
        <pc:spChg chg="add del mod">
          <ac:chgData name="Steiner Andreas 6206 ED" userId="e6377c33-a923-4f14-8587-531c474c7b48" providerId="ADAL" clId="{6ECD27E6-B224-41CD-B4E0-E297462320DD}" dt="2023-11-24T08:51:50.239" v="89817"/>
          <ac:spMkLst>
            <pc:docMk/>
            <pc:sldMk cId="3184642303" sldId="2147478578"/>
            <ac:spMk id="612" creationId="{543E0C17-613E-6EFD-F2BD-C2770946430C}"/>
          </ac:spMkLst>
        </pc:spChg>
        <pc:spChg chg="add del mod">
          <ac:chgData name="Steiner Andreas 6206 ED" userId="e6377c33-a923-4f14-8587-531c474c7b48" providerId="ADAL" clId="{6ECD27E6-B224-41CD-B4E0-E297462320DD}" dt="2023-11-24T08:51:52.160" v="89972"/>
          <ac:spMkLst>
            <pc:docMk/>
            <pc:sldMk cId="3184642303" sldId="2147478578"/>
            <ac:spMk id="613" creationId="{390C33E9-7DCE-8571-7D09-3B4962D05578}"/>
          </ac:spMkLst>
        </pc:spChg>
        <pc:spChg chg="add del mod">
          <ac:chgData name="Steiner Andreas 6206 ED" userId="e6377c33-a923-4f14-8587-531c474c7b48" providerId="ADAL" clId="{6ECD27E6-B224-41CD-B4E0-E297462320DD}" dt="2023-11-24T08:51:54.127" v="90127"/>
          <ac:spMkLst>
            <pc:docMk/>
            <pc:sldMk cId="3184642303" sldId="2147478578"/>
            <ac:spMk id="614" creationId="{917BC80E-36DE-AA8F-733E-37AE0F3BF038}"/>
          </ac:spMkLst>
        </pc:spChg>
        <pc:spChg chg="add del mod">
          <ac:chgData name="Steiner Andreas 6206 ED" userId="e6377c33-a923-4f14-8587-531c474c7b48" providerId="ADAL" clId="{6ECD27E6-B224-41CD-B4E0-E297462320DD}" dt="2023-11-24T08:51:56.127" v="90282"/>
          <ac:spMkLst>
            <pc:docMk/>
            <pc:sldMk cId="3184642303" sldId="2147478578"/>
            <ac:spMk id="615" creationId="{D31E95EA-156E-4160-45ED-60178AD2910C}"/>
          </ac:spMkLst>
        </pc:spChg>
        <pc:spChg chg="add del mod">
          <ac:chgData name="Steiner Andreas 6206 ED" userId="e6377c33-a923-4f14-8587-531c474c7b48" providerId="ADAL" clId="{6ECD27E6-B224-41CD-B4E0-E297462320DD}" dt="2023-11-24T08:51:58.051" v="90437"/>
          <ac:spMkLst>
            <pc:docMk/>
            <pc:sldMk cId="3184642303" sldId="2147478578"/>
            <ac:spMk id="616" creationId="{5A7C98AB-CFE5-AED1-3DD4-69585A1C6C63}"/>
          </ac:spMkLst>
        </pc:spChg>
        <pc:spChg chg="add del mod">
          <ac:chgData name="Steiner Andreas 6206 ED" userId="e6377c33-a923-4f14-8587-531c474c7b48" providerId="ADAL" clId="{6ECD27E6-B224-41CD-B4E0-E297462320DD}" dt="2023-11-24T08:52:00.181" v="90592"/>
          <ac:spMkLst>
            <pc:docMk/>
            <pc:sldMk cId="3184642303" sldId="2147478578"/>
            <ac:spMk id="617" creationId="{DCC482F0-B9FB-09C5-91D1-7D05AA478CF9}"/>
          </ac:spMkLst>
        </pc:spChg>
        <pc:spChg chg="add del mod">
          <ac:chgData name="Steiner Andreas 6206 ED" userId="e6377c33-a923-4f14-8587-531c474c7b48" providerId="ADAL" clId="{6ECD27E6-B224-41CD-B4E0-E297462320DD}" dt="2023-11-24T08:52:02.140" v="90747"/>
          <ac:spMkLst>
            <pc:docMk/>
            <pc:sldMk cId="3184642303" sldId="2147478578"/>
            <ac:spMk id="618" creationId="{098E216B-AC9E-384C-133A-68B28A8FCA55}"/>
          </ac:spMkLst>
        </pc:spChg>
        <pc:spChg chg="add del mod">
          <ac:chgData name="Steiner Andreas 6206 ED" userId="e6377c33-a923-4f14-8587-531c474c7b48" providerId="ADAL" clId="{6ECD27E6-B224-41CD-B4E0-E297462320DD}" dt="2023-11-24T08:52:04.064" v="90902"/>
          <ac:spMkLst>
            <pc:docMk/>
            <pc:sldMk cId="3184642303" sldId="2147478578"/>
            <ac:spMk id="619" creationId="{CA385CD6-AFFC-5C83-8855-DDA8660113EF}"/>
          </ac:spMkLst>
        </pc:spChg>
        <pc:spChg chg="add del mod">
          <ac:chgData name="Steiner Andreas 6206 ED" userId="e6377c33-a923-4f14-8587-531c474c7b48" providerId="ADAL" clId="{6ECD27E6-B224-41CD-B4E0-E297462320DD}" dt="2023-11-24T08:52:06.240" v="91057"/>
          <ac:spMkLst>
            <pc:docMk/>
            <pc:sldMk cId="3184642303" sldId="2147478578"/>
            <ac:spMk id="620" creationId="{F3E869C0-0DEC-3978-B78C-05105AE8CC08}"/>
          </ac:spMkLst>
        </pc:spChg>
        <pc:spChg chg="add del mod">
          <ac:chgData name="Steiner Andreas 6206 ED" userId="e6377c33-a923-4f14-8587-531c474c7b48" providerId="ADAL" clId="{6ECD27E6-B224-41CD-B4E0-E297462320DD}" dt="2023-11-24T08:52:08.218" v="91212"/>
          <ac:spMkLst>
            <pc:docMk/>
            <pc:sldMk cId="3184642303" sldId="2147478578"/>
            <ac:spMk id="621" creationId="{9F040EFA-0EB7-FB0D-C517-7360D9B53AE0}"/>
          </ac:spMkLst>
        </pc:spChg>
        <pc:spChg chg="add del mod">
          <ac:chgData name="Steiner Andreas 6206 ED" userId="e6377c33-a923-4f14-8587-531c474c7b48" providerId="ADAL" clId="{6ECD27E6-B224-41CD-B4E0-E297462320DD}" dt="2023-11-24T08:52:10.105" v="91367"/>
          <ac:spMkLst>
            <pc:docMk/>
            <pc:sldMk cId="3184642303" sldId="2147478578"/>
            <ac:spMk id="622" creationId="{409A4738-F779-3880-C72A-972DB2B2B645}"/>
          </ac:spMkLst>
        </pc:spChg>
        <pc:spChg chg="add del mod">
          <ac:chgData name="Steiner Andreas 6206 ED" userId="e6377c33-a923-4f14-8587-531c474c7b48" providerId="ADAL" clId="{6ECD27E6-B224-41CD-B4E0-E297462320DD}" dt="2023-11-24T08:52:11.969" v="91522"/>
          <ac:spMkLst>
            <pc:docMk/>
            <pc:sldMk cId="3184642303" sldId="2147478578"/>
            <ac:spMk id="623" creationId="{B4A93F56-A808-FC59-9A4A-7FF4FC3EE807}"/>
          </ac:spMkLst>
        </pc:spChg>
        <pc:spChg chg="add del mod">
          <ac:chgData name="Steiner Andreas 6206 ED" userId="e6377c33-a923-4f14-8587-531c474c7b48" providerId="ADAL" clId="{6ECD27E6-B224-41CD-B4E0-E297462320DD}" dt="2023-11-24T08:52:13.891" v="91677"/>
          <ac:spMkLst>
            <pc:docMk/>
            <pc:sldMk cId="3184642303" sldId="2147478578"/>
            <ac:spMk id="624" creationId="{0C3E9DED-B95F-A551-3580-26D0EA5C335A}"/>
          </ac:spMkLst>
        </pc:spChg>
        <pc:spChg chg="add del mod">
          <ac:chgData name="Steiner Andreas 6206 ED" userId="e6377c33-a923-4f14-8587-531c474c7b48" providerId="ADAL" clId="{6ECD27E6-B224-41CD-B4E0-E297462320DD}" dt="2023-11-24T08:52:15.808" v="91832"/>
          <ac:spMkLst>
            <pc:docMk/>
            <pc:sldMk cId="3184642303" sldId="2147478578"/>
            <ac:spMk id="625" creationId="{EC15E6E3-7DFA-14BC-9E86-51F0573B1D08}"/>
          </ac:spMkLst>
        </pc:spChg>
        <pc:spChg chg="add del mod">
          <ac:chgData name="Steiner Andreas 6206 ED" userId="e6377c33-a923-4f14-8587-531c474c7b48" providerId="ADAL" clId="{6ECD27E6-B224-41CD-B4E0-E297462320DD}" dt="2023-11-24T08:52:17.971" v="91987"/>
          <ac:spMkLst>
            <pc:docMk/>
            <pc:sldMk cId="3184642303" sldId="2147478578"/>
            <ac:spMk id="626" creationId="{585FEFC3-438A-C472-B721-1B968C2537E1}"/>
          </ac:spMkLst>
        </pc:spChg>
        <pc:spChg chg="add del mod">
          <ac:chgData name="Steiner Andreas 6206 ED" userId="e6377c33-a923-4f14-8587-531c474c7b48" providerId="ADAL" clId="{6ECD27E6-B224-41CD-B4E0-E297462320DD}" dt="2023-11-24T08:52:19.940" v="92142"/>
          <ac:spMkLst>
            <pc:docMk/>
            <pc:sldMk cId="3184642303" sldId="2147478578"/>
            <ac:spMk id="627" creationId="{629F7768-9453-8CC5-1A47-FE2CBD303B22}"/>
          </ac:spMkLst>
        </pc:spChg>
        <pc:spChg chg="add del mod">
          <ac:chgData name="Steiner Andreas 6206 ED" userId="e6377c33-a923-4f14-8587-531c474c7b48" providerId="ADAL" clId="{6ECD27E6-B224-41CD-B4E0-E297462320DD}" dt="2023-11-24T08:52:21.780" v="92297"/>
          <ac:spMkLst>
            <pc:docMk/>
            <pc:sldMk cId="3184642303" sldId="2147478578"/>
            <ac:spMk id="628" creationId="{2B46474D-1865-E168-25E9-046380645C60}"/>
          </ac:spMkLst>
        </pc:spChg>
        <pc:spChg chg="add del mod">
          <ac:chgData name="Steiner Andreas 6206 ED" userId="e6377c33-a923-4f14-8587-531c474c7b48" providerId="ADAL" clId="{6ECD27E6-B224-41CD-B4E0-E297462320DD}" dt="2023-11-24T08:52:23.838" v="92452"/>
          <ac:spMkLst>
            <pc:docMk/>
            <pc:sldMk cId="3184642303" sldId="2147478578"/>
            <ac:spMk id="629" creationId="{36136184-46C1-DCA7-3B54-AE97129BC529}"/>
          </ac:spMkLst>
        </pc:spChg>
        <pc:spChg chg="add del mod">
          <ac:chgData name="Steiner Andreas 6206 ED" userId="e6377c33-a923-4f14-8587-531c474c7b48" providerId="ADAL" clId="{6ECD27E6-B224-41CD-B4E0-E297462320DD}" dt="2023-11-24T08:52:25.723" v="92607"/>
          <ac:spMkLst>
            <pc:docMk/>
            <pc:sldMk cId="3184642303" sldId="2147478578"/>
            <ac:spMk id="630" creationId="{C001D965-409B-916D-7E60-201481DBC609}"/>
          </ac:spMkLst>
        </pc:spChg>
        <pc:spChg chg="add del mod">
          <ac:chgData name="Steiner Andreas 6206 ED" userId="e6377c33-a923-4f14-8587-531c474c7b48" providerId="ADAL" clId="{6ECD27E6-B224-41CD-B4E0-E297462320DD}" dt="2023-11-24T08:52:27.585" v="92762"/>
          <ac:spMkLst>
            <pc:docMk/>
            <pc:sldMk cId="3184642303" sldId="2147478578"/>
            <ac:spMk id="631" creationId="{BF44B373-2B0B-5453-8A7B-C11489083059}"/>
          </ac:spMkLst>
        </pc:spChg>
        <pc:spChg chg="add del mod">
          <ac:chgData name="Steiner Andreas 6206 ED" userId="e6377c33-a923-4f14-8587-531c474c7b48" providerId="ADAL" clId="{6ECD27E6-B224-41CD-B4E0-E297462320DD}" dt="2023-11-24T08:52:29.657" v="92917"/>
          <ac:spMkLst>
            <pc:docMk/>
            <pc:sldMk cId="3184642303" sldId="2147478578"/>
            <ac:spMk id="632" creationId="{FEE16D20-BB62-5262-FDE6-BC5419C6F144}"/>
          </ac:spMkLst>
        </pc:spChg>
        <pc:spChg chg="add del mod">
          <ac:chgData name="Steiner Andreas 6206 ED" userId="e6377c33-a923-4f14-8587-531c474c7b48" providerId="ADAL" clId="{6ECD27E6-B224-41CD-B4E0-E297462320DD}" dt="2023-11-24T08:52:31.600" v="93072"/>
          <ac:spMkLst>
            <pc:docMk/>
            <pc:sldMk cId="3184642303" sldId="2147478578"/>
            <ac:spMk id="633" creationId="{170B4E19-73EB-EF26-07B2-F2B2CC767D97}"/>
          </ac:spMkLst>
        </pc:spChg>
        <pc:spChg chg="add del mod">
          <ac:chgData name="Steiner Andreas 6206 ED" userId="e6377c33-a923-4f14-8587-531c474c7b48" providerId="ADAL" clId="{6ECD27E6-B224-41CD-B4E0-E297462320DD}" dt="2023-11-24T08:52:33.537" v="93227"/>
          <ac:spMkLst>
            <pc:docMk/>
            <pc:sldMk cId="3184642303" sldId="2147478578"/>
            <ac:spMk id="634" creationId="{78789401-B712-3310-729A-362DFE4A51B0}"/>
          </ac:spMkLst>
        </pc:spChg>
        <pc:spChg chg="add del mod">
          <ac:chgData name="Steiner Andreas 6206 ED" userId="e6377c33-a923-4f14-8587-531c474c7b48" providerId="ADAL" clId="{6ECD27E6-B224-41CD-B4E0-E297462320DD}" dt="2023-11-24T08:52:35.422" v="93382"/>
          <ac:spMkLst>
            <pc:docMk/>
            <pc:sldMk cId="3184642303" sldId="2147478578"/>
            <ac:spMk id="635" creationId="{DD884E67-58EC-BF00-5721-74E028CD1534}"/>
          </ac:spMkLst>
        </pc:spChg>
        <pc:spChg chg="add del mod">
          <ac:chgData name="Steiner Andreas 6206 ED" userId="e6377c33-a923-4f14-8587-531c474c7b48" providerId="ADAL" clId="{6ECD27E6-B224-41CD-B4E0-E297462320DD}" dt="2023-11-24T08:52:37.341" v="93537"/>
          <ac:spMkLst>
            <pc:docMk/>
            <pc:sldMk cId="3184642303" sldId="2147478578"/>
            <ac:spMk id="636" creationId="{CE2F16E2-93A6-C8FF-8D81-C8E2B68423F4}"/>
          </ac:spMkLst>
        </pc:spChg>
        <pc:spChg chg="add del mod">
          <ac:chgData name="Steiner Andreas 6206 ED" userId="e6377c33-a923-4f14-8587-531c474c7b48" providerId="ADAL" clId="{6ECD27E6-B224-41CD-B4E0-E297462320DD}" dt="2023-11-24T08:52:39.226" v="93692"/>
          <ac:spMkLst>
            <pc:docMk/>
            <pc:sldMk cId="3184642303" sldId="2147478578"/>
            <ac:spMk id="637" creationId="{2D1ABDAF-FCDD-AD7E-B1F7-7D072F0FE3AD}"/>
          </ac:spMkLst>
        </pc:spChg>
        <pc:spChg chg="add del mod">
          <ac:chgData name="Steiner Andreas 6206 ED" userId="e6377c33-a923-4f14-8587-531c474c7b48" providerId="ADAL" clId="{6ECD27E6-B224-41CD-B4E0-E297462320DD}" dt="2023-11-24T08:52:41.293" v="93847"/>
          <ac:spMkLst>
            <pc:docMk/>
            <pc:sldMk cId="3184642303" sldId="2147478578"/>
            <ac:spMk id="638" creationId="{CDDB8E87-4017-96B4-9359-7309F9219E37}"/>
          </ac:spMkLst>
        </pc:spChg>
        <pc:spChg chg="add del mod">
          <ac:chgData name="Steiner Andreas 6206 ED" userId="e6377c33-a923-4f14-8587-531c474c7b48" providerId="ADAL" clId="{6ECD27E6-B224-41CD-B4E0-E297462320DD}" dt="2023-11-24T08:52:43.261" v="94002"/>
          <ac:spMkLst>
            <pc:docMk/>
            <pc:sldMk cId="3184642303" sldId="2147478578"/>
            <ac:spMk id="639" creationId="{E3982D48-C3CC-B57D-60E5-785EAD0EF3F9}"/>
          </ac:spMkLst>
        </pc:spChg>
        <pc:spChg chg="add del mod">
          <ac:chgData name="Steiner Andreas 6206 ED" userId="e6377c33-a923-4f14-8587-531c474c7b48" providerId="ADAL" clId="{6ECD27E6-B224-41CD-B4E0-E297462320DD}" dt="2023-11-24T08:52:45.188" v="94157"/>
          <ac:spMkLst>
            <pc:docMk/>
            <pc:sldMk cId="3184642303" sldId="2147478578"/>
            <ac:spMk id="640" creationId="{D5177F6D-F6D7-A0A4-D9B1-0A243769503A}"/>
          </ac:spMkLst>
        </pc:spChg>
        <pc:spChg chg="add del mod">
          <ac:chgData name="Steiner Andreas 6206 ED" userId="e6377c33-a923-4f14-8587-531c474c7b48" providerId="ADAL" clId="{6ECD27E6-B224-41CD-B4E0-E297462320DD}" dt="2023-11-24T08:52:47.149" v="94312"/>
          <ac:spMkLst>
            <pc:docMk/>
            <pc:sldMk cId="3184642303" sldId="2147478578"/>
            <ac:spMk id="641" creationId="{EFC20EE2-8A97-A453-9D76-D364AA6795CE}"/>
          </ac:spMkLst>
        </pc:spChg>
        <pc:spChg chg="add del mod">
          <ac:chgData name="Steiner Andreas 6206 ED" userId="e6377c33-a923-4f14-8587-531c474c7b48" providerId="ADAL" clId="{6ECD27E6-B224-41CD-B4E0-E297462320DD}" dt="2023-11-24T08:52:49.204" v="94467"/>
          <ac:spMkLst>
            <pc:docMk/>
            <pc:sldMk cId="3184642303" sldId="2147478578"/>
            <ac:spMk id="642" creationId="{8CFC2C0D-F327-CFF4-0B92-05ECF316C83A}"/>
          </ac:spMkLst>
        </pc:spChg>
        <pc:spChg chg="add del mod">
          <ac:chgData name="Steiner Andreas 6206 ED" userId="e6377c33-a923-4f14-8587-531c474c7b48" providerId="ADAL" clId="{6ECD27E6-B224-41CD-B4E0-E297462320DD}" dt="2023-11-24T08:52:51.426" v="94622"/>
          <ac:spMkLst>
            <pc:docMk/>
            <pc:sldMk cId="3184642303" sldId="2147478578"/>
            <ac:spMk id="643" creationId="{DEC2F283-49CA-849F-4B49-BA7E536F8A61}"/>
          </ac:spMkLst>
        </pc:spChg>
        <pc:spChg chg="add del mod">
          <ac:chgData name="Steiner Andreas 6206 ED" userId="e6377c33-a923-4f14-8587-531c474c7b48" providerId="ADAL" clId="{6ECD27E6-B224-41CD-B4E0-E297462320DD}" dt="2023-11-24T08:52:53.375" v="94777"/>
          <ac:spMkLst>
            <pc:docMk/>
            <pc:sldMk cId="3184642303" sldId="2147478578"/>
            <ac:spMk id="644" creationId="{1DC7C6CE-E773-9BD2-ECC7-6FE17BBCC73A}"/>
          </ac:spMkLst>
        </pc:spChg>
        <pc:spChg chg="add del mod">
          <ac:chgData name="Steiner Andreas 6206 ED" userId="e6377c33-a923-4f14-8587-531c474c7b48" providerId="ADAL" clId="{6ECD27E6-B224-41CD-B4E0-E297462320DD}" dt="2023-11-24T08:52:55.308" v="94932"/>
          <ac:spMkLst>
            <pc:docMk/>
            <pc:sldMk cId="3184642303" sldId="2147478578"/>
            <ac:spMk id="645" creationId="{9413C116-8541-1C97-7F0D-590ACFE2C298}"/>
          </ac:spMkLst>
        </pc:spChg>
        <pc:spChg chg="add del mod">
          <ac:chgData name="Steiner Andreas 6206 ED" userId="e6377c33-a923-4f14-8587-531c474c7b48" providerId="ADAL" clId="{6ECD27E6-B224-41CD-B4E0-E297462320DD}" dt="2023-11-24T08:52:57.346" v="95087"/>
          <ac:spMkLst>
            <pc:docMk/>
            <pc:sldMk cId="3184642303" sldId="2147478578"/>
            <ac:spMk id="646" creationId="{9334CDB0-04FB-AB9A-3CF4-792408690E6B}"/>
          </ac:spMkLst>
        </pc:spChg>
        <pc:spChg chg="add del mod">
          <ac:chgData name="Steiner Andreas 6206 ED" userId="e6377c33-a923-4f14-8587-531c474c7b48" providerId="ADAL" clId="{6ECD27E6-B224-41CD-B4E0-E297462320DD}" dt="2023-11-24T08:52:59.298" v="95242"/>
          <ac:spMkLst>
            <pc:docMk/>
            <pc:sldMk cId="3184642303" sldId="2147478578"/>
            <ac:spMk id="647" creationId="{525F0962-F8A2-C180-435A-6707B6DC1B8A}"/>
          </ac:spMkLst>
        </pc:spChg>
        <pc:spChg chg="add del mod">
          <ac:chgData name="Steiner Andreas 6206 ED" userId="e6377c33-a923-4f14-8587-531c474c7b48" providerId="ADAL" clId="{6ECD27E6-B224-41CD-B4E0-E297462320DD}" dt="2023-11-24T08:53:01.297" v="95397"/>
          <ac:spMkLst>
            <pc:docMk/>
            <pc:sldMk cId="3184642303" sldId="2147478578"/>
            <ac:spMk id="648" creationId="{485757C9-E3D6-2C6D-CF4E-9F51B28999ED}"/>
          </ac:spMkLst>
        </pc:spChg>
        <pc:spChg chg="add del mod">
          <ac:chgData name="Steiner Andreas 6206 ED" userId="e6377c33-a923-4f14-8587-531c474c7b48" providerId="ADAL" clId="{6ECD27E6-B224-41CD-B4E0-E297462320DD}" dt="2023-11-24T08:53:03.419" v="95552"/>
          <ac:spMkLst>
            <pc:docMk/>
            <pc:sldMk cId="3184642303" sldId="2147478578"/>
            <ac:spMk id="649" creationId="{889425FF-F180-9A6E-E196-1846F1D77CB6}"/>
          </ac:spMkLst>
        </pc:spChg>
        <pc:spChg chg="add del mod">
          <ac:chgData name="Steiner Andreas 6206 ED" userId="e6377c33-a923-4f14-8587-531c474c7b48" providerId="ADAL" clId="{6ECD27E6-B224-41CD-B4E0-E297462320DD}" dt="2023-11-24T08:53:05.400" v="95707"/>
          <ac:spMkLst>
            <pc:docMk/>
            <pc:sldMk cId="3184642303" sldId="2147478578"/>
            <ac:spMk id="650" creationId="{8F77BF2A-26C8-C341-C12C-BCBE3DA0C9F8}"/>
          </ac:spMkLst>
        </pc:spChg>
        <pc:spChg chg="add del mod">
          <ac:chgData name="Steiner Andreas 6206 ED" userId="e6377c33-a923-4f14-8587-531c474c7b48" providerId="ADAL" clId="{6ECD27E6-B224-41CD-B4E0-E297462320DD}" dt="2023-11-24T08:53:07.270" v="95862"/>
          <ac:spMkLst>
            <pc:docMk/>
            <pc:sldMk cId="3184642303" sldId="2147478578"/>
            <ac:spMk id="651" creationId="{5B9EF232-6219-A7A4-24AD-812CEB1F7C15}"/>
          </ac:spMkLst>
        </pc:spChg>
        <pc:spChg chg="add del mod">
          <ac:chgData name="Steiner Andreas 6206 ED" userId="e6377c33-a923-4f14-8587-531c474c7b48" providerId="ADAL" clId="{6ECD27E6-B224-41CD-B4E0-E297462320DD}" dt="2023-11-24T08:53:09.214" v="96017"/>
          <ac:spMkLst>
            <pc:docMk/>
            <pc:sldMk cId="3184642303" sldId="2147478578"/>
            <ac:spMk id="652" creationId="{960FFE16-B3D0-7BCA-9783-9090E9DBBD68}"/>
          </ac:spMkLst>
        </pc:spChg>
        <pc:spChg chg="add del mod">
          <ac:chgData name="Steiner Andreas 6206 ED" userId="e6377c33-a923-4f14-8587-531c474c7b48" providerId="ADAL" clId="{6ECD27E6-B224-41CD-B4E0-E297462320DD}" dt="2023-11-24T08:53:11.153" v="96172"/>
          <ac:spMkLst>
            <pc:docMk/>
            <pc:sldMk cId="3184642303" sldId="2147478578"/>
            <ac:spMk id="653" creationId="{6382B5AB-49BD-6B7D-F164-4FFB297DBD5D}"/>
          </ac:spMkLst>
        </pc:spChg>
        <pc:spChg chg="add del mod">
          <ac:chgData name="Steiner Andreas 6206 ED" userId="e6377c33-a923-4f14-8587-531c474c7b48" providerId="ADAL" clId="{6ECD27E6-B224-41CD-B4E0-E297462320DD}" dt="2023-11-24T08:53:13.127" v="96327"/>
          <ac:spMkLst>
            <pc:docMk/>
            <pc:sldMk cId="3184642303" sldId="2147478578"/>
            <ac:spMk id="654" creationId="{63C92ED1-8856-D60D-A8D6-97F1DF017A8C}"/>
          </ac:spMkLst>
        </pc:spChg>
        <pc:spChg chg="add del mod">
          <ac:chgData name="Steiner Andreas 6206 ED" userId="e6377c33-a923-4f14-8587-531c474c7b48" providerId="ADAL" clId="{6ECD27E6-B224-41CD-B4E0-E297462320DD}" dt="2023-11-24T08:53:15.223" v="96482"/>
          <ac:spMkLst>
            <pc:docMk/>
            <pc:sldMk cId="3184642303" sldId="2147478578"/>
            <ac:spMk id="655" creationId="{51F00620-A4DC-5500-DAFF-BF6133CBC2F2}"/>
          </ac:spMkLst>
        </pc:spChg>
        <pc:spChg chg="add del mod">
          <ac:chgData name="Steiner Andreas 6206 ED" userId="e6377c33-a923-4f14-8587-531c474c7b48" providerId="ADAL" clId="{6ECD27E6-B224-41CD-B4E0-E297462320DD}" dt="2023-11-24T08:53:17.196" v="96637"/>
          <ac:spMkLst>
            <pc:docMk/>
            <pc:sldMk cId="3184642303" sldId="2147478578"/>
            <ac:spMk id="656" creationId="{04CD90A0-B345-8273-A49C-B609F827ADD8}"/>
          </ac:spMkLst>
        </pc:spChg>
        <pc:spChg chg="add del mod">
          <ac:chgData name="Steiner Andreas 6206 ED" userId="e6377c33-a923-4f14-8587-531c474c7b48" providerId="ADAL" clId="{6ECD27E6-B224-41CD-B4E0-E297462320DD}" dt="2023-11-24T08:53:19.136" v="96792"/>
          <ac:spMkLst>
            <pc:docMk/>
            <pc:sldMk cId="3184642303" sldId="2147478578"/>
            <ac:spMk id="657" creationId="{DBE264C8-A788-B33D-5A16-2CA5157EB5C5}"/>
          </ac:spMkLst>
        </pc:spChg>
        <pc:spChg chg="add del mod">
          <ac:chgData name="Steiner Andreas 6206 ED" userId="e6377c33-a923-4f14-8587-531c474c7b48" providerId="ADAL" clId="{6ECD27E6-B224-41CD-B4E0-E297462320DD}" dt="2023-11-24T08:53:21.115" v="96947"/>
          <ac:spMkLst>
            <pc:docMk/>
            <pc:sldMk cId="3184642303" sldId="2147478578"/>
            <ac:spMk id="658" creationId="{93D9ABAC-78D6-E170-A3C1-A935D8CD9553}"/>
          </ac:spMkLst>
        </pc:spChg>
        <pc:spChg chg="add del mod">
          <ac:chgData name="Steiner Andreas 6206 ED" userId="e6377c33-a923-4f14-8587-531c474c7b48" providerId="ADAL" clId="{6ECD27E6-B224-41CD-B4E0-E297462320DD}" dt="2023-11-24T08:53:23.074" v="97102"/>
          <ac:spMkLst>
            <pc:docMk/>
            <pc:sldMk cId="3184642303" sldId="2147478578"/>
            <ac:spMk id="659" creationId="{2DC65CAD-85C7-C656-8195-579AC4AEC417}"/>
          </ac:spMkLst>
        </pc:spChg>
        <pc:spChg chg="add del mod">
          <ac:chgData name="Steiner Andreas 6206 ED" userId="e6377c33-a923-4f14-8587-531c474c7b48" providerId="ADAL" clId="{6ECD27E6-B224-41CD-B4E0-E297462320DD}" dt="2023-11-24T08:53:25.184" v="97257"/>
          <ac:spMkLst>
            <pc:docMk/>
            <pc:sldMk cId="3184642303" sldId="2147478578"/>
            <ac:spMk id="660" creationId="{32AA6D84-6F44-70FE-2FE4-5EBB7FC4B499}"/>
          </ac:spMkLst>
        </pc:spChg>
        <pc:spChg chg="add del mod">
          <ac:chgData name="Steiner Andreas 6206 ED" userId="e6377c33-a923-4f14-8587-531c474c7b48" providerId="ADAL" clId="{6ECD27E6-B224-41CD-B4E0-E297462320DD}" dt="2023-11-24T08:53:27.184" v="97412"/>
          <ac:spMkLst>
            <pc:docMk/>
            <pc:sldMk cId="3184642303" sldId="2147478578"/>
            <ac:spMk id="661" creationId="{86917FE6-42D5-CB0C-688F-9868ABD86586}"/>
          </ac:spMkLst>
        </pc:spChg>
        <pc:spChg chg="add del mod">
          <ac:chgData name="Steiner Andreas 6206 ED" userId="e6377c33-a923-4f14-8587-531c474c7b48" providerId="ADAL" clId="{6ECD27E6-B224-41CD-B4E0-E297462320DD}" dt="2023-11-24T08:53:29.070" v="97567"/>
          <ac:spMkLst>
            <pc:docMk/>
            <pc:sldMk cId="3184642303" sldId="2147478578"/>
            <ac:spMk id="662" creationId="{E596656A-3F9C-F745-8140-DB6E2DE46BD9}"/>
          </ac:spMkLst>
        </pc:spChg>
        <pc:spChg chg="add del mod">
          <ac:chgData name="Steiner Andreas 6206 ED" userId="e6377c33-a923-4f14-8587-531c474c7b48" providerId="ADAL" clId="{6ECD27E6-B224-41CD-B4E0-E297462320DD}" dt="2023-11-24T08:53:30.978" v="97722"/>
          <ac:spMkLst>
            <pc:docMk/>
            <pc:sldMk cId="3184642303" sldId="2147478578"/>
            <ac:spMk id="663" creationId="{5A836ABC-A053-7587-3706-50818EB83469}"/>
          </ac:spMkLst>
        </pc:spChg>
        <pc:spChg chg="add del mod">
          <ac:chgData name="Steiner Andreas 6206 ED" userId="e6377c33-a923-4f14-8587-531c474c7b48" providerId="ADAL" clId="{6ECD27E6-B224-41CD-B4E0-E297462320DD}" dt="2023-11-24T08:53:32.914" v="97877"/>
          <ac:spMkLst>
            <pc:docMk/>
            <pc:sldMk cId="3184642303" sldId="2147478578"/>
            <ac:spMk id="664" creationId="{9F8F35F0-A46C-3FB8-B665-374DEE43F6E8}"/>
          </ac:spMkLst>
        </pc:spChg>
        <pc:spChg chg="add del mod">
          <ac:chgData name="Steiner Andreas 6206 ED" userId="e6377c33-a923-4f14-8587-531c474c7b48" providerId="ADAL" clId="{6ECD27E6-B224-41CD-B4E0-E297462320DD}" dt="2023-11-24T08:53:34.842" v="98032"/>
          <ac:spMkLst>
            <pc:docMk/>
            <pc:sldMk cId="3184642303" sldId="2147478578"/>
            <ac:spMk id="665" creationId="{067436C4-227F-D2B6-18E9-7323652E064B}"/>
          </ac:spMkLst>
        </pc:spChg>
        <pc:spChg chg="add del mod">
          <ac:chgData name="Steiner Andreas 6206 ED" userId="e6377c33-a923-4f14-8587-531c474c7b48" providerId="ADAL" clId="{6ECD27E6-B224-41CD-B4E0-E297462320DD}" dt="2023-11-24T08:53:36.930" v="98187"/>
          <ac:spMkLst>
            <pc:docMk/>
            <pc:sldMk cId="3184642303" sldId="2147478578"/>
            <ac:spMk id="666" creationId="{E11F0959-93C9-D83B-A1D4-90E7EE67FB9A}"/>
          </ac:spMkLst>
        </pc:spChg>
        <pc:spChg chg="add del mod">
          <ac:chgData name="Steiner Andreas 6206 ED" userId="e6377c33-a923-4f14-8587-531c474c7b48" providerId="ADAL" clId="{6ECD27E6-B224-41CD-B4E0-E297462320DD}" dt="2023-11-24T08:53:38.848" v="98342"/>
          <ac:spMkLst>
            <pc:docMk/>
            <pc:sldMk cId="3184642303" sldId="2147478578"/>
            <ac:spMk id="667" creationId="{8ADF3B77-BD2D-6EB8-A83A-0FA0C57738E2}"/>
          </ac:spMkLst>
        </pc:spChg>
        <pc:spChg chg="add del mod">
          <ac:chgData name="Steiner Andreas 6206 ED" userId="e6377c33-a923-4f14-8587-531c474c7b48" providerId="ADAL" clId="{6ECD27E6-B224-41CD-B4E0-E297462320DD}" dt="2023-11-24T08:53:40.818" v="98497"/>
          <ac:spMkLst>
            <pc:docMk/>
            <pc:sldMk cId="3184642303" sldId="2147478578"/>
            <ac:spMk id="668" creationId="{4FFCFF2F-B349-9CC8-9820-95574AABA59C}"/>
          </ac:spMkLst>
        </pc:spChg>
        <pc:spChg chg="add del mod">
          <ac:chgData name="Steiner Andreas 6206 ED" userId="e6377c33-a923-4f14-8587-531c474c7b48" providerId="ADAL" clId="{6ECD27E6-B224-41CD-B4E0-E297462320DD}" dt="2023-11-24T08:53:42.742" v="98652"/>
          <ac:spMkLst>
            <pc:docMk/>
            <pc:sldMk cId="3184642303" sldId="2147478578"/>
            <ac:spMk id="669" creationId="{93235946-6BD9-B52D-5D67-954055216308}"/>
          </ac:spMkLst>
        </pc:spChg>
        <pc:spChg chg="add del mod">
          <ac:chgData name="Steiner Andreas 6206 ED" userId="e6377c33-a923-4f14-8587-531c474c7b48" providerId="ADAL" clId="{6ECD27E6-B224-41CD-B4E0-E297462320DD}" dt="2023-11-24T08:53:44.707" v="98807"/>
          <ac:spMkLst>
            <pc:docMk/>
            <pc:sldMk cId="3184642303" sldId="2147478578"/>
            <ac:spMk id="670" creationId="{E239E39D-E850-4E06-F491-CCC2AFD1CFD5}"/>
          </ac:spMkLst>
        </pc:spChg>
        <pc:spChg chg="add del mod">
          <ac:chgData name="Steiner Andreas 6206 ED" userId="e6377c33-a923-4f14-8587-531c474c7b48" providerId="ADAL" clId="{6ECD27E6-B224-41CD-B4E0-E297462320DD}" dt="2023-11-24T08:53:46.623" v="98962"/>
          <ac:spMkLst>
            <pc:docMk/>
            <pc:sldMk cId="3184642303" sldId="2147478578"/>
            <ac:spMk id="671" creationId="{38DA2E64-4B0F-826C-A658-D72E9EE21A19}"/>
          </ac:spMkLst>
        </pc:spChg>
        <pc:spChg chg="add del mod">
          <ac:chgData name="Steiner Andreas 6206 ED" userId="e6377c33-a923-4f14-8587-531c474c7b48" providerId="ADAL" clId="{6ECD27E6-B224-41CD-B4E0-E297462320DD}" dt="2023-11-24T08:53:48.692" v="99117"/>
          <ac:spMkLst>
            <pc:docMk/>
            <pc:sldMk cId="3184642303" sldId="2147478578"/>
            <ac:spMk id="672" creationId="{00250BED-ADBC-BDCF-26EF-C703D6E0B41F}"/>
          </ac:spMkLst>
        </pc:spChg>
        <pc:spChg chg="add del mod">
          <ac:chgData name="Steiner Andreas 6206 ED" userId="e6377c33-a923-4f14-8587-531c474c7b48" providerId="ADAL" clId="{6ECD27E6-B224-41CD-B4E0-E297462320DD}" dt="2023-11-24T08:53:50.654" v="99272"/>
          <ac:spMkLst>
            <pc:docMk/>
            <pc:sldMk cId="3184642303" sldId="2147478578"/>
            <ac:spMk id="673" creationId="{589914CC-2059-D7B8-C6DD-75A7EEB0BD76}"/>
          </ac:spMkLst>
        </pc:spChg>
        <pc:spChg chg="add del mod">
          <ac:chgData name="Steiner Andreas 6206 ED" userId="e6377c33-a923-4f14-8587-531c474c7b48" providerId="ADAL" clId="{6ECD27E6-B224-41CD-B4E0-E297462320DD}" dt="2023-11-24T08:53:52.624" v="99427"/>
          <ac:spMkLst>
            <pc:docMk/>
            <pc:sldMk cId="3184642303" sldId="2147478578"/>
            <ac:spMk id="674" creationId="{CBB6B5B6-19EB-2986-27C2-8E98BADCA97D}"/>
          </ac:spMkLst>
        </pc:spChg>
        <pc:spChg chg="add del mod">
          <ac:chgData name="Steiner Andreas 6206 ED" userId="e6377c33-a923-4f14-8587-531c474c7b48" providerId="ADAL" clId="{6ECD27E6-B224-41CD-B4E0-E297462320DD}" dt="2023-11-24T08:53:54.587" v="99582"/>
          <ac:spMkLst>
            <pc:docMk/>
            <pc:sldMk cId="3184642303" sldId="2147478578"/>
            <ac:spMk id="675" creationId="{474AE58F-2E50-E43C-6EB4-6580A0BE0FB4}"/>
          </ac:spMkLst>
        </pc:spChg>
        <pc:spChg chg="add del mod">
          <ac:chgData name="Steiner Andreas 6206 ED" userId="e6377c33-a923-4f14-8587-531c474c7b48" providerId="ADAL" clId="{6ECD27E6-B224-41CD-B4E0-E297462320DD}" dt="2023-11-24T08:53:56.523" v="99737"/>
          <ac:spMkLst>
            <pc:docMk/>
            <pc:sldMk cId="3184642303" sldId="2147478578"/>
            <ac:spMk id="676" creationId="{BDD1A63B-64BE-543D-5A9C-65F311A0B34C}"/>
          </ac:spMkLst>
        </pc:spChg>
        <pc:spChg chg="add del mod">
          <ac:chgData name="Steiner Andreas 6206 ED" userId="e6377c33-a923-4f14-8587-531c474c7b48" providerId="ADAL" clId="{6ECD27E6-B224-41CD-B4E0-E297462320DD}" dt="2023-11-24T08:53:58.584" v="99892"/>
          <ac:spMkLst>
            <pc:docMk/>
            <pc:sldMk cId="3184642303" sldId="2147478578"/>
            <ac:spMk id="677" creationId="{7D49C652-5209-CBAA-1668-8CFEAA26D5F2}"/>
          </ac:spMkLst>
        </pc:spChg>
        <pc:spChg chg="add del mod">
          <ac:chgData name="Steiner Andreas 6206 ED" userId="e6377c33-a923-4f14-8587-531c474c7b48" providerId="ADAL" clId="{6ECD27E6-B224-41CD-B4E0-E297462320DD}" dt="2023-11-24T08:54:00.707" v="100047"/>
          <ac:spMkLst>
            <pc:docMk/>
            <pc:sldMk cId="3184642303" sldId="2147478578"/>
            <ac:spMk id="678" creationId="{0A6B19ED-C5B6-DE7C-87CA-AF6EEEBB7966}"/>
          </ac:spMkLst>
        </pc:spChg>
        <pc:spChg chg="add del mod">
          <ac:chgData name="Steiner Andreas 6206 ED" userId="e6377c33-a923-4f14-8587-531c474c7b48" providerId="ADAL" clId="{6ECD27E6-B224-41CD-B4E0-E297462320DD}" dt="2023-11-24T08:54:02.687" v="100202"/>
          <ac:spMkLst>
            <pc:docMk/>
            <pc:sldMk cId="3184642303" sldId="2147478578"/>
            <ac:spMk id="679" creationId="{7F893664-5CB3-F669-0F8D-D03FB8691799}"/>
          </ac:spMkLst>
        </pc:spChg>
        <pc:spChg chg="add del mod">
          <ac:chgData name="Steiner Andreas 6206 ED" userId="e6377c33-a923-4f14-8587-531c474c7b48" providerId="ADAL" clId="{6ECD27E6-B224-41CD-B4E0-E297462320DD}" dt="2023-11-24T08:54:04.637" v="100357"/>
          <ac:spMkLst>
            <pc:docMk/>
            <pc:sldMk cId="3184642303" sldId="2147478578"/>
            <ac:spMk id="680" creationId="{6F440E2F-C1D4-10EE-B3EF-33417740140E}"/>
          </ac:spMkLst>
        </pc:spChg>
        <pc:spChg chg="add del mod">
          <ac:chgData name="Steiner Andreas 6206 ED" userId="e6377c33-a923-4f14-8587-531c474c7b48" providerId="ADAL" clId="{6ECD27E6-B224-41CD-B4E0-E297462320DD}" dt="2023-11-24T08:54:06.624" v="100512"/>
          <ac:spMkLst>
            <pc:docMk/>
            <pc:sldMk cId="3184642303" sldId="2147478578"/>
            <ac:spMk id="681" creationId="{D701E853-7C7E-FB6F-FDCF-1E91664AA636}"/>
          </ac:spMkLst>
        </pc:spChg>
        <pc:spChg chg="add del mod">
          <ac:chgData name="Steiner Andreas 6206 ED" userId="e6377c33-a923-4f14-8587-531c474c7b48" providerId="ADAL" clId="{6ECD27E6-B224-41CD-B4E0-E297462320DD}" dt="2023-11-24T08:54:08.588" v="100667"/>
          <ac:spMkLst>
            <pc:docMk/>
            <pc:sldMk cId="3184642303" sldId="2147478578"/>
            <ac:spMk id="682" creationId="{0F1AB778-2425-CEA2-2586-76F680AD0120}"/>
          </ac:spMkLst>
        </pc:spChg>
        <pc:spChg chg="add del mod">
          <ac:chgData name="Steiner Andreas 6206 ED" userId="e6377c33-a923-4f14-8587-531c474c7b48" providerId="ADAL" clId="{6ECD27E6-B224-41CD-B4E0-E297462320DD}" dt="2023-11-24T08:54:10.743" v="100822"/>
          <ac:spMkLst>
            <pc:docMk/>
            <pc:sldMk cId="3184642303" sldId="2147478578"/>
            <ac:spMk id="683" creationId="{CD7A2B0F-B438-AB7E-968A-0BCDE95A8FDF}"/>
          </ac:spMkLst>
        </pc:spChg>
        <pc:spChg chg="add del mod">
          <ac:chgData name="Steiner Andreas 6206 ED" userId="e6377c33-a923-4f14-8587-531c474c7b48" providerId="ADAL" clId="{6ECD27E6-B224-41CD-B4E0-E297462320DD}" dt="2023-11-24T08:54:12.669" v="100977"/>
          <ac:spMkLst>
            <pc:docMk/>
            <pc:sldMk cId="3184642303" sldId="2147478578"/>
            <ac:spMk id="684" creationId="{FE5E9E7C-68D1-7A4B-579A-00EDA91361F0}"/>
          </ac:spMkLst>
        </pc:spChg>
        <pc:spChg chg="add del mod">
          <ac:chgData name="Steiner Andreas 6206 ED" userId="e6377c33-a923-4f14-8587-531c474c7b48" providerId="ADAL" clId="{6ECD27E6-B224-41CD-B4E0-E297462320DD}" dt="2023-11-24T08:54:14.622" v="101132"/>
          <ac:spMkLst>
            <pc:docMk/>
            <pc:sldMk cId="3184642303" sldId="2147478578"/>
            <ac:spMk id="685" creationId="{E11D80DD-C9C2-BD25-53B1-9027ABBA031F}"/>
          </ac:spMkLst>
        </pc:spChg>
        <pc:spChg chg="add del mod">
          <ac:chgData name="Steiner Andreas 6206 ED" userId="e6377c33-a923-4f14-8587-531c474c7b48" providerId="ADAL" clId="{6ECD27E6-B224-41CD-B4E0-E297462320DD}" dt="2023-11-24T08:54:16.519" v="101287"/>
          <ac:spMkLst>
            <pc:docMk/>
            <pc:sldMk cId="3184642303" sldId="2147478578"/>
            <ac:spMk id="686" creationId="{263B3336-1D18-5395-8567-93AF703BF41E}"/>
          </ac:spMkLst>
        </pc:spChg>
        <pc:spChg chg="add del mod">
          <ac:chgData name="Steiner Andreas 6206 ED" userId="e6377c33-a923-4f14-8587-531c474c7b48" providerId="ADAL" clId="{6ECD27E6-B224-41CD-B4E0-E297462320DD}" dt="2023-11-24T08:54:18.421" v="101442"/>
          <ac:spMkLst>
            <pc:docMk/>
            <pc:sldMk cId="3184642303" sldId="2147478578"/>
            <ac:spMk id="687" creationId="{8F9F4AE1-E989-CC95-85E7-4649A16AE7B6}"/>
          </ac:spMkLst>
        </pc:spChg>
        <pc:spChg chg="add del mod">
          <ac:chgData name="Steiner Andreas 6206 ED" userId="e6377c33-a923-4f14-8587-531c474c7b48" providerId="ADAL" clId="{6ECD27E6-B224-41CD-B4E0-E297462320DD}" dt="2023-11-24T08:54:20.378" v="101597"/>
          <ac:spMkLst>
            <pc:docMk/>
            <pc:sldMk cId="3184642303" sldId="2147478578"/>
            <ac:spMk id="688" creationId="{0000D7D3-DA66-8506-4BD6-C9E4BBB5C4B0}"/>
          </ac:spMkLst>
        </pc:spChg>
        <pc:spChg chg="add del mod">
          <ac:chgData name="Steiner Andreas 6206 ED" userId="e6377c33-a923-4f14-8587-531c474c7b48" providerId="ADAL" clId="{6ECD27E6-B224-41CD-B4E0-E297462320DD}" dt="2023-11-24T08:54:22.502" v="101752"/>
          <ac:spMkLst>
            <pc:docMk/>
            <pc:sldMk cId="3184642303" sldId="2147478578"/>
            <ac:spMk id="689" creationId="{99C024B4-8D5A-98DC-6733-D8175497F079}"/>
          </ac:spMkLst>
        </pc:spChg>
        <pc:spChg chg="add del mod">
          <ac:chgData name="Steiner Andreas 6206 ED" userId="e6377c33-a923-4f14-8587-531c474c7b48" providerId="ADAL" clId="{6ECD27E6-B224-41CD-B4E0-E297462320DD}" dt="2023-11-24T08:54:24.454" v="101907"/>
          <ac:spMkLst>
            <pc:docMk/>
            <pc:sldMk cId="3184642303" sldId="2147478578"/>
            <ac:spMk id="690" creationId="{A2DC9D86-5308-96B7-DB12-D84AD4EE4EE2}"/>
          </ac:spMkLst>
        </pc:spChg>
        <pc:spChg chg="add del mod">
          <ac:chgData name="Steiner Andreas 6206 ED" userId="e6377c33-a923-4f14-8587-531c474c7b48" providerId="ADAL" clId="{6ECD27E6-B224-41CD-B4E0-E297462320DD}" dt="2023-11-24T08:54:26.412" v="102062"/>
          <ac:spMkLst>
            <pc:docMk/>
            <pc:sldMk cId="3184642303" sldId="2147478578"/>
            <ac:spMk id="691" creationId="{A26D0BA6-1466-0900-92D8-AEA260C68289}"/>
          </ac:spMkLst>
        </pc:spChg>
        <pc:spChg chg="add del mod">
          <ac:chgData name="Steiner Andreas 6206 ED" userId="e6377c33-a923-4f14-8587-531c474c7b48" providerId="ADAL" clId="{6ECD27E6-B224-41CD-B4E0-E297462320DD}" dt="2023-11-24T08:54:28.368" v="102217"/>
          <ac:spMkLst>
            <pc:docMk/>
            <pc:sldMk cId="3184642303" sldId="2147478578"/>
            <ac:spMk id="692" creationId="{B87AF8C7-29D9-28B1-2E7A-5FAE8BEBAE6A}"/>
          </ac:spMkLst>
        </pc:spChg>
        <pc:spChg chg="add del mod">
          <ac:chgData name="Steiner Andreas 6206 ED" userId="e6377c33-a923-4f14-8587-531c474c7b48" providerId="ADAL" clId="{6ECD27E6-B224-41CD-B4E0-E297462320DD}" dt="2023-11-24T08:54:30.304" v="102372"/>
          <ac:spMkLst>
            <pc:docMk/>
            <pc:sldMk cId="3184642303" sldId="2147478578"/>
            <ac:spMk id="693" creationId="{01A81192-D4EF-0DE9-7B47-58C670822DF7}"/>
          </ac:spMkLst>
        </pc:spChg>
        <pc:spChg chg="add del mod">
          <ac:chgData name="Steiner Andreas 6206 ED" userId="e6377c33-a923-4f14-8587-531c474c7b48" providerId="ADAL" clId="{6ECD27E6-B224-41CD-B4E0-E297462320DD}" dt="2023-11-24T08:54:32.451" v="102527"/>
          <ac:spMkLst>
            <pc:docMk/>
            <pc:sldMk cId="3184642303" sldId="2147478578"/>
            <ac:spMk id="694" creationId="{6E30F517-F932-7CD9-C834-8EDDD5255ED1}"/>
          </ac:spMkLst>
        </pc:spChg>
        <pc:spChg chg="add del mod">
          <ac:chgData name="Steiner Andreas 6206 ED" userId="e6377c33-a923-4f14-8587-531c474c7b48" providerId="ADAL" clId="{6ECD27E6-B224-41CD-B4E0-E297462320DD}" dt="2023-11-24T08:54:34.435" v="102682"/>
          <ac:spMkLst>
            <pc:docMk/>
            <pc:sldMk cId="3184642303" sldId="2147478578"/>
            <ac:spMk id="695" creationId="{89E078A0-584A-3966-A776-86E2604AD0BA}"/>
          </ac:spMkLst>
        </pc:spChg>
        <pc:spChg chg="add del mod">
          <ac:chgData name="Steiner Andreas 6206 ED" userId="e6377c33-a923-4f14-8587-531c474c7b48" providerId="ADAL" clId="{6ECD27E6-B224-41CD-B4E0-E297462320DD}" dt="2023-11-24T08:54:36.376" v="102837"/>
          <ac:spMkLst>
            <pc:docMk/>
            <pc:sldMk cId="3184642303" sldId="2147478578"/>
            <ac:spMk id="696" creationId="{6BC3B6B1-3025-C1C7-C9F9-E3EAA5E92317}"/>
          </ac:spMkLst>
        </pc:spChg>
        <pc:spChg chg="add del mod">
          <ac:chgData name="Steiner Andreas 6206 ED" userId="e6377c33-a923-4f14-8587-531c474c7b48" providerId="ADAL" clId="{6ECD27E6-B224-41CD-B4E0-E297462320DD}" dt="2023-11-24T08:54:38.561" v="102992"/>
          <ac:spMkLst>
            <pc:docMk/>
            <pc:sldMk cId="3184642303" sldId="2147478578"/>
            <ac:spMk id="697" creationId="{D1AEE88C-04B8-E2F4-E9E1-82A8BB34E85C}"/>
          </ac:spMkLst>
        </pc:spChg>
        <pc:spChg chg="add del mod">
          <ac:chgData name="Steiner Andreas 6206 ED" userId="e6377c33-a923-4f14-8587-531c474c7b48" providerId="ADAL" clId="{6ECD27E6-B224-41CD-B4E0-E297462320DD}" dt="2023-11-24T08:54:40.743" v="103147"/>
          <ac:spMkLst>
            <pc:docMk/>
            <pc:sldMk cId="3184642303" sldId="2147478578"/>
            <ac:spMk id="698" creationId="{682B5A36-B39D-22E0-6C6B-375C9FF44609}"/>
          </ac:spMkLst>
        </pc:spChg>
        <pc:spChg chg="add del mod">
          <ac:chgData name="Steiner Andreas 6206 ED" userId="e6377c33-a923-4f14-8587-531c474c7b48" providerId="ADAL" clId="{6ECD27E6-B224-41CD-B4E0-E297462320DD}" dt="2023-11-24T08:54:42.653" v="103302"/>
          <ac:spMkLst>
            <pc:docMk/>
            <pc:sldMk cId="3184642303" sldId="2147478578"/>
            <ac:spMk id="699" creationId="{51D4DB9D-3FF0-44F8-D853-71E50AC5E5D9}"/>
          </ac:spMkLst>
        </pc:spChg>
        <pc:spChg chg="add del mod">
          <ac:chgData name="Steiner Andreas 6206 ED" userId="e6377c33-a923-4f14-8587-531c474c7b48" providerId="ADAL" clId="{6ECD27E6-B224-41CD-B4E0-E297462320DD}" dt="2023-11-24T08:54:44.911" v="103457"/>
          <ac:spMkLst>
            <pc:docMk/>
            <pc:sldMk cId="3184642303" sldId="2147478578"/>
            <ac:spMk id="700" creationId="{22B84912-301E-C740-8C5B-BDEBA0449C38}"/>
          </ac:spMkLst>
        </pc:spChg>
        <pc:spChg chg="add del mod">
          <ac:chgData name="Steiner Andreas 6206 ED" userId="e6377c33-a923-4f14-8587-531c474c7b48" providerId="ADAL" clId="{6ECD27E6-B224-41CD-B4E0-E297462320DD}" dt="2023-11-24T08:54:47.148" v="103612"/>
          <ac:spMkLst>
            <pc:docMk/>
            <pc:sldMk cId="3184642303" sldId="2147478578"/>
            <ac:spMk id="701" creationId="{496E8924-EC60-B22E-8CF0-2FEFEC744EFC}"/>
          </ac:spMkLst>
        </pc:spChg>
        <pc:spChg chg="add del mod">
          <ac:chgData name="Steiner Andreas 6206 ED" userId="e6377c33-a923-4f14-8587-531c474c7b48" providerId="ADAL" clId="{6ECD27E6-B224-41CD-B4E0-E297462320DD}" dt="2023-11-24T08:54:49.274" v="103767"/>
          <ac:spMkLst>
            <pc:docMk/>
            <pc:sldMk cId="3184642303" sldId="2147478578"/>
            <ac:spMk id="702" creationId="{03AD9E21-57A4-3720-7D38-32163EE385D4}"/>
          </ac:spMkLst>
        </pc:spChg>
        <pc:spChg chg="add del mod">
          <ac:chgData name="Steiner Andreas 6206 ED" userId="e6377c33-a923-4f14-8587-531c474c7b48" providerId="ADAL" clId="{6ECD27E6-B224-41CD-B4E0-E297462320DD}" dt="2023-11-24T08:54:51.630" v="103922"/>
          <ac:spMkLst>
            <pc:docMk/>
            <pc:sldMk cId="3184642303" sldId="2147478578"/>
            <ac:spMk id="703" creationId="{74D395BF-811A-AE25-8CC0-BC705254C533}"/>
          </ac:spMkLst>
        </pc:spChg>
        <pc:spChg chg="add del mod">
          <ac:chgData name="Steiner Andreas 6206 ED" userId="e6377c33-a923-4f14-8587-531c474c7b48" providerId="ADAL" clId="{6ECD27E6-B224-41CD-B4E0-E297462320DD}" dt="2023-11-24T08:54:53.706" v="104077"/>
          <ac:spMkLst>
            <pc:docMk/>
            <pc:sldMk cId="3184642303" sldId="2147478578"/>
            <ac:spMk id="704" creationId="{E13CA3FB-372D-31DB-A382-74F446BE48CE}"/>
          </ac:spMkLst>
        </pc:spChg>
        <pc:spChg chg="add del mod">
          <ac:chgData name="Steiner Andreas 6206 ED" userId="e6377c33-a923-4f14-8587-531c474c7b48" providerId="ADAL" clId="{6ECD27E6-B224-41CD-B4E0-E297462320DD}" dt="2023-11-24T08:54:55.831" v="104232"/>
          <ac:spMkLst>
            <pc:docMk/>
            <pc:sldMk cId="3184642303" sldId="2147478578"/>
            <ac:spMk id="705" creationId="{1B98D1B7-8DC5-9445-882A-84DCDD799C50}"/>
          </ac:spMkLst>
        </pc:spChg>
        <pc:spChg chg="add del mod">
          <ac:chgData name="Steiner Andreas 6206 ED" userId="e6377c33-a923-4f14-8587-531c474c7b48" providerId="ADAL" clId="{6ECD27E6-B224-41CD-B4E0-E297462320DD}" dt="2023-11-24T08:54:57.887" v="104387"/>
          <ac:spMkLst>
            <pc:docMk/>
            <pc:sldMk cId="3184642303" sldId="2147478578"/>
            <ac:spMk id="706" creationId="{77BF202B-6288-5381-EFAD-30EA98519960}"/>
          </ac:spMkLst>
        </pc:spChg>
        <pc:spChg chg="add del mod">
          <ac:chgData name="Steiner Andreas 6206 ED" userId="e6377c33-a923-4f14-8587-531c474c7b48" providerId="ADAL" clId="{6ECD27E6-B224-41CD-B4E0-E297462320DD}" dt="2023-11-24T08:54:59.920" v="104542"/>
          <ac:spMkLst>
            <pc:docMk/>
            <pc:sldMk cId="3184642303" sldId="2147478578"/>
            <ac:spMk id="707" creationId="{777C197A-BE51-B749-0E1A-8C8B90B27509}"/>
          </ac:spMkLst>
        </pc:spChg>
        <pc:spChg chg="add del mod">
          <ac:chgData name="Steiner Andreas 6206 ED" userId="e6377c33-a923-4f14-8587-531c474c7b48" providerId="ADAL" clId="{6ECD27E6-B224-41CD-B4E0-E297462320DD}" dt="2023-11-24T08:55:01.865" v="104697"/>
          <ac:spMkLst>
            <pc:docMk/>
            <pc:sldMk cId="3184642303" sldId="2147478578"/>
            <ac:spMk id="708" creationId="{A4F48656-C08A-AC49-6409-7480E0F9ED63}"/>
          </ac:spMkLst>
        </pc:spChg>
        <pc:spChg chg="add del mod">
          <ac:chgData name="Steiner Andreas 6206 ED" userId="e6377c33-a923-4f14-8587-531c474c7b48" providerId="ADAL" clId="{6ECD27E6-B224-41CD-B4E0-E297462320DD}" dt="2023-11-24T08:55:03.814" v="104852"/>
          <ac:spMkLst>
            <pc:docMk/>
            <pc:sldMk cId="3184642303" sldId="2147478578"/>
            <ac:spMk id="709" creationId="{BF6D65C9-CF45-F048-7D61-B6F5F59475D0}"/>
          </ac:spMkLst>
        </pc:spChg>
        <pc:spChg chg="add del mod">
          <ac:chgData name="Steiner Andreas 6206 ED" userId="e6377c33-a923-4f14-8587-531c474c7b48" providerId="ADAL" clId="{6ECD27E6-B224-41CD-B4E0-E297462320DD}" dt="2023-11-24T08:55:05.933" v="105007"/>
          <ac:spMkLst>
            <pc:docMk/>
            <pc:sldMk cId="3184642303" sldId="2147478578"/>
            <ac:spMk id="710" creationId="{89943B6E-A47D-4793-63F1-C3E7803FE801}"/>
          </ac:spMkLst>
        </pc:spChg>
        <pc:spChg chg="add del mod">
          <ac:chgData name="Steiner Andreas 6206 ED" userId="e6377c33-a923-4f14-8587-531c474c7b48" providerId="ADAL" clId="{6ECD27E6-B224-41CD-B4E0-E297462320DD}" dt="2023-11-24T08:55:08.046" v="105162"/>
          <ac:spMkLst>
            <pc:docMk/>
            <pc:sldMk cId="3184642303" sldId="2147478578"/>
            <ac:spMk id="711" creationId="{7F43CBD4-D23E-0A9E-D3AA-CFCB6F8863AD}"/>
          </ac:spMkLst>
        </pc:spChg>
        <pc:spChg chg="add del mod">
          <ac:chgData name="Steiner Andreas 6206 ED" userId="e6377c33-a923-4f14-8587-531c474c7b48" providerId="ADAL" clId="{6ECD27E6-B224-41CD-B4E0-E297462320DD}" dt="2023-11-24T08:55:10.021" v="105317"/>
          <ac:spMkLst>
            <pc:docMk/>
            <pc:sldMk cId="3184642303" sldId="2147478578"/>
            <ac:spMk id="712" creationId="{242C6AB9-CDB8-AA86-9BA1-08D79534591D}"/>
          </ac:spMkLst>
        </pc:spChg>
        <pc:spChg chg="add del mod">
          <ac:chgData name="Steiner Andreas 6206 ED" userId="e6377c33-a923-4f14-8587-531c474c7b48" providerId="ADAL" clId="{6ECD27E6-B224-41CD-B4E0-E297462320DD}" dt="2023-11-24T08:55:12.023" v="105472"/>
          <ac:spMkLst>
            <pc:docMk/>
            <pc:sldMk cId="3184642303" sldId="2147478578"/>
            <ac:spMk id="713" creationId="{A506EAF1-71E9-1104-442C-BF9F4263960E}"/>
          </ac:spMkLst>
        </pc:spChg>
        <pc:spChg chg="add del mod">
          <ac:chgData name="Steiner Andreas 6206 ED" userId="e6377c33-a923-4f14-8587-531c474c7b48" providerId="ADAL" clId="{6ECD27E6-B224-41CD-B4E0-E297462320DD}" dt="2023-11-24T08:55:14.053" v="105627"/>
          <ac:spMkLst>
            <pc:docMk/>
            <pc:sldMk cId="3184642303" sldId="2147478578"/>
            <ac:spMk id="714" creationId="{E034139B-3C48-9993-7F7A-D0FD54A67FF4}"/>
          </ac:spMkLst>
        </pc:spChg>
        <pc:spChg chg="add del mod">
          <ac:chgData name="Steiner Andreas 6206 ED" userId="e6377c33-a923-4f14-8587-531c474c7b48" providerId="ADAL" clId="{6ECD27E6-B224-41CD-B4E0-E297462320DD}" dt="2023-11-24T08:55:16.139" v="105782"/>
          <ac:spMkLst>
            <pc:docMk/>
            <pc:sldMk cId="3184642303" sldId="2147478578"/>
            <ac:spMk id="715" creationId="{24F7EE57-A3D2-D734-1D30-EF881BF96554}"/>
          </ac:spMkLst>
        </pc:spChg>
        <pc:spChg chg="add del mod">
          <ac:chgData name="Steiner Andreas 6206 ED" userId="e6377c33-a923-4f14-8587-531c474c7b48" providerId="ADAL" clId="{6ECD27E6-B224-41CD-B4E0-E297462320DD}" dt="2023-11-24T08:55:18.184" v="105937"/>
          <ac:spMkLst>
            <pc:docMk/>
            <pc:sldMk cId="3184642303" sldId="2147478578"/>
            <ac:spMk id="716" creationId="{4DD14FBA-A5B4-E310-3AA7-FE07ED1B4F1B}"/>
          </ac:spMkLst>
        </pc:spChg>
        <pc:spChg chg="add del mod">
          <ac:chgData name="Steiner Andreas 6206 ED" userId="e6377c33-a923-4f14-8587-531c474c7b48" providerId="ADAL" clId="{6ECD27E6-B224-41CD-B4E0-E297462320DD}" dt="2023-11-24T08:55:20.205" v="106092"/>
          <ac:spMkLst>
            <pc:docMk/>
            <pc:sldMk cId="3184642303" sldId="2147478578"/>
            <ac:spMk id="717" creationId="{9067D4C5-AA63-1257-A657-6E4B8359B8D5}"/>
          </ac:spMkLst>
        </pc:spChg>
        <pc:spChg chg="add del mod">
          <ac:chgData name="Steiner Andreas 6206 ED" userId="e6377c33-a923-4f14-8587-531c474c7b48" providerId="ADAL" clId="{6ECD27E6-B224-41CD-B4E0-E297462320DD}" dt="2023-11-24T08:55:22.140" v="106247"/>
          <ac:spMkLst>
            <pc:docMk/>
            <pc:sldMk cId="3184642303" sldId="2147478578"/>
            <ac:spMk id="718" creationId="{127B5C67-77AA-DC37-0E00-37181718AC69}"/>
          </ac:spMkLst>
        </pc:spChg>
        <pc:spChg chg="add del mod">
          <ac:chgData name="Steiner Andreas 6206 ED" userId="e6377c33-a923-4f14-8587-531c474c7b48" providerId="ADAL" clId="{6ECD27E6-B224-41CD-B4E0-E297462320DD}" dt="2023-11-24T08:55:24.149" v="106402"/>
          <ac:spMkLst>
            <pc:docMk/>
            <pc:sldMk cId="3184642303" sldId="2147478578"/>
            <ac:spMk id="719" creationId="{D2FDD9BF-FB29-2FD5-9B62-2BAEFD484A10}"/>
          </ac:spMkLst>
        </pc:spChg>
        <pc:spChg chg="add del mod">
          <ac:chgData name="Steiner Andreas 6206 ED" userId="e6377c33-a923-4f14-8587-531c474c7b48" providerId="ADAL" clId="{6ECD27E6-B224-41CD-B4E0-E297462320DD}" dt="2023-11-24T08:55:26.110" v="106557"/>
          <ac:spMkLst>
            <pc:docMk/>
            <pc:sldMk cId="3184642303" sldId="2147478578"/>
            <ac:spMk id="720" creationId="{9292755A-9B82-99E0-702A-03245D1D1679}"/>
          </ac:spMkLst>
        </pc:spChg>
        <pc:spChg chg="add del mod">
          <ac:chgData name="Steiner Andreas 6206 ED" userId="e6377c33-a923-4f14-8587-531c474c7b48" providerId="ADAL" clId="{6ECD27E6-B224-41CD-B4E0-E297462320DD}" dt="2023-11-24T08:55:28.275" v="106712"/>
          <ac:spMkLst>
            <pc:docMk/>
            <pc:sldMk cId="3184642303" sldId="2147478578"/>
            <ac:spMk id="721" creationId="{1C6920D2-C99A-656E-800D-8107BECEABF8}"/>
          </ac:spMkLst>
        </pc:spChg>
        <pc:spChg chg="add del mod">
          <ac:chgData name="Steiner Andreas 6206 ED" userId="e6377c33-a923-4f14-8587-531c474c7b48" providerId="ADAL" clId="{6ECD27E6-B224-41CD-B4E0-E297462320DD}" dt="2023-11-24T08:55:30.243" v="106867"/>
          <ac:spMkLst>
            <pc:docMk/>
            <pc:sldMk cId="3184642303" sldId="2147478578"/>
            <ac:spMk id="722" creationId="{56B8A8DD-D8C2-DF4D-7EE4-C3C73A4D2995}"/>
          </ac:spMkLst>
        </pc:spChg>
        <pc:spChg chg="add del mod">
          <ac:chgData name="Steiner Andreas 6206 ED" userId="e6377c33-a923-4f14-8587-531c474c7b48" providerId="ADAL" clId="{6ECD27E6-B224-41CD-B4E0-E297462320DD}" dt="2023-11-24T08:55:32.438" v="107022"/>
          <ac:spMkLst>
            <pc:docMk/>
            <pc:sldMk cId="3184642303" sldId="2147478578"/>
            <ac:spMk id="723" creationId="{C2E5F645-D6D6-C515-CED1-CB55E0067CC9}"/>
          </ac:spMkLst>
        </pc:spChg>
        <pc:spChg chg="add del mod">
          <ac:chgData name="Steiner Andreas 6206 ED" userId="e6377c33-a923-4f14-8587-531c474c7b48" providerId="ADAL" clId="{6ECD27E6-B224-41CD-B4E0-E297462320DD}" dt="2023-11-24T08:55:34.345" v="107177"/>
          <ac:spMkLst>
            <pc:docMk/>
            <pc:sldMk cId="3184642303" sldId="2147478578"/>
            <ac:spMk id="724" creationId="{FE9026A5-E489-71A0-B307-8D49D713F7E4}"/>
          </ac:spMkLst>
        </pc:spChg>
        <pc:spChg chg="add del mod">
          <ac:chgData name="Steiner Andreas 6206 ED" userId="e6377c33-a923-4f14-8587-531c474c7b48" providerId="ADAL" clId="{6ECD27E6-B224-41CD-B4E0-E297462320DD}" dt="2023-11-24T08:55:36.269" v="107332"/>
          <ac:spMkLst>
            <pc:docMk/>
            <pc:sldMk cId="3184642303" sldId="2147478578"/>
            <ac:spMk id="725" creationId="{C37745BC-043C-DF04-1CBE-108938BE9943}"/>
          </ac:spMkLst>
        </pc:spChg>
        <pc:spChg chg="add del mod">
          <ac:chgData name="Steiner Andreas 6206 ED" userId="e6377c33-a923-4f14-8587-531c474c7b48" providerId="ADAL" clId="{6ECD27E6-B224-41CD-B4E0-E297462320DD}" dt="2023-11-24T08:55:38.292" v="107487"/>
          <ac:spMkLst>
            <pc:docMk/>
            <pc:sldMk cId="3184642303" sldId="2147478578"/>
            <ac:spMk id="726" creationId="{BF3F08F0-2B71-5B83-2209-E704DA0BB316}"/>
          </ac:spMkLst>
        </pc:spChg>
        <pc:spChg chg="add del mod">
          <ac:chgData name="Steiner Andreas 6206 ED" userId="e6377c33-a923-4f14-8587-531c474c7b48" providerId="ADAL" clId="{6ECD27E6-B224-41CD-B4E0-E297462320DD}" dt="2023-11-24T08:55:40.337" v="107642"/>
          <ac:spMkLst>
            <pc:docMk/>
            <pc:sldMk cId="3184642303" sldId="2147478578"/>
            <ac:spMk id="727" creationId="{4A47756C-B593-F506-1D96-7A9B81ADBCEB}"/>
          </ac:spMkLst>
        </pc:spChg>
        <pc:spChg chg="add del mod">
          <ac:chgData name="Steiner Andreas 6206 ED" userId="e6377c33-a923-4f14-8587-531c474c7b48" providerId="ADAL" clId="{6ECD27E6-B224-41CD-B4E0-E297462320DD}" dt="2023-11-24T08:55:42.235" v="107797"/>
          <ac:spMkLst>
            <pc:docMk/>
            <pc:sldMk cId="3184642303" sldId="2147478578"/>
            <ac:spMk id="728" creationId="{B1C57F1F-8C5B-E89C-5D8D-D46FC16AC9C5}"/>
          </ac:spMkLst>
        </pc:spChg>
        <pc:spChg chg="add del mod">
          <ac:chgData name="Steiner Andreas 6206 ED" userId="e6377c33-a923-4f14-8587-531c474c7b48" providerId="ADAL" clId="{6ECD27E6-B224-41CD-B4E0-E297462320DD}" dt="2023-11-24T08:55:44.210" v="107952"/>
          <ac:spMkLst>
            <pc:docMk/>
            <pc:sldMk cId="3184642303" sldId="2147478578"/>
            <ac:spMk id="729" creationId="{0539F830-7D6B-DE89-0B68-F9DF2B5D80E4}"/>
          </ac:spMkLst>
        </pc:spChg>
        <pc:spChg chg="add del mod">
          <ac:chgData name="Steiner Andreas 6206 ED" userId="e6377c33-a923-4f14-8587-531c474c7b48" providerId="ADAL" clId="{6ECD27E6-B224-41CD-B4E0-E297462320DD}" dt="2023-11-24T08:55:46.471" v="108107"/>
          <ac:spMkLst>
            <pc:docMk/>
            <pc:sldMk cId="3184642303" sldId="2147478578"/>
            <ac:spMk id="730" creationId="{B21105BE-B355-DFFF-FA8E-DE087D0D2F8A}"/>
          </ac:spMkLst>
        </pc:spChg>
        <pc:spChg chg="add del mod">
          <ac:chgData name="Steiner Andreas 6206 ED" userId="e6377c33-a923-4f14-8587-531c474c7b48" providerId="ADAL" clId="{6ECD27E6-B224-41CD-B4E0-E297462320DD}" dt="2023-11-24T08:55:48.705" v="108262"/>
          <ac:spMkLst>
            <pc:docMk/>
            <pc:sldMk cId="3184642303" sldId="2147478578"/>
            <ac:spMk id="731" creationId="{687EA5F7-8463-401B-FA1D-2D6D810BFE4B}"/>
          </ac:spMkLst>
        </pc:spChg>
        <pc:spChg chg="add del mod">
          <ac:chgData name="Steiner Andreas 6206 ED" userId="e6377c33-a923-4f14-8587-531c474c7b48" providerId="ADAL" clId="{6ECD27E6-B224-41CD-B4E0-E297462320DD}" dt="2023-11-24T08:55:51.149" v="108417"/>
          <ac:spMkLst>
            <pc:docMk/>
            <pc:sldMk cId="3184642303" sldId="2147478578"/>
            <ac:spMk id="732" creationId="{D9BFE2C5-8636-8584-F2E9-8C1998D334CB}"/>
          </ac:spMkLst>
        </pc:spChg>
        <pc:spChg chg="add del mod">
          <ac:chgData name="Steiner Andreas 6206 ED" userId="e6377c33-a923-4f14-8587-531c474c7b48" providerId="ADAL" clId="{6ECD27E6-B224-41CD-B4E0-E297462320DD}" dt="2023-11-24T08:55:53.190" v="108572"/>
          <ac:spMkLst>
            <pc:docMk/>
            <pc:sldMk cId="3184642303" sldId="2147478578"/>
            <ac:spMk id="733" creationId="{BE3CCE46-5E5D-8946-FC6F-738FC02A984E}"/>
          </ac:spMkLst>
        </pc:spChg>
        <pc:spChg chg="add del mod">
          <ac:chgData name="Steiner Andreas 6206 ED" userId="e6377c33-a923-4f14-8587-531c474c7b48" providerId="ADAL" clId="{6ECD27E6-B224-41CD-B4E0-E297462320DD}" dt="2023-11-24T08:55:55.339" v="108727"/>
          <ac:spMkLst>
            <pc:docMk/>
            <pc:sldMk cId="3184642303" sldId="2147478578"/>
            <ac:spMk id="734" creationId="{BE0210AB-8C32-5618-85A9-B1E4C6EF2D61}"/>
          </ac:spMkLst>
        </pc:spChg>
        <pc:spChg chg="add del mod">
          <ac:chgData name="Steiner Andreas 6206 ED" userId="e6377c33-a923-4f14-8587-531c474c7b48" providerId="ADAL" clId="{6ECD27E6-B224-41CD-B4E0-E297462320DD}" dt="2023-11-24T08:55:57.342" v="108882"/>
          <ac:spMkLst>
            <pc:docMk/>
            <pc:sldMk cId="3184642303" sldId="2147478578"/>
            <ac:spMk id="735" creationId="{1D07CF18-8804-F1A6-B97C-769A404D4D27}"/>
          </ac:spMkLst>
        </pc:spChg>
        <pc:spChg chg="add del mod">
          <ac:chgData name="Steiner Andreas 6206 ED" userId="e6377c33-a923-4f14-8587-531c474c7b48" providerId="ADAL" clId="{6ECD27E6-B224-41CD-B4E0-E297462320DD}" dt="2023-11-24T08:55:59.445" v="109037"/>
          <ac:spMkLst>
            <pc:docMk/>
            <pc:sldMk cId="3184642303" sldId="2147478578"/>
            <ac:spMk id="736" creationId="{395CA515-7676-A616-E3D8-60EEBDC67C26}"/>
          </ac:spMkLst>
        </pc:spChg>
        <pc:spChg chg="add del mod">
          <ac:chgData name="Steiner Andreas 6206 ED" userId="e6377c33-a923-4f14-8587-531c474c7b48" providerId="ADAL" clId="{6ECD27E6-B224-41CD-B4E0-E297462320DD}" dt="2023-11-24T08:56:01.757" v="109192"/>
          <ac:spMkLst>
            <pc:docMk/>
            <pc:sldMk cId="3184642303" sldId="2147478578"/>
            <ac:spMk id="737" creationId="{94278526-49B4-BEB1-637D-79F9D4275354}"/>
          </ac:spMkLst>
        </pc:spChg>
        <pc:spChg chg="add del mod">
          <ac:chgData name="Steiner Andreas 6206 ED" userId="e6377c33-a923-4f14-8587-531c474c7b48" providerId="ADAL" clId="{6ECD27E6-B224-41CD-B4E0-E297462320DD}" dt="2023-11-24T08:56:04.057" v="109347"/>
          <ac:spMkLst>
            <pc:docMk/>
            <pc:sldMk cId="3184642303" sldId="2147478578"/>
            <ac:spMk id="738" creationId="{C544E980-8478-421A-507F-CB79FD7AB45E}"/>
          </ac:spMkLst>
        </pc:spChg>
        <pc:spChg chg="add del mod">
          <ac:chgData name="Steiner Andreas 6206 ED" userId="e6377c33-a923-4f14-8587-531c474c7b48" providerId="ADAL" clId="{6ECD27E6-B224-41CD-B4E0-E297462320DD}" dt="2023-11-24T08:56:06.338" v="109502"/>
          <ac:spMkLst>
            <pc:docMk/>
            <pc:sldMk cId="3184642303" sldId="2147478578"/>
            <ac:spMk id="739" creationId="{531D6C01-8F26-0385-05A7-BA68968DE636}"/>
          </ac:spMkLst>
        </pc:spChg>
        <pc:spChg chg="add del mod">
          <ac:chgData name="Steiner Andreas 6206 ED" userId="e6377c33-a923-4f14-8587-531c474c7b48" providerId="ADAL" clId="{6ECD27E6-B224-41CD-B4E0-E297462320DD}" dt="2023-11-24T08:56:08.647" v="109657"/>
          <ac:spMkLst>
            <pc:docMk/>
            <pc:sldMk cId="3184642303" sldId="2147478578"/>
            <ac:spMk id="740" creationId="{3A7C94A6-4500-71E4-29E1-24765177365F}"/>
          </ac:spMkLst>
        </pc:spChg>
        <pc:spChg chg="add del mod">
          <ac:chgData name="Steiner Andreas 6206 ED" userId="e6377c33-a923-4f14-8587-531c474c7b48" providerId="ADAL" clId="{6ECD27E6-B224-41CD-B4E0-E297462320DD}" dt="2023-11-24T08:56:10.690" v="109812"/>
          <ac:spMkLst>
            <pc:docMk/>
            <pc:sldMk cId="3184642303" sldId="2147478578"/>
            <ac:spMk id="741" creationId="{8F99532E-9FFE-814F-EB91-7CB544964BAA}"/>
          </ac:spMkLst>
        </pc:spChg>
        <pc:spChg chg="add del mod">
          <ac:chgData name="Steiner Andreas 6206 ED" userId="e6377c33-a923-4f14-8587-531c474c7b48" providerId="ADAL" clId="{6ECD27E6-B224-41CD-B4E0-E297462320DD}" dt="2023-11-24T08:56:12.792" v="109967"/>
          <ac:spMkLst>
            <pc:docMk/>
            <pc:sldMk cId="3184642303" sldId="2147478578"/>
            <ac:spMk id="742" creationId="{0225798C-D058-F04A-3987-A0C28CB53C98}"/>
          </ac:spMkLst>
        </pc:spChg>
        <pc:spChg chg="add del mod">
          <ac:chgData name="Steiner Andreas 6206 ED" userId="e6377c33-a923-4f14-8587-531c474c7b48" providerId="ADAL" clId="{6ECD27E6-B224-41CD-B4E0-E297462320DD}" dt="2023-11-24T08:56:14.933" v="110122"/>
          <ac:spMkLst>
            <pc:docMk/>
            <pc:sldMk cId="3184642303" sldId="2147478578"/>
            <ac:spMk id="743" creationId="{F4F92883-C561-6EC8-B030-B0382B9B5F36}"/>
          </ac:spMkLst>
        </pc:spChg>
        <pc:spChg chg="add del mod">
          <ac:chgData name="Steiner Andreas 6206 ED" userId="e6377c33-a923-4f14-8587-531c474c7b48" providerId="ADAL" clId="{6ECD27E6-B224-41CD-B4E0-E297462320DD}" dt="2023-11-24T08:56:16.919" v="110277"/>
          <ac:spMkLst>
            <pc:docMk/>
            <pc:sldMk cId="3184642303" sldId="2147478578"/>
            <ac:spMk id="744" creationId="{07D7B455-F3A8-0908-29B4-903471D3C7DA}"/>
          </ac:spMkLst>
        </pc:spChg>
        <pc:spChg chg="add del mod">
          <ac:chgData name="Steiner Andreas 6206 ED" userId="e6377c33-a923-4f14-8587-531c474c7b48" providerId="ADAL" clId="{6ECD27E6-B224-41CD-B4E0-E297462320DD}" dt="2023-11-24T08:56:18.896" v="110432"/>
          <ac:spMkLst>
            <pc:docMk/>
            <pc:sldMk cId="3184642303" sldId="2147478578"/>
            <ac:spMk id="745" creationId="{F18584CB-9121-42D8-7D78-D21E365435A9}"/>
          </ac:spMkLst>
        </pc:spChg>
        <pc:spChg chg="add del mod">
          <ac:chgData name="Steiner Andreas 6206 ED" userId="e6377c33-a923-4f14-8587-531c474c7b48" providerId="ADAL" clId="{6ECD27E6-B224-41CD-B4E0-E297462320DD}" dt="2023-11-24T08:56:20.840" v="110587"/>
          <ac:spMkLst>
            <pc:docMk/>
            <pc:sldMk cId="3184642303" sldId="2147478578"/>
            <ac:spMk id="746" creationId="{E772B65A-C746-BC24-6FDE-0F6DE26D09C5}"/>
          </ac:spMkLst>
        </pc:spChg>
        <pc:spChg chg="add del mod">
          <ac:chgData name="Steiner Andreas 6206 ED" userId="e6377c33-a923-4f14-8587-531c474c7b48" providerId="ADAL" clId="{6ECD27E6-B224-41CD-B4E0-E297462320DD}" dt="2023-11-24T08:56:22.955" v="110742"/>
          <ac:spMkLst>
            <pc:docMk/>
            <pc:sldMk cId="3184642303" sldId="2147478578"/>
            <ac:spMk id="747" creationId="{1A134727-6FD5-7328-7D83-39DB23A8C204}"/>
          </ac:spMkLst>
        </pc:spChg>
        <pc:spChg chg="add del mod">
          <ac:chgData name="Steiner Andreas 6206 ED" userId="e6377c33-a923-4f14-8587-531c474c7b48" providerId="ADAL" clId="{6ECD27E6-B224-41CD-B4E0-E297462320DD}" dt="2023-11-24T08:56:25.175" v="110897"/>
          <ac:spMkLst>
            <pc:docMk/>
            <pc:sldMk cId="3184642303" sldId="2147478578"/>
            <ac:spMk id="748" creationId="{FC88AB8E-68EF-A9D4-54EF-D6D4637EB5A1}"/>
          </ac:spMkLst>
        </pc:spChg>
        <pc:spChg chg="add del mod">
          <ac:chgData name="Steiner Andreas 6206 ED" userId="e6377c33-a923-4f14-8587-531c474c7b48" providerId="ADAL" clId="{6ECD27E6-B224-41CD-B4E0-E297462320DD}" dt="2023-11-24T08:56:27.200" v="111052"/>
          <ac:spMkLst>
            <pc:docMk/>
            <pc:sldMk cId="3184642303" sldId="2147478578"/>
            <ac:spMk id="749" creationId="{6C4CF823-5561-D953-DE86-5A4628CC8400}"/>
          </ac:spMkLst>
        </pc:spChg>
        <pc:spChg chg="add del mod">
          <ac:chgData name="Steiner Andreas 6206 ED" userId="e6377c33-a923-4f14-8587-531c474c7b48" providerId="ADAL" clId="{6ECD27E6-B224-41CD-B4E0-E297462320DD}" dt="2023-11-24T08:56:29.227" v="111207"/>
          <ac:spMkLst>
            <pc:docMk/>
            <pc:sldMk cId="3184642303" sldId="2147478578"/>
            <ac:spMk id="750" creationId="{2201D918-4D02-FF7D-7EA7-A153C899337E}"/>
          </ac:spMkLst>
        </pc:spChg>
        <pc:spChg chg="add del mod">
          <ac:chgData name="Steiner Andreas 6206 ED" userId="e6377c33-a923-4f14-8587-531c474c7b48" providerId="ADAL" clId="{6ECD27E6-B224-41CD-B4E0-E297462320DD}" dt="2023-11-24T08:56:31.340" v="111362"/>
          <ac:spMkLst>
            <pc:docMk/>
            <pc:sldMk cId="3184642303" sldId="2147478578"/>
            <ac:spMk id="751" creationId="{91C59A5E-AABB-7F07-2B40-14A230690AFD}"/>
          </ac:spMkLst>
        </pc:spChg>
        <pc:spChg chg="add del mod">
          <ac:chgData name="Steiner Andreas 6206 ED" userId="e6377c33-a923-4f14-8587-531c474c7b48" providerId="ADAL" clId="{6ECD27E6-B224-41CD-B4E0-E297462320DD}" dt="2023-11-24T08:56:33.555" v="111517"/>
          <ac:spMkLst>
            <pc:docMk/>
            <pc:sldMk cId="3184642303" sldId="2147478578"/>
            <ac:spMk id="752" creationId="{94835172-2F79-38F7-A530-883317CAA181}"/>
          </ac:spMkLst>
        </pc:spChg>
        <pc:spChg chg="add del mod">
          <ac:chgData name="Steiner Andreas 6206 ED" userId="e6377c33-a923-4f14-8587-531c474c7b48" providerId="ADAL" clId="{6ECD27E6-B224-41CD-B4E0-E297462320DD}" dt="2023-11-24T08:56:35.735" v="111672"/>
          <ac:spMkLst>
            <pc:docMk/>
            <pc:sldMk cId="3184642303" sldId="2147478578"/>
            <ac:spMk id="753" creationId="{5A1892A5-EE9C-33D5-8446-E3217D7DC05C}"/>
          </ac:spMkLst>
        </pc:spChg>
        <pc:spChg chg="add del mod">
          <ac:chgData name="Steiner Andreas 6206 ED" userId="e6377c33-a923-4f14-8587-531c474c7b48" providerId="ADAL" clId="{6ECD27E6-B224-41CD-B4E0-E297462320DD}" dt="2023-11-24T08:56:37.812" v="111827"/>
          <ac:spMkLst>
            <pc:docMk/>
            <pc:sldMk cId="3184642303" sldId="2147478578"/>
            <ac:spMk id="754" creationId="{E6226C90-8547-5588-0780-C76C0722D00F}"/>
          </ac:spMkLst>
        </pc:spChg>
        <pc:spChg chg="add del mod">
          <ac:chgData name="Steiner Andreas 6206 ED" userId="e6377c33-a923-4f14-8587-531c474c7b48" providerId="ADAL" clId="{6ECD27E6-B224-41CD-B4E0-E297462320DD}" dt="2023-11-24T08:56:39.977" v="111982"/>
          <ac:spMkLst>
            <pc:docMk/>
            <pc:sldMk cId="3184642303" sldId="2147478578"/>
            <ac:spMk id="755" creationId="{9296F618-3F29-11D1-F184-98DF978C947A}"/>
          </ac:spMkLst>
        </pc:spChg>
        <pc:spChg chg="add del mod">
          <ac:chgData name="Steiner Andreas 6206 ED" userId="e6377c33-a923-4f14-8587-531c474c7b48" providerId="ADAL" clId="{6ECD27E6-B224-41CD-B4E0-E297462320DD}" dt="2023-11-24T08:56:41.929" v="112137"/>
          <ac:spMkLst>
            <pc:docMk/>
            <pc:sldMk cId="3184642303" sldId="2147478578"/>
            <ac:spMk id="756" creationId="{79464A00-5081-30B0-BCC9-DB09174136FA}"/>
          </ac:spMkLst>
        </pc:spChg>
        <pc:spChg chg="add del mod">
          <ac:chgData name="Steiner Andreas 6206 ED" userId="e6377c33-a923-4f14-8587-531c474c7b48" providerId="ADAL" clId="{6ECD27E6-B224-41CD-B4E0-E297462320DD}" dt="2023-11-24T08:56:43.910" v="112292"/>
          <ac:spMkLst>
            <pc:docMk/>
            <pc:sldMk cId="3184642303" sldId="2147478578"/>
            <ac:spMk id="757" creationId="{2344F8B8-DB39-07E0-D9B3-6829C12EA572}"/>
          </ac:spMkLst>
        </pc:spChg>
        <pc:spChg chg="add del mod">
          <ac:chgData name="Steiner Andreas 6206 ED" userId="e6377c33-a923-4f14-8587-531c474c7b48" providerId="ADAL" clId="{6ECD27E6-B224-41CD-B4E0-E297462320DD}" dt="2023-11-24T08:56:45.949" v="112447"/>
          <ac:spMkLst>
            <pc:docMk/>
            <pc:sldMk cId="3184642303" sldId="2147478578"/>
            <ac:spMk id="758" creationId="{DFA9C1D8-1F45-2F01-FB43-2EAA3857128E}"/>
          </ac:spMkLst>
        </pc:spChg>
        <pc:spChg chg="add del mod">
          <ac:chgData name="Steiner Andreas 6206 ED" userId="e6377c33-a923-4f14-8587-531c474c7b48" providerId="ADAL" clId="{6ECD27E6-B224-41CD-B4E0-E297462320DD}" dt="2023-11-24T08:56:48.164" v="112602"/>
          <ac:spMkLst>
            <pc:docMk/>
            <pc:sldMk cId="3184642303" sldId="2147478578"/>
            <ac:spMk id="759" creationId="{D4DD8DF1-EDA7-9E96-B5EA-7E6C0699F15E}"/>
          </ac:spMkLst>
        </pc:spChg>
        <pc:spChg chg="add del mod">
          <ac:chgData name="Steiner Andreas 6206 ED" userId="e6377c33-a923-4f14-8587-531c474c7b48" providerId="ADAL" clId="{6ECD27E6-B224-41CD-B4E0-E297462320DD}" dt="2023-11-24T08:56:50.220" v="112757"/>
          <ac:spMkLst>
            <pc:docMk/>
            <pc:sldMk cId="3184642303" sldId="2147478578"/>
            <ac:spMk id="760" creationId="{8B5094A5-55AF-31FC-C81C-948DE0A4C9F6}"/>
          </ac:spMkLst>
        </pc:spChg>
        <pc:spChg chg="add del mod">
          <ac:chgData name="Steiner Andreas 6206 ED" userId="e6377c33-a923-4f14-8587-531c474c7b48" providerId="ADAL" clId="{6ECD27E6-B224-41CD-B4E0-E297462320DD}" dt="2023-11-24T08:56:52.148" v="112912"/>
          <ac:spMkLst>
            <pc:docMk/>
            <pc:sldMk cId="3184642303" sldId="2147478578"/>
            <ac:spMk id="761" creationId="{93165878-36AD-885C-8A25-A2FC64A77BF7}"/>
          </ac:spMkLst>
        </pc:spChg>
        <pc:spChg chg="add del mod">
          <ac:chgData name="Steiner Andreas 6206 ED" userId="e6377c33-a923-4f14-8587-531c474c7b48" providerId="ADAL" clId="{6ECD27E6-B224-41CD-B4E0-E297462320DD}" dt="2023-11-24T08:56:54.102" v="113067"/>
          <ac:spMkLst>
            <pc:docMk/>
            <pc:sldMk cId="3184642303" sldId="2147478578"/>
            <ac:spMk id="762" creationId="{C6C1AE51-3416-9764-41A9-2BF55A60D3F7}"/>
          </ac:spMkLst>
        </pc:spChg>
        <pc:spChg chg="add del mod">
          <ac:chgData name="Steiner Andreas 6206 ED" userId="e6377c33-a923-4f14-8587-531c474c7b48" providerId="ADAL" clId="{6ECD27E6-B224-41CD-B4E0-E297462320DD}" dt="2023-11-24T08:56:56.230" v="113222"/>
          <ac:spMkLst>
            <pc:docMk/>
            <pc:sldMk cId="3184642303" sldId="2147478578"/>
            <ac:spMk id="763" creationId="{3BE8CE55-B7E0-AB4C-0F3C-F03B1252212B}"/>
          </ac:spMkLst>
        </pc:spChg>
        <pc:spChg chg="add del mod">
          <ac:chgData name="Steiner Andreas 6206 ED" userId="e6377c33-a923-4f14-8587-531c474c7b48" providerId="ADAL" clId="{6ECD27E6-B224-41CD-B4E0-E297462320DD}" dt="2023-11-24T08:56:58.324" v="113377"/>
          <ac:spMkLst>
            <pc:docMk/>
            <pc:sldMk cId="3184642303" sldId="2147478578"/>
            <ac:spMk id="764" creationId="{456042FC-D964-4742-3317-30A4D3B203E4}"/>
          </ac:spMkLst>
        </pc:spChg>
        <pc:spChg chg="add del mod">
          <ac:chgData name="Steiner Andreas 6206 ED" userId="e6377c33-a923-4f14-8587-531c474c7b48" providerId="ADAL" clId="{6ECD27E6-B224-41CD-B4E0-E297462320DD}" dt="2023-11-24T08:57:00.649" v="113532"/>
          <ac:spMkLst>
            <pc:docMk/>
            <pc:sldMk cId="3184642303" sldId="2147478578"/>
            <ac:spMk id="765" creationId="{48B604FD-8FF9-708D-AF13-A7237A11DEB5}"/>
          </ac:spMkLst>
        </pc:spChg>
        <pc:spChg chg="add del mod">
          <ac:chgData name="Steiner Andreas 6206 ED" userId="e6377c33-a923-4f14-8587-531c474c7b48" providerId="ADAL" clId="{6ECD27E6-B224-41CD-B4E0-E297462320DD}" dt="2023-11-24T08:57:02.966" v="113687"/>
          <ac:spMkLst>
            <pc:docMk/>
            <pc:sldMk cId="3184642303" sldId="2147478578"/>
            <ac:spMk id="766" creationId="{8F3199C4-C138-E41F-18F2-584DCCD8F09E}"/>
          </ac:spMkLst>
        </pc:spChg>
        <pc:spChg chg="add del mod">
          <ac:chgData name="Steiner Andreas 6206 ED" userId="e6377c33-a923-4f14-8587-531c474c7b48" providerId="ADAL" clId="{6ECD27E6-B224-41CD-B4E0-E297462320DD}" dt="2023-11-24T09:02:21.473" v="113842"/>
          <ac:spMkLst>
            <pc:docMk/>
            <pc:sldMk cId="3184642303" sldId="2147478578"/>
            <ac:spMk id="767" creationId="{6E5EE352-208F-BD91-44FD-EE140DB7E159}"/>
          </ac:spMkLst>
        </pc:spChg>
        <pc:spChg chg="add del mod">
          <ac:chgData name="Steiner Andreas 6206 ED" userId="e6377c33-a923-4f14-8587-531c474c7b48" providerId="ADAL" clId="{6ECD27E6-B224-41CD-B4E0-E297462320DD}" dt="2023-11-24T09:02:27.402" v="113997"/>
          <ac:spMkLst>
            <pc:docMk/>
            <pc:sldMk cId="3184642303" sldId="2147478578"/>
            <ac:spMk id="768" creationId="{4132B4D6-FF19-7100-E6AA-4F23FBDDF958}"/>
          </ac:spMkLst>
        </pc:spChg>
        <pc:spChg chg="add del mod">
          <ac:chgData name="Steiner Andreas 6206 ED" userId="e6377c33-a923-4f14-8587-531c474c7b48" providerId="ADAL" clId="{6ECD27E6-B224-41CD-B4E0-E297462320DD}" dt="2023-11-24T09:02:29.908" v="114152"/>
          <ac:spMkLst>
            <pc:docMk/>
            <pc:sldMk cId="3184642303" sldId="2147478578"/>
            <ac:spMk id="769" creationId="{50E1697B-9CA6-EF71-8733-45995D3CA67C}"/>
          </ac:spMkLst>
        </pc:spChg>
        <pc:spChg chg="add del mod">
          <ac:chgData name="Steiner Andreas 6206 ED" userId="e6377c33-a923-4f14-8587-531c474c7b48" providerId="ADAL" clId="{6ECD27E6-B224-41CD-B4E0-E297462320DD}" dt="2023-11-24T09:02:33.033" v="114307"/>
          <ac:spMkLst>
            <pc:docMk/>
            <pc:sldMk cId="3184642303" sldId="2147478578"/>
            <ac:spMk id="770" creationId="{F9C0B7F0-CCBB-167A-2A97-AA784E8F0796}"/>
          </ac:spMkLst>
        </pc:spChg>
        <pc:spChg chg="add del mod">
          <ac:chgData name="Steiner Andreas 6206 ED" userId="e6377c33-a923-4f14-8587-531c474c7b48" providerId="ADAL" clId="{6ECD27E6-B224-41CD-B4E0-E297462320DD}" dt="2023-11-24T09:02:36.573" v="114462"/>
          <ac:spMkLst>
            <pc:docMk/>
            <pc:sldMk cId="3184642303" sldId="2147478578"/>
            <ac:spMk id="771" creationId="{FE65CE6D-0B3A-7AF9-5EC2-8ED65CB2BF1F}"/>
          </ac:spMkLst>
        </pc:spChg>
        <pc:spChg chg="add del mod">
          <ac:chgData name="Steiner Andreas 6206 ED" userId="e6377c33-a923-4f14-8587-531c474c7b48" providerId="ADAL" clId="{6ECD27E6-B224-41CD-B4E0-E297462320DD}" dt="2023-11-24T11:31:22.380" v="114617"/>
          <ac:spMkLst>
            <pc:docMk/>
            <pc:sldMk cId="3184642303" sldId="2147478578"/>
            <ac:spMk id="772" creationId="{5E7A1938-84A4-30F0-42F4-ECCBE51A1486}"/>
          </ac:spMkLst>
        </pc:spChg>
        <pc:spChg chg="add del mod">
          <ac:chgData name="Steiner Andreas 6206 ED" userId="e6377c33-a923-4f14-8587-531c474c7b48" providerId="ADAL" clId="{6ECD27E6-B224-41CD-B4E0-E297462320DD}" dt="2023-11-24T11:33:29.709" v="114772"/>
          <ac:spMkLst>
            <pc:docMk/>
            <pc:sldMk cId="3184642303" sldId="2147478578"/>
            <ac:spMk id="773" creationId="{008DA8D2-9109-7FCD-1B90-F5C416C4632B}"/>
          </ac:spMkLst>
        </pc:spChg>
        <pc:spChg chg="add del mod">
          <ac:chgData name="Steiner Andreas 6206 ED" userId="e6377c33-a923-4f14-8587-531c474c7b48" providerId="ADAL" clId="{6ECD27E6-B224-41CD-B4E0-E297462320DD}" dt="2023-11-24T11:33:36.215" v="114927"/>
          <ac:spMkLst>
            <pc:docMk/>
            <pc:sldMk cId="3184642303" sldId="2147478578"/>
            <ac:spMk id="774" creationId="{2246D307-4C96-F858-6269-A05F73DE4327}"/>
          </ac:spMkLst>
        </pc:spChg>
        <pc:spChg chg="add del mod">
          <ac:chgData name="Steiner Andreas 6206 ED" userId="e6377c33-a923-4f14-8587-531c474c7b48" providerId="ADAL" clId="{6ECD27E6-B224-41CD-B4E0-E297462320DD}" dt="2023-11-24T11:33:39.299" v="115082"/>
          <ac:spMkLst>
            <pc:docMk/>
            <pc:sldMk cId="3184642303" sldId="2147478578"/>
            <ac:spMk id="775" creationId="{538AE7E0-7E0E-72ED-1FA0-5CC475C535D6}"/>
          </ac:spMkLst>
        </pc:spChg>
        <pc:spChg chg="add del mod">
          <ac:chgData name="Steiner Andreas 6206 ED" userId="e6377c33-a923-4f14-8587-531c474c7b48" providerId="ADAL" clId="{6ECD27E6-B224-41CD-B4E0-E297462320DD}" dt="2023-11-24T11:33:42.858" v="115237"/>
          <ac:spMkLst>
            <pc:docMk/>
            <pc:sldMk cId="3184642303" sldId="2147478578"/>
            <ac:spMk id="776" creationId="{EBF718A6-B387-1778-6639-D7F7DCFCCFDB}"/>
          </ac:spMkLst>
        </pc:spChg>
        <pc:spChg chg="add del mod">
          <ac:chgData name="Steiner Andreas 6206 ED" userId="e6377c33-a923-4f14-8587-531c474c7b48" providerId="ADAL" clId="{6ECD27E6-B224-41CD-B4E0-E297462320DD}" dt="2023-11-24T11:33:46.056" v="115392"/>
          <ac:spMkLst>
            <pc:docMk/>
            <pc:sldMk cId="3184642303" sldId="2147478578"/>
            <ac:spMk id="777" creationId="{1808F840-0A02-A498-0B9F-67DCB4008E97}"/>
          </ac:spMkLst>
        </pc:spChg>
        <pc:spChg chg="add del mod">
          <ac:chgData name="Steiner Andreas 6206 ED" userId="e6377c33-a923-4f14-8587-531c474c7b48" providerId="ADAL" clId="{6ECD27E6-B224-41CD-B4E0-E297462320DD}" dt="2023-11-24T11:33:49.201" v="115547"/>
          <ac:spMkLst>
            <pc:docMk/>
            <pc:sldMk cId="3184642303" sldId="2147478578"/>
            <ac:spMk id="778" creationId="{0A7A538F-FAE4-D9A4-28C9-C06BD577E0FD}"/>
          </ac:spMkLst>
        </pc:spChg>
        <pc:spChg chg="add del mod">
          <ac:chgData name="Steiner Andreas 6206 ED" userId="e6377c33-a923-4f14-8587-531c474c7b48" providerId="ADAL" clId="{6ECD27E6-B224-41CD-B4E0-E297462320DD}" dt="2023-11-24T11:33:51.882" v="115702"/>
          <ac:spMkLst>
            <pc:docMk/>
            <pc:sldMk cId="3184642303" sldId="2147478578"/>
            <ac:spMk id="779" creationId="{1AC64942-F0F3-FF12-470F-5B57154101CA}"/>
          </ac:spMkLst>
        </pc:spChg>
        <pc:spChg chg="add del mod">
          <ac:chgData name="Steiner Andreas 6206 ED" userId="e6377c33-a923-4f14-8587-531c474c7b48" providerId="ADAL" clId="{6ECD27E6-B224-41CD-B4E0-E297462320DD}" dt="2023-11-24T11:33:54.732" v="115857"/>
          <ac:spMkLst>
            <pc:docMk/>
            <pc:sldMk cId="3184642303" sldId="2147478578"/>
            <ac:spMk id="780" creationId="{B2CCEBF1-2E76-B7E1-4C14-55E908E5168E}"/>
          </ac:spMkLst>
        </pc:spChg>
        <pc:spChg chg="add del mod">
          <ac:chgData name="Steiner Andreas 6206 ED" userId="e6377c33-a923-4f14-8587-531c474c7b48" providerId="ADAL" clId="{6ECD27E6-B224-41CD-B4E0-E297462320DD}" dt="2023-11-24T11:33:57.249" v="116012"/>
          <ac:spMkLst>
            <pc:docMk/>
            <pc:sldMk cId="3184642303" sldId="2147478578"/>
            <ac:spMk id="781" creationId="{96E554EB-B11C-53D5-E23E-25EE58E377CE}"/>
          </ac:spMkLst>
        </pc:spChg>
        <pc:spChg chg="add del mod">
          <ac:chgData name="Steiner Andreas 6206 ED" userId="e6377c33-a923-4f14-8587-531c474c7b48" providerId="ADAL" clId="{6ECD27E6-B224-41CD-B4E0-E297462320DD}" dt="2023-11-24T11:33:59.594" v="116167"/>
          <ac:spMkLst>
            <pc:docMk/>
            <pc:sldMk cId="3184642303" sldId="2147478578"/>
            <ac:spMk id="782" creationId="{5B4930F4-356E-FB7A-4B31-82A0F093C018}"/>
          </ac:spMkLst>
        </pc:spChg>
        <pc:spChg chg="add del mod">
          <ac:chgData name="Steiner Andreas 6206 ED" userId="e6377c33-a923-4f14-8587-531c474c7b48" providerId="ADAL" clId="{6ECD27E6-B224-41CD-B4E0-E297462320DD}" dt="2023-11-24T11:34:01.964" v="116322"/>
          <ac:spMkLst>
            <pc:docMk/>
            <pc:sldMk cId="3184642303" sldId="2147478578"/>
            <ac:spMk id="783" creationId="{FDD661C6-66CB-3D33-597D-FDEC080EBB9B}"/>
          </ac:spMkLst>
        </pc:spChg>
        <pc:spChg chg="add del mod">
          <ac:chgData name="Steiner Andreas 6206 ED" userId="e6377c33-a923-4f14-8587-531c474c7b48" providerId="ADAL" clId="{6ECD27E6-B224-41CD-B4E0-E297462320DD}" dt="2023-11-24T11:34:04.269" v="116477"/>
          <ac:spMkLst>
            <pc:docMk/>
            <pc:sldMk cId="3184642303" sldId="2147478578"/>
            <ac:spMk id="784" creationId="{1FA69B4C-845B-3E76-9DDD-092ADC4DC094}"/>
          </ac:spMkLst>
        </pc:spChg>
        <pc:spChg chg="add del mod">
          <ac:chgData name="Steiner Andreas 6206 ED" userId="e6377c33-a923-4f14-8587-531c474c7b48" providerId="ADAL" clId="{6ECD27E6-B224-41CD-B4E0-E297462320DD}" dt="2023-11-24T11:34:06.743" v="116632"/>
          <ac:spMkLst>
            <pc:docMk/>
            <pc:sldMk cId="3184642303" sldId="2147478578"/>
            <ac:spMk id="785" creationId="{807049C1-D3C4-3333-B9A6-629403151EDC}"/>
          </ac:spMkLst>
        </pc:spChg>
        <pc:spChg chg="add del mod">
          <ac:chgData name="Steiner Andreas 6206 ED" userId="e6377c33-a923-4f14-8587-531c474c7b48" providerId="ADAL" clId="{6ECD27E6-B224-41CD-B4E0-E297462320DD}" dt="2023-11-24T11:34:09.346" v="116787"/>
          <ac:spMkLst>
            <pc:docMk/>
            <pc:sldMk cId="3184642303" sldId="2147478578"/>
            <ac:spMk id="786" creationId="{760F1C2A-B018-6360-D50B-70535FEF198E}"/>
          </ac:spMkLst>
        </pc:spChg>
        <pc:spChg chg="add del mod">
          <ac:chgData name="Steiner Andreas 6206 ED" userId="e6377c33-a923-4f14-8587-531c474c7b48" providerId="ADAL" clId="{6ECD27E6-B224-41CD-B4E0-E297462320DD}" dt="2023-11-24T11:34:11.367" v="116942"/>
          <ac:spMkLst>
            <pc:docMk/>
            <pc:sldMk cId="3184642303" sldId="2147478578"/>
            <ac:spMk id="787" creationId="{502CA744-DA3A-7575-04DB-1B5C7615F0B3}"/>
          </ac:spMkLst>
        </pc:spChg>
        <pc:spChg chg="add del mod">
          <ac:chgData name="Steiner Andreas 6206 ED" userId="e6377c33-a923-4f14-8587-531c474c7b48" providerId="ADAL" clId="{6ECD27E6-B224-41CD-B4E0-E297462320DD}" dt="2023-11-24T11:34:13.117" v="117097"/>
          <ac:spMkLst>
            <pc:docMk/>
            <pc:sldMk cId="3184642303" sldId="2147478578"/>
            <ac:spMk id="788" creationId="{AEBE4F9C-4F00-853A-EC78-63E21C35F598}"/>
          </ac:spMkLst>
        </pc:spChg>
        <pc:spChg chg="add del mod">
          <ac:chgData name="Steiner Andreas 6206 ED" userId="e6377c33-a923-4f14-8587-531c474c7b48" providerId="ADAL" clId="{6ECD27E6-B224-41CD-B4E0-E297462320DD}" dt="2023-11-24T11:34:14.919" v="117252"/>
          <ac:spMkLst>
            <pc:docMk/>
            <pc:sldMk cId="3184642303" sldId="2147478578"/>
            <ac:spMk id="789" creationId="{7935F186-6164-0372-414F-E9E03A224A07}"/>
          </ac:spMkLst>
        </pc:spChg>
        <pc:spChg chg="add del mod">
          <ac:chgData name="Steiner Andreas 6206 ED" userId="e6377c33-a923-4f14-8587-531c474c7b48" providerId="ADAL" clId="{6ECD27E6-B224-41CD-B4E0-E297462320DD}" dt="2023-11-24T11:34:16.705" v="117407"/>
          <ac:spMkLst>
            <pc:docMk/>
            <pc:sldMk cId="3184642303" sldId="2147478578"/>
            <ac:spMk id="790" creationId="{7A2C9CC4-39A4-4CF0-D410-2E6E2F64C711}"/>
          </ac:spMkLst>
        </pc:spChg>
        <pc:spChg chg="add del mod">
          <ac:chgData name="Steiner Andreas 6206 ED" userId="e6377c33-a923-4f14-8587-531c474c7b48" providerId="ADAL" clId="{6ECD27E6-B224-41CD-B4E0-E297462320DD}" dt="2023-11-24T11:34:18.525" v="117562"/>
          <ac:spMkLst>
            <pc:docMk/>
            <pc:sldMk cId="3184642303" sldId="2147478578"/>
            <ac:spMk id="791" creationId="{FF6F96F9-1D32-D606-0A86-A46B506AA6AF}"/>
          </ac:spMkLst>
        </pc:spChg>
        <pc:spChg chg="add del mod">
          <ac:chgData name="Steiner Andreas 6206 ED" userId="e6377c33-a923-4f14-8587-531c474c7b48" providerId="ADAL" clId="{6ECD27E6-B224-41CD-B4E0-E297462320DD}" dt="2023-11-24T11:34:20.607" v="117717"/>
          <ac:spMkLst>
            <pc:docMk/>
            <pc:sldMk cId="3184642303" sldId="2147478578"/>
            <ac:spMk id="792" creationId="{6FCEB535-336C-6E05-1416-0C28A02F7587}"/>
          </ac:spMkLst>
        </pc:spChg>
        <pc:spChg chg="add del mod">
          <ac:chgData name="Steiner Andreas 6206 ED" userId="e6377c33-a923-4f14-8587-531c474c7b48" providerId="ADAL" clId="{6ECD27E6-B224-41CD-B4E0-E297462320DD}" dt="2023-11-24T11:34:22.559" v="117872"/>
          <ac:spMkLst>
            <pc:docMk/>
            <pc:sldMk cId="3184642303" sldId="2147478578"/>
            <ac:spMk id="793" creationId="{AEDA13FF-A011-7B0F-D38F-E4083AA09405}"/>
          </ac:spMkLst>
        </pc:spChg>
        <pc:spChg chg="add del mod">
          <ac:chgData name="Steiner Andreas 6206 ED" userId="e6377c33-a923-4f14-8587-531c474c7b48" providerId="ADAL" clId="{6ECD27E6-B224-41CD-B4E0-E297462320DD}" dt="2023-11-24T11:34:24.664" v="118027"/>
          <ac:spMkLst>
            <pc:docMk/>
            <pc:sldMk cId="3184642303" sldId="2147478578"/>
            <ac:spMk id="794" creationId="{03F91F68-B466-6064-F964-7F830E7F0B4D}"/>
          </ac:spMkLst>
        </pc:spChg>
        <pc:spChg chg="add del mod">
          <ac:chgData name="Steiner Andreas 6206 ED" userId="e6377c33-a923-4f14-8587-531c474c7b48" providerId="ADAL" clId="{6ECD27E6-B224-41CD-B4E0-E297462320DD}" dt="2023-11-24T11:34:27.135" v="118182"/>
          <ac:spMkLst>
            <pc:docMk/>
            <pc:sldMk cId="3184642303" sldId="2147478578"/>
            <ac:spMk id="795" creationId="{756E29E6-EF18-65D2-EBB3-0B7279F2DEF5}"/>
          </ac:spMkLst>
        </pc:spChg>
        <pc:spChg chg="add del mod">
          <ac:chgData name="Steiner Andreas 6206 ED" userId="e6377c33-a923-4f14-8587-531c474c7b48" providerId="ADAL" clId="{6ECD27E6-B224-41CD-B4E0-E297462320DD}" dt="2023-11-24T11:34:29.239" v="118337"/>
          <ac:spMkLst>
            <pc:docMk/>
            <pc:sldMk cId="3184642303" sldId="2147478578"/>
            <ac:spMk id="796" creationId="{B5F03446-22FD-1A92-B267-EA5C388E6503}"/>
          </ac:spMkLst>
        </pc:spChg>
        <pc:spChg chg="add del mod">
          <ac:chgData name="Steiner Andreas 6206 ED" userId="e6377c33-a923-4f14-8587-531c474c7b48" providerId="ADAL" clId="{6ECD27E6-B224-41CD-B4E0-E297462320DD}" dt="2023-11-24T11:34:31.523" v="118492"/>
          <ac:spMkLst>
            <pc:docMk/>
            <pc:sldMk cId="3184642303" sldId="2147478578"/>
            <ac:spMk id="797" creationId="{B27AACB7-E26B-4561-5AA4-199B518F69B8}"/>
          </ac:spMkLst>
        </pc:spChg>
        <pc:spChg chg="add del mod">
          <ac:chgData name="Steiner Andreas 6206 ED" userId="e6377c33-a923-4f14-8587-531c474c7b48" providerId="ADAL" clId="{6ECD27E6-B224-41CD-B4E0-E297462320DD}" dt="2023-11-24T11:34:33.519" v="118647"/>
          <ac:spMkLst>
            <pc:docMk/>
            <pc:sldMk cId="3184642303" sldId="2147478578"/>
            <ac:spMk id="798" creationId="{57A27359-69D9-EEA2-5418-9931AB4930FC}"/>
          </ac:spMkLst>
        </pc:spChg>
        <pc:spChg chg="add del mod">
          <ac:chgData name="Steiner Andreas 6206 ED" userId="e6377c33-a923-4f14-8587-531c474c7b48" providerId="ADAL" clId="{6ECD27E6-B224-41CD-B4E0-E297462320DD}" dt="2023-11-24T11:34:35.489" v="118802"/>
          <ac:spMkLst>
            <pc:docMk/>
            <pc:sldMk cId="3184642303" sldId="2147478578"/>
            <ac:spMk id="799" creationId="{6BD9C190-F612-0BCC-9707-D46BE739841C}"/>
          </ac:spMkLst>
        </pc:spChg>
        <pc:spChg chg="add del mod">
          <ac:chgData name="Steiner Andreas 6206 ED" userId="e6377c33-a923-4f14-8587-531c474c7b48" providerId="ADAL" clId="{6ECD27E6-B224-41CD-B4E0-E297462320DD}" dt="2023-11-24T11:34:37.539" v="118957"/>
          <ac:spMkLst>
            <pc:docMk/>
            <pc:sldMk cId="3184642303" sldId="2147478578"/>
            <ac:spMk id="800" creationId="{68A8AC28-9F54-9317-5AF3-4FE852DB13A5}"/>
          </ac:spMkLst>
        </pc:spChg>
        <pc:spChg chg="add del mod">
          <ac:chgData name="Steiner Andreas 6206 ED" userId="e6377c33-a923-4f14-8587-531c474c7b48" providerId="ADAL" clId="{6ECD27E6-B224-41CD-B4E0-E297462320DD}" dt="2023-11-24T11:34:39.525" v="119112"/>
          <ac:spMkLst>
            <pc:docMk/>
            <pc:sldMk cId="3184642303" sldId="2147478578"/>
            <ac:spMk id="801" creationId="{10C108DE-4144-FD89-4B47-FE9BF05B76AE}"/>
          </ac:spMkLst>
        </pc:spChg>
        <pc:spChg chg="add del mod">
          <ac:chgData name="Steiner Andreas 6206 ED" userId="e6377c33-a923-4f14-8587-531c474c7b48" providerId="ADAL" clId="{6ECD27E6-B224-41CD-B4E0-E297462320DD}" dt="2023-11-24T11:34:41.629" v="119267"/>
          <ac:spMkLst>
            <pc:docMk/>
            <pc:sldMk cId="3184642303" sldId="2147478578"/>
            <ac:spMk id="802" creationId="{15EC3312-C24B-3876-C232-8876C7EA5623}"/>
          </ac:spMkLst>
        </pc:spChg>
        <pc:spChg chg="add del mod">
          <ac:chgData name="Steiner Andreas 6206 ED" userId="e6377c33-a923-4f14-8587-531c474c7b48" providerId="ADAL" clId="{6ECD27E6-B224-41CD-B4E0-E297462320DD}" dt="2023-11-24T11:34:43.859" v="119422"/>
          <ac:spMkLst>
            <pc:docMk/>
            <pc:sldMk cId="3184642303" sldId="2147478578"/>
            <ac:spMk id="803" creationId="{05C6DA30-A02D-72F8-3494-9517EE622443}"/>
          </ac:spMkLst>
        </pc:spChg>
        <pc:spChg chg="add del mod">
          <ac:chgData name="Steiner Andreas 6206 ED" userId="e6377c33-a923-4f14-8587-531c474c7b48" providerId="ADAL" clId="{6ECD27E6-B224-41CD-B4E0-E297462320DD}" dt="2023-11-24T11:34:45.873" v="119577"/>
          <ac:spMkLst>
            <pc:docMk/>
            <pc:sldMk cId="3184642303" sldId="2147478578"/>
            <ac:spMk id="804" creationId="{8E983A05-AC2F-B7E2-544A-BB79D3661D89}"/>
          </ac:spMkLst>
        </pc:spChg>
        <pc:spChg chg="add del mod">
          <ac:chgData name="Steiner Andreas 6206 ED" userId="e6377c33-a923-4f14-8587-531c474c7b48" providerId="ADAL" clId="{6ECD27E6-B224-41CD-B4E0-E297462320DD}" dt="2023-11-24T11:34:47.807" v="119732"/>
          <ac:spMkLst>
            <pc:docMk/>
            <pc:sldMk cId="3184642303" sldId="2147478578"/>
            <ac:spMk id="805" creationId="{F42098CD-12D6-257A-3916-21AE8962987E}"/>
          </ac:spMkLst>
        </pc:spChg>
        <pc:spChg chg="add del mod">
          <ac:chgData name="Steiner Andreas 6206 ED" userId="e6377c33-a923-4f14-8587-531c474c7b48" providerId="ADAL" clId="{6ECD27E6-B224-41CD-B4E0-E297462320DD}" dt="2023-11-24T11:34:49.962" v="119887"/>
          <ac:spMkLst>
            <pc:docMk/>
            <pc:sldMk cId="3184642303" sldId="2147478578"/>
            <ac:spMk id="806" creationId="{76E6710E-326E-ABAD-88AE-09484F43BDB3}"/>
          </ac:spMkLst>
        </pc:spChg>
        <pc:spChg chg="add del mod">
          <ac:chgData name="Steiner Andreas 6206 ED" userId="e6377c33-a923-4f14-8587-531c474c7b48" providerId="ADAL" clId="{6ECD27E6-B224-41CD-B4E0-E297462320DD}" dt="2023-11-24T11:34:52.067" v="120042"/>
          <ac:spMkLst>
            <pc:docMk/>
            <pc:sldMk cId="3184642303" sldId="2147478578"/>
            <ac:spMk id="807" creationId="{23AA5E1D-8631-D6B9-9AE6-D4FEE84CFBE6}"/>
          </ac:spMkLst>
        </pc:spChg>
        <pc:spChg chg="add del mod">
          <ac:chgData name="Steiner Andreas 6206 ED" userId="e6377c33-a923-4f14-8587-531c474c7b48" providerId="ADAL" clId="{6ECD27E6-B224-41CD-B4E0-E297462320DD}" dt="2023-11-24T11:34:54.050" v="120197"/>
          <ac:spMkLst>
            <pc:docMk/>
            <pc:sldMk cId="3184642303" sldId="2147478578"/>
            <ac:spMk id="808" creationId="{B1007584-565E-66EF-71DC-8D821791871D}"/>
          </ac:spMkLst>
        </pc:spChg>
        <pc:spChg chg="add del mod">
          <ac:chgData name="Steiner Andreas 6206 ED" userId="e6377c33-a923-4f14-8587-531c474c7b48" providerId="ADAL" clId="{6ECD27E6-B224-41CD-B4E0-E297462320DD}" dt="2023-11-24T11:34:55.914" v="120352"/>
          <ac:spMkLst>
            <pc:docMk/>
            <pc:sldMk cId="3184642303" sldId="2147478578"/>
            <ac:spMk id="809" creationId="{B0DE7443-B78D-4606-B085-2770A7024845}"/>
          </ac:spMkLst>
        </pc:spChg>
        <pc:spChg chg="add del mod">
          <ac:chgData name="Steiner Andreas 6206 ED" userId="e6377c33-a923-4f14-8587-531c474c7b48" providerId="ADAL" clId="{6ECD27E6-B224-41CD-B4E0-E297462320DD}" dt="2023-11-24T11:34:57.724" v="120507"/>
          <ac:spMkLst>
            <pc:docMk/>
            <pc:sldMk cId="3184642303" sldId="2147478578"/>
            <ac:spMk id="810" creationId="{090B6CB2-5D30-8D8B-9D8E-8798CEE5A027}"/>
          </ac:spMkLst>
        </pc:spChg>
        <pc:spChg chg="add del mod">
          <ac:chgData name="Steiner Andreas 6206 ED" userId="e6377c33-a923-4f14-8587-531c474c7b48" providerId="ADAL" clId="{6ECD27E6-B224-41CD-B4E0-E297462320DD}" dt="2023-11-24T11:34:59.612" v="120662"/>
          <ac:spMkLst>
            <pc:docMk/>
            <pc:sldMk cId="3184642303" sldId="2147478578"/>
            <ac:spMk id="811" creationId="{11B829D3-4068-A2DD-56C5-896C5ED2537F}"/>
          </ac:spMkLst>
        </pc:spChg>
        <pc:spChg chg="add del mod">
          <ac:chgData name="Steiner Andreas 6206 ED" userId="e6377c33-a923-4f14-8587-531c474c7b48" providerId="ADAL" clId="{6ECD27E6-B224-41CD-B4E0-E297462320DD}" dt="2023-11-24T11:35:01.436" v="120817"/>
          <ac:spMkLst>
            <pc:docMk/>
            <pc:sldMk cId="3184642303" sldId="2147478578"/>
            <ac:spMk id="812" creationId="{EC4C448E-CFD0-7C56-0068-BCB27041079D}"/>
          </ac:spMkLst>
        </pc:spChg>
        <pc:spChg chg="add del mod">
          <ac:chgData name="Steiner Andreas 6206 ED" userId="e6377c33-a923-4f14-8587-531c474c7b48" providerId="ADAL" clId="{6ECD27E6-B224-41CD-B4E0-E297462320DD}" dt="2023-11-24T11:35:03.322" v="120972"/>
          <ac:spMkLst>
            <pc:docMk/>
            <pc:sldMk cId="3184642303" sldId="2147478578"/>
            <ac:spMk id="813" creationId="{5583CA6A-9D15-DE9A-DEE3-A932736F4174}"/>
          </ac:spMkLst>
        </pc:spChg>
        <pc:spChg chg="add del mod">
          <ac:chgData name="Steiner Andreas 6206 ED" userId="e6377c33-a923-4f14-8587-531c474c7b48" providerId="ADAL" clId="{6ECD27E6-B224-41CD-B4E0-E297462320DD}" dt="2023-11-24T11:35:05.221" v="121127"/>
          <ac:spMkLst>
            <pc:docMk/>
            <pc:sldMk cId="3184642303" sldId="2147478578"/>
            <ac:spMk id="814" creationId="{13A678F0-FC85-AFD2-6B06-4AEC5D39F81C}"/>
          </ac:spMkLst>
        </pc:spChg>
        <pc:spChg chg="add del mod">
          <ac:chgData name="Steiner Andreas 6206 ED" userId="e6377c33-a923-4f14-8587-531c474c7b48" providerId="ADAL" clId="{6ECD27E6-B224-41CD-B4E0-E297462320DD}" dt="2023-11-24T11:35:07.329" v="121282"/>
          <ac:spMkLst>
            <pc:docMk/>
            <pc:sldMk cId="3184642303" sldId="2147478578"/>
            <ac:spMk id="815" creationId="{A77205EF-3852-3526-8CA4-98D4289BAAC0}"/>
          </ac:spMkLst>
        </pc:spChg>
        <pc:spChg chg="add del mod">
          <ac:chgData name="Steiner Andreas 6206 ED" userId="e6377c33-a923-4f14-8587-531c474c7b48" providerId="ADAL" clId="{6ECD27E6-B224-41CD-B4E0-E297462320DD}" dt="2023-11-24T11:35:09.380" v="121437"/>
          <ac:spMkLst>
            <pc:docMk/>
            <pc:sldMk cId="3184642303" sldId="2147478578"/>
            <ac:spMk id="816" creationId="{63E5BC23-5B10-8ED0-6B36-0460EE5AD26B}"/>
          </ac:spMkLst>
        </pc:spChg>
        <pc:spChg chg="add del mod">
          <ac:chgData name="Steiner Andreas 6206 ED" userId="e6377c33-a923-4f14-8587-531c474c7b48" providerId="ADAL" clId="{6ECD27E6-B224-41CD-B4E0-E297462320DD}" dt="2023-11-24T11:35:11.316" v="121592"/>
          <ac:spMkLst>
            <pc:docMk/>
            <pc:sldMk cId="3184642303" sldId="2147478578"/>
            <ac:spMk id="817" creationId="{4754EBE7-D807-03BB-4B94-6982D0C93F58}"/>
          </ac:spMkLst>
        </pc:spChg>
        <pc:spChg chg="add del mod">
          <ac:chgData name="Steiner Andreas 6206 ED" userId="e6377c33-a923-4f14-8587-531c474c7b48" providerId="ADAL" clId="{6ECD27E6-B224-41CD-B4E0-E297462320DD}" dt="2023-11-24T11:35:13.082" v="121747"/>
          <ac:spMkLst>
            <pc:docMk/>
            <pc:sldMk cId="3184642303" sldId="2147478578"/>
            <ac:spMk id="818" creationId="{3E8A424E-1C4B-E958-933C-AEA6C59232F4}"/>
          </ac:spMkLst>
        </pc:spChg>
        <pc:spChg chg="add del mod">
          <ac:chgData name="Steiner Andreas 6206 ED" userId="e6377c33-a923-4f14-8587-531c474c7b48" providerId="ADAL" clId="{6ECD27E6-B224-41CD-B4E0-E297462320DD}" dt="2023-11-24T11:35:15.012" v="121902"/>
          <ac:spMkLst>
            <pc:docMk/>
            <pc:sldMk cId="3184642303" sldId="2147478578"/>
            <ac:spMk id="819" creationId="{E14A2E58-D868-EAEA-3425-C70621379309}"/>
          </ac:spMkLst>
        </pc:spChg>
        <pc:spChg chg="add del mod">
          <ac:chgData name="Steiner Andreas 6206 ED" userId="e6377c33-a923-4f14-8587-531c474c7b48" providerId="ADAL" clId="{6ECD27E6-B224-41CD-B4E0-E297462320DD}" dt="2023-11-24T11:35:16.703" v="122057"/>
          <ac:spMkLst>
            <pc:docMk/>
            <pc:sldMk cId="3184642303" sldId="2147478578"/>
            <ac:spMk id="820" creationId="{53360AC0-AE11-5DB6-EEAE-FA52AEE1B732}"/>
          </ac:spMkLst>
        </pc:spChg>
        <pc:spChg chg="add del mod">
          <ac:chgData name="Steiner Andreas 6206 ED" userId="e6377c33-a923-4f14-8587-531c474c7b48" providerId="ADAL" clId="{6ECD27E6-B224-41CD-B4E0-E297462320DD}" dt="2023-11-24T11:35:18.423" v="122212"/>
          <ac:spMkLst>
            <pc:docMk/>
            <pc:sldMk cId="3184642303" sldId="2147478578"/>
            <ac:spMk id="821" creationId="{7F14A32D-5903-0572-E020-E0D2148326ED}"/>
          </ac:spMkLst>
        </pc:spChg>
        <pc:spChg chg="add del mod">
          <ac:chgData name="Steiner Andreas 6206 ED" userId="e6377c33-a923-4f14-8587-531c474c7b48" providerId="ADAL" clId="{6ECD27E6-B224-41CD-B4E0-E297462320DD}" dt="2023-11-24T11:35:20.047" v="122367"/>
          <ac:spMkLst>
            <pc:docMk/>
            <pc:sldMk cId="3184642303" sldId="2147478578"/>
            <ac:spMk id="822" creationId="{CB4CF320-BDF5-35BC-1C1F-D2DF3BCD2404}"/>
          </ac:spMkLst>
        </pc:spChg>
        <pc:spChg chg="add del mod">
          <ac:chgData name="Steiner Andreas 6206 ED" userId="e6377c33-a923-4f14-8587-531c474c7b48" providerId="ADAL" clId="{6ECD27E6-B224-41CD-B4E0-E297462320DD}" dt="2023-11-24T11:35:21.679" v="122522"/>
          <ac:spMkLst>
            <pc:docMk/>
            <pc:sldMk cId="3184642303" sldId="2147478578"/>
            <ac:spMk id="823" creationId="{F6D7EFB6-15C3-06D1-E42C-56D73518255A}"/>
          </ac:spMkLst>
        </pc:spChg>
        <pc:spChg chg="add del mod">
          <ac:chgData name="Steiner Andreas 6206 ED" userId="e6377c33-a923-4f14-8587-531c474c7b48" providerId="ADAL" clId="{6ECD27E6-B224-41CD-B4E0-E297462320DD}" dt="2023-11-24T11:35:23.377" v="122677"/>
          <ac:spMkLst>
            <pc:docMk/>
            <pc:sldMk cId="3184642303" sldId="2147478578"/>
            <ac:spMk id="824" creationId="{5A576C40-09E5-5EBB-6BE0-587186A7CA4B}"/>
          </ac:spMkLst>
        </pc:spChg>
        <pc:spChg chg="add del mod">
          <ac:chgData name="Steiner Andreas 6206 ED" userId="e6377c33-a923-4f14-8587-531c474c7b48" providerId="ADAL" clId="{6ECD27E6-B224-41CD-B4E0-E297462320DD}" dt="2023-11-24T11:35:25.369" v="122832"/>
          <ac:spMkLst>
            <pc:docMk/>
            <pc:sldMk cId="3184642303" sldId="2147478578"/>
            <ac:spMk id="825" creationId="{AA8D03B4-05A4-46B9-7658-2164B0115CBE}"/>
          </ac:spMkLst>
        </pc:spChg>
        <pc:spChg chg="add del mod">
          <ac:chgData name="Steiner Andreas 6206 ED" userId="e6377c33-a923-4f14-8587-531c474c7b48" providerId="ADAL" clId="{6ECD27E6-B224-41CD-B4E0-E297462320DD}" dt="2023-11-24T11:35:27.429" v="122987"/>
          <ac:spMkLst>
            <pc:docMk/>
            <pc:sldMk cId="3184642303" sldId="2147478578"/>
            <ac:spMk id="826" creationId="{502DFD7B-10C3-6497-5FE3-D694FC824937}"/>
          </ac:spMkLst>
        </pc:spChg>
        <pc:spChg chg="add del mod">
          <ac:chgData name="Steiner Andreas 6206 ED" userId="e6377c33-a923-4f14-8587-531c474c7b48" providerId="ADAL" clId="{6ECD27E6-B224-41CD-B4E0-E297462320DD}" dt="2023-11-24T11:35:29.294" v="123142"/>
          <ac:spMkLst>
            <pc:docMk/>
            <pc:sldMk cId="3184642303" sldId="2147478578"/>
            <ac:spMk id="827" creationId="{7D095307-E96D-E196-40ED-5AE2C13DA1C4}"/>
          </ac:spMkLst>
        </pc:spChg>
        <pc:spChg chg="add del mod">
          <ac:chgData name="Steiner Andreas 6206 ED" userId="e6377c33-a923-4f14-8587-531c474c7b48" providerId="ADAL" clId="{6ECD27E6-B224-41CD-B4E0-E297462320DD}" dt="2023-11-24T11:35:31.058" v="123297"/>
          <ac:spMkLst>
            <pc:docMk/>
            <pc:sldMk cId="3184642303" sldId="2147478578"/>
            <ac:spMk id="828" creationId="{5BD359CB-4961-7D99-DB5D-32A56E692F43}"/>
          </ac:spMkLst>
        </pc:spChg>
        <pc:spChg chg="add del mod">
          <ac:chgData name="Steiner Andreas 6206 ED" userId="e6377c33-a923-4f14-8587-531c474c7b48" providerId="ADAL" clId="{6ECD27E6-B224-41CD-B4E0-E297462320DD}" dt="2023-11-24T11:35:33.930" v="123452"/>
          <ac:spMkLst>
            <pc:docMk/>
            <pc:sldMk cId="3184642303" sldId="2147478578"/>
            <ac:spMk id="829" creationId="{9B7E9E4B-FA49-A9C2-3265-83BC52140461}"/>
          </ac:spMkLst>
        </pc:spChg>
        <pc:spChg chg="add del mod">
          <ac:chgData name="Steiner Andreas 6206 ED" userId="e6377c33-a923-4f14-8587-531c474c7b48" providerId="ADAL" clId="{6ECD27E6-B224-41CD-B4E0-E297462320DD}" dt="2023-11-24T11:35:35.791" v="123607"/>
          <ac:spMkLst>
            <pc:docMk/>
            <pc:sldMk cId="3184642303" sldId="2147478578"/>
            <ac:spMk id="830" creationId="{8944BB66-0762-491B-3B1F-5024E2BDD4BA}"/>
          </ac:spMkLst>
        </pc:spChg>
        <pc:spChg chg="add del mod">
          <ac:chgData name="Steiner Andreas 6206 ED" userId="e6377c33-a923-4f14-8587-531c474c7b48" providerId="ADAL" clId="{6ECD27E6-B224-41CD-B4E0-E297462320DD}" dt="2023-11-24T11:35:37.477" v="123762"/>
          <ac:spMkLst>
            <pc:docMk/>
            <pc:sldMk cId="3184642303" sldId="2147478578"/>
            <ac:spMk id="831" creationId="{7618E4A7-326B-5A40-E2B6-727D6FFAB978}"/>
          </ac:spMkLst>
        </pc:spChg>
        <pc:spChg chg="add del mod">
          <ac:chgData name="Steiner Andreas 6206 ED" userId="e6377c33-a923-4f14-8587-531c474c7b48" providerId="ADAL" clId="{6ECD27E6-B224-41CD-B4E0-E297462320DD}" dt="2023-11-24T11:35:39.114" v="123917"/>
          <ac:spMkLst>
            <pc:docMk/>
            <pc:sldMk cId="3184642303" sldId="2147478578"/>
            <ac:spMk id="832" creationId="{FEE7A28F-4183-63EB-2F57-F05A3B093D3E}"/>
          </ac:spMkLst>
        </pc:spChg>
        <pc:spChg chg="add del mod">
          <ac:chgData name="Steiner Andreas 6206 ED" userId="e6377c33-a923-4f14-8587-531c474c7b48" providerId="ADAL" clId="{6ECD27E6-B224-41CD-B4E0-E297462320DD}" dt="2023-11-24T11:35:40.813" v="124072"/>
          <ac:spMkLst>
            <pc:docMk/>
            <pc:sldMk cId="3184642303" sldId="2147478578"/>
            <ac:spMk id="833" creationId="{02C927F1-6A5E-1CEF-9075-8C169F8AE037}"/>
          </ac:spMkLst>
        </pc:spChg>
        <pc:spChg chg="add del mod">
          <ac:chgData name="Steiner Andreas 6206 ED" userId="e6377c33-a923-4f14-8587-531c474c7b48" providerId="ADAL" clId="{6ECD27E6-B224-41CD-B4E0-E297462320DD}" dt="2023-11-24T11:35:42.419" v="124227"/>
          <ac:spMkLst>
            <pc:docMk/>
            <pc:sldMk cId="3184642303" sldId="2147478578"/>
            <ac:spMk id="834" creationId="{D9BA6127-F269-FE8B-1C14-92244163607E}"/>
          </ac:spMkLst>
        </pc:spChg>
        <pc:spChg chg="add del mod">
          <ac:chgData name="Steiner Andreas 6206 ED" userId="e6377c33-a923-4f14-8587-531c474c7b48" providerId="ADAL" clId="{6ECD27E6-B224-41CD-B4E0-E297462320DD}" dt="2023-11-24T11:35:44.108" v="124382"/>
          <ac:spMkLst>
            <pc:docMk/>
            <pc:sldMk cId="3184642303" sldId="2147478578"/>
            <ac:spMk id="835" creationId="{17BFCBFD-0D89-45FC-A745-5F5EF33E5C9B}"/>
          </ac:spMkLst>
        </pc:spChg>
        <pc:spChg chg="add del mod">
          <ac:chgData name="Steiner Andreas 6206 ED" userId="e6377c33-a923-4f14-8587-531c474c7b48" providerId="ADAL" clId="{6ECD27E6-B224-41CD-B4E0-E297462320DD}" dt="2023-11-24T11:35:45.741" v="124537"/>
          <ac:spMkLst>
            <pc:docMk/>
            <pc:sldMk cId="3184642303" sldId="2147478578"/>
            <ac:spMk id="836" creationId="{F3D45480-4574-799D-AE60-DE120B305C5C}"/>
          </ac:spMkLst>
        </pc:spChg>
        <pc:spChg chg="add del mod">
          <ac:chgData name="Steiner Andreas 6206 ED" userId="e6377c33-a923-4f14-8587-531c474c7b48" providerId="ADAL" clId="{6ECD27E6-B224-41CD-B4E0-E297462320DD}" dt="2023-11-24T11:35:47.462" v="124692"/>
          <ac:spMkLst>
            <pc:docMk/>
            <pc:sldMk cId="3184642303" sldId="2147478578"/>
            <ac:spMk id="837" creationId="{842139D6-13E4-1F91-01F9-0395E44717C3}"/>
          </ac:spMkLst>
        </pc:spChg>
        <pc:spChg chg="add del mod">
          <ac:chgData name="Steiner Andreas 6206 ED" userId="e6377c33-a923-4f14-8587-531c474c7b48" providerId="ADAL" clId="{6ECD27E6-B224-41CD-B4E0-E297462320DD}" dt="2023-11-24T11:35:49.224" v="124847"/>
          <ac:spMkLst>
            <pc:docMk/>
            <pc:sldMk cId="3184642303" sldId="2147478578"/>
            <ac:spMk id="838" creationId="{62B65E12-D10C-5B25-D1E5-D258429F3DF0}"/>
          </ac:spMkLst>
        </pc:spChg>
        <pc:spChg chg="add del mod">
          <ac:chgData name="Steiner Andreas 6206 ED" userId="e6377c33-a923-4f14-8587-531c474c7b48" providerId="ADAL" clId="{6ECD27E6-B224-41CD-B4E0-E297462320DD}" dt="2023-11-24T11:35:51.132" v="125002"/>
          <ac:spMkLst>
            <pc:docMk/>
            <pc:sldMk cId="3184642303" sldId="2147478578"/>
            <ac:spMk id="839" creationId="{79F68C06-09D9-69B1-65A8-C7E3FF01B44D}"/>
          </ac:spMkLst>
        </pc:spChg>
        <pc:spChg chg="add del mod">
          <ac:chgData name="Steiner Andreas 6206 ED" userId="e6377c33-a923-4f14-8587-531c474c7b48" providerId="ADAL" clId="{6ECD27E6-B224-41CD-B4E0-E297462320DD}" dt="2023-11-24T11:35:52.868" v="125157"/>
          <ac:spMkLst>
            <pc:docMk/>
            <pc:sldMk cId="3184642303" sldId="2147478578"/>
            <ac:spMk id="840" creationId="{FF29C262-41ED-42A7-8425-25A54668BA67}"/>
          </ac:spMkLst>
        </pc:spChg>
        <pc:spChg chg="add del mod">
          <ac:chgData name="Steiner Andreas 6206 ED" userId="e6377c33-a923-4f14-8587-531c474c7b48" providerId="ADAL" clId="{6ECD27E6-B224-41CD-B4E0-E297462320DD}" dt="2023-11-24T11:35:54.872" v="125312"/>
          <ac:spMkLst>
            <pc:docMk/>
            <pc:sldMk cId="3184642303" sldId="2147478578"/>
            <ac:spMk id="841" creationId="{D51427E0-5707-DA5C-32F9-396532D1F842}"/>
          </ac:spMkLst>
        </pc:spChg>
        <pc:spChg chg="add del mod">
          <ac:chgData name="Steiner Andreas 6206 ED" userId="e6377c33-a923-4f14-8587-531c474c7b48" providerId="ADAL" clId="{6ECD27E6-B224-41CD-B4E0-E297462320DD}" dt="2023-11-24T11:35:57.021" v="125467"/>
          <ac:spMkLst>
            <pc:docMk/>
            <pc:sldMk cId="3184642303" sldId="2147478578"/>
            <ac:spMk id="842" creationId="{D1311B34-FF0F-F4E7-7847-FB392A481EB2}"/>
          </ac:spMkLst>
        </pc:spChg>
        <pc:spChg chg="add del mod">
          <ac:chgData name="Steiner Andreas 6206 ED" userId="e6377c33-a923-4f14-8587-531c474c7b48" providerId="ADAL" clId="{6ECD27E6-B224-41CD-B4E0-E297462320DD}" dt="2023-11-24T11:35:58.844" v="125622"/>
          <ac:spMkLst>
            <pc:docMk/>
            <pc:sldMk cId="3184642303" sldId="2147478578"/>
            <ac:spMk id="843" creationId="{84BC205D-1EA8-250C-86B2-62EE9FA7F806}"/>
          </ac:spMkLst>
        </pc:spChg>
        <pc:spChg chg="add del mod">
          <ac:chgData name="Steiner Andreas 6206 ED" userId="e6377c33-a923-4f14-8587-531c474c7b48" providerId="ADAL" clId="{6ECD27E6-B224-41CD-B4E0-E297462320DD}" dt="2023-11-24T11:36:00.580" v="125777"/>
          <ac:spMkLst>
            <pc:docMk/>
            <pc:sldMk cId="3184642303" sldId="2147478578"/>
            <ac:spMk id="844" creationId="{2B9601B1-1770-C850-FD0C-2F7C75B053F3}"/>
          </ac:spMkLst>
        </pc:spChg>
        <pc:spChg chg="add del mod">
          <ac:chgData name="Steiner Andreas 6206 ED" userId="e6377c33-a923-4f14-8587-531c474c7b48" providerId="ADAL" clId="{6ECD27E6-B224-41CD-B4E0-E297462320DD}" dt="2023-11-24T11:36:02.309" v="125932"/>
          <ac:spMkLst>
            <pc:docMk/>
            <pc:sldMk cId="3184642303" sldId="2147478578"/>
            <ac:spMk id="845" creationId="{10140A12-9EF0-7184-A29C-F7DEA5B7899E}"/>
          </ac:spMkLst>
        </pc:spChg>
        <pc:spChg chg="add del mod">
          <ac:chgData name="Steiner Andreas 6206 ED" userId="e6377c33-a923-4f14-8587-531c474c7b48" providerId="ADAL" clId="{6ECD27E6-B224-41CD-B4E0-E297462320DD}" dt="2023-11-24T11:36:04.057" v="126087"/>
          <ac:spMkLst>
            <pc:docMk/>
            <pc:sldMk cId="3184642303" sldId="2147478578"/>
            <ac:spMk id="846" creationId="{A01AC6F0-D3D6-D9A9-EDB7-6F415FA632FD}"/>
          </ac:spMkLst>
        </pc:spChg>
        <pc:spChg chg="add del mod">
          <ac:chgData name="Steiner Andreas 6206 ED" userId="e6377c33-a923-4f14-8587-531c474c7b48" providerId="ADAL" clId="{6ECD27E6-B224-41CD-B4E0-E297462320DD}" dt="2023-11-24T11:36:05.834" v="126242"/>
          <ac:spMkLst>
            <pc:docMk/>
            <pc:sldMk cId="3184642303" sldId="2147478578"/>
            <ac:spMk id="847" creationId="{20EECBB5-B641-D68B-15B6-4CC61A81D3AF}"/>
          </ac:spMkLst>
        </pc:spChg>
        <pc:spChg chg="add del mod">
          <ac:chgData name="Steiner Andreas 6206 ED" userId="e6377c33-a923-4f14-8587-531c474c7b48" providerId="ADAL" clId="{6ECD27E6-B224-41CD-B4E0-E297462320DD}" dt="2023-11-24T11:36:07.502" v="126397"/>
          <ac:spMkLst>
            <pc:docMk/>
            <pc:sldMk cId="3184642303" sldId="2147478578"/>
            <ac:spMk id="848" creationId="{012754D6-7C2A-3C34-95BA-3709C0856205}"/>
          </ac:spMkLst>
        </pc:spChg>
        <pc:spChg chg="add del mod">
          <ac:chgData name="Steiner Andreas 6206 ED" userId="e6377c33-a923-4f14-8587-531c474c7b48" providerId="ADAL" clId="{6ECD27E6-B224-41CD-B4E0-E297462320DD}" dt="2023-11-24T11:36:09.365" v="126552"/>
          <ac:spMkLst>
            <pc:docMk/>
            <pc:sldMk cId="3184642303" sldId="2147478578"/>
            <ac:spMk id="849" creationId="{0FC30866-C66E-9D2D-A1BB-F13D78C053C7}"/>
          </ac:spMkLst>
        </pc:spChg>
        <pc:spChg chg="add del mod">
          <ac:chgData name="Steiner Andreas 6206 ED" userId="e6377c33-a923-4f14-8587-531c474c7b48" providerId="ADAL" clId="{6ECD27E6-B224-41CD-B4E0-E297462320DD}" dt="2023-11-24T11:36:11.151" v="126707"/>
          <ac:spMkLst>
            <pc:docMk/>
            <pc:sldMk cId="3184642303" sldId="2147478578"/>
            <ac:spMk id="850" creationId="{5C0A45DB-5DC0-E275-784F-B44E84538167}"/>
          </ac:spMkLst>
        </pc:spChg>
        <pc:spChg chg="add del mod">
          <ac:chgData name="Steiner Andreas 6206 ED" userId="e6377c33-a923-4f14-8587-531c474c7b48" providerId="ADAL" clId="{6ECD27E6-B224-41CD-B4E0-E297462320DD}" dt="2023-11-24T11:36:13.072" v="126862"/>
          <ac:spMkLst>
            <pc:docMk/>
            <pc:sldMk cId="3184642303" sldId="2147478578"/>
            <ac:spMk id="851" creationId="{B21303BE-3BE9-64B0-0765-A37D742696AA}"/>
          </ac:spMkLst>
        </pc:spChg>
        <pc:spChg chg="add del mod">
          <ac:chgData name="Steiner Andreas 6206 ED" userId="e6377c33-a923-4f14-8587-531c474c7b48" providerId="ADAL" clId="{6ECD27E6-B224-41CD-B4E0-E297462320DD}" dt="2023-11-24T11:36:14.972" v="127017"/>
          <ac:spMkLst>
            <pc:docMk/>
            <pc:sldMk cId="3184642303" sldId="2147478578"/>
            <ac:spMk id="852" creationId="{7EFDB960-1D93-669C-3AF5-9FD337283542}"/>
          </ac:spMkLst>
        </pc:spChg>
        <pc:spChg chg="add del mod">
          <ac:chgData name="Steiner Andreas 6206 ED" userId="e6377c33-a923-4f14-8587-531c474c7b48" providerId="ADAL" clId="{6ECD27E6-B224-41CD-B4E0-E297462320DD}" dt="2023-11-24T11:36:17.409" v="127172"/>
          <ac:spMkLst>
            <pc:docMk/>
            <pc:sldMk cId="3184642303" sldId="2147478578"/>
            <ac:spMk id="853" creationId="{3DFB45C6-0158-9536-69AD-6213FE95437B}"/>
          </ac:spMkLst>
        </pc:spChg>
        <pc:spChg chg="add del mod">
          <ac:chgData name="Steiner Andreas 6206 ED" userId="e6377c33-a923-4f14-8587-531c474c7b48" providerId="ADAL" clId="{6ECD27E6-B224-41CD-B4E0-E297462320DD}" dt="2023-11-24T11:36:20.048" v="127327"/>
          <ac:spMkLst>
            <pc:docMk/>
            <pc:sldMk cId="3184642303" sldId="2147478578"/>
            <ac:spMk id="854" creationId="{CA9507FA-6A54-A978-BAE0-7EC62940D383}"/>
          </ac:spMkLst>
        </pc:spChg>
        <pc:spChg chg="add del mod">
          <ac:chgData name="Steiner Andreas 6206 ED" userId="e6377c33-a923-4f14-8587-531c474c7b48" providerId="ADAL" clId="{6ECD27E6-B224-41CD-B4E0-E297462320DD}" dt="2023-11-24T11:36:22.397" v="127482"/>
          <ac:spMkLst>
            <pc:docMk/>
            <pc:sldMk cId="3184642303" sldId="2147478578"/>
            <ac:spMk id="855" creationId="{C59CE8A0-0B8B-90A6-7482-982CFA2BD361}"/>
          </ac:spMkLst>
        </pc:spChg>
        <pc:spChg chg="add del mod">
          <ac:chgData name="Steiner Andreas 6206 ED" userId="e6377c33-a923-4f14-8587-531c474c7b48" providerId="ADAL" clId="{6ECD27E6-B224-41CD-B4E0-E297462320DD}" dt="2023-11-24T11:36:25.474" v="127637"/>
          <ac:spMkLst>
            <pc:docMk/>
            <pc:sldMk cId="3184642303" sldId="2147478578"/>
            <ac:spMk id="856" creationId="{FA088BB1-BFC1-015B-620B-A2870BA796D5}"/>
          </ac:spMkLst>
        </pc:spChg>
        <pc:spChg chg="add del mod">
          <ac:chgData name="Steiner Andreas 6206 ED" userId="e6377c33-a923-4f14-8587-531c474c7b48" providerId="ADAL" clId="{6ECD27E6-B224-41CD-B4E0-E297462320DD}" dt="2023-11-24T11:36:28.377" v="127792"/>
          <ac:spMkLst>
            <pc:docMk/>
            <pc:sldMk cId="3184642303" sldId="2147478578"/>
            <ac:spMk id="857" creationId="{5E268485-9E57-6B8F-479B-CF0DEC137BDE}"/>
          </ac:spMkLst>
        </pc:spChg>
        <pc:spChg chg="add del mod">
          <ac:chgData name="Steiner Andreas 6206 ED" userId="e6377c33-a923-4f14-8587-531c474c7b48" providerId="ADAL" clId="{6ECD27E6-B224-41CD-B4E0-E297462320DD}" dt="2023-11-24T11:36:31.046" v="127947"/>
          <ac:spMkLst>
            <pc:docMk/>
            <pc:sldMk cId="3184642303" sldId="2147478578"/>
            <ac:spMk id="858" creationId="{93F8A25A-28C8-0DC0-2992-EDF84D1A5064}"/>
          </ac:spMkLst>
        </pc:spChg>
        <pc:spChg chg="add del mod">
          <ac:chgData name="Steiner Andreas 6206 ED" userId="e6377c33-a923-4f14-8587-531c474c7b48" providerId="ADAL" clId="{6ECD27E6-B224-41CD-B4E0-E297462320DD}" dt="2023-11-24T11:36:33.305" v="128102"/>
          <ac:spMkLst>
            <pc:docMk/>
            <pc:sldMk cId="3184642303" sldId="2147478578"/>
            <ac:spMk id="859" creationId="{6D560106-9FEA-6607-A1B1-70A8CC1850B0}"/>
          </ac:spMkLst>
        </pc:spChg>
        <pc:spChg chg="add del mod">
          <ac:chgData name="Steiner Andreas 6206 ED" userId="e6377c33-a923-4f14-8587-531c474c7b48" providerId="ADAL" clId="{6ECD27E6-B224-41CD-B4E0-E297462320DD}" dt="2023-11-24T11:36:35.368" v="128257"/>
          <ac:spMkLst>
            <pc:docMk/>
            <pc:sldMk cId="3184642303" sldId="2147478578"/>
            <ac:spMk id="860" creationId="{4DDBC208-2E07-6277-F5FF-DE3EAB465475}"/>
          </ac:spMkLst>
        </pc:spChg>
        <pc:spChg chg="add del mod">
          <ac:chgData name="Steiner Andreas 6206 ED" userId="e6377c33-a923-4f14-8587-531c474c7b48" providerId="ADAL" clId="{6ECD27E6-B224-41CD-B4E0-E297462320DD}" dt="2023-11-24T11:36:37.464" v="128412"/>
          <ac:spMkLst>
            <pc:docMk/>
            <pc:sldMk cId="3184642303" sldId="2147478578"/>
            <ac:spMk id="861" creationId="{FE250A80-A77F-C7B6-8B2D-DA92035CA9F3}"/>
          </ac:spMkLst>
        </pc:spChg>
        <pc:spChg chg="add del mod">
          <ac:chgData name="Steiner Andreas 6206 ED" userId="e6377c33-a923-4f14-8587-531c474c7b48" providerId="ADAL" clId="{6ECD27E6-B224-41CD-B4E0-E297462320DD}" dt="2023-11-24T11:36:39.669" v="128567"/>
          <ac:spMkLst>
            <pc:docMk/>
            <pc:sldMk cId="3184642303" sldId="2147478578"/>
            <ac:spMk id="862" creationId="{2BD64207-5790-9BBF-4B07-E9CFDB29EDD6}"/>
          </ac:spMkLst>
        </pc:spChg>
        <pc:spChg chg="add del mod">
          <ac:chgData name="Steiner Andreas 6206 ED" userId="e6377c33-a923-4f14-8587-531c474c7b48" providerId="ADAL" clId="{6ECD27E6-B224-41CD-B4E0-E297462320DD}" dt="2023-11-24T11:36:42.242" v="128722"/>
          <ac:spMkLst>
            <pc:docMk/>
            <pc:sldMk cId="3184642303" sldId="2147478578"/>
            <ac:spMk id="863" creationId="{9CB7A055-3F3B-3E3F-D86B-19074EBBEE1B}"/>
          </ac:spMkLst>
        </pc:spChg>
        <pc:spChg chg="add del mod">
          <ac:chgData name="Steiner Andreas 6206 ED" userId="e6377c33-a923-4f14-8587-531c474c7b48" providerId="ADAL" clId="{6ECD27E6-B224-41CD-B4E0-E297462320DD}" dt="2023-11-24T11:36:44.545" v="128877"/>
          <ac:spMkLst>
            <pc:docMk/>
            <pc:sldMk cId="3184642303" sldId="2147478578"/>
            <ac:spMk id="864" creationId="{8CBDFB1C-AEBD-5863-641D-9FD6DD767C85}"/>
          </ac:spMkLst>
        </pc:spChg>
        <pc:spChg chg="add del mod">
          <ac:chgData name="Steiner Andreas 6206 ED" userId="e6377c33-a923-4f14-8587-531c474c7b48" providerId="ADAL" clId="{6ECD27E6-B224-41CD-B4E0-E297462320DD}" dt="2023-11-24T11:36:46.535" v="129032"/>
          <ac:spMkLst>
            <pc:docMk/>
            <pc:sldMk cId="3184642303" sldId="2147478578"/>
            <ac:spMk id="865" creationId="{4448113B-2A9C-6401-F2FF-5C10683792F9}"/>
          </ac:spMkLst>
        </pc:spChg>
        <pc:spChg chg="add del mod">
          <ac:chgData name="Steiner Andreas 6206 ED" userId="e6377c33-a923-4f14-8587-531c474c7b48" providerId="ADAL" clId="{6ECD27E6-B224-41CD-B4E0-E297462320DD}" dt="2023-11-24T11:36:48.498" v="129187"/>
          <ac:spMkLst>
            <pc:docMk/>
            <pc:sldMk cId="3184642303" sldId="2147478578"/>
            <ac:spMk id="866" creationId="{32070AD7-A177-98BF-5B63-79180BCE5366}"/>
          </ac:spMkLst>
        </pc:spChg>
        <pc:spChg chg="add del mod">
          <ac:chgData name="Steiner Andreas 6206 ED" userId="e6377c33-a923-4f14-8587-531c474c7b48" providerId="ADAL" clId="{6ECD27E6-B224-41CD-B4E0-E297462320DD}" dt="2023-11-24T11:36:50.472" v="129342"/>
          <ac:spMkLst>
            <pc:docMk/>
            <pc:sldMk cId="3184642303" sldId="2147478578"/>
            <ac:spMk id="867" creationId="{89ABC7D2-0AD1-654D-156F-E8107DA0FEFF}"/>
          </ac:spMkLst>
        </pc:spChg>
        <pc:spChg chg="add del mod">
          <ac:chgData name="Steiner Andreas 6206 ED" userId="e6377c33-a923-4f14-8587-531c474c7b48" providerId="ADAL" clId="{6ECD27E6-B224-41CD-B4E0-E297462320DD}" dt="2023-11-24T11:36:52.610" v="129497"/>
          <ac:spMkLst>
            <pc:docMk/>
            <pc:sldMk cId="3184642303" sldId="2147478578"/>
            <ac:spMk id="868" creationId="{C30000D1-70C8-6C80-A704-93B036A2E12D}"/>
          </ac:spMkLst>
        </pc:spChg>
        <pc:spChg chg="add del mod">
          <ac:chgData name="Steiner Andreas 6206 ED" userId="e6377c33-a923-4f14-8587-531c474c7b48" providerId="ADAL" clId="{6ECD27E6-B224-41CD-B4E0-E297462320DD}" dt="2023-11-24T11:36:55.464" v="129652"/>
          <ac:spMkLst>
            <pc:docMk/>
            <pc:sldMk cId="3184642303" sldId="2147478578"/>
            <ac:spMk id="869" creationId="{5575F90B-AA5C-22C2-2DE0-90E80AC35856}"/>
          </ac:spMkLst>
        </pc:spChg>
        <pc:spChg chg="add del mod">
          <ac:chgData name="Steiner Andreas 6206 ED" userId="e6377c33-a923-4f14-8587-531c474c7b48" providerId="ADAL" clId="{6ECD27E6-B224-41CD-B4E0-E297462320DD}" dt="2023-11-24T11:36:57.680" v="129807"/>
          <ac:spMkLst>
            <pc:docMk/>
            <pc:sldMk cId="3184642303" sldId="2147478578"/>
            <ac:spMk id="870" creationId="{8F04B089-C8CA-FF8D-086B-BD0EC5646D4A}"/>
          </ac:spMkLst>
        </pc:spChg>
        <pc:spChg chg="add del mod">
          <ac:chgData name="Steiner Andreas 6206 ED" userId="e6377c33-a923-4f14-8587-531c474c7b48" providerId="ADAL" clId="{6ECD27E6-B224-41CD-B4E0-E297462320DD}" dt="2023-11-24T11:37:00.079" v="129962"/>
          <ac:spMkLst>
            <pc:docMk/>
            <pc:sldMk cId="3184642303" sldId="2147478578"/>
            <ac:spMk id="871" creationId="{3F23C592-756C-A17D-3EA0-A60A105A6A72}"/>
          </ac:spMkLst>
        </pc:spChg>
        <pc:spChg chg="add del mod">
          <ac:chgData name="Steiner Andreas 6206 ED" userId="e6377c33-a923-4f14-8587-531c474c7b48" providerId="ADAL" clId="{6ECD27E6-B224-41CD-B4E0-E297462320DD}" dt="2023-11-24T11:37:01.920" v="130117"/>
          <ac:spMkLst>
            <pc:docMk/>
            <pc:sldMk cId="3184642303" sldId="2147478578"/>
            <ac:spMk id="872" creationId="{B1022EF5-57D6-27CB-25FD-17FA64216E80}"/>
          </ac:spMkLst>
        </pc:spChg>
        <pc:spChg chg="add del mod">
          <ac:chgData name="Steiner Andreas 6206 ED" userId="e6377c33-a923-4f14-8587-531c474c7b48" providerId="ADAL" clId="{6ECD27E6-B224-41CD-B4E0-E297462320DD}" dt="2023-11-24T11:37:03.659" v="130272"/>
          <ac:spMkLst>
            <pc:docMk/>
            <pc:sldMk cId="3184642303" sldId="2147478578"/>
            <ac:spMk id="873" creationId="{9E1C80B0-861A-0ACD-02BE-F286389D4C4B}"/>
          </ac:spMkLst>
        </pc:spChg>
        <pc:spChg chg="add del mod">
          <ac:chgData name="Steiner Andreas 6206 ED" userId="e6377c33-a923-4f14-8587-531c474c7b48" providerId="ADAL" clId="{6ECD27E6-B224-41CD-B4E0-E297462320DD}" dt="2023-11-24T11:37:05.547" v="130427"/>
          <ac:spMkLst>
            <pc:docMk/>
            <pc:sldMk cId="3184642303" sldId="2147478578"/>
            <ac:spMk id="874" creationId="{A71AC2B0-7B75-AAD9-E6D4-1D950DB5CBB9}"/>
          </ac:spMkLst>
        </pc:spChg>
        <pc:spChg chg="add del mod">
          <ac:chgData name="Steiner Andreas 6206 ED" userId="e6377c33-a923-4f14-8587-531c474c7b48" providerId="ADAL" clId="{6ECD27E6-B224-41CD-B4E0-E297462320DD}" dt="2023-11-24T11:37:07.292" v="130582"/>
          <ac:spMkLst>
            <pc:docMk/>
            <pc:sldMk cId="3184642303" sldId="2147478578"/>
            <ac:spMk id="875" creationId="{B3EF5AFA-14C7-199D-2CD3-4ACC93F1E46F}"/>
          </ac:spMkLst>
        </pc:spChg>
        <pc:spChg chg="add del mod">
          <ac:chgData name="Steiner Andreas 6206 ED" userId="e6377c33-a923-4f14-8587-531c474c7b48" providerId="ADAL" clId="{6ECD27E6-B224-41CD-B4E0-E297462320DD}" dt="2023-11-24T11:37:09.033" v="130737"/>
          <ac:spMkLst>
            <pc:docMk/>
            <pc:sldMk cId="3184642303" sldId="2147478578"/>
            <ac:spMk id="876" creationId="{D735E542-4373-DE01-8730-E3CD0102C6D2}"/>
          </ac:spMkLst>
        </pc:spChg>
        <pc:spChg chg="add del mod">
          <ac:chgData name="Steiner Andreas 6206 ED" userId="e6377c33-a923-4f14-8587-531c474c7b48" providerId="ADAL" clId="{6ECD27E6-B224-41CD-B4E0-E297462320DD}" dt="2023-11-24T11:37:10.688" v="130892"/>
          <ac:spMkLst>
            <pc:docMk/>
            <pc:sldMk cId="3184642303" sldId="2147478578"/>
            <ac:spMk id="877" creationId="{561CDCFB-7F64-E5F4-1F28-9F0AAE0B6338}"/>
          </ac:spMkLst>
        </pc:spChg>
        <pc:spChg chg="add del mod">
          <ac:chgData name="Steiner Andreas 6206 ED" userId="e6377c33-a923-4f14-8587-531c474c7b48" providerId="ADAL" clId="{6ECD27E6-B224-41CD-B4E0-E297462320DD}" dt="2023-11-24T11:37:12.395" v="131047"/>
          <ac:spMkLst>
            <pc:docMk/>
            <pc:sldMk cId="3184642303" sldId="2147478578"/>
            <ac:spMk id="878" creationId="{85BFBEDA-7E97-5E6A-5AF3-52988D58EFF1}"/>
          </ac:spMkLst>
        </pc:spChg>
        <pc:spChg chg="add del mod">
          <ac:chgData name="Steiner Andreas 6206 ED" userId="e6377c33-a923-4f14-8587-531c474c7b48" providerId="ADAL" clId="{6ECD27E6-B224-41CD-B4E0-E297462320DD}" dt="2023-11-24T11:37:14.055" v="131202"/>
          <ac:spMkLst>
            <pc:docMk/>
            <pc:sldMk cId="3184642303" sldId="2147478578"/>
            <ac:spMk id="879" creationId="{15587DA9-CF5E-170B-1A56-91B4CB5BC78C}"/>
          </ac:spMkLst>
        </pc:spChg>
        <pc:spChg chg="add del mod">
          <ac:chgData name="Steiner Andreas 6206 ED" userId="e6377c33-a923-4f14-8587-531c474c7b48" providerId="ADAL" clId="{6ECD27E6-B224-41CD-B4E0-E297462320DD}" dt="2023-11-24T11:37:16.069" v="131357"/>
          <ac:spMkLst>
            <pc:docMk/>
            <pc:sldMk cId="3184642303" sldId="2147478578"/>
            <ac:spMk id="880" creationId="{063A3283-39AC-B203-BF42-3726364C18B5}"/>
          </ac:spMkLst>
        </pc:spChg>
        <pc:spChg chg="add del mod">
          <ac:chgData name="Steiner Andreas 6206 ED" userId="e6377c33-a923-4f14-8587-531c474c7b48" providerId="ADAL" clId="{6ECD27E6-B224-41CD-B4E0-E297462320DD}" dt="2023-11-24T11:37:18.057" v="131512"/>
          <ac:spMkLst>
            <pc:docMk/>
            <pc:sldMk cId="3184642303" sldId="2147478578"/>
            <ac:spMk id="881" creationId="{E7A428F5-936D-B092-8E0B-356EF9F3233F}"/>
          </ac:spMkLst>
        </pc:spChg>
        <pc:spChg chg="add del mod">
          <ac:chgData name="Steiner Andreas 6206 ED" userId="e6377c33-a923-4f14-8587-531c474c7b48" providerId="ADAL" clId="{6ECD27E6-B224-41CD-B4E0-E297462320DD}" dt="2023-11-24T11:37:19.974" v="131667"/>
          <ac:spMkLst>
            <pc:docMk/>
            <pc:sldMk cId="3184642303" sldId="2147478578"/>
            <ac:spMk id="882" creationId="{C330F01B-87F6-F5AD-8EE7-416E7658321F}"/>
          </ac:spMkLst>
        </pc:spChg>
        <pc:spChg chg="add del mod">
          <ac:chgData name="Steiner Andreas 6206 ED" userId="e6377c33-a923-4f14-8587-531c474c7b48" providerId="ADAL" clId="{6ECD27E6-B224-41CD-B4E0-E297462320DD}" dt="2023-11-24T11:37:21.875" v="131822"/>
          <ac:spMkLst>
            <pc:docMk/>
            <pc:sldMk cId="3184642303" sldId="2147478578"/>
            <ac:spMk id="883" creationId="{B18DF6B4-F804-B69A-A9A2-6966A9628E48}"/>
          </ac:spMkLst>
        </pc:spChg>
        <pc:spChg chg="add del mod">
          <ac:chgData name="Steiner Andreas 6206 ED" userId="e6377c33-a923-4f14-8587-531c474c7b48" providerId="ADAL" clId="{6ECD27E6-B224-41CD-B4E0-E297462320DD}" dt="2023-11-24T11:37:23.664" v="131977"/>
          <ac:spMkLst>
            <pc:docMk/>
            <pc:sldMk cId="3184642303" sldId="2147478578"/>
            <ac:spMk id="884" creationId="{07A13C83-C282-98D8-8BB1-403688A53085}"/>
          </ac:spMkLst>
        </pc:spChg>
        <pc:spChg chg="add del mod">
          <ac:chgData name="Steiner Andreas 6206 ED" userId="e6377c33-a923-4f14-8587-531c474c7b48" providerId="ADAL" clId="{6ECD27E6-B224-41CD-B4E0-E297462320DD}" dt="2023-11-24T11:37:25.371" v="132132"/>
          <ac:spMkLst>
            <pc:docMk/>
            <pc:sldMk cId="3184642303" sldId="2147478578"/>
            <ac:spMk id="885" creationId="{476421EB-701F-32AC-C175-84D77A734D7C}"/>
          </ac:spMkLst>
        </pc:spChg>
        <pc:spChg chg="add del mod">
          <ac:chgData name="Steiner Andreas 6206 ED" userId="e6377c33-a923-4f14-8587-531c474c7b48" providerId="ADAL" clId="{6ECD27E6-B224-41CD-B4E0-E297462320DD}" dt="2023-11-24T11:37:27.329" v="132287"/>
          <ac:spMkLst>
            <pc:docMk/>
            <pc:sldMk cId="3184642303" sldId="2147478578"/>
            <ac:spMk id="886" creationId="{6CF6CC86-9138-D199-90DA-73FBBFA1AB8A}"/>
          </ac:spMkLst>
        </pc:spChg>
        <pc:spChg chg="add del mod">
          <ac:chgData name="Steiner Andreas 6206 ED" userId="e6377c33-a923-4f14-8587-531c474c7b48" providerId="ADAL" clId="{6ECD27E6-B224-41CD-B4E0-E297462320DD}" dt="2023-11-24T11:37:29.971" v="132442"/>
          <ac:spMkLst>
            <pc:docMk/>
            <pc:sldMk cId="3184642303" sldId="2147478578"/>
            <ac:spMk id="887" creationId="{DDC5CA1F-9802-6FD9-2E8E-F0D459268491}"/>
          </ac:spMkLst>
        </pc:spChg>
        <pc:spChg chg="add del mod">
          <ac:chgData name="Steiner Andreas 6206 ED" userId="e6377c33-a923-4f14-8587-531c474c7b48" providerId="ADAL" clId="{6ECD27E6-B224-41CD-B4E0-E297462320DD}" dt="2023-11-24T11:37:32.571" v="132597"/>
          <ac:spMkLst>
            <pc:docMk/>
            <pc:sldMk cId="3184642303" sldId="2147478578"/>
            <ac:spMk id="888" creationId="{C25A8A32-CA05-F2F2-CCC0-E39A23545978}"/>
          </ac:spMkLst>
        </pc:spChg>
        <pc:spChg chg="add del mod">
          <ac:chgData name="Steiner Andreas 6206 ED" userId="e6377c33-a923-4f14-8587-531c474c7b48" providerId="ADAL" clId="{6ECD27E6-B224-41CD-B4E0-E297462320DD}" dt="2023-11-24T11:37:35.500" v="132752"/>
          <ac:spMkLst>
            <pc:docMk/>
            <pc:sldMk cId="3184642303" sldId="2147478578"/>
            <ac:spMk id="889" creationId="{861451BB-9E8B-A8EF-D667-50EB4E38997C}"/>
          </ac:spMkLst>
        </pc:spChg>
        <pc:spChg chg="add del mod">
          <ac:chgData name="Steiner Andreas 6206 ED" userId="e6377c33-a923-4f14-8587-531c474c7b48" providerId="ADAL" clId="{6ECD27E6-B224-41CD-B4E0-E297462320DD}" dt="2023-11-24T11:37:38.176" v="132907"/>
          <ac:spMkLst>
            <pc:docMk/>
            <pc:sldMk cId="3184642303" sldId="2147478578"/>
            <ac:spMk id="890" creationId="{2A2C0675-7BFD-301B-8B8C-9847BC4C04CB}"/>
          </ac:spMkLst>
        </pc:spChg>
        <pc:spChg chg="add del mod">
          <ac:chgData name="Steiner Andreas 6206 ED" userId="e6377c33-a923-4f14-8587-531c474c7b48" providerId="ADAL" clId="{6ECD27E6-B224-41CD-B4E0-E297462320DD}" dt="2023-11-24T11:37:40.768" v="133062"/>
          <ac:spMkLst>
            <pc:docMk/>
            <pc:sldMk cId="3184642303" sldId="2147478578"/>
            <ac:spMk id="891" creationId="{68E3D33D-D524-CFD0-A11E-0504697C1435}"/>
          </ac:spMkLst>
        </pc:spChg>
        <pc:spChg chg="add del mod">
          <ac:chgData name="Steiner Andreas 6206 ED" userId="e6377c33-a923-4f14-8587-531c474c7b48" providerId="ADAL" clId="{6ECD27E6-B224-41CD-B4E0-E297462320DD}" dt="2023-11-24T11:37:43.679" v="133217"/>
          <ac:spMkLst>
            <pc:docMk/>
            <pc:sldMk cId="3184642303" sldId="2147478578"/>
            <ac:spMk id="892" creationId="{4A73EA38-6432-74E6-EC47-C4DE14741FE3}"/>
          </ac:spMkLst>
        </pc:spChg>
        <pc:spChg chg="add del mod">
          <ac:chgData name="Steiner Andreas 6206 ED" userId="e6377c33-a923-4f14-8587-531c474c7b48" providerId="ADAL" clId="{6ECD27E6-B224-41CD-B4E0-E297462320DD}" dt="2023-11-24T11:37:47.743" v="133372"/>
          <ac:spMkLst>
            <pc:docMk/>
            <pc:sldMk cId="3184642303" sldId="2147478578"/>
            <ac:spMk id="893" creationId="{C7BE00BF-89B7-2D56-F627-32F4D464D303}"/>
          </ac:spMkLst>
        </pc:spChg>
        <pc:spChg chg="add del mod">
          <ac:chgData name="Steiner Andreas 6206 ED" userId="e6377c33-a923-4f14-8587-531c474c7b48" providerId="ADAL" clId="{6ECD27E6-B224-41CD-B4E0-E297462320DD}" dt="2023-11-24T11:37:50.982" v="133527"/>
          <ac:spMkLst>
            <pc:docMk/>
            <pc:sldMk cId="3184642303" sldId="2147478578"/>
            <ac:spMk id="894" creationId="{D1A71A92-F35C-EC5A-A412-E9A9E561050E}"/>
          </ac:spMkLst>
        </pc:spChg>
        <pc:spChg chg="add del mod">
          <ac:chgData name="Steiner Andreas 6206 ED" userId="e6377c33-a923-4f14-8587-531c474c7b48" providerId="ADAL" clId="{6ECD27E6-B224-41CD-B4E0-E297462320DD}" dt="2023-11-24T11:37:53.971" v="133682"/>
          <ac:spMkLst>
            <pc:docMk/>
            <pc:sldMk cId="3184642303" sldId="2147478578"/>
            <ac:spMk id="895" creationId="{4C8B1EB7-18BB-15EE-F404-DEE38DA6CC69}"/>
          </ac:spMkLst>
        </pc:spChg>
        <pc:spChg chg="add del mod">
          <ac:chgData name="Steiner Andreas 6206 ED" userId="e6377c33-a923-4f14-8587-531c474c7b48" providerId="ADAL" clId="{6ECD27E6-B224-41CD-B4E0-E297462320DD}" dt="2023-11-24T11:37:56.311" v="133837"/>
          <ac:spMkLst>
            <pc:docMk/>
            <pc:sldMk cId="3184642303" sldId="2147478578"/>
            <ac:spMk id="896" creationId="{D815BCAD-58EE-8153-CE0B-33C1802BB0D9}"/>
          </ac:spMkLst>
        </pc:spChg>
        <pc:spChg chg="add del mod">
          <ac:chgData name="Steiner Andreas 6206 ED" userId="e6377c33-a923-4f14-8587-531c474c7b48" providerId="ADAL" clId="{6ECD27E6-B224-41CD-B4E0-E297462320DD}" dt="2023-11-24T11:37:58.928" v="133992"/>
          <ac:spMkLst>
            <pc:docMk/>
            <pc:sldMk cId="3184642303" sldId="2147478578"/>
            <ac:spMk id="897" creationId="{F028DB18-5323-20FA-2530-AA86014BD0A7}"/>
          </ac:spMkLst>
        </pc:spChg>
        <pc:spChg chg="add del mod">
          <ac:chgData name="Steiner Andreas 6206 ED" userId="e6377c33-a923-4f14-8587-531c474c7b48" providerId="ADAL" clId="{6ECD27E6-B224-41CD-B4E0-E297462320DD}" dt="2023-11-24T11:38:01.211" v="134147"/>
          <ac:spMkLst>
            <pc:docMk/>
            <pc:sldMk cId="3184642303" sldId="2147478578"/>
            <ac:spMk id="898" creationId="{F4D54A9E-ACE0-6F16-E619-770656FEE0FF}"/>
          </ac:spMkLst>
        </pc:spChg>
        <pc:spChg chg="add del mod">
          <ac:chgData name="Steiner Andreas 6206 ED" userId="e6377c33-a923-4f14-8587-531c474c7b48" providerId="ADAL" clId="{6ECD27E6-B224-41CD-B4E0-E297462320DD}" dt="2023-11-24T11:38:03.757" v="134302"/>
          <ac:spMkLst>
            <pc:docMk/>
            <pc:sldMk cId="3184642303" sldId="2147478578"/>
            <ac:spMk id="899" creationId="{70D7CFF4-51CC-4AC0-CEBF-7025166736B6}"/>
          </ac:spMkLst>
        </pc:spChg>
        <pc:spChg chg="add del mod">
          <ac:chgData name="Steiner Andreas 6206 ED" userId="e6377c33-a923-4f14-8587-531c474c7b48" providerId="ADAL" clId="{6ECD27E6-B224-41CD-B4E0-E297462320DD}" dt="2023-11-24T11:38:06.050" v="134457"/>
          <ac:spMkLst>
            <pc:docMk/>
            <pc:sldMk cId="3184642303" sldId="2147478578"/>
            <ac:spMk id="900" creationId="{5941F1FF-37C4-ECCC-ACC2-93F0F9709588}"/>
          </ac:spMkLst>
        </pc:spChg>
        <pc:spChg chg="add del mod">
          <ac:chgData name="Steiner Andreas 6206 ED" userId="e6377c33-a923-4f14-8587-531c474c7b48" providerId="ADAL" clId="{6ECD27E6-B224-41CD-B4E0-E297462320DD}" dt="2023-11-24T11:38:08.843" v="134612"/>
          <ac:spMkLst>
            <pc:docMk/>
            <pc:sldMk cId="3184642303" sldId="2147478578"/>
            <ac:spMk id="901" creationId="{D47BFFAA-B2E0-2CA6-C083-564D13DADA57}"/>
          </ac:spMkLst>
        </pc:spChg>
        <pc:spChg chg="add del mod">
          <ac:chgData name="Steiner Andreas 6206 ED" userId="e6377c33-a923-4f14-8587-531c474c7b48" providerId="ADAL" clId="{6ECD27E6-B224-41CD-B4E0-E297462320DD}" dt="2023-11-24T11:38:11.831" v="134767"/>
          <ac:spMkLst>
            <pc:docMk/>
            <pc:sldMk cId="3184642303" sldId="2147478578"/>
            <ac:spMk id="902" creationId="{93CC9FE3-4D4C-B3BC-BA51-4A800613F38F}"/>
          </ac:spMkLst>
        </pc:spChg>
        <pc:spChg chg="add del mod">
          <ac:chgData name="Steiner Andreas 6206 ED" userId="e6377c33-a923-4f14-8587-531c474c7b48" providerId="ADAL" clId="{6ECD27E6-B224-41CD-B4E0-E297462320DD}" dt="2023-11-24T11:38:14.051" v="134922"/>
          <ac:spMkLst>
            <pc:docMk/>
            <pc:sldMk cId="3184642303" sldId="2147478578"/>
            <ac:spMk id="903" creationId="{9BA406CD-01E8-1BFC-C709-16E748AA929B}"/>
          </ac:spMkLst>
        </pc:spChg>
        <pc:spChg chg="add del mod">
          <ac:chgData name="Steiner Andreas 6206 ED" userId="e6377c33-a923-4f14-8587-531c474c7b48" providerId="ADAL" clId="{6ECD27E6-B224-41CD-B4E0-E297462320DD}" dt="2023-11-24T11:38:16.550" v="135077"/>
          <ac:spMkLst>
            <pc:docMk/>
            <pc:sldMk cId="3184642303" sldId="2147478578"/>
            <ac:spMk id="904" creationId="{C4D249C8-DEBB-D105-91D8-418EF89B7896}"/>
          </ac:spMkLst>
        </pc:spChg>
        <pc:spChg chg="add del mod">
          <ac:chgData name="Steiner Andreas 6206 ED" userId="e6377c33-a923-4f14-8587-531c474c7b48" providerId="ADAL" clId="{6ECD27E6-B224-41CD-B4E0-E297462320DD}" dt="2023-11-24T11:38:19.123" v="135232"/>
          <ac:spMkLst>
            <pc:docMk/>
            <pc:sldMk cId="3184642303" sldId="2147478578"/>
            <ac:spMk id="905" creationId="{8ED34E8C-F982-6053-46A8-D17CDCDA1E23}"/>
          </ac:spMkLst>
        </pc:spChg>
        <pc:spChg chg="add del mod">
          <ac:chgData name="Steiner Andreas 6206 ED" userId="e6377c33-a923-4f14-8587-531c474c7b48" providerId="ADAL" clId="{6ECD27E6-B224-41CD-B4E0-E297462320DD}" dt="2023-11-24T11:38:21.911" v="135387"/>
          <ac:spMkLst>
            <pc:docMk/>
            <pc:sldMk cId="3184642303" sldId="2147478578"/>
            <ac:spMk id="906" creationId="{D7D6BF68-8389-D98B-E7BE-0A96863D651D}"/>
          </ac:spMkLst>
        </pc:spChg>
        <pc:spChg chg="add del mod">
          <ac:chgData name="Steiner Andreas 6206 ED" userId="e6377c33-a923-4f14-8587-531c474c7b48" providerId="ADAL" clId="{6ECD27E6-B224-41CD-B4E0-E297462320DD}" dt="2023-11-24T11:38:24.765" v="135542"/>
          <ac:spMkLst>
            <pc:docMk/>
            <pc:sldMk cId="3184642303" sldId="2147478578"/>
            <ac:spMk id="907" creationId="{A754CD29-7F35-457C-63F3-D098AC8F3F80}"/>
          </ac:spMkLst>
        </pc:spChg>
        <pc:spChg chg="add del mod">
          <ac:chgData name="Steiner Andreas 6206 ED" userId="e6377c33-a923-4f14-8587-531c474c7b48" providerId="ADAL" clId="{6ECD27E6-B224-41CD-B4E0-E297462320DD}" dt="2023-11-24T11:38:27.529" v="135697"/>
          <ac:spMkLst>
            <pc:docMk/>
            <pc:sldMk cId="3184642303" sldId="2147478578"/>
            <ac:spMk id="908" creationId="{ABDF6794-7995-1B85-180E-ADA8F4D7675B}"/>
          </ac:spMkLst>
        </pc:spChg>
        <pc:spChg chg="add del mod">
          <ac:chgData name="Steiner Andreas 6206 ED" userId="e6377c33-a923-4f14-8587-531c474c7b48" providerId="ADAL" clId="{6ECD27E6-B224-41CD-B4E0-E297462320DD}" dt="2023-11-24T11:38:30.149" v="135852"/>
          <ac:spMkLst>
            <pc:docMk/>
            <pc:sldMk cId="3184642303" sldId="2147478578"/>
            <ac:spMk id="909" creationId="{CE9D75D4-64C5-EBEA-DCD2-AF00EE277B9E}"/>
          </ac:spMkLst>
        </pc:spChg>
        <pc:spChg chg="add del mod">
          <ac:chgData name="Steiner Andreas 6206 ED" userId="e6377c33-a923-4f14-8587-531c474c7b48" providerId="ADAL" clId="{6ECD27E6-B224-41CD-B4E0-E297462320DD}" dt="2023-11-24T11:38:32.539" v="136007"/>
          <ac:spMkLst>
            <pc:docMk/>
            <pc:sldMk cId="3184642303" sldId="2147478578"/>
            <ac:spMk id="910" creationId="{21B3846C-B973-BF69-CF5A-80773C661E2A}"/>
          </ac:spMkLst>
        </pc:spChg>
        <pc:spChg chg="add del mod">
          <ac:chgData name="Steiner Andreas 6206 ED" userId="e6377c33-a923-4f14-8587-531c474c7b48" providerId="ADAL" clId="{6ECD27E6-B224-41CD-B4E0-E297462320DD}" dt="2023-11-24T11:38:35.044" v="136162"/>
          <ac:spMkLst>
            <pc:docMk/>
            <pc:sldMk cId="3184642303" sldId="2147478578"/>
            <ac:spMk id="911" creationId="{65A98E7E-8FA2-2D67-C7E3-77F1BCD6663B}"/>
          </ac:spMkLst>
        </pc:spChg>
        <pc:spChg chg="add del mod">
          <ac:chgData name="Steiner Andreas 6206 ED" userId="e6377c33-a923-4f14-8587-531c474c7b48" providerId="ADAL" clId="{6ECD27E6-B224-41CD-B4E0-E297462320DD}" dt="2023-11-24T11:38:37.674" v="136317"/>
          <ac:spMkLst>
            <pc:docMk/>
            <pc:sldMk cId="3184642303" sldId="2147478578"/>
            <ac:spMk id="912" creationId="{B3BA2037-8C97-6A36-F045-BF4272569EB9}"/>
          </ac:spMkLst>
        </pc:spChg>
        <pc:spChg chg="add del mod">
          <ac:chgData name="Steiner Andreas 6206 ED" userId="e6377c33-a923-4f14-8587-531c474c7b48" providerId="ADAL" clId="{6ECD27E6-B224-41CD-B4E0-E297462320DD}" dt="2023-11-24T11:38:40.444" v="136472"/>
          <ac:spMkLst>
            <pc:docMk/>
            <pc:sldMk cId="3184642303" sldId="2147478578"/>
            <ac:spMk id="913" creationId="{50E538A5-256E-94D0-B5DE-DC1A9AC98A15}"/>
          </ac:spMkLst>
        </pc:spChg>
        <pc:spChg chg="add del mod">
          <ac:chgData name="Steiner Andreas 6206 ED" userId="e6377c33-a923-4f14-8587-531c474c7b48" providerId="ADAL" clId="{6ECD27E6-B224-41CD-B4E0-E297462320DD}" dt="2023-11-24T11:38:42.839" v="136627"/>
          <ac:spMkLst>
            <pc:docMk/>
            <pc:sldMk cId="3184642303" sldId="2147478578"/>
            <ac:spMk id="914" creationId="{E9244AD7-E136-1417-5E86-F3D048789414}"/>
          </ac:spMkLst>
        </pc:spChg>
        <pc:spChg chg="add del mod">
          <ac:chgData name="Steiner Andreas 6206 ED" userId="e6377c33-a923-4f14-8587-531c474c7b48" providerId="ADAL" clId="{6ECD27E6-B224-41CD-B4E0-E297462320DD}" dt="2023-11-24T11:38:45.196" v="136782"/>
          <ac:spMkLst>
            <pc:docMk/>
            <pc:sldMk cId="3184642303" sldId="2147478578"/>
            <ac:spMk id="915" creationId="{9EA5F9E2-7403-9173-A310-7C80832E3ABC}"/>
          </ac:spMkLst>
        </pc:spChg>
        <pc:spChg chg="add del mod">
          <ac:chgData name="Steiner Andreas 6206 ED" userId="e6377c33-a923-4f14-8587-531c474c7b48" providerId="ADAL" clId="{6ECD27E6-B224-41CD-B4E0-E297462320DD}" dt="2023-11-24T11:38:47.589" v="136937"/>
          <ac:spMkLst>
            <pc:docMk/>
            <pc:sldMk cId="3184642303" sldId="2147478578"/>
            <ac:spMk id="916" creationId="{8A9EAD56-3B5B-575C-9677-30CFF691B751}"/>
          </ac:spMkLst>
        </pc:spChg>
        <pc:spChg chg="add del mod">
          <ac:chgData name="Steiner Andreas 6206 ED" userId="e6377c33-a923-4f14-8587-531c474c7b48" providerId="ADAL" clId="{6ECD27E6-B224-41CD-B4E0-E297462320DD}" dt="2023-11-24T11:38:50.587" v="137092"/>
          <ac:spMkLst>
            <pc:docMk/>
            <pc:sldMk cId="3184642303" sldId="2147478578"/>
            <ac:spMk id="917" creationId="{E9F251A0-E42A-B812-A503-8E7879E549E3}"/>
          </ac:spMkLst>
        </pc:spChg>
        <pc:spChg chg="add del mod">
          <ac:chgData name="Steiner Andreas 6206 ED" userId="e6377c33-a923-4f14-8587-531c474c7b48" providerId="ADAL" clId="{6ECD27E6-B224-41CD-B4E0-E297462320DD}" dt="2023-11-24T11:38:53.014" v="137247"/>
          <ac:spMkLst>
            <pc:docMk/>
            <pc:sldMk cId="3184642303" sldId="2147478578"/>
            <ac:spMk id="918" creationId="{2DC687AA-091C-4995-C8D9-80994447820C}"/>
          </ac:spMkLst>
        </pc:spChg>
        <pc:spChg chg="add del mod">
          <ac:chgData name="Steiner Andreas 6206 ED" userId="e6377c33-a923-4f14-8587-531c474c7b48" providerId="ADAL" clId="{6ECD27E6-B224-41CD-B4E0-E297462320DD}" dt="2023-11-24T11:38:55.510" v="137402"/>
          <ac:spMkLst>
            <pc:docMk/>
            <pc:sldMk cId="3184642303" sldId="2147478578"/>
            <ac:spMk id="919" creationId="{7135BE15-BA06-6B0F-2401-8B72AD950509}"/>
          </ac:spMkLst>
        </pc:spChg>
        <pc:spChg chg="add del mod">
          <ac:chgData name="Steiner Andreas 6206 ED" userId="e6377c33-a923-4f14-8587-531c474c7b48" providerId="ADAL" clId="{6ECD27E6-B224-41CD-B4E0-E297462320DD}" dt="2023-11-24T11:38:58.109" v="137557"/>
          <ac:spMkLst>
            <pc:docMk/>
            <pc:sldMk cId="3184642303" sldId="2147478578"/>
            <ac:spMk id="920" creationId="{A55C6FC9-174B-EB42-8E3B-AE99C12B715A}"/>
          </ac:spMkLst>
        </pc:spChg>
        <pc:spChg chg="add del mod">
          <ac:chgData name="Steiner Andreas 6206 ED" userId="e6377c33-a923-4f14-8587-531c474c7b48" providerId="ADAL" clId="{6ECD27E6-B224-41CD-B4E0-E297462320DD}" dt="2023-11-24T11:39:00.349" v="137712"/>
          <ac:spMkLst>
            <pc:docMk/>
            <pc:sldMk cId="3184642303" sldId="2147478578"/>
            <ac:spMk id="921" creationId="{82EEBDE6-888C-F5B0-23D0-838C5835B8EF}"/>
          </ac:spMkLst>
        </pc:spChg>
        <pc:spChg chg="add del mod">
          <ac:chgData name="Steiner Andreas 6206 ED" userId="e6377c33-a923-4f14-8587-531c474c7b48" providerId="ADAL" clId="{6ECD27E6-B224-41CD-B4E0-E297462320DD}" dt="2023-11-24T11:39:03.337" v="137867"/>
          <ac:spMkLst>
            <pc:docMk/>
            <pc:sldMk cId="3184642303" sldId="2147478578"/>
            <ac:spMk id="922" creationId="{C8637818-7783-992C-DFE3-FD8BA3375E12}"/>
          </ac:spMkLst>
        </pc:spChg>
        <pc:spChg chg="add del mod">
          <ac:chgData name="Steiner Andreas 6206 ED" userId="e6377c33-a923-4f14-8587-531c474c7b48" providerId="ADAL" clId="{6ECD27E6-B224-41CD-B4E0-E297462320DD}" dt="2023-11-24T11:39:06.051" v="138022"/>
          <ac:spMkLst>
            <pc:docMk/>
            <pc:sldMk cId="3184642303" sldId="2147478578"/>
            <ac:spMk id="923" creationId="{D69430BC-F686-4E04-3EDB-F9C9846738FB}"/>
          </ac:spMkLst>
        </pc:spChg>
        <pc:spChg chg="add del mod">
          <ac:chgData name="Steiner Andreas 6206 ED" userId="e6377c33-a923-4f14-8587-531c474c7b48" providerId="ADAL" clId="{6ECD27E6-B224-41CD-B4E0-E297462320DD}" dt="2023-11-24T11:39:08.538" v="138177"/>
          <ac:spMkLst>
            <pc:docMk/>
            <pc:sldMk cId="3184642303" sldId="2147478578"/>
            <ac:spMk id="924" creationId="{5B47D2E9-7A50-75B5-0864-37B5557506AB}"/>
          </ac:spMkLst>
        </pc:spChg>
        <pc:spChg chg="add del mod">
          <ac:chgData name="Steiner Andreas 6206 ED" userId="e6377c33-a923-4f14-8587-531c474c7b48" providerId="ADAL" clId="{6ECD27E6-B224-41CD-B4E0-E297462320DD}" dt="2023-11-24T11:39:10.870" v="138332"/>
          <ac:spMkLst>
            <pc:docMk/>
            <pc:sldMk cId="3184642303" sldId="2147478578"/>
            <ac:spMk id="925" creationId="{6E38EA3F-B6AE-34DF-E357-36CDC5F5F954}"/>
          </ac:spMkLst>
        </pc:spChg>
        <pc:spChg chg="add del mod">
          <ac:chgData name="Steiner Andreas 6206 ED" userId="e6377c33-a923-4f14-8587-531c474c7b48" providerId="ADAL" clId="{6ECD27E6-B224-41CD-B4E0-E297462320DD}" dt="2023-11-24T11:39:13.354" v="138487"/>
          <ac:spMkLst>
            <pc:docMk/>
            <pc:sldMk cId="3184642303" sldId="2147478578"/>
            <ac:spMk id="926" creationId="{D1CB463B-DDA8-62BE-2A52-D376A8678663}"/>
          </ac:spMkLst>
        </pc:spChg>
        <pc:spChg chg="add del mod">
          <ac:chgData name="Steiner Andreas 6206 ED" userId="e6377c33-a923-4f14-8587-531c474c7b48" providerId="ADAL" clId="{6ECD27E6-B224-41CD-B4E0-E297462320DD}" dt="2023-11-24T11:39:16.057" v="138642"/>
          <ac:spMkLst>
            <pc:docMk/>
            <pc:sldMk cId="3184642303" sldId="2147478578"/>
            <ac:spMk id="927" creationId="{54E69467-EE7E-ECE5-32FF-C81CCE6B6C0E}"/>
          </ac:spMkLst>
        </pc:spChg>
        <pc:spChg chg="add del mod">
          <ac:chgData name="Steiner Andreas 6206 ED" userId="e6377c33-a923-4f14-8587-531c474c7b48" providerId="ADAL" clId="{6ECD27E6-B224-41CD-B4E0-E297462320DD}" dt="2023-11-24T11:39:18.897" v="138797"/>
          <ac:spMkLst>
            <pc:docMk/>
            <pc:sldMk cId="3184642303" sldId="2147478578"/>
            <ac:spMk id="928" creationId="{A688AD3F-E103-B0E7-4485-56BBD6BA4695}"/>
          </ac:spMkLst>
        </pc:spChg>
        <pc:spChg chg="add del mod">
          <ac:chgData name="Steiner Andreas 6206 ED" userId="e6377c33-a923-4f14-8587-531c474c7b48" providerId="ADAL" clId="{6ECD27E6-B224-41CD-B4E0-E297462320DD}" dt="2023-11-24T11:39:21.556" v="138952"/>
          <ac:spMkLst>
            <pc:docMk/>
            <pc:sldMk cId="3184642303" sldId="2147478578"/>
            <ac:spMk id="929" creationId="{27BFB974-9002-00BF-415E-E1D3A51350A3}"/>
          </ac:spMkLst>
        </pc:spChg>
        <pc:spChg chg="add del mod">
          <ac:chgData name="Steiner Andreas 6206 ED" userId="e6377c33-a923-4f14-8587-531c474c7b48" providerId="ADAL" clId="{6ECD27E6-B224-41CD-B4E0-E297462320DD}" dt="2023-11-24T11:39:24.123" v="139107"/>
          <ac:spMkLst>
            <pc:docMk/>
            <pc:sldMk cId="3184642303" sldId="2147478578"/>
            <ac:spMk id="930" creationId="{75CFBA2D-EE9B-BF8E-6F10-7878FE688FA4}"/>
          </ac:spMkLst>
        </pc:spChg>
        <pc:spChg chg="add del mod">
          <ac:chgData name="Steiner Andreas 6206 ED" userId="e6377c33-a923-4f14-8587-531c474c7b48" providerId="ADAL" clId="{6ECD27E6-B224-41CD-B4E0-E297462320DD}" dt="2023-11-24T11:39:26.811" v="139262"/>
          <ac:spMkLst>
            <pc:docMk/>
            <pc:sldMk cId="3184642303" sldId="2147478578"/>
            <ac:spMk id="931" creationId="{7177B075-44E4-95AF-1C08-123FA8FA4D2F}"/>
          </ac:spMkLst>
        </pc:spChg>
        <pc:spChg chg="add del mod">
          <ac:chgData name="Steiner Andreas 6206 ED" userId="e6377c33-a923-4f14-8587-531c474c7b48" providerId="ADAL" clId="{6ECD27E6-B224-41CD-B4E0-E297462320DD}" dt="2023-11-24T11:39:29.502" v="139417"/>
          <ac:spMkLst>
            <pc:docMk/>
            <pc:sldMk cId="3184642303" sldId="2147478578"/>
            <ac:spMk id="932" creationId="{438C9B1C-AE61-54E6-922E-267CD3A0F862}"/>
          </ac:spMkLst>
        </pc:spChg>
        <pc:spChg chg="add del mod">
          <ac:chgData name="Steiner Andreas 6206 ED" userId="e6377c33-a923-4f14-8587-531c474c7b48" providerId="ADAL" clId="{6ECD27E6-B224-41CD-B4E0-E297462320DD}" dt="2023-11-24T11:39:32.505" v="139572"/>
          <ac:spMkLst>
            <pc:docMk/>
            <pc:sldMk cId="3184642303" sldId="2147478578"/>
            <ac:spMk id="933" creationId="{5AB03465-CDA1-D2C2-CAE8-02B93F00BCA3}"/>
          </ac:spMkLst>
        </pc:spChg>
        <pc:spChg chg="add del mod">
          <ac:chgData name="Steiner Andreas 6206 ED" userId="e6377c33-a923-4f14-8587-531c474c7b48" providerId="ADAL" clId="{6ECD27E6-B224-41CD-B4E0-E297462320DD}" dt="2023-11-24T11:39:35.208" v="139727"/>
          <ac:spMkLst>
            <pc:docMk/>
            <pc:sldMk cId="3184642303" sldId="2147478578"/>
            <ac:spMk id="934" creationId="{2B911AA3-8A4C-198B-8571-B720CB2ABE7E}"/>
          </ac:spMkLst>
        </pc:spChg>
        <pc:spChg chg="add del mod">
          <ac:chgData name="Steiner Andreas 6206 ED" userId="e6377c33-a923-4f14-8587-531c474c7b48" providerId="ADAL" clId="{6ECD27E6-B224-41CD-B4E0-E297462320DD}" dt="2023-11-24T11:39:38.148" v="139882"/>
          <ac:spMkLst>
            <pc:docMk/>
            <pc:sldMk cId="3184642303" sldId="2147478578"/>
            <ac:spMk id="935" creationId="{549A8B1D-624F-B0BE-3E38-7FA8F01B5B20}"/>
          </ac:spMkLst>
        </pc:spChg>
        <pc:spChg chg="add del mod">
          <ac:chgData name="Steiner Andreas 6206 ED" userId="e6377c33-a923-4f14-8587-531c474c7b48" providerId="ADAL" clId="{6ECD27E6-B224-41CD-B4E0-E297462320DD}" dt="2023-11-24T11:39:40.843" v="140037"/>
          <ac:spMkLst>
            <pc:docMk/>
            <pc:sldMk cId="3184642303" sldId="2147478578"/>
            <ac:spMk id="936" creationId="{0C7138AA-E51C-E1E9-1DA9-D53FC74EEE8B}"/>
          </ac:spMkLst>
        </pc:spChg>
        <pc:spChg chg="add del mod">
          <ac:chgData name="Steiner Andreas 6206 ED" userId="e6377c33-a923-4f14-8587-531c474c7b48" providerId="ADAL" clId="{6ECD27E6-B224-41CD-B4E0-E297462320DD}" dt="2023-11-24T11:39:43.429" v="140192"/>
          <ac:spMkLst>
            <pc:docMk/>
            <pc:sldMk cId="3184642303" sldId="2147478578"/>
            <ac:spMk id="937" creationId="{5CD66071-EB5D-8709-F910-98EC4753A4B2}"/>
          </ac:spMkLst>
        </pc:spChg>
        <pc:spChg chg="add del mod">
          <ac:chgData name="Steiner Andreas 6206 ED" userId="e6377c33-a923-4f14-8587-531c474c7b48" providerId="ADAL" clId="{6ECD27E6-B224-41CD-B4E0-E297462320DD}" dt="2023-11-24T11:39:46.058" v="140347"/>
          <ac:spMkLst>
            <pc:docMk/>
            <pc:sldMk cId="3184642303" sldId="2147478578"/>
            <ac:spMk id="938" creationId="{E32DEAE8-709D-AA55-8602-E2629283D9C8}"/>
          </ac:spMkLst>
        </pc:spChg>
        <pc:spChg chg="add del mod">
          <ac:chgData name="Steiner Andreas 6206 ED" userId="e6377c33-a923-4f14-8587-531c474c7b48" providerId="ADAL" clId="{6ECD27E6-B224-41CD-B4E0-E297462320DD}" dt="2023-11-24T11:39:48.479" v="140502"/>
          <ac:spMkLst>
            <pc:docMk/>
            <pc:sldMk cId="3184642303" sldId="2147478578"/>
            <ac:spMk id="939" creationId="{FE8B015C-27EE-F4F0-3AF4-8DC837E0ABB4}"/>
          </ac:spMkLst>
        </pc:spChg>
        <pc:spChg chg="add del mod">
          <ac:chgData name="Steiner Andreas 6206 ED" userId="e6377c33-a923-4f14-8587-531c474c7b48" providerId="ADAL" clId="{6ECD27E6-B224-41CD-B4E0-E297462320DD}" dt="2023-11-24T11:39:51.478" v="140657"/>
          <ac:spMkLst>
            <pc:docMk/>
            <pc:sldMk cId="3184642303" sldId="2147478578"/>
            <ac:spMk id="940" creationId="{5D7DC697-02A3-CDFD-0627-45A4EE4567B8}"/>
          </ac:spMkLst>
        </pc:spChg>
        <pc:spChg chg="add del mod">
          <ac:chgData name="Steiner Andreas 6206 ED" userId="e6377c33-a923-4f14-8587-531c474c7b48" providerId="ADAL" clId="{6ECD27E6-B224-41CD-B4E0-E297462320DD}" dt="2023-11-24T11:39:54.376" v="140812"/>
          <ac:spMkLst>
            <pc:docMk/>
            <pc:sldMk cId="3184642303" sldId="2147478578"/>
            <ac:spMk id="941" creationId="{618D1B63-56BC-3B95-3297-1B05A1B0F730}"/>
          </ac:spMkLst>
        </pc:spChg>
        <pc:spChg chg="add del mod">
          <ac:chgData name="Steiner Andreas 6206 ED" userId="e6377c33-a923-4f14-8587-531c474c7b48" providerId="ADAL" clId="{6ECD27E6-B224-41CD-B4E0-E297462320DD}" dt="2023-11-24T11:39:56.890" v="140967"/>
          <ac:spMkLst>
            <pc:docMk/>
            <pc:sldMk cId="3184642303" sldId="2147478578"/>
            <ac:spMk id="942" creationId="{05CD2BD4-0F69-4F6E-39AF-A05885AF7439}"/>
          </ac:spMkLst>
        </pc:spChg>
        <pc:spChg chg="add del mod">
          <ac:chgData name="Steiner Andreas 6206 ED" userId="e6377c33-a923-4f14-8587-531c474c7b48" providerId="ADAL" clId="{6ECD27E6-B224-41CD-B4E0-E297462320DD}" dt="2023-11-24T11:39:59.256" v="141122"/>
          <ac:spMkLst>
            <pc:docMk/>
            <pc:sldMk cId="3184642303" sldId="2147478578"/>
            <ac:spMk id="943" creationId="{2E05BD98-3204-B099-9EC0-78BFDEB392E4}"/>
          </ac:spMkLst>
        </pc:spChg>
        <pc:spChg chg="add del mod">
          <ac:chgData name="Steiner Andreas 6206 ED" userId="e6377c33-a923-4f14-8587-531c474c7b48" providerId="ADAL" clId="{6ECD27E6-B224-41CD-B4E0-E297462320DD}" dt="2023-11-24T11:40:01.946" v="141277"/>
          <ac:spMkLst>
            <pc:docMk/>
            <pc:sldMk cId="3184642303" sldId="2147478578"/>
            <ac:spMk id="944" creationId="{64C05487-04A3-FDBB-AC0D-B3E4B9C95B89}"/>
          </ac:spMkLst>
        </pc:spChg>
        <pc:spChg chg="add del mod">
          <ac:chgData name="Steiner Andreas 6206 ED" userId="e6377c33-a923-4f14-8587-531c474c7b48" providerId="ADAL" clId="{6ECD27E6-B224-41CD-B4E0-E297462320DD}" dt="2023-11-24T11:40:04.840" v="141432"/>
          <ac:spMkLst>
            <pc:docMk/>
            <pc:sldMk cId="3184642303" sldId="2147478578"/>
            <ac:spMk id="945" creationId="{13C08007-7352-1F61-92FB-B8C5BCB0305A}"/>
          </ac:spMkLst>
        </pc:spChg>
        <pc:spChg chg="add del mod">
          <ac:chgData name="Steiner Andreas 6206 ED" userId="e6377c33-a923-4f14-8587-531c474c7b48" providerId="ADAL" clId="{6ECD27E6-B224-41CD-B4E0-E297462320DD}" dt="2023-11-24T11:40:07.612" v="141587"/>
          <ac:spMkLst>
            <pc:docMk/>
            <pc:sldMk cId="3184642303" sldId="2147478578"/>
            <ac:spMk id="946" creationId="{C8BDA03A-3AF2-AF9E-FA84-C6543F342629}"/>
          </ac:spMkLst>
        </pc:spChg>
        <pc:spChg chg="add del mod">
          <ac:chgData name="Steiner Andreas 6206 ED" userId="e6377c33-a923-4f14-8587-531c474c7b48" providerId="ADAL" clId="{6ECD27E6-B224-41CD-B4E0-E297462320DD}" dt="2023-11-24T11:40:10.046" v="141742"/>
          <ac:spMkLst>
            <pc:docMk/>
            <pc:sldMk cId="3184642303" sldId="2147478578"/>
            <ac:spMk id="947" creationId="{90561A42-1783-8E1F-1711-30B7AFCE182C}"/>
          </ac:spMkLst>
        </pc:spChg>
        <pc:spChg chg="add del mod">
          <ac:chgData name="Steiner Andreas 6206 ED" userId="e6377c33-a923-4f14-8587-531c474c7b48" providerId="ADAL" clId="{6ECD27E6-B224-41CD-B4E0-E297462320DD}" dt="2023-11-24T11:40:12.517" v="141897"/>
          <ac:spMkLst>
            <pc:docMk/>
            <pc:sldMk cId="3184642303" sldId="2147478578"/>
            <ac:spMk id="948" creationId="{B19F07D4-043D-FC86-A96F-2FD998D8A59C}"/>
          </ac:spMkLst>
        </pc:spChg>
        <pc:spChg chg="add del mod">
          <ac:chgData name="Steiner Andreas 6206 ED" userId="e6377c33-a923-4f14-8587-531c474c7b48" providerId="ADAL" clId="{6ECD27E6-B224-41CD-B4E0-E297462320DD}" dt="2023-11-24T11:40:16.136" v="142052"/>
          <ac:spMkLst>
            <pc:docMk/>
            <pc:sldMk cId="3184642303" sldId="2147478578"/>
            <ac:spMk id="949" creationId="{CBEA4511-BB64-3568-2610-AAD49FE6F336}"/>
          </ac:spMkLst>
        </pc:spChg>
        <pc:spChg chg="add del mod">
          <ac:chgData name="Steiner Andreas 6206 ED" userId="e6377c33-a923-4f14-8587-531c474c7b48" providerId="ADAL" clId="{6ECD27E6-B224-41CD-B4E0-E297462320DD}" dt="2023-11-24T11:40:19.587" v="142207"/>
          <ac:spMkLst>
            <pc:docMk/>
            <pc:sldMk cId="3184642303" sldId="2147478578"/>
            <ac:spMk id="950" creationId="{671DBC41-41E5-A3C1-AAEB-BA29EFA17D45}"/>
          </ac:spMkLst>
        </pc:spChg>
        <pc:spChg chg="add del mod">
          <ac:chgData name="Steiner Andreas 6206 ED" userId="e6377c33-a923-4f14-8587-531c474c7b48" providerId="ADAL" clId="{6ECD27E6-B224-41CD-B4E0-E297462320DD}" dt="2023-11-24T11:40:22.415" v="142362"/>
          <ac:spMkLst>
            <pc:docMk/>
            <pc:sldMk cId="3184642303" sldId="2147478578"/>
            <ac:spMk id="951" creationId="{1748F2E5-4AFB-D472-906C-5DCF16DC91D7}"/>
          </ac:spMkLst>
        </pc:spChg>
        <pc:spChg chg="add del mod">
          <ac:chgData name="Steiner Andreas 6206 ED" userId="e6377c33-a923-4f14-8587-531c474c7b48" providerId="ADAL" clId="{6ECD27E6-B224-41CD-B4E0-E297462320DD}" dt="2023-11-24T11:40:25.097" v="142517"/>
          <ac:spMkLst>
            <pc:docMk/>
            <pc:sldMk cId="3184642303" sldId="2147478578"/>
            <ac:spMk id="952" creationId="{17E78D7C-3584-C107-1608-5A0A6FC77AA7}"/>
          </ac:spMkLst>
        </pc:spChg>
        <pc:spChg chg="add del mod">
          <ac:chgData name="Steiner Andreas 6206 ED" userId="e6377c33-a923-4f14-8587-531c474c7b48" providerId="ADAL" clId="{6ECD27E6-B224-41CD-B4E0-E297462320DD}" dt="2023-11-24T11:40:28.151" v="142672"/>
          <ac:spMkLst>
            <pc:docMk/>
            <pc:sldMk cId="3184642303" sldId="2147478578"/>
            <ac:spMk id="953" creationId="{CCFEF9D2-53F8-036A-29D0-1A95D0668236}"/>
          </ac:spMkLst>
        </pc:spChg>
        <pc:spChg chg="add del mod">
          <ac:chgData name="Steiner Andreas 6206 ED" userId="e6377c33-a923-4f14-8587-531c474c7b48" providerId="ADAL" clId="{6ECD27E6-B224-41CD-B4E0-E297462320DD}" dt="2023-11-24T11:40:30.897" v="142827"/>
          <ac:spMkLst>
            <pc:docMk/>
            <pc:sldMk cId="3184642303" sldId="2147478578"/>
            <ac:spMk id="954" creationId="{08935992-355C-468B-F4CD-7D00190CB807}"/>
          </ac:spMkLst>
        </pc:spChg>
        <pc:spChg chg="add del mod">
          <ac:chgData name="Steiner Andreas 6206 ED" userId="e6377c33-a923-4f14-8587-531c474c7b48" providerId="ADAL" clId="{6ECD27E6-B224-41CD-B4E0-E297462320DD}" dt="2023-11-24T11:40:33.439" v="142982"/>
          <ac:spMkLst>
            <pc:docMk/>
            <pc:sldMk cId="3184642303" sldId="2147478578"/>
            <ac:spMk id="955" creationId="{AD4916A5-0769-60CA-63EF-08DB981FAC3C}"/>
          </ac:spMkLst>
        </pc:spChg>
        <pc:spChg chg="add del mod">
          <ac:chgData name="Steiner Andreas 6206 ED" userId="e6377c33-a923-4f14-8587-531c474c7b48" providerId="ADAL" clId="{6ECD27E6-B224-41CD-B4E0-E297462320DD}" dt="2023-11-24T11:40:36.102" v="143137"/>
          <ac:spMkLst>
            <pc:docMk/>
            <pc:sldMk cId="3184642303" sldId="2147478578"/>
            <ac:spMk id="956" creationId="{535C7C4B-8C23-DE6F-2852-85C14585CB8E}"/>
          </ac:spMkLst>
        </pc:spChg>
        <pc:spChg chg="add del mod">
          <ac:chgData name="Steiner Andreas 6206 ED" userId="e6377c33-a923-4f14-8587-531c474c7b48" providerId="ADAL" clId="{6ECD27E6-B224-41CD-B4E0-E297462320DD}" dt="2023-11-24T11:40:39.168" v="143292"/>
          <ac:spMkLst>
            <pc:docMk/>
            <pc:sldMk cId="3184642303" sldId="2147478578"/>
            <ac:spMk id="957" creationId="{43C47A94-759F-3F98-E929-6CF2CFE0EC43}"/>
          </ac:spMkLst>
        </pc:spChg>
        <pc:spChg chg="add del mod">
          <ac:chgData name="Steiner Andreas 6206 ED" userId="e6377c33-a923-4f14-8587-531c474c7b48" providerId="ADAL" clId="{6ECD27E6-B224-41CD-B4E0-E297462320DD}" dt="2023-11-24T11:40:42.180" v="143447"/>
          <ac:spMkLst>
            <pc:docMk/>
            <pc:sldMk cId="3184642303" sldId="2147478578"/>
            <ac:spMk id="958" creationId="{D5FE11A8-BCBF-E714-57DC-F36AB912CFBD}"/>
          </ac:spMkLst>
        </pc:spChg>
        <pc:spChg chg="add del mod">
          <ac:chgData name="Steiner Andreas 6206 ED" userId="e6377c33-a923-4f14-8587-531c474c7b48" providerId="ADAL" clId="{6ECD27E6-B224-41CD-B4E0-E297462320DD}" dt="2023-11-24T11:40:44.855" v="143602"/>
          <ac:spMkLst>
            <pc:docMk/>
            <pc:sldMk cId="3184642303" sldId="2147478578"/>
            <ac:spMk id="959" creationId="{C64A987D-2D90-F8A1-C493-0C8AF69510DA}"/>
          </ac:spMkLst>
        </pc:spChg>
        <pc:spChg chg="add del mod">
          <ac:chgData name="Steiner Andreas 6206 ED" userId="e6377c33-a923-4f14-8587-531c474c7b48" providerId="ADAL" clId="{6ECD27E6-B224-41CD-B4E0-E297462320DD}" dt="2023-11-24T11:40:47.612" v="143757"/>
          <ac:spMkLst>
            <pc:docMk/>
            <pc:sldMk cId="3184642303" sldId="2147478578"/>
            <ac:spMk id="960" creationId="{548328CF-6017-E771-8B23-B73005C57DA0}"/>
          </ac:spMkLst>
        </pc:spChg>
        <pc:spChg chg="add del mod">
          <ac:chgData name="Steiner Andreas 6206 ED" userId="e6377c33-a923-4f14-8587-531c474c7b48" providerId="ADAL" clId="{6ECD27E6-B224-41CD-B4E0-E297462320DD}" dt="2023-11-24T11:40:50.374" v="143912"/>
          <ac:spMkLst>
            <pc:docMk/>
            <pc:sldMk cId="3184642303" sldId="2147478578"/>
            <ac:spMk id="961" creationId="{47C55823-8DAC-EF09-DB6D-7C110A14BEF6}"/>
          </ac:spMkLst>
        </pc:spChg>
        <pc:spChg chg="add del mod">
          <ac:chgData name="Steiner Andreas 6206 ED" userId="e6377c33-a923-4f14-8587-531c474c7b48" providerId="ADAL" clId="{6ECD27E6-B224-41CD-B4E0-E297462320DD}" dt="2023-11-24T11:40:53.234" v="144067"/>
          <ac:spMkLst>
            <pc:docMk/>
            <pc:sldMk cId="3184642303" sldId="2147478578"/>
            <ac:spMk id="962" creationId="{E139F3A2-9AE6-DE9A-C1D5-C0013550D1F6}"/>
          </ac:spMkLst>
        </pc:spChg>
        <pc:spChg chg="add del mod">
          <ac:chgData name="Steiner Andreas 6206 ED" userId="e6377c33-a923-4f14-8587-531c474c7b48" providerId="ADAL" clId="{6ECD27E6-B224-41CD-B4E0-E297462320DD}" dt="2023-11-24T11:40:55.912" v="144222"/>
          <ac:spMkLst>
            <pc:docMk/>
            <pc:sldMk cId="3184642303" sldId="2147478578"/>
            <ac:spMk id="963" creationId="{52C556ED-DCA6-B010-BC11-A93C5649BE2B}"/>
          </ac:spMkLst>
        </pc:spChg>
        <pc:spChg chg="add del mod">
          <ac:chgData name="Steiner Andreas 6206 ED" userId="e6377c33-a923-4f14-8587-531c474c7b48" providerId="ADAL" clId="{6ECD27E6-B224-41CD-B4E0-E297462320DD}" dt="2023-11-24T11:40:58.490" v="144377"/>
          <ac:spMkLst>
            <pc:docMk/>
            <pc:sldMk cId="3184642303" sldId="2147478578"/>
            <ac:spMk id="964" creationId="{32C394EA-C5C3-3A94-A71E-2DD873FC99BB}"/>
          </ac:spMkLst>
        </pc:spChg>
        <pc:spChg chg="add del mod">
          <ac:chgData name="Steiner Andreas 6206 ED" userId="e6377c33-a923-4f14-8587-531c474c7b48" providerId="ADAL" clId="{6ECD27E6-B224-41CD-B4E0-E297462320DD}" dt="2023-11-24T11:41:01.079" v="144532"/>
          <ac:spMkLst>
            <pc:docMk/>
            <pc:sldMk cId="3184642303" sldId="2147478578"/>
            <ac:spMk id="965" creationId="{DAE6C069-6D94-4AF4-B4E8-9E445DAA175B}"/>
          </ac:spMkLst>
        </pc:spChg>
        <pc:spChg chg="add del mod">
          <ac:chgData name="Steiner Andreas 6206 ED" userId="e6377c33-a923-4f14-8587-531c474c7b48" providerId="ADAL" clId="{6ECD27E6-B224-41CD-B4E0-E297462320DD}" dt="2023-11-24T11:41:03.679" v="144687"/>
          <ac:spMkLst>
            <pc:docMk/>
            <pc:sldMk cId="3184642303" sldId="2147478578"/>
            <ac:spMk id="966" creationId="{716A89E6-E43E-51CF-8796-CA9085A0FC01}"/>
          </ac:spMkLst>
        </pc:spChg>
        <pc:spChg chg="add del mod">
          <ac:chgData name="Steiner Andreas 6206 ED" userId="e6377c33-a923-4f14-8587-531c474c7b48" providerId="ADAL" clId="{6ECD27E6-B224-41CD-B4E0-E297462320DD}" dt="2023-11-24T11:41:06.866" v="144842"/>
          <ac:spMkLst>
            <pc:docMk/>
            <pc:sldMk cId="3184642303" sldId="2147478578"/>
            <ac:spMk id="967" creationId="{778B7E5A-DE24-5F8B-D7D7-D049AA677AB7}"/>
          </ac:spMkLst>
        </pc:spChg>
        <pc:spChg chg="add del mod">
          <ac:chgData name="Steiner Andreas 6206 ED" userId="e6377c33-a923-4f14-8587-531c474c7b48" providerId="ADAL" clId="{6ECD27E6-B224-41CD-B4E0-E297462320DD}" dt="2023-11-24T11:41:09.976" v="144997"/>
          <ac:spMkLst>
            <pc:docMk/>
            <pc:sldMk cId="3184642303" sldId="2147478578"/>
            <ac:spMk id="968" creationId="{E178F6CF-21F7-6335-5ECA-712974C88395}"/>
          </ac:spMkLst>
        </pc:spChg>
        <pc:spChg chg="add del mod">
          <ac:chgData name="Steiner Andreas 6206 ED" userId="e6377c33-a923-4f14-8587-531c474c7b48" providerId="ADAL" clId="{6ECD27E6-B224-41CD-B4E0-E297462320DD}" dt="2023-11-24T11:41:12.815" v="145152"/>
          <ac:spMkLst>
            <pc:docMk/>
            <pc:sldMk cId="3184642303" sldId="2147478578"/>
            <ac:spMk id="969" creationId="{12C4EC0C-A018-82B5-2B6F-682C161D2DDE}"/>
          </ac:spMkLst>
        </pc:spChg>
        <pc:spChg chg="add del mod">
          <ac:chgData name="Steiner Andreas 6206 ED" userId="e6377c33-a923-4f14-8587-531c474c7b48" providerId="ADAL" clId="{6ECD27E6-B224-41CD-B4E0-E297462320DD}" dt="2023-11-24T11:41:15.801" v="145307"/>
          <ac:spMkLst>
            <pc:docMk/>
            <pc:sldMk cId="3184642303" sldId="2147478578"/>
            <ac:spMk id="970" creationId="{FA17DECE-B75C-B84A-35F6-B8B85B9F774D}"/>
          </ac:spMkLst>
        </pc:spChg>
        <pc:spChg chg="add del mod">
          <ac:chgData name="Steiner Andreas 6206 ED" userId="e6377c33-a923-4f14-8587-531c474c7b48" providerId="ADAL" clId="{6ECD27E6-B224-41CD-B4E0-E297462320DD}" dt="2023-11-24T11:41:19.077" v="145462"/>
          <ac:spMkLst>
            <pc:docMk/>
            <pc:sldMk cId="3184642303" sldId="2147478578"/>
            <ac:spMk id="971" creationId="{01124B10-BFD2-2BB0-258E-304C9AFEEE2C}"/>
          </ac:spMkLst>
        </pc:spChg>
        <pc:spChg chg="add del mod">
          <ac:chgData name="Steiner Andreas 6206 ED" userId="e6377c33-a923-4f14-8587-531c474c7b48" providerId="ADAL" clId="{6ECD27E6-B224-41CD-B4E0-E297462320DD}" dt="2023-11-24T11:41:21.642" v="145617"/>
          <ac:spMkLst>
            <pc:docMk/>
            <pc:sldMk cId="3184642303" sldId="2147478578"/>
            <ac:spMk id="972" creationId="{1C31BC93-E542-850C-CD54-F9431D717BDD}"/>
          </ac:spMkLst>
        </pc:spChg>
        <pc:spChg chg="add del mod">
          <ac:chgData name="Steiner Andreas 6206 ED" userId="e6377c33-a923-4f14-8587-531c474c7b48" providerId="ADAL" clId="{6ECD27E6-B224-41CD-B4E0-E297462320DD}" dt="2023-11-24T11:41:25.514" v="145772"/>
          <ac:spMkLst>
            <pc:docMk/>
            <pc:sldMk cId="3184642303" sldId="2147478578"/>
            <ac:spMk id="973" creationId="{15593974-E97B-7ACB-62CB-5FAB094A286C}"/>
          </ac:spMkLst>
        </pc:spChg>
        <pc:spChg chg="add del mod">
          <ac:chgData name="Steiner Andreas 6206 ED" userId="e6377c33-a923-4f14-8587-531c474c7b48" providerId="ADAL" clId="{6ECD27E6-B224-41CD-B4E0-E297462320DD}" dt="2023-11-24T11:41:28.483" v="145927"/>
          <ac:spMkLst>
            <pc:docMk/>
            <pc:sldMk cId="3184642303" sldId="2147478578"/>
            <ac:spMk id="974" creationId="{2CE64630-E558-3068-EDD4-3BF7F2B4A271}"/>
          </ac:spMkLst>
        </pc:spChg>
        <pc:spChg chg="add del mod">
          <ac:chgData name="Steiner Andreas 6206 ED" userId="e6377c33-a923-4f14-8587-531c474c7b48" providerId="ADAL" clId="{6ECD27E6-B224-41CD-B4E0-E297462320DD}" dt="2023-11-24T11:41:31.244" v="146082"/>
          <ac:spMkLst>
            <pc:docMk/>
            <pc:sldMk cId="3184642303" sldId="2147478578"/>
            <ac:spMk id="975" creationId="{6C231FA5-8BE8-3B7F-1C99-7460C4C02F45}"/>
          </ac:spMkLst>
        </pc:spChg>
        <pc:spChg chg="add del mod">
          <ac:chgData name="Steiner Andreas 6206 ED" userId="e6377c33-a923-4f14-8587-531c474c7b48" providerId="ADAL" clId="{6ECD27E6-B224-41CD-B4E0-E297462320DD}" dt="2023-11-24T11:41:33.449" v="146237"/>
          <ac:spMkLst>
            <pc:docMk/>
            <pc:sldMk cId="3184642303" sldId="2147478578"/>
            <ac:spMk id="976" creationId="{AEF47858-44C7-1B41-20C0-9A931F6496EF}"/>
          </ac:spMkLst>
        </pc:spChg>
        <pc:spChg chg="add del mod">
          <ac:chgData name="Steiner Andreas 6206 ED" userId="e6377c33-a923-4f14-8587-531c474c7b48" providerId="ADAL" clId="{6ECD27E6-B224-41CD-B4E0-E297462320DD}" dt="2023-11-24T11:41:35.564" v="146392"/>
          <ac:spMkLst>
            <pc:docMk/>
            <pc:sldMk cId="3184642303" sldId="2147478578"/>
            <ac:spMk id="977" creationId="{EE7CC573-82D4-27FB-40F5-A0D1CAEAFF29}"/>
          </ac:spMkLst>
        </pc:spChg>
        <pc:spChg chg="add del mod">
          <ac:chgData name="Steiner Andreas 6206 ED" userId="e6377c33-a923-4f14-8587-531c474c7b48" providerId="ADAL" clId="{6ECD27E6-B224-41CD-B4E0-E297462320DD}" dt="2023-11-24T11:41:37.753" v="146547"/>
          <ac:spMkLst>
            <pc:docMk/>
            <pc:sldMk cId="3184642303" sldId="2147478578"/>
            <ac:spMk id="978" creationId="{31E28BCF-D2B9-717B-14BA-759FDA1C6BA7}"/>
          </ac:spMkLst>
        </pc:spChg>
        <pc:spChg chg="add del mod">
          <ac:chgData name="Steiner Andreas 6206 ED" userId="e6377c33-a923-4f14-8587-531c474c7b48" providerId="ADAL" clId="{6ECD27E6-B224-41CD-B4E0-E297462320DD}" dt="2023-11-24T11:41:40.462" v="146702"/>
          <ac:spMkLst>
            <pc:docMk/>
            <pc:sldMk cId="3184642303" sldId="2147478578"/>
            <ac:spMk id="979" creationId="{9DBB54D2-3B30-7293-0AAA-853A0E32FA7E}"/>
          </ac:spMkLst>
        </pc:spChg>
        <pc:spChg chg="add del mod">
          <ac:chgData name="Steiner Andreas 6206 ED" userId="e6377c33-a923-4f14-8587-531c474c7b48" providerId="ADAL" clId="{6ECD27E6-B224-41CD-B4E0-E297462320DD}" dt="2023-11-24T11:41:42.720" v="146857"/>
          <ac:spMkLst>
            <pc:docMk/>
            <pc:sldMk cId="3184642303" sldId="2147478578"/>
            <ac:spMk id="980" creationId="{92165C1E-8796-BBC5-5CE7-BD861A74087E}"/>
          </ac:spMkLst>
        </pc:spChg>
        <pc:spChg chg="add del mod">
          <ac:chgData name="Steiner Andreas 6206 ED" userId="e6377c33-a923-4f14-8587-531c474c7b48" providerId="ADAL" clId="{6ECD27E6-B224-41CD-B4E0-E297462320DD}" dt="2023-11-24T11:41:44.792" v="147012"/>
          <ac:spMkLst>
            <pc:docMk/>
            <pc:sldMk cId="3184642303" sldId="2147478578"/>
            <ac:spMk id="981" creationId="{63F03B34-4F10-E3E3-DC22-6ED6C6B17B90}"/>
          </ac:spMkLst>
        </pc:spChg>
        <pc:spChg chg="add del mod">
          <ac:chgData name="Steiner Andreas 6206 ED" userId="e6377c33-a923-4f14-8587-531c474c7b48" providerId="ADAL" clId="{6ECD27E6-B224-41CD-B4E0-E297462320DD}" dt="2023-11-24T11:41:47.250" v="147167"/>
          <ac:spMkLst>
            <pc:docMk/>
            <pc:sldMk cId="3184642303" sldId="2147478578"/>
            <ac:spMk id="982" creationId="{69676551-16F8-022F-C96D-0BA6B7C87C86}"/>
          </ac:spMkLst>
        </pc:spChg>
        <pc:spChg chg="add del mod">
          <ac:chgData name="Steiner Andreas 6206 ED" userId="e6377c33-a923-4f14-8587-531c474c7b48" providerId="ADAL" clId="{6ECD27E6-B224-41CD-B4E0-E297462320DD}" dt="2023-11-24T11:41:49.356" v="147322"/>
          <ac:spMkLst>
            <pc:docMk/>
            <pc:sldMk cId="3184642303" sldId="2147478578"/>
            <ac:spMk id="983" creationId="{45CAA021-9C68-6DE1-20FB-1F90E602AE05}"/>
          </ac:spMkLst>
        </pc:spChg>
        <pc:spChg chg="add del mod">
          <ac:chgData name="Steiner Andreas 6206 ED" userId="e6377c33-a923-4f14-8587-531c474c7b48" providerId="ADAL" clId="{6ECD27E6-B224-41CD-B4E0-E297462320DD}" dt="2023-11-24T11:41:51.703" v="147477"/>
          <ac:spMkLst>
            <pc:docMk/>
            <pc:sldMk cId="3184642303" sldId="2147478578"/>
            <ac:spMk id="984" creationId="{5012C006-89C9-F038-7965-FE1698FD3B25}"/>
          </ac:spMkLst>
        </pc:spChg>
        <pc:spChg chg="add del mod">
          <ac:chgData name="Steiner Andreas 6206 ED" userId="e6377c33-a923-4f14-8587-531c474c7b48" providerId="ADAL" clId="{6ECD27E6-B224-41CD-B4E0-E297462320DD}" dt="2023-11-24T11:41:54.161" v="147632"/>
          <ac:spMkLst>
            <pc:docMk/>
            <pc:sldMk cId="3184642303" sldId="2147478578"/>
            <ac:spMk id="985" creationId="{A9EFA569-F6C9-7CC8-624E-11F6230B4608}"/>
          </ac:spMkLst>
        </pc:spChg>
        <pc:spChg chg="add del mod">
          <ac:chgData name="Steiner Andreas 6206 ED" userId="e6377c33-a923-4f14-8587-531c474c7b48" providerId="ADAL" clId="{6ECD27E6-B224-41CD-B4E0-E297462320DD}" dt="2023-11-24T11:41:57.196" v="147787"/>
          <ac:spMkLst>
            <pc:docMk/>
            <pc:sldMk cId="3184642303" sldId="2147478578"/>
            <ac:spMk id="986" creationId="{EAB55EF9-1C09-866F-12A0-88EA6AEC1716}"/>
          </ac:spMkLst>
        </pc:spChg>
        <pc:spChg chg="add del mod">
          <ac:chgData name="Steiner Andreas 6206 ED" userId="e6377c33-a923-4f14-8587-531c474c7b48" providerId="ADAL" clId="{6ECD27E6-B224-41CD-B4E0-E297462320DD}" dt="2023-11-24T11:42:00.532" v="147942"/>
          <ac:spMkLst>
            <pc:docMk/>
            <pc:sldMk cId="3184642303" sldId="2147478578"/>
            <ac:spMk id="987" creationId="{7BBF3515-D783-514B-CEE9-930A0F785761}"/>
          </ac:spMkLst>
        </pc:spChg>
        <pc:spChg chg="add del mod">
          <ac:chgData name="Steiner Andreas 6206 ED" userId="e6377c33-a923-4f14-8587-531c474c7b48" providerId="ADAL" clId="{6ECD27E6-B224-41CD-B4E0-E297462320DD}" dt="2023-11-24T11:42:03.914" v="148097"/>
          <ac:spMkLst>
            <pc:docMk/>
            <pc:sldMk cId="3184642303" sldId="2147478578"/>
            <ac:spMk id="988" creationId="{5667AB22-5C28-0FB9-8C08-C73EA9B9DADC}"/>
          </ac:spMkLst>
        </pc:spChg>
        <pc:spChg chg="add del mod">
          <ac:chgData name="Steiner Andreas 6206 ED" userId="e6377c33-a923-4f14-8587-531c474c7b48" providerId="ADAL" clId="{6ECD27E6-B224-41CD-B4E0-E297462320DD}" dt="2023-11-24T11:42:06.406" v="148252"/>
          <ac:spMkLst>
            <pc:docMk/>
            <pc:sldMk cId="3184642303" sldId="2147478578"/>
            <ac:spMk id="989" creationId="{4984D59F-D844-DFDE-EB83-04CC2A3C341D}"/>
          </ac:spMkLst>
        </pc:spChg>
        <pc:spChg chg="add del mod">
          <ac:chgData name="Steiner Andreas 6206 ED" userId="e6377c33-a923-4f14-8587-531c474c7b48" providerId="ADAL" clId="{6ECD27E6-B224-41CD-B4E0-E297462320DD}" dt="2023-11-24T11:42:08.681" v="148407"/>
          <ac:spMkLst>
            <pc:docMk/>
            <pc:sldMk cId="3184642303" sldId="2147478578"/>
            <ac:spMk id="990" creationId="{F0B2AD79-788B-E909-F6EE-B03A217508ED}"/>
          </ac:spMkLst>
        </pc:spChg>
        <pc:spChg chg="add del mod">
          <ac:chgData name="Steiner Andreas 6206 ED" userId="e6377c33-a923-4f14-8587-531c474c7b48" providerId="ADAL" clId="{6ECD27E6-B224-41CD-B4E0-E297462320DD}" dt="2023-11-24T11:42:11.275" v="148562"/>
          <ac:spMkLst>
            <pc:docMk/>
            <pc:sldMk cId="3184642303" sldId="2147478578"/>
            <ac:spMk id="991" creationId="{B1D2093F-3171-8569-4828-B2AEB1E171B6}"/>
          </ac:spMkLst>
        </pc:spChg>
        <pc:spChg chg="add del mod">
          <ac:chgData name="Steiner Andreas 6206 ED" userId="e6377c33-a923-4f14-8587-531c474c7b48" providerId="ADAL" clId="{6ECD27E6-B224-41CD-B4E0-E297462320DD}" dt="2023-11-24T11:42:13.813" v="148717"/>
          <ac:spMkLst>
            <pc:docMk/>
            <pc:sldMk cId="3184642303" sldId="2147478578"/>
            <ac:spMk id="992" creationId="{CB5661E6-211B-35D2-CC3B-5BDA85CAC23C}"/>
          </ac:spMkLst>
        </pc:spChg>
        <pc:spChg chg="add del mod">
          <ac:chgData name="Steiner Andreas 6206 ED" userId="e6377c33-a923-4f14-8587-531c474c7b48" providerId="ADAL" clId="{6ECD27E6-B224-41CD-B4E0-E297462320DD}" dt="2023-11-24T11:42:16.195" v="148872"/>
          <ac:spMkLst>
            <pc:docMk/>
            <pc:sldMk cId="3184642303" sldId="2147478578"/>
            <ac:spMk id="993" creationId="{03CD97C6-3F54-5333-D7F3-5D123BE2C43C}"/>
          </ac:spMkLst>
        </pc:spChg>
        <pc:spChg chg="add del mod">
          <ac:chgData name="Steiner Andreas 6206 ED" userId="e6377c33-a923-4f14-8587-531c474c7b48" providerId="ADAL" clId="{6ECD27E6-B224-41CD-B4E0-E297462320DD}" dt="2023-11-24T11:42:18.290" v="149027"/>
          <ac:spMkLst>
            <pc:docMk/>
            <pc:sldMk cId="3184642303" sldId="2147478578"/>
            <ac:spMk id="994" creationId="{AF8833B8-A5E1-1887-28B1-AC71FCCCFB78}"/>
          </ac:spMkLst>
        </pc:spChg>
        <pc:spChg chg="add del mod">
          <ac:chgData name="Steiner Andreas 6206 ED" userId="e6377c33-a923-4f14-8587-531c474c7b48" providerId="ADAL" clId="{6ECD27E6-B224-41CD-B4E0-E297462320DD}" dt="2023-11-24T11:42:20.360" v="149182"/>
          <ac:spMkLst>
            <pc:docMk/>
            <pc:sldMk cId="3184642303" sldId="2147478578"/>
            <ac:spMk id="995" creationId="{1BC65054-A7C4-88BE-6DB3-D23D00D9F412}"/>
          </ac:spMkLst>
        </pc:spChg>
        <pc:spChg chg="add del mod">
          <ac:chgData name="Steiner Andreas 6206 ED" userId="e6377c33-a923-4f14-8587-531c474c7b48" providerId="ADAL" clId="{6ECD27E6-B224-41CD-B4E0-E297462320DD}" dt="2023-11-24T11:42:22.433" v="149337"/>
          <ac:spMkLst>
            <pc:docMk/>
            <pc:sldMk cId="3184642303" sldId="2147478578"/>
            <ac:spMk id="996" creationId="{1D8BB905-CFDC-1482-76FA-EA640B69ABA0}"/>
          </ac:spMkLst>
        </pc:spChg>
        <pc:spChg chg="add del mod">
          <ac:chgData name="Steiner Andreas 6206 ED" userId="e6377c33-a923-4f14-8587-531c474c7b48" providerId="ADAL" clId="{6ECD27E6-B224-41CD-B4E0-E297462320DD}" dt="2023-11-24T11:42:24.380" v="149492"/>
          <ac:spMkLst>
            <pc:docMk/>
            <pc:sldMk cId="3184642303" sldId="2147478578"/>
            <ac:spMk id="997" creationId="{B0E9A8D0-9831-6297-9C1D-5EF9D0ABD0DA}"/>
          </ac:spMkLst>
        </pc:spChg>
        <pc:spChg chg="add del mod">
          <ac:chgData name="Steiner Andreas 6206 ED" userId="e6377c33-a923-4f14-8587-531c474c7b48" providerId="ADAL" clId="{6ECD27E6-B224-41CD-B4E0-E297462320DD}" dt="2023-11-24T11:42:26.325" v="149647"/>
          <ac:spMkLst>
            <pc:docMk/>
            <pc:sldMk cId="3184642303" sldId="2147478578"/>
            <ac:spMk id="998" creationId="{0A8B6C01-35AA-7C83-97CA-DFF3DC641369}"/>
          </ac:spMkLst>
        </pc:spChg>
        <pc:spChg chg="add del mod">
          <ac:chgData name="Steiner Andreas 6206 ED" userId="e6377c33-a923-4f14-8587-531c474c7b48" providerId="ADAL" clId="{6ECD27E6-B224-41CD-B4E0-E297462320DD}" dt="2023-11-24T11:42:29.351" v="149802"/>
          <ac:spMkLst>
            <pc:docMk/>
            <pc:sldMk cId="3184642303" sldId="2147478578"/>
            <ac:spMk id="999" creationId="{9CF0BE5A-0697-EADE-C3CA-13AAEF799204}"/>
          </ac:spMkLst>
        </pc:spChg>
        <pc:spChg chg="add del mod">
          <ac:chgData name="Steiner Andreas 6206 ED" userId="e6377c33-a923-4f14-8587-531c474c7b48" providerId="ADAL" clId="{6ECD27E6-B224-41CD-B4E0-E297462320DD}" dt="2023-11-24T11:42:32.307" v="149957"/>
          <ac:spMkLst>
            <pc:docMk/>
            <pc:sldMk cId="3184642303" sldId="2147478578"/>
            <ac:spMk id="1000" creationId="{56A92B4E-D53F-6152-F397-83B5BE0FADC0}"/>
          </ac:spMkLst>
        </pc:spChg>
        <pc:spChg chg="add del mod">
          <ac:chgData name="Steiner Andreas 6206 ED" userId="e6377c33-a923-4f14-8587-531c474c7b48" providerId="ADAL" clId="{6ECD27E6-B224-41CD-B4E0-E297462320DD}" dt="2023-11-24T11:42:35.619" v="150112"/>
          <ac:spMkLst>
            <pc:docMk/>
            <pc:sldMk cId="3184642303" sldId="2147478578"/>
            <ac:spMk id="1001" creationId="{1D271E61-817D-6FEC-9B79-D1DC5735AA99}"/>
          </ac:spMkLst>
        </pc:spChg>
        <pc:spChg chg="add del mod">
          <ac:chgData name="Steiner Andreas 6206 ED" userId="e6377c33-a923-4f14-8587-531c474c7b48" providerId="ADAL" clId="{6ECD27E6-B224-41CD-B4E0-E297462320DD}" dt="2023-11-24T11:42:37.965" v="150267"/>
          <ac:spMkLst>
            <pc:docMk/>
            <pc:sldMk cId="3184642303" sldId="2147478578"/>
            <ac:spMk id="1002" creationId="{3438CAF6-53A0-0E6B-8C5B-237F2BCA3314}"/>
          </ac:spMkLst>
        </pc:spChg>
        <pc:spChg chg="add del mod">
          <ac:chgData name="Steiner Andreas 6206 ED" userId="e6377c33-a923-4f14-8587-531c474c7b48" providerId="ADAL" clId="{6ECD27E6-B224-41CD-B4E0-E297462320DD}" dt="2023-11-24T11:42:40.050" v="150422"/>
          <ac:spMkLst>
            <pc:docMk/>
            <pc:sldMk cId="3184642303" sldId="2147478578"/>
            <ac:spMk id="1003" creationId="{139A9C39-160C-960D-0217-FCA5A53809DE}"/>
          </ac:spMkLst>
        </pc:spChg>
        <pc:spChg chg="add del mod">
          <ac:chgData name="Steiner Andreas 6206 ED" userId="e6377c33-a923-4f14-8587-531c474c7b48" providerId="ADAL" clId="{6ECD27E6-B224-41CD-B4E0-E297462320DD}" dt="2023-11-24T11:42:42.115" v="150577"/>
          <ac:spMkLst>
            <pc:docMk/>
            <pc:sldMk cId="3184642303" sldId="2147478578"/>
            <ac:spMk id="1004" creationId="{48F1ED30-404E-D5A7-58D6-6B2DB6E0047C}"/>
          </ac:spMkLst>
        </pc:spChg>
        <pc:spChg chg="add del mod">
          <ac:chgData name="Steiner Andreas 6206 ED" userId="e6377c33-a923-4f14-8587-531c474c7b48" providerId="ADAL" clId="{6ECD27E6-B224-41CD-B4E0-E297462320DD}" dt="2023-11-24T11:42:44.219" v="150732"/>
          <ac:spMkLst>
            <pc:docMk/>
            <pc:sldMk cId="3184642303" sldId="2147478578"/>
            <ac:spMk id="1005" creationId="{48D8F14C-05A0-0068-2EEC-245805C09DDA}"/>
          </ac:spMkLst>
        </pc:spChg>
        <pc:spChg chg="add del mod">
          <ac:chgData name="Steiner Andreas 6206 ED" userId="e6377c33-a923-4f14-8587-531c474c7b48" providerId="ADAL" clId="{6ECD27E6-B224-41CD-B4E0-E297462320DD}" dt="2023-11-24T11:42:46.446" v="150887"/>
          <ac:spMkLst>
            <pc:docMk/>
            <pc:sldMk cId="3184642303" sldId="2147478578"/>
            <ac:spMk id="1006" creationId="{FD0F984A-C659-9661-4DC0-6E9DC151F148}"/>
          </ac:spMkLst>
        </pc:spChg>
        <pc:spChg chg="add del mod">
          <ac:chgData name="Steiner Andreas 6206 ED" userId="e6377c33-a923-4f14-8587-531c474c7b48" providerId="ADAL" clId="{6ECD27E6-B224-41CD-B4E0-E297462320DD}" dt="2023-11-24T11:42:48.712" v="151042"/>
          <ac:spMkLst>
            <pc:docMk/>
            <pc:sldMk cId="3184642303" sldId="2147478578"/>
            <ac:spMk id="1007" creationId="{D79DF28A-EBDB-A54D-4742-4840E7494BB1}"/>
          </ac:spMkLst>
        </pc:spChg>
        <pc:spChg chg="add del mod">
          <ac:chgData name="Steiner Andreas 6206 ED" userId="e6377c33-a923-4f14-8587-531c474c7b48" providerId="ADAL" clId="{6ECD27E6-B224-41CD-B4E0-E297462320DD}" dt="2023-11-24T11:42:50.925" v="151197"/>
          <ac:spMkLst>
            <pc:docMk/>
            <pc:sldMk cId="3184642303" sldId="2147478578"/>
            <ac:spMk id="1008" creationId="{7B05F6DD-CCF4-F5E1-77DC-BBF6479D878F}"/>
          </ac:spMkLst>
        </pc:spChg>
        <pc:spChg chg="add del mod">
          <ac:chgData name="Steiner Andreas 6206 ED" userId="e6377c33-a923-4f14-8587-531c474c7b48" providerId="ADAL" clId="{6ECD27E6-B224-41CD-B4E0-E297462320DD}" dt="2023-11-24T11:42:53.272" v="151352"/>
          <ac:spMkLst>
            <pc:docMk/>
            <pc:sldMk cId="3184642303" sldId="2147478578"/>
            <ac:spMk id="1009" creationId="{449928A1-4123-613B-D283-C5B048D92397}"/>
          </ac:spMkLst>
        </pc:spChg>
        <pc:spChg chg="add del mod">
          <ac:chgData name="Steiner Andreas 6206 ED" userId="e6377c33-a923-4f14-8587-531c474c7b48" providerId="ADAL" clId="{6ECD27E6-B224-41CD-B4E0-E297462320DD}" dt="2023-11-24T11:42:55.532" v="151507"/>
          <ac:spMkLst>
            <pc:docMk/>
            <pc:sldMk cId="3184642303" sldId="2147478578"/>
            <ac:spMk id="1010" creationId="{9058EFBB-6E4A-C10F-5663-09A8940C80C6}"/>
          </ac:spMkLst>
        </pc:spChg>
        <pc:spChg chg="add del mod">
          <ac:chgData name="Steiner Andreas 6206 ED" userId="e6377c33-a923-4f14-8587-531c474c7b48" providerId="ADAL" clId="{6ECD27E6-B224-41CD-B4E0-E297462320DD}" dt="2023-11-24T11:42:57.967" v="151662"/>
          <ac:spMkLst>
            <pc:docMk/>
            <pc:sldMk cId="3184642303" sldId="2147478578"/>
            <ac:spMk id="1011" creationId="{41DEEE01-9496-E55E-0132-73BFB57DBAA9}"/>
          </ac:spMkLst>
        </pc:spChg>
        <pc:spChg chg="add del mod">
          <ac:chgData name="Steiner Andreas 6206 ED" userId="e6377c33-a923-4f14-8587-531c474c7b48" providerId="ADAL" clId="{6ECD27E6-B224-41CD-B4E0-E297462320DD}" dt="2023-11-24T11:43:01.688" v="151817"/>
          <ac:spMkLst>
            <pc:docMk/>
            <pc:sldMk cId="3184642303" sldId="2147478578"/>
            <ac:spMk id="1012" creationId="{6EBDAE88-E7E1-5BF3-74F7-501BBB2EC06B}"/>
          </ac:spMkLst>
        </pc:spChg>
        <pc:spChg chg="add del mod">
          <ac:chgData name="Steiner Andreas 6206 ED" userId="e6377c33-a923-4f14-8587-531c474c7b48" providerId="ADAL" clId="{6ECD27E6-B224-41CD-B4E0-E297462320DD}" dt="2023-11-24T11:43:03.993" v="151972"/>
          <ac:spMkLst>
            <pc:docMk/>
            <pc:sldMk cId="3184642303" sldId="2147478578"/>
            <ac:spMk id="1013" creationId="{31ADAB74-4470-0E7B-7785-5351DFC9C701}"/>
          </ac:spMkLst>
        </pc:spChg>
        <pc:spChg chg="add del mod">
          <ac:chgData name="Steiner Andreas 6206 ED" userId="e6377c33-a923-4f14-8587-531c474c7b48" providerId="ADAL" clId="{6ECD27E6-B224-41CD-B4E0-E297462320DD}" dt="2023-11-24T11:43:06.229" v="152127"/>
          <ac:spMkLst>
            <pc:docMk/>
            <pc:sldMk cId="3184642303" sldId="2147478578"/>
            <ac:spMk id="1014" creationId="{DC87FFAB-A5A1-54DC-9430-AE52BBAE1DBD}"/>
          </ac:spMkLst>
        </pc:spChg>
        <pc:spChg chg="add del mod">
          <ac:chgData name="Steiner Andreas 6206 ED" userId="e6377c33-a923-4f14-8587-531c474c7b48" providerId="ADAL" clId="{6ECD27E6-B224-41CD-B4E0-E297462320DD}" dt="2023-11-24T11:43:08.329" v="152282"/>
          <ac:spMkLst>
            <pc:docMk/>
            <pc:sldMk cId="3184642303" sldId="2147478578"/>
            <ac:spMk id="1015" creationId="{B9175BCB-449F-5535-3728-22082365A17E}"/>
          </ac:spMkLst>
        </pc:spChg>
        <pc:spChg chg="add del mod">
          <ac:chgData name="Steiner Andreas 6206 ED" userId="e6377c33-a923-4f14-8587-531c474c7b48" providerId="ADAL" clId="{6ECD27E6-B224-41CD-B4E0-E297462320DD}" dt="2023-11-24T11:43:10.493" v="152437"/>
          <ac:spMkLst>
            <pc:docMk/>
            <pc:sldMk cId="3184642303" sldId="2147478578"/>
            <ac:spMk id="1016" creationId="{4A79CF57-DB14-9A25-19C8-722102E1F25E}"/>
          </ac:spMkLst>
        </pc:spChg>
        <pc:spChg chg="add del mod">
          <ac:chgData name="Steiner Andreas 6206 ED" userId="e6377c33-a923-4f14-8587-531c474c7b48" providerId="ADAL" clId="{6ECD27E6-B224-41CD-B4E0-E297462320DD}" dt="2023-11-24T11:43:12.694" v="152592"/>
          <ac:spMkLst>
            <pc:docMk/>
            <pc:sldMk cId="3184642303" sldId="2147478578"/>
            <ac:spMk id="1017" creationId="{4F6EB619-E1B8-B456-7BE6-5C621A77A5B8}"/>
          </ac:spMkLst>
        </pc:spChg>
        <pc:spChg chg="add del mod">
          <ac:chgData name="Steiner Andreas 6206 ED" userId="e6377c33-a923-4f14-8587-531c474c7b48" providerId="ADAL" clId="{6ECD27E6-B224-41CD-B4E0-E297462320DD}" dt="2023-11-24T11:43:15.004" v="152747"/>
          <ac:spMkLst>
            <pc:docMk/>
            <pc:sldMk cId="3184642303" sldId="2147478578"/>
            <ac:spMk id="1018" creationId="{037B513A-EC15-C3B1-5E42-057972A9F0CD}"/>
          </ac:spMkLst>
        </pc:spChg>
        <pc:spChg chg="add del mod">
          <ac:chgData name="Steiner Andreas 6206 ED" userId="e6377c33-a923-4f14-8587-531c474c7b48" providerId="ADAL" clId="{6ECD27E6-B224-41CD-B4E0-E297462320DD}" dt="2023-11-24T11:43:18.021" v="152902"/>
          <ac:spMkLst>
            <pc:docMk/>
            <pc:sldMk cId="3184642303" sldId="2147478578"/>
            <ac:spMk id="1019" creationId="{E3B8FE95-A41F-479A-A50A-DC08C6987B37}"/>
          </ac:spMkLst>
        </pc:spChg>
        <pc:spChg chg="add del mod">
          <ac:chgData name="Steiner Andreas 6206 ED" userId="e6377c33-a923-4f14-8587-531c474c7b48" providerId="ADAL" clId="{6ECD27E6-B224-41CD-B4E0-E297462320DD}" dt="2023-11-24T11:43:22.190" v="153057"/>
          <ac:spMkLst>
            <pc:docMk/>
            <pc:sldMk cId="3184642303" sldId="2147478578"/>
            <ac:spMk id="1020" creationId="{7ACC3EAA-1795-EDF6-7EFA-1746BF87A9BB}"/>
          </ac:spMkLst>
        </pc:spChg>
        <pc:spChg chg="add del mod">
          <ac:chgData name="Steiner Andreas 6206 ED" userId="e6377c33-a923-4f14-8587-531c474c7b48" providerId="ADAL" clId="{6ECD27E6-B224-41CD-B4E0-E297462320DD}" dt="2023-11-24T11:43:24.712" v="153212"/>
          <ac:spMkLst>
            <pc:docMk/>
            <pc:sldMk cId="3184642303" sldId="2147478578"/>
            <ac:spMk id="1021" creationId="{0C3C40D4-F661-9799-1B60-BAEA7ABD08C6}"/>
          </ac:spMkLst>
        </pc:spChg>
        <pc:spChg chg="add del mod">
          <ac:chgData name="Steiner Andreas 6206 ED" userId="e6377c33-a923-4f14-8587-531c474c7b48" providerId="ADAL" clId="{6ECD27E6-B224-41CD-B4E0-E297462320DD}" dt="2023-11-24T11:43:27.007" v="153367"/>
          <ac:spMkLst>
            <pc:docMk/>
            <pc:sldMk cId="3184642303" sldId="2147478578"/>
            <ac:spMk id="1022" creationId="{5E25B0B0-5E5F-BAF5-8ABE-D602A5BA5DFE}"/>
          </ac:spMkLst>
        </pc:spChg>
        <pc:spChg chg="add del mod">
          <ac:chgData name="Steiner Andreas 6206 ED" userId="e6377c33-a923-4f14-8587-531c474c7b48" providerId="ADAL" clId="{6ECD27E6-B224-41CD-B4E0-E297462320DD}" dt="2023-11-24T11:43:29.270" v="153522"/>
          <ac:spMkLst>
            <pc:docMk/>
            <pc:sldMk cId="3184642303" sldId="2147478578"/>
            <ac:spMk id="1023" creationId="{102A1797-AB67-3C22-DB50-C3A5093A5492}"/>
          </ac:spMkLst>
        </pc:spChg>
        <pc:spChg chg="add del mod">
          <ac:chgData name="Steiner Andreas 6206 ED" userId="e6377c33-a923-4f14-8587-531c474c7b48" providerId="ADAL" clId="{6ECD27E6-B224-41CD-B4E0-E297462320DD}" dt="2023-11-24T11:43:31.520" v="153677"/>
          <ac:spMkLst>
            <pc:docMk/>
            <pc:sldMk cId="3184642303" sldId="2147478578"/>
            <ac:spMk id="1024" creationId="{7C91863D-25FF-2C33-FFE2-87EA12B8F6F1}"/>
          </ac:spMkLst>
        </pc:spChg>
        <pc:spChg chg="add del mod">
          <ac:chgData name="Steiner Andreas 6206 ED" userId="e6377c33-a923-4f14-8587-531c474c7b48" providerId="ADAL" clId="{6ECD27E6-B224-41CD-B4E0-E297462320DD}" dt="2023-11-24T11:43:34.184" v="153832"/>
          <ac:spMkLst>
            <pc:docMk/>
            <pc:sldMk cId="3184642303" sldId="2147478578"/>
            <ac:spMk id="1025" creationId="{95EBC81E-D019-61A0-F337-F4CB34896685}"/>
          </ac:spMkLst>
        </pc:spChg>
        <pc:spChg chg="add del mod">
          <ac:chgData name="Steiner Andreas 6206 ED" userId="e6377c33-a923-4f14-8587-531c474c7b48" providerId="ADAL" clId="{6ECD27E6-B224-41CD-B4E0-E297462320DD}" dt="2023-11-24T11:43:36.400" v="153987"/>
          <ac:spMkLst>
            <pc:docMk/>
            <pc:sldMk cId="3184642303" sldId="2147478578"/>
            <ac:spMk id="1026" creationId="{FD952B92-98C6-F37D-FA51-35DBCD0958A2}"/>
          </ac:spMkLst>
        </pc:spChg>
        <pc:spChg chg="add del mod">
          <ac:chgData name="Steiner Andreas 6206 ED" userId="e6377c33-a923-4f14-8587-531c474c7b48" providerId="ADAL" clId="{6ECD27E6-B224-41CD-B4E0-E297462320DD}" dt="2023-11-24T11:43:38.598" v="154142"/>
          <ac:spMkLst>
            <pc:docMk/>
            <pc:sldMk cId="3184642303" sldId="2147478578"/>
            <ac:spMk id="1027" creationId="{4B66A9A5-9127-E063-E9F2-57F1404BBC4D}"/>
          </ac:spMkLst>
        </pc:spChg>
        <pc:spChg chg="add del mod">
          <ac:chgData name="Steiner Andreas 6206 ED" userId="e6377c33-a923-4f14-8587-531c474c7b48" providerId="ADAL" clId="{6ECD27E6-B224-41CD-B4E0-E297462320DD}" dt="2023-11-24T11:43:40.889" v="154297"/>
          <ac:spMkLst>
            <pc:docMk/>
            <pc:sldMk cId="3184642303" sldId="2147478578"/>
            <ac:spMk id="1028" creationId="{C2AAD029-E703-500F-FAAC-DCA0A2F0AF7E}"/>
          </ac:spMkLst>
        </pc:spChg>
        <pc:spChg chg="add del mod">
          <ac:chgData name="Steiner Andreas 6206 ED" userId="e6377c33-a923-4f14-8587-531c474c7b48" providerId="ADAL" clId="{6ECD27E6-B224-41CD-B4E0-E297462320DD}" dt="2023-11-24T11:43:43.870" v="154452"/>
          <ac:spMkLst>
            <pc:docMk/>
            <pc:sldMk cId="3184642303" sldId="2147478578"/>
            <ac:spMk id="1029" creationId="{297C2039-314D-FBE9-3C0B-E96C3DE97747}"/>
          </ac:spMkLst>
        </pc:spChg>
        <pc:spChg chg="add del mod">
          <ac:chgData name="Steiner Andreas 6206 ED" userId="e6377c33-a923-4f14-8587-531c474c7b48" providerId="ADAL" clId="{6ECD27E6-B224-41CD-B4E0-E297462320DD}" dt="2023-11-24T11:43:46.225" v="154607"/>
          <ac:spMkLst>
            <pc:docMk/>
            <pc:sldMk cId="3184642303" sldId="2147478578"/>
            <ac:spMk id="1030" creationId="{9AA3823C-7C74-2FC5-AC17-62873AC29AFE}"/>
          </ac:spMkLst>
        </pc:spChg>
        <pc:spChg chg="add del mod">
          <ac:chgData name="Steiner Andreas 6206 ED" userId="e6377c33-a923-4f14-8587-531c474c7b48" providerId="ADAL" clId="{6ECD27E6-B224-41CD-B4E0-E297462320DD}" dt="2023-11-24T11:43:48.516" v="154762"/>
          <ac:spMkLst>
            <pc:docMk/>
            <pc:sldMk cId="3184642303" sldId="2147478578"/>
            <ac:spMk id="1031" creationId="{708E930C-1855-CAD3-985E-E27D43DBCC96}"/>
          </ac:spMkLst>
        </pc:spChg>
        <pc:spChg chg="add del mod">
          <ac:chgData name="Steiner Andreas 6206 ED" userId="e6377c33-a923-4f14-8587-531c474c7b48" providerId="ADAL" clId="{6ECD27E6-B224-41CD-B4E0-E297462320DD}" dt="2023-11-24T11:43:50.585" v="154917"/>
          <ac:spMkLst>
            <pc:docMk/>
            <pc:sldMk cId="3184642303" sldId="2147478578"/>
            <ac:spMk id="1032" creationId="{93882E98-49E1-627B-7A00-D7BBFAA989C4}"/>
          </ac:spMkLst>
        </pc:spChg>
        <pc:spChg chg="add del mod">
          <ac:chgData name="Steiner Andreas 6206 ED" userId="e6377c33-a923-4f14-8587-531c474c7b48" providerId="ADAL" clId="{6ECD27E6-B224-41CD-B4E0-E297462320DD}" dt="2023-11-24T11:43:52.780" v="155072"/>
          <ac:spMkLst>
            <pc:docMk/>
            <pc:sldMk cId="3184642303" sldId="2147478578"/>
            <ac:spMk id="1033" creationId="{9F8DAD15-E33E-D243-C518-3EDB8841DF04}"/>
          </ac:spMkLst>
        </pc:spChg>
        <pc:spChg chg="add del mod">
          <ac:chgData name="Steiner Andreas 6206 ED" userId="e6377c33-a923-4f14-8587-531c474c7b48" providerId="ADAL" clId="{6ECD27E6-B224-41CD-B4E0-E297462320DD}" dt="2023-11-24T11:43:55.720" v="155227"/>
          <ac:spMkLst>
            <pc:docMk/>
            <pc:sldMk cId="3184642303" sldId="2147478578"/>
            <ac:spMk id="1034" creationId="{EB085DAA-7824-3C25-6C6A-B098602E658C}"/>
          </ac:spMkLst>
        </pc:spChg>
        <pc:spChg chg="add del mod">
          <ac:chgData name="Steiner Andreas 6206 ED" userId="e6377c33-a923-4f14-8587-531c474c7b48" providerId="ADAL" clId="{6ECD27E6-B224-41CD-B4E0-E297462320DD}" dt="2023-11-24T11:43:58.111" v="155382"/>
          <ac:spMkLst>
            <pc:docMk/>
            <pc:sldMk cId="3184642303" sldId="2147478578"/>
            <ac:spMk id="1035" creationId="{258972F7-DDC6-D420-9EE7-65D2EE345CF9}"/>
          </ac:spMkLst>
        </pc:spChg>
        <pc:spChg chg="add del mod">
          <ac:chgData name="Steiner Andreas 6206 ED" userId="e6377c33-a923-4f14-8587-531c474c7b48" providerId="ADAL" clId="{6ECD27E6-B224-41CD-B4E0-E297462320DD}" dt="2023-11-24T11:44:00.233" v="155537"/>
          <ac:spMkLst>
            <pc:docMk/>
            <pc:sldMk cId="3184642303" sldId="2147478578"/>
            <ac:spMk id="1036" creationId="{9E3B9519-942E-1823-14D1-49F06249EA55}"/>
          </ac:spMkLst>
        </pc:spChg>
        <pc:spChg chg="add del mod">
          <ac:chgData name="Steiner Andreas 6206 ED" userId="e6377c33-a923-4f14-8587-531c474c7b48" providerId="ADAL" clId="{6ECD27E6-B224-41CD-B4E0-E297462320DD}" dt="2023-11-24T11:44:02.245" v="155692"/>
          <ac:spMkLst>
            <pc:docMk/>
            <pc:sldMk cId="3184642303" sldId="2147478578"/>
            <ac:spMk id="1037" creationId="{94B559BB-3C27-A4D2-2B53-E5D9410CEA58}"/>
          </ac:spMkLst>
        </pc:spChg>
        <pc:spChg chg="add del mod">
          <ac:chgData name="Steiner Andreas 6206 ED" userId="e6377c33-a923-4f14-8587-531c474c7b48" providerId="ADAL" clId="{6ECD27E6-B224-41CD-B4E0-E297462320DD}" dt="2023-11-24T11:44:04.276" v="155847"/>
          <ac:spMkLst>
            <pc:docMk/>
            <pc:sldMk cId="3184642303" sldId="2147478578"/>
            <ac:spMk id="1038" creationId="{6EE1ED47-9718-994C-8D28-E1632E88028B}"/>
          </ac:spMkLst>
        </pc:spChg>
        <pc:spChg chg="add del mod">
          <ac:chgData name="Steiner Andreas 6206 ED" userId="e6377c33-a923-4f14-8587-531c474c7b48" providerId="ADAL" clId="{6ECD27E6-B224-41CD-B4E0-E297462320DD}" dt="2023-11-24T11:44:06.293" v="156002"/>
          <ac:spMkLst>
            <pc:docMk/>
            <pc:sldMk cId="3184642303" sldId="2147478578"/>
            <ac:spMk id="1039" creationId="{48FE4058-970A-6427-DD1F-92BAC7868812}"/>
          </ac:spMkLst>
        </pc:spChg>
        <pc:spChg chg="add del mod">
          <ac:chgData name="Steiner Andreas 6206 ED" userId="e6377c33-a923-4f14-8587-531c474c7b48" providerId="ADAL" clId="{6ECD27E6-B224-41CD-B4E0-E297462320DD}" dt="2023-11-24T11:44:08.476" v="156157"/>
          <ac:spMkLst>
            <pc:docMk/>
            <pc:sldMk cId="3184642303" sldId="2147478578"/>
            <ac:spMk id="1040" creationId="{5C0D56F2-4EF8-D8C5-A3F2-604B99B05B16}"/>
          </ac:spMkLst>
        </pc:spChg>
        <pc:spChg chg="add del mod">
          <ac:chgData name="Steiner Andreas 6206 ED" userId="e6377c33-a923-4f14-8587-531c474c7b48" providerId="ADAL" clId="{6ECD27E6-B224-41CD-B4E0-E297462320DD}" dt="2023-11-24T11:44:10.539" v="156312"/>
          <ac:spMkLst>
            <pc:docMk/>
            <pc:sldMk cId="3184642303" sldId="2147478578"/>
            <ac:spMk id="1041" creationId="{B98214BB-F802-5F93-41B8-4C54CB0B65BE}"/>
          </ac:spMkLst>
        </pc:spChg>
        <pc:spChg chg="add del mod">
          <ac:chgData name="Steiner Andreas 6206 ED" userId="e6377c33-a923-4f14-8587-531c474c7b48" providerId="ADAL" clId="{6ECD27E6-B224-41CD-B4E0-E297462320DD}" dt="2023-11-24T11:44:12.546" v="156467"/>
          <ac:spMkLst>
            <pc:docMk/>
            <pc:sldMk cId="3184642303" sldId="2147478578"/>
            <ac:spMk id="1042" creationId="{9D9CB2B1-6B1B-4558-8EEB-65811F36CFE3}"/>
          </ac:spMkLst>
        </pc:spChg>
        <pc:spChg chg="add del mod">
          <ac:chgData name="Steiner Andreas 6206 ED" userId="e6377c33-a923-4f14-8587-531c474c7b48" providerId="ADAL" clId="{6ECD27E6-B224-41CD-B4E0-E297462320DD}" dt="2023-11-24T11:44:14.524" v="156622"/>
          <ac:spMkLst>
            <pc:docMk/>
            <pc:sldMk cId="3184642303" sldId="2147478578"/>
            <ac:spMk id="1043" creationId="{EF1FE687-A147-A153-D4B2-14ED7C987D55}"/>
          </ac:spMkLst>
        </pc:spChg>
        <pc:spChg chg="add del mod">
          <ac:chgData name="Steiner Andreas 6206 ED" userId="e6377c33-a923-4f14-8587-531c474c7b48" providerId="ADAL" clId="{6ECD27E6-B224-41CD-B4E0-E297462320DD}" dt="2023-11-24T11:44:16.516" v="156777"/>
          <ac:spMkLst>
            <pc:docMk/>
            <pc:sldMk cId="3184642303" sldId="2147478578"/>
            <ac:spMk id="1044" creationId="{018F5922-C8F8-6330-222E-56D8F62EF338}"/>
          </ac:spMkLst>
        </pc:spChg>
        <pc:spChg chg="add del mod">
          <ac:chgData name="Steiner Andreas 6206 ED" userId="e6377c33-a923-4f14-8587-531c474c7b48" providerId="ADAL" clId="{6ECD27E6-B224-41CD-B4E0-E297462320DD}" dt="2023-11-24T11:44:18.604" v="156932"/>
          <ac:spMkLst>
            <pc:docMk/>
            <pc:sldMk cId="3184642303" sldId="2147478578"/>
            <ac:spMk id="1045" creationId="{6648D4FB-A54C-DCBE-C967-B16B4F7109D1}"/>
          </ac:spMkLst>
        </pc:spChg>
        <pc:spChg chg="add del mod">
          <ac:chgData name="Steiner Andreas 6206 ED" userId="e6377c33-a923-4f14-8587-531c474c7b48" providerId="ADAL" clId="{6ECD27E6-B224-41CD-B4E0-E297462320DD}" dt="2023-11-24T11:44:20.741" v="157087"/>
          <ac:spMkLst>
            <pc:docMk/>
            <pc:sldMk cId="3184642303" sldId="2147478578"/>
            <ac:spMk id="1046" creationId="{728210A4-B26C-F7B5-DA48-9D24AA2E2A70}"/>
          </ac:spMkLst>
        </pc:spChg>
        <pc:spChg chg="add del mod">
          <ac:chgData name="Steiner Andreas 6206 ED" userId="e6377c33-a923-4f14-8587-531c474c7b48" providerId="ADAL" clId="{6ECD27E6-B224-41CD-B4E0-E297462320DD}" dt="2023-11-24T11:44:23.046" v="157242"/>
          <ac:spMkLst>
            <pc:docMk/>
            <pc:sldMk cId="3184642303" sldId="2147478578"/>
            <ac:spMk id="1047" creationId="{422FA53B-10F9-B4A4-74D6-8155128CAFFF}"/>
          </ac:spMkLst>
        </pc:spChg>
        <pc:spChg chg="add del mod">
          <ac:chgData name="Steiner Andreas 6206 ED" userId="e6377c33-a923-4f14-8587-531c474c7b48" providerId="ADAL" clId="{6ECD27E6-B224-41CD-B4E0-E297462320DD}" dt="2023-11-24T11:44:25.218" v="157397"/>
          <ac:spMkLst>
            <pc:docMk/>
            <pc:sldMk cId="3184642303" sldId="2147478578"/>
            <ac:spMk id="1048" creationId="{5E43A594-98D6-0A95-CAB8-D39CE37E8330}"/>
          </ac:spMkLst>
        </pc:spChg>
        <pc:spChg chg="add del mod">
          <ac:chgData name="Steiner Andreas 6206 ED" userId="e6377c33-a923-4f14-8587-531c474c7b48" providerId="ADAL" clId="{6ECD27E6-B224-41CD-B4E0-E297462320DD}" dt="2023-11-24T11:44:30.623" v="157552"/>
          <ac:spMkLst>
            <pc:docMk/>
            <pc:sldMk cId="3184642303" sldId="2147478578"/>
            <ac:spMk id="1049" creationId="{5A67E585-656D-90E9-8B2C-9D126F287224}"/>
          </ac:spMkLst>
        </pc:spChg>
        <pc:spChg chg="add mod">
          <ac:chgData name="Steiner Andreas 6206 ED" userId="e6377c33-a923-4f14-8587-531c474c7b48" providerId="ADAL" clId="{6ECD27E6-B224-41CD-B4E0-E297462320DD}" dt="2023-11-24T11:44:30.625" v="157553"/>
          <ac:spMkLst>
            <pc:docMk/>
            <pc:sldMk cId="3184642303" sldId="2147478578"/>
            <ac:spMk id="1050" creationId="{AAAB6866-3EF7-3C02-74B4-AB95305DD074}"/>
          </ac:spMkLst>
        </pc:spChg>
      </pc:sldChg>
      <pc:sldChg chg="addSp delSp modSp mod">
        <pc:chgData name="Steiner Andreas 6206 ED" userId="e6377c33-a923-4f14-8587-531c474c7b48" providerId="ADAL" clId="{6ECD27E6-B224-41CD-B4E0-E297462320DD}" dt="2023-11-24T11:44:30.528" v="157543"/>
        <pc:sldMkLst>
          <pc:docMk/>
          <pc:sldMk cId="43921188" sldId="2147478579"/>
        </pc:sldMkLst>
        <pc:spChg chg="mod">
          <ac:chgData name="Steiner Andreas 6206 ED" userId="e6377c33-a923-4f14-8587-531c474c7b48" providerId="ADAL" clId="{6ECD27E6-B224-41CD-B4E0-E297462320DD}" dt="2023-11-24T11:44:30.524" v="157539" actId="20577"/>
          <ac:spMkLst>
            <pc:docMk/>
            <pc:sldMk cId="43921188" sldId="2147478579"/>
            <ac:spMk id="3" creationId="{94625422-E791-16A2-58EC-31B35811A76E}"/>
          </ac:spMkLst>
        </pc:spChg>
        <pc:spChg chg="del">
          <ac:chgData name="Steiner Andreas 6206 ED" userId="e6377c33-a923-4f14-8587-531c474c7b48" providerId="ADAL" clId="{6ECD27E6-B224-41CD-B4E0-E297462320DD}" dt="2023-11-23T19:49:53.429" v="31"/>
          <ac:spMkLst>
            <pc:docMk/>
            <pc:sldMk cId="43921188" sldId="2147478579"/>
            <ac:spMk id="5" creationId="{F2F3BD0F-2E61-692E-67EB-8189307D5BCD}"/>
          </ac:spMkLst>
        </pc:spChg>
        <pc:spChg chg="add del mod">
          <ac:chgData name="Steiner Andreas 6206 ED" userId="e6377c33-a923-4f14-8587-531c474c7b48" providerId="ADAL" clId="{6ECD27E6-B224-41CD-B4E0-E297462320DD}" dt="2023-11-23T19:49:53.431" v="34"/>
          <ac:spMkLst>
            <pc:docMk/>
            <pc:sldMk cId="43921188" sldId="2147478579"/>
            <ac:spMk id="7" creationId="{06AE9559-F173-AB60-7771-FA67AD8A7809}"/>
          </ac:spMkLst>
        </pc:spChg>
        <pc:spChg chg="add del mod">
          <ac:chgData name="Steiner Andreas 6206 ED" userId="e6377c33-a923-4f14-8587-531c474c7b48" providerId="ADAL" clId="{6ECD27E6-B224-41CD-B4E0-E297462320DD}" dt="2023-11-23T19:49:54.355" v="217"/>
          <ac:spMkLst>
            <pc:docMk/>
            <pc:sldMk cId="43921188" sldId="2147478579"/>
            <ac:spMk id="9" creationId="{69D55A99-6EA6-68AF-4EAE-7BDB0972D60B}"/>
          </ac:spMkLst>
        </pc:spChg>
        <pc:spChg chg="add del mod">
          <ac:chgData name="Steiner Andreas 6206 ED" userId="e6377c33-a923-4f14-8587-531c474c7b48" providerId="ADAL" clId="{6ECD27E6-B224-41CD-B4E0-E297462320DD}" dt="2023-11-23T19:50:25.095" v="372"/>
          <ac:spMkLst>
            <pc:docMk/>
            <pc:sldMk cId="43921188" sldId="2147478579"/>
            <ac:spMk id="10" creationId="{CD44E112-A58F-1180-7D48-90B054D6ECF6}"/>
          </ac:spMkLst>
        </pc:spChg>
        <pc:spChg chg="add del mod">
          <ac:chgData name="Steiner Andreas 6206 ED" userId="e6377c33-a923-4f14-8587-531c474c7b48" providerId="ADAL" clId="{6ECD27E6-B224-41CD-B4E0-E297462320DD}" dt="2023-11-23T19:50:34.908" v="527"/>
          <ac:spMkLst>
            <pc:docMk/>
            <pc:sldMk cId="43921188" sldId="2147478579"/>
            <ac:spMk id="11" creationId="{8C968526-A265-CA0E-AC2F-3C2A8AC25E8B}"/>
          </ac:spMkLst>
        </pc:spChg>
        <pc:spChg chg="add del mod">
          <ac:chgData name="Steiner Andreas 6206 ED" userId="e6377c33-a923-4f14-8587-531c474c7b48" providerId="ADAL" clId="{6ECD27E6-B224-41CD-B4E0-E297462320DD}" dt="2023-11-23T19:50:46.576" v="682"/>
          <ac:spMkLst>
            <pc:docMk/>
            <pc:sldMk cId="43921188" sldId="2147478579"/>
            <ac:spMk id="12" creationId="{0959C31F-15FE-4E46-7FCB-F1B3901451ED}"/>
          </ac:spMkLst>
        </pc:spChg>
        <pc:spChg chg="add del mod">
          <ac:chgData name="Steiner Andreas 6206 ED" userId="e6377c33-a923-4f14-8587-531c474c7b48" providerId="ADAL" clId="{6ECD27E6-B224-41CD-B4E0-E297462320DD}" dt="2023-11-23T19:50:58.280" v="837"/>
          <ac:spMkLst>
            <pc:docMk/>
            <pc:sldMk cId="43921188" sldId="2147478579"/>
            <ac:spMk id="13" creationId="{FC43A7C3-ADC3-8D66-7005-BEE78BB1CDC1}"/>
          </ac:spMkLst>
        </pc:spChg>
        <pc:spChg chg="add del mod">
          <ac:chgData name="Steiner Andreas 6206 ED" userId="e6377c33-a923-4f14-8587-531c474c7b48" providerId="ADAL" clId="{6ECD27E6-B224-41CD-B4E0-E297462320DD}" dt="2023-11-23T19:51:08.966" v="992"/>
          <ac:spMkLst>
            <pc:docMk/>
            <pc:sldMk cId="43921188" sldId="2147478579"/>
            <ac:spMk id="14" creationId="{DE6DE42C-F52A-4889-417C-566CA76029FD}"/>
          </ac:spMkLst>
        </pc:spChg>
        <pc:spChg chg="add del mod">
          <ac:chgData name="Steiner Andreas 6206 ED" userId="e6377c33-a923-4f14-8587-531c474c7b48" providerId="ADAL" clId="{6ECD27E6-B224-41CD-B4E0-E297462320DD}" dt="2023-11-23T19:51:19.946" v="1147"/>
          <ac:spMkLst>
            <pc:docMk/>
            <pc:sldMk cId="43921188" sldId="2147478579"/>
            <ac:spMk id="15" creationId="{09DE1DD4-2EF7-1D82-059F-21378AEB8421}"/>
          </ac:spMkLst>
        </pc:spChg>
        <pc:spChg chg="add del mod">
          <ac:chgData name="Steiner Andreas 6206 ED" userId="e6377c33-a923-4f14-8587-531c474c7b48" providerId="ADAL" clId="{6ECD27E6-B224-41CD-B4E0-E297462320DD}" dt="2023-11-23T19:51:31.462" v="1302"/>
          <ac:spMkLst>
            <pc:docMk/>
            <pc:sldMk cId="43921188" sldId="2147478579"/>
            <ac:spMk id="16" creationId="{0841B612-B008-C684-9867-DCE2EE375578}"/>
          </ac:spMkLst>
        </pc:spChg>
        <pc:spChg chg="add del mod">
          <ac:chgData name="Steiner Andreas 6206 ED" userId="e6377c33-a923-4f14-8587-531c474c7b48" providerId="ADAL" clId="{6ECD27E6-B224-41CD-B4E0-E297462320DD}" dt="2023-11-23T19:51:42.074" v="1457"/>
          <ac:spMkLst>
            <pc:docMk/>
            <pc:sldMk cId="43921188" sldId="2147478579"/>
            <ac:spMk id="17" creationId="{D50B8753-8957-2A1E-4101-B15992088830}"/>
          </ac:spMkLst>
        </pc:spChg>
        <pc:spChg chg="add del mod">
          <ac:chgData name="Steiner Andreas 6206 ED" userId="e6377c33-a923-4f14-8587-531c474c7b48" providerId="ADAL" clId="{6ECD27E6-B224-41CD-B4E0-E297462320DD}" dt="2023-11-23T19:51:53.494" v="1612"/>
          <ac:spMkLst>
            <pc:docMk/>
            <pc:sldMk cId="43921188" sldId="2147478579"/>
            <ac:spMk id="18" creationId="{EAD045B1-190E-09E4-0EB4-FD3AC174150B}"/>
          </ac:spMkLst>
        </pc:spChg>
        <pc:spChg chg="add del mod">
          <ac:chgData name="Steiner Andreas 6206 ED" userId="e6377c33-a923-4f14-8587-531c474c7b48" providerId="ADAL" clId="{6ECD27E6-B224-41CD-B4E0-E297462320DD}" dt="2023-11-23T19:52:05.076" v="1767"/>
          <ac:spMkLst>
            <pc:docMk/>
            <pc:sldMk cId="43921188" sldId="2147478579"/>
            <ac:spMk id="19" creationId="{D37B27D3-8A99-7246-CE21-13419693503F}"/>
          </ac:spMkLst>
        </pc:spChg>
        <pc:spChg chg="add del mod">
          <ac:chgData name="Steiner Andreas 6206 ED" userId="e6377c33-a923-4f14-8587-531c474c7b48" providerId="ADAL" clId="{6ECD27E6-B224-41CD-B4E0-E297462320DD}" dt="2023-11-23T19:52:16.766" v="1922"/>
          <ac:spMkLst>
            <pc:docMk/>
            <pc:sldMk cId="43921188" sldId="2147478579"/>
            <ac:spMk id="20" creationId="{6582FA2E-C097-779E-7280-5915C16E400A}"/>
          </ac:spMkLst>
        </pc:spChg>
        <pc:spChg chg="add del mod">
          <ac:chgData name="Steiner Andreas 6206 ED" userId="e6377c33-a923-4f14-8587-531c474c7b48" providerId="ADAL" clId="{6ECD27E6-B224-41CD-B4E0-E297462320DD}" dt="2023-11-23T19:52:28.469" v="2077"/>
          <ac:spMkLst>
            <pc:docMk/>
            <pc:sldMk cId="43921188" sldId="2147478579"/>
            <ac:spMk id="21" creationId="{616D9C13-8B10-0656-070C-47D0EDAD7763}"/>
          </ac:spMkLst>
        </pc:spChg>
        <pc:spChg chg="add del mod">
          <ac:chgData name="Steiner Andreas 6206 ED" userId="e6377c33-a923-4f14-8587-531c474c7b48" providerId="ADAL" clId="{6ECD27E6-B224-41CD-B4E0-E297462320DD}" dt="2023-11-23T19:52:40.150" v="2232"/>
          <ac:spMkLst>
            <pc:docMk/>
            <pc:sldMk cId="43921188" sldId="2147478579"/>
            <ac:spMk id="22" creationId="{BC0142B0-AE96-C2AF-15D9-40BB743BAF4A}"/>
          </ac:spMkLst>
        </pc:spChg>
        <pc:spChg chg="add del mod">
          <ac:chgData name="Steiner Andreas 6206 ED" userId="e6377c33-a923-4f14-8587-531c474c7b48" providerId="ADAL" clId="{6ECD27E6-B224-41CD-B4E0-E297462320DD}" dt="2023-11-23T19:52:51.606" v="2387"/>
          <ac:spMkLst>
            <pc:docMk/>
            <pc:sldMk cId="43921188" sldId="2147478579"/>
            <ac:spMk id="23" creationId="{16992F1A-62D5-885C-BC8E-A1A78BA8B6F0}"/>
          </ac:spMkLst>
        </pc:spChg>
        <pc:spChg chg="add del mod">
          <ac:chgData name="Steiner Andreas 6206 ED" userId="e6377c33-a923-4f14-8587-531c474c7b48" providerId="ADAL" clId="{6ECD27E6-B224-41CD-B4E0-E297462320DD}" dt="2023-11-23T19:53:03.216" v="2542"/>
          <ac:spMkLst>
            <pc:docMk/>
            <pc:sldMk cId="43921188" sldId="2147478579"/>
            <ac:spMk id="24" creationId="{A32696D2-5909-26ED-DE00-C31B978D9251}"/>
          </ac:spMkLst>
        </pc:spChg>
        <pc:spChg chg="add del mod">
          <ac:chgData name="Steiner Andreas 6206 ED" userId="e6377c33-a923-4f14-8587-531c474c7b48" providerId="ADAL" clId="{6ECD27E6-B224-41CD-B4E0-E297462320DD}" dt="2023-11-23T19:53:14.963" v="2697"/>
          <ac:spMkLst>
            <pc:docMk/>
            <pc:sldMk cId="43921188" sldId="2147478579"/>
            <ac:spMk id="25" creationId="{01522E75-CACC-77DB-CAB6-F4E798A4A1AD}"/>
          </ac:spMkLst>
        </pc:spChg>
        <pc:spChg chg="add del mod">
          <ac:chgData name="Steiner Andreas 6206 ED" userId="e6377c33-a923-4f14-8587-531c474c7b48" providerId="ADAL" clId="{6ECD27E6-B224-41CD-B4E0-E297462320DD}" dt="2023-11-23T19:53:26.641" v="2852"/>
          <ac:spMkLst>
            <pc:docMk/>
            <pc:sldMk cId="43921188" sldId="2147478579"/>
            <ac:spMk id="26" creationId="{3BF3634F-2FEA-AE1F-6643-F26F14D52D9B}"/>
          </ac:spMkLst>
        </pc:spChg>
        <pc:spChg chg="add del mod">
          <ac:chgData name="Steiner Andreas 6206 ED" userId="e6377c33-a923-4f14-8587-531c474c7b48" providerId="ADAL" clId="{6ECD27E6-B224-41CD-B4E0-E297462320DD}" dt="2023-11-23T19:53:38.286" v="3007"/>
          <ac:spMkLst>
            <pc:docMk/>
            <pc:sldMk cId="43921188" sldId="2147478579"/>
            <ac:spMk id="27" creationId="{14E2C75E-D4E6-D347-910C-762893649A37}"/>
          </ac:spMkLst>
        </pc:spChg>
        <pc:spChg chg="add del mod">
          <ac:chgData name="Steiner Andreas 6206 ED" userId="e6377c33-a923-4f14-8587-531c474c7b48" providerId="ADAL" clId="{6ECD27E6-B224-41CD-B4E0-E297462320DD}" dt="2023-11-23T19:53:49.959" v="3162"/>
          <ac:spMkLst>
            <pc:docMk/>
            <pc:sldMk cId="43921188" sldId="2147478579"/>
            <ac:spMk id="28" creationId="{4A60D472-1C87-C1E8-6BA0-7CA794DCCD7D}"/>
          </ac:spMkLst>
        </pc:spChg>
        <pc:spChg chg="add del mod">
          <ac:chgData name="Steiner Andreas 6206 ED" userId="e6377c33-a923-4f14-8587-531c474c7b48" providerId="ADAL" clId="{6ECD27E6-B224-41CD-B4E0-E297462320DD}" dt="2023-11-23T19:54:01.639" v="3317"/>
          <ac:spMkLst>
            <pc:docMk/>
            <pc:sldMk cId="43921188" sldId="2147478579"/>
            <ac:spMk id="29" creationId="{10F53440-4F9D-98BA-01C4-3C637554E255}"/>
          </ac:spMkLst>
        </pc:spChg>
        <pc:spChg chg="add del mod">
          <ac:chgData name="Steiner Andreas 6206 ED" userId="e6377c33-a923-4f14-8587-531c474c7b48" providerId="ADAL" clId="{6ECD27E6-B224-41CD-B4E0-E297462320DD}" dt="2023-11-23T19:54:13.323" v="3472"/>
          <ac:spMkLst>
            <pc:docMk/>
            <pc:sldMk cId="43921188" sldId="2147478579"/>
            <ac:spMk id="30" creationId="{59055045-9658-2684-9EAC-EE13AE446EFB}"/>
          </ac:spMkLst>
        </pc:spChg>
        <pc:spChg chg="add del mod">
          <ac:chgData name="Steiner Andreas 6206 ED" userId="e6377c33-a923-4f14-8587-531c474c7b48" providerId="ADAL" clId="{6ECD27E6-B224-41CD-B4E0-E297462320DD}" dt="2023-11-23T19:54:24.985" v="3627"/>
          <ac:spMkLst>
            <pc:docMk/>
            <pc:sldMk cId="43921188" sldId="2147478579"/>
            <ac:spMk id="31" creationId="{B504195E-442E-46CF-6B9A-513D509BDF70}"/>
          </ac:spMkLst>
        </pc:spChg>
        <pc:spChg chg="add del mod">
          <ac:chgData name="Steiner Andreas 6206 ED" userId="e6377c33-a923-4f14-8587-531c474c7b48" providerId="ADAL" clId="{6ECD27E6-B224-41CD-B4E0-E297462320DD}" dt="2023-11-23T19:54:36.693" v="3782"/>
          <ac:spMkLst>
            <pc:docMk/>
            <pc:sldMk cId="43921188" sldId="2147478579"/>
            <ac:spMk id="32" creationId="{5BCCB35A-56A7-2F13-F0D7-4BC4F8374CB6}"/>
          </ac:spMkLst>
        </pc:spChg>
        <pc:spChg chg="add del mod">
          <ac:chgData name="Steiner Andreas 6206 ED" userId="e6377c33-a923-4f14-8587-531c474c7b48" providerId="ADAL" clId="{6ECD27E6-B224-41CD-B4E0-E297462320DD}" dt="2023-11-23T19:54:48.092" v="3937"/>
          <ac:spMkLst>
            <pc:docMk/>
            <pc:sldMk cId="43921188" sldId="2147478579"/>
            <ac:spMk id="33" creationId="{E0F91C26-5151-D532-BBC1-24850BFEBC0E}"/>
          </ac:spMkLst>
        </pc:spChg>
        <pc:spChg chg="add del mod">
          <ac:chgData name="Steiner Andreas 6206 ED" userId="e6377c33-a923-4f14-8587-531c474c7b48" providerId="ADAL" clId="{6ECD27E6-B224-41CD-B4E0-E297462320DD}" dt="2023-11-23T19:54:59.670" v="4092"/>
          <ac:spMkLst>
            <pc:docMk/>
            <pc:sldMk cId="43921188" sldId="2147478579"/>
            <ac:spMk id="34" creationId="{6D08516B-5BF0-3982-4586-8835CCEC0057}"/>
          </ac:spMkLst>
        </pc:spChg>
        <pc:spChg chg="add del mod">
          <ac:chgData name="Steiner Andreas 6206 ED" userId="e6377c33-a923-4f14-8587-531c474c7b48" providerId="ADAL" clId="{6ECD27E6-B224-41CD-B4E0-E297462320DD}" dt="2023-11-23T19:55:11.412" v="4247"/>
          <ac:spMkLst>
            <pc:docMk/>
            <pc:sldMk cId="43921188" sldId="2147478579"/>
            <ac:spMk id="35" creationId="{5C5C700C-33A8-7DCA-53A2-66359C4CB4F5}"/>
          </ac:spMkLst>
        </pc:spChg>
        <pc:spChg chg="add del mod">
          <ac:chgData name="Steiner Andreas 6206 ED" userId="e6377c33-a923-4f14-8587-531c474c7b48" providerId="ADAL" clId="{6ECD27E6-B224-41CD-B4E0-E297462320DD}" dt="2023-11-23T19:55:23.093" v="4402"/>
          <ac:spMkLst>
            <pc:docMk/>
            <pc:sldMk cId="43921188" sldId="2147478579"/>
            <ac:spMk id="36" creationId="{66BA0F21-B03D-B959-2B69-9E9EC90B74FA}"/>
          </ac:spMkLst>
        </pc:spChg>
        <pc:spChg chg="add del mod">
          <ac:chgData name="Steiner Andreas 6206 ED" userId="e6377c33-a923-4f14-8587-531c474c7b48" providerId="ADAL" clId="{6ECD27E6-B224-41CD-B4E0-E297462320DD}" dt="2023-11-23T19:55:34.729" v="4557"/>
          <ac:spMkLst>
            <pc:docMk/>
            <pc:sldMk cId="43921188" sldId="2147478579"/>
            <ac:spMk id="37" creationId="{ED518BC3-136C-FB92-22FF-276F4F8C0EDB}"/>
          </ac:spMkLst>
        </pc:spChg>
        <pc:spChg chg="add del mod">
          <ac:chgData name="Steiner Andreas 6206 ED" userId="e6377c33-a923-4f14-8587-531c474c7b48" providerId="ADAL" clId="{6ECD27E6-B224-41CD-B4E0-E297462320DD}" dt="2023-11-23T19:55:46.131" v="4712"/>
          <ac:spMkLst>
            <pc:docMk/>
            <pc:sldMk cId="43921188" sldId="2147478579"/>
            <ac:spMk id="38" creationId="{7E7D01F3-4E5D-7188-B2CB-23A2E383D627}"/>
          </ac:spMkLst>
        </pc:spChg>
        <pc:spChg chg="add del mod">
          <ac:chgData name="Steiner Andreas 6206 ED" userId="e6377c33-a923-4f14-8587-531c474c7b48" providerId="ADAL" clId="{6ECD27E6-B224-41CD-B4E0-E297462320DD}" dt="2023-11-23T19:55:57.729" v="4867"/>
          <ac:spMkLst>
            <pc:docMk/>
            <pc:sldMk cId="43921188" sldId="2147478579"/>
            <ac:spMk id="39" creationId="{F51CF7F8-4ADB-4160-FB68-85061ED4E631}"/>
          </ac:spMkLst>
        </pc:spChg>
        <pc:spChg chg="add del mod">
          <ac:chgData name="Steiner Andreas 6206 ED" userId="e6377c33-a923-4f14-8587-531c474c7b48" providerId="ADAL" clId="{6ECD27E6-B224-41CD-B4E0-E297462320DD}" dt="2023-11-23T19:56:09.403" v="5022"/>
          <ac:spMkLst>
            <pc:docMk/>
            <pc:sldMk cId="43921188" sldId="2147478579"/>
            <ac:spMk id="40" creationId="{B0E5AB33-D8D8-C104-A2B4-890A781DBEE3}"/>
          </ac:spMkLst>
        </pc:spChg>
        <pc:spChg chg="add del mod">
          <ac:chgData name="Steiner Andreas 6206 ED" userId="e6377c33-a923-4f14-8587-531c474c7b48" providerId="ADAL" clId="{6ECD27E6-B224-41CD-B4E0-E297462320DD}" dt="2023-11-23T19:56:21.101" v="5177"/>
          <ac:spMkLst>
            <pc:docMk/>
            <pc:sldMk cId="43921188" sldId="2147478579"/>
            <ac:spMk id="41" creationId="{4DEEB7BE-0B27-1BA0-38D9-AED37DABAA65}"/>
          </ac:spMkLst>
        </pc:spChg>
        <pc:spChg chg="add del mod">
          <ac:chgData name="Steiner Andreas 6206 ED" userId="e6377c33-a923-4f14-8587-531c474c7b48" providerId="ADAL" clId="{6ECD27E6-B224-41CD-B4E0-E297462320DD}" dt="2023-11-23T19:56:32.790" v="5332"/>
          <ac:spMkLst>
            <pc:docMk/>
            <pc:sldMk cId="43921188" sldId="2147478579"/>
            <ac:spMk id="42" creationId="{250B677D-9BD7-F7D0-6B3C-32A22F406C10}"/>
          </ac:spMkLst>
        </pc:spChg>
        <pc:spChg chg="add del mod">
          <ac:chgData name="Steiner Andreas 6206 ED" userId="e6377c33-a923-4f14-8587-531c474c7b48" providerId="ADAL" clId="{6ECD27E6-B224-41CD-B4E0-E297462320DD}" dt="2023-11-23T19:56:44.211" v="5487"/>
          <ac:spMkLst>
            <pc:docMk/>
            <pc:sldMk cId="43921188" sldId="2147478579"/>
            <ac:spMk id="43" creationId="{607815A3-2B9C-9371-6429-F95A71603E96}"/>
          </ac:spMkLst>
        </pc:spChg>
        <pc:spChg chg="add del mod">
          <ac:chgData name="Steiner Andreas 6206 ED" userId="e6377c33-a923-4f14-8587-531c474c7b48" providerId="ADAL" clId="{6ECD27E6-B224-41CD-B4E0-E297462320DD}" dt="2023-11-23T19:56:54.518" v="5642"/>
          <ac:spMkLst>
            <pc:docMk/>
            <pc:sldMk cId="43921188" sldId="2147478579"/>
            <ac:spMk id="44" creationId="{CD36DB37-375D-E991-FA9A-CB3E919C8A57}"/>
          </ac:spMkLst>
        </pc:spChg>
        <pc:spChg chg="add del mod">
          <ac:chgData name="Steiner Andreas 6206 ED" userId="e6377c33-a923-4f14-8587-531c474c7b48" providerId="ADAL" clId="{6ECD27E6-B224-41CD-B4E0-E297462320DD}" dt="2023-11-23T19:57:05.987" v="5797"/>
          <ac:spMkLst>
            <pc:docMk/>
            <pc:sldMk cId="43921188" sldId="2147478579"/>
            <ac:spMk id="45" creationId="{96E08D75-CBA0-18B1-DF77-1791E106406B}"/>
          </ac:spMkLst>
        </pc:spChg>
        <pc:spChg chg="add del mod">
          <ac:chgData name="Steiner Andreas 6206 ED" userId="e6377c33-a923-4f14-8587-531c474c7b48" providerId="ADAL" clId="{6ECD27E6-B224-41CD-B4E0-E297462320DD}" dt="2023-11-23T19:57:17.637" v="5952"/>
          <ac:spMkLst>
            <pc:docMk/>
            <pc:sldMk cId="43921188" sldId="2147478579"/>
            <ac:spMk id="46" creationId="{ADA4168E-64DB-8708-CE70-AC8DFFDDD6C6}"/>
          </ac:spMkLst>
        </pc:spChg>
        <pc:spChg chg="add del mod">
          <ac:chgData name="Steiner Andreas 6206 ED" userId="e6377c33-a923-4f14-8587-531c474c7b48" providerId="ADAL" clId="{6ECD27E6-B224-41CD-B4E0-E297462320DD}" dt="2023-11-23T19:57:29.175" v="6107"/>
          <ac:spMkLst>
            <pc:docMk/>
            <pc:sldMk cId="43921188" sldId="2147478579"/>
            <ac:spMk id="47" creationId="{E2636587-305C-CFEC-21EC-9E281A6AD005}"/>
          </ac:spMkLst>
        </pc:spChg>
        <pc:spChg chg="add del mod">
          <ac:chgData name="Steiner Andreas 6206 ED" userId="e6377c33-a923-4f14-8587-531c474c7b48" providerId="ADAL" clId="{6ECD27E6-B224-41CD-B4E0-E297462320DD}" dt="2023-11-23T19:57:40.754" v="6262"/>
          <ac:spMkLst>
            <pc:docMk/>
            <pc:sldMk cId="43921188" sldId="2147478579"/>
            <ac:spMk id="48" creationId="{7435574D-AF03-CEAA-A561-EA1E18E39FA9}"/>
          </ac:spMkLst>
        </pc:spChg>
        <pc:spChg chg="add del mod">
          <ac:chgData name="Steiner Andreas 6206 ED" userId="e6377c33-a923-4f14-8587-531c474c7b48" providerId="ADAL" clId="{6ECD27E6-B224-41CD-B4E0-E297462320DD}" dt="2023-11-23T19:57:52.428" v="6417"/>
          <ac:spMkLst>
            <pc:docMk/>
            <pc:sldMk cId="43921188" sldId="2147478579"/>
            <ac:spMk id="49" creationId="{812AEB7A-9905-7A0F-68DA-B21442460272}"/>
          </ac:spMkLst>
        </pc:spChg>
        <pc:spChg chg="add del mod">
          <ac:chgData name="Steiner Andreas 6206 ED" userId="e6377c33-a923-4f14-8587-531c474c7b48" providerId="ADAL" clId="{6ECD27E6-B224-41CD-B4E0-E297462320DD}" dt="2023-11-23T19:58:04.112" v="6572"/>
          <ac:spMkLst>
            <pc:docMk/>
            <pc:sldMk cId="43921188" sldId="2147478579"/>
            <ac:spMk id="50" creationId="{E4D2A608-C721-D974-AF99-57F27C23ABC2}"/>
          </ac:spMkLst>
        </pc:spChg>
        <pc:spChg chg="add del mod">
          <ac:chgData name="Steiner Andreas 6206 ED" userId="e6377c33-a923-4f14-8587-531c474c7b48" providerId="ADAL" clId="{6ECD27E6-B224-41CD-B4E0-E297462320DD}" dt="2023-11-23T19:58:15.558" v="6727"/>
          <ac:spMkLst>
            <pc:docMk/>
            <pc:sldMk cId="43921188" sldId="2147478579"/>
            <ac:spMk id="51" creationId="{41E57894-1E73-026D-6CF0-2DEA4EB4B98C}"/>
          </ac:spMkLst>
        </pc:spChg>
        <pc:spChg chg="add del mod">
          <ac:chgData name="Steiner Andreas 6206 ED" userId="e6377c33-a923-4f14-8587-531c474c7b48" providerId="ADAL" clId="{6ECD27E6-B224-41CD-B4E0-E297462320DD}" dt="2023-11-23T19:58:27.647" v="6882"/>
          <ac:spMkLst>
            <pc:docMk/>
            <pc:sldMk cId="43921188" sldId="2147478579"/>
            <ac:spMk id="52" creationId="{6CF898D3-BACD-07B3-BC81-945440E3489A}"/>
          </ac:spMkLst>
        </pc:spChg>
        <pc:spChg chg="add del mod">
          <ac:chgData name="Steiner Andreas 6206 ED" userId="e6377c33-a923-4f14-8587-531c474c7b48" providerId="ADAL" clId="{6ECD27E6-B224-41CD-B4E0-E297462320DD}" dt="2023-11-23T19:58:39.379" v="7037"/>
          <ac:spMkLst>
            <pc:docMk/>
            <pc:sldMk cId="43921188" sldId="2147478579"/>
            <ac:spMk id="53" creationId="{343F1E9E-79B7-C391-2ACF-276BF085F41A}"/>
          </ac:spMkLst>
        </pc:spChg>
        <pc:spChg chg="add del mod">
          <ac:chgData name="Steiner Andreas 6206 ED" userId="e6377c33-a923-4f14-8587-531c474c7b48" providerId="ADAL" clId="{6ECD27E6-B224-41CD-B4E0-E297462320DD}" dt="2023-11-23T19:58:51.076" v="7192"/>
          <ac:spMkLst>
            <pc:docMk/>
            <pc:sldMk cId="43921188" sldId="2147478579"/>
            <ac:spMk id="54" creationId="{36F47010-BFD6-5877-9DAB-B8DD8AF202F6}"/>
          </ac:spMkLst>
        </pc:spChg>
        <pc:spChg chg="add del mod">
          <ac:chgData name="Steiner Andreas 6206 ED" userId="e6377c33-a923-4f14-8587-531c474c7b48" providerId="ADAL" clId="{6ECD27E6-B224-41CD-B4E0-E297462320DD}" dt="2023-11-23T19:59:02.506" v="7347"/>
          <ac:spMkLst>
            <pc:docMk/>
            <pc:sldMk cId="43921188" sldId="2147478579"/>
            <ac:spMk id="55" creationId="{D4C38123-EF7B-7A23-7A50-0AF348BE22EB}"/>
          </ac:spMkLst>
        </pc:spChg>
        <pc:spChg chg="add del mod">
          <ac:chgData name="Steiner Andreas 6206 ED" userId="e6377c33-a923-4f14-8587-531c474c7b48" providerId="ADAL" clId="{6ECD27E6-B224-41CD-B4E0-E297462320DD}" dt="2023-11-24T08:31:41.243" v="7502"/>
          <ac:spMkLst>
            <pc:docMk/>
            <pc:sldMk cId="43921188" sldId="2147478579"/>
            <ac:spMk id="56" creationId="{F285CC17-0323-D098-B5DE-DCFBDFD084C1}"/>
          </ac:spMkLst>
        </pc:spChg>
        <pc:spChg chg="add del mod">
          <ac:chgData name="Steiner Andreas 6206 ED" userId="e6377c33-a923-4f14-8587-531c474c7b48" providerId="ADAL" clId="{6ECD27E6-B224-41CD-B4E0-E297462320DD}" dt="2023-11-24T08:31:45.062" v="7657"/>
          <ac:spMkLst>
            <pc:docMk/>
            <pc:sldMk cId="43921188" sldId="2147478579"/>
            <ac:spMk id="57" creationId="{DA28EC44-7615-968D-31B0-A5C6BF9BBCD1}"/>
          </ac:spMkLst>
        </pc:spChg>
        <pc:spChg chg="add del mod">
          <ac:chgData name="Steiner Andreas 6206 ED" userId="e6377c33-a923-4f14-8587-531c474c7b48" providerId="ADAL" clId="{6ECD27E6-B224-41CD-B4E0-E297462320DD}" dt="2023-11-24T08:31:46.898" v="7812"/>
          <ac:spMkLst>
            <pc:docMk/>
            <pc:sldMk cId="43921188" sldId="2147478579"/>
            <ac:spMk id="58" creationId="{D1614F5A-64E9-C2B4-DC6B-40FDCDD4CC68}"/>
          </ac:spMkLst>
        </pc:spChg>
        <pc:spChg chg="add del mod">
          <ac:chgData name="Steiner Andreas 6206 ED" userId="e6377c33-a923-4f14-8587-531c474c7b48" providerId="ADAL" clId="{6ECD27E6-B224-41CD-B4E0-E297462320DD}" dt="2023-11-24T08:31:48.730" v="7967"/>
          <ac:spMkLst>
            <pc:docMk/>
            <pc:sldMk cId="43921188" sldId="2147478579"/>
            <ac:spMk id="59" creationId="{02325F4E-90B6-D1C7-C2FA-BA9454167342}"/>
          </ac:spMkLst>
        </pc:spChg>
        <pc:spChg chg="add del mod">
          <ac:chgData name="Steiner Andreas 6206 ED" userId="e6377c33-a923-4f14-8587-531c474c7b48" providerId="ADAL" clId="{6ECD27E6-B224-41CD-B4E0-E297462320DD}" dt="2023-11-24T08:31:50.620" v="8122"/>
          <ac:spMkLst>
            <pc:docMk/>
            <pc:sldMk cId="43921188" sldId="2147478579"/>
            <ac:spMk id="60" creationId="{6047F369-9547-06AF-4A47-FD82A921A3FB}"/>
          </ac:spMkLst>
        </pc:spChg>
        <pc:spChg chg="add del mod">
          <ac:chgData name="Steiner Andreas 6206 ED" userId="e6377c33-a923-4f14-8587-531c474c7b48" providerId="ADAL" clId="{6ECD27E6-B224-41CD-B4E0-E297462320DD}" dt="2023-11-24T08:31:52.410" v="8277"/>
          <ac:spMkLst>
            <pc:docMk/>
            <pc:sldMk cId="43921188" sldId="2147478579"/>
            <ac:spMk id="61" creationId="{9EB95D8D-C0D8-3A83-D6ED-EAA049128022}"/>
          </ac:spMkLst>
        </pc:spChg>
        <pc:spChg chg="add del mod">
          <ac:chgData name="Steiner Andreas 6206 ED" userId="e6377c33-a923-4f14-8587-531c474c7b48" providerId="ADAL" clId="{6ECD27E6-B224-41CD-B4E0-E297462320DD}" dt="2023-11-24T08:31:54.238" v="8432"/>
          <ac:spMkLst>
            <pc:docMk/>
            <pc:sldMk cId="43921188" sldId="2147478579"/>
            <ac:spMk id="62" creationId="{18B886A3-E94D-E3C9-A6F4-B493A7BD1754}"/>
          </ac:spMkLst>
        </pc:spChg>
        <pc:spChg chg="add del mod">
          <ac:chgData name="Steiner Andreas 6206 ED" userId="e6377c33-a923-4f14-8587-531c474c7b48" providerId="ADAL" clId="{6ECD27E6-B224-41CD-B4E0-E297462320DD}" dt="2023-11-24T08:31:56.070" v="8587"/>
          <ac:spMkLst>
            <pc:docMk/>
            <pc:sldMk cId="43921188" sldId="2147478579"/>
            <ac:spMk id="63" creationId="{6B28AF47-1D17-FE81-086C-024B695C55CD}"/>
          </ac:spMkLst>
        </pc:spChg>
        <pc:spChg chg="add del mod">
          <ac:chgData name="Steiner Andreas 6206 ED" userId="e6377c33-a923-4f14-8587-531c474c7b48" providerId="ADAL" clId="{6ECD27E6-B224-41CD-B4E0-E297462320DD}" dt="2023-11-24T08:31:57.925" v="8742"/>
          <ac:spMkLst>
            <pc:docMk/>
            <pc:sldMk cId="43921188" sldId="2147478579"/>
            <ac:spMk id="64" creationId="{517CFB28-6903-B78B-FEB6-ED350FC1C1B9}"/>
          </ac:spMkLst>
        </pc:spChg>
        <pc:spChg chg="add del mod">
          <ac:chgData name="Steiner Andreas 6206 ED" userId="e6377c33-a923-4f14-8587-531c474c7b48" providerId="ADAL" clId="{6ECD27E6-B224-41CD-B4E0-E297462320DD}" dt="2023-11-24T08:32:00.552" v="8897"/>
          <ac:spMkLst>
            <pc:docMk/>
            <pc:sldMk cId="43921188" sldId="2147478579"/>
            <ac:spMk id="65" creationId="{0C894AC9-A72E-3AA6-0F87-C8144DBEBD14}"/>
          </ac:spMkLst>
        </pc:spChg>
        <pc:spChg chg="add del mod">
          <ac:chgData name="Steiner Andreas 6206 ED" userId="e6377c33-a923-4f14-8587-531c474c7b48" providerId="ADAL" clId="{6ECD27E6-B224-41CD-B4E0-E297462320DD}" dt="2023-11-24T08:32:02.906" v="9052"/>
          <ac:spMkLst>
            <pc:docMk/>
            <pc:sldMk cId="43921188" sldId="2147478579"/>
            <ac:spMk id="66" creationId="{0D04BA95-5875-5E26-12F4-2AC6AE998E7A}"/>
          </ac:spMkLst>
        </pc:spChg>
        <pc:spChg chg="add del mod">
          <ac:chgData name="Steiner Andreas 6206 ED" userId="e6377c33-a923-4f14-8587-531c474c7b48" providerId="ADAL" clId="{6ECD27E6-B224-41CD-B4E0-E297462320DD}" dt="2023-11-24T08:32:05.010" v="9207"/>
          <ac:spMkLst>
            <pc:docMk/>
            <pc:sldMk cId="43921188" sldId="2147478579"/>
            <ac:spMk id="67" creationId="{A78F616A-8D4C-0FD9-F73D-80B81C04F7A1}"/>
          </ac:spMkLst>
        </pc:spChg>
        <pc:spChg chg="add del mod">
          <ac:chgData name="Steiner Andreas 6206 ED" userId="e6377c33-a923-4f14-8587-531c474c7b48" providerId="ADAL" clId="{6ECD27E6-B224-41CD-B4E0-E297462320DD}" dt="2023-11-24T08:32:06.928" v="9362"/>
          <ac:spMkLst>
            <pc:docMk/>
            <pc:sldMk cId="43921188" sldId="2147478579"/>
            <ac:spMk id="68" creationId="{73ECDD9B-DC53-F604-5878-667705A7EE49}"/>
          </ac:spMkLst>
        </pc:spChg>
        <pc:spChg chg="add del mod">
          <ac:chgData name="Steiner Andreas 6206 ED" userId="e6377c33-a923-4f14-8587-531c474c7b48" providerId="ADAL" clId="{6ECD27E6-B224-41CD-B4E0-E297462320DD}" dt="2023-11-24T08:32:09.245" v="9517"/>
          <ac:spMkLst>
            <pc:docMk/>
            <pc:sldMk cId="43921188" sldId="2147478579"/>
            <ac:spMk id="69" creationId="{22F4BF5E-89D8-FE02-63B1-F0D8011B2956}"/>
          </ac:spMkLst>
        </pc:spChg>
        <pc:spChg chg="add del mod">
          <ac:chgData name="Steiner Andreas 6206 ED" userId="e6377c33-a923-4f14-8587-531c474c7b48" providerId="ADAL" clId="{6ECD27E6-B224-41CD-B4E0-E297462320DD}" dt="2023-11-24T08:32:11.517" v="9672"/>
          <ac:spMkLst>
            <pc:docMk/>
            <pc:sldMk cId="43921188" sldId="2147478579"/>
            <ac:spMk id="70" creationId="{00F3A8B8-2A0B-F806-284B-E18911403612}"/>
          </ac:spMkLst>
        </pc:spChg>
        <pc:spChg chg="add del mod">
          <ac:chgData name="Steiner Andreas 6206 ED" userId="e6377c33-a923-4f14-8587-531c474c7b48" providerId="ADAL" clId="{6ECD27E6-B224-41CD-B4E0-E297462320DD}" dt="2023-11-24T08:32:13.754" v="9827"/>
          <ac:spMkLst>
            <pc:docMk/>
            <pc:sldMk cId="43921188" sldId="2147478579"/>
            <ac:spMk id="71" creationId="{D0C61FC1-B5EF-C180-0FC9-01181BD0A043}"/>
          </ac:spMkLst>
        </pc:spChg>
        <pc:spChg chg="add del mod">
          <ac:chgData name="Steiner Andreas 6206 ED" userId="e6377c33-a923-4f14-8587-531c474c7b48" providerId="ADAL" clId="{6ECD27E6-B224-41CD-B4E0-E297462320DD}" dt="2023-11-24T08:32:15.641" v="9982"/>
          <ac:spMkLst>
            <pc:docMk/>
            <pc:sldMk cId="43921188" sldId="2147478579"/>
            <ac:spMk id="72" creationId="{ACB558DF-1481-33B4-1B5F-15527C2DA6F0}"/>
          </ac:spMkLst>
        </pc:spChg>
        <pc:spChg chg="add del mod">
          <ac:chgData name="Steiner Andreas 6206 ED" userId="e6377c33-a923-4f14-8587-531c474c7b48" providerId="ADAL" clId="{6ECD27E6-B224-41CD-B4E0-E297462320DD}" dt="2023-11-24T08:32:17.697" v="10137"/>
          <ac:spMkLst>
            <pc:docMk/>
            <pc:sldMk cId="43921188" sldId="2147478579"/>
            <ac:spMk id="73" creationId="{AA34EC67-442E-CB9D-6837-73E8A042904E}"/>
          </ac:spMkLst>
        </pc:spChg>
        <pc:spChg chg="add del mod">
          <ac:chgData name="Steiner Andreas 6206 ED" userId="e6377c33-a923-4f14-8587-531c474c7b48" providerId="ADAL" clId="{6ECD27E6-B224-41CD-B4E0-E297462320DD}" dt="2023-11-24T08:32:19.649" v="10292"/>
          <ac:spMkLst>
            <pc:docMk/>
            <pc:sldMk cId="43921188" sldId="2147478579"/>
            <ac:spMk id="74" creationId="{FAA3E040-2CF5-3E6F-0A30-B80C037C822E}"/>
          </ac:spMkLst>
        </pc:spChg>
        <pc:spChg chg="add del mod">
          <ac:chgData name="Steiner Andreas 6206 ED" userId="e6377c33-a923-4f14-8587-531c474c7b48" providerId="ADAL" clId="{6ECD27E6-B224-41CD-B4E0-E297462320DD}" dt="2023-11-24T08:32:21.603" v="10447"/>
          <ac:spMkLst>
            <pc:docMk/>
            <pc:sldMk cId="43921188" sldId="2147478579"/>
            <ac:spMk id="75" creationId="{ECDC7AFD-5657-BFEF-2989-12760B2ACDF7}"/>
          </ac:spMkLst>
        </pc:spChg>
        <pc:spChg chg="add del mod">
          <ac:chgData name="Steiner Andreas 6206 ED" userId="e6377c33-a923-4f14-8587-531c474c7b48" providerId="ADAL" clId="{6ECD27E6-B224-41CD-B4E0-E297462320DD}" dt="2023-11-24T08:32:23.721" v="10602"/>
          <ac:spMkLst>
            <pc:docMk/>
            <pc:sldMk cId="43921188" sldId="2147478579"/>
            <ac:spMk id="76" creationId="{0C5A1CD1-27B5-E645-4B13-A8BC37FDD14A}"/>
          </ac:spMkLst>
        </pc:spChg>
        <pc:spChg chg="add del mod">
          <ac:chgData name="Steiner Andreas 6206 ED" userId="e6377c33-a923-4f14-8587-531c474c7b48" providerId="ADAL" clId="{6ECD27E6-B224-41CD-B4E0-E297462320DD}" dt="2023-11-24T08:32:25.741" v="10757"/>
          <ac:spMkLst>
            <pc:docMk/>
            <pc:sldMk cId="43921188" sldId="2147478579"/>
            <ac:spMk id="77" creationId="{6371B5FE-AECE-0924-1C0B-37204A7A434E}"/>
          </ac:spMkLst>
        </pc:spChg>
        <pc:spChg chg="add del mod">
          <ac:chgData name="Steiner Andreas 6206 ED" userId="e6377c33-a923-4f14-8587-531c474c7b48" providerId="ADAL" clId="{6ECD27E6-B224-41CD-B4E0-E297462320DD}" dt="2023-11-24T08:32:27.716" v="10912"/>
          <ac:spMkLst>
            <pc:docMk/>
            <pc:sldMk cId="43921188" sldId="2147478579"/>
            <ac:spMk id="78" creationId="{E45C25ED-3D9A-B542-D166-FEAB14D098BA}"/>
          </ac:spMkLst>
        </pc:spChg>
        <pc:spChg chg="add del mod">
          <ac:chgData name="Steiner Andreas 6206 ED" userId="e6377c33-a923-4f14-8587-531c474c7b48" providerId="ADAL" clId="{6ECD27E6-B224-41CD-B4E0-E297462320DD}" dt="2023-11-24T08:32:29.654" v="11067"/>
          <ac:spMkLst>
            <pc:docMk/>
            <pc:sldMk cId="43921188" sldId="2147478579"/>
            <ac:spMk id="79" creationId="{94F4C6D6-078C-B017-AFAC-710891308392}"/>
          </ac:spMkLst>
        </pc:spChg>
        <pc:spChg chg="add del mod">
          <ac:chgData name="Steiner Andreas 6206 ED" userId="e6377c33-a923-4f14-8587-531c474c7b48" providerId="ADAL" clId="{6ECD27E6-B224-41CD-B4E0-E297462320DD}" dt="2023-11-24T08:32:31.642" v="11222"/>
          <ac:spMkLst>
            <pc:docMk/>
            <pc:sldMk cId="43921188" sldId="2147478579"/>
            <ac:spMk id="80" creationId="{5653DF43-2B32-6E99-B85B-051DBD7A7C4E}"/>
          </ac:spMkLst>
        </pc:spChg>
        <pc:spChg chg="add del mod">
          <ac:chgData name="Steiner Andreas 6206 ED" userId="e6377c33-a923-4f14-8587-531c474c7b48" providerId="ADAL" clId="{6ECD27E6-B224-41CD-B4E0-E297462320DD}" dt="2023-11-24T08:32:34.003" v="11377"/>
          <ac:spMkLst>
            <pc:docMk/>
            <pc:sldMk cId="43921188" sldId="2147478579"/>
            <ac:spMk id="81" creationId="{785BA3AB-F304-D7AD-8A20-A55B9F4AACA1}"/>
          </ac:spMkLst>
        </pc:spChg>
        <pc:spChg chg="add del mod">
          <ac:chgData name="Steiner Andreas 6206 ED" userId="e6377c33-a923-4f14-8587-531c474c7b48" providerId="ADAL" clId="{6ECD27E6-B224-41CD-B4E0-E297462320DD}" dt="2023-11-24T08:32:36.434" v="11532"/>
          <ac:spMkLst>
            <pc:docMk/>
            <pc:sldMk cId="43921188" sldId="2147478579"/>
            <ac:spMk id="82" creationId="{58602F4E-CE99-5219-C292-04E04C9AB6D8}"/>
          </ac:spMkLst>
        </pc:spChg>
        <pc:spChg chg="add del mod">
          <ac:chgData name="Steiner Andreas 6206 ED" userId="e6377c33-a923-4f14-8587-531c474c7b48" providerId="ADAL" clId="{6ECD27E6-B224-41CD-B4E0-E297462320DD}" dt="2023-11-24T08:32:38.380" v="11687"/>
          <ac:spMkLst>
            <pc:docMk/>
            <pc:sldMk cId="43921188" sldId="2147478579"/>
            <ac:spMk id="83" creationId="{4EA0ADAE-9BC3-9E3A-DF82-9BE75EEBF7D5}"/>
          </ac:spMkLst>
        </pc:spChg>
        <pc:spChg chg="add del mod">
          <ac:chgData name="Steiner Andreas 6206 ED" userId="e6377c33-a923-4f14-8587-531c474c7b48" providerId="ADAL" clId="{6ECD27E6-B224-41CD-B4E0-E297462320DD}" dt="2023-11-24T08:32:40.446" v="11842"/>
          <ac:spMkLst>
            <pc:docMk/>
            <pc:sldMk cId="43921188" sldId="2147478579"/>
            <ac:spMk id="84" creationId="{A96FCE7C-AEA1-3A43-B1E2-CD20015868AB}"/>
          </ac:spMkLst>
        </pc:spChg>
        <pc:spChg chg="add del mod">
          <ac:chgData name="Steiner Andreas 6206 ED" userId="e6377c33-a923-4f14-8587-531c474c7b48" providerId="ADAL" clId="{6ECD27E6-B224-41CD-B4E0-E297462320DD}" dt="2023-11-24T08:32:42.661" v="11997"/>
          <ac:spMkLst>
            <pc:docMk/>
            <pc:sldMk cId="43921188" sldId="2147478579"/>
            <ac:spMk id="85" creationId="{49139F59-880E-709A-05FF-AA67D58A3CC0}"/>
          </ac:spMkLst>
        </pc:spChg>
        <pc:spChg chg="add del mod">
          <ac:chgData name="Steiner Andreas 6206 ED" userId="e6377c33-a923-4f14-8587-531c474c7b48" providerId="ADAL" clId="{6ECD27E6-B224-41CD-B4E0-E297462320DD}" dt="2023-11-24T08:32:44.784" v="12152"/>
          <ac:spMkLst>
            <pc:docMk/>
            <pc:sldMk cId="43921188" sldId="2147478579"/>
            <ac:spMk id="86" creationId="{6136D77B-D62F-3961-6D07-CBAEDF424C12}"/>
          </ac:spMkLst>
        </pc:spChg>
        <pc:spChg chg="add del mod">
          <ac:chgData name="Steiner Andreas 6206 ED" userId="e6377c33-a923-4f14-8587-531c474c7b48" providerId="ADAL" clId="{6ECD27E6-B224-41CD-B4E0-E297462320DD}" dt="2023-11-24T08:32:46.891" v="12307"/>
          <ac:spMkLst>
            <pc:docMk/>
            <pc:sldMk cId="43921188" sldId="2147478579"/>
            <ac:spMk id="87" creationId="{366B1F4A-A1DC-40B5-7216-AD65FAD6ECF8}"/>
          </ac:spMkLst>
        </pc:spChg>
        <pc:spChg chg="add del mod">
          <ac:chgData name="Steiner Andreas 6206 ED" userId="e6377c33-a923-4f14-8587-531c474c7b48" providerId="ADAL" clId="{6ECD27E6-B224-41CD-B4E0-E297462320DD}" dt="2023-11-24T08:32:49.043" v="12462"/>
          <ac:spMkLst>
            <pc:docMk/>
            <pc:sldMk cId="43921188" sldId="2147478579"/>
            <ac:spMk id="88" creationId="{E8D1FD9F-46F6-3F4C-CA58-82C6D55C94C1}"/>
          </ac:spMkLst>
        </pc:spChg>
        <pc:spChg chg="add del mod">
          <ac:chgData name="Steiner Andreas 6206 ED" userId="e6377c33-a923-4f14-8587-531c474c7b48" providerId="ADAL" clId="{6ECD27E6-B224-41CD-B4E0-E297462320DD}" dt="2023-11-24T08:32:51.001" v="12617"/>
          <ac:spMkLst>
            <pc:docMk/>
            <pc:sldMk cId="43921188" sldId="2147478579"/>
            <ac:spMk id="89" creationId="{15A23D6E-0F7A-1A6B-5F3B-27C4694FC4C4}"/>
          </ac:spMkLst>
        </pc:spChg>
        <pc:spChg chg="add del mod">
          <ac:chgData name="Steiner Andreas 6206 ED" userId="e6377c33-a923-4f14-8587-531c474c7b48" providerId="ADAL" clId="{6ECD27E6-B224-41CD-B4E0-E297462320DD}" dt="2023-11-24T08:32:53.008" v="12772"/>
          <ac:spMkLst>
            <pc:docMk/>
            <pc:sldMk cId="43921188" sldId="2147478579"/>
            <ac:spMk id="90" creationId="{2F5E9EC6-D5BD-1ACD-61C1-6EB6E196846B}"/>
          </ac:spMkLst>
        </pc:spChg>
        <pc:spChg chg="add del mod">
          <ac:chgData name="Steiner Andreas 6206 ED" userId="e6377c33-a923-4f14-8587-531c474c7b48" providerId="ADAL" clId="{6ECD27E6-B224-41CD-B4E0-E297462320DD}" dt="2023-11-24T08:32:54.992" v="12927"/>
          <ac:spMkLst>
            <pc:docMk/>
            <pc:sldMk cId="43921188" sldId="2147478579"/>
            <ac:spMk id="91" creationId="{389819A1-D006-F09D-7572-F1F5D67FC567}"/>
          </ac:spMkLst>
        </pc:spChg>
        <pc:spChg chg="add del mod">
          <ac:chgData name="Steiner Andreas 6206 ED" userId="e6377c33-a923-4f14-8587-531c474c7b48" providerId="ADAL" clId="{6ECD27E6-B224-41CD-B4E0-E297462320DD}" dt="2023-11-24T08:32:56.931" v="13082"/>
          <ac:spMkLst>
            <pc:docMk/>
            <pc:sldMk cId="43921188" sldId="2147478579"/>
            <ac:spMk id="92" creationId="{A21935D6-2F0C-188F-2B4E-9042FE008548}"/>
          </ac:spMkLst>
        </pc:spChg>
        <pc:spChg chg="add del mod">
          <ac:chgData name="Steiner Andreas 6206 ED" userId="e6377c33-a923-4f14-8587-531c474c7b48" providerId="ADAL" clId="{6ECD27E6-B224-41CD-B4E0-E297462320DD}" dt="2023-11-24T08:32:58.997" v="13237"/>
          <ac:spMkLst>
            <pc:docMk/>
            <pc:sldMk cId="43921188" sldId="2147478579"/>
            <ac:spMk id="93" creationId="{3604E17B-CC74-9992-E830-EB362923FB9E}"/>
          </ac:spMkLst>
        </pc:spChg>
        <pc:spChg chg="add del mod">
          <ac:chgData name="Steiner Andreas 6206 ED" userId="e6377c33-a923-4f14-8587-531c474c7b48" providerId="ADAL" clId="{6ECD27E6-B224-41CD-B4E0-E297462320DD}" dt="2023-11-24T08:33:01.112" v="13392"/>
          <ac:spMkLst>
            <pc:docMk/>
            <pc:sldMk cId="43921188" sldId="2147478579"/>
            <ac:spMk id="94" creationId="{5699B08E-CCFA-E4E1-667F-FBF77D21383E}"/>
          </ac:spMkLst>
        </pc:spChg>
        <pc:spChg chg="add del mod">
          <ac:chgData name="Steiner Andreas 6206 ED" userId="e6377c33-a923-4f14-8587-531c474c7b48" providerId="ADAL" clId="{6ECD27E6-B224-41CD-B4E0-E297462320DD}" dt="2023-11-24T08:33:03.427" v="13547"/>
          <ac:spMkLst>
            <pc:docMk/>
            <pc:sldMk cId="43921188" sldId="2147478579"/>
            <ac:spMk id="95" creationId="{0300E9F3-FED0-5955-C8C7-CD758B2AC240}"/>
          </ac:spMkLst>
        </pc:spChg>
        <pc:spChg chg="add del mod">
          <ac:chgData name="Steiner Andreas 6206 ED" userId="e6377c33-a923-4f14-8587-531c474c7b48" providerId="ADAL" clId="{6ECD27E6-B224-41CD-B4E0-E297462320DD}" dt="2023-11-24T08:33:05.793" v="13702"/>
          <ac:spMkLst>
            <pc:docMk/>
            <pc:sldMk cId="43921188" sldId="2147478579"/>
            <ac:spMk id="96" creationId="{F7712550-14F9-4F30-71B3-F05601B59E95}"/>
          </ac:spMkLst>
        </pc:spChg>
        <pc:spChg chg="add del mod">
          <ac:chgData name="Steiner Andreas 6206 ED" userId="e6377c33-a923-4f14-8587-531c474c7b48" providerId="ADAL" clId="{6ECD27E6-B224-41CD-B4E0-E297462320DD}" dt="2023-11-24T08:33:08.019" v="13857"/>
          <ac:spMkLst>
            <pc:docMk/>
            <pc:sldMk cId="43921188" sldId="2147478579"/>
            <ac:spMk id="97" creationId="{DE273502-E991-D396-3FB4-4236152DF69C}"/>
          </ac:spMkLst>
        </pc:spChg>
        <pc:spChg chg="add del mod">
          <ac:chgData name="Steiner Andreas 6206 ED" userId="e6377c33-a923-4f14-8587-531c474c7b48" providerId="ADAL" clId="{6ECD27E6-B224-41CD-B4E0-E297462320DD}" dt="2023-11-24T08:33:10.479" v="14012"/>
          <ac:spMkLst>
            <pc:docMk/>
            <pc:sldMk cId="43921188" sldId="2147478579"/>
            <ac:spMk id="98" creationId="{C8A0432B-E446-6B12-FD34-90B1C6FA78C5}"/>
          </ac:spMkLst>
        </pc:spChg>
        <pc:spChg chg="add del mod">
          <ac:chgData name="Steiner Andreas 6206 ED" userId="e6377c33-a923-4f14-8587-531c474c7b48" providerId="ADAL" clId="{6ECD27E6-B224-41CD-B4E0-E297462320DD}" dt="2023-11-24T08:33:12.486" v="14167"/>
          <ac:spMkLst>
            <pc:docMk/>
            <pc:sldMk cId="43921188" sldId="2147478579"/>
            <ac:spMk id="99" creationId="{518A252B-8809-1FB1-AAA9-7880CA3E5468}"/>
          </ac:spMkLst>
        </pc:spChg>
        <pc:spChg chg="add del mod">
          <ac:chgData name="Steiner Andreas 6206 ED" userId="e6377c33-a923-4f14-8587-531c474c7b48" providerId="ADAL" clId="{6ECD27E6-B224-41CD-B4E0-E297462320DD}" dt="2023-11-24T08:33:14.381" v="14322"/>
          <ac:spMkLst>
            <pc:docMk/>
            <pc:sldMk cId="43921188" sldId="2147478579"/>
            <ac:spMk id="100" creationId="{C63C4DF1-40DF-7D7C-1604-140C02051BAF}"/>
          </ac:spMkLst>
        </pc:spChg>
        <pc:spChg chg="add del mod">
          <ac:chgData name="Steiner Andreas 6206 ED" userId="e6377c33-a923-4f14-8587-531c474c7b48" providerId="ADAL" clId="{6ECD27E6-B224-41CD-B4E0-E297462320DD}" dt="2023-11-24T08:33:16.374" v="14477"/>
          <ac:spMkLst>
            <pc:docMk/>
            <pc:sldMk cId="43921188" sldId="2147478579"/>
            <ac:spMk id="101" creationId="{931589DA-A7ED-66D0-A58E-20FEC12FB48D}"/>
          </ac:spMkLst>
        </pc:spChg>
        <pc:spChg chg="add del mod">
          <ac:chgData name="Steiner Andreas 6206 ED" userId="e6377c33-a923-4f14-8587-531c474c7b48" providerId="ADAL" clId="{6ECD27E6-B224-41CD-B4E0-E297462320DD}" dt="2023-11-24T08:33:18.670" v="14632"/>
          <ac:spMkLst>
            <pc:docMk/>
            <pc:sldMk cId="43921188" sldId="2147478579"/>
            <ac:spMk id="102" creationId="{39EED4CB-F782-9380-3C06-DAFE713E6D18}"/>
          </ac:spMkLst>
        </pc:spChg>
        <pc:spChg chg="add del mod">
          <ac:chgData name="Steiner Andreas 6206 ED" userId="e6377c33-a923-4f14-8587-531c474c7b48" providerId="ADAL" clId="{6ECD27E6-B224-41CD-B4E0-E297462320DD}" dt="2023-11-24T08:33:20.871" v="14787"/>
          <ac:spMkLst>
            <pc:docMk/>
            <pc:sldMk cId="43921188" sldId="2147478579"/>
            <ac:spMk id="103" creationId="{C8D43335-FE12-151B-F2AE-B9F5EA7D495C}"/>
          </ac:spMkLst>
        </pc:spChg>
        <pc:spChg chg="add del mod">
          <ac:chgData name="Steiner Andreas 6206 ED" userId="e6377c33-a923-4f14-8587-531c474c7b48" providerId="ADAL" clId="{6ECD27E6-B224-41CD-B4E0-E297462320DD}" dt="2023-11-24T08:33:23.319" v="14942"/>
          <ac:spMkLst>
            <pc:docMk/>
            <pc:sldMk cId="43921188" sldId="2147478579"/>
            <ac:spMk id="104" creationId="{ECABA08E-3157-C108-F7C8-D5EF715180DA}"/>
          </ac:spMkLst>
        </pc:spChg>
        <pc:spChg chg="add del mod">
          <ac:chgData name="Steiner Andreas 6206 ED" userId="e6377c33-a923-4f14-8587-531c474c7b48" providerId="ADAL" clId="{6ECD27E6-B224-41CD-B4E0-E297462320DD}" dt="2023-11-24T08:33:25.761" v="15097"/>
          <ac:spMkLst>
            <pc:docMk/>
            <pc:sldMk cId="43921188" sldId="2147478579"/>
            <ac:spMk id="105" creationId="{30B7B933-488F-7467-9E77-943A549AAD04}"/>
          </ac:spMkLst>
        </pc:spChg>
        <pc:spChg chg="add del mod">
          <ac:chgData name="Steiner Andreas 6206 ED" userId="e6377c33-a923-4f14-8587-531c474c7b48" providerId="ADAL" clId="{6ECD27E6-B224-41CD-B4E0-E297462320DD}" dt="2023-11-24T08:33:27.986" v="15252"/>
          <ac:spMkLst>
            <pc:docMk/>
            <pc:sldMk cId="43921188" sldId="2147478579"/>
            <ac:spMk id="106" creationId="{188F76B5-D852-B4F3-1D61-FA565956B180}"/>
          </ac:spMkLst>
        </pc:spChg>
        <pc:spChg chg="add del mod">
          <ac:chgData name="Steiner Andreas 6206 ED" userId="e6377c33-a923-4f14-8587-531c474c7b48" providerId="ADAL" clId="{6ECD27E6-B224-41CD-B4E0-E297462320DD}" dt="2023-11-24T08:33:30.481" v="15407"/>
          <ac:spMkLst>
            <pc:docMk/>
            <pc:sldMk cId="43921188" sldId="2147478579"/>
            <ac:spMk id="107" creationId="{9AAC1737-DE9E-7E79-EB90-51AAC47EEDAB}"/>
          </ac:spMkLst>
        </pc:spChg>
        <pc:spChg chg="add del mod">
          <ac:chgData name="Steiner Andreas 6206 ED" userId="e6377c33-a923-4f14-8587-531c474c7b48" providerId="ADAL" clId="{6ECD27E6-B224-41CD-B4E0-E297462320DD}" dt="2023-11-24T08:33:33.246" v="15562"/>
          <ac:spMkLst>
            <pc:docMk/>
            <pc:sldMk cId="43921188" sldId="2147478579"/>
            <ac:spMk id="108" creationId="{709B5FC9-4992-6652-A3A4-56A4B5F35116}"/>
          </ac:spMkLst>
        </pc:spChg>
        <pc:spChg chg="add del mod">
          <ac:chgData name="Steiner Andreas 6206 ED" userId="e6377c33-a923-4f14-8587-531c474c7b48" providerId="ADAL" clId="{6ECD27E6-B224-41CD-B4E0-E297462320DD}" dt="2023-11-24T08:33:35.623" v="15717"/>
          <ac:spMkLst>
            <pc:docMk/>
            <pc:sldMk cId="43921188" sldId="2147478579"/>
            <ac:spMk id="109" creationId="{B52C0067-69EB-D67E-E989-04B7EC378AE1}"/>
          </ac:spMkLst>
        </pc:spChg>
        <pc:spChg chg="add del mod">
          <ac:chgData name="Steiner Andreas 6206 ED" userId="e6377c33-a923-4f14-8587-531c474c7b48" providerId="ADAL" clId="{6ECD27E6-B224-41CD-B4E0-E297462320DD}" dt="2023-11-24T08:33:37.785" v="15872"/>
          <ac:spMkLst>
            <pc:docMk/>
            <pc:sldMk cId="43921188" sldId="2147478579"/>
            <ac:spMk id="110" creationId="{E55A3929-632E-90EA-502C-7A05AC85F8D8}"/>
          </ac:spMkLst>
        </pc:spChg>
        <pc:spChg chg="add del mod">
          <ac:chgData name="Steiner Andreas 6206 ED" userId="e6377c33-a923-4f14-8587-531c474c7b48" providerId="ADAL" clId="{6ECD27E6-B224-41CD-B4E0-E297462320DD}" dt="2023-11-24T08:33:40.086" v="16027"/>
          <ac:spMkLst>
            <pc:docMk/>
            <pc:sldMk cId="43921188" sldId="2147478579"/>
            <ac:spMk id="111" creationId="{9BED67C3-D72C-88AC-CFC4-631A7B0A3888}"/>
          </ac:spMkLst>
        </pc:spChg>
        <pc:spChg chg="add del mod">
          <ac:chgData name="Steiner Andreas 6206 ED" userId="e6377c33-a923-4f14-8587-531c474c7b48" providerId="ADAL" clId="{6ECD27E6-B224-41CD-B4E0-E297462320DD}" dt="2023-11-24T08:33:42.547" v="16182"/>
          <ac:spMkLst>
            <pc:docMk/>
            <pc:sldMk cId="43921188" sldId="2147478579"/>
            <ac:spMk id="112" creationId="{60FF65F0-3FA1-AB7F-E08E-3970B20BAA4A}"/>
          </ac:spMkLst>
        </pc:spChg>
        <pc:spChg chg="add del mod">
          <ac:chgData name="Steiner Andreas 6206 ED" userId="e6377c33-a923-4f14-8587-531c474c7b48" providerId="ADAL" clId="{6ECD27E6-B224-41CD-B4E0-E297462320DD}" dt="2023-11-24T08:33:45.260" v="16337"/>
          <ac:spMkLst>
            <pc:docMk/>
            <pc:sldMk cId="43921188" sldId="2147478579"/>
            <ac:spMk id="113" creationId="{B1BF13D7-89A8-B9FC-546F-9EB6D0102A27}"/>
          </ac:spMkLst>
        </pc:spChg>
        <pc:spChg chg="add del mod">
          <ac:chgData name="Steiner Andreas 6206 ED" userId="e6377c33-a923-4f14-8587-531c474c7b48" providerId="ADAL" clId="{6ECD27E6-B224-41CD-B4E0-E297462320DD}" dt="2023-11-24T08:33:47.456" v="16492"/>
          <ac:spMkLst>
            <pc:docMk/>
            <pc:sldMk cId="43921188" sldId="2147478579"/>
            <ac:spMk id="114" creationId="{C26CEA10-17D4-322C-251C-89DDB36D833E}"/>
          </ac:spMkLst>
        </pc:spChg>
        <pc:spChg chg="add del mod">
          <ac:chgData name="Steiner Andreas 6206 ED" userId="e6377c33-a923-4f14-8587-531c474c7b48" providerId="ADAL" clId="{6ECD27E6-B224-41CD-B4E0-E297462320DD}" dt="2023-11-24T08:33:50.111" v="16647"/>
          <ac:spMkLst>
            <pc:docMk/>
            <pc:sldMk cId="43921188" sldId="2147478579"/>
            <ac:spMk id="115" creationId="{466C808B-A235-8DEA-31FA-886E50C9C21D}"/>
          </ac:spMkLst>
        </pc:spChg>
        <pc:spChg chg="add del mod">
          <ac:chgData name="Steiner Andreas 6206 ED" userId="e6377c33-a923-4f14-8587-531c474c7b48" providerId="ADAL" clId="{6ECD27E6-B224-41CD-B4E0-E297462320DD}" dt="2023-11-24T08:33:52.614" v="16802"/>
          <ac:spMkLst>
            <pc:docMk/>
            <pc:sldMk cId="43921188" sldId="2147478579"/>
            <ac:spMk id="116" creationId="{7A649819-17BD-1ECE-6161-0A5B6D4BE63E}"/>
          </ac:spMkLst>
        </pc:spChg>
        <pc:spChg chg="add del mod">
          <ac:chgData name="Steiner Andreas 6206 ED" userId="e6377c33-a923-4f14-8587-531c474c7b48" providerId="ADAL" clId="{6ECD27E6-B224-41CD-B4E0-E297462320DD}" dt="2023-11-24T08:33:54.765" v="16957"/>
          <ac:spMkLst>
            <pc:docMk/>
            <pc:sldMk cId="43921188" sldId="2147478579"/>
            <ac:spMk id="117" creationId="{086954F0-DA90-1067-A38A-C9901D52CCE1}"/>
          </ac:spMkLst>
        </pc:spChg>
        <pc:spChg chg="add del mod">
          <ac:chgData name="Steiner Andreas 6206 ED" userId="e6377c33-a923-4f14-8587-531c474c7b48" providerId="ADAL" clId="{6ECD27E6-B224-41CD-B4E0-E297462320DD}" dt="2023-11-24T08:33:57.084" v="17112"/>
          <ac:spMkLst>
            <pc:docMk/>
            <pc:sldMk cId="43921188" sldId="2147478579"/>
            <ac:spMk id="118" creationId="{7E7EA7B9-460C-EF0D-647C-9D9CACF8B731}"/>
          </ac:spMkLst>
        </pc:spChg>
        <pc:spChg chg="add del mod">
          <ac:chgData name="Steiner Andreas 6206 ED" userId="e6377c33-a923-4f14-8587-531c474c7b48" providerId="ADAL" clId="{6ECD27E6-B224-41CD-B4E0-E297462320DD}" dt="2023-11-24T08:33:59.582" v="17267"/>
          <ac:spMkLst>
            <pc:docMk/>
            <pc:sldMk cId="43921188" sldId="2147478579"/>
            <ac:spMk id="119" creationId="{F75AC639-D1C1-61C5-15D1-CFA3BC146851}"/>
          </ac:spMkLst>
        </pc:spChg>
        <pc:spChg chg="add del mod">
          <ac:chgData name="Steiner Andreas 6206 ED" userId="e6377c33-a923-4f14-8587-531c474c7b48" providerId="ADAL" clId="{6ECD27E6-B224-41CD-B4E0-E297462320DD}" dt="2023-11-24T08:34:01.549" v="17422"/>
          <ac:spMkLst>
            <pc:docMk/>
            <pc:sldMk cId="43921188" sldId="2147478579"/>
            <ac:spMk id="120" creationId="{A61B7968-5FB6-FD23-D20D-303430054C14}"/>
          </ac:spMkLst>
        </pc:spChg>
        <pc:spChg chg="add del mod">
          <ac:chgData name="Steiner Andreas 6206 ED" userId="e6377c33-a923-4f14-8587-531c474c7b48" providerId="ADAL" clId="{6ECD27E6-B224-41CD-B4E0-E297462320DD}" dt="2023-11-24T08:34:03.920" v="17577"/>
          <ac:spMkLst>
            <pc:docMk/>
            <pc:sldMk cId="43921188" sldId="2147478579"/>
            <ac:spMk id="121" creationId="{40ACD2C6-A0B9-4923-3D9D-0200EBE6F1A5}"/>
          </ac:spMkLst>
        </pc:spChg>
        <pc:spChg chg="add del mod">
          <ac:chgData name="Steiner Andreas 6206 ED" userId="e6377c33-a923-4f14-8587-531c474c7b48" providerId="ADAL" clId="{6ECD27E6-B224-41CD-B4E0-E297462320DD}" dt="2023-11-24T08:34:05.859" v="17732"/>
          <ac:spMkLst>
            <pc:docMk/>
            <pc:sldMk cId="43921188" sldId="2147478579"/>
            <ac:spMk id="122" creationId="{0C961ECF-6D76-3F19-66A5-00EFE2A3A8FB}"/>
          </ac:spMkLst>
        </pc:spChg>
        <pc:spChg chg="add del mod">
          <ac:chgData name="Steiner Andreas 6206 ED" userId="e6377c33-a923-4f14-8587-531c474c7b48" providerId="ADAL" clId="{6ECD27E6-B224-41CD-B4E0-E297462320DD}" dt="2023-11-24T08:34:07.952" v="17887"/>
          <ac:spMkLst>
            <pc:docMk/>
            <pc:sldMk cId="43921188" sldId="2147478579"/>
            <ac:spMk id="123" creationId="{C828C3B1-1C3F-C1BE-13FA-7A60C1686255}"/>
          </ac:spMkLst>
        </pc:spChg>
        <pc:spChg chg="add del mod">
          <ac:chgData name="Steiner Andreas 6206 ED" userId="e6377c33-a923-4f14-8587-531c474c7b48" providerId="ADAL" clId="{6ECD27E6-B224-41CD-B4E0-E297462320DD}" dt="2023-11-24T08:34:09.906" v="18042"/>
          <ac:spMkLst>
            <pc:docMk/>
            <pc:sldMk cId="43921188" sldId="2147478579"/>
            <ac:spMk id="124" creationId="{66E1A327-6320-E60E-A8DB-922EB53A110C}"/>
          </ac:spMkLst>
        </pc:spChg>
        <pc:spChg chg="add del mod">
          <ac:chgData name="Steiner Andreas 6206 ED" userId="e6377c33-a923-4f14-8587-531c474c7b48" providerId="ADAL" clId="{6ECD27E6-B224-41CD-B4E0-E297462320DD}" dt="2023-11-24T08:34:11.961" v="18197"/>
          <ac:spMkLst>
            <pc:docMk/>
            <pc:sldMk cId="43921188" sldId="2147478579"/>
            <ac:spMk id="125" creationId="{25442469-6F0F-FBBC-F119-74E6E9189B95}"/>
          </ac:spMkLst>
        </pc:spChg>
        <pc:spChg chg="add del mod">
          <ac:chgData name="Steiner Andreas 6206 ED" userId="e6377c33-a923-4f14-8587-531c474c7b48" providerId="ADAL" clId="{6ECD27E6-B224-41CD-B4E0-E297462320DD}" dt="2023-11-24T08:34:14.230" v="18352"/>
          <ac:spMkLst>
            <pc:docMk/>
            <pc:sldMk cId="43921188" sldId="2147478579"/>
            <ac:spMk id="126" creationId="{823C590D-F615-3E49-CCBC-7B88005D63A1}"/>
          </ac:spMkLst>
        </pc:spChg>
        <pc:spChg chg="add del mod">
          <ac:chgData name="Steiner Andreas 6206 ED" userId="e6377c33-a923-4f14-8587-531c474c7b48" providerId="ADAL" clId="{6ECD27E6-B224-41CD-B4E0-E297462320DD}" dt="2023-11-24T08:34:16.342" v="18507"/>
          <ac:spMkLst>
            <pc:docMk/>
            <pc:sldMk cId="43921188" sldId="2147478579"/>
            <ac:spMk id="127" creationId="{E0BDFE75-9C03-6F83-ABE1-43EEFC0F1936}"/>
          </ac:spMkLst>
        </pc:spChg>
        <pc:spChg chg="add del mod">
          <ac:chgData name="Steiner Andreas 6206 ED" userId="e6377c33-a923-4f14-8587-531c474c7b48" providerId="ADAL" clId="{6ECD27E6-B224-41CD-B4E0-E297462320DD}" dt="2023-11-24T08:34:18.487" v="18662"/>
          <ac:spMkLst>
            <pc:docMk/>
            <pc:sldMk cId="43921188" sldId="2147478579"/>
            <ac:spMk id="128" creationId="{987F4B0E-A4BC-535F-63AE-7055F8911F13}"/>
          </ac:spMkLst>
        </pc:spChg>
        <pc:spChg chg="add del mod">
          <ac:chgData name="Steiner Andreas 6206 ED" userId="e6377c33-a923-4f14-8587-531c474c7b48" providerId="ADAL" clId="{6ECD27E6-B224-41CD-B4E0-E297462320DD}" dt="2023-11-24T08:34:20.655" v="18817"/>
          <ac:spMkLst>
            <pc:docMk/>
            <pc:sldMk cId="43921188" sldId="2147478579"/>
            <ac:spMk id="129" creationId="{C701D89E-4CFB-3D8D-EC33-A2E404F20D6D}"/>
          </ac:spMkLst>
        </pc:spChg>
        <pc:spChg chg="add del mod">
          <ac:chgData name="Steiner Andreas 6206 ED" userId="e6377c33-a923-4f14-8587-531c474c7b48" providerId="ADAL" clId="{6ECD27E6-B224-41CD-B4E0-E297462320DD}" dt="2023-11-24T08:34:22.687" v="18972"/>
          <ac:spMkLst>
            <pc:docMk/>
            <pc:sldMk cId="43921188" sldId="2147478579"/>
            <ac:spMk id="130" creationId="{53F167F4-A04E-21BD-2CE6-A5FEBFD879BD}"/>
          </ac:spMkLst>
        </pc:spChg>
        <pc:spChg chg="add del mod">
          <ac:chgData name="Steiner Andreas 6206 ED" userId="e6377c33-a923-4f14-8587-531c474c7b48" providerId="ADAL" clId="{6ECD27E6-B224-41CD-B4E0-E297462320DD}" dt="2023-11-24T08:34:25.980" v="19127"/>
          <ac:spMkLst>
            <pc:docMk/>
            <pc:sldMk cId="43921188" sldId="2147478579"/>
            <ac:spMk id="131" creationId="{5F5792C2-E7C2-16C1-AB05-3AA9B3D74211}"/>
          </ac:spMkLst>
        </pc:spChg>
        <pc:spChg chg="add del mod">
          <ac:chgData name="Steiner Andreas 6206 ED" userId="e6377c33-a923-4f14-8587-531c474c7b48" providerId="ADAL" clId="{6ECD27E6-B224-41CD-B4E0-E297462320DD}" dt="2023-11-24T08:34:28.642" v="19282"/>
          <ac:spMkLst>
            <pc:docMk/>
            <pc:sldMk cId="43921188" sldId="2147478579"/>
            <ac:spMk id="132" creationId="{D52B5B70-33B1-8408-BBAD-C14C8629940F}"/>
          </ac:spMkLst>
        </pc:spChg>
        <pc:spChg chg="add del mod">
          <ac:chgData name="Steiner Andreas 6206 ED" userId="e6377c33-a923-4f14-8587-531c474c7b48" providerId="ADAL" clId="{6ECD27E6-B224-41CD-B4E0-E297462320DD}" dt="2023-11-24T08:34:31.284" v="19437"/>
          <ac:spMkLst>
            <pc:docMk/>
            <pc:sldMk cId="43921188" sldId="2147478579"/>
            <ac:spMk id="133" creationId="{92DC3147-FFAB-E15A-6799-8E415B005C63}"/>
          </ac:spMkLst>
        </pc:spChg>
        <pc:spChg chg="add del mod">
          <ac:chgData name="Steiner Andreas 6206 ED" userId="e6377c33-a923-4f14-8587-531c474c7b48" providerId="ADAL" clId="{6ECD27E6-B224-41CD-B4E0-E297462320DD}" dt="2023-11-24T08:34:33.484" v="19592"/>
          <ac:spMkLst>
            <pc:docMk/>
            <pc:sldMk cId="43921188" sldId="2147478579"/>
            <ac:spMk id="134" creationId="{09D15B93-A7C8-B34A-4B63-CEBE91748929}"/>
          </ac:spMkLst>
        </pc:spChg>
        <pc:spChg chg="add del mod">
          <ac:chgData name="Steiner Andreas 6206 ED" userId="e6377c33-a923-4f14-8587-531c474c7b48" providerId="ADAL" clId="{6ECD27E6-B224-41CD-B4E0-E297462320DD}" dt="2023-11-24T08:34:35.697" v="19747"/>
          <ac:spMkLst>
            <pc:docMk/>
            <pc:sldMk cId="43921188" sldId="2147478579"/>
            <ac:spMk id="135" creationId="{BAAEC6F6-3B1D-DE1D-2A11-4456E685ED00}"/>
          </ac:spMkLst>
        </pc:spChg>
        <pc:spChg chg="add del mod">
          <ac:chgData name="Steiner Andreas 6206 ED" userId="e6377c33-a923-4f14-8587-531c474c7b48" providerId="ADAL" clId="{6ECD27E6-B224-41CD-B4E0-E297462320DD}" dt="2023-11-24T08:34:37.993" v="19902"/>
          <ac:spMkLst>
            <pc:docMk/>
            <pc:sldMk cId="43921188" sldId="2147478579"/>
            <ac:spMk id="136" creationId="{16F6C4AD-BD32-31F1-DBB9-347429D7EECD}"/>
          </ac:spMkLst>
        </pc:spChg>
        <pc:spChg chg="add del mod">
          <ac:chgData name="Steiner Andreas 6206 ED" userId="e6377c33-a923-4f14-8587-531c474c7b48" providerId="ADAL" clId="{6ECD27E6-B224-41CD-B4E0-E297462320DD}" dt="2023-11-24T08:34:40.272" v="20057"/>
          <ac:spMkLst>
            <pc:docMk/>
            <pc:sldMk cId="43921188" sldId="2147478579"/>
            <ac:spMk id="137" creationId="{256BA408-CB6A-5E59-5DF7-26A95AFB3906}"/>
          </ac:spMkLst>
        </pc:spChg>
        <pc:spChg chg="add del mod">
          <ac:chgData name="Steiner Andreas 6206 ED" userId="e6377c33-a923-4f14-8587-531c474c7b48" providerId="ADAL" clId="{6ECD27E6-B224-41CD-B4E0-E297462320DD}" dt="2023-11-24T08:34:42.978" v="20212"/>
          <ac:spMkLst>
            <pc:docMk/>
            <pc:sldMk cId="43921188" sldId="2147478579"/>
            <ac:spMk id="138" creationId="{ACF66543-BCB9-E626-EF24-9518D357F097}"/>
          </ac:spMkLst>
        </pc:spChg>
        <pc:spChg chg="add del mod">
          <ac:chgData name="Steiner Andreas 6206 ED" userId="e6377c33-a923-4f14-8587-531c474c7b48" providerId="ADAL" clId="{6ECD27E6-B224-41CD-B4E0-E297462320DD}" dt="2023-11-24T08:34:45.356" v="20367"/>
          <ac:spMkLst>
            <pc:docMk/>
            <pc:sldMk cId="43921188" sldId="2147478579"/>
            <ac:spMk id="139" creationId="{5D5B540F-2F47-51B2-8D68-5DE65681DDAC}"/>
          </ac:spMkLst>
        </pc:spChg>
        <pc:spChg chg="add del mod">
          <ac:chgData name="Steiner Andreas 6206 ED" userId="e6377c33-a923-4f14-8587-531c474c7b48" providerId="ADAL" clId="{6ECD27E6-B224-41CD-B4E0-E297462320DD}" dt="2023-11-24T08:34:47.617" v="20522"/>
          <ac:spMkLst>
            <pc:docMk/>
            <pc:sldMk cId="43921188" sldId="2147478579"/>
            <ac:spMk id="140" creationId="{6F3EB1DF-7296-BDB1-3F4A-6D23953014BC}"/>
          </ac:spMkLst>
        </pc:spChg>
        <pc:spChg chg="add del mod">
          <ac:chgData name="Steiner Andreas 6206 ED" userId="e6377c33-a923-4f14-8587-531c474c7b48" providerId="ADAL" clId="{6ECD27E6-B224-41CD-B4E0-E297462320DD}" dt="2023-11-24T08:34:49.907" v="20677"/>
          <ac:spMkLst>
            <pc:docMk/>
            <pc:sldMk cId="43921188" sldId="2147478579"/>
            <ac:spMk id="141" creationId="{203E5AAC-4EE5-5925-28C2-E3E6D0A9FF66}"/>
          </ac:spMkLst>
        </pc:spChg>
        <pc:spChg chg="add del mod">
          <ac:chgData name="Steiner Andreas 6206 ED" userId="e6377c33-a923-4f14-8587-531c474c7b48" providerId="ADAL" clId="{6ECD27E6-B224-41CD-B4E0-E297462320DD}" dt="2023-11-24T08:34:52.529" v="20832"/>
          <ac:spMkLst>
            <pc:docMk/>
            <pc:sldMk cId="43921188" sldId="2147478579"/>
            <ac:spMk id="142" creationId="{0803AA93-6D12-A4DD-4864-595C70B3A8EE}"/>
          </ac:spMkLst>
        </pc:spChg>
        <pc:spChg chg="add del mod">
          <ac:chgData name="Steiner Andreas 6206 ED" userId="e6377c33-a923-4f14-8587-531c474c7b48" providerId="ADAL" clId="{6ECD27E6-B224-41CD-B4E0-E297462320DD}" dt="2023-11-24T08:34:55.058" v="20987"/>
          <ac:spMkLst>
            <pc:docMk/>
            <pc:sldMk cId="43921188" sldId="2147478579"/>
            <ac:spMk id="143" creationId="{727C0858-9978-FDF0-0768-7669AC8A6CDE}"/>
          </ac:spMkLst>
        </pc:spChg>
        <pc:spChg chg="add del mod">
          <ac:chgData name="Steiner Andreas 6206 ED" userId="e6377c33-a923-4f14-8587-531c474c7b48" providerId="ADAL" clId="{6ECD27E6-B224-41CD-B4E0-E297462320DD}" dt="2023-11-24T08:34:57.369" v="21142"/>
          <ac:spMkLst>
            <pc:docMk/>
            <pc:sldMk cId="43921188" sldId="2147478579"/>
            <ac:spMk id="144" creationId="{4E3B574F-0648-07DB-836F-E57F25CDF052}"/>
          </ac:spMkLst>
        </pc:spChg>
        <pc:spChg chg="add del mod">
          <ac:chgData name="Steiner Andreas 6206 ED" userId="e6377c33-a923-4f14-8587-531c474c7b48" providerId="ADAL" clId="{6ECD27E6-B224-41CD-B4E0-E297462320DD}" dt="2023-11-24T08:34:59.857" v="21297"/>
          <ac:spMkLst>
            <pc:docMk/>
            <pc:sldMk cId="43921188" sldId="2147478579"/>
            <ac:spMk id="145" creationId="{293161EF-5010-B993-DE0A-FA40EDA5A64F}"/>
          </ac:spMkLst>
        </pc:spChg>
        <pc:spChg chg="add del mod">
          <ac:chgData name="Steiner Andreas 6206 ED" userId="e6377c33-a923-4f14-8587-531c474c7b48" providerId="ADAL" clId="{6ECD27E6-B224-41CD-B4E0-E297462320DD}" dt="2023-11-24T08:35:02.499" v="21452"/>
          <ac:spMkLst>
            <pc:docMk/>
            <pc:sldMk cId="43921188" sldId="2147478579"/>
            <ac:spMk id="146" creationId="{9338BB24-CB20-84BE-A637-0C35C1DA5180}"/>
          </ac:spMkLst>
        </pc:spChg>
        <pc:spChg chg="add del mod">
          <ac:chgData name="Steiner Andreas 6206 ED" userId="e6377c33-a923-4f14-8587-531c474c7b48" providerId="ADAL" clId="{6ECD27E6-B224-41CD-B4E0-E297462320DD}" dt="2023-11-24T08:35:04.998" v="21607"/>
          <ac:spMkLst>
            <pc:docMk/>
            <pc:sldMk cId="43921188" sldId="2147478579"/>
            <ac:spMk id="147" creationId="{B3BD2098-65CD-B98D-071E-040AB2ED0B88}"/>
          </ac:spMkLst>
        </pc:spChg>
        <pc:spChg chg="add del mod">
          <ac:chgData name="Steiner Andreas 6206 ED" userId="e6377c33-a923-4f14-8587-531c474c7b48" providerId="ADAL" clId="{6ECD27E6-B224-41CD-B4E0-E297462320DD}" dt="2023-11-24T08:35:07.470" v="21762"/>
          <ac:spMkLst>
            <pc:docMk/>
            <pc:sldMk cId="43921188" sldId="2147478579"/>
            <ac:spMk id="148" creationId="{984949BE-F29C-54FB-F200-3EDE7171477C}"/>
          </ac:spMkLst>
        </pc:spChg>
        <pc:spChg chg="add del mod">
          <ac:chgData name="Steiner Andreas 6206 ED" userId="e6377c33-a923-4f14-8587-531c474c7b48" providerId="ADAL" clId="{6ECD27E6-B224-41CD-B4E0-E297462320DD}" dt="2023-11-24T08:35:10.075" v="21917"/>
          <ac:spMkLst>
            <pc:docMk/>
            <pc:sldMk cId="43921188" sldId="2147478579"/>
            <ac:spMk id="149" creationId="{95AB2528-BC9C-C9D2-5A77-39A15BFDA3DA}"/>
          </ac:spMkLst>
        </pc:spChg>
        <pc:spChg chg="add del mod">
          <ac:chgData name="Steiner Andreas 6206 ED" userId="e6377c33-a923-4f14-8587-531c474c7b48" providerId="ADAL" clId="{6ECD27E6-B224-41CD-B4E0-E297462320DD}" dt="2023-11-24T08:35:12.517" v="22072"/>
          <ac:spMkLst>
            <pc:docMk/>
            <pc:sldMk cId="43921188" sldId="2147478579"/>
            <ac:spMk id="150" creationId="{5575146B-5036-B3E4-7AD3-6F6491A574A1}"/>
          </ac:spMkLst>
        </pc:spChg>
        <pc:spChg chg="add del mod">
          <ac:chgData name="Steiner Andreas 6206 ED" userId="e6377c33-a923-4f14-8587-531c474c7b48" providerId="ADAL" clId="{6ECD27E6-B224-41CD-B4E0-E297462320DD}" dt="2023-11-24T08:35:14.638" v="22227"/>
          <ac:spMkLst>
            <pc:docMk/>
            <pc:sldMk cId="43921188" sldId="2147478579"/>
            <ac:spMk id="151" creationId="{D77336E3-747F-8C21-44B9-B7305A706B47}"/>
          </ac:spMkLst>
        </pc:spChg>
        <pc:spChg chg="add del mod">
          <ac:chgData name="Steiner Andreas 6206 ED" userId="e6377c33-a923-4f14-8587-531c474c7b48" providerId="ADAL" clId="{6ECD27E6-B224-41CD-B4E0-E297462320DD}" dt="2023-11-24T08:35:16.944" v="22382"/>
          <ac:spMkLst>
            <pc:docMk/>
            <pc:sldMk cId="43921188" sldId="2147478579"/>
            <ac:spMk id="152" creationId="{44B77373-89FB-9926-B5A5-45EB61D6883B}"/>
          </ac:spMkLst>
        </pc:spChg>
        <pc:spChg chg="add del mod">
          <ac:chgData name="Steiner Andreas 6206 ED" userId="e6377c33-a923-4f14-8587-531c474c7b48" providerId="ADAL" clId="{6ECD27E6-B224-41CD-B4E0-E297462320DD}" dt="2023-11-24T08:35:19.384" v="22537"/>
          <ac:spMkLst>
            <pc:docMk/>
            <pc:sldMk cId="43921188" sldId="2147478579"/>
            <ac:spMk id="153" creationId="{8F9B86BA-6A22-1DC4-2446-1E5EB79C6B10}"/>
          </ac:spMkLst>
        </pc:spChg>
        <pc:spChg chg="add del mod">
          <ac:chgData name="Steiner Andreas 6206 ED" userId="e6377c33-a923-4f14-8587-531c474c7b48" providerId="ADAL" clId="{6ECD27E6-B224-41CD-B4E0-E297462320DD}" dt="2023-11-24T08:35:21.858" v="22692"/>
          <ac:spMkLst>
            <pc:docMk/>
            <pc:sldMk cId="43921188" sldId="2147478579"/>
            <ac:spMk id="154" creationId="{38DB87B2-A3FA-5DFF-4FFE-AB58777A13D4}"/>
          </ac:spMkLst>
        </pc:spChg>
        <pc:spChg chg="add del mod">
          <ac:chgData name="Steiner Andreas 6206 ED" userId="e6377c33-a923-4f14-8587-531c474c7b48" providerId="ADAL" clId="{6ECD27E6-B224-41CD-B4E0-E297462320DD}" dt="2023-11-24T08:35:24.179" v="22847"/>
          <ac:spMkLst>
            <pc:docMk/>
            <pc:sldMk cId="43921188" sldId="2147478579"/>
            <ac:spMk id="155" creationId="{66A592F3-DCCE-233C-3453-8190E32210B7}"/>
          </ac:spMkLst>
        </pc:spChg>
        <pc:spChg chg="add del mod">
          <ac:chgData name="Steiner Andreas 6206 ED" userId="e6377c33-a923-4f14-8587-531c474c7b48" providerId="ADAL" clId="{6ECD27E6-B224-41CD-B4E0-E297462320DD}" dt="2023-11-24T08:35:26.810" v="23002"/>
          <ac:spMkLst>
            <pc:docMk/>
            <pc:sldMk cId="43921188" sldId="2147478579"/>
            <ac:spMk id="156" creationId="{2B4ECD7E-C067-CD58-73E2-25D20270D7BF}"/>
          </ac:spMkLst>
        </pc:spChg>
        <pc:spChg chg="add del mod">
          <ac:chgData name="Steiner Andreas 6206 ED" userId="e6377c33-a923-4f14-8587-531c474c7b48" providerId="ADAL" clId="{6ECD27E6-B224-41CD-B4E0-E297462320DD}" dt="2023-11-24T08:35:29.412" v="23157"/>
          <ac:spMkLst>
            <pc:docMk/>
            <pc:sldMk cId="43921188" sldId="2147478579"/>
            <ac:spMk id="157" creationId="{F850B2D4-4E62-BB38-0B51-F2156F071F58}"/>
          </ac:spMkLst>
        </pc:spChg>
        <pc:spChg chg="add del mod">
          <ac:chgData name="Steiner Andreas 6206 ED" userId="e6377c33-a923-4f14-8587-531c474c7b48" providerId="ADAL" clId="{6ECD27E6-B224-41CD-B4E0-E297462320DD}" dt="2023-11-24T08:35:31.856" v="23312"/>
          <ac:spMkLst>
            <pc:docMk/>
            <pc:sldMk cId="43921188" sldId="2147478579"/>
            <ac:spMk id="158" creationId="{6B0A8A86-3F92-52CB-A31D-0CC256EB5E78}"/>
          </ac:spMkLst>
        </pc:spChg>
        <pc:spChg chg="add del mod">
          <ac:chgData name="Steiner Andreas 6206 ED" userId="e6377c33-a923-4f14-8587-531c474c7b48" providerId="ADAL" clId="{6ECD27E6-B224-41CD-B4E0-E297462320DD}" dt="2023-11-24T08:35:34.289" v="23467"/>
          <ac:spMkLst>
            <pc:docMk/>
            <pc:sldMk cId="43921188" sldId="2147478579"/>
            <ac:spMk id="159" creationId="{AE2426AA-874D-EAF4-9756-1CDF0E45D29E}"/>
          </ac:spMkLst>
        </pc:spChg>
        <pc:spChg chg="add del mod">
          <ac:chgData name="Steiner Andreas 6206 ED" userId="e6377c33-a923-4f14-8587-531c474c7b48" providerId="ADAL" clId="{6ECD27E6-B224-41CD-B4E0-E297462320DD}" dt="2023-11-24T08:35:36.592" v="23622"/>
          <ac:spMkLst>
            <pc:docMk/>
            <pc:sldMk cId="43921188" sldId="2147478579"/>
            <ac:spMk id="160" creationId="{ADC18E96-0E0C-4F4D-99A0-44FAB556C745}"/>
          </ac:spMkLst>
        </pc:spChg>
        <pc:spChg chg="add del mod">
          <ac:chgData name="Steiner Andreas 6206 ED" userId="e6377c33-a923-4f14-8587-531c474c7b48" providerId="ADAL" clId="{6ECD27E6-B224-41CD-B4E0-E297462320DD}" dt="2023-11-24T08:35:38.993" v="23777"/>
          <ac:spMkLst>
            <pc:docMk/>
            <pc:sldMk cId="43921188" sldId="2147478579"/>
            <ac:spMk id="161" creationId="{10A474A7-C82C-477A-B41C-090795AF0A4B}"/>
          </ac:spMkLst>
        </pc:spChg>
        <pc:spChg chg="add del mod">
          <ac:chgData name="Steiner Andreas 6206 ED" userId="e6377c33-a923-4f14-8587-531c474c7b48" providerId="ADAL" clId="{6ECD27E6-B224-41CD-B4E0-E297462320DD}" dt="2023-11-24T08:35:41.687" v="23932"/>
          <ac:spMkLst>
            <pc:docMk/>
            <pc:sldMk cId="43921188" sldId="2147478579"/>
            <ac:spMk id="162" creationId="{E407E2A0-039B-1527-48D5-D2862C8873EF}"/>
          </ac:spMkLst>
        </pc:spChg>
        <pc:spChg chg="add del mod">
          <ac:chgData name="Steiner Andreas 6206 ED" userId="e6377c33-a923-4f14-8587-531c474c7b48" providerId="ADAL" clId="{6ECD27E6-B224-41CD-B4E0-E297462320DD}" dt="2023-11-24T08:35:44.118" v="24087"/>
          <ac:spMkLst>
            <pc:docMk/>
            <pc:sldMk cId="43921188" sldId="2147478579"/>
            <ac:spMk id="163" creationId="{0E52291F-4126-9E22-D53E-F953C7295C1D}"/>
          </ac:spMkLst>
        </pc:spChg>
        <pc:spChg chg="add del mod">
          <ac:chgData name="Steiner Andreas 6206 ED" userId="e6377c33-a923-4f14-8587-531c474c7b48" providerId="ADAL" clId="{6ECD27E6-B224-41CD-B4E0-E297462320DD}" dt="2023-11-24T08:35:46.447" v="24242"/>
          <ac:spMkLst>
            <pc:docMk/>
            <pc:sldMk cId="43921188" sldId="2147478579"/>
            <ac:spMk id="164" creationId="{9D8E1A46-34ED-89C1-F6DA-8356637DBAF5}"/>
          </ac:spMkLst>
        </pc:spChg>
        <pc:spChg chg="add del mod">
          <ac:chgData name="Steiner Andreas 6206 ED" userId="e6377c33-a923-4f14-8587-531c474c7b48" providerId="ADAL" clId="{6ECD27E6-B224-41CD-B4E0-E297462320DD}" dt="2023-11-24T08:35:48.664" v="24397"/>
          <ac:spMkLst>
            <pc:docMk/>
            <pc:sldMk cId="43921188" sldId="2147478579"/>
            <ac:spMk id="165" creationId="{ABBAA72F-D782-00E3-C5D1-E0651F93FBF5}"/>
          </ac:spMkLst>
        </pc:spChg>
        <pc:spChg chg="add del mod">
          <ac:chgData name="Steiner Andreas 6206 ED" userId="e6377c33-a923-4f14-8587-531c474c7b48" providerId="ADAL" clId="{6ECD27E6-B224-41CD-B4E0-E297462320DD}" dt="2023-11-24T08:35:50.960" v="24552"/>
          <ac:spMkLst>
            <pc:docMk/>
            <pc:sldMk cId="43921188" sldId="2147478579"/>
            <ac:spMk id="166" creationId="{0DAE6D01-F778-5E38-35E8-23F46F3DA9AC}"/>
          </ac:spMkLst>
        </pc:spChg>
        <pc:spChg chg="add del mod">
          <ac:chgData name="Steiner Andreas 6206 ED" userId="e6377c33-a923-4f14-8587-531c474c7b48" providerId="ADAL" clId="{6ECD27E6-B224-41CD-B4E0-E297462320DD}" dt="2023-11-24T08:35:53.817" v="24707"/>
          <ac:spMkLst>
            <pc:docMk/>
            <pc:sldMk cId="43921188" sldId="2147478579"/>
            <ac:spMk id="167" creationId="{AF99821A-C908-3545-4268-E877DDF99292}"/>
          </ac:spMkLst>
        </pc:spChg>
        <pc:spChg chg="add del mod">
          <ac:chgData name="Steiner Andreas 6206 ED" userId="e6377c33-a923-4f14-8587-531c474c7b48" providerId="ADAL" clId="{6ECD27E6-B224-41CD-B4E0-E297462320DD}" dt="2023-11-24T08:35:56.374" v="24862"/>
          <ac:spMkLst>
            <pc:docMk/>
            <pc:sldMk cId="43921188" sldId="2147478579"/>
            <ac:spMk id="168" creationId="{99EA99B6-3E9B-84A8-FEBF-03BD6D40D74E}"/>
          </ac:spMkLst>
        </pc:spChg>
        <pc:spChg chg="add del mod">
          <ac:chgData name="Steiner Andreas 6206 ED" userId="e6377c33-a923-4f14-8587-531c474c7b48" providerId="ADAL" clId="{6ECD27E6-B224-41CD-B4E0-E297462320DD}" dt="2023-11-24T08:35:58.869" v="25017"/>
          <ac:spMkLst>
            <pc:docMk/>
            <pc:sldMk cId="43921188" sldId="2147478579"/>
            <ac:spMk id="169" creationId="{A45B5066-7531-3C47-9B87-73B810044578}"/>
          </ac:spMkLst>
        </pc:spChg>
        <pc:spChg chg="add del mod">
          <ac:chgData name="Steiner Andreas 6206 ED" userId="e6377c33-a923-4f14-8587-531c474c7b48" providerId="ADAL" clId="{6ECD27E6-B224-41CD-B4E0-E297462320DD}" dt="2023-11-24T08:36:01.303" v="25172"/>
          <ac:spMkLst>
            <pc:docMk/>
            <pc:sldMk cId="43921188" sldId="2147478579"/>
            <ac:spMk id="170" creationId="{72884FB8-FA58-D14C-4D02-C097920FEED8}"/>
          </ac:spMkLst>
        </pc:spChg>
        <pc:spChg chg="add del mod">
          <ac:chgData name="Steiner Andreas 6206 ED" userId="e6377c33-a923-4f14-8587-531c474c7b48" providerId="ADAL" clId="{6ECD27E6-B224-41CD-B4E0-E297462320DD}" dt="2023-11-24T08:36:03.838" v="25327"/>
          <ac:spMkLst>
            <pc:docMk/>
            <pc:sldMk cId="43921188" sldId="2147478579"/>
            <ac:spMk id="171" creationId="{5B85DB93-131E-D636-CD0B-4BB9D03DCFA8}"/>
          </ac:spMkLst>
        </pc:spChg>
        <pc:spChg chg="add del mod">
          <ac:chgData name="Steiner Andreas 6206 ED" userId="e6377c33-a923-4f14-8587-531c474c7b48" providerId="ADAL" clId="{6ECD27E6-B224-41CD-B4E0-E297462320DD}" dt="2023-11-24T08:36:06.475" v="25482"/>
          <ac:spMkLst>
            <pc:docMk/>
            <pc:sldMk cId="43921188" sldId="2147478579"/>
            <ac:spMk id="172" creationId="{8F98B610-0C76-86DC-13CC-A9B1ABD9D9B3}"/>
          </ac:spMkLst>
        </pc:spChg>
        <pc:spChg chg="add del mod">
          <ac:chgData name="Steiner Andreas 6206 ED" userId="e6377c33-a923-4f14-8587-531c474c7b48" providerId="ADAL" clId="{6ECD27E6-B224-41CD-B4E0-E297462320DD}" dt="2023-11-24T08:36:09.001" v="25637"/>
          <ac:spMkLst>
            <pc:docMk/>
            <pc:sldMk cId="43921188" sldId="2147478579"/>
            <ac:spMk id="173" creationId="{8C271526-BEE8-C217-E39C-72A7D59EB149}"/>
          </ac:spMkLst>
        </pc:spChg>
        <pc:spChg chg="add del mod">
          <ac:chgData name="Steiner Andreas 6206 ED" userId="e6377c33-a923-4f14-8587-531c474c7b48" providerId="ADAL" clId="{6ECD27E6-B224-41CD-B4E0-E297462320DD}" dt="2023-11-24T08:36:11.471" v="25792"/>
          <ac:spMkLst>
            <pc:docMk/>
            <pc:sldMk cId="43921188" sldId="2147478579"/>
            <ac:spMk id="174" creationId="{23DD8D3F-E773-4AD5-E9EF-401EF7F851CD}"/>
          </ac:spMkLst>
        </pc:spChg>
        <pc:spChg chg="add del mod">
          <ac:chgData name="Steiner Andreas 6206 ED" userId="e6377c33-a923-4f14-8587-531c474c7b48" providerId="ADAL" clId="{6ECD27E6-B224-41CD-B4E0-E297462320DD}" dt="2023-11-24T08:36:13.906" v="25947"/>
          <ac:spMkLst>
            <pc:docMk/>
            <pc:sldMk cId="43921188" sldId="2147478579"/>
            <ac:spMk id="175" creationId="{3D5FDAB2-441D-C730-4F46-6FF77F339217}"/>
          </ac:spMkLst>
        </pc:spChg>
        <pc:spChg chg="add del mod">
          <ac:chgData name="Steiner Andreas 6206 ED" userId="e6377c33-a923-4f14-8587-531c474c7b48" providerId="ADAL" clId="{6ECD27E6-B224-41CD-B4E0-E297462320DD}" dt="2023-11-24T08:36:16.541" v="26102"/>
          <ac:spMkLst>
            <pc:docMk/>
            <pc:sldMk cId="43921188" sldId="2147478579"/>
            <ac:spMk id="176" creationId="{F59B71E5-637E-7770-DFEB-426C2D1FE8D4}"/>
          </ac:spMkLst>
        </pc:spChg>
        <pc:spChg chg="add del mod">
          <ac:chgData name="Steiner Andreas 6206 ED" userId="e6377c33-a923-4f14-8587-531c474c7b48" providerId="ADAL" clId="{6ECD27E6-B224-41CD-B4E0-E297462320DD}" dt="2023-11-24T08:36:19.120" v="26257"/>
          <ac:spMkLst>
            <pc:docMk/>
            <pc:sldMk cId="43921188" sldId="2147478579"/>
            <ac:spMk id="177" creationId="{889BC167-3A20-4314-A24A-B28C1DAFF150}"/>
          </ac:spMkLst>
        </pc:spChg>
        <pc:spChg chg="add del mod">
          <ac:chgData name="Steiner Andreas 6206 ED" userId="e6377c33-a923-4f14-8587-531c474c7b48" providerId="ADAL" clId="{6ECD27E6-B224-41CD-B4E0-E297462320DD}" dt="2023-11-24T08:36:21.430" v="26412"/>
          <ac:spMkLst>
            <pc:docMk/>
            <pc:sldMk cId="43921188" sldId="2147478579"/>
            <ac:spMk id="178" creationId="{CF4187AA-41AA-C389-B077-5C4BF801B8A0}"/>
          </ac:spMkLst>
        </pc:spChg>
        <pc:spChg chg="add del mod">
          <ac:chgData name="Steiner Andreas 6206 ED" userId="e6377c33-a923-4f14-8587-531c474c7b48" providerId="ADAL" clId="{6ECD27E6-B224-41CD-B4E0-E297462320DD}" dt="2023-11-24T08:36:23.889" v="26567"/>
          <ac:spMkLst>
            <pc:docMk/>
            <pc:sldMk cId="43921188" sldId="2147478579"/>
            <ac:spMk id="179" creationId="{587C4FDF-BFEE-68AC-5113-D580DAE9B026}"/>
          </ac:spMkLst>
        </pc:spChg>
        <pc:spChg chg="add del mod">
          <ac:chgData name="Steiner Andreas 6206 ED" userId="e6377c33-a923-4f14-8587-531c474c7b48" providerId="ADAL" clId="{6ECD27E6-B224-41CD-B4E0-E297462320DD}" dt="2023-11-24T08:36:26.425" v="26722"/>
          <ac:spMkLst>
            <pc:docMk/>
            <pc:sldMk cId="43921188" sldId="2147478579"/>
            <ac:spMk id="180" creationId="{62AACC34-DE4D-BF20-A513-7AED5442D647}"/>
          </ac:spMkLst>
        </pc:spChg>
        <pc:spChg chg="add del mod">
          <ac:chgData name="Steiner Andreas 6206 ED" userId="e6377c33-a923-4f14-8587-531c474c7b48" providerId="ADAL" clId="{6ECD27E6-B224-41CD-B4E0-E297462320DD}" dt="2023-11-24T08:36:29.254" v="26877"/>
          <ac:spMkLst>
            <pc:docMk/>
            <pc:sldMk cId="43921188" sldId="2147478579"/>
            <ac:spMk id="181" creationId="{3B22703F-7CE7-BB4F-B6DD-AAE003AE3BF2}"/>
          </ac:spMkLst>
        </pc:spChg>
        <pc:spChg chg="add del mod">
          <ac:chgData name="Steiner Andreas 6206 ED" userId="e6377c33-a923-4f14-8587-531c474c7b48" providerId="ADAL" clId="{6ECD27E6-B224-41CD-B4E0-E297462320DD}" dt="2023-11-24T08:36:31.923" v="27032"/>
          <ac:spMkLst>
            <pc:docMk/>
            <pc:sldMk cId="43921188" sldId="2147478579"/>
            <ac:spMk id="182" creationId="{5D1B189F-B58E-F227-66DD-9E19F40164C5}"/>
          </ac:spMkLst>
        </pc:spChg>
        <pc:spChg chg="add del mod">
          <ac:chgData name="Steiner Andreas 6206 ED" userId="e6377c33-a923-4f14-8587-531c474c7b48" providerId="ADAL" clId="{6ECD27E6-B224-41CD-B4E0-E297462320DD}" dt="2023-11-24T08:36:34.586" v="27187"/>
          <ac:spMkLst>
            <pc:docMk/>
            <pc:sldMk cId="43921188" sldId="2147478579"/>
            <ac:spMk id="183" creationId="{55130E34-49F6-E2A1-25DB-FD9F0E973E02}"/>
          </ac:spMkLst>
        </pc:spChg>
        <pc:spChg chg="add del mod">
          <ac:chgData name="Steiner Andreas 6206 ED" userId="e6377c33-a923-4f14-8587-531c474c7b48" providerId="ADAL" clId="{6ECD27E6-B224-41CD-B4E0-E297462320DD}" dt="2023-11-24T08:36:37.117" v="27342"/>
          <ac:spMkLst>
            <pc:docMk/>
            <pc:sldMk cId="43921188" sldId="2147478579"/>
            <ac:spMk id="184" creationId="{D7BFC6E9-D17F-D925-1B68-D765C09078BE}"/>
          </ac:spMkLst>
        </pc:spChg>
        <pc:spChg chg="add del mod">
          <ac:chgData name="Steiner Andreas 6206 ED" userId="e6377c33-a923-4f14-8587-531c474c7b48" providerId="ADAL" clId="{6ECD27E6-B224-41CD-B4E0-E297462320DD}" dt="2023-11-24T08:36:39.617" v="27497"/>
          <ac:spMkLst>
            <pc:docMk/>
            <pc:sldMk cId="43921188" sldId="2147478579"/>
            <ac:spMk id="185" creationId="{0B8E8B2A-DE0E-90F0-77C9-26828B6EA38A}"/>
          </ac:spMkLst>
        </pc:spChg>
        <pc:spChg chg="add del mod">
          <ac:chgData name="Steiner Andreas 6206 ED" userId="e6377c33-a923-4f14-8587-531c474c7b48" providerId="ADAL" clId="{6ECD27E6-B224-41CD-B4E0-E297462320DD}" dt="2023-11-24T08:36:42.458" v="27652"/>
          <ac:spMkLst>
            <pc:docMk/>
            <pc:sldMk cId="43921188" sldId="2147478579"/>
            <ac:spMk id="186" creationId="{626EEBD3-244B-CAC0-B551-94B357E8BB2B}"/>
          </ac:spMkLst>
        </pc:spChg>
        <pc:spChg chg="add del mod">
          <ac:chgData name="Steiner Andreas 6206 ED" userId="e6377c33-a923-4f14-8587-531c474c7b48" providerId="ADAL" clId="{6ECD27E6-B224-41CD-B4E0-E297462320DD}" dt="2023-11-24T08:36:44.977" v="27807"/>
          <ac:spMkLst>
            <pc:docMk/>
            <pc:sldMk cId="43921188" sldId="2147478579"/>
            <ac:spMk id="187" creationId="{187D6AAA-2C76-B9DE-9B0B-151F2D00B386}"/>
          </ac:spMkLst>
        </pc:spChg>
        <pc:spChg chg="add del mod">
          <ac:chgData name="Steiner Andreas 6206 ED" userId="e6377c33-a923-4f14-8587-531c474c7b48" providerId="ADAL" clId="{6ECD27E6-B224-41CD-B4E0-E297462320DD}" dt="2023-11-24T08:36:47.343" v="27962"/>
          <ac:spMkLst>
            <pc:docMk/>
            <pc:sldMk cId="43921188" sldId="2147478579"/>
            <ac:spMk id="188" creationId="{E566427C-809C-B830-B175-F101B1A3F906}"/>
          </ac:spMkLst>
        </pc:spChg>
        <pc:spChg chg="add del mod">
          <ac:chgData name="Steiner Andreas 6206 ED" userId="e6377c33-a923-4f14-8587-531c474c7b48" providerId="ADAL" clId="{6ECD27E6-B224-41CD-B4E0-E297462320DD}" dt="2023-11-24T08:36:49.799" v="28117"/>
          <ac:spMkLst>
            <pc:docMk/>
            <pc:sldMk cId="43921188" sldId="2147478579"/>
            <ac:spMk id="189" creationId="{E2CB9A2E-DA19-39EE-0DD4-D9F069C1BC15}"/>
          </ac:spMkLst>
        </pc:spChg>
        <pc:spChg chg="add del mod">
          <ac:chgData name="Steiner Andreas 6206 ED" userId="e6377c33-a923-4f14-8587-531c474c7b48" providerId="ADAL" clId="{6ECD27E6-B224-41CD-B4E0-E297462320DD}" dt="2023-11-24T08:36:52.697" v="28272"/>
          <ac:spMkLst>
            <pc:docMk/>
            <pc:sldMk cId="43921188" sldId="2147478579"/>
            <ac:spMk id="190" creationId="{E1863DF6-97E9-FE34-3E93-39E05D0EA4EB}"/>
          </ac:spMkLst>
        </pc:spChg>
        <pc:spChg chg="add del mod">
          <ac:chgData name="Steiner Andreas 6206 ED" userId="e6377c33-a923-4f14-8587-531c474c7b48" providerId="ADAL" clId="{6ECD27E6-B224-41CD-B4E0-E297462320DD}" dt="2023-11-24T08:36:55.881" v="28427"/>
          <ac:spMkLst>
            <pc:docMk/>
            <pc:sldMk cId="43921188" sldId="2147478579"/>
            <ac:spMk id="191" creationId="{2C9E57AE-5960-69DD-205B-B9F764ED147A}"/>
          </ac:spMkLst>
        </pc:spChg>
        <pc:spChg chg="add del mod">
          <ac:chgData name="Steiner Andreas 6206 ED" userId="e6377c33-a923-4f14-8587-531c474c7b48" providerId="ADAL" clId="{6ECD27E6-B224-41CD-B4E0-E297462320DD}" dt="2023-11-24T08:36:58.658" v="28582"/>
          <ac:spMkLst>
            <pc:docMk/>
            <pc:sldMk cId="43921188" sldId="2147478579"/>
            <ac:spMk id="192" creationId="{7B8F7A1F-E02D-27F3-CDF7-7ADCFAB3E04B}"/>
          </ac:spMkLst>
        </pc:spChg>
        <pc:spChg chg="add del mod">
          <ac:chgData name="Steiner Andreas 6206 ED" userId="e6377c33-a923-4f14-8587-531c474c7b48" providerId="ADAL" clId="{6ECD27E6-B224-41CD-B4E0-E297462320DD}" dt="2023-11-24T08:37:01.489" v="28737"/>
          <ac:spMkLst>
            <pc:docMk/>
            <pc:sldMk cId="43921188" sldId="2147478579"/>
            <ac:spMk id="193" creationId="{3DEABB60-ABD1-6AA4-7BF6-1539E87AFD2A}"/>
          </ac:spMkLst>
        </pc:spChg>
        <pc:spChg chg="add del mod">
          <ac:chgData name="Steiner Andreas 6206 ED" userId="e6377c33-a923-4f14-8587-531c474c7b48" providerId="ADAL" clId="{6ECD27E6-B224-41CD-B4E0-E297462320DD}" dt="2023-11-24T08:37:04.121" v="28892"/>
          <ac:spMkLst>
            <pc:docMk/>
            <pc:sldMk cId="43921188" sldId="2147478579"/>
            <ac:spMk id="194" creationId="{C51A9947-29AB-48ED-810C-4CCCDA801D71}"/>
          </ac:spMkLst>
        </pc:spChg>
        <pc:spChg chg="add del mod">
          <ac:chgData name="Steiner Andreas 6206 ED" userId="e6377c33-a923-4f14-8587-531c474c7b48" providerId="ADAL" clId="{6ECD27E6-B224-41CD-B4E0-E297462320DD}" dt="2023-11-24T08:37:07.028" v="29047"/>
          <ac:spMkLst>
            <pc:docMk/>
            <pc:sldMk cId="43921188" sldId="2147478579"/>
            <ac:spMk id="195" creationId="{A35B4233-72A9-9F85-BAB9-2E614EEFBAFA}"/>
          </ac:spMkLst>
        </pc:spChg>
        <pc:spChg chg="add del mod">
          <ac:chgData name="Steiner Andreas 6206 ED" userId="e6377c33-a923-4f14-8587-531c474c7b48" providerId="ADAL" clId="{6ECD27E6-B224-41CD-B4E0-E297462320DD}" dt="2023-11-24T08:37:09.609" v="29202"/>
          <ac:spMkLst>
            <pc:docMk/>
            <pc:sldMk cId="43921188" sldId="2147478579"/>
            <ac:spMk id="196" creationId="{B621CAD4-C46A-5DA3-4DF4-0481E1ABFC4A}"/>
          </ac:spMkLst>
        </pc:spChg>
        <pc:spChg chg="add del mod">
          <ac:chgData name="Steiner Andreas 6206 ED" userId="e6377c33-a923-4f14-8587-531c474c7b48" providerId="ADAL" clId="{6ECD27E6-B224-41CD-B4E0-E297462320DD}" dt="2023-11-24T08:37:12.388" v="29357"/>
          <ac:spMkLst>
            <pc:docMk/>
            <pc:sldMk cId="43921188" sldId="2147478579"/>
            <ac:spMk id="197" creationId="{0C405FE5-6F39-7EFD-681F-57AE74C63DD8}"/>
          </ac:spMkLst>
        </pc:spChg>
        <pc:spChg chg="add del mod">
          <ac:chgData name="Steiner Andreas 6206 ED" userId="e6377c33-a923-4f14-8587-531c474c7b48" providerId="ADAL" clId="{6ECD27E6-B224-41CD-B4E0-E297462320DD}" dt="2023-11-24T08:37:15.527" v="29512"/>
          <ac:spMkLst>
            <pc:docMk/>
            <pc:sldMk cId="43921188" sldId="2147478579"/>
            <ac:spMk id="198" creationId="{1EFFA676-68BD-869F-0F43-95A553354D7F}"/>
          </ac:spMkLst>
        </pc:spChg>
        <pc:spChg chg="add del mod">
          <ac:chgData name="Steiner Andreas 6206 ED" userId="e6377c33-a923-4f14-8587-531c474c7b48" providerId="ADAL" clId="{6ECD27E6-B224-41CD-B4E0-E297462320DD}" dt="2023-11-24T08:37:18.466" v="29667"/>
          <ac:spMkLst>
            <pc:docMk/>
            <pc:sldMk cId="43921188" sldId="2147478579"/>
            <ac:spMk id="199" creationId="{43FFBD14-84B6-2FB3-1033-3C35B5CF0913}"/>
          </ac:spMkLst>
        </pc:spChg>
        <pc:spChg chg="add del mod">
          <ac:chgData name="Steiner Andreas 6206 ED" userId="e6377c33-a923-4f14-8587-531c474c7b48" providerId="ADAL" clId="{6ECD27E6-B224-41CD-B4E0-E297462320DD}" dt="2023-11-24T08:37:20.946" v="29822"/>
          <ac:spMkLst>
            <pc:docMk/>
            <pc:sldMk cId="43921188" sldId="2147478579"/>
            <ac:spMk id="200" creationId="{6F2BA4FF-4EF8-4AFE-F0F4-A93E35CCD25B}"/>
          </ac:spMkLst>
        </pc:spChg>
        <pc:spChg chg="add del mod">
          <ac:chgData name="Steiner Andreas 6206 ED" userId="e6377c33-a923-4f14-8587-531c474c7b48" providerId="ADAL" clId="{6ECD27E6-B224-41CD-B4E0-E297462320DD}" dt="2023-11-24T08:37:23.758" v="29977"/>
          <ac:spMkLst>
            <pc:docMk/>
            <pc:sldMk cId="43921188" sldId="2147478579"/>
            <ac:spMk id="201" creationId="{0AADA040-80C1-3299-4877-02A613736045}"/>
          </ac:spMkLst>
        </pc:spChg>
        <pc:spChg chg="add del mod">
          <ac:chgData name="Steiner Andreas 6206 ED" userId="e6377c33-a923-4f14-8587-531c474c7b48" providerId="ADAL" clId="{6ECD27E6-B224-41CD-B4E0-E297462320DD}" dt="2023-11-24T08:37:26.322" v="30132"/>
          <ac:spMkLst>
            <pc:docMk/>
            <pc:sldMk cId="43921188" sldId="2147478579"/>
            <ac:spMk id="202" creationId="{AA6CFB92-2CA4-080C-2E04-D7885D66AD9C}"/>
          </ac:spMkLst>
        </pc:spChg>
        <pc:spChg chg="add del mod">
          <ac:chgData name="Steiner Andreas 6206 ED" userId="e6377c33-a923-4f14-8587-531c474c7b48" providerId="ADAL" clId="{6ECD27E6-B224-41CD-B4E0-E297462320DD}" dt="2023-11-24T08:37:29.421" v="30287"/>
          <ac:spMkLst>
            <pc:docMk/>
            <pc:sldMk cId="43921188" sldId="2147478579"/>
            <ac:spMk id="203" creationId="{3D5221FC-F966-F858-364F-AC7D94C93373}"/>
          </ac:spMkLst>
        </pc:spChg>
        <pc:spChg chg="add del mod">
          <ac:chgData name="Steiner Andreas 6206 ED" userId="e6377c33-a923-4f14-8587-531c474c7b48" providerId="ADAL" clId="{6ECD27E6-B224-41CD-B4E0-E297462320DD}" dt="2023-11-24T08:37:32.497" v="30442"/>
          <ac:spMkLst>
            <pc:docMk/>
            <pc:sldMk cId="43921188" sldId="2147478579"/>
            <ac:spMk id="204" creationId="{38CAE628-EE03-4403-C43E-663176BCCE2C}"/>
          </ac:spMkLst>
        </pc:spChg>
        <pc:spChg chg="add del mod">
          <ac:chgData name="Steiner Andreas 6206 ED" userId="e6377c33-a923-4f14-8587-531c474c7b48" providerId="ADAL" clId="{6ECD27E6-B224-41CD-B4E0-E297462320DD}" dt="2023-11-24T08:37:35.101" v="30597"/>
          <ac:spMkLst>
            <pc:docMk/>
            <pc:sldMk cId="43921188" sldId="2147478579"/>
            <ac:spMk id="205" creationId="{E41077AD-E0DF-70E4-0C98-61568BF47D14}"/>
          </ac:spMkLst>
        </pc:spChg>
        <pc:spChg chg="add del mod">
          <ac:chgData name="Steiner Andreas 6206 ED" userId="e6377c33-a923-4f14-8587-531c474c7b48" providerId="ADAL" clId="{6ECD27E6-B224-41CD-B4E0-E297462320DD}" dt="2023-11-24T08:37:37.780" v="30752"/>
          <ac:spMkLst>
            <pc:docMk/>
            <pc:sldMk cId="43921188" sldId="2147478579"/>
            <ac:spMk id="206" creationId="{46ED3F44-C52C-1FC2-CB58-CE796CB86E5F}"/>
          </ac:spMkLst>
        </pc:spChg>
        <pc:spChg chg="add del mod">
          <ac:chgData name="Steiner Andreas 6206 ED" userId="e6377c33-a923-4f14-8587-531c474c7b48" providerId="ADAL" clId="{6ECD27E6-B224-41CD-B4E0-E297462320DD}" dt="2023-11-24T08:37:41.165" v="30907"/>
          <ac:spMkLst>
            <pc:docMk/>
            <pc:sldMk cId="43921188" sldId="2147478579"/>
            <ac:spMk id="207" creationId="{2EA8B975-5D38-CE3F-9824-27ACDB2DCC03}"/>
          </ac:spMkLst>
        </pc:spChg>
        <pc:spChg chg="add del mod">
          <ac:chgData name="Steiner Andreas 6206 ED" userId="e6377c33-a923-4f14-8587-531c474c7b48" providerId="ADAL" clId="{6ECD27E6-B224-41CD-B4E0-E297462320DD}" dt="2023-11-24T08:37:44.617" v="31062"/>
          <ac:spMkLst>
            <pc:docMk/>
            <pc:sldMk cId="43921188" sldId="2147478579"/>
            <ac:spMk id="208" creationId="{02620726-F319-11F9-B700-4B80BAD6F04E}"/>
          </ac:spMkLst>
        </pc:spChg>
        <pc:spChg chg="add del mod">
          <ac:chgData name="Steiner Andreas 6206 ED" userId="e6377c33-a923-4f14-8587-531c474c7b48" providerId="ADAL" clId="{6ECD27E6-B224-41CD-B4E0-E297462320DD}" dt="2023-11-24T08:37:47.480" v="31217"/>
          <ac:spMkLst>
            <pc:docMk/>
            <pc:sldMk cId="43921188" sldId="2147478579"/>
            <ac:spMk id="209" creationId="{479492D6-710C-3F52-B462-2FDBBF5F7999}"/>
          </ac:spMkLst>
        </pc:spChg>
        <pc:spChg chg="add del mod">
          <ac:chgData name="Steiner Andreas 6206 ED" userId="e6377c33-a923-4f14-8587-531c474c7b48" providerId="ADAL" clId="{6ECD27E6-B224-41CD-B4E0-E297462320DD}" dt="2023-11-24T08:37:50.235" v="31372"/>
          <ac:spMkLst>
            <pc:docMk/>
            <pc:sldMk cId="43921188" sldId="2147478579"/>
            <ac:spMk id="210" creationId="{88873CFA-D48B-8367-C65F-23C76239F3E6}"/>
          </ac:spMkLst>
        </pc:spChg>
        <pc:spChg chg="add del mod">
          <ac:chgData name="Steiner Andreas 6206 ED" userId="e6377c33-a923-4f14-8587-531c474c7b48" providerId="ADAL" clId="{6ECD27E6-B224-41CD-B4E0-E297462320DD}" dt="2023-11-24T08:37:52.879" v="31527"/>
          <ac:spMkLst>
            <pc:docMk/>
            <pc:sldMk cId="43921188" sldId="2147478579"/>
            <ac:spMk id="211" creationId="{F0AB458D-410F-49A9-21C8-58A2A3D67CED}"/>
          </ac:spMkLst>
        </pc:spChg>
        <pc:spChg chg="add del mod">
          <ac:chgData name="Steiner Andreas 6206 ED" userId="e6377c33-a923-4f14-8587-531c474c7b48" providerId="ADAL" clId="{6ECD27E6-B224-41CD-B4E0-E297462320DD}" dt="2023-11-24T08:37:56.786" v="31682"/>
          <ac:spMkLst>
            <pc:docMk/>
            <pc:sldMk cId="43921188" sldId="2147478579"/>
            <ac:spMk id="212" creationId="{DC0209A4-1F60-E4B2-ABB4-7056FF15D23C}"/>
          </ac:spMkLst>
        </pc:spChg>
        <pc:spChg chg="add del mod">
          <ac:chgData name="Steiner Andreas 6206 ED" userId="e6377c33-a923-4f14-8587-531c474c7b48" providerId="ADAL" clId="{6ECD27E6-B224-41CD-B4E0-E297462320DD}" dt="2023-11-24T08:37:59.665" v="31837"/>
          <ac:spMkLst>
            <pc:docMk/>
            <pc:sldMk cId="43921188" sldId="2147478579"/>
            <ac:spMk id="213" creationId="{1F86388D-7505-1E73-0836-944B2DD476FB}"/>
          </ac:spMkLst>
        </pc:spChg>
        <pc:spChg chg="add del mod">
          <ac:chgData name="Steiner Andreas 6206 ED" userId="e6377c33-a923-4f14-8587-531c474c7b48" providerId="ADAL" clId="{6ECD27E6-B224-41CD-B4E0-E297462320DD}" dt="2023-11-24T08:38:02.689" v="31992"/>
          <ac:spMkLst>
            <pc:docMk/>
            <pc:sldMk cId="43921188" sldId="2147478579"/>
            <ac:spMk id="214" creationId="{7758153D-F25F-0031-5E06-413067A34B67}"/>
          </ac:spMkLst>
        </pc:spChg>
        <pc:spChg chg="add del mod">
          <ac:chgData name="Steiner Andreas 6206 ED" userId="e6377c33-a923-4f14-8587-531c474c7b48" providerId="ADAL" clId="{6ECD27E6-B224-41CD-B4E0-E297462320DD}" dt="2023-11-24T08:38:05.573" v="32147"/>
          <ac:spMkLst>
            <pc:docMk/>
            <pc:sldMk cId="43921188" sldId="2147478579"/>
            <ac:spMk id="215" creationId="{32124614-E95F-8D02-E29D-7EF300FC6146}"/>
          </ac:spMkLst>
        </pc:spChg>
        <pc:spChg chg="add del mod">
          <ac:chgData name="Steiner Andreas 6206 ED" userId="e6377c33-a923-4f14-8587-531c474c7b48" providerId="ADAL" clId="{6ECD27E6-B224-41CD-B4E0-E297462320DD}" dt="2023-11-24T08:38:08.692" v="32302"/>
          <ac:spMkLst>
            <pc:docMk/>
            <pc:sldMk cId="43921188" sldId="2147478579"/>
            <ac:spMk id="216" creationId="{F7360393-C387-C9F0-8CCB-EFBA93DFCAF4}"/>
          </ac:spMkLst>
        </pc:spChg>
        <pc:spChg chg="add del mod">
          <ac:chgData name="Steiner Andreas 6206 ED" userId="e6377c33-a923-4f14-8587-531c474c7b48" providerId="ADAL" clId="{6ECD27E6-B224-41CD-B4E0-E297462320DD}" dt="2023-11-24T08:38:11.432" v="32457"/>
          <ac:spMkLst>
            <pc:docMk/>
            <pc:sldMk cId="43921188" sldId="2147478579"/>
            <ac:spMk id="217" creationId="{90F7A85C-861B-A6C5-01EA-F5D3C9603652}"/>
          </ac:spMkLst>
        </pc:spChg>
        <pc:spChg chg="add del mod">
          <ac:chgData name="Steiner Andreas 6206 ED" userId="e6377c33-a923-4f14-8587-531c474c7b48" providerId="ADAL" clId="{6ECD27E6-B224-41CD-B4E0-E297462320DD}" dt="2023-11-24T08:38:14.095" v="32612"/>
          <ac:spMkLst>
            <pc:docMk/>
            <pc:sldMk cId="43921188" sldId="2147478579"/>
            <ac:spMk id="218" creationId="{E58C0A13-701F-5482-241C-8FA3A0FDB6DA}"/>
          </ac:spMkLst>
        </pc:spChg>
        <pc:spChg chg="add del mod">
          <ac:chgData name="Steiner Andreas 6206 ED" userId="e6377c33-a923-4f14-8587-531c474c7b48" providerId="ADAL" clId="{6ECD27E6-B224-41CD-B4E0-E297462320DD}" dt="2023-11-24T08:38:16.797" v="32767"/>
          <ac:spMkLst>
            <pc:docMk/>
            <pc:sldMk cId="43921188" sldId="2147478579"/>
            <ac:spMk id="219" creationId="{E86EAF17-917C-4E3B-658F-A5B1708C079B}"/>
          </ac:spMkLst>
        </pc:spChg>
        <pc:spChg chg="add del mod">
          <ac:chgData name="Steiner Andreas 6206 ED" userId="e6377c33-a923-4f14-8587-531c474c7b48" providerId="ADAL" clId="{6ECD27E6-B224-41CD-B4E0-E297462320DD}" dt="2023-11-24T08:38:19.669" v="32922"/>
          <ac:spMkLst>
            <pc:docMk/>
            <pc:sldMk cId="43921188" sldId="2147478579"/>
            <ac:spMk id="220" creationId="{995B6374-31E0-BD17-9D1D-FFA48A4E1C61}"/>
          </ac:spMkLst>
        </pc:spChg>
        <pc:spChg chg="add del mod">
          <ac:chgData name="Steiner Andreas 6206 ED" userId="e6377c33-a923-4f14-8587-531c474c7b48" providerId="ADAL" clId="{6ECD27E6-B224-41CD-B4E0-E297462320DD}" dt="2023-11-24T08:38:22.530" v="33077"/>
          <ac:spMkLst>
            <pc:docMk/>
            <pc:sldMk cId="43921188" sldId="2147478579"/>
            <ac:spMk id="221" creationId="{B71CE7AD-A535-050D-9672-D1177A27576A}"/>
          </ac:spMkLst>
        </pc:spChg>
        <pc:spChg chg="add del mod">
          <ac:chgData name="Steiner Andreas 6206 ED" userId="e6377c33-a923-4f14-8587-531c474c7b48" providerId="ADAL" clId="{6ECD27E6-B224-41CD-B4E0-E297462320DD}" dt="2023-11-24T08:38:25.377" v="33232"/>
          <ac:spMkLst>
            <pc:docMk/>
            <pc:sldMk cId="43921188" sldId="2147478579"/>
            <ac:spMk id="222" creationId="{1218AADF-741D-6405-4418-C6FD1F69F79E}"/>
          </ac:spMkLst>
        </pc:spChg>
        <pc:spChg chg="add del mod">
          <ac:chgData name="Steiner Andreas 6206 ED" userId="e6377c33-a923-4f14-8587-531c474c7b48" providerId="ADAL" clId="{6ECD27E6-B224-41CD-B4E0-E297462320DD}" dt="2023-11-24T08:38:28.946" v="33387"/>
          <ac:spMkLst>
            <pc:docMk/>
            <pc:sldMk cId="43921188" sldId="2147478579"/>
            <ac:spMk id="223" creationId="{D355D258-BA4B-2CE9-36BA-ED71A8C68626}"/>
          </ac:spMkLst>
        </pc:spChg>
        <pc:spChg chg="add del mod">
          <ac:chgData name="Steiner Andreas 6206 ED" userId="e6377c33-a923-4f14-8587-531c474c7b48" providerId="ADAL" clId="{6ECD27E6-B224-41CD-B4E0-E297462320DD}" dt="2023-11-24T08:38:32.083" v="33542"/>
          <ac:spMkLst>
            <pc:docMk/>
            <pc:sldMk cId="43921188" sldId="2147478579"/>
            <ac:spMk id="224" creationId="{E0DE5379-11C0-E07D-D1D4-00AD1312C609}"/>
          </ac:spMkLst>
        </pc:spChg>
        <pc:spChg chg="add del mod">
          <ac:chgData name="Steiner Andreas 6206 ED" userId="e6377c33-a923-4f14-8587-531c474c7b48" providerId="ADAL" clId="{6ECD27E6-B224-41CD-B4E0-E297462320DD}" dt="2023-11-24T08:38:34.888" v="33697"/>
          <ac:spMkLst>
            <pc:docMk/>
            <pc:sldMk cId="43921188" sldId="2147478579"/>
            <ac:spMk id="225" creationId="{1AC5B18D-AE91-4718-4D78-34EC1747B4AA}"/>
          </ac:spMkLst>
        </pc:spChg>
        <pc:spChg chg="add del mod">
          <ac:chgData name="Steiner Andreas 6206 ED" userId="e6377c33-a923-4f14-8587-531c474c7b48" providerId="ADAL" clId="{6ECD27E6-B224-41CD-B4E0-E297462320DD}" dt="2023-11-24T08:38:37.541" v="33852"/>
          <ac:spMkLst>
            <pc:docMk/>
            <pc:sldMk cId="43921188" sldId="2147478579"/>
            <ac:spMk id="226" creationId="{F29A20BA-6FC2-A4EA-4B5C-9EA14B826C71}"/>
          </ac:spMkLst>
        </pc:spChg>
        <pc:spChg chg="add del mod">
          <ac:chgData name="Steiner Andreas 6206 ED" userId="e6377c33-a923-4f14-8587-531c474c7b48" providerId="ADAL" clId="{6ECD27E6-B224-41CD-B4E0-E297462320DD}" dt="2023-11-24T08:38:40.062" v="34007"/>
          <ac:spMkLst>
            <pc:docMk/>
            <pc:sldMk cId="43921188" sldId="2147478579"/>
            <ac:spMk id="227" creationId="{00712314-F66B-DDD0-785A-FD9061160588}"/>
          </ac:spMkLst>
        </pc:spChg>
        <pc:spChg chg="add del mod">
          <ac:chgData name="Steiner Andreas 6206 ED" userId="e6377c33-a923-4f14-8587-531c474c7b48" providerId="ADAL" clId="{6ECD27E6-B224-41CD-B4E0-E297462320DD}" dt="2023-11-24T08:38:42.571" v="34162"/>
          <ac:spMkLst>
            <pc:docMk/>
            <pc:sldMk cId="43921188" sldId="2147478579"/>
            <ac:spMk id="228" creationId="{4F8263A8-787F-01D6-EBE1-AE7BCED8B49E}"/>
          </ac:spMkLst>
        </pc:spChg>
        <pc:spChg chg="add del mod">
          <ac:chgData name="Steiner Andreas 6206 ED" userId="e6377c33-a923-4f14-8587-531c474c7b48" providerId="ADAL" clId="{6ECD27E6-B224-41CD-B4E0-E297462320DD}" dt="2023-11-24T08:38:46.570" v="34317"/>
          <ac:spMkLst>
            <pc:docMk/>
            <pc:sldMk cId="43921188" sldId="2147478579"/>
            <ac:spMk id="229" creationId="{EA0F70E4-55D4-D7F6-FEB9-D6A1E9F27F74}"/>
          </ac:spMkLst>
        </pc:spChg>
        <pc:spChg chg="add del mod">
          <ac:chgData name="Steiner Andreas 6206 ED" userId="e6377c33-a923-4f14-8587-531c474c7b48" providerId="ADAL" clId="{6ECD27E6-B224-41CD-B4E0-E297462320DD}" dt="2023-11-24T08:38:49.317" v="34472"/>
          <ac:spMkLst>
            <pc:docMk/>
            <pc:sldMk cId="43921188" sldId="2147478579"/>
            <ac:spMk id="230" creationId="{67C9307F-8B8E-82E1-488D-069BA4ABDC23}"/>
          </ac:spMkLst>
        </pc:spChg>
        <pc:spChg chg="add del mod">
          <ac:chgData name="Steiner Andreas 6206 ED" userId="e6377c33-a923-4f14-8587-531c474c7b48" providerId="ADAL" clId="{6ECD27E6-B224-41CD-B4E0-E297462320DD}" dt="2023-11-24T08:38:52.074" v="34627"/>
          <ac:spMkLst>
            <pc:docMk/>
            <pc:sldMk cId="43921188" sldId="2147478579"/>
            <ac:spMk id="231" creationId="{5907BB2B-77D2-903B-4671-E0C27AC04B22}"/>
          </ac:spMkLst>
        </pc:spChg>
        <pc:spChg chg="add del mod">
          <ac:chgData name="Steiner Andreas 6206 ED" userId="e6377c33-a923-4f14-8587-531c474c7b48" providerId="ADAL" clId="{6ECD27E6-B224-41CD-B4E0-E297462320DD}" dt="2023-11-24T08:38:54.979" v="34782"/>
          <ac:spMkLst>
            <pc:docMk/>
            <pc:sldMk cId="43921188" sldId="2147478579"/>
            <ac:spMk id="232" creationId="{9C2DDE53-2E59-767E-A8BD-10AE20C38725}"/>
          </ac:spMkLst>
        </pc:spChg>
        <pc:spChg chg="add del mod">
          <ac:chgData name="Steiner Andreas 6206 ED" userId="e6377c33-a923-4f14-8587-531c474c7b48" providerId="ADAL" clId="{6ECD27E6-B224-41CD-B4E0-E297462320DD}" dt="2023-11-24T08:38:58.122" v="34937"/>
          <ac:spMkLst>
            <pc:docMk/>
            <pc:sldMk cId="43921188" sldId="2147478579"/>
            <ac:spMk id="233" creationId="{042C9D1B-E922-0FB7-B9E4-BFE543160AE8}"/>
          </ac:spMkLst>
        </pc:spChg>
        <pc:spChg chg="add del mod">
          <ac:chgData name="Steiner Andreas 6206 ED" userId="e6377c33-a923-4f14-8587-531c474c7b48" providerId="ADAL" clId="{6ECD27E6-B224-41CD-B4E0-E297462320DD}" dt="2023-11-24T08:39:01.528" v="35092"/>
          <ac:spMkLst>
            <pc:docMk/>
            <pc:sldMk cId="43921188" sldId="2147478579"/>
            <ac:spMk id="234" creationId="{02B01BBD-C1B9-367D-56BF-7090F8781DB2}"/>
          </ac:spMkLst>
        </pc:spChg>
        <pc:spChg chg="add del mod">
          <ac:chgData name="Steiner Andreas 6206 ED" userId="e6377c33-a923-4f14-8587-531c474c7b48" providerId="ADAL" clId="{6ECD27E6-B224-41CD-B4E0-E297462320DD}" dt="2023-11-24T08:39:04.897" v="35247"/>
          <ac:spMkLst>
            <pc:docMk/>
            <pc:sldMk cId="43921188" sldId="2147478579"/>
            <ac:spMk id="235" creationId="{4CEE25B5-FCA5-8E3F-9610-EBF390700E38}"/>
          </ac:spMkLst>
        </pc:spChg>
        <pc:spChg chg="add del mod">
          <ac:chgData name="Steiner Andreas 6206 ED" userId="e6377c33-a923-4f14-8587-531c474c7b48" providerId="ADAL" clId="{6ECD27E6-B224-41CD-B4E0-E297462320DD}" dt="2023-11-24T08:39:07.734" v="35402"/>
          <ac:spMkLst>
            <pc:docMk/>
            <pc:sldMk cId="43921188" sldId="2147478579"/>
            <ac:spMk id="236" creationId="{9E2EB31E-FA98-6B78-CB26-7CD08D291DC5}"/>
          </ac:spMkLst>
        </pc:spChg>
        <pc:spChg chg="add del mod">
          <ac:chgData name="Steiner Andreas 6206 ED" userId="e6377c33-a923-4f14-8587-531c474c7b48" providerId="ADAL" clId="{6ECD27E6-B224-41CD-B4E0-E297462320DD}" dt="2023-11-24T08:39:12.319" v="35557"/>
          <ac:spMkLst>
            <pc:docMk/>
            <pc:sldMk cId="43921188" sldId="2147478579"/>
            <ac:spMk id="237" creationId="{59B735A6-4EA7-1BC0-157E-CBF0A34E9E07}"/>
          </ac:spMkLst>
        </pc:spChg>
        <pc:spChg chg="add del mod">
          <ac:chgData name="Steiner Andreas 6206 ED" userId="e6377c33-a923-4f14-8587-531c474c7b48" providerId="ADAL" clId="{6ECD27E6-B224-41CD-B4E0-E297462320DD}" dt="2023-11-24T08:39:15.153" v="35712"/>
          <ac:spMkLst>
            <pc:docMk/>
            <pc:sldMk cId="43921188" sldId="2147478579"/>
            <ac:spMk id="238" creationId="{4C4FCEB4-1FE2-B385-45A3-C61A50C532EE}"/>
          </ac:spMkLst>
        </pc:spChg>
        <pc:spChg chg="add del mod">
          <ac:chgData name="Steiner Andreas 6206 ED" userId="e6377c33-a923-4f14-8587-531c474c7b48" providerId="ADAL" clId="{6ECD27E6-B224-41CD-B4E0-E297462320DD}" dt="2023-11-24T08:39:17.701" v="35867"/>
          <ac:spMkLst>
            <pc:docMk/>
            <pc:sldMk cId="43921188" sldId="2147478579"/>
            <ac:spMk id="239" creationId="{808072F0-81AA-9C3D-18D7-790A5B6C88C8}"/>
          </ac:spMkLst>
        </pc:spChg>
        <pc:spChg chg="add del mod">
          <ac:chgData name="Steiner Andreas 6206 ED" userId="e6377c33-a923-4f14-8587-531c474c7b48" providerId="ADAL" clId="{6ECD27E6-B224-41CD-B4E0-E297462320DD}" dt="2023-11-24T08:39:20.398" v="36022"/>
          <ac:spMkLst>
            <pc:docMk/>
            <pc:sldMk cId="43921188" sldId="2147478579"/>
            <ac:spMk id="240" creationId="{F304E095-9E3D-2380-0FF8-2C1BA5DBFECE}"/>
          </ac:spMkLst>
        </pc:spChg>
        <pc:spChg chg="add del mod">
          <ac:chgData name="Steiner Andreas 6206 ED" userId="e6377c33-a923-4f14-8587-531c474c7b48" providerId="ADAL" clId="{6ECD27E6-B224-41CD-B4E0-E297462320DD}" dt="2023-11-24T08:39:23.455" v="36177"/>
          <ac:spMkLst>
            <pc:docMk/>
            <pc:sldMk cId="43921188" sldId="2147478579"/>
            <ac:spMk id="241" creationId="{957910E2-145D-5F8F-2155-0D807DCCE249}"/>
          </ac:spMkLst>
        </pc:spChg>
        <pc:spChg chg="add del mod">
          <ac:chgData name="Steiner Andreas 6206 ED" userId="e6377c33-a923-4f14-8587-531c474c7b48" providerId="ADAL" clId="{6ECD27E6-B224-41CD-B4E0-E297462320DD}" dt="2023-11-24T08:39:26.307" v="36332"/>
          <ac:spMkLst>
            <pc:docMk/>
            <pc:sldMk cId="43921188" sldId="2147478579"/>
            <ac:spMk id="242" creationId="{12ECF5FD-DEA5-8746-6157-8CB054B9FC6C}"/>
          </ac:spMkLst>
        </pc:spChg>
        <pc:spChg chg="add del mod">
          <ac:chgData name="Steiner Andreas 6206 ED" userId="e6377c33-a923-4f14-8587-531c474c7b48" providerId="ADAL" clId="{6ECD27E6-B224-41CD-B4E0-E297462320DD}" dt="2023-11-24T08:39:29.047" v="36487"/>
          <ac:spMkLst>
            <pc:docMk/>
            <pc:sldMk cId="43921188" sldId="2147478579"/>
            <ac:spMk id="243" creationId="{C5D6AF00-E3FF-1753-3E13-A62776F53D7A}"/>
          </ac:spMkLst>
        </pc:spChg>
        <pc:spChg chg="add del mod">
          <ac:chgData name="Steiner Andreas 6206 ED" userId="e6377c33-a923-4f14-8587-531c474c7b48" providerId="ADAL" clId="{6ECD27E6-B224-41CD-B4E0-E297462320DD}" dt="2023-11-24T08:39:31.629" v="36642"/>
          <ac:spMkLst>
            <pc:docMk/>
            <pc:sldMk cId="43921188" sldId="2147478579"/>
            <ac:spMk id="244" creationId="{4619E61F-7B49-F320-1AC0-56E646AB7260}"/>
          </ac:spMkLst>
        </pc:spChg>
        <pc:spChg chg="add del mod">
          <ac:chgData name="Steiner Andreas 6206 ED" userId="e6377c33-a923-4f14-8587-531c474c7b48" providerId="ADAL" clId="{6ECD27E6-B224-41CD-B4E0-E297462320DD}" dt="2023-11-24T08:39:34.166" v="36797"/>
          <ac:spMkLst>
            <pc:docMk/>
            <pc:sldMk cId="43921188" sldId="2147478579"/>
            <ac:spMk id="245" creationId="{6A05D763-5B3F-5FCB-F9B2-728B0E7BE3ED}"/>
          </ac:spMkLst>
        </pc:spChg>
        <pc:spChg chg="add del mod">
          <ac:chgData name="Steiner Andreas 6206 ED" userId="e6377c33-a923-4f14-8587-531c474c7b48" providerId="ADAL" clId="{6ECD27E6-B224-41CD-B4E0-E297462320DD}" dt="2023-11-24T08:39:37.048" v="36952"/>
          <ac:spMkLst>
            <pc:docMk/>
            <pc:sldMk cId="43921188" sldId="2147478579"/>
            <ac:spMk id="246" creationId="{C52047AE-F35C-B2C4-F053-271B1D860E35}"/>
          </ac:spMkLst>
        </pc:spChg>
        <pc:spChg chg="add del mod">
          <ac:chgData name="Steiner Andreas 6206 ED" userId="e6377c33-a923-4f14-8587-531c474c7b48" providerId="ADAL" clId="{6ECD27E6-B224-41CD-B4E0-E297462320DD}" dt="2023-11-24T08:39:39.709" v="37107"/>
          <ac:spMkLst>
            <pc:docMk/>
            <pc:sldMk cId="43921188" sldId="2147478579"/>
            <ac:spMk id="247" creationId="{AB9B1EC8-4CF0-CB2B-26A5-D03CEF203004}"/>
          </ac:spMkLst>
        </pc:spChg>
        <pc:spChg chg="add del mod">
          <ac:chgData name="Steiner Andreas 6206 ED" userId="e6377c33-a923-4f14-8587-531c474c7b48" providerId="ADAL" clId="{6ECD27E6-B224-41CD-B4E0-E297462320DD}" dt="2023-11-24T08:39:42.184" v="37262"/>
          <ac:spMkLst>
            <pc:docMk/>
            <pc:sldMk cId="43921188" sldId="2147478579"/>
            <ac:spMk id="248" creationId="{982EE15F-3C61-26BC-4A53-49D26DF01FCB}"/>
          </ac:spMkLst>
        </pc:spChg>
        <pc:spChg chg="add del mod">
          <ac:chgData name="Steiner Andreas 6206 ED" userId="e6377c33-a923-4f14-8587-531c474c7b48" providerId="ADAL" clId="{6ECD27E6-B224-41CD-B4E0-E297462320DD}" dt="2023-11-24T08:39:44.721" v="37417"/>
          <ac:spMkLst>
            <pc:docMk/>
            <pc:sldMk cId="43921188" sldId="2147478579"/>
            <ac:spMk id="249" creationId="{275C495F-0F65-6083-D1B8-3A73172CFC17}"/>
          </ac:spMkLst>
        </pc:spChg>
        <pc:spChg chg="add del mod">
          <ac:chgData name="Steiner Andreas 6206 ED" userId="e6377c33-a923-4f14-8587-531c474c7b48" providerId="ADAL" clId="{6ECD27E6-B224-41CD-B4E0-E297462320DD}" dt="2023-11-24T08:39:47.600" v="37572"/>
          <ac:spMkLst>
            <pc:docMk/>
            <pc:sldMk cId="43921188" sldId="2147478579"/>
            <ac:spMk id="250" creationId="{AA80018B-877A-DA74-BA54-6C028456385C}"/>
          </ac:spMkLst>
        </pc:spChg>
        <pc:spChg chg="add del mod">
          <ac:chgData name="Steiner Andreas 6206 ED" userId="e6377c33-a923-4f14-8587-531c474c7b48" providerId="ADAL" clId="{6ECD27E6-B224-41CD-B4E0-E297462320DD}" dt="2023-11-24T08:39:50.436" v="37727"/>
          <ac:spMkLst>
            <pc:docMk/>
            <pc:sldMk cId="43921188" sldId="2147478579"/>
            <ac:spMk id="251" creationId="{06D24390-6500-CF5F-37BB-D10BC844E578}"/>
          </ac:spMkLst>
        </pc:spChg>
        <pc:spChg chg="add del mod">
          <ac:chgData name="Steiner Andreas 6206 ED" userId="e6377c33-a923-4f14-8587-531c474c7b48" providerId="ADAL" clId="{6ECD27E6-B224-41CD-B4E0-E297462320DD}" dt="2023-11-24T08:39:52.984" v="37882"/>
          <ac:spMkLst>
            <pc:docMk/>
            <pc:sldMk cId="43921188" sldId="2147478579"/>
            <ac:spMk id="252" creationId="{4BCC5175-035C-2F49-E571-900029D83965}"/>
          </ac:spMkLst>
        </pc:spChg>
        <pc:spChg chg="add del mod">
          <ac:chgData name="Steiner Andreas 6206 ED" userId="e6377c33-a923-4f14-8587-531c474c7b48" providerId="ADAL" clId="{6ECD27E6-B224-41CD-B4E0-E297462320DD}" dt="2023-11-24T08:39:55.985" v="38037"/>
          <ac:spMkLst>
            <pc:docMk/>
            <pc:sldMk cId="43921188" sldId="2147478579"/>
            <ac:spMk id="253" creationId="{BA0CA9F0-CAD2-D37E-E11F-DEAB44296373}"/>
          </ac:spMkLst>
        </pc:spChg>
        <pc:spChg chg="add del mod">
          <ac:chgData name="Steiner Andreas 6206 ED" userId="e6377c33-a923-4f14-8587-531c474c7b48" providerId="ADAL" clId="{6ECD27E6-B224-41CD-B4E0-E297462320DD}" dt="2023-11-24T08:39:58.956" v="38192"/>
          <ac:spMkLst>
            <pc:docMk/>
            <pc:sldMk cId="43921188" sldId="2147478579"/>
            <ac:spMk id="254" creationId="{E68BD381-AA19-0693-9547-68A75CE7598F}"/>
          </ac:spMkLst>
        </pc:spChg>
        <pc:spChg chg="add del mod">
          <ac:chgData name="Steiner Andreas 6206 ED" userId="e6377c33-a923-4f14-8587-531c474c7b48" providerId="ADAL" clId="{6ECD27E6-B224-41CD-B4E0-E297462320DD}" dt="2023-11-24T08:40:02.525" v="38347"/>
          <ac:spMkLst>
            <pc:docMk/>
            <pc:sldMk cId="43921188" sldId="2147478579"/>
            <ac:spMk id="255" creationId="{70CB3110-5A0D-D946-3671-8AE2EA460950}"/>
          </ac:spMkLst>
        </pc:spChg>
        <pc:spChg chg="add del mod">
          <ac:chgData name="Steiner Andreas 6206 ED" userId="e6377c33-a923-4f14-8587-531c474c7b48" providerId="ADAL" clId="{6ECD27E6-B224-41CD-B4E0-E297462320DD}" dt="2023-11-24T08:40:05.215" v="38502"/>
          <ac:spMkLst>
            <pc:docMk/>
            <pc:sldMk cId="43921188" sldId="2147478579"/>
            <ac:spMk id="256" creationId="{7290CF39-8350-2118-F270-FAC07BAE7B52}"/>
          </ac:spMkLst>
        </pc:spChg>
        <pc:spChg chg="add del mod">
          <ac:chgData name="Steiner Andreas 6206 ED" userId="e6377c33-a923-4f14-8587-531c474c7b48" providerId="ADAL" clId="{6ECD27E6-B224-41CD-B4E0-E297462320DD}" dt="2023-11-24T08:40:07.786" v="38657"/>
          <ac:spMkLst>
            <pc:docMk/>
            <pc:sldMk cId="43921188" sldId="2147478579"/>
            <ac:spMk id="257" creationId="{BE51369A-C86A-224A-BD86-CD46DCD2C63C}"/>
          </ac:spMkLst>
        </pc:spChg>
        <pc:spChg chg="add del mod">
          <ac:chgData name="Steiner Andreas 6206 ED" userId="e6377c33-a923-4f14-8587-531c474c7b48" providerId="ADAL" clId="{6ECD27E6-B224-41CD-B4E0-E297462320DD}" dt="2023-11-24T08:40:10.489" v="38812"/>
          <ac:spMkLst>
            <pc:docMk/>
            <pc:sldMk cId="43921188" sldId="2147478579"/>
            <ac:spMk id="258" creationId="{BADD3BFC-5E4A-4C10-3292-779CA4685819}"/>
          </ac:spMkLst>
        </pc:spChg>
        <pc:spChg chg="add del mod">
          <ac:chgData name="Steiner Andreas 6206 ED" userId="e6377c33-a923-4f14-8587-531c474c7b48" providerId="ADAL" clId="{6ECD27E6-B224-41CD-B4E0-E297462320DD}" dt="2023-11-24T08:40:13.542" v="38967"/>
          <ac:spMkLst>
            <pc:docMk/>
            <pc:sldMk cId="43921188" sldId="2147478579"/>
            <ac:spMk id="259" creationId="{20C1CAC3-1AB1-DABC-AD70-0177F3767C1D}"/>
          </ac:spMkLst>
        </pc:spChg>
        <pc:spChg chg="add del mod">
          <ac:chgData name="Steiner Andreas 6206 ED" userId="e6377c33-a923-4f14-8587-531c474c7b48" providerId="ADAL" clId="{6ECD27E6-B224-41CD-B4E0-E297462320DD}" dt="2023-11-24T08:40:16.368" v="39122"/>
          <ac:spMkLst>
            <pc:docMk/>
            <pc:sldMk cId="43921188" sldId="2147478579"/>
            <ac:spMk id="260" creationId="{7A6FE477-7E12-5B7E-3DED-EB096A91C3DB}"/>
          </ac:spMkLst>
        </pc:spChg>
        <pc:spChg chg="add del mod">
          <ac:chgData name="Steiner Andreas 6206 ED" userId="e6377c33-a923-4f14-8587-531c474c7b48" providerId="ADAL" clId="{6ECD27E6-B224-41CD-B4E0-E297462320DD}" dt="2023-11-24T08:40:18.896" v="39277"/>
          <ac:spMkLst>
            <pc:docMk/>
            <pc:sldMk cId="43921188" sldId="2147478579"/>
            <ac:spMk id="261" creationId="{76CA00D7-8B7E-40FC-1404-284AB14B6EE0}"/>
          </ac:spMkLst>
        </pc:spChg>
        <pc:spChg chg="add del mod">
          <ac:chgData name="Steiner Andreas 6206 ED" userId="e6377c33-a923-4f14-8587-531c474c7b48" providerId="ADAL" clId="{6ECD27E6-B224-41CD-B4E0-E297462320DD}" dt="2023-11-24T08:40:21.322" v="39432"/>
          <ac:spMkLst>
            <pc:docMk/>
            <pc:sldMk cId="43921188" sldId="2147478579"/>
            <ac:spMk id="262" creationId="{FA3C01A6-49AC-B66B-9C3B-A72A8EED3D7A}"/>
          </ac:spMkLst>
        </pc:spChg>
        <pc:spChg chg="add del mod">
          <ac:chgData name="Steiner Andreas 6206 ED" userId="e6377c33-a923-4f14-8587-531c474c7b48" providerId="ADAL" clId="{6ECD27E6-B224-41CD-B4E0-E297462320DD}" dt="2023-11-24T08:40:23.831" v="39587"/>
          <ac:spMkLst>
            <pc:docMk/>
            <pc:sldMk cId="43921188" sldId="2147478579"/>
            <ac:spMk id="263" creationId="{DB7EC70D-051F-B1A7-5902-BC84F37C2A88}"/>
          </ac:spMkLst>
        </pc:spChg>
        <pc:spChg chg="add del mod">
          <ac:chgData name="Steiner Andreas 6206 ED" userId="e6377c33-a923-4f14-8587-531c474c7b48" providerId="ADAL" clId="{6ECD27E6-B224-41CD-B4E0-E297462320DD}" dt="2023-11-24T08:40:26.886" v="39742"/>
          <ac:spMkLst>
            <pc:docMk/>
            <pc:sldMk cId="43921188" sldId="2147478579"/>
            <ac:spMk id="264" creationId="{5F71B9E0-94DC-587F-AEC4-2F62853AB9A0}"/>
          </ac:spMkLst>
        </pc:spChg>
        <pc:spChg chg="add del mod">
          <ac:chgData name="Steiner Andreas 6206 ED" userId="e6377c33-a923-4f14-8587-531c474c7b48" providerId="ADAL" clId="{6ECD27E6-B224-41CD-B4E0-E297462320DD}" dt="2023-11-24T08:40:29.551" v="39897"/>
          <ac:spMkLst>
            <pc:docMk/>
            <pc:sldMk cId="43921188" sldId="2147478579"/>
            <ac:spMk id="265" creationId="{D03B8DF8-A34C-BF32-2398-4BCC4CBB56DC}"/>
          </ac:spMkLst>
        </pc:spChg>
        <pc:spChg chg="add del mod">
          <ac:chgData name="Steiner Andreas 6206 ED" userId="e6377c33-a923-4f14-8587-531c474c7b48" providerId="ADAL" clId="{6ECD27E6-B224-41CD-B4E0-E297462320DD}" dt="2023-11-24T08:40:32.090" v="40052"/>
          <ac:spMkLst>
            <pc:docMk/>
            <pc:sldMk cId="43921188" sldId="2147478579"/>
            <ac:spMk id="266" creationId="{C4D5ECF5-093E-E23C-D7EB-B9D11142574F}"/>
          </ac:spMkLst>
        </pc:spChg>
        <pc:spChg chg="add del mod">
          <ac:chgData name="Steiner Andreas 6206 ED" userId="e6377c33-a923-4f14-8587-531c474c7b48" providerId="ADAL" clId="{6ECD27E6-B224-41CD-B4E0-E297462320DD}" dt="2023-11-24T08:40:34.708" v="40207"/>
          <ac:spMkLst>
            <pc:docMk/>
            <pc:sldMk cId="43921188" sldId="2147478579"/>
            <ac:spMk id="267" creationId="{9847FEF1-A6D6-8441-8140-72975182C550}"/>
          </ac:spMkLst>
        </pc:spChg>
        <pc:spChg chg="add del mod">
          <ac:chgData name="Steiner Andreas 6206 ED" userId="e6377c33-a923-4f14-8587-531c474c7b48" providerId="ADAL" clId="{6ECD27E6-B224-41CD-B4E0-E297462320DD}" dt="2023-11-24T08:40:37.919" v="40362"/>
          <ac:spMkLst>
            <pc:docMk/>
            <pc:sldMk cId="43921188" sldId="2147478579"/>
            <ac:spMk id="268" creationId="{8883B969-4AA4-0087-0FF2-DD2608A6C93B}"/>
          </ac:spMkLst>
        </pc:spChg>
        <pc:spChg chg="add del mod">
          <ac:chgData name="Steiner Andreas 6206 ED" userId="e6377c33-a923-4f14-8587-531c474c7b48" providerId="ADAL" clId="{6ECD27E6-B224-41CD-B4E0-E297462320DD}" dt="2023-11-24T08:40:40.711" v="40517"/>
          <ac:spMkLst>
            <pc:docMk/>
            <pc:sldMk cId="43921188" sldId="2147478579"/>
            <ac:spMk id="269" creationId="{99B6E0BF-7471-AF7F-4CD4-5E9983B80478}"/>
          </ac:spMkLst>
        </pc:spChg>
        <pc:spChg chg="add del mod">
          <ac:chgData name="Steiner Andreas 6206 ED" userId="e6377c33-a923-4f14-8587-531c474c7b48" providerId="ADAL" clId="{6ECD27E6-B224-41CD-B4E0-E297462320DD}" dt="2023-11-24T08:40:43.610" v="40672"/>
          <ac:spMkLst>
            <pc:docMk/>
            <pc:sldMk cId="43921188" sldId="2147478579"/>
            <ac:spMk id="270" creationId="{B4E2BB9D-663B-D5EA-827E-732EA048B8DE}"/>
          </ac:spMkLst>
        </pc:spChg>
        <pc:spChg chg="add del mod">
          <ac:chgData name="Steiner Andreas 6206 ED" userId="e6377c33-a923-4f14-8587-531c474c7b48" providerId="ADAL" clId="{6ECD27E6-B224-41CD-B4E0-E297462320DD}" dt="2023-11-24T08:40:46.065" v="40827"/>
          <ac:spMkLst>
            <pc:docMk/>
            <pc:sldMk cId="43921188" sldId="2147478579"/>
            <ac:spMk id="271" creationId="{650F8E97-BA5F-CFD2-8247-07C67615D2D6}"/>
          </ac:spMkLst>
        </pc:spChg>
        <pc:spChg chg="add del mod">
          <ac:chgData name="Steiner Andreas 6206 ED" userId="e6377c33-a923-4f14-8587-531c474c7b48" providerId="ADAL" clId="{6ECD27E6-B224-41CD-B4E0-E297462320DD}" dt="2023-11-24T08:40:48.748" v="40982"/>
          <ac:spMkLst>
            <pc:docMk/>
            <pc:sldMk cId="43921188" sldId="2147478579"/>
            <ac:spMk id="272" creationId="{B1E4244B-7B86-0559-2F9F-75ACB0F20385}"/>
          </ac:spMkLst>
        </pc:spChg>
        <pc:spChg chg="add del mod">
          <ac:chgData name="Steiner Andreas 6206 ED" userId="e6377c33-a923-4f14-8587-531c474c7b48" providerId="ADAL" clId="{6ECD27E6-B224-41CD-B4E0-E297462320DD}" dt="2023-11-24T08:40:51.710" v="41137"/>
          <ac:spMkLst>
            <pc:docMk/>
            <pc:sldMk cId="43921188" sldId="2147478579"/>
            <ac:spMk id="273" creationId="{D865711B-2D16-B0D7-84D0-0480FFB01ACF}"/>
          </ac:spMkLst>
        </pc:spChg>
        <pc:spChg chg="add del mod">
          <ac:chgData name="Steiner Andreas 6206 ED" userId="e6377c33-a923-4f14-8587-531c474c7b48" providerId="ADAL" clId="{6ECD27E6-B224-41CD-B4E0-E297462320DD}" dt="2023-11-24T08:40:54.216" v="41292"/>
          <ac:spMkLst>
            <pc:docMk/>
            <pc:sldMk cId="43921188" sldId="2147478579"/>
            <ac:spMk id="274" creationId="{8F806A83-FDBD-DBC6-E7CD-FAC53898C917}"/>
          </ac:spMkLst>
        </pc:spChg>
        <pc:spChg chg="add del mod">
          <ac:chgData name="Steiner Andreas 6206 ED" userId="e6377c33-a923-4f14-8587-531c474c7b48" providerId="ADAL" clId="{6ECD27E6-B224-41CD-B4E0-E297462320DD}" dt="2023-11-24T08:40:56.688" v="41447"/>
          <ac:spMkLst>
            <pc:docMk/>
            <pc:sldMk cId="43921188" sldId="2147478579"/>
            <ac:spMk id="275" creationId="{C4141B8A-3715-7CE0-D3D9-A9A0E8650032}"/>
          </ac:spMkLst>
        </pc:spChg>
        <pc:spChg chg="add del mod">
          <ac:chgData name="Steiner Andreas 6206 ED" userId="e6377c33-a923-4f14-8587-531c474c7b48" providerId="ADAL" clId="{6ECD27E6-B224-41CD-B4E0-E297462320DD}" dt="2023-11-24T08:40:59.387" v="41602"/>
          <ac:spMkLst>
            <pc:docMk/>
            <pc:sldMk cId="43921188" sldId="2147478579"/>
            <ac:spMk id="276" creationId="{D0AA303A-4D50-B1CA-D256-71E772922A2F}"/>
          </ac:spMkLst>
        </pc:spChg>
        <pc:spChg chg="add del mod">
          <ac:chgData name="Steiner Andreas 6206 ED" userId="e6377c33-a923-4f14-8587-531c474c7b48" providerId="ADAL" clId="{6ECD27E6-B224-41CD-B4E0-E297462320DD}" dt="2023-11-24T08:41:02.331" v="41757"/>
          <ac:spMkLst>
            <pc:docMk/>
            <pc:sldMk cId="43921188" sldId="2147478579"/>
            <ac:spMk id="277" creationId="{56328DED-BDC9-D1DA-61E7-A62C97EED144}"/>
          </ac:spMkLst>
        </pc:spChg>
        <pc:spChg chg="add del mod">
          <ac:chgData name="Steiner Andreas 6206 ED" userId="e6377c33-a923-4f14-8587-531c474c7b48" providerId="ADAL" clId="{6ECD27E6-B224-41CD-B4E0-E297462320DD}" dt="2023-11-24T08:41:05.089" v="41912"/>
          <ac:spMkLst>
            <pc:docMk/>
            <pc:sldMk cId="43921188" sldId="2147478579"/>
            <ac:spMk id="278" creationId="{7F9CD32E-E5C6-C61B-5250-BC8451140EAF}"/>
          </ac:spMkLst>
        </pc:spChg>
        <pc:spChg chg="add del mod">
          <ac:chgData name="Steiner Andreas 6206 ED" userId="e6377c33-a923-4f14-8587-531c474c7b48" providerId="ADAL" clId="{6ECD27E6-B224-41CD-B4E0-E297462320DD}" dt="2023-11-24T08:41:08.108" v="42067"/>
          <ac:spMkLst>
            <pc:docMk/>
            <pc:sldMk cId="43921188" sldId="2147478579"/>
            <ac:spMk id="279" creationId="{E5F4C198-7803-9706-B843-B30B1034C5F2}"/>
          </ac:spMkLst>
        </pc:spChg>
        <pc:spChg chg="add del mod">
          <ac:chgData name="Steiner Andreas 6206 ED" userId="e6377c33-a923-4f14-8587-531c474c7b48" providerId="ADAL" clId="{6ECD27E6-B224-41CD-B4E0-E297462320DD}" dt="2023-11-24T08:41:12.176" v="42222"/>
          <ac:spMkLst>
            <pc:docMk/>
            <pc:sldMk cId="43921188" sldId="2147478579"/>
            <ac:spMk id="280" creationId="{AF26A0E4-DE42-24C8-96A8-8B820726840C}"/>
          </ac:spMkLst>
        </pc:spChg>
        <pc:spChg chg="add del mod">
          <ac:chgData name="Steiner Andreas 6206 ED" userId="e6377c33-a923-4f14-8587-531c474c7b48" providerId="ADAL" clId="{6ECD27E6-B224-41CD-B4E0-E297462320DD}" dt="2023-11-24T08:41:15.093" v="42377"/>
          <ac:spMkLst>
            <pc:docMk/>
            <pc:sldMk cId="43921188" sldId="2147478579"/>
            <ac:spMk id="281" creationId="{1D238366-5916-0258-5330-6E1E778E65B1}"/>
          </ac:spMkLst>
        </pc:spChg>
        <pc:spChg chg="add del mod">
          <ac:chgData name="Steiner Andreas 6206 ED" userId="e6377c33-a923-4f14-8587-531c474c7b48" providerId="ADAL" clId="{6ECD27E6-B224-41CD-B4E0-E297462320DD}" dt="2023-11-24T08:41:17.265" v="42532"/>
          <ac:spMkLst>
            <pc:docMk/>
            <pc:sldMk cId="43921188" sldId="2147478579"/>
            <ac:spMk id="282" creationId="{E3BA03D3-0B7E-281E-C208-F2005E262635}"/>
          </ac:spMkLst>
        </pc:spChg>
        <pc:spChg chg="add del mod">
          <ac:chgData name="Steiner Andreas 6206 ED" userId="e6377c33-a923-4f14-8587-531c474c7b48" providerId="ADAL" clId="{6ECD27E6-B224-41CD-B4E0-E297462320DD}" dt="2023-11-24T08:41:19.688" v="42687"/>
          <ac:spMkLst>
            <pc:docMk/>
            <pc:sldMk cId="43921188" sldId="2147478579"/>
            <ac:spMk id="283" creationId="{3021E622-5526-E24A-D653-38B97C48D658}"/>
          </ac:spMkLst>
        </pc:spChg>
        <pc:spChg chg="add del mod">
          <ac:chgData name="Steiner Andreas 6206 ED" userId="e6377c33-a923-4f14-8587-531c474c7b48" providerId="ADAL" clId="{6ECD27E6-B224-41CD-B4E0-E297462320DD}" dt="2023-11-24T08:41:22.024" v="42842"/>
          <ac:spMkLst>
            <pc:docMk/>
            <pc:sldMk cId="43921188" sldId="2147478579"/>
            <ac:spMk id="284" creationId="{FA6773D9-E6F6-2AF0-3597-5F1EB2059B48}"/>
          </ac:spMkLst>
        </pc:spChg>
        <pc:spChg chg="add del mod">
          <ac:chgData name="Steiner Andreas 6206 ED" userId="e6377c33-a923-4f14-8587-531c474c7b48" providerId="ADAL" clId="{6ECD27E6-B224-41CD-B4E0-E297462320DD}" dt="2023-11-24T08:41:24.157" v="42997"/>
          <ac:spMkLst>
            <pc:docMk/>
            <pc:sldMk cId="43921188" sldId="2147478579"/>
            <ac:spMk id="285" creationId="{348DCBB3-72A0-0122-82A9-730D5E0FF5F9}"/>
          </ac:spMkLst>
        </pc:spChg>
        <pc:spChg chg="add del mod">
          <ac:chgData name="Steiner Andreas 6206 ED" userId="e6377c33-a923-4f14-8587-531c474c7b48" providerId="ADAL" clId="{6ECD27E6-B224-41CD-B4E0-E297462320DD}" dt="2023-11-24T08:41:26.608" v="43152"/>
          <ac:spMkLst>
            <pc:docMk/>
            <pc:sldMk cId="43921188" sldId="2147478579"/>
            <ac:spMk id="286" creationId="{3C0CAC58-6F89-CBF8-5D9D-F86681438229}"/>
          </ac:spMkLst>
        </pc:spChg>
        <pc:spChg chg="add del mod">
          <ac:chgData name="Steiner Andreas 6206 ED" userId="e6377c33-a923-4f14-8587-531c474c7b48" providerId="ADAL" clId="{6ECD27E6-B224-41CD-B4E0-E297462320DD}" dt="2023-11-24T08:41:28.841" v="43307"/>
          <ac:spMkLst>
            <pc:docMk/>
            <pc:sldMk cId="43921188" sldId="2147478579"/>
            <ac:spMk id="287" creationId="{250B3EA5-5841-849A-6456-1FDBD2E4A976}"/>
          </ac:spMkLst>
        </pc:spChg>
        <pc:spChg chg="add del mod">
          <ac:chgData name="Steiner Andreas 6206 ED" userId="e6377c33-a923-4f14-8587-531c474c7b48" providerId="ADAL" clId="{6ECD27E6-B224-41CD-B4E0-E297462320DD}" dt="2023-11-24T08:41:31.008" v="43462"/>
          <ac:spMkLst>
            <pc:docMk/>
            <pc:sldMk cId="43921188" sldId="2147478579"/>
            <ac:spMk id="288" creationId="{95367CB7-4C87-4850-4211-7FDE2E0B5B1F}"/>
          </ac:spMkLst>
        </pc:spChg>
        <pc:spChg chg="add del mod">
          <ac:chgData name="Steiner Andreas 6206 ED" userId="e6377c33-a923-4f14-8587-531c474c7b48" providerId="ADAL" clId="{6ECD27E6-B224-41CD-B4E0-E297462320DD}" dt="2023-11-24T08:41:35.203" v="43617"/>
          <ac:spMkLst>
            <pc:docMk/>
            <pc:sldMk cId="43921188" sldId="2147478579"/>
            <ac:spMk id="289" creationId="{2C9747FF-4594-A4AD-4323-8108920B9B5E}"/>
          </ac:spMkLst>
        </pc:spChg>
        <pc:spChg chg="add del mod">
          <ac:chgData name="Steiner Andreas 6206 ED" userId="e6377c33-a923-4f14-8587-531c474c7b48" providerId="ADAL" clId="{6ECD27E6-B224-41CD-B4E0-E297462320DD}" dt="2023-11-24T08:41:38.268" v="43772"/>
          <ac:spMkLst>
            <pc:docMk/>
            <pc:sldMk cId="43921188" sldId="2147478579"/>
            <ac:spMk id="290" creationId="{C4792F72-C65B-0603-CEB2-7F9A7D39DB46}"/>
          </ac:spMkLst>
        </pc:spChg>
        <pc:spChg chg="add del mod">
          <ac:chgData name="Steiner Andreas 6206 ED" userId="e6377c33-a923-4f14-8587-531c474c7b48" providerId="ADAL" clId="{6ECD27E6-B224-41CD-B4E0-E297462320DD}" dt="2023-11-24T08:41:40.697" v="43927"/>
          <ac:spMkLst>
            <pc:docMk/>
            <pc:sldMk cId="43921188" sldId="2147478579"/>
            <ac:spMk id="291" creationId="{A20390DA-DC09-6318-5F3C-973469F48FDD}"/>
          </ac:spMkLst>
        </pc:spChg>
        <pc:spChg chg="add del mod">
          <ac:chgData name="Steiner Andreas 6206 ED" userId="e6377c33-a923-4f14-8587-531c474c7b48" providerId="ADAL" clId="{6ECD27E6-B224-41CD-B4E0-E297462320DD}" dt="2023-11-24T08:41:43.085" v="44082"/>
          <ac:spMkLst>
            <pc:docMk/>
            <pc:sldMk cId="43921188" sldId="2147478579"/>
            <ac:spMk id="292" creationId="{746F9F95-1D65-0A64-C399-6BAF5F8FE612}"/>
          </ac:spMkLst>
        </pc:spChg>
        <pc:spChg chg="add del mod">
          <ac:chgData name="Steiner Andreas 6206 ED" userId="e6377c33-a923-4f14-8587-531c474c7b48" providerId="ADAL" clId="{6ECD27E6-B224-41CD-B4E0-E297462320DD}" dt="2023-11-24T08:41:45.013" v="44237"/>
          <ac:spMkLst>
            <pc:docMk/>
            <pc:sldMk cId="43921188" sldId="2147478579"/>
            <ac:spMk id="293" creationId="{259C4075-763F-2716-BA6A-0AA6E8B0F494}"/>
          </ac:spMkLst>
        </pc:spChg>
        <pc:spChg chg="add del mod">
          <ac:chgData name="Steiner Andreas 6206 ED" userId="e6377c33-a923-4f14-8587-531c474c7b48" providerId="ADAL" clId="{6ECD27E6-B224-41CD-B4E0-E297462320DD}" dt="2023-11-24T08:41:46.919" v="44392"/>
          <ac:spMkLst>
            <pc:docMk/>
            <pc:sldMk cId="43921188" sldId="2147478579"/>
            <ac:spMk id="294" creationId="{71897419-955F-CD8C-B856-5E405AA55CBF}"/>
          </ac:spMkLst>
        </pc:spChg>
        <pc:spChg chg="add del mod">
          <ac:chgData name="Steiner Andreas 6206 ED" userId="e6377c33-a923-4f14-8587-531c474c7b48" providerId="ADAL" clId="{6ECD27E6-B224-41CD-B4E0-E297462320DD}" dt="2023-11-24T08:41:48.935" v="44547"/>
          <ac:spMkLst>
            <pc:docMk/>
            <pc:sldMk cId="43921188" sldId="2147478579"/>
            <ac:spMk id="295" creationId="{4FB140AB-9F71-7302-6B71-CB01FD87B149}"/>
          </ac:spMkLst>
        </pc:spChg>
        <pc:spChg chg="add del mod">
          <ac:chgData name="Steiner Andreas 6206 ED" userId="e6377c33-a923-4f14-8587-531c474c7b48" providerId="ADAL" clId="{6ECD27E6-B224-41CD-B4E0-E297462320DD}" dt="2023-11-24T08:41:50.821" v="44702"/>
          <ac:spMkLst>
            <pc:docMk/>
            <pc:sldMk cId="43921188" sldId="2147478579"/>
            <ac:spMk id="296" creationId="{F34014C3-C7DB-4DEC-7667-F28FDC90B7F1}"/>
          </ac:spMkLst>
        </pc:spChg>
        <pc:spChg chg="add del mod">
          <ac:chgData name="Steiner Andreas 6206 ED" userId="e6377c33-a923-4f14-8587-531c474c7b48" providerId="ADAL" clId="{6ECD27E6-B224-41CD-B4E0-E297462320DD}" dt="2023-11-24T08:41:53.135" v="44857"/>
          <ac:spMkLst>
            <pc:docMk/>
            <pc:sldMk cId="43921188" sldId="2147478579"/>
            <ac:spMk id="297" creationId="{186AD952-0334-D0BE-75F0-4A5BE0D48371}"/>
          </ac:spMkLst>
        </pc:spChg>
        <pc:spChg chg="add del mod">
          <ac:chgData name="Steiner Andreas 6206 ED" userId="e6377c33-a923-4f14-8587-531c474c7b48" providerId="ADAL" clId="{6ECD27E6-B224-41CD-B4E0-E297462320DD}" dt="2023-11-24T08:41:55.076" v="45012"/>
          <ac:spMkLst>
            <pc:docMk/>
            <pc:sldMk cId="43921188" sldId="2147478579"/>
            <ac:spMk id="298" creationId="{0461CDE5-88FC-6889-C4FC-136B8ABF8EF9}"/>
          </ac:spMkLst>
        </pc:spChg>
        <pc:spChg chg="add del mod">
          <ac:chgData name="Steiner Andreas 6206 ED" userId="e6377c33-a923-4f14-8587-531c474c7b48" providerId="ADAL" clId="{6ECD27E6-B224-41CD-B4E0-E297462320DD}" dt="2023-11-24T08:41:57.337" v="45167"/>
          <ac:spMkLst>
            <pc:docMk/>
            <pc:sldMk cId="43921188" sldId="2147478579"/>
            <ac:spMk id="299" creationId="{1FA9739F-0833-1BF2-F0FD-F610A24C9B62}"/>
          </ac:spMkLst>
        </pc:spChg>
        <pc:spChg chg="add del mod">
          <ac:chgData name="Steiner Andreas 6206 ED" userId="e6377c33-a923-4f14-8587-531c474c7b48" providerId="ADAL" clId="{6ECD27E6-B224-41CD-B4E0-E297462320DD}" dt="2023-11-24T08:41:59.440" v="45322"/>
          <ac:spMkLst>
            <pc:docMk/>
            <pc:sldMk cId="43921188" sldId="2147478579"/>
            <ac:spMk id="300" creationId="{37FED88D-DB92-B17C-631D-B7B43B389E1A}"/>
          </ac:spMkLst>
        </pc:spChg>
        <pc:spChg chg="add del mod">
          <ac:chgData name="Steiner Andreas 6206 ED" userId="e6377c33-a923-4f14-8587-531c474c7b48" providerId="ADAL" clId="{6ECD27E6-B224-41CD-B4E0-E297462320DD}" dt="2023-11-24T08:42:01.736" v="45477"/>
          <ac:spMkLst>
            <pc:docMk/>
            <pc:sldMk cId="43921188" sldId="2147478579"/>
            <ac:spMk id="301" creationId="{F651A765-6D87-FAC8-384C-EFFFB8690C7C}"/>
          </ac:spMkLst>
        </pc:spChg>
        <pc:spChg chg="add del mod">
          <ac:chgData name="Steiner Andreas 6206 ED" userId="e6377c33-a923-4f14-8587-531c474c7b48" providerId="ADAL" clId="{6ECD27E6-B224-41CD-B4E0-E297462320DD}" dt="2023-11-24T08:42:03.747" v="45632"/>
          <ac:spMkLst>
            <pc:docMk/>
            <pc:sldMk cId="43921188" sldId="2147478579"/>
            <ac:spMk id="302" creationId="{929547B7-061D-F508-9C78-3D3120C4AA19}"/>
          </ac:spMkLst>
        </pc:spChg>
        <pc:spChg chg="add del mod">
          <ac:chgData name="Steiner Andreas 6206 ED" userId="e6377c33-a923-4f14-8587-531c474c7b48" providerId="ADAL" clId="{6ECD27E6-B224-41CD-B4E0-E297462320DD}" dt="2023-11-24T08:42:05.717" v="45787"/>
          <ac:spMkLst>
            <pc:docMk/>
            <pc:sldMk cId="43921188" sldId="2147478579"/>
            <ac:spMk id="303" creationId="{1DA20E0A-5C55-BDA0-2F31-BA7251329A47}"/>
          </ac:spMkLst>
        </pc:spChg>
        <pc:spChg chg="add del mod">
          <ac:chgData name="Steiner Andreas 6206 ED" userId="e6377c33-a923-4f14-8587-531c474c7b48" providerId="ADAL" clId="{6ECD27E6-B224-41CD-B4E0-E297462320DD}" dt="2023-11-24T08:42:07.631" v="45942"/>
          <ac:spMkLst>
            <pc:docMk/>
            <pc:sldMk cId="43921188" sldId="2147478579"/>
            <ac:spMk id="304" creationId="{0DCB6653-8981-53E0-C547-B4A16DA08585}"/>
          </ac:spMkLst>
        </pc:spChg>
        <pc:spChg chg="add del mod">
          <ac:chgData name="Steiner Andreas 6206 ED" userId="e6377c33-a923-4f14-8587-531c474c7b48" providerId="ADAL" clId="{6ECD27E6-B224-41CD-B4E0-E297462320DD}" dt="2023-11-24T08:42:09.509" v="46097"/>
          <ac:spMkLst>
            <pc:docMk/>
            <pc:sldMk cId="43921188" sldId="2147478579"/>
            <ac:spMk id="305" creationId="{0D8642B3-0AEF-E9AD-518A-B88A61DEA193}"/>
          </ac:spMkLst>
        </pc:spChg>
        <pc:spChg chg="add del mod">
          <ac:chgData name="Steiner Andreas 6206 ED" userId="e6377c33-a923-4f14-8587-531c474c7b48" providerId="ADAL" clId="{6ECD27E6-B224-41CD-B4E0-E297462320DD}" dt="2023-11-24T08:42:11.811" v="46252"/>
          <ac:spMkLst>
            <pc:docMk/>
            <pc:sldMk cId="43921188" sldId="2147478579"/>
            <ac:spMk id="306" creationId="{D00B43C1-FEB9-36EA-B4C9-3BBEF6BCE547}"/>
          </ac:spMkLst>
        </pc:spChg>
        <pc:spChg chg="add del mod">
          <ac:chgData name="Steiner Andreas 6206 ED" userId="e6377c33-a923-4f14-8587-531c474c7b48" providerId="ADAL" clId="{6ECD27E6-B224-41CD-B4E0-E297462320DD}" dt="2023-11-24T08:42:14.132" v="46407"/>
          <ac:spMkLst>
            <pc:docMk/>
            <pc:sldMk cId="43921188" sldId="2147478579"/>
            <ac:spMk id="307" creationId="{D9D60B6B-8EDA-1DF6-78CF-C5A7572976F3}"/>
          </ac:spMkLst>
        </pc:spChg>
        <pc:spChg chg="add del mod">
          <ac:chgData name="Steiner Andreas 6206 ED" userId="e6377c33-a923-4f14-8587-531c474c7b48" providerId="ADAL" clId="{6ECD27E6-B224-41CD-B4E0-E297462320DD}" dt="2023-11-24T08:42:16.781" v="46562"/>
          <ac:spMkLst>
            <pc:docMk/>
            <pc:sldMk cId="43921188" sldId="2147478579"/>
            <ac:spMk id="308" creationId="{F51D72B3-BA22-F107-180D-F750F2B1C34E}"/>
          </ac:spMkLst>
        </pc:spChg>
        <pc:spChg chg="add del mod">
          <ac:chgData name="Steiner Andreas 6206 ED" userId="e6377c33-a923-4f14-8587-531c474c7b48" providerId="ADAL" clId="{6ECD27E6-B224-41CD-B4E0-E297462320DD}" dt="2023-11-24T08:42:18.887" v="46717"/>
          <ac:spMkLst>
            <pc:docMk/>
            <pc:sldMk cId="43921188" sldId="2147478579"/>
            <ac:spMk id="309" creationId="{56990984-3B46-3BE5-03B3-BD7EF429CB41}"/>
          </ac:spMkLst>
        </pc:spChg>
        <pc:spChg chg="add del mod">
          <ac:chgData name="Steiner Andreas 6206 ED" userId="e6377c33-a923-4f14-8587-531c474c7b48" providerId="ADAL" clId="{6ECD27E6-B224-41CD-B4E0-E297462320DD}" dt="2023-11-24T08:42:21.159" v="46872"/>
          <ac:spMkLst>
            <pc:docMk/>
            <pc:sldMk cId="43921188" sldId="2147478579"/>
            <ac:spMk id="310" creationId="{77820C91-AA24-18AD-CE50-F16B5C101D2E}"/>
          </ac:spMkLst>
        </pc:spChg>
        <pc:spChg chg="add del mod">
          <ac:chgData name="Steiner Andreas 6206 ED" userId="e6377c33-a923-4f14-8587-531c474c7b48" providerId="ADAL" clId="{6ECD27E6-B224-41CD-B4E0-E297462320DD}" dt="2023-11-24T08:42:23.816" v="47027"/>
          <ac:spMkLst>
            <pc:docMk/>
            <pc:sldMk cId="43921188" sldId="2147478579"/>
            <ac:spMk id="311" creationId="{34CB0314-2AE7-5452-455D-7B33155066E5}"/>
          </ac:spMkLst>
        </pc:spChg>
        <pc:spChg chg="add del mod">
          <ac:chgData name="Steiner Andreas 6206 ED" userId="e6377c33-a923-4f14-8587-531c474c7b48" providerId="ADAL" clId="{6ECD27E6-B224-41CD-B4E0-E297462320DD}" dt="2023-11-24T08:42:25.862" v="47182"/>
          <ac:spMkLst>
            <pc:docMk/>
            <pc:sldMk cId="43921188" sldId="2147478579"/>
            <ac:spMk id="312" creationId="{718509A1-2364-1B31-02E0-464894FC0945}"/>
          </ac:spMkLst>
        </pc:spChg>
        <pc:spChg chg="add del mod">
          <ac:chgData name="Steiner Andreas 6206 ED" userId="e6377c33-a923-4f14-8587-531c474c7b48" providerId="ADAL" clId="{6ECD27E6-B224-41CD-B4E0-E297462320DD}" dt="2023-11-24T08:42:27.751" v="47337"/>
          <ac:spMkLst>
            <pc:docMk/>
            <pc:sldMk cId="43921188" sldId="2147478579"/>
            <ac:spMk id="313" creationId="{5F1F5BBC-A647-4196-8A85-8C69328B9685}"/>
          </ac:spMkLst>
        </pc:spChg>
        <pc:spChg chg="add del mod">
          <ac:chgData name="Steiner Andreas 6206 ED" userId="e6377c33-a923-4f14-8587-531c474c7b48" providerId="ADAL" clId="{6ECD27E6-B224-41CD-B4E0-E297462320DD}" dt="2023-11-24T08:42:29.487" v="47492"/>
          <ac:spMkLst>
            <pc:docMk/>
            <pc:sldMk cId="43921188" sldId="2147478579"/>
            <ac:spMk id="314" creationId="{1A2A6421-606B-0CE6-2214-C37F6D34E514}"/>
          </ac:spMkLst>
        </pc:spChg>
        <pc:spChg chg="add del mod">
          <ac:chgData name="Steiner Andreas 6206 ED" userId="e6377c33-a923-4f14-8587-531c474c7b48" providerId="ADAL" clId="{6ECD27E6-B224-41CD-B4E0-E297462320DD}" dt="2023-11-24T08:42:31.398" v="47647"/>
          <ac:spMkLst>
            <pc:docMk/>
            <pc:sldMk cId="43921188" sldId="2147478579"/>
            <ac:spMk id="315" creationId="{E868526D-1515-0556-C375-BDFC1B2B1001}"/>
          </ac:spMkLst>
        </pc:spChg>
        <pc:spChg chg="add del mod">
          <ac:chgData name="Steiner Andreas 6206 ED" userId="e6377c33-a923-4f14-8587-531c474c7b48" providerId="ADAL" clId="{6ECD27E6-B224-41CD-B4E0-E297462320DD}" dt="2023-11-24T08:42:33.377" v="47802"/>
          <ac:spMkLst>
            <pc:docMk/>
            <pc:sldMk cId="43921188" sldId="2147478579"/>
            <ac:spMk id="316" creationId="{EBD033A8-3A1E-D0C8-EB3C-B44E9A18C50C}"/>
          </ac:spMkLst>
        </pc:spChg>
        <pc:spChg chg="add del mod">
          <ac:chgData name="Steiner Andreas 6206 ED" userId="e6377c33-a923-4f14-8587-531c474c7b48" providerId="ADAL" clId="{6ECD27E6-B224-41CD-B4E0-E297462320DD}" dt="2023-11-24T08:42:35.462" v="47957"/>
          <ac:spMkLst>
            <pc:docMk/>
            <pc:sldMk cId="43921188" sldId="2147478579"/>
            <ac:spMk id="317" creationId="{788517A3-E577-4335-4A4D-A4CD9BECA7F0}"/>
          </ac:spMkLst>
        </pc:spChg>
        <pc:spChg chg="add del mod">
          <ac:chgData name="Steiner Andreas 6206 ED" userId="e6377c33-a923-4f14-8587-531c474c7b48" providerId="ADAL" clId="{6ECD27E6-B224-41CD-B4E0-E297462320DD}" dt="2023-11-24T08:42:37.350" v="48112"/>
          <ac:spMkLst>
            <pc:docMk/>
            <pc:sldMk cId="43921188" sldId="2147478579"/>
            <ac:spMk id="318" creationId="{0FDC6D03-9DC1-E679-7921-531A3A891030}"/>
          </ac:spMkLst>
        </pc:spChg>
        <pc:spChg chg="add del mod">
          <ac:chgData name="Steiner Andreas 6206 ED" userId="e6377c33-a923-4f14-8587-531c474c7b48" providerId="ADAL" clId="{6ECD27E6-B224-41CD-B4E0-E297462320DD}" dt="2023-11-24T08:42:39.211" v="48267"/>
          <ac:spMkLst>
            <pc:docMk/>
            <pc:sldMk cId="43921188" sldId="2147478579"/>
            <ac:spMk id="319" creationId="{D149BC68-899E-F814-FE66-4C5E771FF859}"/>
          </ac:spMkLst>
        </pc:spChg>
        <pc:spChg chg="add del mod">
          <ac:chgData name="Steiner Andreas 6206 ED" userId="e6377c33-a923-4f14-8587-531c474c7b48" providerId="ADAL" clId="{6ECD27E6-B224-41CD-B4E0-E297462320DD}" dt="2023-11-24T08:42:41.309" v="48422"/>
          <ac:spMkLst>
            <pc:docMk/>
            <pc:sldMk cId="43921188" sldId="2147478579"/>
            <ac:spMk id="320" creationId="{81CC2A58-BA1C-1A3B-E6AD-8FFEA2E7A3F4}"/>
          </ac:spMkLst>
        </pc:spChg>
        <pc:spChg chg="add del mod">
          <ac:chgData name="Steiner Andreas 6206 ED" userId="e6377c33-a923-4f14-8587-531c474c7b48" providerId="ADAL" clId="{6ECD27E6-B224-41CD-B4E0-E297462320DD}" dt="2023-11-24T08:42:43.416" v="48577"/>
          <ac:spMkLst>
            <pc:docMk/>
            <pc:sldMk cId="43921188" sldId="2147478579"/>
            <ac:spMk id="321" creationId="{52F6152B-17C1-660B-0EAF-B1FEEF22A796}"/>
          </ac:spMkLst>
        </pc:spChg>
        <pc:spChg chg="add del mod">
          <ac:chgData name="Steiner Andreas 6206 ED" userId="e6377c33-a923-4f14-8587-531c474c7b48" providerId="ADAL" clId="{6ECD27E6-B224-41CD-B4E0-E297462320DD}" dt="2023-11-24T08:42:45.424" v="48732"/>
          <ac:spMkLst>
            <pc:docMk/>
            <pc:sldMk cId="43921188" sldId="2147478579"/>
            <ac:spMk id="322" creationId="{C9922AA0-FF99-0D84-CB89-6A2A32017870}"/>
          </ac:spMkLst>
        </pc:spChg>
        <pc:spChg chg="add del mod">
          <ac:chgData name="Steiner Andreas 6206 ED" userId="e6377c33-a923-4f14-8587-531c474c7b48" providerId="ADAL" clId="{6ECD27E6-B224-41CD-B4E0-E297462320DD}" dt="2023-11-24T08:42:47.350" v="48887"/>
          <ac:spMkLst>
            <pc:docMk/>
            <pc:sldMk cId="43921188" sldId="2147478579"/>
            <ac:spMk id="323" creationId="{69D8A870-86C2-75D3-7C12-964B25DA1143}"/>
          </ac:spMkLst>
        </pc:spChg>
        <pc:spChg chg="add del mod">
          <ac:chgData name="Steiner Andreas 6206 ED" userId="e6377c33-a923-4f14-8587-531c474c7b48" providerId="ADAL" clId="{6ECD27E6-B224-41CD-B4E0-E297462320DD}" dt="2023-11-24T08:42:49.175" v="49042"/>
          <ac:spMkLst>
            <pc:docMk/>
            <pc:sldMk cId="43921188" sldId="2147478579"/>
            <ac:spMk id="324" creationId="{A9A84AFE-BA94-74DA-9480-B4FF6EB62E0D}"/>
          </ac:spMkLst>
        </pc:spChg>
        <pc:spChg chg="add del mod">
          <ac:chgData name="Steiner Andreas 6206 ED" userId="e6377c33-a923-4f14-8587-531c474c7b48" providerId="ADAL" clId="{6ECD27E6-B224-41CD-B4E0-E297462320DD}" dt="2023-11-24T08:42:51.029" v="49197"/>
          <ac:spMkLst>
            <pc:docMk/>
            <pc:sldMk cId="43921188" sldId="2147478579"/>
            <ac:spMk id="325" creationId="{7B2F3783-F343-26AE-B226-645A4FFFEEE2}"/>
          </ac:spMkLst>
        </pc:spChg>
        <pc:spChg chg="add del mod">
          <ac:chgData name="Steiner Andreas 6206 ED" userId="e6377c33-a923-4f14-8587-531c474c7b48" providerId="ADAL" clId="{6ECD27E6-B224-41CD-B4E0-E297462320DD}" dt="2023-11-24T08:42:53.107" v="49352"/>
          <ac:spMkLst>
            <pc:docMk/>
            <pc:sldMk cId="43921188" sldId="2147478579"/>
            <ac:spMk id="326" creationId="{B7417CCD-DDB9-3D67-D600-3DA05C692C89}"/>
          </ac:spMkLst>
        </pc:spChg>
        <pc:spChg chg="add del mod">
          <ac:chgData name="Steiner Andreas 6206 ED" userId="e6377c33-a923-4f14-8587-531c474c7b48" providerId="ADAL" clId="{6ECD27E6-B224-41CD-B4E0-E297462320DD}" dt="2023-11-24T08:42:55.684" v="49507"/>
          <ac:spMkLst>
            <pc:docMk/>
            <pc:sldMk cId="43921188" sldId="2147478579"/>
            <ac:spMk id="327" creationId="{48A14E5F-BF4E-7965-9820-F9BCDBA25BF1}"/>
          </ac:spMkLst>
        </pc:spChg>
        <pc:spChg chg="add del mod">
          <ac:chgData name="Steiner Andreas 6206 ED" userId="e6377c33-a923-4f14-8587-531c474c7b48" providerId="ADAL" clId="{6ECD27E6-B224-41CD-B4E0-E297462320DD}" dt="2023-11-24T08:42:57.810" v="49662"/>
          <ac:spMkLst>
            <pc:docMk/>
            <pc:sldMk cId="43921188" sldId="2147478579"/>
            <ac:spMk id="328" creationId="{2C98077A-2039-DAF1-8F2B-BA806D5F36D9}"/>
          </ac:spMkLst>
        </pc:spChg>
        <pc:spChg chg="add del mod">
          <ac:chgData name="Steiner Andreas 6206 ED" userId="e6377c33-a923-4f14-8587-531c474c7b48" providerId="ADAL" clId="{6ECD27E6-B224-41CD-B4E0-E297462320DD}" dt="2023-11-24T08:42:59.755" v="49817"/>
          <ac:spMkLst>
            <pc:docMk/>
            <pc:sldMk cId="43921188" sldId="2147478579"/>
            <ac:spMk id="329" creationId="{5F2740E8-5D5E-7268-3182-75D9487EB00C}"/>
          </ac:spMkLst>
        </pc:spChg>
        <pc:spChg chg="add del mod">
          <ac:chgData name="Steiner Andreas 6206 ED" userId="e6377c33-a923-4f14-8587-531c474c7b48" providerId="ADAL" clId="{6ECD27E6-B224-41CD-B4E0-E297462320DD}" dt="2023-11-24T08:43:01.742" v="49972"/>
          <ac:spMkLst>
            <pc:docMk/>
            <pc:sldMk cId="43921188" sldId="2147478579"/>
            <ac:spMk id="330" creationId="{F48369E4-5D5D-5EE6-0B6E-4BFE0E59A24F}"/>
          </ac:spMkLst>
        </pc:spChg>
        <pc:spChg chg="add del mod">
          <ac:chgData name="Steiner Andreas 6206 ED" userId="e6377c33-a923-4f14-8587-531c474c7b48" providerId="ADAL" clId="{6ECD27E6-B224-41CD-B4E0-E297462320DD}" dt="2023-11-24T08:43:03.744" v="50127"/>
          <ac:spMkLst>
            <pc:docMk/>
            <pc:sldMk cId="43921188" sldId="2147478579"/>
            <ac:spMk id="331" creationId="{1D10ADE2-3840-BEE3-3F13-CA3A952C79CB}"/>
          </ac:spMkLst>
        </pc:spChg>
        <pc:spChg chg="add del mod">
          <ac:chgData name="Steiner Andreas 6206 ED" userId="e6377c33-a923-4f14-8587-531c474c7b48" providerId="ADAL" clId="{6ECD27E6-B224-41CD-B4E0-E297462320DD}" dt="2023-11-24T08:43:05.600" v="50282"/>
          <ac:spMkLst>
            <pc:docMk/>
            <pc:sldMk cId="43921188" sldId="2147478579"/>
            <ac:spMk id="332" creationId="{D368CEF6-5722-3EE1-C2C2-365A27793F11}"/>
          </ac:spMkLst>
        </pc:spChg>
        <pc:spChg chg="add del mod">
          <ac:chgData name="Steiner Andreas 6206 ED" userId="e6377c33-a923-4f14-8587-531c474c7b48" providerId="ADAL" clId="{6ECD27E6-B224-41CD-B4E0-E297462320DD}" dt="2023-11-24T08:43:07.744" v="50437"/>
          <ac:spMkLst>
            <pc:docMk/>
            <pc:sldMk cId="43921188" sldId="2147478579"/>
            <ac:spMk id="333" creationId="{7163F942-4E2A-D830-F047-8FEDF9907823}"/>
          </ac:spMkLst>
        </pc:spChg>
        <pc:spChg chg="add del mod">
          <ac:chgData name="Steiner Andreas 6206 ED" userId="e6377c33-a923-4f14-8587-531c474c7b48" providerId="ADAL" clId="{6ECD27E6-B224-41CD-B4E0-E297462320DD}" dt="2023-11-24T08:43:09.899" v="50592"/>
          <ac:spMkLst>
            <pc:docMk/>
            <pc:sldMk cId="43921188" sldId="2147478579"/>
            <ac:spMk id="334" creationId="{974DF515-F52F-3DCC-E8ED-C570B3A1DD60}"/>
          </ac:spMkLst>
        </pc:spChg>
        <pc:spChg chg="add del mod">
          <ac:chgData name="Steiner Andreas 6206 ED" userId="e6377c33-a923-4f14-8587-531c474c7b48" providerId="ADAL" clId="{6ECD27E6-B224-41CD-B4E0-E297462320DD}" dt="2023-11-24T08:43:11.717" v="50747"/>
          <ac:spMkLst>
            <pc:docMk/>
            <pc:sldMk cId="43921188" sldId="2147478579"/>
            <ac:spMk id="335" creationId="{8FA8C964-DE18-C585-ED49-404E6F0253E3}"/>
          </ac:spMkLst>
        </pc:spChg>
        <pc:spChg chg="add del mod">
          <ac:chgData name="Steiner Andreas 6206 ED" userId="e6377c33-a923-4f14-8587-531c474c7b48" providerId="ADAL" clId="{6ECD27E6-B224-41CD-B4E0-E297462320DD}" dt="2023-11-24T08:43:13.773" v="50902"/>
          <ac:spMkLst>
            <pc:docMk/>
            <pc:sldMk cId="43921188" sldId="2147478579"/>
            <ac:spMk id="336" creationId="{CE94F972-CD0F-8116-8C04-3F0E217FAFAF}"/>
          </ac:spMkLst>
        </pc:spChg>
        <pc:spChg chg="add del mod">
          <ac:chgData name="Steiner Andreas 6206 ED" userId="e6377c33-a923-4f14-8587-531c474c7b48" providerId="ADAL" clId="{6ECD27E6-B224-41CD-B4E0-E297462320DD}" dt="2023-11-24T08:43:15.719" v="51057"/>
          <ac:spMkLst>
            <pc:docMk/>
            <pc:sldMk cId="43921188" sldId="2147478579"/>
            <ac:spMk id="337" creationId="{69244CBA-E606-01AF-BD6C-FB1CED9B41EA}"/>
          </ac:spMkLst>
        </pc:spChg>
        <pc:spChg chg="add del mod">
          <ac:chgData name="Steiner Andreas 6206 ED" userId="e6377c33-a923-4f14-8587-531c474c7b48" providerId="ADAL" clId="{6ECD27E6-B224-41CD-B4E0-E297462320DD}" dt="2023-11-24T08:43:17.840" v="51212"/>
          <ac:spMkLst>
            <pc:docMk/>
            <pc:sldMk cId="43921188" sldId="2147478579"/>
            <ac:spMk id="338" creationId="{949B9F7D-CCE5-AF99-6F26-19FB4DBEBE45}"/>
          </ac:spMkLst>
        </pc:spChg>
        <pc:spChg chg="add del mod">
          <ac:chgData name="Steiner Andreas 6206 ED" userId="e6377c33-a923-4f14-8587-531c474c7b48" providerId="ADAL" clId="{6ECD27E6-B224-41CD-B4E0-E297462320DD}" dt="2023-11-24T08:43:19.802" v="51367"/>
          <ac:spMkLst>
            <pc:docMk/>
            <pc:sldMk cId="43921188" sldId="2147478579"/>
            <ac:spMk id="339" creationId="{4CDC6C7E-2899-A980-C5D3-B5542A07C436}"/>
          </ac:spMkLst>
        </pc:spChg>
        <pc:spChg chg="add del mod">
          <ac:chgData name="Steiner Andreas 6206 ED" userId="e6377c33-a923-4f14-8587-531c474c7b48" providerId="ADAL" clId="{6ECD27E6-B224-41CD-B4E0-E297462320DD}" dt="2023-11-24T08:43:21.725" v="51522"/>
          <ac:spMkLst>
            <pc:docMk/>
            <pc:sldMk cId="43921188" sldId="2147478579"/>
            <ac:spMk id="340" creationId="{089283AD-1FCA-45B0-A8C9-13E510249D6C}"/>
          </ac:spMkLst>
        </pc:spChg>
        <pc:spChg chg="add del mod">
          <ac:chgData name="Steiner Andreas 6206 ED" userId="e6377c33-a923-4f14-8587-531c474c7b48" providerId="ADAL" clId="{6ECD27E6-B224-41CD-B4E0-E297462320DD}" dt="2023-11-24T08:43:23.659" v="51677"/>
          <ac:spMkLst>
            <pc:docMk/>
            <pc:sldMk cId="43921188" sldId="2147478579"/>
            <ac:spMk id="341" creationId="{EB0FDB28-516D-95DC-5987-32E13826B4D2}"/>
          </ac:spMkLst>
        </pc:spChg>
        <pc:spChg chg="add del mod">
          <ac:chgData name="Steiner Andreas 6206 ED" userId="e6377c33-a923-4f14-8587-531c474c7b48" providerId="ADAL" clId="{6ECD27E6-B224-41CD-B4E0-E297462320DD}" dt="2023-11-24T08:43:25.554" v="51832"/>
          <ac:spMkLst>
            <pc:docMk/>
            <pc:sldMk cId="43921188" sldId="2147478579"/>
            <ac:spMk id="342" creationId="{FCDB1C23-8CC8-6541-757B-B2C95E1839DE}"/>
          </ac:spMkLst>
        </pc:spChg>
        <pc:spChg chg="add del mod">
          <ac:chgData name="Steiner Andreas 6206 ED" userId="e6377c33-a923-4f14-8587-531c474c7b48" providerId="ADAL" clId="{6ECD27E6-B224-41CD-B4E0-E297462320DD}" dt="2023-11-24T08:43:27.381" v="51987"/>
          <ac:spMkLst>
            <pc:docMk/>
            <pc:sldMk cId="43921188" sldId="2147478579"/>
            <ac:spMk id="343" creationId="{C179E934-1A31-BA48-9A09-5DA300A974EB}"/>
          </ac:spMkLst>
        </pc:spChg>
        <pc:spChg chg="add del mod">
          <ac:chgData name="Steiner Andreas 6206 ED" userId="e6377c33-a923-4f14-8587-531c474c7b48" providerId="ADAL" clId="{6ECD27E6-B224-41CD-B4E0-E297462320DD}" dt="2023-11-24T08:43:29.203" v="52142"/>
          <ac:spMkLst>
            <pc:docMk/>
            <pc:sldMk cId="43921188" sldId="2147478579"/>
            <ac:spMk id="344" creationId="{A1C3AC5C-B62E-8CDC-3A46-35D51CCF1929}"/>
          </ac:spMkLst>
        </pc:spChg>
        <pc:spChg chg="add del mod">
          <ac:chgData name="Steiner Andreas 6206 ED" userId="e6377c33-a923-4f14-8587-531c474c7b48" providerId="ADAL" clId="{6ECD27E6-B224-41CD-B4E0-E297462320DD}" dt="2023-11-24T08:43:31.716" v="52297"/>
          <ac:spMkLst>
            <pc:docMk/>
            <pc:sldMk cId="43921188" sldId="2147478579"/>
            <ac:spMk id="345" creationId="{B640EF3C-B4DA-2887-4E7C-C41ECD513636}"/>
          </ac:spMkLst>
        </pc:spChg>
        <pc:spChg chg="add del mod">
          <ac:chgData name="Steiner Andreas 6206 ED" userId="e6377c33-a923-4f14-8587-531c474c7b48" providerId="ADAL" clId="{6ECD27E6-B224-41CD-B4E0-E297462320DD}" dt="2023-11-24T08:43:34.347" v="52452"/>
          <ac:spMkLst>
            <pc:docMk/>
            <pc:sldMk cId="43921188" sldId="2147478579"/>
            <ac:spMk id="346" creationId="{A236022F-6670-7FB6-8FB0-459F7ACAFFA2}"/>
          </ac:spMkLst>
        </pc:spChg>
        <pc:spChg chg="add del mod">
          <ac:chgData name="Steiner Andreas 6206 ED" userId="e6377c33-a923-4f14-8587-531c474c7b48" providerId="ADAL" clId="{6ECD27E6-B224-41CD-B4E0-E297462320DD}" dt="2023-11-24T08:43:36.453" v="52607"/>
          <ac:spMkLst>
            <pc:docMk/>
            <pc:sldMk cId="43921188" sldId="2147478579"/>
            <ac:spMk id="347" creationId="{8B0D0D6B-4D32-19B5-3E44-3B46D5D0B70F}"/>
          </ac:spMkLst>
        </pc:spChg>
        <pc:spChg chg="add del mod">
          <ac:chgData name="Steiner Andreas 6206 ED" userId="e6377c33-a923-4f14-8587-531c474c7b48" providerId="ADAL" clId="{6ECD27E6-B224-41CD-B4E0-E297462320DD}" dt="2023-11-24T08:43:38.466" v="52762"/>
          <ac:spMkLst>
            <pc:docMk/>
            <pc:sldMk cId="43921188" sldId="2147478579"/>
            <ac:spMk id="348" creationId="{D73B860B-D0E0-18D8-B520-C60FA5A96F14}"/>
          </ac:spMkLst>
        </pc:spChg>
        <pc:spChg chg="add del mod">
          <ac:chgData name="Steiner Andreas 6206 ED" userId="e6377c33-a923-4f14-8587-531c474c7b48" providerId="ADAL" clId="{6ECD27E6-B224-41CD-B4E0-E297462320DD}" dt="2023-11-24T08:43:40.681" v="52917"/>
          <ac:spMkLst>
            <pc:docMk/>
            <pc:sldMk cId="43921188" sldId="2147478579"/>
            <ac:spMk id="349" creationId="{E6E0C97A-AB40-2CBB-9A25-F729EAF48319}"/>
          </ac:spMkLst>
        </pc:spChg>
        <pc:spChg chg="add del mod">
          <ac:chgData name="Steiner Andreas 6206 ED" userId="e6377c33-a923-4f14-8587-531c474c7b48" providerId="ADAL" clId="{6ECD27E6-B224-41CD-B4E0-E297462320DD}" dt="2023-11-24T08:43:42.675" v="53072"/>
          <ac:spMkLst>
            <pc:docMk/>
            <pc:sldMk cId="43921188" sldId="2147478579"/>
            <ac:spMk id="350" creationId="{53013C75-EC9E-7C58-A937-3C1060E436F8}"/>
          </ac:spMkLst>
        </pc:spChg>
        <pc:spChg chg="add del mod">
          <ac:chgData name="Steiner Andreas 6206 ED" userId="e6377c33-a923-4f14-8587-531c474c7b48" providerId="ADAL" clId="{6ECD27E6-B224-41CD-B4E0-E297462320DD}" dt="2023-11-24T08:43:44.511" v="53227"/>
          <ac:spMkLst>
            <pc:docMk/>
            <pc:sldMk cId="43921188" sldId="2147478579"/>
            <ac:spMk id="351" creationId="{8F127D9B-C299-7049-21B8-39CCDAB285F3}"/>
          </ac:spMkLst>
        </pc:spChg>
        <pc:spChg chg="add del mod">
          <ac:chgData name="Steiner Andreas 6206 ED" userId="e6377c33-a923-4f14-8587-531c474c7b48" providerId="ADAL" clId="{6ECD27E6-B224-41CD-B4E0-E297462320DD}" dt="2023-11-24T08:43:46.288" v="53382"/>
          <ac:spMkLst>
            <pc:docMk/>
            <pc:sldMk cId="43921188" sldId="2147478579"/>
            <ac:spMk id="352" creationId="{B33992F5-1F02-02AC-4D4A-5DDB8956E52D}"/>
          </ac:spMkLst>
        </pc:spChg>
        <pc:spChg chg="add del mod">
          <ac:chgData name="Steiner Andreas 6206 ED" userId="e6377c33-a923-4f14-8587-531c474c7b48" providerId="ADAL" clId="{6ECD27E6-B224-41CD-B4E0-E297462320DD}" dt="2023-11-24T08:43:48.211" v="53537"/>
          <ac:spMkLst>
            <pc:docMk/>
            <pc:sldMk cId="43921188" sldId="2147478579"/>
            <ac:spMk id="353" creationId="{9064DCDA-05A1-9AB0-0B89-7BB94DEA960F}"/>
          </ac:spMkLst>
        </pc:spChg>
        <pc:spChg chg="add del mod">
          <ac:chgData name="Steiner Andreas 6206 ED" userId="e6377c33-a923-4f14-8587-531c474c7b48" providerId="ADAL" clId="{6ECD27E6-B224-41CD-B4E0-E297462320DD}" dt="2023-11-24T08:43:50.195" v="53692"/>
          <ac:spMkLst>
            <pc:docMk/>
            <pc:sldMk cId="43921188" sldId="2147478579"/>
            <ac:spMk id="354" creationId="{22DB8B39-7F52-A487-CAD8-1F723EAF513F}"/>
          </ac:spMkLst>
        </pc:spChg>
        <pc:spChg chg="add del mod">
          <ac:chgData name="Steiner Andreas 6206 ED" userId="e6377c33-a923-4f14-8587-531c474c7b48" providerId="ADAL" clId="{6ECD27E6-B224-41CD-B4E0-E297462320DD}" dt="2023-11-24T08:43:52.202" v="53847"/>
          <ac:spMkLst>
            <pc:docMk/>
            <pc:sldMk cId="43921188" sldId="2147478579"/>
            <ac:spMk id="355" creationId="{1B0E0A54-59C5-7E83-FAD4-F24596D958BA}"/>
          </ac:spMkLst>
        </pc:spChg>
        <pc:spChg chg="add del mod">
          <ac:chgData name="Steiner Andreas 6206 ED" userId="e6377c33-a923-4f14-8587-531c474c7b48" providerId="ADAL" clId="{6ECD27E6-B224-41CD-B4E0-E297462320DD}" dt="2023-11-24T08:43:54.965" v="54002"/>
          <ac:spMkLst>
            <pc:docMk/>
            <pc:sldMk cId="43921188" sldId="2147478579"/>
            <ac:spMk id="356" creationId="{E9634019-93A6-4575-C2E5-FC1D1C9BC34E}"/>
          </ac:spMkLst>
        </pc:spChg>
        <pc:spChg chg="add del mod">
          <ac:chgData name="Steiner Andreas 6206 ED" userId="e6377c33-a923-4f14-8587-531c474c7b48" providerId="ADAL" clId="{6ECD27E6-B224-41CD-B4E0-E297462320DD}" dt="2023-11-24T08:43:57.037" v="54157"/>
          <ac:spMkLst>
            <pc:docMk/>
            <pc:sldMk cId="43921188" sldId="2147478579"/>
            <ac:spMk id="357" creationId="{511C17B2-F232-4BC7-CD6C-08BFF8260BF3}"/>
          </ac:spMkLst>
        </pc:spChg>
        <pc:spChg chg="add del mod">
          <ac:chgData name="Steiner Andreas 6206 ED" userId="e6377c33-a923-4f14-8587-531c474c7b48" providerId="ADAL" clId="{6ECD27E6-B224-41CD-B4E0-E297462320DD}" dt="2023-11-24T08:43:59.159" v="54312"/>
          <ac:spMkLst>
            <pc:docMk/>
            <pc:sldMk cId="43921188" sldId="2147478579"/>
            <ac:spMk id="358" creationId="{44477A88-0CA6-656C-C5BD-9BBB1CA6FA4F}"/>
          </ac:spMkLst>
        </pc:spChg>
        <pc:spChg chg="add del mod">
          <ac:chgData name="Steiner Andreas 6206 ED" userId="e6377c33-a923-4f14-8587-531c474c7b48" providerId="ADAL" clId="{6ECD27E6-B224-41CD-B4E0-E297462320DD}" dt="2023-11-24T08:44:01.464" v="54467"/>
          <ac:spMkLst>
            <pc:docMk/>
            <pc:sldMk cId="43921188" sldId="2147478579"/>
            <ac:spMk id="359" creationId="{41FF0659-7610-96FB-BFC4-453670CFBBF2}"/>
          </ac:spMkLst>
        </pc:spChg>
        <pc:spChg chg="add del mod">
          <ac:chgData name="Steiner Andreas 6206 ED" userId="e6377c33-a923-4f14-8587-531c474c7b48" providerId="ADAL" clId="{6ECD27E6-B224-41CD-B4E0-E297462320DD}" dt="2023-11-24T08:44:03.584" v="54622"/>
          <ac:spMkLst>
            <pc:docMk/>
            <pc:sldMk cId="43921188" sldId="2147478579"/>
            <ac:spMk id="360" creationId="{5E7BEA29-5CB4-D90B-63DB-49E24C939E83}"/>
          </ac:spMkLst>
        </pc:spChg>
        <pc:spChg chg="add del mod">
          <ac:chgData name="Steiner Andreas 6206 ED" userId="e6377c33-a923-4f14-8587-531c474c7b48" providerId="ADAL" clId="{6ECD27E6-B224-41CD-B4E0-E297462320DD}" dt="2023-11-24T08:44:05.703" v="54777"/>
          <ac:spMkLst>
            <pc:docMk/>
            <pc:sldMk cId="43921188" sldId="2147478579"/>
            <ac:spMk id="361" creationId="{14B641CE-6079-C345-5E35-3EB40C9CFC75}"/>
          </ac:spMkLst>
        </pc:spChg>
        <pc:spChg chg="add del mod">
          <ac:chgData name="Steiner Andreas 6206 ED" userId="e6377c33-a923-4f14-8587-531c474c7b48" providerId="ADAL" clId="{6ECD27E6-B224-41CD-B4E0-E297462320DD}" dt="2023-11-24T08:44:07.665" v="54932"/>
          <ac:spMkLst>
            <pc:docMk/>
            <pc:sldMk cId="43921188" sldId="2147478579"/>
            <ac:spMk id="362" creationId="{833B093A-1659-2370-4691-7EA5E6ED9D07}"/>
          </ac:spMkLst>
        </pc:spChg>
        <pc:spChg chg="add del mod">
          <ac:chgData name="Steiner Andreas 6206 ED" userId="e6377c33-a923-4f14-8587-531c474c7b48" providerId="ADAL" clId="{6ECD27E6-B224-41CD-B4E0-E297462320DD}" dt="2023-11-24T08:44:09.688" v="55087"/>
          <ac:spMkLst>
            <pc:docMk/>
            <pc:sldMk cId="43921188" sldId="2147478579"/>
            <ac:spMk id="363" creationId="{2629BAC0-4A55-6223-E02F-31CAC01C19DC}"/>
          </ac:spMkLst>
        </pc:spChg>
        <pc:spChg chg="add del mod">
          <ac:chgData name="Steiner Andreas 6206 ED" userId="e6377c33-a923-4f14-8587-531c474c7b48" providerId="ADAL" clId="{6ECD27E6-B224-41CD-B4E0-E297462320DD}" dt="2023-11-24T08:44:11.629" v="55242"/>
          <ac:spMkLst>
            <pc:docMk/>
            <pc:sldMk cId="43921188" sldId="2147478579"/>
            <ac:spMk id="364" creationId="{19DECC57-C9B2-D753-6873-05D757C3AD0C}"/>
          </ac:spMkLst>
        </pc:spChg>
        <pc:spChg chg="add del mod">
          <ac:chgData name="Steiner Andreas 6206 ED" userId="e6377c33-a923-4f14-8587-531c474c7b48" providerId="ADAL" clId="{6ECD27E6-B224-41CD-B4E0-E297462320DD}" dt="2023-11-24T08:44:13.836" v="55397"/>
          <ac:spMkLst>
            <pc:docMk/>
            <pc:sldMk cId="43921188" sldId="2147478579"/>
            <ac:spMk id="365" creationId="{2610C635-853D-BD8F-81C9-3FF4AA2AB260}"/>
          </ac:spMkLst>
        </pc:spChg>
        <pc:spChg chg="add del mod">
          <ac:chgData name="Steiner Andreas 6206 ED" userId="e6377c33-a923-4f14-8587-531c474c7b48" providerId="ADAL" clId="{6ECD27E6-B224-41CD-B4E0-E297462320DD}" dt="2023-11-24T08:44:15.889" v="55552"/>
          <ac:spMkLst>
            <pc:docMk/>
            <pc:sldMk cId="43921188" sldId="2147478579"/>
            <ac:spMk id="366" creationId="{59BB11EF-B1F7-3545-77B5-95AB65CD53E3}"/>
          </ac:spMkLst>
        </pc:spChg>
        <pc:spChg chg="add del mod">
          <ac:chgData name="Steiner Andreas 6206 ED" userId="e6377c33-a923-4f14-8587-531c474c7b48" providerId="ADAL" clId="{6ECD27E6-B224-41CD-B4E0-E297462320DD}" dt="2023-11-24T08:44:18.349" v="55707"/>
          <ac:spMkLst>
            <pc:docMk/>
            <pc:sldMk cId="43921188" sldId="2147478579"/>
            <ac:spMk id="367" creationId="{477D3ACE-8958-2F07-0AC3-1816A70323B3}"/>
          </ac:spMkLst>
        </pc:spChg>
        <pc:spChg chg="add del mod">
          <ac:chgData name="Steiner Andreas 6206 ED" userId="e6377c33-a923-4f14-8587-531c474c7b48" providerId="ADAL" clId="{6ECD27E6-B224-41CD-B4E0-E297462320DD}" dt="2023-11-24T08:44:21.142" v="55862"/>
          <ac:spMkLst>
            <pc:docMk/>
            <pc:sldMk cId="43921188" sldId="2147478579"/>
            <ac:spMk id="368" creationId="{77488B30-08E4-4B38-4130-73297BE137EE}"/>
          </ac:spMkLst>
        </pc:spChg>
        <pc:spChg chg="add del mod">
          <ac:chgData name="Steiner Andreas 6206 ED" userId="e6377c33-a923-4f14-8587-531c474c7b48" providerId="ADAL" clId="{6ECD27E6-B224-41CD-B4E0-E297462320DD}" dt="2023-11-24T08:44:23.628" v="56017"/>
          <ac:spMkLst>
            <pc:docMk/>
            <pc:sldMk cId="43921188" sldId="2147478579"/>
            <ac:spMk id="369" creationId="{4BE27C33-A043-F42D-46F5-619E722BF37B}"/>
          </ac:spMkLst>
        </pc:spChg>
        <pc:spChg chg="add del mod">
          <ac:chgData name="Steiner Andreas 6206 ED" userId="e6377c33-a923-4f14-8587-531c474c7b48" providerId="ADAL" clId="{6ECD27E6-B224-41CD-B4E0-E297462320DD}" dt="2023-11-24T08:44:25.549" v="56172"/>
          <ac:spMkLst>
            <pc:docMk/>
            <pc:sldMk cId="43921188" sldId="2147478579"/>
            <ac:spMk id="370" creationId="{6BDEF51C-4710-7355-7C38-781617A0635B}"/>
          </ac:spMkLst>
        </pc:spChg>
        <pc:spChg chg="add del mod">
          <ac:chgData name="Steiner Andreas 6206 ED" userId="e6377c33-a923-4f14-8587-531c474c7b48" providerId="ADAL" clId="{6ECD27E6-B224-41CD-B4E0-E297462320DD}" dt="2023-11-24T08:44:27.750" v="56327"/>
          <ac:spMkLst>
            <pc:docMk/>
            <pc:sldMk cId="43921188" sldId="2147478579"/>
            <ac:spMk id="371" creationId="{443A62AA-6D84-1A4E-0AEE-1C073A5D78EC}"/>
          </ac:spMkLst>
        </pc:spChg>
        <pc:spChg chg="add del mod">
          <ac:chgData name="Steiner Andreas 6206 ED" userId="e6377c33-a923-4f14-8587-531c474c7b48" providerId="ADAL" clId="{6ECD27E6-B224-41CD-B4E0-E297462320DD}" dt="2023-11-24T08:44:29.769" v="56482"/>
          <ac:spMkLst>
            <pc:docMk/>
            <pc:sldMk cId="43921188" sldId="2147478579"/>
            <ac:spMk id="372" creationId="{6A8187E1-643E-E34A-5767-2B80C90D235A}"/>
          </ac:spMkLst>
        </pc:spChg>
        <pc:spChg chg="add del mod">
          <ac:chgData name="Steiner Andreas 6206 ED" userId="e6377c33-a923-4f14-8587-531c474c7b48" providerId="ADAL" clId="{6ECD27E6-B224-41CD-B4E0-E297462320DD}" dt="2023-11-24T08:44:31.738" v="56637"/>
          <ac:spMkLst>
            <pc:docMk/>
            <pc:sldMk cId="43921188" sldId="2147478579"/>
            <ac:spMk id="373" creationId="{6C135C5F-273C-5921-CACD-26FBCF6ADB12}"/>
          </ac:spMkLst>
        </pc:spChg>
        <pc:spChg chg="add del mod">
          <ac:chgData name="Steiner Andreas 6206 ED" userId="e6377c33-a923-4f14-8587-531c474c7b48" providerId="ADAL" clId="{6ECD27E6-B224-41CD-B4E0-E297462320DD}" dt="2023-11-24T08:44:33.685" v="56792"/>
          <ac:spMkLst>
            <pc:docMk/>
            <pc:sldMk cId="43921188" sldId="2147478579"/>
            <ac:spMk id="374" creationId="{B87F1BCC-7629-4E6F-3BB4-1E3DFB3D93B8}"/>
          </ac:spMkLst>
        </pc:spChg>
        <pc:spChg chg="add del mod">
          <ac:chgData name="Steiner Andreas 6206 ED" userId="e6377c33-a923-4f14-8587-531c474c7b48" providerId="ADAL" clId="{6ECD27E6-B224-41CD-B4E0-E297462320DD}" dt="2023-11-24T08:44:35.977" v="56947"/>
          <ac:spMkLst>
            <pc:docMk/>
            <pc:sldMk cId="43921188" sldId="2147478579"/>
            <ac:spMk id="375" creationId="{EF9E134A-0A01-BEF4-CB31-233B7B34AC11}"/>
          </ac:spMkLst>
        </pc:spChg>
        <pc:spChg chg="add del mod">
          <ac:chgData name="Steiner Andreas 6206 ED" userId="e6377c33-a923-4f14-8587-531c474c7b48" providerId="ADAL" clId="{6ECD27E6-B224-41CD-B4E0-E297462320DD}" dt="2023-11-24T08:44:38.623" v="57102"/>
          <ac:spMkLst>
            <pc:docMk/>
            <pc:sldMk cId="43921188" sldId="2147478579"/>
            <ac:spMk id="376" creationId="{B1572295-F0E2-F4A2-3E45-7E17A13D688E}"/>
          </ac:spMkLst>
        </pc:spChg>
        <pc:spChg chg="add del mod">
          <ac:chgData name="Steiner Andreas 6206 ED" userId="e6377c33-a923-4f14-8587-531c474c7b48" providerId="ADAL" clId="{6ECD27E6-B224-41CD-B4E0-E297462320DD}" dt="2023-11-24T08:44:40.969" v="57257"/>
          <ac:spMkLst>
            <pc:docMk/>
            <pc:sldMk cId="43921188" sldId="2147478579"/>
            <ac:spMk id="377" creationId="{0D3C7D98-5A57-1DCC-7931-6E4C8325713D}"/>
          </ac:spMkLst>
        </pc:spChg>
        <pc:spChg chg="add del mod">
          <ac:chgData name="Steiner Andreas 6206 ED" userId="e6377c33-a923-4f14-8587-531c474c7b48" providerId="ADAL" clId="{6ECD27E6-B224-41CD-B4E0-E297462320DD}" dt="2023-11-24T08:44:43.207" v="57412"/>
          <ac:spMkLst>
            <pc:docMk/>
            <pc:sldMk cId="43921188" sldId="2147478579"/>
            <ac:spMk id="378" creationId="{685337B3-3A69-53D9-667F-921E3DE786A4}"/>
          </ac:spMkLst>
        </pc:spChg>
        <pc:spChg chg="add del mod">
          <ac:chgData name="Steiner Andreas 6206 ED" userId="e6377c33-a923-4f14-8587-531c474c7b48" providerId="ADAL" clId="{6ECD27E6-B224-41CD-B4E0-E297462320DD}" dt="2023-11-24T08:44:45.356" v="57567"/>
          <ac:spMkLst>
            <pc:docMk/>
            <pc:sldMk cId="43921188" sldId="2147478579"/>
            <ac:spMk id="379" creationId="{38DBECBE-00F8-0515-7FFF-E383BE74056C}"/>
          </ac:spMkLst>
        </pc:spChg>
        <pc:spChg chg="add del mod">
          <ac:chgData name="Steiner Andreas 6206 ED" userId="e6377c33-a923-4f14-8587-531c474c7b48" providerId="ADAL" clId="{6ECD27E6-B224-41CD-B4E0-E297462320DD}" dt="2023-11-24T08:44:47.959" v="57722"/>
          <ac:spMkLst>
            <pc:docMk/>
            <pc:sldMk cId="43921188" sldId="2147478579"/>
            <ac:spMk id="380" creationId="{822BB6BF-DABE-E109-574C-54D51C1BAB3C}"/>
          </ac:spMkLst>
        </pc:spChg>
        <pc:spChg chg="add del mod">
          <ac:chgData name="Steiner Andreas 6206 ED" userId="e6377c33-a923-4f14-8587-531c474c7b48" providerId="ADAL" clId="{6ECD27E6-B224-41CD-B4E0-E297462320DD}" dt="2023-11-24T08:44:50.378" v="57877"/>
          <ac:spMkLst>
            <pc:docMk/>
            <pc:sldMk cId="43921188" sldId="2147478579"/>
            <ac:spMk id="381" creationId="{55D88B3C-BFBF-F9D4-4865-54EB5DBC863E}"/>
          </ac:spMkLst>
        </pc:spChg>
        <pc:spChg chg="add del mod">
          <ac:chgData name="Steiner Andreas 6206 ED" userId="e6377c33-a923-4f14-8587-531c474c7b48" providerId="ADAL" clId="{6ECD27E6-B224-41CD-B4E0-E297462320DD}" dt="2023-11-24T08:44:52.525" v="58032"/>
          <ac:spMkLst>
            <pc:docMk/>
            <pc:sldMk cId="43921188" sldId="2147478579"/>
            <ac:spMk id="382" creationId="{0FF61C0E-7753-3A5F-682B-67B53B110171}"/>
          </ac:spMkLst>
        </pc:spChg>
        <pc:spChg chg="add del mod">
          <ac:chgData name="Steiner Andreas 6206 ED" userId="e6377c33-a923-4f14-8587-531c474c7b48" providerId="ADAL" clId="{6ECD27E6-B224-41CD-B4E0-E297462320DD}" dt="2023-11-24T08:44:54.709" v="58187"/>
          <ac:spMkLst>
            <pc:docMk/>
            <pc:sldMk cId="43921188" sldId="2147478579"/>
            <ac:spMk id="383" creationId="{7C140FDA-6FC2-CC2D-108B-2F60984BDF3B}"/>
          </ac:spMkLst>
        </pc:spChg>
        <pc:spChg chg="add del mod">
          <ac:chgData name="Steiner Andreas 6206 ED" userId="e6377c33-a923-4f14-8587-531c474c7b48" providerId="ADAL" clId="{6ECD27E6-B224-41CD-B4E0-E297462320DD}" dt="2023-11-24T08:44:56.755" v="58342"/>
          <ac:spMkLst>
            <pc:docMk/>
            <pc:sldMk cId="43921188" sldId="2147478579"/>
            <ac:spMk id="384" creationId="{ACD128F8-F95D-8A47-BE88-55B9A10C8956}"/>
          </ac:spMkLst>
        </pc:spChg>
        <pc:spChg chg="add del mod">
          <ac:chgData name="Steiner Andreas 6206 ED" userId="e6377c33-a923-4f14-8587-531c474c7b48" providerId="ADAL" clId="{6ECD27E6-B224-41CD-B4E0-E297462320DD}" dt="2023-11-24T08:44:58.683" v="58497"/>
          <ac:spMkLst>
            <pc:docMk/>
            <pc:sldMk cId="43921188" sldId="2147478579"/>
            <ac:spMk id="385" creationId="{CA067CD3-6BE5-94D8-75AA-6AA07AAFB257}"/>
          </ac:spMkLst>
        </pc:spChg>
        <pc:spChg chg="add del mod">
          <ac:chgData name="Steiner Andreas 6206 ED" userId="e6377c33-a923-4f14-8587-531c474c7b48" providerId="ADAL" clId="{6ECD27E6-B224-41CD-B4E0-E297462320DD}" dt="2023-11-24T08:45:00.827" v="58652"/>
          <ac:spMkLst>
            <pc:docMk/>
            <pc:sldMk cId="43921188" sldId="2147478579"/>
            <ac:spMk id="386" creationId="{5E21B627-2A6B-504C-7C96-7E269A1B7610}"/>
          </ac:spMkLst>
        </pc:spChg>
        <pc:spChg chg="add del mod">
          <ac:chgData name="Steiner Andreas 6206 ED" userId="e6377c33-a923-4f14-8587-531c474c7b48" providerId="ADAL" clId="{6ECD27E6-B224-41CD-B4E0-E297462320DD}" dt="2023-11-24T08:45:02.771" v="58807"/>
          <ac:spMkLst>
            <pc:docMk/>
            <pc:sldMk cId="43921188" sldId="2147478579"/>
            <ac:spMk id="387" creationId="{C30A2C9F-1B2D-BB78-C717-3CC31B656A87}"/>
          </ac:spMkLst>
        </pc:spChg>
        <pc:spChg chg="add del mod">
          <ac:chgData name="Steiner Andreas 6206 ED" userId="e6377c33-a923-4f14-8587-531c474c7b48" providerId="ADAL" clId="{6ECD27E6-B224-41CD-B4E0-E297462320DD}" dt="2023-11-24T08:45:04.631" v="58962"/>
          <ac:spMkLst>
            <pc:docMk/>
            <pc:sldMk cId="43921188" sldId="2147478579"/>
            <ac:spMk id="388" creationId="{DD969BC7-67EE-0378-2380-A31EB391487B}"/>
          </ac:spMkLst>
        </pc:spChg>
        <pc:spChg chg="add del mod">
          <ac:chgData name="Steiner Andreas 6206 ED" userId="e6377c33-a923-4f14-8587-531c474c7b48" providerId="ADAL" clId="{6ECD27E6-B224-41CD-B4E0-E297462320DD}" dt="2023-11-24T08:45:06.482" v="59117"/>
          <ac:spMkLst>
            <pc:docMk/>
            <pc:sldMk cId="43921188" sldId="2147478579"/>
            <ac:spMk id="389" creationId="{EC9C8E8D-223A-7E72-C750-C0A7B8FFEA3E}"/>
          </ac:spMkLst>
        </pc:spChg>
        <pc:spChg chg="add del mod">
          <ac:chgData name="Steiner Andreas 6206 ED" userId="e6377c33-a923-4f14-8587-531c474c7b48" providerId="ADAL" clId="{6ECD27E6-B224-41CD-B4E0-E297462320DD}" dt="2023-11-24T08:45:08.327" v="59272"/>
          <ac:spMkLst>
            <pc:docMk/>
            <pc:sldMk cId="43921188" sldId="2147478579"/>
            <ac:spMk id="390" creationId="{B3AFF0D2-8823-F245-5A2A-7E28B9B55B19}"/>
          </ac:spMkLst>
        </pc:spChg>
        <pc:spChg chg="add del mod">
          <ac:chgData name="Steiner Andreas 6206 ED" userId="e6377c33-a923-4f14-8587-531c474c7b48" providerId="ADAL" clId="{6ECD27E6-B224-41CD-B4E0-E297462320DD}" dt="2023-11-24T08:45:10.119" v="59427"/>
          <ac:spMkLst>
            <pc:docMk/>
            <pc:sldMk cId="43921188" sldId="2147478579"/>
            <ac:spMk id="391" creationId="{F7F5544D-0310-910A-E96C-0033C4DDF034}"/>
          </ac:spMkLst>
        </pc:spChg>
        <pc:spChg chg="add del mod">
          <ac:chgData name="Steiner Andreas 6206 ED" userId="e6377c33-a923-4f14-8587-531c474c7b48" providerId="ADAL" clId="{6ECD27E6-B224-41CD-B4E0-E297462320DD}" dt="2023-11-24T08:45:12.205" v="59582"/>
          <ac:spMkLst>
            <pc:docMk/>
            <pc:sldMk cId="43921188" sldId="2147478579"/>
            <ac:spMk id="392" creationId="{88F94397-6C38-5250-05B7-3CAF37B504FC}"/>
          </ac:spMkLst>
        </pc:spChg>
        <pc:spChg chg="add del mod">
          <ac:chgData name="Steiner Andreas 6206 ED" userId="e6377c33-a923-4f14-8587-531c474c7b48" providerId="ADAL" clId="{6ECD27E6-B224-41CD-B4E0-E297462320DD}" dt="2023-11-24T08:45:14.125" v="59737"/>
          <ac:spMkLst>
            <pc:docMk/>
            <pc:sldMk cId="43921188" sldId="2147478579"/>
            <ac:spMk id="393" creationId="{BAB11F55-F048-F1D8-89E9-EB42C2037F97}"/>
          </ac:spMkLst>
        </pc:spChg>
        <pc:spChg chg="add del mod">
          <ac:chgData name="Steiner Andreas 6206 ED" userId="e6377c33-a923-4f14-8587-531c474c7b48" providerId="ADAL" clId="{6ECD27E6-B224-41CD-B4E0-E297462320DD}" dt="2023-11-24T08:45:16.207" v="59892"/>
          <ac:spMkLst>
            <pc:docMk/>
            <pc:sldMk cId="43921188" sldId="2147478579"/>
            <ac:spMk id="394" creationId="{87B4E786-119F-CF37-EBC0-84A84B896831}"/>
          </ac:spMkLst>
        </pc:spChg>
        <pc:spChg chg="add del mod">
          <ac:chgData name="Steiner Andreas 6206 ED" userId="e6377c33-a923-4f14-8587-531c474c7b48" providerId="ADAL" clId="{6ECD27E6-B224-41CD-B4E0-E297462320DD}" dt="2023-11-24T08:45:18.150" v="60047"/>
          <ac:spMkLst>
            <pc:docMk/>
            <pc:sldMk cId="43921188" sldId="2147478579"/>
            <ac:spMk id="395" creationId="{F5CA3E87-10D2-BE89-8C06-ABD116924759}"/>
          </ac:spMkLst>
        </pc:spChg>
        <pc:spChg chg="add del mod">
          <ac:chgData name="Steiner Andreas 6206 ED" userId="e6377c33-a923-4f14-8587-531c474c7b48" providerId="ADAL" clId="{6ECD27E6-B224-41CD-B4E0-E297462320DD}" dt="2023-11-24T08:45:20.046" v="60202"/>
          <ac:spMkLst>
            <pc:docMk/>
            <pc:sldMk cId="43921188" sldId="2147478579"/>
            <ac:spMk id="396" creationId="{31871F9B-40D1-DE88-F35E-061B34C4EB57}"/>
          </ac:spMkLst>
        </pc:spChg>
        <pc:spChg chg="add del mod">
          <ac:chgData name="Steiner Andreas 6206 ED" userId="e6377c33-a923-4f14-8587-531c474c7b48" providerId="ADAL" clId="{6ECD27E6-B224-41CD-B4E0-E297462320DD}" dt="2023-11-24T08:45:22.141" v="60357"/>
          <ac:spMkLst>
            <pc:docMk/>
            <pc:sldMk cId="43921188" sldId="2147478579"/>
            <ac:spMk id="397" creationId="{D13E1EA9-B6D1-093A-E10E-A9DED5F5DB9C}"/>
          </ac:spMkLst>
        </pc:spChg>
        <pc:spChg chg="add del mod">
          <ac:chgData name="Steiner Andreas 6206 ED" userId="e6377c33-a923-4f14-8587-531c474c7b48" providerId="ADAL" clId="{6ECD27E6-B224-41CD-B4E0-E297462320DD}" dt="2023-11-24T08:45:24.358" v="60512"/>
          <ac:spMkLst>
            <pc:docMk/>
            <pc:sldMk cId="43921188" sldId="2147478579"/>
            <ac:spMk id="398" creationId="{E21878B0-FA77-5F9E-C076-1A56DCA37F09}"/>
          </ac:spMkLst>
        </pc:spChg>
        <pc:spChg chg="add del mod">
          <ac:chgData name="Steiner Andreas 6206 ED" userId="e6377c33-a923-4f14-8587-531c474c7b48" providerId="ADAL" clId="{6ECD27E6-B224-41CD-B4E0-E297462320DD}" dt="2023-11-24T08:45:26.356" v="60667"/>
          <ac:spMkLst>
            <pc:docMk/>
            <pc:sldMk cId="43921188" sldId="2147478579"/>
            <ac:spMk id="399" creationId="{07A8466B-DE64-92D8-B968-E5C301DAE68A}"/>
          </ac:spMkLst>
        </pc:spChg>
        <pc:spChg chg="add del mod">
          <ac:chgData name="Steiner Andreas 6206 ED" userId="e6377c33-a923-4f14-8587-531c474c7b48" providerId="ADAL" clId="{6ECD27E6-B224-41CD-B4E0-E297462320DD}" dt="2023-11-24T08:45:28.257" v="60822"/>
          <ac:spMkLst>
            <pc:docMk/>
            <pc:sldMk cId="43921188" sldId="2147478579"/>
            <ac:spMk id="400" creationId="{E925680B-41D1-7B5C-5515-4846EA005DED}"/>
          </ac:spMkLst>
        </pc:spChg>
        <pc:spChg chg="add del mod">
          <ac:chgData name="Steiner Andreas 6206 ED" userId="e6377c33-a923-4f14-8587-531c474c7b48" providerId="ADAL" clId="{6ECD27E6-B224-41CD-B4E0-E297462320DD}" dt="2023-11-24T08:45:30.079" v="60977"/>
          <ac:spMkLst>
            <pc:docMk/>
            <pc:sldMk cId="43921188" sldId="2147478579"/>
            <ac:spMk id="401" creationId="{FC69B739-FF7D-31C8-BF31-2E2B5B26067E}"/>
          </ac:spMkLst>
        </pc:spChg>
        <pc:spChg chg="add del mod">
          <ac:chgData name="Steiner Andreas 6206 ED" userId="e6377c33-a923-4f14-8587-531c474c7b48" providerId="ADAL" clId="{6ECD27E6-B224-41CD-B4E0-E297462320DD}" dt="2023-11-24T08:45:31.948" v="61132"/>
          <ac:spMkLst>
            <pc:docMk/>
            <pc:sldMk cId="43921188" sldId="2147478579"/>
            <ac:spMk id="402" creationId="{2AFBA38F-18D6-39F2-B83F-BAACCDA3CE6A}"/>
          </ac:spMkLst>
        </pc:spChg>
        <pc:spChg chg="add del mod">
          <ac:chgData name="Steiner Andreas 6206 ED" userId="e6377c33-a923-4f14-8587-531c474c7b48" providerId="ADAL" clId="{6ECD27E6-B224-41CD-B4E0-E297462320DD}" dt="2023-11-24T08:45:34.028" v="61287"/>
          <ac:spMkLst>
            <pc:docMk/>
            <pc:sldMk cId="43921188" sldId="2147478579"/>
            <ac:spMk id="403" creationId="{4CBA2679-E98C-88D8-913D-423A8AAD6250}"/>
          </ac:spMkLst>
        </pc:spChg>
        <pc:spChg chg="add del mod">
          <ac:chgData name="Steiner Andreas 6206 ED" userId="e6377c33-a923-4f14-8587-531c474c7b48" providerId="ADAL" clId="{6ECD27E6-B224-41CD-B4E0-E297462320DD}" dt="2023-11-24T08:45:36.094" v="61442"/>
          <ac:spMkLst>
            <pc:docMk/>
            <pc:sldMk cId="43921188" sldId="2147478579"/>
            <ac:spMk id="404" creationId="{F776340F-EC76-015C-C05C-07F6BFD554B2}"/>
          </ac:spMkLst>
        </pc:spChg>
        <pc:spChg chg="add del mod">
          <ac:chgData name="Steiner Andreas 6206 ED" userId="e6377c33-a923-4f14-8587-531c474c7b48" providerId="ADAL" clId="{6ECD27E6-B224-41CD-B4E0-E297462320DD}" dt="2023-11-24T08:45:38.024" v="61597"/>
          <ac:spMkLst>
            <pc:docMk/>
            <pc:sldMk cId="43921188" sldId="2147478579"/>
            <ac:spMk id="405" creationId="{C8B2F7C6-937C-25F0-159C-A5B12EC9D781}"/>
          </ac:spMkLst>
        </pc:spChg>
        <pc:spChg chg="add del mod">
          <ac:chgData name="Steiner Andreas 6206 ED" userId="e6377c33-a923-4f14-8587-531c474c7b48" providerId="ADAL" clId="{6ECD27E6-B224-41CD-B4E0-E297462320DD}" dt="2023-11-24T08:45:39.895" v="61752"/>
          <ac:spMkLst>
            <pc:docMk/>
            <pc:sldMk cId="43921188" sldId="2147478579"/>
            <ac:spMk id="406" creationId="{DB5CDB8F-B2C8-007B-A61B-D2B262030D9F}"/>
          </ac:spMkLst>
        </pc:spChg>
        <pc:spChg chg="add del mod">
          <ac:chgData name="Steiner Andreas 6206 ED" userId="e6377c33-a923-4f14-8587-531c474c7b48" providerId="ADAL" clId="{6ECD27E6-B224-41CD-B4E0-E297462320DD}" dt="2023-11-24T08:45:41.883" v="61907"/>
          <ac:spMkLst>
            <pc:docMk/>
            <pc:sldMk cId="43921188" sldId="2147478579"/>
            <ac:spMk id="407" creationId="{895BE801-167B-793E-490E-AC433E19D30B}"/>
          </ac:spMkLst>
        </pc:spChg>
        <pc:spChg chg="add del mod">
          <ac:chgData name="Steiner Andreas 6206 ED" userId="e6377c33-a923-4f14-8587-531c474c7b48" providerId="ADAL" clId="{6ECD27E6-B224-41CD-B4E0-E297462320DD}" dt="2023-11-24T08:45:43.895" v="62062"/>
          <ac:spMkLst>
            <pc:docMk/>
            <pc:sldMk cId="43921188" sldId="2147478579"/>
            <ac:spMk id="408" creationId="{BEFB25C4-AC9A-BF1E-3623-5CEDC1C2C694}"/>
          </ac:spMkLst>
        </pc:spChg>
        <pc:spChg chg="add del mod">
          <ac:chgData name="Steiner Andreas 6206 ED" userId="e6377c33-a923-4f14-8587-531c474c7b48" providerId="ADAL" clId="{6ECD27E6-B224-41CD-B4E0-E297462320DD}" dt="2023-11-24T08:45:45.987" v="62217"/>
          <ac:spMkLst>
            <pc:docMk/>
            <pc:sldMk cId="43921188" sldId="2147478579"/>
            <ac:spMk id="409" creationId="{0AC79285-5B35-348C-F353-E61CC74DBDEE}"/>
          </ac:spMkLst>
        </pc:spChg>
        <pc:spChg chg="add del mod">
          <ac:chgData name="Steiner Andreas 6206 ED" userId="e6377c33-a923-4f14-8587-531c474c7b48" providerId="ADAL" clId="{6ECD27E6-B224-41CD-B4E0-E297462320DD}" dt="2023-11-24T08:45:47.878" v="62372"/>
          <ac:spMkLst>
            <pc:docMk/>
            <pc:sldMk cId="43921188" sldId="2147478579"/>
            <ac:spMk id="410" creationId="{FCF97838-7E22-5161-9E6A-294A9C9A9437}"/>
          </ac:spMkLst>
        </pc:spChg>
        <pc:spChg chg="add del mod">
          <ac:chgData name="Steiner Andreas 6206 ED" userId="e6377c33-a923-4f14-8587-531c474c7b48" providerId="ADAL" clId="{6ECD27E6-B224-41CD-B4E0-E297462320DD}" dt="2023-11-24T08:45:50.142" v="62527"/>
          <ac:spMkLst>
            <pc:docMk/>
            <pc:sldMk cId="43921188" sldId="2147478579"/>
            <ac:spMk id="411" creationId="{DE16E8CA-33BD-B9AF-3A27-445C46FDEEEB}"/>
          </ac:spMkLst>
        </pc:spChg>
        <pc:spChg chg="add del mod">
          <ac:chgData name="Steiner Andreas 6206 ED" userId="e6377c33-a923-4f14-8587-531c474c7b48" providerId="ADAL" clId="{6ECD27E6-B224-41CD-B4E0-E297462320DD}" dt="2023-11-24T08:45:52.238" v="62682"/>
          <ac:spMkLst>
            <pc:docMk/>
            <pc:sldMk cId="43921188" sldId="2147478579"/>
            <ac:spMk id="412" creationId="{2DBA42E7-92CF-80DF-D4D3-CDBF7F58BD23}"/>
          </ac:spMkLst>
        </pc:spChg>
        <pc:spChg chg="add del mod">
          <ac:chgData name="Steiner Andreas 6206 ED" userId="e6377c33-a923-4f14-8587-531c474c7b48" providerId="ADAL" clId="{6ECD27E6-B224-41CD-B4E0-E297462320DD}" dt="2023-11-24T08:45:54.232" v="62837"/>
          <ac:spMkLst>
            <pc:docMk/>
            <pc:sldMk cId="43921188" sldId="2147478579"/>
            <ac:spMk id="413" creationId="{9744EFDA-1DD2-5906-A467-1EE70E36F62B}"/>
          </ac:spMkLst>
        </pc:spChg>
        <pc:spChg chg="add del mod">
          <ac:chgData name="Steiner Andreas 6206 ED" userId="e6377c33-a923-4f14-8587-531c474c7b48" providerId="ADAL" clId="{6ECD27E6-B224-41CD-B4E0-E297462320DD}" dt="2023-11-24T08:45:56.384" v="62992"/>
          <ac:spMkLst>
            <pc:docMk/>
            <pc:sldMk cId="43921188" sldId="2147478579"/>
            <ac:spMk id="414" creationId="{27A6E29F-319A-85EF-272D-B6932F353D72}"/>
          </ac:spMkLst>
        </pc:spChg>
        <pc:spChg chg="add del mod">
          <ac:chgData name="Steiner Andreas 6206 ED" userId="e6377c33-a923-4f14-8587-531c474c7b48" providerId="ADAL" clId="{6ECD27E6-B224-41CD-B4E0-E297462320DD}" dt="2023-11-24T08:45:58.472" v="63147"/>
          <ac:spMkLst>
            <pc:docMk/>
            <pc:sldMk cId="43921188" sldId="2147478579"/>
            <ac:spMk id="415" creationId="{2139E0CB-9A6A-39B7-248D-BEAB6054BA3F}"/>
          </ac:spMkLst>
        </pc:spChg>
        <pc:spChg chg="add del mod">
          <ac:chgData name="Steiner Andreas 6206 ED" userId="e6377c33-a923-4f14-8587-531c474c7b48" providerId="ADAL" clId="{6ECD27E6-B224-41CD-B4E0-E297462320DD}" dt="2023-11-24T08:46:00.547" v="63302"/>
          <ac:spMkLst>
            <pc:docMk/>
            <pc:sldMk cId="43921188" sldId="2147478579"/>
            <ac:spMk id="416" creationId="{CB9CA504-066A-2343-DC51-EC9E22616E06}"/>
          </ac:spMkLst>
        </pc:spChg>
        <pc:spChg chg="add del mod">
          <ac:chgData name="Steiner Andreas 6206 ED" userId="e6377c33-a923-4f14-8587-531c474c7b48" providerId="ADAL" clId="{6ECD27E6-B224-41CD-B4E0-E297462320DD}" dt="2023-11-24T08:46:02.627" v="63457"/>
          <ac:spMkLst>
            <pc:docMk/>
            <pc:sldMk cId="43921188" sldId="2147478579"/>
            <ac:spMk id="417" creationId="{12ED58A6-4656-D523-F18A-A1183B4BD5DC}"/>
          </ac:spMkLst>
        </pc:spChg>
        <pc:spChg chg="add del mod">
          <ac:chgData name="Steiner Andreas 6206 ED" userId="e6377c33-a923-4f14-8587-531c474c7b48" providerId="ADAL" clId="{6ECD27E6-B224-41CD-B4E0-E297462320DD}" dt="2023-11-24T08:46:04.845" v="63612"/>
          <ac:spMkLst>
            <pc:docMk/>
            <pc:sldMk cId="43921188" sldId="2147478579"/>
            <ac:spMk id="418" creationId="{63021E8F-D74A-F8DF-ECD4-7DB4DFDA2735}"/>
          </ac:spMkLst>
        </pc:spChg>
        <pc:spChg chg="add del mod">
          <ac:chgData name="Steiner Andreas 6206 ED" userId="e6377c33-a923-4f14-8587-531c474c7b48" providerId="ADAL" clId="{6ECD27E6-B224-41CD-B4E0-E297462320DD}" dt="2023-11-24T08:46:07.519" v="63767"/>
          <ac:spMkLst>
            <pc:docMk/>
            <pc:sldMk cId="43921188" sldId="2147478579"/>
            <ac:spMk id="419" creationId="{662CE01A-12F4-9DDB-4B8C-85DF4102E033}"/>
          </ac:spMkLst>
        </pc:spChg>
        <pc:spChg chg="add del mod">
          <ac:chgData name="Steiner Andreas 6206 ED" userId="e6377c33-a923-4f14-8587-531c474c7b48" providerId="ADAL" clId="{6ECD27E6-B224-41CD-B4E0-E297462320DD}" dt="2023-11-24T08:46:09.714" v="63922"/>
          <ac:spMkLst>
            <pc:docMk/>
            <pc:sldMk cId="43921188" sldId="2147478579"/>
            <ac:spMk id="420" creationId="{DA07FB26-410F-2258-5BD5-501C3C31F46A}"/>
          </ac:spMkLst>
        </pc:spChg>
        <pc:spChg chg="add del mod">
          <ac:chgData name="Steiner Andreas 6206 ED" userId="e6377c33-a923-4f14-8587-531c474c7b48" providerId="ADAL" clId="{6ECD27E6-B224-41CD-B4E0-E297462320DD}" dt="2023-11-24T08:46:11.888" v="64077"/>
          <ac:spMkLst>
            <pc:docMk/>
            <pc:sldMk cId="43921188" sldId="2147478579"/>
            <ac:spMk id="421" creationId="{762AE0B7-B079-3333-7126-1845022B697B}"/>
          </ac:spMkLst>
        </pc:spChg>
        <pc:spChg chg="add del mod">
          <ac:chgData name="Steiner Andreas 6206 ED" userId="e6377c33-a923-4f14-8587-531c474c7b48" providerId="ADAL" clId="{6ECD27E6-B224-41CD-B4E0-E297462320DD}" dt="2023-11-24T08:46:14.048" v="64232"/>
          <ac:spMkLst>
            <pc:docMk/>
            <pc:sldMk cId="43921188" sldId="2147478579"/>
            <ac:spMk id="422" creationId="{EB6FA5AC-799C-5B67-4FCC-2F09FF4DD8D0}"/>
          </ac:spMkLst>
        </pc:spChg>
        <pc:spChg chg="add del mod">
          <ac:chgData name="Steiner Andreas 6206 ED" userId="e6377c33-a923-4f14-8587-531c474c7b48" providerId="ADAL" clId="{6ECD27E6-B224-41CD-B4E0-E297462320DD}" dt="2023-11-24T08:46:16.291" v="64387"/>
          <ac:spMkLst>
            <pc:docMk/>
            <pc:sldMk cId="43921188" sldId="2147478579"/>
            <ac:spMk id="423" creationId="{AA1F54B4-DF8A-F8DE-6114-4A5EF90B01E8}"/>
          </ac:spMkLst>
        </pc:spChg>
        <pc:spChg chg="add del mod">
          <ac:chgData name="Steiner Andreas 6206 ED" userId="e6377c33-a923-4f14-8587-531c474c7b48" providerId="ADAL" clId="{6ECD27E6-B224-41CD-B4E0-E297462320DD}" dt="2023-11-24T08:46:18.173" v="64542"/>
          <ac:spMkLst>
            <pc:docMk/>
            <pc:sldMk cId="43921188" sldId="2147478579"/>
            <ac:spMk id="424" creationId="{8B6BB71E-BA01-0DA1-2449-ED22F40E724F}"/>
          </ac:spMkLst>
        </pc:spChg>
        <pc:spChg chg="add del mod">
          <ac:chgData name="Steiner Andreas 6206 ED" userId="e6377c33-a923-4f14-8587-531c474c7b48" providerId="ADAL" clId="{6ECD27E6-B224-41CD-B4E0-E297462320DD}" dt="2023-11-24T08:46:20.644" v="64697"/>
          <ac:spMkLst>
            <pc:docMk/>
            <pc:sldMk cId="43921188" sldId="2147478579"/>
            <ac:spMk id="425" creationId="{65B36596-A1EC-2B6A-CFFA-C99FC42A71D0}"/>
          </ac:spMkLst>
        </pc:spChg>
        <pc:spChg chg="add del mod">
          <ac:chgData name="Steiner Andreas 6206 ED" userId="e6377c33-a923-4f14-8587-531c474c7b48" providerId="ADAL" clId="{6ECD27E6-B224-41CD-B4E0-E297462320DD}" dt="2023-11-24T08:46:22.928" v="64852"/>
          <ac:spMkLst>
            <pc:docMk/>
            <pc:sldMk cId="43921188" sldId="2147478579"/>
            <ac:spMk id="426" creationId="{F063ED47-71AD-980A-EA57-7CBF9DE09CF6}"/>
          </ac:spMkLst>
        </pc:spChg>
        <pc:spChg chg="add del mod">
          <ac:chgData name="Steiner Andreas 6206 ED" userId="e6377c33-a923-4f14-8587-531c474c7b48" providerId="ADAL" clId="{6ECD27E6-B224-41CD-B4E0-E297462320DD}" dt="2023-11-24T08:46:25.208" v="65007"/>
          <ac:spMkLst>
            <pc:docMk/>
            <pc:sldMk cId="43921188" sldId="2147478579"/>
            <ac:spMk id="427" creationId="{1C453155-DC58-FB2A-17A8-BF7DB04F59AE}"/>
          </ac:spMkLst>
        </pc:spChg>
        <pc:spChg chg="add del mod">
          <ac:chgData name="Steiner Andreas 6206 ED" userId="e6377c33-a923-4f14-8587-531c474c7b48" providerId="ADAL" clId="{6ECD27E6-B224-41CD-B4E0-E297462320DD}" dt="2023-11-24T08:46:27.543" v="65162"/>
          <ac:spMkLst>
            <pc:docMk/>
            <pc:sldMk cId="43921188" sldId="2147478579"/>
            <ac:spMk id="428" creationId="{C0DE039D-7AE2-FE3A-F9B2-528AE5D0A3C0}"/>
          </ac:spMkLst>
        </pc:spChg>
        <pc:spChg chg="add del mod">
          <ac:chgData name="Steiner Andreas 6206 ED" userId="e6377c33-a923-4f14-8587-531c474c7b48" providerId="ADAL" clId="{6ECD27E6-B224-41CD-B4E0-E297462320DD}" dt="2023-11-24T08:46:29.546" v="65317"/>
          <ac:spMkLst>
            <pc:docMk/>
            <pc:sldMk cId="43921188" sldId="2147478579"/>
            <ac:spMk id="429" creationId="{439E671E-2827-DB92-A883-588EDB36FB5E}"/>
          </ac:spMkLst>
        </pc:spChg>
        <pc:spChg chg="add del mod">
          <ac:chgData name="Steiner Andreas 6206 ED" userId="e6377c33-a923-4f14-8587-531c474c7b48" providerId="ADAL" clId="{6ECD27E6-B224-41CD-B4E0-E297462320DD}" dt="2023-11-24T08:46:32.003" v="65472"/>
          <ac:spMkLst>
            <pc:docMk/>
            <pc:sldMk cId="43921188" sldId="2147478579"/>
            <ac:spMk id="430" creationId="{091D970A-6DAD-7AA3-2921-709ACF8B004D}"/>
          </ac:spMkLst>
        </pc:spChg>
        <pc:spChg chg="add del mod">
          <ac:chgData name="Steiner Andreas 6206 ED" userId="e6377c33-a923-4f14-8587-531c474c7b48" providerId="ADAL" clId="{6ECD27E6-B224-41CD-B4E0-E297462320DD}" dt="2023-11-24T08:46:34.111" v="65627"/>
          <ac:spMkLst>
            <pc:docMk/>
            <pc:sldMk cId="43921188" sldId="2147478579"/>
            <ac:spMk id="431" creationId="{D9406739-9DE1-698F-501E-0F96C71CE57C}"/>
          </ac:spMkLst>
        </pc:spChg>
        <pc:spChg chg="add del mod">
          <ac:chgData name="Steiner Andreas 6206 ED" userId="e6377c33-a923-4f14-8587-531c474c7b48" providerId="ADAL" clId="{6ECD27E6-B224-41CD-B4E0-E297462320DD}" dt="2023-11-24T08:46:36.056" v="65782"/>
          <ac:spMkLst>
            <pc:docMk/>
            <pc:sldMk cId="43921188" sldId="2147478579"/>
            <ac:spMk id="432" creationId="{FBD42E4F-1CB2-968F-30E5-0B6F91990E9C}"/>
          </ac:spMkLst>
        </pc:spChg>
        <pc:spChg chg="add del mod">
          <ac:chgData name="Steiner Andreas 6206 ED" userId="e6377c33-a923-4f14-8587-531c474c7b48" providerId="ADAL" clId="{6ECD27E6-B224-41CD-B4E0-E297462320DD}" dt="2023-11-24T08:46:38.116" v="65937"/>
          <ac:spMkLst>
            <pc:docMk/>
            <pc:sldMk cId="43921188" sldId="2147478579"/>
            <ac:spMk id="433" creationId="{2E25EF9F-34E9-AAF9-6076-BF4D09349B5D}"/>
          </ac:spMkLst>
        </pc:spChg>
        <pc:spChg chg="add del mod">
          <ac:chgData name="Steiner Andreas 6206 ED" userId="e6377c33-a923-4f14-8587-531c474c7b48" providerId="ADAL" clId="{6ECD27E6-B224-41CD-B4E0-E297462320DD}" dt="2023-11-24T08:46:40.185" v="66092"/>
          <ac:spMkLst>
            <pc:docMk/>
            <pc:sldMk cId="43921188" sldId="2147478579"/>
            <ac:spMk id="434" creationId="{4D3089D3-18D2-C00B-AF25-41AF24FBE004}"/>
          </ac:spMkLst>
        </pc:spChg>
        <pc:spChg chg="add del mod">
          <ac:chgData name="Steiner Andreas 6206 ED" userId="e6377c33-a923-4f14-8587-531c474c7b48" providerId="ADAL" clId="{6ECD27E6-B224-41CD-B4E0-E297462320DD}" dt="2023-11-24T08:46:42.436" v="66247"/>
          <ac:spMkLst>
            <pc:docMk/>
            <pc:sldMk cId="43921188" sldId="2147478579"/>
            <ac:spMk id="435" creationId="{7713A940-9ABF-8376-1ECB-3D4FE0A7DB33}"/>
          </ac:spMkLst>
        </pc:spChg>
        <pc:spChg chg="add del mod">
          <ac:chgData name="Steiner Andreas 6206 ED" userId="e6377c33-a923-4f14-8587-531c474c7b48" providerId="ADAL" clId="{6ECD27E6-B224-41CD-B4E0-E297462320DD}" dt="2023-11-24T08:46:44.580" v="66402"/>
          <ac:spMkLst>
            <pc:docMk/>
            <pc:sldMk cId="43921188" sldId="2147478579"/>
            <ac:spMk id="436" creationId="{CEC633D2-1ECA-FEAD-8395-3D4A1BBF4CC0}"/>
          </ac:spMkLst>
        </pc:spChg>
        <pc:spChg chg="add del mod">
          <ac:chgData name="Steiner Andreas 6206 ED" userId="e6377c33-a923-4f14-8587-531c474c7b48" providerId="ADAL" clId="{6ECD27E6-B224-41CD-B4E0-E297462320DD}" dt="2023-11-24T08:46:46.646" v="66557"/>
          <ac:spMkLst>
            <pc:docMk/>
            <pc:sldMk cId="43921188" sldId="2147478579"/>
            <ac:spMk id="437" creationId="{9E9AE645-0A65-732C-5708-6ED5F1EF472A}"/>
          </ac:spMkLst>
        </pc:spChg>
        <pc:spChg chg="add del mod">
          <ac:chgData name="Steiner Andreas 6206 ED" userId="e6377c33-a923-4f14-8587-531c474c7b48" providerId="ADAL" clId="{6ECD27E6-B224-41CD-B4E0-E297462320DD}" dt="2023-11-24T08:46:48.740" v="66712"/>
          <ac:spMkLst>
            <pc:docMk/>
            <pc:sldMk cId="43921188" sldId="2147478579"/>
            <ac:spMk id="438" creationId="{CC016B46-E2D7-5A51-66E6-8656967BDF70}"/>
          </ac:spMkLst>
        </pc:spChg>
        <pc:spChg chg="add del mod">
          <ac:chgData name="Steiner Andreas 6206 ED" userId="e6377c33-a923-4f14-8587-531c474c7b48" providerId="ADAL" clId="{6ECD27E6-B224-41CD-B4E0-E297462320DD}" dt="2023-11-24T08:46:50.724" v="66867"/>
          <ac:spMkLst>
            <pc:docMk/>
            <pc:sldMk cId="43921188" sldId="2147478579"/>
            <ac:spMk id="439" creationId="{FE7A2B2E-25DE-DBC9-83D4-367161FB474E}"/>
          </ac:spMkLst>
        </pc:spChg>
        <pc:spChg chg="add del mod">
          <ac:chgData name="Steiner Andreas 6206 ED" userId="e6377c33-a923-4f14-8587-531c474c7b48" providerId="ADAL" clId="{6ECD27E6-B224-41CD-B4E0-E297462320DD}" dt="2023-11-24T08:46:52.915" v="67022"/>
          <ac:spMkLst>
            <pc:docMk/>
            <pc:sldMk cId="43921188" sldId="2147478579"/>
            <ac:spMk id="440" creationId="{BD0782E5-AA7A-0ABC-0585-4C3C6AB17831}"/>
          </ac:spMkLst>
        </pc:spChg>
        <pc:spChg chg="add del mod">
          <ac:chgData name="Steiner Andreas 6206 ED" userId="e6377c33-a923-4f14-8587-531c474c7b48" providerId="ADAL" clId="{6ECD27E6-B224-41CD-B4E0-E297462320DD}" dt="2023-11-24T08:46:54.848" v="67177"/>
          <ac:spMkLst>
            <pc:docMk/>
            <pc:sldMk cId="43921188" sldId="2147478579"/>
            <ac:spMk id="441" creationId="{C7B5F1E1-D0B7-FD1B-9ECC-D844CBE082F8}"/>
          </ac:spMkLst>
        </pc:spChg>
        <pc:spChg chg="add del mod">
          <ac:chgData name="Steiner Andreas 6206 ED" userId="e6377c33-a923-4f14-8587-531c474c7b48" providerId="ADAL" clId="{6ECD27E6-B224-41CD-B4E0-E297462320DD}" dt="2023-11-24T08:46:56.856" v="67332"/>
          <ac:spMkLst>
            <pc:docMk/>
            <pc:sldMk cId="43921188" sldId="2147478579"/>
            <ac:spMk id="442" creationId="{B8CD8829-B800-089B-89D6-0F5F404621DE}"/>
          </ac:spMkLst>
        </pc:spChg>
        <pc:spChg chg="add del mod">
          <ac:chgData name="Steiner Andreas 6206 ED" userId="e6377c33-a923-4f14-8587-531c474c7b48" providerId="ADAL" clId="{6ECD27E6-B224-41CD-B4E0-E297462320DD}" dt="2023-11-24T08:46:58.724" v="67487"/>
          <ac:spMkLst>
            <pc:docMk/>
            <pc:sldMk cId="43921188" sldId="2147478579"/>
            <ac:spMk id="443" creationId="{7E9DA355-D0E0-E732-540A-834A2392C08F}"/>
          </ac:spMkLst>
        </pc:spChg>
        <pc:spChg chg="add del mod">
          <ac:chgData name="Steiner Andreas 6206 ED" userId="e6377c33-a923-4f14-8587-531c474c7b48" providerId="ADAL" clId="{6ECD27E6-B224-41CD-B4E0-E297462320DD}" dt="2023-11-24T08:47:00.809" v="67642"/>
          <ac:spMkLst>
            <pc:docMk/>
            <pc:sldMk cId="43921188" sldId="2147478579"/>
            <ac:spMk id="444" creationId="{D442E8F2-F407-E3A1-6F3E-0C463DBB837C}"/>
          </ac:spMkLst>
        </pc:spChg>
        <pc:spChg chg="add del mod">
          <ac:chgData name="Steiner Andreas 6206 ED" userId="e6377c33-a923-4f14-8587-531c474c7b48" providerId="ADAL" clId="{6ECD27E6-B224-41CD-B4E0-E297462320DD}" dt="2023-11-24T08:47:02.937" v="67797"/>
          <ac:spMkLst>
            <pc:docMk/>
            <pc:sldMk cId="43921188" sldId="2147478579"/>
            <ac:spMk id="445" creationId="{A5425DC0-AD4A-C27A-5C45-ED5ECBFE93EF}"/>
          </ac:spMkLst>
        </pc:spChg>
        <pc:spChg chg="add del mod">
          <ac:chgData name="Steiner Andreas 6206 ED" userId="e6377c33-a923-4f14-8587-531c474c7b48" providerId="ADAL" clId="{6ECD27E6-B224-41CD-B4E0-E297462320DD}" dt="2023-11-24T08:47:04.992" v="67952"/>
          <ac:spMkLst>
            <pc:docMk/>
            <pc:sldMk cId="43921188" sldId="2147478579"/>
            <ac:spMk id="446" creationId="{2173F906-98EF-C2FC-2D3D-5FAC4D953B4A}"/>
          </ac:spMkLst>
        </pc:spChg>
        <pc:spChg chg="add del mod">
          <ac:chgData name="Steiner Andreas 6206 ED" userId="e6377c33-a923-4f14-8587-531c474c7b48" providerId="ADAL" clId="{6ECD27E6-B224-41CD-B4E0-E297462320DD}" dt="2023-11-24T08:47:06.769" v="68107"/>
          <ac:spMkLst>
            <pc:docMk/>
            <pc:sldMk cId="43921188" sldId="2147478579"/>
            <ac:spMk id="447" creationId="{BCC4F9B2-E271-B657-32D7-8DB39C9ED016}"/>
          </ac:spMkLst>
        </pc:spChg>
        <pc:spChg chg="add del mod">
          <ac:chgData name="Steiner Andreas 6206 ED" userId="e6377c33-a923-4f14-8587-531c474c7b48" providerId="ADAL" clId="{6ECD27E6-B224-41CD-B4E0-E297462320DD}" dt="2023-11-24T08:47:08.642" v="68262"/>
          <ac:spMkLst>
            <pc:docMk/>
            <pc:sldMk cId="43921188" sldId="2147478579"/>
            <ac:spMk id="448" creationId="{E3C085B4-54AE-C384-08A3-E0C6B4087884}"/>
          </ac:spMkLst>
        </pc:spChg>
        <pc:spChg chg="add del mod">
          <ac:chgData name="Steiner Andreas 6206 ED" userId="e6377c33-a923-4f14-8587-531c474c7b48" providerId="ADAL" clId="{6ECD27E6-B224-41CD-B4E0-E297462320DD}" dt="2023-11-24T08:47:10.501" v="68417"/>
          <ac:spMkLst>
            <pc:docMk/>
            <pc:sldMk cId="43921188" sldId="2147478579"/>
            <ac:spMk id="449" creationId="{FCE78E5E-7BDA-95F1-AC04-E846BFB33FBD}"/>
          </ac:spMkLst>
        </pc:spChg>
        <pc:spChg chg="add del mod">
          <ac:chgData name="Steiner Andreas 6206 ED" userId="e6377c33-a923-4f14-8587-531c474c7b48" providerId="ADAL" clId="{6ECD27E6-B224-41CD-B4E0-E297462320DD}" dt="2023-11-24T08:47:12.406" v="68572"/>
          <ac:spMkLst>
            <pc:docMk/>
            <pc:sldMk cId="43921188" sldId="2147478579"/>
            <ac:spMk id="450" creationId="{F6C3A265-B5C3-14EA-287B-68D1F8BD7902}"/>
          </ac:spMkLst>
        </pc:spChg>
        <pc:spChg chg="add del mod">
          <ac:chgData name="Steiner Andreas 6206 ED" userId="e6377c33-a923-4f14-8587-531c474c7b48" providerId="ADAL" clId="{6ECD27E6-B224-41CD-B4E0-E297462320DD}" dt="2023-11-24T08:47:14.528" v="68727"/>
          <ac:spMkLst>
            <pc:docMk/>
            <pc:sldMk cId="43921188" sldId="2147478579"/>
            <ac:spMk id="451" creationId="{DCE568D7-37AE-F2EE-A0E6-7C071EC5F4FB}"/>
          </ac:spMkLst>
        </pc:spChg>
        <pc:spChg chg="add del mod">
          <ac:chgData name="Steiner Andreas 6206 ED" userId="e6377c33-a923-4f14-8587-531c474c7b48" providerId="ADAL" clId="{6ECD27E6-B224-41CD-B4E0-E297462320DD}" dt="2023-11-24T08:47:16.541" v="68882"/>
          <ac:spMkLst>
            <pc:docMk/>
            <pc:sldMk cId="43921188" sldId="2147478579"/>
            <ac:spMk id="452" creationId="{84D7A08A-6A2B-7A5A-FD44-7BC2E7EEAE9A}"/>
          </ac:spMkLst>
        </pc:spChg>
        <pc:spChg chg="add del mod">
          <ac:chgData name="Steiner Andreas 6206 ED" userId="e6377c33-a923-4f14-8587-531c474c7b48" providerId="ADAL" clId="{6ECD27E6-B224-41CD-B4E0-E297462320DD}" dt="2023-11-24T08:47:18.432" v="69037"/>
          <ac:spMkLst>
            <pc:docMk/>
            <pc:sldMk cId="43921188" sldId="2147478579"/>
            <ac:spMk id="453" creationId="{EBF8D45C-7F0E-9630-AB75-979BFC6B26D8}"/>
          </ac:spMkLst>
        </pc:spChg>
        <pc:spChg chg="add del mod">
          <ac:chgData name="Steiner Andreas 6206 ED" userId="e6377c33-a923-4f14-8587-531c474c7b48" providerId="ADAL" clId="{6ECD27E6-B224-41CD-B4E0-E297462320DD}" dt="2023-11-24T08:47:20.437" v="69192"/>
          <ac:spMkLst>
            <pc:docMk/>
            <pc:sldMk cId="43921188" sldId="2147478579"/>
            <ac:spMk id="454" creationId="{9257EDB9-FE1F-3C33-5CBC-9519B2A87131}"/>
          </ac:spMkLst>
        </pc:spChg>
        <pc:spChg chg="add del mod">
          <ac:chgData name="Steiner Andreas 6206 ED" userId="e6377c33-a923-4f14-8587-531c474c7b48" providerId="ADAL" clId="{6ECD27E6-B224-41CD-B4E0-E297462320DD}" dt="2023-11-24T08:47:22.659" v="69347"/>
          <ac:spMkLst>
            <pc:docMk/>
            <pc:sldMk cId="43921188" sldId="2147478579"/>
            <ac:spMk id="455" creationId="{BA5AD594-2D90-554F-64EA-9FEC1101CE35}"/>
          </ac:spMkLst>
        </pc:spChg>
        <pc:spChg chg="add del mod">
          <ac:chgData name="Steiner Andreas 6206 ED" userId="e6377c33-a923-4f14-8587-531c474c7b48" providerId="ADAL" clId="{6ECD27E6-B224-41CD-B4E0-E297462320DD}" dt="2023-11-24T08:47:25.420" v="69502"/>
          <ac:spMkLst>
            <pc:docMk/>
            <pc:sldMk cId="43921188" sldId="2147478579"/>
            <ac:spMk id="456" creationId="{C714F748-2BAB-DB84-4BC5-7811E1B6141F}"/>
          </ac:spMkLst>
        </pc:spChg>
        <pc:spChg chg="add del mod">
          <ac:chgData name="Steiner Andreas 6206 ED" userId="e6377c33-a923-4f14-8587-531c474c7b48" providerId="ADAL" clId="{6ECD27E6-B224-41CD-B4E0-E297462320DD}" dt="2023-11-24T08:47:27.664" v="69657"/>
          <ac:spMkLst>
            <pc:docMk/>
            <pc:sldMk cId="43921188" sldId="2147478579"/>
            <ac:spMk id="457" creationId="{03A67AA5-6225-231B-6200-1279090074CF}"/>
          </ac:spMkLst>
        </pc:spChg>
        <pc:spChg chg="add del mod">
          <ac:chgData name="Steiner Andreas 6206 ED" userId="e6377c33-a923-4f14-8587-531c474c7b48" providerId="ADAL" clId="{6ECD27E6-B224-41CD-B4E0-E297462320DD}" dt="2023-11-24T08:47:29.720" v="69812"/>
          <ac:spMkLst>
            <pc:docMk/>
            <pc:sldMk cId="43921188" sldId="2147478579"/>
            <ac:spMk id="458" creationId="{4E9ECEC7-F189-B6D7-AA53-2D3B0AA5664F}"/>
          </ac:spMkLst>
        </pc:spChg>
        <pc:spChg chg="add del mod">
          <ac:chgData name="Steiner Andreas 6206 ED" userId="e6377c33-a923-4f14-8587-531c474c7b48" providerId="ADAL" clId="{6ECD27E6-B224-41CD-B4E0-E297462320DD}" dt="2023-11-24T08:47:31.710" v="69967"/>
          <ac:spMkLst>
            <pc:docMk/>
            <pc:sldMk cId="43921188" sldId="2147478579"/>
            <ac:spMk id="459" creationId="{5E11E6EA-F4E3-AA02-F659-CEAEBD943CD1}"/>
          </ac:spMkLst>
        </pc:spChg>
        <pc:spChg chg="add del mod">
          <ac:chgData name="Steiner Andreas 6206 ED" userId="e6377c33-a923-4f14-8587-531c474c7b48" providerId="ADAL" clId="{6ECD27E6-B224-41CD-B4E0-E297462320DD}" dt="2023-11-24T08:47:33.713" v="70122"/>
          <ac:spMkLst>
            <pc:docMk/>
            <pc:sldMk cId="43921188" sldId="2147478579"/>
            <ac:spMk id="460" creationId="{32F07EEC-C585-901F-CC96-F6E7ECBA0159}"/>
          </ac:spMkLst>
        </pc:spChg>
        <pc:spChg chg="add del mod">
          <ac:chgData name="Steiner Andreas 6206 ED" userId="e6377c33-a923-4f14-8587-531c474c7b48" providerId="ADAL" clId="{6ECD27E6-B224-41CD-B4E0-E297462320DD}" dt="2023-11-24T08:47:35.861" v="70277"/>
          <ac:spMkLst>
            <pc:docMk/>
            <pc:sldMk cId="43921188" sldId="2147478579"/>
            <ac:spMk id="461" creationId="{967C4610-D1F0-A921-6AFE-A34E2C0C7C11}"/>
          </ac:spMkLst>
        </pc:spChg>
        <pc:spChg chg="add del mod">
          <ac:chgData name="Steiner Andreas 6206 ED" userId="e6377c33-a923-4f14-8587-531c474c7b48" providerId="ADAL" clId="{6ECD27E6-B224-41CD-B4E0-E297462320DD}" dt="2023-11-24T08:47:37.959" v="70432"/>
          <ac:spMkLst>
            <pc:docMk/>
            <pc:sldMk cId="43921188" sldId="2147478579"/>
            <ac:spMk id="462" creationId="{91FE0B79-6522-30EA-876B-8BD0F8FB709D}"/>
          </ac:spMkLst>
        </pc:spChg>
        <pc:spChg chg="add del mod">
          <ac:chgData name="Steiner Andreas 6206 ED" userId="e6377c33-a923-4f14-8587-531c474c7b48" providerId="ADAL" clId="{6ECD27E6-B224-41CD-B4E0-E297462320DD}" dt="2023-11-24T08:47:40.030" v="70587"/>
          <ac:spMkLst>
            <pc:docMk/>
            <pc:sldMk cId="43921188" sldId="2147478579"/>
            <ac:spMk id="463" creationId="{44C0B266-D0CD-240D-4CE6-4A86B8B1CE4A}"/>
          </ac:spMkLst>
        </pc:spChg>
        <pc:spChg chg="add del mod">
          <ac:chgData name="Steiner Andreas 6206 ED" userId="e6377c33-a923-4f14-8587-531c474c7b48" providerId="ADAL" clId="{6ECD27E6-B224-41CD-B4E0-E297462320DD}" dt="2023-11-24T08:47:41.985" v="70742"/>
          <ac:spMkLst>
            <pc:docMk/>
            <pc:sldMk cId="43921188" sldId="2147478579"/>
            <ac:spMk id="464" creationId="{3727A91B-0BAF-9668-59AD-4EA1272DAAAB}"/>
          </ac:spMkLst>
        </pc:spChg>
        <pc:spChg chg="add del mod">
          <ac:chgData name="Steiner Andreas 6206 ED" userId="e6377c33-a923-4f14-8587-531c474c7b48" providerId="ADAL" clId="{6ECD27E6-B224-41CD-B4E0-E297462320DD}" dt="2023-11-24T08:47:43.891" v="70897"/>
          <ac:spMkLst>
            <pc:docMk/>
            <pc:sldMk cId="43921188" sldId="2147478579"/>
            <ac:spMk id="465" creationId="{2CC08844-48CF-0CBE-9C00-AD6CEFCAC487}"/>
          </ac:spMkLst>
        </pc:spChg>
        <pc:spChg chg="add del mod">
          <ac:chgData name="Steiner Andreas 6206 ED" userId="e6377c33-a923-4f14-8587-531c474c7b48" providerId="ADAL" clId="{6ECD27E6-B224-41CD-B4E0-E297462320DD}" dt="2023-11-24T08:47:45.817" v="71052"/>
          <ac:spMkLst>
            <pc:docMk/>
            <pc:sldMk cId="43921188" sldId="2147478579"/>
            <ac:spMk id="466" creationId="{C2D5F212-4BEA-3311-3C01-E20F55263125}"/>
          </ac:spMkLst>
        </pc:spChg>
        <pc:spChg chg="add del mod">
          <ac:chgData name="Steiner Andreas 6206 ED" userId="e6377c33-a923-4f14-8587-531c474c7b48" providerId="ADAL" clId="{6ECD27E6-B224-41CD-B4E0-E297462320DD}" dt="2023-11-24T08:47:47.875" v="71207"/>
          <ac:spMkLst>
            <pc:docMk/>
            <pc:sldMk cId="43921188" sldId="2147478579"/>
            <ac:spMk id="467" creationId="{C89ABE2A-1D93-6AE1-E50A-6781881D57D7}"/>
          </ac:spMkLst>
        </pc:spChg>
        <pc:spChg chg="add del mod">
          <ac:chgData name="Steiner Andreas 6206 ED" userId="e6377c33-a923-4f14-8587-531c474c7b48" providerId="ADAL" clId="{6ECD27E6-B224-41CD-B4E0-E297462320DD}" dt="2023-11-24T08:47:49.969" v="71362"/>
          <ac:spMkLst>
            <pc:docMk/>
            <pc:sldMk cId="43921188" sldId="2147478579"/>
            <ac:spMk id="468" creationId="{A2D4EC06-864C-A167-BA76-00CC3D0ADF62}"/>
          </ac:spMkLst>
        </pc:spChg>
        <pc:spChg chg="add del mod">
          <ac:chgData name="Steiner Andreas 6206 ED" userId="e6377c33-a923-4f14-8587-531c474c7b48" providerId="ADAL" clId="{6ECD27E6-B224-41CD-B4E0-E297462320DD}" dt="2023-11-24T08:47:51.926" v="71517"/>
          <ac:spMkLst>
            <pc:docMk/>
            <pc:sldMk cId="43921188" sldId="2147478579"/>
            <ac:spMk id="469" creationId="{212B7C38-BC86-7F1B-C30E-9FDBD51E7D85}"/>
          </ac:spMkLst>
        </pc:spChg>
        <pc:spChg chg="add del mod">
          <ac:chgData name="Steiner Andreas 6206 ED" userId="e6377c33-a923-4f14-8587-531c474c7b48" providerId="ADAL" clId="{6ECD27E6-B224-41CD-B4E0-E297462320DD}" dt="2023-11-24T08:47:53.892" v="71672"/>
          <ac:spMkLst>
            <pc:docMk/>
            <pc:sldMk cId="43921188" sldId="2147478579"/>
            <ac:spMk id="470" creationId="{B229BEAD-ADA1-0526-104F-2B7B8C8AD8D7}"/>
          </ac:spMkLst>
        </pc:spChg>
        <pc:spChg chg="add del mod">
          <ac:chgData name="Steiner Andreas 6206 ED" userId="e6377c33-a923-4f14-8587-531c474c7b48" providerId="ADAL" clId="{6ECD27E6-B224-41CD-B4E0-E297462320DD}" dt="2023-11-24T08:47:55.710" v="71827"/>
          <ac:spMkLst>
            <pc:docMk/>
            <pc:sldMk cId="43921188" sldId="2147478579"/>
            <ac:spMk id="471" creationId="{D58E7BB0-9553-AB11-C98E-0E7F6A9888EE}"/>
          </ac:spMkLst>
        </pc:spChg>
        <pc:spChg chg="add del mod">
          <ac:chgData name="Steiner Andreas 6206 ED" userId="e6377c33-a923-4f14-8587-531c474c7b48" providerId="ADAL" clId="{6ECD27E6-B224-41CD-B4E0-E297462320DD}" dt="2023-11-24T08:47:57.677" v="71982"/>
          <ac:spMkLst>
            <pc:docMk/>
            <pc:sldMk cId="43921188" sldId="2147478579"/>
            <ac:spMk id="472" creationId="{5621C7D1-6468-2E31-F0F6-E908E3326E67}"/>
          </ac:spMkLst>
        </pc:spChg>
        <pc:spChg chg="add del mod">
          <ac:chgData name="Steiner Andreas 6206 ED" userId="e6377c33-a923-4f14-8587-531c474c7b48" providerId="ADAL" clId="{6ECD27E6-B224-41CD-B4E0-E297462320DD}" dt="2023-11-24T08:47:59.791" v="72137"/>
          <ac:spMkLst>
            <pc:docMk/>
            <pc:sldMk cId="43921188" sldId="2147478579"/>
            <ac:spMk id="473" creationId="{A3C2D560-95A6-0876-6A7F-9C2DE57C5AEF}"/>
          </ac:spMkLst>
        </pc:spChg>
        <pc:spChg chg="add del mod">
          <ac:chgData name="Steiner Andreas 6206 ED" userId="e6377c33-a923-4f14-8587-531c474c7b48" providerId="ADAL" clId="{6ECD27E6-B224-41CD-B4E0-E297462320DD}" dt="2023-11-24T08:48:01.941" v="72292"/>
          <ac:spMkLst>
            <pc:docMk/>
            <pc:sldMk cId="43921188" sldId="2147478579"/>
            <ac:spMk id="474" creationId="{FFA25E46-3263-AB19-19D9-9457E2A79009}"/>
          </ac:spMkLst>
        </pc:spChg>
        <pc:spChg chg="add del mod">
          <ac:chgData name="Steiner Andreas 6206 ED" userId="e6377c33-a923-4f14-8587-531c474c7b48" providerId="ADAL" clId="{6ECD27E6-B224-41CD-B4E0-E297462320DD}" dt="2023-11-24T08:48:03.972" v="72447"/>
          <ac:spMkLst>
            <pc:docMk/>
            <pc:sldMk cId="43921188" sldId="2147478579"/>
            <ac:spMk id="475" creationId="{58820064-168D-689A-8377-DF2084AE26E3}"/>
          </ac:spMkLst>
        </pc:spChg>
        <pc:spChg chg="add del mod">
          <ac:chgData name="Steiner Andreas 6206 ED" userId="e6377c33-a923-4f14-8587-531c474c7b48" providerId="ADAL" clId="{6ECD27E6-B224-41CD-B4E0-E297462320DD}" dt="2023-11-24T08:48:06.122" v="72602"/>
          <ac:spMkLst>
            <pc:docMk/>
            <pc:sldMk cId="43921188" sldId="2147478579"/>
            <ac:spMk id="476" creationId="{E8F69645-405C-0D67-5D81-BF396CA933ED}"/>
          </ac:spMkLst>
        </pc:spChg>
        <pc:spChg chg="add del mod">
          <ac:chgData name="Steiner Andreas 6206 ED" userId="e6377c33-a923-4f14-8587-531c474c7b48" providerId="ADAL" clId="{6ECD27E6-B224-41CD-B4E0-E297462320DD}" dt="2023-11-24T08:48:08.360" v="72757"/>
          <ac:spMkLst>
            <pc:docMk/>
            <pc:sldMk cId="43921188" sldId="2147478579"/>
            <ac:spMk id="477" creationId="{89CC905F-4EC3-EA2F-0700-8F2F4FA97D51}"/>
          </ac:spMkLst>
        </pc:spChg>
        <pc:spChg chg="add del mod">
          <ac:chgData name="Steiner Andreas 6206 ED" userId="e6377c33-a923-4f14-8587-531c474c7b48" providerId="ADAL" clId="{6ECD27E6-B224-41CD-B4E0-E297462320DD}" dt="2023-11-24T08:48:10.376" v="72912"/>
          <ac:spMkLst>
            <pc:docMk/>
            <pc:sldMk cId="43921188" sldId="2147478579"/>
            <ac:spMk id="478" creationId="{B0DDAF15-76DF-6071-B8FF-E79CB2CF305D}"/>
          </ac:spMkLst>
        </pc:spChg>
        <pc:spChg chg="add del mod">
          <ac:chgData name="Steiner Andreas 6206 ED" userId="e6377c33-a923-4f14-8587-531c474c7b48" providerId="ADAL" clId="{6ECD27E6-B224-41CD-B4E0-E297462320DD}" dt="2023-11-24T08:48:12.371" v="73067"/>
          <ac:spMkLst>
            <pc:docMk/>
            <pc:sldMk cId="43921188" sldId="2147478579"/>
            <ac:spMk id="479" creationId="{3D741143-6355-EDA8-20B6-8C080A0F9938}"/>
          </ac:spMkLst>
        </pc:spChg>
        <pc:spChg chg="add del mod">
          <ac:chgData name="Steiner Andreas 6206 ED" userId="e6377c33-a923-4f14-8587-531c474c7b48" providerId="ADAL" clId="{6ECD27E6-B224-41CD-B4E0-E297462320DD}" dt="2023-11-24T08:48:14.790" v="73222"/>
          <ac:spMkLst>
            <pc:docMk/>
            <pc:sldMk cId="43921188" sldId="2147478579"/>
            <ac:spMk id="480" creationId="{3D9AF633-3981-4042-19F9-101B3E2F6715}"/>
          </ac:spMkLst>
        </pc:spChg>
        <pc:spChg chg="add del mod">
          <ac:chgData name="Steiner Andreas 6206 ED" userId="e6377c33-a923-4f14-8587-531c474c7b48" providerId="ADAL" clId="{6ECD27E6-B224-41CD-B4E0-E297462320DD}" dt="2023-11-24T08:48:17.597" v="73377"/>
          <ac:spMkLst>
            <pc:docMk/>
            <pc:sldMk cId="43921188" sldId="2147478579"/>
            <ac:spMk id="481" creationId="{7F3F5F8D-B672-C77C-6FC4-BEEA62EA6A3E}"/>
          </ac:spMkLst>
        </pc:spChg>
        <pc:spChg chg="add del mod">
          <ac:chgData name="Steiner Andreas 6206 ED" userId="e6377c33-a923-4f14-8587-531c474c7b48" providerId="ADAL" clId="{6ECD27E6-B224-41CD-B4E0-E297462320DD}" dt="2023-11-24T08:48:20.164" v="73532"/>
          <ac:spMkLst>
            <pc:docMk/>
            <pc:sldMk cId="43921188" sldId="2147478579"/>
            <ac:spMk id="482" creationId="{7E688B6C-2CF7-7018-21F3-8939AACE4240}"/>
          </ac:spMkLst>
        </pc:spChg>
        <pc:spChg chg="add del mod">
          <ac:chgData name="Steiner Andreas 6206 ED" userId="e6377c33-a923-4f14-8587-531c474c7b48" providerId="ADAL" clId="{6ECD27E6-B224-41CD-B4E0-E297462320DD}" dt="2023-11-24T08:48:22.304" v="73687"/>
          <ac:spMkLst>
            <pc:docMk/>
            <pc:sldMk cId="43921188" sldId="2147478579"/>
            <ac:spMk id="483" creationId="{FE39EDA0-6B2F-2517-7F59-8B1901E07F2A}"/>
          </ac:spMkLst>
        </pc:spChg>
        <pc:spChg chg="add del mod">
          <ac:chgData name="Steiner Andreas 6206 ED" userId="e6377c33-a923-4f14-8587-531c474c7b48" providerId="ADAL" clId="{6ECD27E6-B224-41CD-B4E0-E297462320DD}" dt="2023-11-24T08:48:24.415" v="73842"/>
          <ac:spMkLst>
            <pc:docMk/>
            <pc:sldMk cId="43921188" sldId="2147478579"/>
            <ac:spMk id="484" creationId="{0A3493E0-C145-D70F-8F79-C9143A0182E9}"/>
          </ac:spMkLst>
        </pc:spChg>
        <pc:spChg chg="add del mod">
          <ac:chgData name="Steiner Andreas 6206 ED" userId="e6377c33-a923-4f14-8587-531c474c7b48" providerId="ADAL" clId="{6ECD27E6-B224-41CD-B4E0-E297462320DD}" dt="2023-11-24T08:48:26.522" v="73997"/>
          <ac:spMkLst>
            <pc:docMk/>
            <pc:sldMk cId="43921188" sldId="2147478579"/>
            <ac:spMk id="485" creationId="{DF69DA46-D688-45D5-5554-9D1BE755D0F1}"/>
          </ac:spMkLst>
        </pc:spChg>
        <pc:spChg chg="add del mod">
          <ac:chgData name="Steiner Andreas 6206 ED" userId="e6377c33-a923-4f14-8587-531c474c7b48" providerId="ADAL" clId="{6ECD27E6-B224-41CD-B4E0-E297462320DD}" dt="2023-11-24T08:48:28.537" v="74152"/>
          <ac:spMkLst>
            <pc:docMk/>
            <pc:sldMk cId="43921188" sldId="2147478579"/>
            <ac:spMk id="486" creationId="{ECBA79BC-968C-DD1A-F244-49D25DA499D1}"/>
          </ac:spMkLst>
        </pc:spChg>
        <pc:spChg chg="add del mod">
          <ac:chgData name="Steiner Andreas 6206 ED" userId="e6377c33-a923-4f14-8587-531c474c7b48" providerId="ADAL" clId="{6ECD27E6-B224-41CD-B4E0-E297462320DD}" dt="2023-11-24T08:48:30.400" v="74307"/>
          <ac:spMkLst>
            <pc:docMk/>
            <pc:sldMk cId="43921188" sldId="2147478579"/>
            <ac:spMk id="487" creationId="{93314D39-58DD-035B-2C24-517BC260681A}"/>
          </ac:spMkLst>
        </pc:spChg>
        <pc:spChg chg="add del mod">
          <ac:chgData name="Steiner Andreas 6206 ED" userId="e6377c33-a923-4f14-8587-531c474c7b48" providerId="ADAL" clId="{6ECD27E6-B224-41CD-B4E0-E297462320DD}" dt="2023-11-24T08:48:32.375" v="74462"/>
          <ac:spMkLst>
            <pc:docMk/>
            <pc:sldMk cId="43921188" sldId="2147478579"/>
            <ac:spMk id="488" creationId="{C8A3DD41-E772-74FA-533D-90DF040B216C}"/>
          </ac:spMkLst>
        </pc:spChg>
        <pc:spChg chg="add del mod">
          <ac:chgData name="Steiner Andreas 6206 ED" userId="e6377c33-a923-4f14-8587-531c474c7b48" providerId="ADAL" clId="{6ECD27E6-B224-41CD-B4E0-E297462320DD}" dt="2023-11-24T08:48:34.658" v="74617"/>
          <ac:spMkLst>
            <pc:docMk/>
            <pc:sldMk cId="43921188" sldId="2147478579"/>
            <ac:spMk id="489" creationId="{48669CF3-6609-448D-2BF7-ABCD4449E15E}"/>
          </ac:spMkLst>
        </pc:spChg>
        <pc:spChg chg="add del mod">
          <ac:chgData name="Steiner Andreas 6206 ED" userId="e6377c33-a923-4f14-8587-531c474c7b48" providerId="ADAL" clId="{6ECD27E6-B224-41CD-B4E0-E297462320DD}" dt="2023-11-24T08:48:36.775" v="74772"/>
          <ac:spMkLst>
            <pc:docMk/>
            <pc:sldMk cId="43921188" sldId="2147478579"/>
            <ac:spMk id="490" creationId="{AE465F94-2D45-F78E-58DE-DAF328D1C583}"/>
          </ac:spMkLst>
        </pc:spChg>
        <pc:spChg chg="add del mod">
          <ac:chgData name="Steiner Andreas 6206 ED" userId="e6377c33-a923-4f14-8587-531c474c7b48" providerId="ADAL" clId="{6ECD27E6-B224-41CD-B4E0-E297462320DD}" dt="2023-11-24T08:48:38.854" v="74927"/>
          <ac:spMkLst>
            <pc:docMk/>
            <pc:sldMk cId="43921188" sldId="2147478579"/>
            <ac:spMk id="491" creationId="{AE1D68C9-D7E4-B3F3-9C6C-3790D6678F9E}"/>
          </ac:spMkLst>
        </pc:spChg>
        <pc:spChg chg="add del mod">
          <ac:chgData name="Steiner Andreas 6206 ED" userId="e6377c33-a923-4f14-8587-531c474c7b48" providerId="ADAL" clId="{6ECD27E6-B224-41CD-B4E0-E297462320DD}" dt="2023-11-24T08:48:40.965" v="75082"/>
          <ac:spMkLst>
            <pc:docMk/>
            <pc:sldMk cId="43921188" sldId="2147478579"/>
            <ac:spMk id="492" creationId="{CD3FA155-4DFE-9BEA-92DD-4459395E505A}"/>
          </ac:spMkLst>
        </pc:spChg>
        <pc:spChg chg="add del mod">
          <ac:chgData name="Steiner Andreas 6206 ED" userId="e6377c33-a923-4f14-8587-531c474c7b48" providerId="ADAL" clId="{6ECD27E6-B224-41CD-B4E0-E297462320DD}" dt="2023-11-24T08:48:43.416" v="75237"/>
          <ac:spMkLst>
            <pc:docMk/>
            <pc:sldMk cId="43921188" sldId="2147478579"/>
            <ac:spMk id="493" creationId="{51AD4D42-B095-BE4C-717A-036A379CB0B0}"/>
          </ac:spMkLst>
        </pc:spChg>
        <pc:spChg chg="add del mod">
          <ac:chgData name="Steiner Andreas 6206 ED" userId="e6377c33-a923-4f14-8587-531c474c7b48" providerId="ADAL" clId="{6ECD27E6-B224-41CD-B4E0-E297462320DD}" dt="2023-11-24T08:48:45.702" v="75392"/>
          <ac:spMkLst>
            <pc:docMk/>
            <pc:sldMk cId="43921188" sldId="2147478579"/>
            <ac:spMk id="494" creationId="{FA8CDC71-A3F4-8E5B-BC38-B28405AA8E63}"/>
          </ac:spMkLst>
        </pc:spChg>
        <pc:spChg chg="add del mod">
          <ac:chgData name="Steiner Andreas 6206 ED" userId="e6377c33-a923-4f14-8587-531c474c7b48" providerId="ADAL" clId="{6ECD27E6-B224-41CD-B4E0-E297462320DD}" dt="2023-11-24T08:48:47.794" v="75547"/>
          <ac:spMkLst>
            <pc:docMk/>
            <pc:sldMk cId="43921188" sldId="2147478579"/>
            <ac:spMk id="495" creationId="{50215403-742B-8DF4-A8BE-DD9F49C5C7F8}"/>
          </ac:spMkLst>
        </pc:spChg>
        <pc:spChg chg="add del mod">
          <ac:chgData name="Steiner Andreas 6206 ED" userId="e6377c33-a923-4f14-8587-531c474c7b48" providerId="ADAL" clId="{6ECD27E6-B224-41CD-B4E0-E297462320DD}" dt="2023-11-24T08:48:49.718" v="75702"/>
          <ac:spMkLst>
            <pc:docMk/>
            <pc:sldMk cId="43921188" sldId="2147478579"/>
            <ac:spMk id="496" creationId="{149A50BD-C44C-358A-894C-EB1628797DC5}"/>
          </ac:spMkLst>
        </pc:spChg>
        <pc:spChg chg="add del mod">
          <ac:chgData name="Steiner Andreas 6206 ED" userId="e6377c33-a923-4f14-8587-531c474c7b48" providerId="ADAL" clId="{6ECD27E6-B224-41CD-B4E0-E297462320DD}" dt="2023-11-24T08:48:51.930" v="75857"/>
          <ac:spMkLst>
            <pc:docMk/>
            <pc:sldMk cId="43921188" sldId="2147478579"/>
            <ac:spMk id="497" creationId="{46669152-5BC0-D482-AA26-5A773B20470E}"/>
          </ac:spMkLst>
        </pc:spChg>
        <pc:spChg chg="add del mod">
          <ac:chgData name="Steiner Andreas 6206 ED" userId="e6377c33-a923-4f14-8587-531c474c7b48" providerId="ADAL" clId="{6ECD27E6-B224-41CD-B4E0-E297462320DD}" dt="2023-11-24T08:48:53.897" v="76012"/>
          <ac:spMkLst>
            <pc:docMk/>
            <pc:sldMk cId="43921188" sldId="2147478579"/>
            <ac:spMk id="498" creationId="{C62036FE-3500-B32F-55FD-219CE7B283EF}"/>
          </ac:spMkLst>
        </pc:spChg>
        <pc:spChg chg="add del mod">
          <ac:chgData name="Steiner Andreas 6206 ED" userId="e6377c33-a923-4f14-8587-531c474c7b48" providerId="ADAL" clId="{6ECD27E6-B224-41CD-B4E0-E297462320DD}" dt="2023-11-24T08:48:55.850" v="76167"/>
          <ac:spMkLst>
            <pc:docMk/>
            <pc:sldMk cId="43921188" sldId="2147478579"/>
            <ac:spMk id="499" creationId="{66678624-FC51-FB43-E570-18A488759653}"/>
          </ac:spMkLst>
        </pc:spChg>
        <pc:spChg chg="add del mod">
          <ac:chgData name="Steiner Andreas 6206 ED" userId="e6377c33-a923-4f14-8587-531c474c7b48" providerId="ADAL" clId="{6ECD27E6-B224-41CD-B4E0-E297462320DD}" dt="2023-11-24T08:48:57.822" v="76322"/>
          <ac:spMkLst>
            <pc:docMk/>
            <pc:sldMk cId="43921188" sldId="2147478579"/>
            <ac:spMk id="500" creationId="{C689687A-D1B7-4FAD-CCD7-8704D52F4F6F}"/>
          </ac:spMkLst>
        </pc:spChg>
        <pc:spChg chg="add del mod">
          <ac:chgData name="Steiner Andreas 6206 ED" userId="e6377c33-a923-4f14-8587-531c474c7b48" providerId="ADAL" clId="{6ECD27E6-B224-41CD-B4E0-E297462320DD}" dt="2023-11-24T08:48:59.872" v="76477"/>
          <ac:spMkLst>
            <pc:docMk/>
            <pc:sldMk cId="43921188" sldId="2147478579"/>
            <ac:spMk id="501" creationId="{4C15DC44-A862-FB05-CAB7-954979D158ED}"/>
          </ac:spMkLst>
        </pc:spChg>
        <pc:spChg chg="add del mod">
          <ac:chgData name="Steiner Andreas 6206 ED" userId="e6377c33-a923-4f14-8587-531c474c7b48" providerId="ADAL" clId="{6ECD27E6-B224-41CD-B4E0-E297462320DD}" dt="2023-11-24T08:49:01.847" v="76632"/>
          <ac:spMkLst>
            <pc:docMk/>
            <pc:sldMk cId="43921188" sldId="2147478579"/>
            <ac:spMk id="502" creationId="{36F9BA9B-C4C8-8305-94AF-C37D95B0917C}"/>
          </ac:spMkLst>
        </pc:spChg>
        <pc:spChg chg="add del mod">
          <ac:chgData name="Steiner Andreas 6206 ED" userId="e6377c33-a923-4f14-8587-531c474c7b48" providerId="ADAL" clId="{6ECD27E6-B224-41CD-B4E0-E297462320DD}" dt="2023-11-24T08:49:03.813" v="76787"/>
          <ac:spMkLst>
            <pc:docMk/>
            <pc:sldMk cId="43921188" sldId="2147478579"/>
            <ac:spMk id="503" creationId="{C9384FFD-B3D6-FD8C-BA71-1D7EF931D139}"/>
          </ac:spMkLst>
        </pc:spChg>
        <pc:spChg chg="add del mod">
          <ac:chgData name="Steiner Andreas 6206 ED" userId="e6377c33-a923-4f14-8587-531c474c7b48" providerId="ADAL" clId="{6ECD27E6-B224-41CD-B4E0-E297462320DD}" dt="2023-11-24T08:49:05.708" v="76942"/>
          <ac:spMkLst>
            <pc:docMk/>
            <pc:sldMk cId="43921188" sldId="2147478579"/>
            <ac:spMk id="504" creationId="{DFA21FD5-0D02-8888-4168-BFC9E376E092}"/>
          </ac:spMkLst>
        </pc:spChg>
        <pc:spChg chg="add del mod">
          <ac:chgData name="Steiner Andreas 6206 ED" userId="e6377c33-a923-4f14-8587-531c474c7b48" providerId="ADAL" clId="{6ECD27E6-B224-41CD-B4E0-E297462320DD}" dt="2023-11-24T08:49:07.799" v="77097"/>
          <ac:spMkLst>
            <pc:docMk/>
            <pc:sldMk cId="43921188" sldId="2147478579"/>
            <ac:spMk id="505" creationId="{4BFFFE16-B91E-B2C7-E8BD-90E2B5ECF689}"/>
          </ac:spMkLst>
        </pc:spChg>
        <pc:spChg chg="add del mod">
          <ac:chgData name="Steiner Andreas 6206 ED" userId="e6377c33-a923-4f14-8587-531c474c7b48" providerId="ADAL" clId="{6ECD27E6-B224-41CD-B4E0-E297462320DD}" dt="2023-11-24T08:49:09.688" v="77252"/>
          <ac:spMkLst>
            <pc:docMk/>
            <pc:sldMk cId="43921188" sldId="2147478579"/>
            <ac:spMk id="506" creationId="{C3C845CD-50A4-14AB-36AA-5360E691B482}"/>
          </ac:spMkLst>
        </pc:spChg>
        <pc:spChg chg="add del mod">
          <ac:chgData name="Steiner Andreas 6206 ED" userId="e6377c33-a923-4f14-8587-531c474c7b48" providerId="ADAL" clId="{6ECD27E6-B224-41CD-B4E0-E297462320DD}" dt="2023-11-24T08:49:11.491" v="77407"/>
          <ac:spMkLst>
            <pc:docMk/>
            <pc:sldMk cId="43921188" sldId="2147478579"/>
            <ac:spMk id="507" creationId="{1713F986-3347-47F4-7C89-0CDFF1E390A9}"/>
          </ac:spMkLst>
        </pc:spChg>
        <pc:spChg chg="add del mod">
          <ac:chgData name="Steiner Andreas 6206 ED" userId="e6377c33-a923-4f14-8587-531c474c7b48" providerId="ADAL" clId="{6ECD27E6-B224-41CD-B4E0-E297462320DD}" dt="2023-11-24T08:49:13.545" v="77562"/>
          <ac:spMkLst>
            <pc:docMk/>
            <pc:sldMk cId="43921188" sldId="2147478579"/>
            <ac:spMk id="508" creationId="{1555AF41-0A4E-F710-13E2-F7FD0773ECCD}"/>
          </ac:spMkLst>
        </pc:spChg>
        <pc:spChg chg="add del mod">
          <ac:chgData name="Steiner Andreas 6206 ED" userId="e6377c33-a923-4f14-8587-531c474c7b48" providerId="ADAL" clId="{6ECD27E6-B224-41CD-B4E0-E297462320DD}" dt="2023-11-24T08:49:15.566" v="77717"/>
          <ac:spMkLst>
            <pc:docMk/>
            <pc:sldMk cId="43921188" sldId="2147478579"/>
            <ac:spMk id="509" creationId="{D2A39BAC-B368-0D0A-F0AD-D197A83E2B4F}"/>
          </ac:spMkLst>
        </pc:spChg>
        <pc:spChg chg="add del mod">
          <ac:chgData name="Steiner Andreas 6206 ED" userId="e6377c33-a923-4f14-8587-531c474c7b48" providerId="ADAL" clId="{6ECD27E6-B224-41CD-B4E0-E297462320DD}" dt="2023-11-24T08:49:17.565" v="77872"/>
          <ac:spMkLst>
            <pc:docMk/>
            <pc:sldMk cId="43921188" sldId="2147478579"/>
            <ac:spMk id="510" creationId="{53E20AED-E9D8-7FD4-DEDB-EF92B20F6E05}"/>
          </ac:spMkLst>
        </pc:spChg>
        <pc:spChg chg="add del mod">
          <ac:chgData name="Steiner Andreas 6206 ED" userId="e6377c33-a923-4f14-8587-531c474c7b48" providerId="ADAL" clId="{6ECD27E6-B224-41CD-B4E0-E297462320DD}" dt="2023-11-24T08:49:19.636" v="78027"/>
          <ac:spMkLst>
            <pc:docMk/>
            <pc:sldMk cId="43921188" sldId="2147478579"/>
            <ac:spMk id="511" creationId="{531E7499-EFB2-93DF-B7AA-185541C46F08}"/>
          </ac:spMkLst>
        </pc:spChg>
        <pc:spChg chg="add del mod">
          <ac:chgData name="Steiner Andreas 6206 ED" userId="e6377c33-a923-4f14-8587-531c474c7b48" providerId="ADAL" clId="{6ECD27E6-B224-41CD-B4E0-E297462320DD}" dt="2023-11-24T08:49:21.574" v="78182"/>
          <ac:spMkLst>
            <pc:docMk/>
            <pc:sldMk cId="43921188" sldId="2147478579"/>
            <ac:spMk id="512" creationId="{DE72BE8E-400F-D0C0-3741-88A3695D2AEC}"/>
          </ac:spMkLst>
        </pc:spChg>
        <pc:spChg chg="add del mod">
          <ac:chgData name="Steiner Andreas 6206 ED" userId="e6377c33-a923-4f14-8587-531c474c7b48" providerId="ADAL" clId="{6ECD27E6-B224-41CD-B4E0-E297462320DD}" dt="2023-11-24T08:49:23.437" v="78337"/>
          <ac:spMkLst>
            <pc:docMk/>
            <pc:sldMk cId="43921188" sldId="2147478579"/>
            <ac:spMk id="513" creationId="{04F47D69-91F7-22BA-A85E-4BB0E8D271FD}"/>
          </ac:spMkLst>
        </pc:spChg>
        <pc:spChg chg="add del mod">
          <ac:chgData name="Steiner Andreas 6206 ED" userId="e6377c33-a923-4f14-8587-531c474c7b48" providerId="ADAL" clId="{6ECD27E6-B224-41CD-B4E0-E297462320DD}" dt="2023-11-24T08:49:25.349" v="78492"/>
          <ac:spMkLst>
            <pc:docMk/>
            <pc:sldMk cId="43921188" sldId="2147478579"/>
            <ac:spMk id="514" creationId="{7799EC5C-6549-67C4-754A-4A1396B48290}"/>
          </ac:spMkLst>
        </pc:spChg>
        <pc:spChg chg="add del mod">
          <ac:chgData name="Steiner Andreas 6206 ED" userId="e6377c33-a923-4f14-8587-531c474c7b48" providerId="ADAL" clId="{6ECD27E6-B224-41CD-B4E0-E297462320DD}" dt="2023-11-24T08:49:27.372" v="78647"/>
          <ac:spMkLst>
            <pc:docMk/>
            <pc:sldMk cId="43921188" sldId="2147478579"/>
            <ac:spMk id="515" creationId="{8625C5F0-A83A-8087-F5A2-3B0BA749B71B}"/>
          </ac:spMkLst>
        </pc:spChg>
        <pc:spChg chg="add del mod">
          <ac:chgData name="Steiner Andreas 6206 ED" userId="e6377c33-a923-4f14-8587-531c474c7b48" providerId="ADAL" clId="{6ECD27E6-B224-41CD-B4E0-E297462320DD}" dt="2023-11-24T08:49:29.380" v="78802"/>
          <ac:spMkLst>
            <pc:docMk/>
            <pc:sldMk cId="43921188" sldId="2147478579"/>
            <ac:spMk id="516" creationId="{70E0D756-A4B3-360A-BE44-4ACF925C4EF7}"/>
          </ac:spMkLst>
        </pc:spChg>
        <pc:spChg chg="add del mod">
          <ac:chgData name="Steiner Andreas 6206 ED" userId="e6377c33-a923-4f14-8587-531c474c7b48" providerId="ADAL" clId="{6ECD27E6-B224-41CD-B4E0-E297462320DD}" dt="2023-11-24T08:49:31.371" v="78957"/>
          <ac:spMkLst>
            <pc:docMk/>
            <pc:sldMk cId="43921188" sldId="2147478579"/>
            <ac:spMk id="517" creationId="{81A5DC84-A3A8-3A12-47C1-632C1BA8DF06}"/>
          </ac:spMkLst>
        </pc:spChg>
        <pc:spChg chg="add del mod">
          <ac:chgData name="Steiner Andreas 6206 ED" userId="e6377c33-a923-4f14-8587-531c474c7b48" providerId="ADAL" clId="{6ECD27E6-B224-41CD-B4E0-E297462320DD}" dt="2023-11-24T08:49:33.260" v="79112"/>
          <ac:spMkLst>
            <pc:docMk/>
            <pc:sldMk cId="43921188" sldId="2147478579"/>
            <ac:spMk id="518" creationId="{BBA8CE7C-DF2E-4EB1-AF1E-8C2AAA5F8BED}"/>
          </ac:spMkLst>
        </pc:spChg>
        <pc:spChg chg="add del mod">
          <ac:chgData name="Steiner Andreas 6206 ED" userId="e6377c33-a923-4f14-8587-531c474c7b48" providerId="ADAL" clId="{6ECD27E6-B224-41CD-B4E0-E297462320DD}" dt="2023-11-24T08:49:35.180" v="79267"/>
          <ac:spMkLst>
            <pc:docMk/>
            <pc:sldMk cId="43921188" sldId="2147478579"/>
            <ac:spMk id="519" creationId="{3CF06B6C-EFFC-97D5-0AA3-F130A05CCA1B}"/>
          </ac:spMkLst>
        </pc:spChg>
        <pc:spChg chg="add del mod">
          <ac:chgData name="Steiner Andreas 6206 ED" userId="e6377c33-a923-4f14-8587-531c474c7b48" providerId="ADAL" clId="{6ECD27E6-B224-41CD-B4E0-E297462320DD}" dt="2023-11-24T08:49:37.019" v="79422"/>
          <ac:spMkLst>
            <pc:docMk/>
            <pc:sldMk cId="43921188" sldId="2147478579"/>
            <ac:spMk id="520" creationId="{4BE0FE8F-9930-FB0E-EA46-683CE7198719}"/>
          </ac:spMkLst>
        </pc:spChg>
        <pc:spChg chg="add del mod">
          <ac:chgData name="Steiner Andreas 6206 ED" userId="e6377c33-a923-4f14-8587-531c474c7b48" providerId="ADAL" clId="{6ECD27E6-B224-41CD-B4E0-E297462320DD}" dt="2023-11-24T08:49:38.973" v="79577"/>
          <ac:spMkLst>
            <pc:docMk/>
            <pc:sldMk cId="43921188" sldId="2147478579"/>
            <ac:spMk id="521" creationId="{7F9780A8-15AA-33E9-C558-D4289197C82E}"/>
          </ac:spMkLst>
        </pc:spChg>
        <pc:spChg chg="add del mod">
          <ac:chgData name="Steiner Andreas 6206 ED" userId="e6377c33-a923-4f14-8587-531c474c7b48" providerId="ADAL" clId="{6ECD27E6-B224-41CD-B4E0-E297462320DD}" dt="2023-11-24T08:49:41.020" v="79732"/>
          <ac:spMkLst>
            <pc:docMk/>
            <pc:sldMk cId="43921188" sldId="2147478579"/>
            <ac:spMk id="522" creationId="{23BC67B3-3B2C-BA14-662F-B9F32112D80B}"/>
          </ac:spMkLst>
        </pc:spChg>
        <pc:spChg chg="add del mod">
          <ac:chgData name="Steiner Andreas 6206 ED" userId="e6377c33-a923-4f14-8587-531c474c7b48" providerId="ADAL" clId="{6ECD27E6-B224-41CD-B4E0-E297462320DD}" dt="2023-11-24T08:49:42.971" v="79887"/>
          <ac:spMkLst>
            <pc:docMk/>
            <pc:sldMk cId="43921188" sldId="2147478579"/>
            <ac:spMk id="523" creationId="{9F5A84A6-094B-3DE3-6EDD-C7CB59ADD296}"/>
          </ac:spMkLst>
        </pc:spChg>
        <pc:spChg chg="add del mod">
          <ac:chgData name="Steiner Andreas 6206 ED" userId="e6377c33-a923-4f14-8587-531c474c7b48" providerId="ADAL" clId="{6ECD27E6-B224-41CD-B4E0-E297462320DD}" dt="2023-11-24T08:49:44.907" v="80042"/>
          <ac:spMkLst>
            <pc:docMk/>
            <pc:sldMk cId="43921188" sldId="2147478579"/>
            <ac:spMk id="524" creationId="{826F5762-78B8-D473-D108-F82071A3CA16}"/>
          </ac:spMkLst>
        </pc:spChg>
        <pc:spChg chg="add del mod">
          <ac:chgData name="Steiner Andreas 6206 ED" userId="e6377c33-a923-4f14-8587-531c474c7b48" providerId="ADAL" clId="{6ECD27E6-B224-41CD-B4E0-E297462320DD}" dt="2023-11-24T08:49:46.857" v="80197"/>
          <ac:spMkLst>
            <pc:docMk/>
            <pc:sldMk cId="43921188" sldId="2147478579"/>
            <ac:spMk id="525" creationId="{18A6AB82-6370-C4FE-0AB0-668B98042DFA}"/>
          </ac:spMkLst>
        </pc:spChg>
        <pc:spChg chg="add del mod">
          <ac:chgData name="Steiner Andreas 6206 ED" userId="e6377c33-a923-4f14-8587-531c474c7b48" providerId="ADAL" clId="{6ECD27E6-B224-41CD-B4E0-E297462320DD}" dt="2023-11-24T08:49:48.750" v="80352"/>
          <ac:spMkLst>
            <pc:docMk/>
            <pc:sldMk cId="43921188" sldId="2147478579"/>
            <ac:spMk id="526" creationId="{2E90963A-35DD-4AD0-E4C6-D041CDEC5DCC}"/>
          </ac:spMkLst>
        </pc:spChg>
        <pc:spChg chg="add del mod">
          <ac:chgData name="Steiner Andreas 6206 ED" userId="e6377c33-a923-4f14-8587-531c474c7b48" providerId="ADAL" clId="{6ECD27E6-B224-41CD-B4E0-E297462320DD}" dt="2023-11-24T08:49:50.650" v="80507"/>
          <ac:spMkLst>
            <pc:docMk/>
            <pc:sldMk cId="43921188" sldId="2147478579"/>
            <ac:spMk id="527" creationId="{27252002-03EE-FB24-C0AE-B287CE484B27}"/>
          </ac:spMkLst>
        </pc:spChg>
        <pc:spChg chg="add del mod">
          <ac:chgData name="Steiner Andreas 6206 ED" userId="e6377c33-a923-4f14-8587-531c474c7b48" providerId="ADAL" clId="{6ECD27E6-B224-41CD-B4E0-E297462320DD}" dt="2023-11-24T08:49:52.582" v="80662"/>
          <ac:spMkLst>
            <pc:docMk/>
            <pc:sldMk cId="43921188" sldId="2147478579"/>
            <ac:spMk id="528" creationId="{010F6FEA-4345-806A-880D-1F378C90B015}"/>
          </ac:spMkLst>
        </pc:spChg>
        <pc:spChg chg="add del mod">
          <ac:chgData name="Steiner Andreas 6206 ED" userId="e6377c33-a923-4f14-8587-531c474c7b48" providerId="ADAL" clId="{6ECD27E6-B224-41CD-B4E0-E297462320DD}" dt="2023-11-24T08:49:54.520" v="80817"/>
          <ac:spMkLst>
            <pc:docMk/>
            <pc:sldMk cId="43921188" sldId="2147478579"/>
            <ac:spMk id="529" creationId="{CB44B13C-FAA9-D119-4AE7-DDBAB41A1F38}"/>
          </ac:spMkLst>
        </pc:spChg>
        <pc:spChg chg="add del mod">
          <ac:chgData name="Steiner Andreas 6206 ED" userId="e6377c33-a923-4f14-8587-531c474c7b48" providerId="ADAL" clId="{6ECD27E6-B224-41CD-B4E0-E297462320DD}" dt="2023-11-24T08:49:56.390" v="80972"/>
          <ac:spMkLst>
            <pc:docMk/>
            <pc:sldMk cId="43921188" sldId="2147478579"/>
            <ac:spMk id="530" creationId="{FBA88FE8-8316-B7D4-9945-5BD2F7CFB010}"/>
          </ac:spMkLst>
        </pc:spChg>
        <pc:spChg chg="add del mod">
          <ac:chgData name="Steiner Andreas 6206 ED" userId="e6377c33-a923-4f14-8587-531c474c7b48" providerId="ADAL" clId="{6ECD27E6-B224-41CD-B4E0-E297462320DD}" dt="2023-11-24T08:49:58.264" v="81127"/>
          <ac:spMkLst>
            <pc:docMk/>
            <pc:sldMk cId="43921188" sldId="2147478579"/>
            <ac:spMk id="531" creationId="{D5CF325A-DDF1-AD0E-1720-F47C57C2024F}"/>
          </ac:spMkLst>
        </pc:spChg>
        <pc:spChg chg="add del mod">
          <ac:chgData name="Steiner Andreas 6206 ED" userId="e6377c33-a923-4f14-8587-531c474c7b48" providerId="ADAL" clId="{6ECD27E6-B224-41CD-B4E0-E297462320DD}" dt="2023-11-24T08:50:00.207" v="81282"/>
          <ac:spMkLst>
            <pc:docMk/>
            <pc:sldMk cId="43921188" sldId="2147478579"/>
            <ac:spMk id="532" creationId="{5CEA57AB-DFFA-7A8D-2F62-4D8D7CAC4B08}"/>
          </ac:spMkLst>
        </pc:spChg>
        <pc:spChg chg="add del mod">
          <ac:chgData name="Steiner Andreas 6206 ED" userId="e6377c33-a923-4f14-8587-531c474c7b48" providerId="ADAL" clId="{6ECD27E6-B224-41CD-B4E0-E297462320DD}" dt="2023-11-24T08:50:02.256" v="81437"/>
          <ac:spMkLst>
            <pc:docMk/>
            <pc:sldMk cId="43921188" sldId="2147478579"/>
            <ac:spMk id="533" creationId="{66E103EF-60AD-C297-6731-180A9403515C}"/>
          </ac:spMkLst>
        </pc:spChg>
        <pc:spChg chg="add del mod">
          <ac:chgData name="Steiner Andreas 6206 ED" userId="e6377c33-a923-4f14-8587-531c474c7b48" providerId="ADAL" clId="{6ECD27E6-B224-41CD-B4E0-E297462320DD}" dt="2023-11-24T08:50:04.300" v="81592"/>
          <ac:spMkLst>
            <pc:docMk/>
            <pc:sldMk cId="43921188" sldId="2147478579"/>
            <ac:spMk id="534" creationId="{0E413814-08E3-619B-8246-BC4D06733FA4}"/>
          </ac:spMkLst>
        </pc:spChg>
        <pc:spChg chg="add del mod">
          <ac:chgData name="Steiner Andreas 6206 ED" userId="e6377c33-a923-4f14-8587-531c474c7b48" providerId="ADAL" clId="{6ECD27E6-B224-41CD-B4E0-E297462320DD}" dt="2023-11-24T08:50:06.262" v="81747"/>
          <ac:spMkLst>
            <pc:docMk/>
            <pc:sldMk cId="43921188" sldId="2147478579"/>
            <ac:spMk id="535" creationId="{DD04C545-5F6A-B30E-6C4B-6BDC571D61E4}"/>
          </ac:spMkLst>
        </pc:spChg>
        <pc:spChg chg="add del mod">
          <ac:chgData name="Steiner Andreas 6206 ED" userId="e6377c33-a923-4f14-8587-531c474c7b48" providerId="ADAL" clId="{6ECD27E6-B224-41CD-B4E0-E297462320DD}" dt="2023-11-24T08:50:08.175" v="81902"/>
          <ac:spMkLst>
            <pc:docMk/>
            <pc:sldMk cId="43921188" sldId="2147478579"/>
            <ac:spMk id="536" creationId="{796D0736-0078-066E-F570-CDBDB23694A5}"/>
          </ac:spMkLst>
        </pc:spChg>
        <pc:spChg chg="add del mod">
          <ac:chgData name="Steiner Andreas 6206 ED" userId="e6377c33-a923-4f14-8587-531c474c7b48" providerId="ADAL" clId="{6ECD27E6-B224-41CD-B4E0-E297462320DD}" dt="2023-11-24T08:50:10.056" v="82057"/>
          <ac:spMkLst>
            <pc:docMk/>
            <pc:sldMk cId="43921188" sldId="2147478579"/>
            <ac:spMk id="537" creationId="{9D82FD98-294E-ED7F-3661-7E9B63AEA858}"/>
          </ac:spMkLst>
        </pc:spChg>
        <pc:spChg chg="add del mod">
          <ac:chgData name="Steiner Andreas 6206 ED" userId="e6377c33-a923-4f14-8587-531c474c7b48" providerId="ADAL" clId="{6ECD27E6-B224-41CD-B4E0-E297462320DD}" dt="2023-11-24T08:50:11.964" v="82212"/>
          <ac:spMkLst>
            <pc:docMk/>
            <pc:sldMk cId="43921188" sldId="2147478579"/>
            <ac:spMk id="538" creationId="{F7C101FD-E43F-0C8B-BD6B-6937BDBF5DDB}"/>
          </ac:spMkLst>
        </pc:spChg>
        <pc:spChg chg="add del mod">
          <ac:chgData name="Steiner Andreas 6206 ED" userId="e6377c33-a923-4f14-8587-531c474c7b48" providerId="ADAL" clId="{6ECD27E6-B224-41CD-B4E0-E297462320DD}" dt="2023-11-24T08:50:14.022" v="82367"/>
          <ac:spMkLst>
            <pc:docMk/>
            <pc:sldMk cId="43921188" sldId="2147478579"/>
            <ac:spMk id="539" creationId="{03460225-1C47-A80B-4F4E-5412C79D6212}"/>
          </ac:spMkLst>
        </pc:spChg>
        <pc:spChg chg="add del mod">
          <ac:chgData name="Steiner Andreas 6206 ED" userId="e6377c33-a923-4f14-8587-531c474c7b48" providerId="ADAL" clId="{6ECD27E6-B224-41CD-B4E0-E297462320DD}" dt="2023-11-24T08:50:15.987" v="82522"/>
          <ac:spMkLst>
            <pc:docMk/>
            <pc:sldMk cId="43921188" sldId="2147478579"/>
            <ac:spMk id="540" creationId="{9FF3E4F0-ABD0-4F02-A5A7-357F17206FA6}"/>
          </ac:spMkLst>
        </pc:spChg>
        <pc:spChg chg="add del mod">
          <ac:chgData name="Steiner Andreas 6206 ED" userId="e6377c33-a923-4f14-8587-531c474c7b48" providerId="ADAL" clId="{6ECD27E6-B224-41CD-B4E0-E297462320DD}" dt="2023-11-24T08:50:17.955" v="82677"/>
          <ac:spMkLst>
            <pc:docMk/>
            <pc:sldMk cId="43921188" sldId="2147478579"/>
            <ac:spMk id="541" creationId="{3C21B738-103F-ADBC-D7E6-EE003D880F41}"/>
          </ac:spMkLst>
        </pc:spChg>
        <pc:spChg chg="add del mod">
          <ac:chgData name="Steiner Andreas 6206 ED" userId="e6377c33-a923-4f14-8587-531c474c7b48" providerId="ADAL" clId="{6ECD27E6-B224-41CD-B4E0-E297462320DD}" dt="2023-11-24T08:50:20.061" v="82832"/>
          <ac:spMkLst>
            <pc:docMk/>
            <pc:sldMk cId="43921188" sldId="2147478579"/>
            <ac:spMk id="542" creationId="{4AAD1CB5-618B-B15C-9B0A-61ED7EAD7C0A}"/>
          </ac:spMkLst>
        </pc:spChg>
        <pc:spChg chg="add del mod">
          <ac:chgData name="Steiner Andreas 6206 ED" userId="e6377c33-a923-4f14-8587-531c474c7b48" providerId="ADAL" clId="{6ECD27E6-B224-41CD-B4E0-E297462320DD}" dt="2023-11-24T08:50:22.129" v="82987"/>
          <ac:spMkLst>
            <pc:docMk/>
            <pc:sldMk cId="43921188" sldId="2147478579"/>
            <ac:spMk id="543" creationId="{BA7387B7-8416-9D15-D972-EB596218D38B}"/>
          </ac:spMkLst>
        </pc:spChg>
        <pc:spChg chg="add del mod">
          <ac:chgData name="Steiner Andreas 6206 ED" userId="e6377c33-a923-4f14-8587-531c474c7b48" providerId="ADAL" clId="{6ECD27E6-B224-41CD-B4E0-E297462320DD}" dt="2023-11-24T08:50:24.156" v="83142"/>
          <ac:spMkLst>
            <pc:docMk/>
            <pc:sldMk cId="43921188" sldId="2147478579"/>
            <ac:spMk id="544" creationId="{20DF3E8F-8866-D380-09DE-08B99756C7B1}"/>
          </ac:spMkLst>
        </pc:spChg>
        <pc:spChg chg="add del mod">
          <ac:chgData name="Steiner Andreas 6206 ED" userId="e6377c33-a923-4f14-8587-531c474c7b48" providerId="ADAL" clId="{6ECD27E6-B224-41CD-B4E0-E297462320DD}" dt="2023-11-24T08:50:26.222" v="83297"/>
          <ac:spMkLst>
            <pc:docMk/>
            <pc:sldMk cId="43921188" sldId="2147478579"/>
            <ac:spMk id="545" creationId="{1D0238E7-5286-080B-BB73-FC3FA07BBF0C}"/>
          </ac:spMkLst>
        </pc:spChg>
        <pc:spChg chg="add del mod">
          <ac:chgData name="Steiner Andreas 6206 ED" userId="e6377c33-a923-4f14-8587-531c474c7b48" providerId="ADAL" clId="{6ECD27E6-B224-41CD-B4E0-E297462320DD}" dt="2023-11-24T08:50:28.141" v="83452"/>
          <ac:spMkLst>
            <pc:docMk/>
            <pc:sldMk cId="43921188" sldId="2147478579"/>
            <ac:spMk id="546" creationId="{F82D4241-5553-8671-E9CB-845A5BB13B30}"/>
          </ac:spMkLst>
        </pc:spChg>
        <pc:spChg chg="add del mod">
          <ac:chgData name="Steiner Andreas 6206 ED" userId="e6377c33-a923-4f14-8587-531c474c7b48" providerId="ADAL" clId="{6ECD27E6-B224-41CD-B4E0-E297462320DD}" dt="2023-11-24T08:50:30.038" v="83607"/>
          <ac:spMkLst>
            <pc:docMk/>
            <pc:sldMk cId="43921188" sldId="2147478579"/>
            <ac:spMk id="547" creationId="{D0C583F0-2C6C-8FF6-E12C-C908F4818BE0}"/>
          </ac:spMkLst>
        </pc:spChg>
        <pc:spChg chg="add del mod">
          <ac:chgData name="Steiner Andreas 6206 ED" userId="e6377c33-a923-4f14-8587-531c474c7b48" providerId="ADAL" clId="{6ECD27E6-B224-41CD-B4E0-E297462320DD}" dt="2023-11-24T08:50:32.066" v="83762"/>
          <ac:spMkLst>
            <pc:docMk/>
            <pc:sldMk cId="43921188" sldId="2147478579"/>
            <ac:spMk id="548" creationId="{51FD9C11-A46C-6791-A730-86F49C86B371}"/>
          </ac:spMkLst>
        </pc:spChg>
        <pc:spChg chg="add del mod">
          <ac:chgData name="Steiner Andreas 6206 ED" userId="e6377c33-a923-4f14-8587-531c474c7b48" providerId="ADAL" clId="{6ECD27E6-B224-41CD-B4E0-E297462320DD}" dt="2023-11-24T08:50:34.121" v="83917"/>
          <ac:spMkLst>
            <pc:docMk/>
            <pc:sldMk cId="43921188" sldId="2147478579"/>
            <ac:spMk id="549" creationId="{8BBFC135-0BED-2064-E6B5-C47F43F08817}"/>
          </ac:spMkLst>
        </pc:spChg>
        <pc:spChg chg="add del mod">
          <ac:chgData name="Steiner Andreas 6206 ED" userId="e6377c33-a923-4f14-8587-531c474c7b48" providerId="ADAL" clId="{6ECD27E6-B224-41CD-B4E0-E297462320DD}" dt="2023-11-24T08:50:36.354" v="84072"/>
          <ac:spMkLst>
            <pc:docMk/>
            <pc:sldMk cId="43921188" sldId="2147478579"/>
            <ac:spMk id="550" creationId="{59F9B68B-947A-C919-D59E-56E086185FEE}"/>
          </ac:spMkLst>
        </pc:spChg>
        <pc:spChg chg="add del mod">
          <ac:chgData name="Steiner Andreas 6206 ED" userId="e6377c33-a923-4f14-8587-531c474c7b48" providerId="ADAL" clId="{6ECD27E6-B224-41CD-B4E0-E297462320DD}" dt="2023-11-24T08:50:38.325" v="84227"/>
          <ac:spMkLst>
            <pc:docMk/>
            <pc:sldMk cId="43921188" sldId="2147478579"/>
            <ac:spMk id="551" creationId="{A313B7B0-FB22-2131-5BE5-13F2DD76BE21}"/>
          </ac:spMkLst>
        </pc:spChg>
        <pc:spChg chg="add del mod">
          <ac:chgData name="Steiner Andreas 6206 ED" userId="e6377c33-a923-4f14-8587-531c474c7b48" providerId="ADAL" clId="{6ECD27E6-B224-41CD-B4E0-E297462320DD}" dt="2023-11-24T08:50:40.287" v="84382"/>
          <ac:spMkLst>
            <pc:docMk/>
            <pc:sldMk cId="43921188" sldId="2147478579"/>
            <ac:spMk id="552" creationId="{8956FB04-4574-17DE-C265-386001AD8774}"/>
          </ac:spMkLst>
        </pc:spChg>
        <pc:spChg chg="add del mod">
          <ac:chgData name="Steiner Andreas 6206 ED" userId="e6377c33-a923-4f14-8587-531c474c7b48" providerId="ADAL" clId="{6ECD27E6-B224-41CD-B4E0-E297462320DD}" dt="2023-11-24T08:50:42.308" v="84537"/>
          <ac:spMkLst>
            <pc:docMk/>
            <pc:sldMk cId="43921188" sldId="2147478579"/>
            <ac:spMk id="553" creationId="{65942C82-FE37-0B9B-78E4-59C268C62C6B}"/>
          </ac:spMkLst>
        </pc:spChg>
        <pc:spChg chg="add del mod">
          <ac:chgData name="Steiner Andreas 6206 ED" userId="e6377c33-a923-4f14-8587-531c474c7b48" providerId="ADAL" clId="{6ECD27E6-B224-41CD-B4E0-E297462320DD}" dt="2023-11-24T08:50:44.419" v="84692"/>
          <ac:spMkLst>
            <pc:docMk/>
            <pc:sldMk cId="43921188" sldId="2147478579"/>
            <ac:spMk id="554" creationId="{D40DBA7F-CBA0-17C4-1F02-B46353369BCD}"/>
          </ac:spMkLst>
        </pc:spChg>
        <pc:spChg chg="add del mod">
          <ac:chgData name="Steiner Andreas 6206 ED" userId="e6377c33-a923-4f14-8587-531c474c7b48" providerId="ADAL" clId="{6ECD27E6-B224-41CD-B4E0-E297462320DD}" dt="2023-11-24T08:50:46.534" v="84847"/>
          <ac:spMkLst>
            <pc:docMk/>
            <pc:sldMk cId="43921188" sldId="2147478579"/>
            <ac:spMk id="555" creationId="{B040122C-750C-F741-D08F-8A4DF01E7C8B}"/>
          </ac:spMkLst>
        </pc:spChg>
        <pc:spChg chg="add del mod">
          <ac:chgData name="Steiner Andreas 6206 ED" userId="e6377c33-a923-4f14-8587-531c474c7b48" providerId="ADAL" clId="{6ECD27E6-B224-41CD-B4E0-E297462320DD}" dt="2023-11-24T08:50:48.686" v="85002"/>
          <ac:spMkLst>
            <pc:docMk/>
            <pc:sldMk cId="43921188" sldId="2147478579"/>
            <ac:spMk id="556" creationId="{20419FA7-3C2B-B99F-FD7B-C69766337965}"/>
          </ac:spMkLst>
        </pc:spChg>
        <pc:spChg chg="add del mod">
          <ac:chgData name="Steiner Andreas 6206 ED" userId="e6377c33-a923-4f14-8587-531c474c7b48" providerId="ADAL" clId="{6ECD27E6-B224-41CD-B4E0-E297462320DD}" dt="2023-11-24T08:50:50.780" v="85157"/>
          <ac:spMkLst>
            <pc:docMk/>
            <pc:sldMk cId="43921188" sldId="2147478579"/>
            <ac:spMk id="557" creationId="{91ED13B7-B3BA-9358-F34F-C07D81013DD6}"/>
          </ac:spMkLst>
        </pc:spChg>
        <pc:spChg chg="add del mod">
          <ac:chgData name="Steiner Andreas 6206 ED" userId="e6377c33-a923-4f14-8587-531c474c7b48" providerId="ADAL" clId="{6ECD27E6-B224-41CD-B4E0-E297462320DD}" dt="2023-11-24T08:50:52.924" v="85312"/>
          <ac:spMkLst>
            <pc:docMk/>
            <pc:sldMk cId="43921188" sldId="2147478579"/>
            <ac:spMk id="558" creationId="{A4BFF0E6-6D36-24F1-D6FB-B3CF689EF34F}"/>
          </ac:spMkLst>
        </pc:spChg>
        <pc:spChg chg="add del mod">
          <ac:chgData name="Steiner Andreas 6206 ED" userId="e6377c33-a923-4f14-8587-531c474c7b48" providerId="ADAL" clId="{6ECD27E6-B224-41CD-B4E0-E297462320DD}" dt="2023-11-24T08:50:54.842" v="85467"/>
          <ac:spMkLst>
            <pc:docMk/>
            <pc:sldMk cId="43921188" sldId="2147478579"/>
            <ac:spMk id="559" creationId="{565A1530-896D-D4D2-74BB-4B315F01413A}"/>
          </ac:spMkLst>
        </pc:spChg>
        <pc:spChg chg="add del mod">
          <ac:chgData name="Steiner Andreas 6206 ED" userId="e6377c33-a923-4f14-8587-531c474c7b48" providerId="ADAL" clId="{6ECD27E6-B224-41CD-B4E0-E297462320DD}" dt="2023-11-24T08:50:56.755" v="85622"/>
          <ac:spMkLst>
            <pc:docMk/>
            <pc:sldMk cId="43921188" sldId="2147478579"/>
            <ac:spMk id="560" creationId="{96F2C71D-C19E-0E1D-783E-DCA523EFD470}"/>
          </ac:spMkLst>
        </pc:spChg>
        <pc:spChg chg="add del mod">
          <ac:chgData name="Steiner Andreas 6206 ED" userId="e6377c33-a923-4f14-8587-531c474c7b48" providerId="ADAL" clId="{6ECD27E6-B224-41CD-B4E0-E297462320DD}" dt="2023-11-24T08:50:58.909" v="85777"/>
          <ac:spMkLst>
            <pc:docMk/>
            <pc:sldMk cId="43921188" sldId="2147478579"/>
            <ac:spMk id="561" creationId="{F602D7BB-DEDD-5C51-F21E-B20CFB959809}"/>
          </ac:spMkLst>
        </pc:spChg>
        <pc:spChg chg="add del mod">
          <ac:chgData name="Steiner Andreas 6206 ED" userId="e6377c33-a923-4f14-8587-531c474c7b48" providerId="ADAL" clId="{6ECD27E6-B224-41CD-B4E0-E297462320DD}" dt="2023-11-24T08:51:00.900" v="85932"/>
          <ac:spMkLst>
            <pc:docMk/>
            <pc:sldMk cId="43921188" sldId="2147478579"/>
            <ac:spMk id="562" creationId="{88911F1B-2A12-D7E2-2A42-ABA764DB3E62}"/>
          </ac:spMkLst>
        </pc:spChg>
        <pc:spChg chg="add del mod">
          <ac:chgData name="Steiner Andreas 6206 ED" userId="e6377c33-a923-4f14-8587-531c474c7b48" providerId="ADAL" clId="{6ECD27E6-B224-41CD-B4E0-E297462320DD}" dt="2023-11-24T08:51:02.867" v="86087"/>
          <ac:spMkLst>
            <pc:docMk/>
            <pc:sldMk cId="43921188" sldId="2147478579"/>
            <ac:spMk id="563" creationId="{F9EC4A7D-663D-44A2-CFD7-82F1BF449B96}"/>
          </ac:spMkLst>
        </pc:spChg>
        <pc:spChg chg="add del mod">
          <ac:chgData name="Steiner Andreas 6206 ED" userId="e6377c33-a923-4f14-8587-531c474c7b48" providerId="ADAL" clId="{6ECD27E6-B224-41CD-B4E0-E297462320DD}" dt="2023-11-24T08:51:04.725" v="86242"/>
          <ac:spMkLst>
            <pc:docMk/>
            <pc:sldMk cId="43921188" sldId="2147478579"/>
            <ac:spMk id="564" creationId="{71991BFC-B4F4-CFE3-91B7-502BB38B3528}"/>
          </ac:spMkLst>
        </pc:spChg>
        <pc:spChg chg="add del mod">
          <ac:chgData name="Steiner Andreas 6206 ED" userId="e6377c33-a923-4f14-8587-531c474c7b48" providerId="ADAL" clId="{6ECD27E6-B224-41CD-B4E0-E297462320DD}" dt="2023-11-24T08:51:06.652" v="86397"/>
          <ac:spMkLst>
            <pc:docMk/>
            <pc:sldMk cId="43921188" sldId="2147478579"/>
            <ac:spMk id="565" creationId="{49DC123F-71C4-8CC0-BC4C-9521298245CC}"/>
          </ac:spMkLst>
        </pc:spChg>
        <pc:spChg chg="add del mod">
          <ac:chgData name="Steiner Andreas 6206 ED" userId="e6377c33-a923-4f14-8587-531c474c7b48" providerId="ADAL" clId="{6ECD27E6-B224-41CD-B4E0-E297462320DD}" dt="2023-11-24T08:51:08.624" v="86552"/>
          <ac:spMkLst>
            <pc:docMk/>
            <pc:sldMk cId="43921188" sldId="2147478579"/>
            <ac:spMk id="566" creationId="{5648AA8E-BE45-069E-FBAD-3996DCF602FF}"/>
          </ac:spMkLst>
        </pc:spChg>
        <pc:spChg chg="add del mod">
          <ac:chgData name="Steiner Andreas 6206 ED" userId="e6377c33-a923-4f14-8587-531c474c7b48" providerId="ADAL" clId="{6ECD27E6-B224-41CD-B4E0-E297462320DD}" dt="2023-11-24T08:51:10.657" v="86707"/>
          <ac:spMkLst>
            <pc:docMk/>
            <pc:sldMk cId="43921188" sldId="2147478579"/>
            <ac:spMk id="567" creationId="{5F67CE11-EAB4-947C-ADA3-C1B20B2B1886}"/>
          </ac:spMkLst>
        </pc:spChg>
        <pc:spChg chg="add del mod">
          <ac:chgData name="Steiner Andreas 6206 ED" userId="e6377c33-a923-4f14-8587-531c474c7b48" providerId="ADAL" clId="{6ECD27E6-B224-41CD-B4E0-E297462320DD}" dt="2023-11-24T08:51:12.537" v="86862"/>
          <ac:spMkLst>
            <pc:docMk/>
            <pc:sldMk cId="43921188" sldId="2147478579"/>
            <ac:spMk id="568" creationId="{BA2DA97F-9AA8-CCD3-0189-5064E5443502}"/>
          </ac:spMkLst>
        </pc:spChg>
        <pc:spChg chg="add del mod">
          <ac:chgData name="Steiner Andreas 6206 ED" userId="e6377c33-a923-4f14-8587-531c474c7b48" providerId="ADAL" clId="{6ECD27E6-B224-41CD-B4E0-E297462320DD}" dt="2023-11-24T08:51:14.707" v="87017"/>
          <ac:spMkLst>
            <pc:docMk/>
            <pc:sldMk cId="43921188" sldId="2147478579"/>
            <ac:spMk id="569" creationId="{25C97B84-F4BF-4D06-9697-2D1A7ABB0C94}"/>
          </ac:spMkLst>
        </pc:spChg>
        <pc:spChg chg="add del mod">
          <ac:chgData name="Steiner Andreas 6206 ED" userId="e6377c33-a923-4f14-8587-531c474c7b48" providerId="ADAL" clId="{6ECD27E6-B224-41CD-B4E0-E297462320DD}" dt="2023-11-24T08:51:16.835" v="87172"/>
          <ac:spMkLst>
            <pc:docMk/>
            <pc:sldMk cId="43921188" sldId="2147478579"/>
            <ac:spMk id="570" creationId="{1B6005E5-D85E-C016-2752-E1E761899A4A}"/>
          </ac:spMkLst>
        </pc:spChg>
        <pc:spChg chg="add del mod">
          <ac:chgData name="Steiner Andreas 6206 ED" userId="e6377c33-a923-4f14-8587-531c474c7b48" providerId="ADAL" clId="{6ECD27E6-B224-41CD-B4E0-E297462320DD}" dt="2023-11-24T08:51:18.741" v="87327"/>
          <ac:spMkLst>
            <pc:docMk/>
            <pc:sldMk cId="43921188" sldId="2147478579"/>
            <ac:spMk id="571" creationId="{347EB4E1-34E4-F184-45A8-DA6826ADB4BD}"/>
          </ac:spMkLst>
        </pc:spChg>
        <pc:spChg chg="add del mod">
          <ac:chgData name="Steiner Andreas 6206 ED" userId="e6377c33-a923-4f14-8587-531c474c7b48" providerId="ADAL" clId="{6ECD27E6-B224-41CD-B4E0-E297462320DD}" dt="2023-11-24T08:51:20.778" v="87482"/>
          <ac:spMkLst>
            <pc:docMk/>
            <pc:sldMk cId="43921188" sldId="2147478579"/>
            <ac:spMk id="572" creationId="{3921FE4B-304A-4A7E-B4E2-F49E753E785C}"/>
          </ac:spMkLst>
        </pc:spChg>
        <pc:spChg chg="add del mod">
          <ac:chgData name="Steiner Andreas 6206 ED" userId="e6377c33-a923-4f14-8587-531c474c7b48" providerId="ADAL" clId="{6ECD27E6-B224-41CD-B4E0-E297462320DD}" dt="2023-11-24T08:51:22.735" v="87637"/>
          <ac:spMkLst>
            <pc:docMk/>
            <pc:sldMk cId="43921188" sldId="2147478579"/>
            <ac:spMk id="573" creationId="{C00765B4-992B-8080-406B-E12E9F8E7990}"/>
          </ac:spMkLst>
        </pc:spChg>
        <pc:spChg chg="add del mod">
          <ac:chgData name="Steiner Andreas 6206 ED" userId="e6377c33-a923-4f14-8587-531c474c7b48" providerId="ADAL" clId="{6ECD27E6-B224-41CD-B4E0-E297462320DD}" dt="2023-11-24T08:51:24.669" v="87792"/>
          <ac:spMkLst>
            <pc:docMk/>
            <pc:sldMk cId="43921188" sldId="2147478579"/>
            <ac:spMk id="574" creationId="{E0B26173-1D2D-CDF9-9A77-547AB366D0D3}"/>
          </ac:spMkLst>
        </pc:spChg>
        <pc:spChg chg="add del mod">
          <ac:chgData name="Steiner Andreas 6206 ED" userId="e6377c33-a923-4f14-8587-531c474c7b48" providerId="ADAL" clId="{6ECD27E6-B224-41CD-B4E0-E297462320DD}" dt="2023-11-24T08:51:26.542" v="87947"/>
          <ac:spMkLst>
            <pc:docMk/>
            <pc:sldMk cId="43921188" sldId="2147478579"/>
            <ac:spMk id="575" creationId="{2C2B8BDE-E818-7678-82CC-243AF3942EB1}"/>
          </ac:spMkLst>
        </pc:spChg>
        <pc:spChg chg="add del mod">
          <ac:chgData name="Steiner Andreas 6206 ED" userId="e6377c33-a923-4f14-8587-531c474c7b48" providerId="ADAL" clId="{6ECD27E6-B224-41CD-B4E0-E297462320DD}" dt="2023-11-24T08:51:28.437" v="88102"/>
          <ac:spMkLst>
            <pc:docMk/>
            <pc:sldMk cId="43921188" sldId="2147478579"/>
            <ac:spMk id="576" creationId="{FD298089-39BC-46B0-6532-F472EE15A1FA}"/>
          </ac:spMkLst>
        </pc:spChg>
        <pc:spChg chg="add del mod">
          <ac:chgData name="Steiner Andreas 6206 ED" userId="e6377c33-a923-4f14-8587-531c474c7b48" providerId="ADAL" clId="{6ECD27E6-B224-41CD-B4E0-E297462320DD}" dt="2023-11-24T08:51:30.372" v="88257"/>
          <ac:spMkLst>
            <pc:docMk/>
            <pc:sldMk cId="43921188" sldId="2147478579"/>
            <ac:spMk id="577" creationId="{7C9F65F6-9882-D4FE-48C8-FE28D4307409}"/>
          </ac:spMkLst>
        </pc:spChg>
        <pc:spChg chg="add del mod">
          <ac:chgData name="Steiner Andreas 6206 ED" userId="e6377c33-a923-4f14-8587-531c474c7b48" providerId="ADAL" clId="{6ECD27E6-B224-41CD-B4E0-E297462320DD}" dt="2023-11-24T08:51:32.553" v="88412"/>
          <ac:spMkLst>
            <pc:docMk/>
            <pc:sldMk cId="43921188" sldId="2147478579"/>
            <ac:spMk id="578" creationId="{4D387975-0E02-7612-41B9-C8405223E73C}"/>
          </ac:spMkLst>
        </pc:spChg>
        <pc:spChg chg="add del mod">
          <ac:chgData name="Steiner Andreas 6206 ED" userId="e6377c33-a923-4f14-8587-531c474c7b48" providerId="ADAL" clId="{6ECD27E6-B224-41CD-B4E0-E297462320DD}" dt="2023-11-24T08:51:34.535" v="88567"/>
          <ac:spMkLst>
            <pc:docMk/>
            <pc:sldMk cId="43921188" sldId="2147478579"/>
            <ac:spMk id="579" creationId="{F982C2D8-5BCF-E346-E6D8-D4603764CEBE}"/>
          </ac:spMkLst>
        </pc:spChg>
        <pc:spChg chg="add del mod">
          <ac:chgData name="Steiner Andreas 6206 ED" userId="e6377c33-a923-4f14-8587-531c474c7b48" providerId="ADAL" clId="{6ECD27E6-B224-41CD-B4E0-E297462320DD}" dt="2023-11-24T08:51:36.414" v="88722"/>
          <ac:spMkLst>
            <pc:docMk/>
            <pc:sldMk cId="43921188" sldId="2147478579"/>
            <ac:spMk id="580" creationId="{30939182-FA22-4B56-A46C-12D3056919F7}"/>
          </ac:spMkLst>
        </pc:spChg>
        <pc:spChg chg="add del mod">
          <ac:chgData name="Steiner Andreas 6206 ED" userId="e6377c33-a923-4f14-8587-531c474c7b48" providerId="ADAL" clId="{6ECD27E6-B224-41CD-B4E0-E297462320DD}" dt="2023-11-24T08:51:38.356" v="88877"/>
          <ac:spMkLst>
            <pc:docMk/>
            <pc:sldMk cId="43921188" sldId="2147478579"/>
            <ac:spMk id="581" creationId="{B42FA63C-AA37-CB5C-0B5C-014D73A54BD2}"/>
          </ac:spMkLst>
        </pc:spChg>
        <pc:spChg chg="add del mod">
          <ac:chgData name="Steiner Andreas 6206 ED" userId="e6377c33-a923-4f14-8587-531c474c7b48" providerId="ADAL" clId="{6ECD27E6-B224-41CD-B4E0-E297462320DD}" dt="2023-11-24T08:51:40.285" v="89032"/>
          <ac:spMkLst>
            <pc:docMk/>
            <pc:sldMk cId="43921188" sldId="2147478579"/>
            <ac:spMk id="582" creationId="{BE552E01-AF1C-B81D-F013-C8281CF0EEFE}"/>
          </ac:spMkLst>
        </pc:spChg>
        <pc:spChg chg="add del mod">
          <ac:chgData name="Steiner Andreas 6206 ED" userId="e6377c33-a923-4f14-8587-531c474c7b48" providerId="ADAL" clId="{6ECD27E6-B224-41CD-B4E0-E297462320DD}" dt="2023-11-24T08:51:42.255" v="89187"/>
          <ac:spMkLst>
            <pc:docMk/>
            <pc:sldMk cId="43921188" sldId="2147478579"/>
            <ac:spMk id="583" creationId="{658D76E8-1452-245F-FD9C-5E323234105F}"/>
          </ac:spMkLst>
        </pc:spChg>
        <pc:spChg chg="add del mod">
          <ac:chgData name="Steiner Andreas 6206 ED" userId="e6377c33-a923-4f14-8587-531c474c7b48" providerId="ADAL" clId="{6ECD27E6-B224-41CD-B4E0-E297462320DD}" dt="2023-11-24T08:51:44.372" v="89342"/>
          <ac:spMkLst>
            <pc:docMk/>
            <pc:sldMk cId="43921188" sldId="2147478579"/>
            <ac:spMk id="584" creationId="{499997D0-9C56-C8A2-4247-594376BDE8BC}"/>
          </ac:spMkLst>
        </pc:spChg>
        <pc:spChg chg="add del mod">
          <ac:chgData name="Steiner Andreas 6206 ED" userId="e6377c33-a923-4f14-8587-531c474c7b48" providerId="ADAL" clId="{6ECD27E6-B224-41CD-B4E0-E297462320DD}" dt="2023-11-24T08:51:46.370" v="89497"/>
          <ac:spMkLst>
            <pc:docMk/>
            <pc:sldMk cId="43921188" sldId="2147478579"/>
            <ac:spMk id="585" creationId="{0E7B7C81-FF6E-0D4A-E856-2A444C866956}"/>
          </ac:spMkLst>
        </pc:spChg>
        <pc:spChg chg="add del mod">
          <ac:chgData name="Steiner Andreas 6206 ED" userId="e6377c33-a923-4f14-8587-531c474c7b48" providerId="ADAL" clId="{6ECD27E6-B224-41CD-B4E0-E297462320DD}" dt="2023-11-24T08:51:48.264" v="89652"/>
          <ac:spMkLst>
            <pc:docMk/>
            <pc:sldMk cId="43921188" sldId="2147478579"/>
            <ac:spMk id="586" creationId="{C712DD99-162E-105F-A5AB-DE3918A57E4B}"/>
          </ac:spMkLst>
        </pc:spChg>
        <pc:spChg chg="add del mod">
          <ac:chgData name="Steiner Andreas 6206 ED" userId="e6377c33-a923-4f14-8587-531c474c7b48" providerId="ADAL" clId="{6ECD27E6-B224-41CD-B4E0-E297462320DD}" dt="2023-11-24T08:51:50.179" v="89807"/>
          <ac:spMkLst>
            <pc:docMk/>
            <pc:sldMk cId="43921188" sldId="2147478579"/>
            <ac:spMk id="587" creationId="{3A1AE4B0-FDB6-D029-447D-65EBF5926F0E}"/>
          </ac:spMkLst>
        </pc:spChg>
        <pc:spChg chg="add del mod">
          <ac:chgData name="Steiner Andreas 6206 ED" userId="e6377c33-a923-4f14-8587-531c474c7b48" providerId="ADAL" clId="{6ECD27E6-B224-41CD-B4E0-E297462320DD}" dt="2023-11-24T08:51:52.100" v="89962"/>
          <ac:spMkLst>
            <pc:docMk/>
            <pc:sldMk cId="43921188" sldId="2147478579"/>
            <ac:spMk id="588" creationId="{55F46242-0102-BF7B-CE20-A3638BD063A4}"/>
          </ac:spMkLst>
        </pc:spChg>
        <pc:spChg chg="add del mod">
          <ac:chgData name="Steiner Andreas 6206 ED" userId="e6377c33-a923-4f14-8587-531c474c7b48" providerId="ADAL" clId="{6ECD27E6-B224-41CD-B4E0-E297462320DD}" dt="2023-11-24T08:51:54.044" v="90117"/>
          <ac:spMkLst>
            <pc:docMk/>
            <pc:sldMk cId="43921188" sldId="2147478579"/>
            <ac:spMk id="589" creationId="{F5CFA230-C3E3-CBD1-0744-02879046EA1E}"/>
          </ac:spMkLst>
        </pc:spChg>
        <pc:spChg chg="add del mod">
          <ac:chgData name="Steiner Andreas 6206 ED" userId="e6377c33-a923-4f14-8587-531c474c7b48" providerId="ADAL" clId="{6ECD27E6-B224-41CD-B4E0-E297462320DD}" dt="2023-11-24T08:51:56.067" v="90272"/>
          <ac:spMkLst>
            <pc:docMk/>
            <pc:sldMk cId="43921188" sldId="2147478579"/>
            <ac:spMk id="590" creationId="{4CB5C57E-1B45-B7D5-6027-9AE9FE37D792}"/>
          </ac:spMkLst>
        </pc:spChg>
        <pc:spChg chg="add del mod">
          <ac:chgData name="Steiner Andreas 6206 ED" userId="e6377c33-a923-4f14-8587-531c474c7b48" providerId="ADAL" clId="{6ECD27E6-B224-41CD-B4E0-E297462320DD}" dt="2023-11-24T08:51:57.986" v="90427"/>
          <ac:spMkLst>
            <pc:docMk/>
            <pc:sldMk cId="43921188" sldId="2147478579"/>
            <ac:spMk id="591" creationId="{0E67660B-FAEC-27D6-7900-99FD45EA2352}"/>
          </ac:spMkLst>
        </pc:spChg>
        <pc:spChg chg="add del mod">
          <ac:chgData name="Steiner Andreas 6206 ED" userId="e6377c33-a923-4f14-8587-531c474c7b48" providerId="ADAL" clId="{6ECD27E6-B224-41CD-B4E0-E297462320DD}" dt="2023-11-24T08:52:00.111" v="90582"/>
          <ac:spMkLst>
            <pc:docMk/>
            <pc:sldMk cId="43921188" sldId="2147478579"/>
            <ac:spMk id="592" creationId="{906861F5-8C8A-CA5E-45F7-78FDAFE80E27}"/>
          </ac:spMkLst>
        </pc:spChg>
        <pc:spChg chg="add del mod">
          <ac:chgData name="Steiner Andreas 6206 ED" userId="e6377c33-a923-4f14-8587-531c474c7b48" providerId="ADAL" clId="{6ECD27E6-B224-41CD-B4E0-E297462320DD}" dt="2023-11-24T08:52:02.074" v="90737"/>
          <ac:spMkLst>
            <pc:docMk/>
            <pc:sldMk cId="43921188" sldId="2147478579"/>
            <ac:spMk id="593" creationId="{FD1CF73F-68BF-B13B-35A0-AE7B5571BA76}"/>
          </ac:spMkLst>
        </pc:spChg>
        <pc:spChg chg="add del mod">
          <ac:chgData name="Steiner Andreas 6206 ED" userId="e6377c33-a923-4f14-8587-531c474c7b48" providerId="ADAL" clId="{6ECD27E6-B224-41CD-B4E0-E297462320DD}" dt="2023-11-24T08:52:04.005" v="90892"/>
          <ac:spMkLst>
            <pc:docMk/>
            <pc:sldMk cId="43921188" sldId="2147478579"/>
            <ac:spMk id="594" creationId="{EB66B7B4-3157-5043-5C9F-B88787AAA354}"/>
          </ac:spMkLst>
        </pc:spChg>
        <pc:spChg chg="add del mod">
          <ac:chgData name="Steiner Andreas 6206 ED" userId="e6377c33-a923-4f14-8587-531c474c7b48" providerId="ADAL" clId="{6ECD27E6-B224-41CD-B4E0-E297462320DD}" dt="2023-11-24T08:52:06.159" v="91047"/>
          <ac:spMkLst>
            <pc:docMk/>
            <pc:sldMk cId="43921188" sldId="2147478579"/>
            <ac:spMk id="595" creationId="{1DE31714-94F3-C18F-9B1D-8382284EACD3}"/>
          </ac:spMkLst>
        </pc:spChg>
        <pc:spChg chg="add del mod">
          <ac:chgData name="Steiner Andreas 6206 ED" userId="e6377c33-a923-4f14-8587-531c474c7b48" providerId="ADAL" clId="{6ECD27E6-B224-41CD-B4E0-E297462320DD}" dt="2023-11-24T08:52:08.157" v="91202"/>
          <ac:spMkLst>
            <pc:docMk/>
            <pc:sldMk cId="43921188" sldId="2147478579"/>
            <ac:spMk id="596" creationId="{74E9013E-80A0-8E45-0ECA-FB38B05A5623}"/>
          </ac:spMkLst>
        </pc:spChg>
        <pc:spChg chg="add del mod">
          <ac:chgData name="Steiner Andreas 6206 ED" userId="e6377c33-a923-4f14-8587-531c474c7b48" providerId="ADAL" clId="{6ECD27E6-B224-41CD-B4E0-E297462320DD}" dt="2023-11-24T08:52:10.037" v="91357"/>
          <ac:spMkLst>
            <pc:docMk/>
            <pc:sldMk cId="43921188" sldId="2147478579"/>
            <ac:spMk id="597" creationId="{76DF87ED-8468-2CF6-9C67-2AFD5FD8A7F0}"/>
          </ac:spMkLst>
        </pc:spChg>
        <pc:spChg chg="add del mod">
          <ac:chgData name="Steiner Andreas 6206 ED" userId="e6377c33-a923-4f14-8587-531c474c7b48" providerId="ADAL" clId="{6ECD27E6-B224-41CD-B4E0-E297462320DD}" dt="2023-11-24T08:52:11.907" v="91512"/>
          <ac:spMkLst>
            <pc:docMk/>
            <pc:sldMk cId="43921188" sldId="2147478579"/>
            <ac:spMk id="598" creationId="{CB005FB6-BB91-FA31-2E3D-19C843C1512F}"/>
          </ac:spMkLst>
        </pc:spChg>
        <pc:spChg chg="add del mod">
          <ac:chgData name="Steiner Andreas 6206 ED" userId="e6377c33-a923-4f14-8587-531c474c7b48" providerId="ADAL" clId="{6ECD27E6-B224-41CD-B4E0-E297462320DD}" dt="2023-11-24T08:52:13.818" v="91667"/>
          <ac:spMkLst>
            <pc:docMk/>
            <pc:sldMk cId="43921188" sldId="2147478579"/>
            <ac:spMk id="599" creationId="{2E9FE15A-6870-BF25-4306-2009ACC873A4}"/>
          </ac:spMkLst>
        </pc:spChg>
        <pc:spChg chg="add del mod">
          <ac:chgData name="Steiner Andreas 6206 ED" userId="e6377c33-a923-4f14-8587-531c474c7b48" providerId="ADAL" clId="{6ECD27E6-B224-41CD-B4E0-E297462320DD}" dt="2023-11-24T08:52:15.750" v="91822"/>
          <ac:spMkLst>
            <pc:docMk/>
            <pc:sldMk cId="43921188" sldId="2147478579"/>
            <ac:spMk id="600" creationId="{3E637396-E68A-5918-A96F-64ECD7385D54}"/>
          </ac:spMkLst>
        </pc:spChg>
        <pc:spChg chg="add del mod">
          <ac:chgData name="Steiner Andreas 6206 ED" userId="e6377c33-a923-4f14-8587-531c474c7b48" providerId="ADAL" clId="{6ECD27E6-B224-41CD-B4E0-E297462320DD}" dt="2023-11-24T08:52:17.898" v="91977"/>
          <ac:spMkLst>
            <pc:docMk/>
            <pc:sldMk cId="43921188" sldId="2147478579"/>
            <ac:spMk id="601" creationId="{7A96EEC3-2C48-4C56-E1BF-B56E687F69F7}"/>
          </ac:spMkLst>
        </pc:spChg>
        <pc:spChg chg="add del mod">
          <ac:chgData name="Steiner Andreas 6206 ED" userId="e6377c33-a923-4f14-8587-531c474c7b48" providerId="ADAL" clId="{6ECD27E6-B224-41CD-B4E0-E297462320DD}" dt="2023-11-24T08:52:19.845" v="92132"/>
          <ac:spMkLst>
            <pc:docMk/>
            <pc:sldMk cId="43921188" sldId="2147478579"/>
            <ac:spMk id="602" creationId="{7FA42B1D-55F7-C787-0C2D-52443466E463}"/>
          </ac:spMkLst>
        </pc:spChg>
        <pc:spChg chg="add del mod">
          <ac:chgData name="Steiner Andreas 6206 ED" userId="e6377c33-a923-4f14-8587-531c474c7b48" providerId="ADAL" clId="{6ECD27E6-B224-41CD-B4E0-E297462320DD}" dt="2023-11-24T08:52:21.724" v="92287"/>
          <ac:spMkLst>
            <pc:docMk/>
            <pc:sldMk cId="43921188" sldId="2147478579"/>
            <ac:spMk id="603" creationId="{F2D24233-5AFD-4B23-1E36-9372219ED29B}"/>
          </ac:spMkLst>
        </pc:spChg>
        <pc:spChg chg="add del mod">
          <ac:chgData name="Steiner Andreas 6206 ED" userId="e6377c33-a923-4f14-8587-531c474c7b48" providerId="ADAL" clId="{6ECD27E6-B224-41CD-B4E0-E297462320DD}" dt="2023-11-24T08:52:23.773" v="92442"/>
          <ac:spMkLst>
            <pc:docMk/>
            <pc:sldMk cId="43921188" sldId="2147478579"/>
            <ac:spMk id="604" creationId="{A43EF782-661B-1206-E030-EEAF023D940B}"/>
          </ac:spMkLst>
        </pc:spChg>
        <pc:spChg chg="add del mod">
          <ac:chgData name="Steiner Andreas 6206 ED" userId="e6377c33-a923-4f14-8587-531c474c7b48" providerId="ADAL" clId="{6ECD27E6-B224-41CD-B4E0-E297462320DD}" dt="2023-11-24T08:52:25.671" v="92597"/>
          <ac:spMkLst>
            <pc:docMk/>
            <pc:sldMk cId="43921188" sldId="2147478579"/>
            <ac:spMk id="605" creationId="{9A3D1DAB-47C8-2AE2-FB53-85F2AED5D573}"/>
          </ac:spMkLst>
        </pc:spChg>
        <pc:spChg chg="add del mod">
          <ac:chgData name="Steiner Andreas 6206 ED" userId="e6377c33-a923-4f14-8587-531c474c7b48" providerId="ADAL" clId="{6ECD27E6-B224-41CD-B4E0-E297462320DD}" dt="2023-11-24T08:52:27.532" v="92752"/>
          <ac:spMkLst>
            <pc:docMk/>
            <pc:sldMk cId="43921188" sldId="2147478579"/>
            <ac:spMk id="606" creationId="{529E829C-C044-52CD-AC57-C6EF00EB6101}"/>
          </ac:spMkLst>
        </pc:spChg>
        <pc:spChg chg="add del mod">
          <ac:chgData name="Steiner Andreas 6206 ED" userId="e6377c33-a923-4f14-8587-531c474c7b48" providerId="ADAL" clId="{6ECD27E6-B224-41CD-B4E0-E297462320DD}" dt="2023-11-24T08:52:29.573" v="92907"/>
          <ac:spMkLst>
            <pc:docMk/>
            <pc:sldMk cId="43921188" sldId="2147478579"/>
            <ac:spMk id="607" creationId="{3A45C90D-C924-0C34-A8E7-FD2D797BE026}"/>
          </ac:spMkLst>
        </pc:spChg>
        <pc:spChg chg="add del mod">
          <ac:chgData name="Steiner Andreas 6206 ED" userId="e6377c33-a923-4f14-8587-531c474c7b48" providerId="ADAL" clId="{6ECD27E6-B224-41CD-B4E0-E297462320DD}" dt="2023-11-24T08:52:31.544" v="93062"/>
          <ac:spMkLst>
            <pc:docMk/>
            <pc:sldMk cId="43921188" sldId="2147478579"/>
            <ac:spMk id="608" creationId="{91BBA139-34FE-D82D-F5AF-F2CB4FF3288F}"/>
          </ac:spMkLst>
        </pc:spChg>
        <pc:spChg chg="add del mod">
          <ac:chgData name="Steiner Andreas 6206 ED" userId="e6377c33-a923-4f14-8587-531c474c7b48" providerId="ADAL" clId="{6ECD27E6-B224-41CD-B4E0-E297462320DD}" dt="2023-11-24T08:52:33.480" v="93217"/>
          <ac:spMkLst>
            <pc:docMk/>
            <pc:sldMk cId="43921188" sldId="2147478579"/>
            <ac:spMk id="609" creationId="{93BD046B-8576-0366-CDBD-F3DB80E2A965}"/>
          </ac:spMkLst>
        </pc:spChg>
        <pc:spChg chg="add del mod">
          <ac:chgData name="Steiner Andreas 6206 ED" userId="e6377c33-a923-4f14-8587-531c474c7b48" providerId="ADAL" clId="{6ECD27E6-B224-41CD-B4E0-E297462320DD}" dt="2023-11-24T08:52:35.360" v="93372"/>
          <ac:spMkLst>
            <pc:docMk/>
            <pc:sldMk cId="43921188" sldId="2147478579"/>
            <ac:spMk id="610" creationId="{BCC36F09-1226-DC0A-B3E9-166033A4C1AB}"/>
          </ac:spMkLst>
        </pc:spChg>
        <pc:spChg chg="add del mod">
          <ac:chgData name="Steiner Andreas 6206 ED" userId="e6377c33-a923-4f14-8587-531c474c7b48" providerId="ADAL" clId="{6ECD27E6-B224-41CD-B4E0-E297462320DD}" dt="2023-11-24T08:52:37.284" v="93527"/>
          <ac:spMkLst>
            <pc:docMk/>
            <pc:sldMk cId="43921188" sldId="2147478579"/>
            <ac:spMk id="611" creationId="{061B4D8F-CAC8-9326-B2B9-F59562DF5271}"/>
          </ac:spMkLst>
        </pc:spChg>
        <pc:spChg chg="add del mod">
          <ac:chgData name="Steiner Andreas 6206 ED" userId="e6377c33-a923-4f14-8587-531c474c7b48" providerId="ADAL" clId="{6ECD27E6-B224-41CD-B4E0-E297462320DD}" dt="2023-11-24T08:52:39.163" v="93682"/>
          <ac:spMkLst>
            <pc:docMk/>
            <pc:sldMk cId="43921188" sldId="2147478579"/>
            <ac:spMk id="612" creationId="{D461389C-2814-5485-3E9A-396E564AA808}"/>
          </ac:spMkLst>
        </pc:spChg>
        <pc:spChg chg="add del mod">
          <ac:chgData name="Steiner Andreas 6206 ED" userId="e6377c33-a923-4f14-8587-531c474c7b48" providerId="ADAL" clId="{6ECD27E6-B224-41CD-B4E0-E297462320DD}" dt="2023-11-24T08:52:41.220" v="93837"/>
          <ac:spMkLst>
            <pc:docMk/>
            <pc:sldMk cId="43921188" sldId="2147478579"/>
            <ac:spMk id="613" creationId="{CDCAAA7A-4118-A6C7-6DDD-EB8AFE3399B2}"/>
          </ac:spMkLst>
        </pc:spChg>
        <pc:spChg chg="add del mod">
          <ac:chgData name="Steiner Andreas 6206 ED" userId="e6377c33-a923-4f14-8587-531c474c7b48" providerId="ADAL" clId="{6ECD27E6-B224-41CD-B4E0-E297462320DD}" dt="2023-11-24T08:52:43.198" v="93992"/>
          <ac:spMkLst>
            <pc:docMk/>
            <pc:sldMk cId="43921188" sldId="2147478579"/>
            <ac:spMk id="614" creationId="{1A5AF040-8569-8D81-ACEE-A310D5B0D012}"/>
          </ac:spMkLst>
        </pc:spChg>
        <pc:spChg chg="add del mod">
          <ac:chgData name="Steiner Andreas 6206 ED" userId="e6377c33-a923-4f14-8587-531c474c7b48" providerId="ADAL" clId="{6ECD27E6-B224-41CD-B4E0-E297462320DD}" dt="2023-11-24T08:52:45.122" v="94147"/>
          <ac:spMkLst>
            <pc:docMk/>
            <pc:sldMk cId="43921188" sldId="2147478579"/>
            <ac:spMk id="615" creationId="{EBA226DD-3BB5-FF3B-36ED-65172C097B70}"/>
          </ac:spMkLst>
        </pc:spChg>
        <pc:spChg chg="add del mod">
          <ac:chgData name="Steiner Andreas 6206 ED" userId="e6377c33-a923-4f14-8587-531c474c7b48" providerId="ADAL" clId="{6ECD27E6-B224-41CD-B4E0-E297462320DD}" dt="2023-11-24T08:52:47.083" v="94302"/>
          <ac:spMkLst>
            <pc:docMk/>
            <pc:sldMk cId="43921188" sldId="2147478579"/>
            <ac:spMk id="616" creationId="{8BADD77B-D1DC-1C6F-36FB-26897BC9867D}"/>
          </ac:spMkLst>
        </pc:spChg>
        <pc:spChg chg="add del mod">
          <ac:chgData name="Steiner Andreas 6206 ED" userId="e6377c33-a923-4f14-8587-531c474c7b48" providerId="ADAL" clId="{6ECD27E6-B224-41CD-B4E0-E297462320DD}" dt="2023-11-24T08:52:49.125" v="94457"/>
          <ac:spMkLst>
            <pc:docMk/>
            <pc:sldMk cId="43921188" sldId="2147478579"/>
            <ac:spMk id="617" creationId="{5C3AE3ED-B544-1354-70BC-A25CE9F2DED6}"/>
          </ac:spMkLst>
        </pc:spChg>
        <pc:spChg chg="add del mod">
          <ac:chgData name="Steiner Andreas 6206 ED" userId="e6377c33-a923-4f14-8587-531c474c7b48" providerId="ADAL" clId="{6ECD27E6-B224-41CD-B4E0-E297462320DD}" dt="2023-11-24T08:52:51.348" v="94612"/>
          <ac:spMkLst>
            <pc:docMk/>
            <pc:sldMk cId="43921188" sldId="2147478579"/>
            <ac:spMk id="618" creationId="{55078B83-BA45-2C47-F67A-15782A19FD96}"/>
          </ac:spMkLst>
        </pc:spChg>
        <pc:spChg chg="add del mod">
          <ac:chgData name="Steiner Andreas 6206 ED" userId="e6377c33-a923-4f14-8587-531c474c7b48" providerId="ADAL" clId="{6ECD27E6-B224-41CD-B4E0-E297462320DD}" dt="2023-11-24T08:52:53.306" v="94767"/>
          <ac:spMkLst>
            <pc:docMk/>
            <pc:sldMk cId="43921188" sldId="2147478579"/>
            <ac:spMk id="619" creationId="{99B45304-A780-5F73-A3A1-1EAB6D1AAB03}"/>
          </ac:spMkLst>
        </pc:spChg>
        <pc:spChg chg="add del mod">
          <ac:chgData name="Steiner Andreas 6206 ED" userId="e6377c33-a923-4f14-8587-531c474c7b48" providerId="ADAL" clId="{6ECD27E6-B224-41CD-B4E0-E297462320DD}" dt="2023-11-24T08:52:55.247" v="94922"/>
          <ac:spMkLst>
            <pc:docMk/>
            <pc:sldMk cId="43921188" sldId="2147478579"/>
            <ac:spMk id="620" creationId="{8CA4212C-FCC0-35F4-961F-50D2C339B996}"/>
          </ac:spMkLst>
        </pc:spChg>
        <pc:spChg chg="add del mod">
          <ac:chgData name="Steiner Andreas 6206 ED" userId="e6377c33-a923-4f14-8587-531c474c7b48" providerId="ADAL" clId="{6ECD27E6-B224-41CD-B4E0-E297462320DD}" dt="2023-11-24T08:52:57.273" v="95077"/>
          <ac:spMkLst>
            <pc:docMk/>
            <pc:sldMk cId="43921188" sldId="2147478579"/>
            <ac:spMk id="621" creationId="{860877A6-BC68-31C9-2021-E796FFE727AE}"/>
          </ac:spMkLst>
        </pc:spChg>
        <pc:spChg chg="add del mod">
          <ac:chgData name="Steiner Andreas 6206 ED" userId="e6377c33-a923-4f14-8587-531c474c7b48" providerId="ADAL" clId="{6ECD27E6-B224-41CD-B4E0-E297462320DD}" dt="2023-11-24T08:52:59.237" v="95232"/>
          <ac:spMkLst>
            <pc:docMk/>
            <pc:sldMk cId="43921188" sldId="2147478579"/>
            <ac:spMk id="622" creationId="{B795A0AE-4A77-C8AF-2B79-F53201F7167E}"/>
          </ac:spMkLst>
        </pc:spChg>
        <pc:spChg chg="add del mod">
          <ac:chgData name="Steiner Andreas 6206 ED" userId="e6377c33-a923-4f14-8587-531c474c7b48" providerId="ADAL" clId="{6ECD27E6-B224-41CD-B4E0-E297462320DD}" dt="2023-11-24T08:53:01.229" v="95387"/>
          <ac:spMkLst>
            <pc:docMk/>
            <pc:sldMk cId="43921188" sldId="2147478579"/>
            <ac:spMk id="623" creationId="{3004AF57-9D25-B28B-A79D-FEB705F3BC6F}"/>
          </ac:spMkLst>
        </pc:spChg>
        <pc:spChg chg="add del mod">
          <ac:chgData name="Steiner Andreas 6206 ED" userId="e6377c33-a923-4f14-8587-531c474c7b48" providerId="ADAL" clId="{6ECD27E6-B224-41CD-B4E0-E297462320DD}" dt="2023-11-24T08:53:03.343" v="95542"/>
          <ac:spMkLst>
            <pc:docMk/>
            <pc:sldMk cId="43921188" sldId="2147478579"/>
            <ac:spMk id="624" creationId="{78D40732-046C-9BA0-F8CC-8C82AE1950CD}"/>
          </ac:spMkLst>
        </pc:spChg>
        <pc:spChg chg="add del mod">
          <ac:chgData name="Steiner Andreas 6206 ED" userId="e6377c33-a923-4f14-8587-531c474c7b48" providerId="ADAL" clId="{6ECD27E6-B224-41CD-B4E0-E297462320DD}" dt="2023-11-24T08:53:05.342" v="95697"/>
          <ac:spMkLst>
            <pc:docMk/>
            <pc:sldMk cId="43921188" sldId="2147478579"/>
            <ac:spMk id="625" creationId="{26F4835B-6F84-1FE2-9F78-B24306564802}"/>
          </ac:spMkLst>
        </pc:spChg>
        <pc:spChg chg="add del mod">
          <ac:chgData name="Steiner Andreas 6206 ED" userId="e6377c33-a923-4f14-8587-531c474c7b48" providerId="ADAL" clId="{6ECD27E6-B224-41CD-B4E0-E297462320DD}" dt="2023-11-24T08:53:07.201" v="95852"/>
          <ac:spMkLst>
            <pc:docMk/>
            <pc:sldMk cId="43921188" sldId="2147478579"/>
            <ac:spMk id="626" creationId="{20C05187-75AE-3154-6B46-DFDD92AEBF8F}"/>
          </ac:spMkLst>
        </pc:spChg>
        <pc:spChg chg="add del mod">
          <ac:chgData name="Steiner Andreas 6206 ED" userId="e6377c33-a923-4f14-8587-531c474c7b48" providerId="ADAL" clId="{6ECD27E6-B224-41CD-B4E0-E297462320DD}" dt="2023-11-24T08:53:09.149" v="96007"/>
          <ac:spMkLst>
            <pc:docMk/>
            <pc:sldMk cId="43921188" sldId="2147478579"/>
            <ac:spMk id="627" creationId="{E62ECDB9-2F5C-8767-FD07-382D8095329E}"/>
          </ac:spMkLst>
        </pc:spChg>
        <pc:spChg chg="add del mod">
          <ac:chgData name="Steiner Andreas 6206 ED" userId="e6377c33-a923-4f14-8587-531c474c7b48" providerId="ADAL" clId="{6ECD27E6-B224-41CD-B4E0-E297462320DD}" dt="2023-11-24T08:53:11.078" v="96162"/>
          <ac:spMkLst>
            <pc:docMk/>
            <pc:sldMk cId="43921188" sldId="2147478579"/>
            <ac:spMk id="628" creationId="{D3EE0B81-FD33-8099-C80A-E9312FEF4B83}"/>
          </ac:spMkLst>
        </pc:spChg>
        <pc:spChg chg="add del mod">
          <ac:chgData name="Steiner Andreas 6206 ED" userId="e6377c33-a923-4f14-8587-531c474c7b48" providerId="ADAL" clId="{6ECD27E6-B224-41CD-B4E0-E297462320DD}" dt="2023-11-24T08:53:13.042" v="96317"/>
          <ac:spMkLst>
            <pc:docMk/>
            <pc:sldMk cId="43921188" sldId="2147478579"/>
            <ac:spMk id="629" creationId="{5C95331E-B704-FA37-EE05-511BC3C5C385}"/>
          </ac:spMkLst>
        </pc:spChg>
        <pc:spChg chg="add del mod">
          <ac:chgData name="Steiner Andreas 6206 ED" userId="e6377c33-a923-4f14-8587-531c474c7b48" providerId="ADAL" clId="{6ECD27E6-B224-41CD-B4E0-E297462320DD}" dt="2023-11-24T08:53:15.157" v="96472"/>
          <ac:spMkLst>
            <pc:docMk/>
            <pc:sldMk cId="43921188" sldId="2147478579"/>
            <ac:spMk id="630" creationId="{C20304E4-8DCA-894C-95AC-40A51D319FAC}"/>
          </ac:spMkLst>
        </pc:spChg>
        <pc:spChg chg="add del mod">
          <ac:chgData name="Steiner Andreas 6206 ED" userId="e6377c33-a923-4f14-8587-531c474c7b48" providerId="ADAL" clId="{6ECD27E6-B224-41CD-B4E0-E297462320DD}" dt="2023-11-24T08:53:17.109" v="96627"/>
          <ac:spMkLst>
            <pc:docMk/>
            <pc:sldMk cId="43921188" sldId="2147478579"/>
            <ac:spMk id="631" creationId="{B23E1496-30C0-A317-8B79-A6DB9F169C50}"/>
          </ac:spMkLst>
        </pc:spChg>
        <pc:spChg chg="add del mod">
          <ac:chgData name="Steiner Andreas 6206 ED" userId="e6377c33-a923-4f14-8587-531c474c7b48" providerId="ADAL" clId="{6ECD27E6-B224-41CD-B4E0-E297462320DD}" dt="2023-11-24T08:53:19.056" v="96782"/>
          <ac:spMkLst>
            <pc:docMk/>
            <pc:sldMk cId="43921188" sldId="2147478579"/>
            <ac:spMk id="632" creationId="{CDBF28E6-EB5B-5220-D31C-A7F43B641A3E}"/>
          </ac:spMkLst>
        </pc:spChg>
        <pc:spChg chg="add del mod">
          <ac:chgData name="Steiner Andreas 6206 ED" userId="e6377c33-a923-4f14-8587-531c474c7b48" providerId="ADAL" clId="{6ECD27E6-B224-41CD-B4E0-E297462320DD}" dt="2023-11-24T08:53:21.044" v="96937"/>
          <ac:spMkLst>
            <pc:docMk/>
            <pc:sldMk cId="43921188" sldId="2147478579"/>
            <ac:spMk id="633" creationId="{E8F8E545-FA6E-CE76-E0CC-3320A0FD90FE}"/>
          </ac:spMkLst>
        </pc:spChg>
        <pc:spChg chg="add del mod">
          <ac:chgData name="Steiner Andreas 6206 ED" userId="e6377c33-a923-4f14-8587-531c474c7b48" providerId="ADAL" clId="{6ECD27E6-B224-41CD-B4E0-E297462320DD}" dt="2023-11-24T08:53:23.002" v="97092"/>
          <ac:spMkLst>
            <pc:docMk/>
            <pc:sldMk cId="43921188" sldId="2147478579"/>
            <ac:spMk id="634" creationId="{6981DEFE-4239-1F2F-2AE3-5CA474567639}"/>
          </ac:spMkLst>
        </pc:spChg>
        <pc:spChg chg="add del mod">
          <ac:chgData name="Steiner Andreas 6206 ED" userId="e6377c33-a923-4f14-8587-531c474c7b48" providerId="ADAL" clId="{6ECD27E6-B224-41CD-B4E0-E297462320DD}" dt="2023-11-24T08:53:25.105" v="97247"/>
          <ac:spMkLst>
            <pc:docMk/>
            <pc:sldMk cId="43921188" sldId="2147478579"/>
            <ac:spMk id="635" creationId="{83FB14A1-AE66-F72A-101B-E6AF5CA3896A}"/>
          </ac:spMkLst>
        </pc:spChg>
        <pc:spChg chg="add del mod">
          <ac:chgData name="Steiner Andreas 6206 ED" userId="e6377c33-a923-4f14-8587-531c474c7b48" providerId="ADAL" clId="{6ECD27E6-B224-41CD-B4E0-E297462320DD}" dt="2023-11-24T08:53:27.115" v="97402"/>
          <ac:spMkLst>
            <pc:docMk/>
            <pc:sldMk cId="43921188" sldId="2147478579"/>
            <ac:spMk id="636" creationId="{6B3AD391-DE79-B8C4-BB2F-6DBF98134513}"/>
          </ac:spMkLst>
        </pc:spChg>
        <pc:spChg chg="add del mod">
          <ac:chgData name="Steiner Andreas 6206 ED" userId="e6377c33-a923-4f14-8587-531c474c7b48" providerId="ADAL" clId="{6ECD27E6-B224-41CD-B4E0-E297462320DD}" dt="2023-11-24T08:53:29.011" v="97557"/>
          <ac:spMkLst>
            <pc:docMk/>
            <pc:sldMk cId="43921188" sldId="2147478579"/>
            <ac:spMk id="637" creationId="{48D52F85-5F35-58AC-6F00-C05B57BBF71A}"/>
          </ac:spMkLst>
        </pc:spChg>
        <pc:spChg chg="add del mod">
          <ac:chgData name="Steiner Andreas 6206 ED" userId="e6377c33-a923-4f14-8587-531c474c7b48" providerId="ADAL" clId="{6ECD27E6-B224-41CD-B4E0-E297462320DD}" dt="2023-11-24T08:53:30.920" v="97712"/>
          <ac:spMkLst>
            <pc:docMk/>
            <pc:sldMk cId="43921188" sldId="2147478579"/>
            <ac:spMk id="638" creationId="{287B3DD8-043B-39A9-8DD5-9C36EA7EB8FD}"/>
          </ac:spMkLst>
        </pc:spChg>
        <pc:spChg chg="add del mod">
          <ac:chgData name="Steiner Andreas 6206 ED" userId="e6377c33-a923-4f14-8587-531c474c7b48" providerId="ADAL" clId="{6ECD27E6-B224-41CD-B4E0-E297462320DD}" dt="2023-11-24T08:53:32.856" v="97867"/>
          <ac:spMkLst>
            <pc:docMk/>
            <pc:sldMk cId="43921188" sldId="2147478579"/>
            <ac:spMk id="639" creationId="{95EC946C-942D-7892-76A2-B58BD90B1442}"/>
          </ac:spMkLst>
        </pc:spChg>
        <pc:spChg chg="add del mod">
          <ac:chgData name="Steiner Andreas 6206 ED" userId="e6377c33-a923-4f14-8587-531c474c7b48" providerId="ADAL" clId="{6ECD27E6-B224-41CD-B4E0-E297462320DD}" dt="2023-11-24T08:53:34.778" v="98022"/>
          <ac:spMkLst>
            <pc:docMk/>
            <pc:sldMk cId="43921188" sldId="2147478579"/>
            <ac:spMk id="640" creationId="{1F578959-E679-D773-019A-4B1F061BC782}"/>
          </ac:spMkLst>
        </pc:spChg>
        <pc:spChg chg="add del mod">
          <ac:chgData name="Steiner Andreas 6206 ED" userId="e6377c33-a923-4f14-8587-531c474c7b48" providerId="ADAL" clId="{6ECD27E6-B224-41CD-B4E0-E297462320DD}" dt="2023-11-24T08:53:36.865" v="98177"/>
          <ac:spMkLst>
            <pc:docMk/>
            <pc:sldMk cId="43921188" sldId="2147478579"/>
            <ac:spMk id="641" creationId="{C366A403-466E-387F-EE4E-F15340F8FAFA}"/>
          </ac:spMkLst>
        </pc:spChg>
        <pc:spChg chg="add del mod">
          <ac:chgData name="Steiner Andreas 6206 ED" userId="e6377c33-a923-4f14-8587-531c474c7b48" providerId="ADAL" clId="{6ECD27E6-B224-41CD-B4E0-E297462320DD}" dt="2023-11-24T08:53:38.781" v="98332"/>
          <ac:spMkLst>
            <pc:docMk/>
            <pc:sldMk cId="43921188" sldId="2147478579"/>
            <ac:spMk id="642" creationId="{16037B1F-5474-0DFF-EC48-32E38015403E}"/>
          </ac:spMkLst>
        </pc:spChg>
        <pc:spChg chg="add del mod">
          <ac:chgData name="Steiner Andreas 6206 ED" userId="e6377c33-a923-4f14-8587-531c474c7b48" providerId="ADAL" clId="{6ECD27E6-B224-41CD-B4E0-E297462320DD}" dt="2023-11-24T08:53:40.760" v="98487"/>
          <ac:spMkLst>
            <pc:docMk/>
            <pc:sldMk cId="43921188" sldId="2147478579"/>
            <ac:spMk id="643" creationId="{49D6FA5D-58DB-779A-E911-5E229B4EC0E5}"/>
          </ac:spMkLst>
        </pc:spChg>
        <pc:spChg chg="add del mod">
          <ac:chgData name="Steiner Andreas 6206 ED" userId="e6377c33-a923-4f14-8587-531c474c7b48" providerId="ADAL" clId="{6ECD27E6-B224-41CD-B4E0-E297462320DD}" dt="2023-11-24T08:53:42.674" v="98642"/>
          <ac:spMkLst>
            <pc:docMk/>
            <pc:sldMk cId="43921188" sldId="2147478579"/>
            <ac:spMk id="644" creationId="{90C2965C-67FA-406D-38BA-9ABE1BE432E3}"/>
          </ac:spMkLst>
        </pc:spChg>
        <pc:spChg chg="add del mod">
          <ac:chgData name="Steiner Andreas 6206 ED" userId="e6377c33-a923-4f14-8587-531c474c7b48" providerId="ADAL" clId="{6ECD27E6-B224-41CD-B4E0-E297462320DD}" dt="2023-11-24T08:53:44.648" v="98797"/>
          <ac:spMkLst>
            <pc:docMk/>
            <pc:sldMk cId="43921188" sldId="2147478579"/>
            <ac:spMk id="645" creationId="{F7E6DEE3-EF6E-80CE-2DC7-6E4D0B461FF4}"/>
          </ac:spMkLst>
        </pc:spChg>
        <pc:spChg chg="add del mod">
          <ac:chgData name="Steiner Andreas 6206 ED" userId="e6377c33-a923-4f14-8587-531c474c7b48" providerId="ADAL" clId="{6ECD27E6-B224-41CD-B4E0-E297462320DD}" dt="2023-11-24T08:53:46.554" v="98952"/>
          <ac:spMkLst>
            <pc:docMk/>
            <pc:sldMk cId="43921188" sldId="2147478579"/>
            <ac:spMk id="646" creationId="{77070784-58DE-E92C-EF99-A663FBC9A26D}"/>
          </ac:spMkLst>
        </pc:spChg>
        <pc:spChg chg="add del mod">
          <ac:chgData name="Steiner Andreas 6206 ED" userId="e6377c33-a923-4f14-8587-531c474c7b48" providerId="ADAL" clId="{6ECD27E6-B224-41CD-B4E0-E297462320DD}" dt="2023-11-24T08:53:48.619" v="99107"/>
          <ac:spMkLst>
            <pc:docMk/>
            <pc:sldMk cId="43921188" sldId="2147478579"/>
            <ac:spMk id="647" creationId="{F75DE32D-37FD-D0CF-4700-F19F281C7376}"/>
          </ac:spMkLst>
        </pc:spChg>
        <pc:spChg chg="add del mod">
          <ac:chgData name="Steiner Andreas 6206 ED" userId="e6377c33-a923-4f14-8587-531c474c7b48" providerId="ADAL" clId="{6ECD27E6-B224-41CD-B4E0-E297462320DD}" dt="2023-11-24T08:53:50.588" v="99262"/>
          <ac:spMkLst>
            <pc:docMk/>
            <pc:sldMk cId="43921188" sldId="2147478579"/>
            <ac:spMk id="648" creationId="{1B66289B-473E-9943-8A56-7C6893603E60}"/>
          </ac:spMkLst>
        </pc:spChg>
        <pc:spChg chg="add del mod">
          <ac:chgData name="Steiner Andreas 6206 ED" userId="e6377c33-a923-4f14-8587-531c474c7b48" providerId="ADAL" clId="{6ECD27E6-B224-41CD-B4E0-E297462320DD}" dt="2023-11-24T08:53:52.539" v="99417"/>
          <ac:spMkLst>
            <pc:docMk/>
            <pc:sldMk cId="43921188" sldId="2147478579"/>
            <ac:spMk id="649" creationId="{67427250-FBAD-741D-3D7E-61D5BD883D24}"/>
          </ac:spMkLst>
        </pc:spChg>
        <pc:spChg chg="add del mod">
          <ac:chgData name="Steiner Andreas 6206 ED" userId="e6377c33-a923-4f14-8587-531c474c7b48" providerId="ADAL" clId="{6ECD27E6-B224-41CD-B4E0-E297462320DD}" dt="2023-11-24T08:53:54.523" v="99572"/>
          <ac:spMkLst>
            <pc:docMk/>
            <pc:sldMk cId="43921188" sldId="2147478579"/>
            <ac:spMk id="650" creationId="{9D45D417-F5BE-7F53-B0DF-06776B48B7F1}"/>
          </ac:spMkLst>
        </pc:spChg>
        <pc:spChg chg="add del mod">
          <ac:chgData name="Steiner Andreas 6206 ED" userId="e6377c33-a923-4f14-8587-531c474c7b48" providerId="ADAL" clId="{6ECD27E6-B224-41CD-B4E0-E297462320DD}" dt="2023-11-24T08:53:56.457" v="99727"/>
          <ac:spMkLst>
            <pc:docMk/>
            <pc:sldMk cId="43921188" sldId="2147478579"/>
            <ac:spMk id="651" creationId="{D3F2730B-1ED8-0427-90F7-0E31BA76D746}"/>
          </ac:spMkLst>
        </pc:spChg>
        <pc:spChg chg="add del mod">
          <ac:chgData name="Steiner Andreas 6206 ED" userId="e6377c33-a923-4f14-8587-531c474c7b48" providerId="ADAL" clId="{6ECD27E6-B224-41CD-B4E0-E297462320DD}" dt="2023-11-24T08:53:58.505" v="99882"/>
          <ac:spMkLst>
            <pc:docMk/>
            <pc:sldMk cId="43921188" sldId="2147478579"/>
            <ac:spMk id="652" creationId="{1CB5DBC2-3BCE-F9A4-A9A3-BE0CDC856D96}"/>
          </ac:spMkLst>
        </pc:spChg>
        <pc:spChg chg="add del mod">
          <ac:chgData name="Steiner Andreas 6206 ED" userId="e6377c33-a923-4f14-8587-531c474c7b48" providerId="ADAL" clId="{6ECD27E6-B224-41CD-B4E0-E297462320DD}" dt="2023-11-24T08:54:00.635" v="100037"/>
          <ac:spMkLst>
            <pc:docMk/>
            <pc:sldMk cId="43921188" sldId="2147478579"/>
            <ac:spMk id="653" creationId="{D25DEE44-720F-D6A5-6E73-D0918DCFD966}"/>
          </ac:spMkLst>
        </pc:spChg>
        <pc:spChg chg="add del mod">
          <ac:chgData name="Steiner Andreas 6206 ED" userId="e6377c33-a923-4f14-8587-531c474c7b48" providerId="ADAL" clId="{6ECD27E6-B224-41CD-B4E0-E297462320DD}" dt="2023-11-24T08:54:02.607" v="100192"/>
          <ac:spMkLst>
            <pc:docMk/>
            <pc:sldMk cId="43921188" sldId="2147478579"/>
            <ac:spMk id="654" creationId="{00F28913-22B2-9DA2-1422-29E8FCE79697}"/>
          </ac:spMkLst>
        </pc:spChg>
        <pc:spChg chg="add del mod">
          <ac:chgData name="Steiner Andreas 6206 ED" userId="e6377c33-a923-4f14-8587-531c474c7b48" providerId="ADAL" clId="{6ECD27E6-B224-41CD-B4E0-E297462320DD}" dt="2023-11-24T08:54:04.569" v="100347"/>
          <ac:spMkLst>
            <pc:docMk/>
            <pc:sldMk cId="43921188" sldId="2147478579"/>
            <ac:spMk id="655" creationId="{11895558-41D4-0A49-FD8B-EBB8C488BE77}"/>
          </ac:spMkLst>
        </pc:spChg>
        <pc:spChg chg="add del mod">
          <ac:chgData name="Steiner Andreas 6206 ED" userId="e6377c33-a923-4f14-8587-531c474c7b48" providerId="ADAL" clId="{6ECD27E6-B224-41CD-B4E0-E297462320DD}" dt="2023-11-24T08:54:06.549" v="100502"/>
          <ac:spMkLst>
            <pc:docMk/>
            <pc:sldMk cId="43921188" sldId="2147478579"/>
            <ac:spMk id="656" creationId="{A05475E9-E5E7-404B-27BE-FBEA61A5AF02}"/>
          </ac:spMkLst>
        </pc:spChg>
        <pc:spChg chg="add del mod">
          <ac:chgData name="Steiner Andreas 6206 ED" userId="e6377c33-a923-4f14-8587-531c474c7b48" providerId="ADAL" clId="{6ECD27E6-B224-41CD-B4E0-E297462320DD}" dt="2023-11-24T08:54:08.522" v="100657"/>
          <ac:spMkLst>
            <pc:docMk/>
            <pc:sldMk cId="43921188" sldId="2147478579"/>
            <ac:spMk id="657" creationId="{14B11104-B290-9701-EC25-5A76CB9FD44A}"/>
          </ac:spMkLst>
        </pc:spChg>
        <pc:spChg chg="add del mod">
          <ac:chgData name="Steiner Andreas 6206 ED" userId="e6377c33-a923-4f14-8587-531c474c7b48" providerId="ADAL" clId="{6ECD27E6-B224-41CD-B4E0-E297462320DD}" dt="2023-11-24T08:54:10.672" v="100812"/>
          <ac:spMkLst>
            <pc:docMk/>
            <pc:sldMk cId="43921188" sldId="2147478579"/>
            <ac:spMk id="658" creationId="{A8718A4F-2390-42DF-3326-D909CBD0CF48}"/>
          </ac:spMkLst>
        </pc:spChg>
        <pc:spChg chg="add del mod">
          <ac:chgData name="Steiner Andreas 6206 ED" userId="e6377c33-a923-4f14-8587-531c474c7b48" providerId="ADAL" clId="{6ECD27E6-B224-41CD-B4E0-E297462320DD}" dt="2023-11-24T08:54:12.600" v="100967"/>
          <ac:spMkLst>
            <pc:docMk/>
            <pc:sldMk cId="43921188" sldId="2147478579"/>
            <ac:spMk id="659" creationId="{AC72C0A8-9A7E-8925-FB83-D579A94B58BD}"/>
          </ac:spMkLst>
        </pc:spChg>
        <pc:spChg chg="add del mod">
          <ac:chgData name="Steiner Andreas 6206 ED" userId="e6377c33-a923-4f14-8587-531c474c7b48" providerId="ADAL" clId="{6ECD27E6-B224-41CD-B4E0-E297462320DD}" dt="2023-11-24T08:54:14.558" v="101122"/>
          <ac:spMkLst>
            <pc:docMk/>
            <pc:sldMk cId="43921188" sldId="2147478579"/>
            <ac:spMk id="660" creationId="{C95DAF41-A743-BDAE-0A29-71E63D7EA70C}"/>
          </ac:spMkLst>
        </pc:spChg>
        <pc:spChg chg="add del mod">
          <ac:chgData name="Steiner Andreas 6206 ED" userId="e6377c33-a923-4f14-8587-531c474c7b48" providerId="ADAL" clId="{6ECD27E6-B224-41CD-B4E0-E297462320DD}" dt="2023-11-24T08:54:16.454" v="101277"/>
          <ac:spMkLst>
            <pc:docMk/>
            <pc:sldMk cId="43921188" sldId="2147478579"/>
            <ac:spMk id="661" creationId="{F0517957-3A09-1BE1-4704-B6568C2F5F18}"/>
          </ac:spMkLst>
        </pc:spChg>
        <pc:spChg chg="add del mod">
          <ac:chgData name="Steiner Andreas 6206 ED" userId="e6377c33-a923-4f14-8587-531c474c7b48" providerId="ADAL" clId="{6ECD27E6-B224-41CD-B4E0-E297462320DD}" dt="2023-11-24T08:54:18.359" v="101432"/>
          <ac:spMkLst>
            <pc:docMk/>
            <pc:sldMk cId="43921188" sldId="2147478579"/>
            <ac:spMk id="662" creationId="{AE94896D-C8FA-7DBD-2F50-5779DFDDCD50}"/>
          </ac:spMkLst>
        </pc:spChg>
        <pc:spChg chg="add del mod">
          <ac:chgData name="Steiner Andreas 6206 ED" userId="e6377c33-a923-4f14-8587-531c474c7b48" providerId="ADAL" clId="{6ECD27E6-B224-41CD-B4E0-E297462320DD}" dt="2023-11-24T08:54:20.309" v="101587"/>
          <ac:spMkLst>
            <pc:docMk/>
            <pc:sldMk cId="43921188" sldId="2147478579"/>
            <ac:spMk id="663" creationId="{878368B6-57B3-2AC9-4852-EAB6C2C049DE}"/>
          </ac:spMkLst>
        </pc:spChg>
        <pc:spChg chg="add del mod">
          <ac:chgData name="Steiner Andreas 6206 ED" userId="e6377c33-a923-4f14-8587-531c474c7b48" providerId="ADAL" clId="{6ECD27E6-B224-41CD-B4E0-E297462320DD}" dt="2023-11-24T08:54:22.432" v="101742"/>
          <ac:spMkLst>
            <pc:docMk/>
            <pc:sldMk cId="43921188" sldId="2147478579"/>
            <ac:spMk id="664" creationId="{73858519-C9B3-948E-C3EF-36C37FDCB53C}"/>
          </ac:spMkLst>
        </pc:spChg>
        <pc:spChg chg="add del mod">
          <ac:chgData name="Steiner Andreas 6206 ED" userId="e6377c33-a923-4f14-8587-531c474c7b48" providerId="ADAL" clId="{6ECD27E6-B224-41CD-B4E0-E297462320DD}" dt="2023-11-24T08:54:24.376" v="101897"/>
          <ac:spMkLst>
            <pc:docMk/>
            <pc:sldMk cId="43921188" sldId="2147478579"/>
            <ac:spMk id="665" creationId="{12422B59-31AB-1B61-64E8-468EC39A0B7F}"/>
          </ac:spMkLst>
        </pc:spChg>
        <pc:spChg chg="add del mod">
          <ac:chgData name="Steiner Andreas 6206 ED" userId="e6377c33-a923-4f14-8587-531c474c7b48" providerId="ADAL" clId="{6ECD27E6-B224-41CD-B4E0-E297462320DD}" dt="2023-11-24T08:54:26.353" v="102052"/>
          <ac:spMkLst>
            <pc:docMk/>
            <pc:sldMk cId="43921188" sldId="2147478579"/>
            <ac:spMk id="666" creationId="{3F1DC950-9527-DD4C-83C8-EAC9509C820B}"/>
          </ac:spMkLst>
        </pc:spChg>
        <pc:spChg chg="add del mod">
          <ac:chgData name="Steiner Andreas 6206 ED" userId="e6377c33-a923-4f14-8587-531c474c7b48" providerId="ADAL" clId="{6ECD27E6-B224-41CD-B4E0-E297462320DD}" dt="2023-11-24T08:54:28.299" v="102207"/>
          <ac:spMkLst>
            <pc:docMk/>
            <pc:sldMk cId="43921188" sldId="2147478579"/>
            <ac:spMk id="667" creationId="{E40CDC3B-71E4-857A-B383-6ED0418BAFAB}"/>
          </ac:spMkLst>
        </pc:spChg>
        <pc:spChg chg="add del mod">
          <ac:chgData name="Steiner Andreas 6206 ED" userId="e6377c33-a923-4f14-8587-531c474c7b48" providerId="ADAL" clId="{6ECD27E6-B224-41CD-B4E0-E297462320DD}" dt="2023-11-24T08:54:30.244" v="102362"/>
          <ac:spMkLst>
            <pc:docMk/>
            <pc:sldMk cId="43921188" sldId="2147478579"/>
            <ac:spMk id="668" creationId="{6B905CB5-8A6A-320D-2AAD-95CD7BFB1B3A}"/>
          </ac:spMkLst>
        </pc:spChg>
        <pc:spChg chg="add del mod">
          <ac:chgData name="Steiner Andreas 6206 ED" userId="e6377c33-a923-4f14-8587-531c474c7b48" providerId="ADAL" clId="{6ECD27E6-B224-41CD-B4E0-E297462320DD}" dt="2023-11-24T08:54:32.370" v="102517"/>
          <ac:spMkLst>
            <pc:docMk/>
            <pc:sldMk cId="43921188" sldId="2147478579"/>
            <ac:spMk id="669" creationId="{C1E099BF-A1AE-89A8-04EA-095D6B0D329F}"/>
          </ac:spMkLst>
        </pc:spChg>
        <pc:spChg chg="add del mod">
          <ac:chgData name="Steiner Andreas 6206 ED" userId="e6377c33-a923-4f14-8587-531c474c7b48" providerId="ADAL" clId="{6ECD27E6-B224-41CD-B4E0-E297462320DD}" dt="2023-11-24T08:54:34.368" v="102672"/>
          <ac:spMkLst>
            <pc:docMk/>
            <pc:sldMk cId="43921188" sldId="2147478579"/>
            <ac:spMk id="670" creationId="{1FEE7B58-B905-46CE-F19A-DE33376FC8A7}"/>
          </ac:spMkLst>
        </pc:spChg>
        <pc:spChg chg="add del mod">
          <ac:chgData name="Steiner Andreas 6206 ED" userId="e6377c33-a923-4f14-8587-531c474c7b48" providerId="ADAL" clId="{6ECD27E6-B224-41CD-B4E0-E297462320DD}" dt="2023-11-24T08:54:36.313" v="102827"/>
          <ac:spMkLst>
            <pc:docMk/>
            <pc:sldMk cId="43921188" sldId="2147478579"/>
            <ac:spMk id="671" creationId="{C4CB66E8-D9B8-413A-B828-6DB527DAB634}"/>
          </ac:spMkLst>
        </pc:spChg>
        <pc:spChg chg="add del mod">
          <ac:chgData name="Steiner Andreas 6206 ED" userId="e6377c33-a923-4f14-8587-531c474c7b48" providerId="ADAL" clId="{6ECD27E6-B224-41CD-B4E0-E297462320DD}" dt="2023-11-24T08:54:38.481" v="102982"/>
          <ac:spMkLst>
            <pc:docMk/>
            <pc:sldMk cId="43921188" sldId="2147478579"/>
            <ac:spMk id="672" creationId="{D0B237D1-9866-F5EB-D75E-503D61A59E7B}"/>
          </ac:spMkLst>
        </pc:spChg>
        <pc:spChg chg="add del mod">
          <ac:chgData name="Steiner Andreas 6206 ED" userId="e6377c33-a923-4f14-8587-531c474c7b48" providerId="ADAL" clId="{6ECD27E6-B224-41CD-B4E0-E297462320DD}" dt="2023-11-24T08:54:40.673" v="103137"/>
          <ac:spMkLst>
            <pc:docMk/>
            <pc:sldMk cId="43921188" sldId="2147478579"/>
            <ac:spMk id="673" creationId="{53E881CA-79F9-1B92-9803-58A206636AB8}"/>
          </ac:spMkLst>
        </pc:spChg>
        <pc:spChg chg="add del mod">
          <ac:chgData name="Steiner Andreas 6206 ED" userId="e6377c33-a923-4f14-8587-531c474c7b48" providerId="ADAL" clId="{6ECD27E6-B224-41CD-B4E0-E297462320DD}" dt="2023-11-24T08:54:42.589" v="103292"/>
          <ac:spMkLst>
            <pc:docMk/>
            <pc:sldMk cId="43921188" sldId="2147478579"/>
            <ac:spMk id="674" creationId="{B973608D-BEAB-DF07-D20D-2B682574E9B5}"/>
          </ac:spMkLst>
        </pc:spChg>
        <pc:spChg chg="add del mod">
          <ac:chgData name="Steiner Andreas 6206 ED" userId="e6377c33-a923-4f14-8587-531c474c7b48" providerId="ADAL" clId="{6ECD27E6-B224-41CD-B4E0-E297462320DD}" dt="2023-11-24T08:54:44.835" v="103447"/>
          <ac:spMkLst>
            <pc:docMk/>
            <pc:sldMk cId="43921188" sldId="2147478579"/>
            <ac:spMk id="675" creationId="{D9F40600-C015-52D2-4BB1-1127A2908F3A}"/>
          </ac:spMkLst>
        </pc:spChg>
        <pc:spChg chg="add del mod">
          <ac:chgData name="Steiner Andreas 6206 ED" userId="e6377c33-a923-4f14-8587-531c474c7b48" providerId="ADAL" clId="{6ECD27E6-B224-41CD-B4E0-E297462320DD}" dt="2023-11-24T08:54:47.065" v="103602"/>
          <ac:spMkLst>
            <pc:docMk/>
            <pc:sldMk cId="43921188" sldId="2147478579"/>
            <ac:spMk id="676" creationId="{079CA82D-17A2-5C20-702F-001D1AEB10F4}"/>
          </ac:spMkLst>
        </pc:spChg>
        <pc:spChg chg="add del mod">
          <ac:chgData name="Steiner Andreas 6206 ED" userId="e6377c33-a923-4f14-8587-531c474c7b48" providerId="ADAL" clId="{6ECD27E6-B224-41CD-B4E0-E297462320DD}" dt="2023-11-24T08:54:49.202" v="103757"/>
          <ac:spMkLst>
            <pc:docMk/>
            <pc:sldMk cId="43921188" sldId="2147478579"/>
            <ac:spMk id="677" creationId="{093BC7C1-D4D7-2B36-5CD1-67AD082A2298}"/>
          </ac:spMkLst>
        </pc:spChg>
        <pc:spChg chg="add del mod">
          <ac:chgData name="Steiner Andreas 6206 ED" userId="e6377c33-a923-4f14-8587-531c474c7b48" providerId="ADAL" clId="{6ECD27E6-B224-41CD-B4E0-E297462320DD}" dt="2023-11-24T08:54:51.543" v="103912"/>
          <ac:spMkLst>
            <pc:docMk/>
            <pc:sldMk cId="43921188" sldId="2147478579"/>
            <ac:spMk id="678" creationId="{F49F87C9-A090-C29D-A5BB-50379AA39A52}"/>
          </ac:spMkLst>
        </pc:spChg>
        <pc:spChg chg="add del mod">
          <ac:chgData name="Steiner Andreas 6206 ED" userId="e6377c33-a923-4f14-8587-531c474c7b48" providerId="ADAL" clId="{6ECD27E6-B224-41CD-B4E0-E297462320DD}" dt="2023-11-24T08:54:53.611" v="104067"/>
          <ac:spMkLst>
            <pc:docMk/>
            <pc:sldMk cId="43921188" sldId="2147478579"/>
            <ac:spMk id="679" creationId="{D4797E60-ED1B-554B-7F72-700CF93530EF}"/>
          </ac:spMkLst>
        </pc:spChg>
        <pc:spChg chg="add del mod">
          <ac:chgData name="Steiner Andreas 6206 ED" userId="e6377c33-a923-4f14-8587-531c474c7b48" providerId="ADAL" clId="{6ECD27E6-B224-41CD-B4E0-E297462320DD}" dt="2023-11-24T08:54:55.763" v="104222"/>
          <ac:spMkLst>
            <pc:docMk/>
            <pc:sldMk cId="43921188" sldId="2147478579"/>
            <ac:spMk id="680" creationId="{1FEE83D4-DAF1-3B45-A06A-C1ADE9CA0CFA}"/>
          </ac:spMkLst>
        </pc:spChg>
        <pc:spChg chg="add del mod">
          <ac:chgData name="Steiner Andreas 6206 ED" userId="e6377c33-a923-4f14-8587-531c474c7b48" providerId="ADAL" clId="{6ECD27E6-B224-41CD-B4E0-E297462320DD}" dt="2023-11-24T08:54:57.803" v="104377"/>
          <ac:spMkLst>
            <pc:docMk/>
            <pc:sldMk cId="43921188" sldId="2147478579"/>
            <ac:spMk id="681" creationId="{1E189061-541E-1BB8-A562-2BA96BFF1FD4}"/>
          </ac:spMkLst>
        </pc:spChg>
        <pc:spChg chg="add del mod">
          <ac:chgData name="Steiner Andreas 6206 ED" userId="e6377c33-a923-4f14-8587-531c474c7b48" providerId="ADAL" clId="{6ECD27E6-B224-41CD-B4E0-E297462320DD}" dt="2023-11-24T08:54:59.856" v="104532"/>
          <ac:spMkLst>
            <pc:docMk/>
            <pc:sldMk cId="43921188" sldId="2147478579"/>
            <ac:spMk id="682" creationId="{457EF4CF-6C45-80E8-1B30-DAAB2DA11E9A}"/>
          </ac:spMkLst>
        </pc:spChg>
        <pc:spChg chg="add del mod">
          <ac:chgData name="Steiner Andreas 6206 ED" userId="e6377c33-a923-4f14-8587-531c474c7b48" providerId="ADAL" clId="{6ECD27E6-B224-41CD-B4E0-E297462320DD}" dt="2023-11-24T08:55:01.795" v="104687"/>
          <ac:spMkLst>
            <pc:docMk/>
            <pc:sldMk cId="43921188" sldId="2147478579"/>
            <ac:spMk id="683" creationId="{087581F7-D329-1081-0888-AE40EEF09A93}"/>
          </ac:spMkLst>
        </pc:spChg>
        <pc:spChg chg="add del mod">
          <ac:chgData name="Steiner Andreas 6206 ED" userId="e6377c33-a923-4f14-8587-531c474c7b48" providerId="ADAL" clId="{6ECD27E6-B224-41CD-B4E0-E297462320DD}" dt="2023-11-24T08:55:03.751" v="104842"/>
          <ac:spMkLst>
            <pc:docMk/>
            <pc:sldMk cId="43921188" sldId="2147478579"/>
            <ac:spMk id="684" creationId="{62209DE2-3B49-3B70-0510-58027E25671B}"/>
          </ac:spMkLst>
        </pc:spChg>
        <pc:spChg chg="add del mod">
          <ac:chgData name="Steiner Andreas 6206 ED" userId="e6377c33-a923-4f14-8587-531c474c7b48" providerId="ADAL" clId="{6ECD27E6-B224-41CD-B4E0-E297462320DD}" dt="2023-11-24T08:55:05.849" v="104997"/>
          <ac:spMkLst>
            <pc:docMk/>
            <pc:sldMk cId="43921188" sldId="2147478579"/>
            <ac:spMk id="685" creationId="{B87A9443-68E9-C8D9-AE29-290CB0A0B857}"/>
          </ac:spMkLst>
        </pc:spChg>
        <pc:spChg chg="add del mod">
          <ac:chgData name="Steiner Andreas 6206 ED" userId="e6377c33-a923-4f14-8587-531c474c7b48" providerId="ADAL" clId="{6ECD27E6-B224-41CD-B4E0-E297462320DD}" dt="2023-11-24T08:55:07.984" v="105152"/>
          <ac:spMkLst>
            <pc:docMk/>
            <pc:sldMk cId="43921188" sldId="2147478579"/>
            <ac:spMk id="686" creationId="{7E3B2952-96E4-1DD4-4EFD-B6450B635194}"/>
          </ac:spMkLst>
        </pc:spChg>
        <pc:spChg chg="add del mod">
          <ac:chgData name="Steiner Andreas 6206 ED" userId="e6377c33-a923-4f14-8587-531c474c7b48" providerId="ADAL" clId="{6ECD27E6-B224-41CD-B4E0-E297462320DD}" dt="2023-11-24T08:55:09.945" v="105307"/>
          <ac:spMkLst>
            <pc:docMk/>
            <pc:sldMk cId="43921188" sldId="2147478579"/>
            <ac:spMk id="687" creationId="{873163F7-8CED-F372-ACD2-A863E5DA63D8}"/>
          </ac:spMkLst>
        </pc:spChg>
        <pc:spChg chg="add del mod">
          <ac:chgData name="Steiner Andreas 6206 ED" userId="e6377c33-a923-4f14-8587-531c474c7b48" providerId="ADAL" clId="{6ECD27E6-B224-41CD-B4E0-E297462320DD}" dt="2023-11-24T08:55:11.939" v="105462"/>
          <ac:spMkLst>
            <pc:docMk/>
            <pc:sldMk cId="43921188" sldId="2147478579"/>
            <ac:spMk id="688" creationId="{7B0BF44D-9001-DB0B-485C-AAAA0117BBC5}"/>
          </ac:spMkLst>
        </pc:spChg>
        <pc:spChg chg="add del mod">
          <ac:chgData name="Steiner Andreas 6206 ED" userId="e6377c33-a923-4f14-8587-531c474c7b48" providerId="ADAL" clId="{6ECD27E6-B224-41CD-B4E0-E297462320DD}" dt="2023-11-24T08:55:13.987" v="105617"/>
          <ac:spMkLst>
            <pc:docMk/>
            <pc:sldMk cId="43921188" sldId="2147478579"/>
            <ac:spMk id="689" creationId="{A62758F0-B350-B5A6-93BB-A05808BEB00C}"/>
          </ac:spMkLst>
        </pc:spChg>
        <pc:spChg chg="add del mod">
          <ac:chgData name="Steiner Andreas 6206 ED" userId="e6377c33-a923-4f14-8587-531c474c7b48" providerId="ADAL" clId="{6ECD27E6-B224-41CD-B4E0-E297462320DD}" dt="2023-11-24T08:55:16.064" v="105772"/>
          <ac:spMkLst>
            <pc:docMk/>
            <pc:sldMk cId="43921188" sldId="2147478579"/>
            <ac:spMk id="690" creationId="{AD556A97-FF74-EA66-4113-F3B11B5B948D}"/>
          </ac:spMkLst>
        </pc:spChg>
        <pc:spChg chg="add del mod">
          <ac:chgData name="Steiner Andreas 6206 ED" userId="e6377c33-a923-4f14-8587-531c474c7b48" providerId="ADAL" clId="{6ECD27E6-B224-41CD-B4E0-E297462320DD}" dt="2023-11-24T08:55:18.126" v="105927"/>
          <ac:spMkLst>
            <pc:docMk/>
            <pc:sldMk cId="43921188" sldId="2147478579"/>
            <ac:spMk id="691" creationId="{2A535BF7-23E6-A472-5D44-420F5210A1CD}"/>
          </ac:spMkLst>
        </pc:spChg>
        <pc:spChg chg="add del mod">
          <ac:chgData name="Steiner Andreas 6206 ED" userId="e6377c33-a923-4f14-8587-531c474c7b48" providerId="ADAL" clId="{6ECD27E6-B224-41CD-B4E0-E297462320DD}" dt="2023-11-24T08:55:20.146" v="106082"/>
          <ac:spMkLst>
            <pc:docMk/>
            <pc:sldMk cId="43921188" sldId="2147478579"/>
            <ac:spMk id="692" creationId="{DBEF56D1-CE5E-A534-14D3-66C7A5522AC7}"/>
          </ac:spMkLst>
        </pc:spChg>
        <pc:spChg chg="add del mod">
          <ac:chgData name="Steiner Andreas 6206 ED" userId="e6377c33-a923-4f14-8587-531c474c7b48" providerId="ADAL" clId="{6ECD27E6-B224-41CD-B4E0-E297462320DD}" dt="2023-11-24T08:55:22.076" v="106237"/>
          <ac:spMkLst>
            <pc:docMk/>
            <pc:sldMk cId="43921188" sldId="2147478579"/>
            <ac:spMk id="693" creationId="{66EF046E-7D88-E6B0-BEB7-5C5F6EADB56D}"/>
          </ac:spMkLst>
        </pc:spChg>
        <pc:spChg chg="add del mod">
          <ac:chgData name="Steiner Andreas 6206 ED" userId="e6377c33-a923-4f14-8587-531c474c7b48" providerId="ADAL" clId="{6ECD27E6-B224-41CD-B4E0-E297462320DD}" dt="2023-11-24T08:55:24.072" v="106392"/>
          <ac:spMkLst>
            <pc:docMk/>
            <pc:sldMk cId="43921188" sldId="2147478579"/>
            <ac:spMk id="694" creationId="{DE7230A5-FE1A-E80E-928C-39AD925C09AB}"/>
          </ac:spMkLst>
        </pc:spChg>
        <pc:spChg chg="add del mod">
          <ac:chgData name="Steiner Andreas 6206 ED" userId="e6377c33-a923-4f14-8587-531c474c7b48" providerId="ADAL" clId="{6ECD27E6-B224-41CD-B4E0-E297462320DD}" dt="2023-11-24T08:55:26.037" v="106547"/>
          <ac:spMkLst>
            <pc:docMk/>
            <pc:sldMk cId="43921188" sldId="2147478579"/>
            <ac:spMk id="695" creationId="{32B93CE5-CC20-0D6A-C29B-6F6077C50C55}"/>
          </ac:spMkLst>
        </pc:spChg>
        <pc:spChg chg="add del mod">
          <ac:chgData name="Steiner Andreas 6206 ED" userId="e6377c33-a923-4f14-8587-531c474c7b48" providerId="ADAL" clId="{6ECD27E6-B224-41CD-B4E0-E297462320DD}" dt="2023-11-24T08:55:28.208" v="106702"/>
          <ac:spMkLst>
            <pc:docMk/>
            <pc:sldMk cId="43921188" sldId="2147478579"/>
            <ac:spMk id="696" creationId="{0B514E2C-DB49-B4B6-54D2-631CBAE4337D}"/>
          </ac:spMkLst>
        </pc:spChg>
        <pc:spChg chg="add del mod">
          <ac:chgData name="Steiner Andreas 6206 ED" userId="e6377c33-a923-4f14-8587-531c474c7b48" providerId="ADAL" clId="{6ECD27E6-B224-41CD-B4E0-E297462320DD}" dt="2023-11-24T08:55:30.185" v="106857"/>
          <ac:spMkLst>
            <pc:docMk/>
            <pc:sldMk cId="43921188" sldId="2147478579"/>
            <ac:spMk id="697" creationId="{5B58950C-1D21-64CD-9C6E-A4C5508347C1}"/>
          </ac:spMkLst>
        </pc:spChg>
        <pc:spChg chg="add del mod">
          <ac:chgData name="Steiner Andreas 6206 ED" userId="e6377c33-a923-4f14-8587-531c474c7b48" providerId="ADAL" clId="{6ECD27E6-B224-41CD-B4E0-E297462320DD}" dt="2023-11-24T08:55:32.362" v="107012"/>
          <ac:spMkLst>
            <pc:docMk/>
            <pc:sldMk cId="43921188" sldId="2147478579"/>
            <ac:spMk id="698" creationId="{EBDCFBB2-C5E4-FB22-2678-D3B25FB1D442}"/>
          </ac:spMkLst>
        </pc:spChg>
        <pc:spChg chg="add del mod">
          <ac:chgData name="Steiner Andreas 6206 ED" userId="e6377c33-a923-4f14-8587-531c474c7b48" providerId="ADAL" clId="{6ECD27E6-B224-41CD-B4E0-E297462320DD}" dt="2023-11-24T08:55:34.272" v="107167"/>
          <ac:spMkLst>
            <pc:docMk/>
            <pc:sldMk cId="43921188" sldId="2147478579"/>
            <ac:spMk id="699" creationId="{6887FFC5-9BF7-CBC7-29E5-FD1972E0F4CA}"/>
          </ac:spMkLst>
        </pc:spChg>
        <pc:spChg chg="add del mod">
          <ac:chgData name="Steiner Andreas 6206 ED" userId="e6377c33-a923-4f14-8587-531c474c7b48" providerId="ADAL" clId="{6ECD27E6-B224-41CD-B4E0-E297462320DD}" dt="2023-11-24T08:55:36.201" v="107322"/>
          <ac:spMkLst>
            <pc:docMk/>
            <pc:sldMk cId="43921188" sldId="2147478579"/>
            <ac:spMk id="700" creationId="{3AD582BB-1371-CD76-9221-98A304CE10C6}"/>
          </ac:spMkLst>
        </pc:spChg>
        <pc:spChg chg="add del mod">
          <ac:chgData name="Steiner Andreas 6206 ED" userId="e6377c33-a923-4f14-8587-531c474c7b48" providerId="ADAL" clId="{6ECD27E6-B224-41CD-B4E0-E297462320DD}" dt="2023-11-24T08:55:38.219" v="107477"/>
          <ac:spMkLst>
            <pc:docMk/>
            <pc:sldMk cId="43921188" sldId="2147478579"/>
            <ac:spMk id="701" creationId="{244EC09B-4D9A-03B3-FB29-E4C808C70CAB}"/>
          </ac:spMkLst>
        </pc:spChg>
        <pc:spChg chg="add del mod">
          <ac:chgData name="Steiner Andreas 6206 ED" userId="e6377c33-a923-4f14-8587-531c474c7b48" providerId="ADAL" clId="{6ECD27E6-B224-41CD-B4E0-E297462320DD}" dt="2023-11-24T08:55:40.257" v="107632"/>
          <ac:spMkLst>
            <pc:docMk/>
            <pc:sldMk cId="43921188" sldId="2147478579"/>
            <ac:spMk id="702" creationId="{22FE12AB-5AEC-7C3E-7CD5-ABF4D5D887A5}"/>
          </ac:spMkLst>
        </pc:spChg>
        <pc:spChg chg="add del mod">
          <ac:chgData name="Steiner Andreas 6206 ED" userId="e6377c33-a923-4f14-8587-531c474c7b48" providerId="ADAL" clId="{6ECD27E6-B224-41CD-B4E0-E297462320DD}" dt="2023-11-24T08:55:42.175" v="107787"/>
          <ac:spMkLst>
            <pc:docMk/>
            <pc:sldMk cId="43921188" sldId="2147478579"/>
            <ac:spMk id="703" creationId="{E591B752-3D71-7E30-1E25-5DFA5C73A1AB}"/>
          </ac:spMkLst>
        </pc:spChg>
        <pc:spChg chg="add del mod">
          <ac:chgData name="Steiner Andreas 6206 ED" userId="e6377c33-a923-4f14-8587-531c474c7b48" providerId="ADAL" clId="{6ECD27E6-B224-41CD-B4E0-E297462320DD}" dt="2023-11-24T08:55:44.152" v="107942"/>
          <ac:spMkLst>
            <pc:docMk/>
            <pc:sldMk cId="43921188" sldId="2147478579"/>
            <ac:spMk id="704" creationId="{FF25FB1A-836E-B359-D2F7-A9018D42DFD8}"/>
          </ac:spMkLst>
        </pc:spChg>
        <pc:spChg chg="add del mod">
          <ac:chgData name="Steiner Andreas 6206 ED" userId="e6377c33-a923-4f14-8587-531c474c7b48" providerId="ADAL" clId="{6ECD27E6-B224-41CD-B4E0-E297462320DD}" dt="2023-11-24T08:55:46.372" v="108097"/>
          <ac:spMkLst>
            <pc:docMk/>
            <pc:sldMk cId="43921188" sldId="2147478579"/>
            <ac:spMk id="705" creationId="{C5E656EF-971A-2D41-C8DC-60B58E27F610}"/>
          </ac:spMkLst>
        </pc:spChg>
        <pc:spChg chg="add del mod">
          <ac:chgData name="Steiner Andreas 6206 ED" userId="e6377c33-a923-4f14-8587-531c474c7b48" providerId="ADAL" clId="{6ECD27E6-B224-41CD-B4E0-E297462320DD}" dt="2023-11-24T08:55:48.613" v="108252"/>
          <ac:spMkLst>
            <pc:docMk/>
            <pc:sldMk cId="43921188" sldId="2147478579"/>
            <ac:spMk id="706" creationId="{6418B47E-CEB0-BD1B-DEC6-629098E04B07}"/>
          </ac:spMkLst>
        </pc:spChg>
        <pc:spChg chg="add del mod">
          <ac:chgData name="Steiner Andreas 6206 ED" userId="e6377c33-a923-4f14-8587-531c474c7b48" providerId="ADAL" clId="{6ECD27E6-B224-41CD-B4E0-E297462320DD}" dt="2023-11-24T08:55:51.060" v="108407"/>
          <ac:spMkLst>
            <pc:docMk/>
            <pc:sldMk cId="43921188" sldId="2147478579"/>
            <ac:spMk id="707" creationId="{25CC33D9-04F7-6A5C-4BB2-4CA7BDBCEF77}"/>
          </ac:spMkLst>
        </pc:spChg>
        <pc:spChg chg="add del mod">
          <ac:chgData name="Steiner Andreas 6206 ED" userId="e6377c33-a923-4f14-8587-531c474c7b48" providerId="ADAL" clId="{6ECD27E6-B224-41CD-B4E0-E297462320DD}" dt="2023-11-24T08:55:53.089" v="108562"/>
          <ac:spMkLst>
            <pc:docMk/>
            <pc:sldMk cId="43921188" sldId="2147478579"/>
            <ac:spMk id="708" creationId="{5CE8D67D-1A18-3AA5-7232-4A373D022655}"/>
          </ac:spMkLst>
        </pc:spChg>
        <pc:spChg chg="add del mod">
          <ac:chgData name="Steiner Andreas 6206 ED" userId="e6377c33-a923-4f14-8587-531c474c7b48" providerId="ADAL" clId="{6ECD27E6-B224-41CD-B4E0-E297462320DD}" dt="2023-11-24T08:55:55.273" v="108717"/>
          <ac:spMkLst>
            <pc:docMk/>
            <pc:sldMk cId="43921188" sldId="2147478579"/>
            <ac:spMk id="709" creationId="{FEACC1E8-10CF-A514-6554-564D176BA8DB}"/>
          </ac:spMkLst>
        </pc:spChg>
        <pc:spChg chg="add del mod">
          <ac:chgData name="Steiner Andreas 6206 ED" userId="e6377c33-a923-4f14-8587-531c474c7b48" providerId="ADAL" clId="{6ECD27E6-B224-41CD-B4E0-E297462320DD}" dt="2023-11-24T08:55:57.279" v="108872"/>
          <ac:spMkLst>
            <pc:docMk/>
            <pc:sldMk cId="43921188" sldId="2147478579"/>
            <ac:spMk id="710" creationId="{AAAEBD3D-B73D-C6DC-619A-EB8C7F570BCC}"/>
          </ac:spMkLst>
        </pc:spChg>
        <pc:spChg chg="add del mod">
          <ac:chgData name="Steiner Andreas 6206 ED" userId="e6377c33-a923-4f14-8587-531c474c7b48" providerId="ADAL" clId="{6ECD27E6-B224-41CD-B4E0-E297462320DD}" dt="2023-11-24T08:55:59.377" v="109027"/>
          <ac:spMkLst>
            <pc:docMk/>
            <pc:sldMk cId="43921188" sldId="2147478579"/>
            <ac:spMk id="711" creationId="{5C85D01B-B39E-71AF-0219-EA5FED2DDE8B}"/>
          </ac:spMkLst>
        </pc:spChg>
        <pc:spChg chg="add del mod">
          <ac:chgData name="Steiner Andreas 6206 ED" userId="e6377c33-a923-4f14-8587-531c474c7b48" providerId="ADAL" clId="{6ECD27E6-B224-41CD-B4E0-E297462320DD}" dt="2023-11-24T08:56:01.670" v="109182"/>
          <ac:spMkLst>
            <pc:docMk/>
            <pc:sldMk cId="43921188" sldId="2147478579"/>
            <ac:spMk id="712" creationId="{28E85EF0-BD50-AA04-C9D5-A40278E5951C}"/>
          </ac:spMkLst>
        </pc:spChg>
        <pc:spChg chg="add del mod">
          <ac:chgData name="Steiner Andreas 6206 ED" userId="e6377c33-a923-4f14-8587-531c474c7b48" providerId="ADAL" clId="{6ECD27E6-B224-41CD-B4E0-E297462320DD}" dt="2023-11-24T08:56:03.980" v="109337"/>
          <ac:spMkLst>
            <pc:docMk/>
            <pc:sldMk cId="43921188" sldId="2147478579"/>
            <ac:spMk id="713" creationId="{D2DD79DD-6110-3DEF-5AF8-9F0DD1BE422A}"/>
          </ac:spMkLst>
        </pc:spChg>
        <pc:spChg chg="add del mod">
          <ac:chgData name="Steiner Andreas 6206 ED" userId="e6377c33-a923-4f14-8587-531c474c7b48" providerId="ADAL" clId="{6ECD27E6-B224-41CD-B4E0-E297462320DD}" dt="2023-11-24T08:56:06.248" v="109492"/>
          <ac:spMkLst>
            <pc:docMk/>
            <pc:sldMk cId="43921188" sldId="2147478579"/>
            <ac:spMk id="714" creationId="{B4A6079B-D7C0-8CFD-B99F-DD868499778C}"/>
          </ac:spMkLst>
        </pc:spChg>
        <pc:spChg chg="add del mod">
          <ac:chgData name="Steiner Andreas 6206 ED" userId="e6377c33-a923-4f14-8587-531c474c7b48" providerId="ADAL" clId="{6ECD27E6-B224-41CD-B4E0-E297462320DD}" dt="2023-11-24T08:56:08.574" v="109647"/>
          <ac:spMkLst>
            <pc:docMk/>
            <pc:sldMk cId="43921188" sldId="2147478579"/>
            <ac:spMk id="715" creationId="{AEB41C3D-D69D-A528-AE09-F1D15519C0DC}"/>
          </ac:spMkLst>
        </pc:spChg>
        <pc:spChg chg="add del mod">
          <ac:chgData name="Steiner Andreas 6206 ED" userId="e6377c33-a923-4f14-8587-531c474c7b48" providerId="ADAL" clId="{6ECD27E6-B224-41CD-B4E0-E297462320DD}" dt="2023-11-24T08:56:10.618" v="109802"/>
          <ac:spMkLst>
            <pc:docMk/>
            <pc:sldMk cId="43921188" sldId="2147478579"/>
            <ac:spMk id="716" creationId="{BD7E633D-1998-B2AA-FA14-78A104564E04}"/>
          </ac:spMkLst>
        </pc:spChg>
        <pc:spChg chg="add del mod">
          <ac:chgData name="Steiner Andreas 6206 ED" userId="e6377c33-a923-4f14-8587-531c474c7b48" providerId="ADAL" clId="{6ECD27E6-B224-41CD-B4E0-E297462320DD}" dt="2023-11-24T08:56:12.716" v="109957"/>
          <ac:spMkLst>
            <pc:docMk/>
            <pc:sldMk cId="43921188" sldId="2147478579"/>
            <ac:spMk id="717" creationId="{0ABD5669-E798-E99C-DF04-525A84731661}"/>
          </ac:spMkLst>
        </pc:spChg>
        <pc:spChg chg="add del mod">
          <ac:chgData name="Steiner Andreas 6206 ED" userId="e6377c33-a923-4f14-8587-531c474c7b48" providerId="ADAL" clId="{6ECD27E6-B224-41CD-B4E0-E297462320DD}" dt="2023-11-24T08:56:14.865" v="110112"/>
          <ac:spMkLst>
            <pc:docMk/>
            <pc:sldMk cId="43921188" sldId="2147478579"/>
            <ac:spMk id="718" creationId="{ACC7819C-592F-EAB6-D76F-FB263506B0E8}"/>
          </ac:spMkLst>
        </pc:spChg>
        <pc:spChg chg="add del mod">
          <ac:chgData name="Steiner Andreas 6206 ED" userId="e6377c33-a923-4f14-8587-531c474c7b48" providerId="ADAL" clId="{6ECD27E6-B224-41CD-B4E0-E297462320DD}" dt="2023-11-24T08:56:16.847" v="110267"/>
          <ac:spMkLst>
            <pc:docMk/>
            <pc:sldMk cId="43921188" sldId="2147478579"/>
            <ac:spMk id="719" creationId="{A55891A5-F74E-1DBF-F504-5748F635672B}"/>
          </ac:spMkLst>
        </pc:spChg>
        <pc:spChg chg="add del mod">
          <ac:chgData name="Steiner Andreas 6206 ED" userId="e6377c33-a923-4f14-8587-531c474c7b48" providerId="ADAL" clId="{6ECD27E6-B224-41CD-B4E0-E297462320DD}" dt="2023-11-24T08:56:18.836" v="110422"/>
          <ac:spMkLst>
            <pc:docMk/>
            <pc:sldMk cId="43921188" sldId="2147478579"/>
            <ac:spMk id="720" creationId="{C7987FDB-E364-2B82-11E1-131DA3FC29D3}"/>
          </ac:spMkLst>
        </pc:spChg>
        <pc:spChg chg="add del mod">
          <ac:chgData name="Steiner Andreas 6206 ED" userId="e6377c33-a923-4f14-8587-531c474c7b48" providerId="ADAL" clId="{6ECD27E6-B224-41CD-B4E0-E297462320DD}" dt="2023-11-24T08:56:20.779" v="110577"/>
          <ac:spMkLst>
            <pc:docMk/>
            <pc:sldMk cId="43921188" sldId="2147478579"/>
            <ac:spMk id="721" creationId="{319E9495-34BA-8EFD-5DC1-F6C7B689709F}"/>
          </ac:spMkLst>
        </pc:spChg>
        <pc:spChg chg="add del mod">
          <ac:chgData name="Steiner Andreas 6206 ED" userId="e6377c33-a923-4f14-8587-531c474c7b48" providerId="ADAL" clId="{6ECD27E6-B224-41CD-B4E0-E297462320DD}" dt="2023-11-24T08:56:22.871" v="110732"/>
          <ac:spMkLst>
            <pc:docMk/>
            <pc:sldMk cId="43921188" sldId="2147478579"/>
            <ac:spMk id="722" creationId="{8BDB62A4-40E7-50FE-F656-7E125FE67DDA}"/>
          </ac:spMkLst>
        </pc:spChg>
        <pc:spChg chg="add del mod">
          <ac:chgData name="Steiner Andreas 6206 ED" userId="e6377c33-a923-4f14-8587-531c474c7b48" providerId="ADAL" clId="{6ECD27E6-B224-41CD-B4E0-E297462320DD}" dt="2023-11-24T08:56:25.105" v="110887"/>
          <ac:spMkLst>
            <pc:docMk/>
            <pc:sldMk cId="43921188" sldId="2147478579"/>
            <ac:spMk id="723" creationId="{5D5F0BA8-8027-3635-9E12-68413E95C7B5}"/>
          </ac:spMkLst>
        </pc:spChg>
        <pc:spChg chg="add del mod">
          <ac:chgData name="Steiner Andreas 6206 ED" userId="e6377c33-a923-4f14-8587-531c474c7b48" providerId="ADAL" clId="{6ECD27E6-B224-41CD-B4E0-E297462320DD}" dt="2023-11-24T08:56:27.133" v="111042"/>
          <ac:spMkLst>
            <pc:docMk/>
            <pc:sldMk cId="43921188" sldId="2147478579"/>
            <ac:spMk id="724" creationId="{8A7D71D1-176B-3C29-A559-46A6AD4266B9}"/>
          </ac:spMkLst>
        </pc:spChg>
        <pc:spChg chg="add del mod">
          <ac:chgData name="Steiner Andreas 6206 ED" userId="e6377c33-a923-4f14-8587-531c474c7b48" providerId="ADAL" clId="{6ECD27E6-B224-41CD-B4E0-E297462320DD}" dt="2023-11-24T08:56:29.148" v="111197"/>
          <ac:spMkLst>
            <pc:docMk/>
            <pc:sldMk cId="43921188" sldId="2147478579"/>
            <ac:spMk id="725" creationId="{30BAE048-6C8B-B03F-AE01-2DC58E170B3C}"/>
          </ac:spMkLst>
        </pc:spChg>
        <pc:spChg chg="add del mod">
          <ac:chgData name="Steiner Andreas 6206 ED" userId="e6377c33-a923-4f14-8587-531c474c7b48" providerId="ADAL" clId="{6ECD27E6-B224-41CD-B4E0-E297462320DD}" dt="2023-11-24T08:56:31.264" v="111352"/>
          <ac:spMkLst>
            <pc:docMk/>
            <pc:sldMk cId="43921188" sldId="2147478579"/>
            <ac:spMk id="726" creationId="{4322EB16-2D9E-E411-2B86-306E8D91D1B0}"/>
          </ac:spMkLst>
        </pc:spChg>
        <pc:spChg chg="add del mod">
          <ac:chgData name="Steiner Andreas 6206 ED" userId="e6377c33-a923-4f14-8587-531c474c7b48" providerId="ADAL" clId="{6ECD27E6-B224-41CD-B4E0-E297462320DD}" dt="2023-11-24T08:56:33.471" v="111507"/>
          <ac:spMkLst>
            <pc:docMk/>
            <pc:sldMk cId="43921188" sldId="2147478579"/>
            <ac:spMk id="727" creationId="{657CC1E3-36CB-C40A-4AB5-9428C404242D}"/>
          </ac:spMkLst>
        </pc:spChg>
        <pc:spChg chg="add del mod">
          <ac:chgData name="Steiner Andreas 6206 ED" userId="e6377c33-a923-4f14-8587-531c474c7b48" providerId="ADAL" clId="{6ECD27E6-B224-41CD-B4E0-E297462320DD}" dt="2023-11-24T08:56:35.646" v="111662"/>
          <ac:spMkLst>
            <pc:docMk/>
            <pc:sldMk cId="43921188" sldId="2147478579"/>
            <ac:spMk id="728" creationId="{E3E4B6B4-00BA-28CD-FB70-AE0D164AFFA8}"/>
          </ac:spMkLst>
        </pc:spChg>
        <pc:spChg chg="add del mod">
          <ac:chgData name="Steiner Andreas 6206 ED" userId="e6377c33-a923-4f14-8587-531c474c7b48" providerId="ADAL" clId="{6ECD27E6-B224-41CD-B4E0-E297462320DD}" dt="2023-11-24T08:56:37.744" v="111817"/>
          <ac:spMkLst>
            <pc:docMk/>
            <pc:sldMk cId="43921188" sldId="2147478579"/>
            <ac:spMk id="729" creationId="{0FB68536-6D25-B568-272A-577772686B04}"/>
          </ac:spMkLst>
        </pc:spChg>
        <pc:spChg chg="add del mod">
          <ac:chgData name="Steiner Andreas 6206 ED" userId="e6377c33-a923-4f14-8587-531c474c7b48" providerId="ADAL" clId="{6ECD27E6-B224-41CD-B4E0-E297462320DD}" dt="2023-11-24T08:56:39.901" v="111972"/>
          <ac:spMkLst>
            <pc:docMk/>
            <pc:sldMk cId="43921188" sldId="2147478579"/>
            <ac:spMk id="730" creationId="{3368FCDC-DA4D-03D7-41A9-7531BC68A6AF}"/>
          </ac:spMkLst>
        </pc:spChg>
        <pc:spChg chg="add del mod">
          <ac:chgData name="Steiner Andreas 6206 ED" userId="e6377c33-a923-4f14-8587-531c474c7b48" providerId="ADAL" clId="{6ECD27E6-B224-41CD-B4E0-E297462320DD}" dt="2023-11-24T08:56:41.857" v="112127"/>
          <ac:spMkLst>
            <pc:docMk/>
            <pc:sldMk cId="43921188" sldId="2147478579"/>
            <ac:spMk id="731" creationId="{42A463D5-258B-FDF2-C641-E83C911A20A8}"/>
          </ac:spMkLst>
        </pc:spChg>
        <pc:spChg chg="add del mod">
          <ac:chgData name="Steiner Andreas 6206 ED" userId="e6377c33-a923-4f14-8587-531c474c7b48" providerId="ADAL" clId="{6ECD27E6-B224-41CD-B4E0-E297462320DD}" dt="2023-11-24T08:56:43.841" v="112282"/>
          <ac:spMkLst>
            <pc:docMk/>
            <pc:sldMk cId="43921188" sldId="2147478579"/>
            <ac:spMk id="732" creationId="{672B44F3-A97A-BEFD-057A-4D0848335D55}"/>
          </ac:spMkLst>
        </pc:spChg>
        <pc:spChg chg="add del mod">
          <ac:chgData name="Steiner Andreas 6206 ED" userId="e6377c33-a923-4f14-8587-531c474c7b48" providerId="ADAL" clId="{6ECD27E6-B224-41CD-B4E0-E297462320DD}" dt="2023-11-24T08:56:45.882" v="112437"/>
          <ac:spMkLst>
            <pc:docMk/>
            <pc:sldMk cId="43921188" sldId="2147478579"/>
            <ac:spMk id="733" creationId="{E86FAB34-1520-6F46-7BDB-D8433E2FB2C7}"/>
          </ac:spMkLst>
        </pc:spChg>
        <pc:spChg chg="add del mod">
          <ac:chgData name="Steiner Andreas 6206 ED" userId="e6377c33-a923-4f14-8587-531c474c7b48" providerId="ADAL" clId="{6ECD27E6-B224-41CD-B4E0-E297462320DD}" dt="2023-11-24T08:56:48.096" v="112592"/>
          <ac:spMkLst>
            <pc:docMk/>
            <pc:sldMk cId="43921188" sldId="2147478579"/>
            <ac:spMk id="734" creationId="{25674E85-8ED4-B777-4ED0-625801137DCF}"/>
          </ac:spMkLst>
        </pc:spChg>
        <pc:spChg chg="add del mod">
          <ac:chgData name="Steiner Andreas 6206 ED" userId="e6377c33-a923-4f14-8587-531c474c7b48" providerId="ADAL" clId="{6ECD27E6-B224-41CD-B4E0-E297462320DD}" dt="2023-11-24T08:56:50.146" v="112747"/>
          <ac:spMkLst>
            <pc:docMk/>
            <pc:sldMk cId="43921188" sldId="2147478579"/>
            <ac:spMk id="735" creationId="{8A75CE25-5D9E-6EA4-49ED-2AA5B7E61BD1}"/>
          </ac:spMkLst>
        </pc:spChg>
        <pc:spChg chg="add del mod">
          <ac:chgData name="Steiner Andreas 6206 ED" userId="e6377c33-a923-4f14-8587-531c474c7b48" providerId="ADAL" clId="{6ECD27E6-B224-41CD-B4E0-E297462320DD}" dt="2023-11-24T08:56:52.077" v="112902"/>
          <ac:spMkLst>
            <pc:docMk/>
            <pc:sldMk cId="43921188" sldId="2147478579"/>
            <ac:spMk id="736" creationId="{4DD8D893-8230-23FB-27C6-01CF1ACE8600}"/>
          </ac:spMkLst>
        </pc:spChg>
        <pc:spChg chg="add del mod">
          <ac:chgData name="Steiner Andreas 6206 ED" userId="e6377c33-a923-4f14-8587-531c474c7b48" providerId="ADAL" clId="{6ECD27E6-B224-41CD-B4E0-E297462320DD}" dt="2023-11-24T08:56:54.033" v="113057"/>
          <ac:spMkLst>
            <pc:docMk/>
            <pc:sldMk cId="43921188" sldId="2147478579"/>
            <ac:spMk id="737" creationId="{736003F3-68A5-95D8-39DD-8BB1DCFC0099}"/>
          </ac:spMkLst>
        </pc:spChg>
        <pc:spChg chg="add del mod">
          <ac:chgData name="Steiner Andreas 6206 ED" userId="e6377c33-a923-4f14-8587-531c474c7b48" providerId="ADAL" clId="{6ECD27E6-B224-41CD-B4E0-E297462320DD}" dt="2023-11-24T08:56:56.167" v="113212"/>
          <ac:spMkLst>
            <pc:docMk/>
            <pc:sldMk cId="43921188" sldId="2147478579"/>
            <ac:spMk id="738" creationId="{1848042D-D4DC-7B7F-C53C-253AB0FE4763}"/>
          </ac:spMkLst>
        </pc:spChg>
        <pc:spChg chg="add del mod">
          <ac:chgData name="Steiner Andreas 6206 ED" userId="e6377c33-a923-4f14-8587-531c474c7b48" providerId="ADAL" clId="{6ECD27E6-B224-41CD-B4E0-E297462320DD}" dt="2023-11-24T08:56:58.229" v="113367"/>
          <ac:spMkLst>
            <pc:docMk/>
            <pc:sldMk cId="43921188" sldId="2147478579"/>
            <ac:spMk id="739" creationId="{F3947F52-E8B7-4006-B7AA-7AE8EEC399D4}"/>
          </ac:spMkLst>
        </pc:spChg>
        <pc:spChg chg="add del mod">
          <ac:chgData name="Steiner Andreas 6206 ED" userId="e6377c33-a923-4f14-8587-531c474c7b48" providerId="ADAL" clId="{6ECD27E6-B224-41CD-B4E0-E297462320DD}" dt="2023-11-24T08:57:00.580" v="113522"/>
          <ac:spMkLst>
            <pc:docMk/>
            <pc:sldMk cId="43921188" sldId="2147478579"/>
            <ac:spMk id="740" creationId="{BBCC39CA-0812-E22B-B6A3-F623881AFE6F}"/>
          </ac:spMkLst>
        </pc:spChg>
        <pc:spChg chg="add del mod">
          <ac:chgData name="Steiner Andreas 6206 ED" userId="e6377c33-a923-4f14-8587-531c474c7b48" providerId="ADAL" clId="{6ECD27E6-B224-41CD-B4E0-E297462320DD}" dt="2023-11-24T08:57:02.805" v="113677"/>
          <ac:spMkLst>
            <pc:docMk/>
            <pc:sldMk cId="43921188" sldId="2147478579"/>
            <ac:spMk id="741" creationId="{54216D0C-37AA-E4E6-5017-52E1F191547A}"/>
          </ac:spMkLst>
        </pc:spChg>
        <pc:spChg chg="add del mod">
          <ac:chgData name="Steiner Andreas 6206 ED" userId="e6377c33-a923-4f14-8587-531c474c7b48" providerId="ADAL" clId="{6ECD27E6-B224-41CD-B4E0-E297462320DD}" dt="2023-11-24T09:02:21.381" v="113832"/>
          <ac:spMkLst>
            <pc:docMk/>
            <pc:sldMk cId="43921188" sldId="2147478579"/>
            <ac:spMk id="742" creationId="{65D25239-9D1A-7A3E-F936-EC3844D36E82}"/>
          </ac:spMkLst>
        </pc:spChg>
        <pc:spChg chg="add del mod">
          <ac:chgData name="Steiner Andreas 6206 ED" userId="e6377c33-a923-4f14-8587-531c474c7b48" providerId="ADAL" clId="{6ECD27E6-B224-41CD-B4E0-E297462320DD}" dt="2023-11-24T09:02:27.253" v="113987"/>
          <ac:spMkLst>
            <pc:docMk/>
            <pc:sldMk cId="43921188" sldId="2147478579"/>
            <ac:spMk id="743" creationId="{266E7565-3D98-5365-76B7-5EBF5340A809}"/>
          </ac:spMkLst>
        </pc:spChg>
        <pc:spChg chg="add del mod">
          <ac:chgData name="Steiner Andreas 6206 ED" userId="e6377c33-a923-4f14-8587-531c474c7b48" providerId="ADAL" clId="{6ECD27E6-B224-41CD-B4E0-E297462320DD}" dt="2023-11-24T09:02:29.733" v="114142"/>
          <ac:spMkLst>
            <pc:docMk/>
            <pc:sldMk cId="43921188" sldId="2147478579"/>
            <ac:spMk id="744" creationId="{AAE95DC8-4C56-88CA-3953-037353E1678F}"/>
          </ac:spMkLst>
        </pc:spChg>
        <pc:spChg chg="add del mod">
          <ac:chgData name="Steiner Andreas 6206 ED" userId="e6377c33-a923-4f14-8587-531c474c7b48" providerId="ADAL" clId="{6ECD27E6-B224-41CD-B4E0-E297462320DD}" dt="2023-11-24T09:02:32.923" v="114297"/>
          <ac:spMkLst>
            <pc:docMk/>
            <pc:sldMk cId="43921188" sldId="2147478579"/>
            <ac:spMk id="745" creationId="{5CAC71EF-4A11-1276-8735-F5883E997BAC}"/>
          </ac:spMkLst>
        </pc:spChg>
        <pc:spChg chg="add del mod">
          <ac:chgData name="Steiner Andreas 6206 ED" userId="e6377c33-a923-4f14-8587-531c474c7b48" providerId="ADAL" clId="{6ECD27E6-B224-41CD-B4E0-E297462320DD}" dt="2023-11-24T09:02:36.413" v="114452"/>
          <ac:spMkLst>
            <pc:docMk/>
            <pc:sldMk cId="43921188" sldId="2147478579"/>
            <ac:spMk id="746" creationId="{CC91C057-35C4-246F-A53C-BAB14FB9DFEA}"/>
          </ac:spMkLst>
        </pc:spChg>
        <pc:spChg chg="add del mod">
          <ac:chgData name="Steiner Andreas 6206 ED" userId="e6377c33-a923-4f14-8587-531c474c7b48" providerId="ADAL" clId="{6ECD27E6-B224-41CD-B4E0-E297462320DD}" dt="2023-11-24T11:31:22.228" v="114607"/>
          <ac:spMkLst>
            <pc:docMk/>
            <pc:sldMk cId="43921188" sldId="2147478579"/>
            <ac:spMk id="747" creationId="{E8B78992-C091-A3E2-2682-4AC39DE7628F}"/>
          </ac:spMkLst>
        </pc:spChg>
        <pc:spChg chg="add del mod">
          <ac:chgData name="Steiner Andreas 6206 ED" userId="e6377c33-a923-4f14-8587-531c474c7b48" providerId="ADAL" clId="{6ECD27E6-B224-41CD-B4E0-E297462320DD}" dt="2023-11-24T11:33:29.589" v="114762"/>
          <ac:spMkLst>
            <pc:docMk/>
            <pc:sldMk cId="43921188" sldId="2147478579"/>
            <ac:spMk id="748" creationId="{5B84D6C1-7018-07D6-2B0E-5904EC58869E}"/>
          </ac:spMkLst>
        </pc:spChg>
        <pc:spChg chg="add del mod">
          <ac:chgData name="Steiner Andreas 6206 ED" userId="e6377c33-a923-4f14-8587-531c474c7b48" providerId="ADAL" clId="{6ECD27E6-B224-41CD-B4E0-E297462320DD}" dt="2023-11-24T11:33:36.055" v="114917"/>
          <ac:spMkLst>
            <pc:docMk/>
            <pc:sldMk cId="43921188" sldId="2147478579"/>
            <ac:spMk id="749" creationId="{B14DCBC4-F0C7-96E9-ACBC-DD95CEA94C9F}"/>
          </ac:spMkLst>
        </pc:spChg>
        <pc:spChg chg="add del mod">
          <ac:chgData name="Steiner Andreas 6206 ED" userId="e6377c33-a923-4f14-8587-531c474c7b48" providerId="ADAL" clId="{6ECD27E6-B224-41CD-B4E0-E297462320DD}" dt="2023-11-24T11:33:39.146" v="115072"/>
          <ac:spMkLst>
            <pc:docMk/>
            <pc:sldMk cId="43921188" sldId="2147478579"/>
            <ac:spMk id="750" creationId="{4C2246D4-CBB0-50A4-FF66-B861483423BD}"/>
          </ac:spMkLst>
        </pc:spChg>
        <pc:spChg chg="add del mod">
          <ac:chgData name="Steiner Andreas 6206 ED" userId="e6377c33-a923-4f14-8587-531c474c7b48" providerId="ADAL" clId="{6ECD27E6-B224-41CD-B4E0-E297462320DD}" dt="2023-11-24T11:33:42.712" v="115227"/>
          <ac:spMkLst>
            <pc:docMk/>
            <pc:sldMk cId="43921188" sldId="2147478579"/>
            <ac:spMk id="751" creationId="{458DF327-12A1-269D-61B5-8561AC789125}"/>
          </ac:spMkLst>
        </pc:spChg>
        <pc:spChg chg="add del mod">
          <ac:chgData name="Steiner Andreas 6206 ED" userId="e6377c33-a923-4f14-8587-531c474c7b48" providerId="ADAL" clId="{6ECD27E6-B224-41CD-B4E0-E297462320DD}" dt="2023-11-24T11:33:45.897" v="115382"/>
          <ac:spMkLst>
            <pc:docMk/>
            <pc:sldMk cId="43921188" sldId="2147478579"/>
            <ac:spMk id="752" creationId="{7B324368-9BC1-8A0C-05E9-83E514AD1466}"/>
          </ac:spMkLst>
        </pc:spChg>
        <pc:spChg chg="add del mod">
          <ac:chgData name="Steiner Andreas 6206 ED" userId="e6377c33-a923-4f14-8587-531c474c7b48" providerId="ADAL" clId="{6ECD27E6-B224-41CD-B4E0-E297462320DD}" dt="2023-11-24T11:33:49.062" v="115537"/>
          <ac:spMkLst>
            <pc:docMk/>
            <pc:sldMk cId="43921188" sldId="2147478579"/>
            <ac:spMk id="753" creationId="{18EE5E0B-8F0E-3C61-63EF-D3206755E716}"/>
          </ac:spMkLst>
        </pc:spChg>
        <pc:spChg chg="add del mod">
          <ac:chgData name="Steiner Andreas 6206 ED" userId="e6377c33-a923-4f14-8587-531c474c7b48" providerId="ADAL" clId="{6ECD27E6-B224-41CD-B4E0-E297462320DD}" dt="2023-11-24T11:33:51.755" v="115692"/>
          <ac:spMkLst>
            <pc:docMk/>
            <pc:sldMk cId="43921188" sldId="2147478579"/>
            <ac:spMk id="754" creationId="{42CFE38B-BA06-7388-87AA-561EDE359AE7}"/>
          </ac:spMkLst>
        </pc:spChg>
        <pc:spChg chg="add del mod">
          <ac:chgData name="Steiner Andreas 6206 ED" userId="e6377c33-a923-4f14-8587-531c474c7b48" providerId="ADAL" clId="{6ECD27E6-B224-41CD-B4E0-E297462320DD}" dt="2023-11-24T11:33:54.601" v="115847"/>
          <ac:spMkLst>
            <pc:docMk/>
            <pc:sldMk cId="43921188" sldId="2147478579"/>
            <ac:spMk id="755" creationId="{9D86299D-2EC9-C4B4-69D6-00B955576F74}"/>
          </ac:spMkLst>
        </pc:spChg>
        <pc:spChg chg="add del mod">
          <ac:chgData name="Steiner Andreas 6206 ED" userId="e6377c33-a923-4f14-8587-531c474c7b48" providerId="ADAL" clId="{6ECD27E6-B224-41CD-B4E0-E297462320DD}" dt="2023-11-24T11:33:57.165" v="116002"/>
          <ac:spMkLst>
            <pc:docMk/>
            <pc:sldMk cId="43921188" sldId="2147478579"/>
            <ac:spMk id="756" creationId="{AEF6ABA0-607E-BF24-6DD8-983B8B2570EB}"/>
          </ac:spMkLst>
        </pc:spChg>
        <pc:spChg chg="add del mod">
          <ac:chgData name="Steiner Andreas 6206 ED" userId="e6377c33-a923-4f14-8587-531c474c7b48" providerId="ADAL" clId="{6ECD27E6-B224-41CD-B4E0-E297462320DD}" dt="2023-11-24T11:33:59.497" v="116157"/>
          <ac:spMkLst>
            <pc:docMk/>
            <pc:sldMk cId="43921188" sldId="2147478579"/>
            <ac:spMk id="757" creationId="{B7FDE6D4-7486-FF03-31AA-0506A8882521}"/>
          </ac:spMkLst>
        </pc:spChg>
        <pc:spChg chg="add del mod">
          <ac:chgData name="Steiner Andreas 6206 ED" userId="e6377c33-a923-4f14-8587-531c474c7b48" providerId="ADAL" clId="{6ECD27E6-B224-41CD-B4E0-E297462320DD}" dt="2023-11-24T11:34:01.858" v="116312"/>
          <ac:spMkLst>
            <pc:docMk/>
            <pc:sldMk cId="43921188" sldId="2147478579"/>
            <ac:spMk id="758" creationId="{213DB025-ED17-6F01-E253-E383882AFF4D}"/>
          </ac:spMkLst>
        </pc:spChg>
        <pc:spChg chg="add del mod">
          <ac:chgData name="Steiner Andreas 6206 ED" userId="e6377c33-a923-4f14-8587-531c474c7b48" providerId="ADAL" clId="{6ECD27E6-B224-41CD-B4E0-E297462320DD}" dt="2023-11-24T11:34:04.206" v="116467"/>
          <ac:spMkLst>
            <pc:docMk/>
            <pc:sldMk cId="43921188" sldId="2147478579"/>
            <ac:spMk id="759" creationId="{3279349E-CE8E-C59E-CB55-031D143FD676}"/>
          </ac:spMkLst>
        </pc:spChg>
        <pc:spChg chg="add del mod">
          <ac:chgData name="Steiner Andreas 6206 ED" userId="e6377c33-a923-4f14-8587-531c474c7b48" providerId="ADAL" clId="{6ECD27E6-B224-41CD-B4E0-E297462320DD}" dt="2023-11-24T11:34:06.642" v="116622"/>
          <ac:spMkLst>
            <pc:docMk/>
            <pc:sldMk cId="43921188" sldId="2147478579"/>
            <ac:spMk id="760" creationId="{D940664A-AD3B-CC68-71E5-C95809FD2E59}"/>
          </ac:spMkLst>
        </pc:spChg>
        <pc:spChg chg="add del mod">
          <ac:chgData name="Steiner Andreas 6206 ED" userId="e6377c33-a923-4f14-8587-531c474c7b48" providerId="ADAL" clId="{6ECD27E6-B224-41CD-B4E0-E297462320DD}" dt="2023-11-24T11:34:09.230" v="116777"/>
          <ac:spMkLst>
            <pc:docMk/>
            <pc:sldMk cId="43921188" sldId="2147478579"/>
            <ac:spMk id="761" creationId="{767DAEFA-E370-846F-32E0-4B64D1CADDBE}"/>
          </ac:spMkLst>
        </pc:spChg>
        <pc:spChg chg="add del mod">
          <ac:chgData name="Steiner Andreas 6206 ED" userId="e6377c33-a923-4f14-8587-531c474c7b48" providerId="ADAL" clId="{6ECD27E6-B224-41CD-B4E0-E297462320DD}" dt="2023-11-24T11:34:11.314" v="116932"/>
          <ac:spMkLst>
            <pc:docMk/>
            <pc:sldMk cId="43921188" sldId="2147478579"/>
            <ac:spMk id="762" creationId="{3F3FBBC3-7B1C-3453-3E7D-79EF5A75BD81}"/>
          </ac:spMkLst>
        </pc:spChg>
        <pc:spChg chg="add del mod">
          <ac:chgData name="Steiner Andreas 6206 ED" userId="e6377c33-a923-4f14-8587-531c474c7b48" providerId="ADAL" clId="{6ECD27E6-B224-41CD-B4E0-E297462320DD}" dt="2023-11-24T11:34:13.078" v="117087"/>
          <ac:spMkLst>
            <pc:docMk/>
            <pc:sldMk cId="43921188" sldId="2147478579"/>
            <ac:spMk id="763" creationId="{0BB276E4-4CFC-844B-AD22-6518E4F1C616}"/>
          </ac:spMkLst>
        </pc:spChg>
        <pc:spChg chg="add del mod">
          <ac:chgData name="Steiner Andreas 6206 ED" userId="e6377c33-a923-4f14-8587-531c474c7b48" providerId="ADAL" clId="{6ECD27E6-B224-41CD-B4E0-E297462320DD}" dt="2023-11-24T11:34:14.869" v="117242"/>
          <ac:spMkLst>
            <pc:docMk/>
            <pc:sldMk cId="43921188" sldId="2147478579"/>
            <ac:spMk id="764" creationId="{73184AE2-162F-35FF-9295-7EE99901BCEC}"/>
          </ac:spMkLst>
        </pc:spChg>
        <pc:spChg chg="add del mod">
          <ac:chgData name="Steiner Andreas 6206 ED" userId="e6377c33-a923-4f14-8587-531c474c7b48" providerId="ADAL" clId="{6ECD27E6-B224-41CD-B4E0-E297462320DD}" dt="2023-11-24T11:34:16.622" v="117397"/>
          <ac:spMkLst>
            <pc:docMk/>
            <pc:sldMk cId="43921188" sldId="2147478579"/>
            <ac:spMk id="765" creationId="{788B2509-33B8-632A-704D-28EFC5D26805}"/>
          </ac:spMkLst>
        </pc:spChg>
        <pc:spChg chg="add del mod">
          <ac:chgData name="Steiner Andreas 6206 ED" userId="e6377c33-a923-4f14-8587-531c474c7b48" providerId="ADAL" clId="{6ECD27E6-B224-41CD-B4E0-E297462320DD}" dt="2023-11-24T11:34:18.477" v="117552"/>
          <ac:spMkLst>
            <pc:docMk/>
            <pc:sldMk cId="43921188" sldId="2147478579"/>
            <ac:spMk id="766" creationId="{BFB8581D-AB73-BCDE-F8EE-A6EAAB3C4CD5}"/>
          </ac:spMkLst>
        </pc:spChg>
        <pc:spChg chg="add del mod">
          <ac:chgData name="Steiner Andreas 6206 ED" userId="e6377c33-a923-4f14-8587-531c474c7b48" providerId="ADAL" clId="{6ECD27E6-B224-41CD-B4E0-E297462320DD}" dt="2023-11-24T11:34:20.528" v="117707"/>
          <ac:spMkLst>
            <pc:docMk/>
            <pc:sldMk cId="43921188" sldId="2147478579"/>
            <ac:spMk id="767" creationId="{B7B61397-C665-2B80-FF94-8BCC5C2D29DF}"/>
          </ac:spMkLst>
        </pc:spChg>
        <pc:spChg chg="add del mod">
          <ac:chgData name="Steiner Andreas 6206 ED" userId="e6377c33-a923-4f14-8587-531c474c7b48" providerId="ADAL" clId="{6ECD27E6-B224-41CD-B4E0-E297462320DD}" dt="2023-11-24T11:34:22.494" v="117862"/>
          <ac:spMkLst>
            <pc:docMk/>
            <pc:sldMk cId="43921188" sldId="2147478579"/>
            <ac:spMk id="768" creationId="{57FB8D9B-2810-3DF4-4C14-A74160991F30}"/>
          </ac:spMkLst>
        </pc:spChg>
        <pc:spChg chg="add del mod">
          <ac:chgData name="Steiner Andreas 6206 ED" userId="e6377c33-a923-4f14-8587-531c474c7b48" providerId="ADAL" clId="{6ECD27E6-B224-41CD-B4E0-E297462320DD}" dt="2023-11-24T11:34:24.608" v="118017"/>
          <ac:spMkLst>
            <pc:docMk/>
            <pc:sldMk cId="43921188" sldId="2147478579"/>
            <ac:spMk id="769" creationId="{03D67C87-6EE8-2887-2B83-AF1FB4D13A40}"/>
          </ac:spMkLst>
        </pc:spChg>
        <pc:spChg chg="add del mod">
          <ac:chgData name="Steiner Andreas 6206 ED" userId="e6377c33-a923-4f14-8587-531c474c7b48" providerId="ADAL" clId="{6ECD27E6-B224-41CD-B4E0-E297462320DD}" dt="2023-11-24T11:34:27.031" v="118172"/>
          <ac:spMkLst>
            <pc:docMk/>
            <pc:sldMk cId="43921188" sldId="2147478579"/>
            <ac:spMk id="770" creationId="{026E809F-70CD-F2B8-A33C-601FED0C9A70}"/>
          </ac:spMkLst>
        </pc:spChg>
        <pc:spChg chg="add del mod">
          <ac:chgData name="Steiner Andreas 6206 ED" userId="e6377c33-a923-4f14-8587-531c474c7b48" providerId="ADAL" clId="{6ECD27E6-B224-41CD-B4E0-E297462320DD}" dt="2023-11-24T11:34:29.167" v="118327"/>
          <ac:spMkLst>
            <pc:docMk/>
            <pc:sldMk cId="43921188" sldId="2147478579"/>
            <ac:spMk id="771" creationId="{9792DFDA-5551-FACC-27C3-4C8B5B58424E}"/>
          </ac:spMkLst>
        </pc:spChg>
        <pc:spChg chg="add del mod">
          <ac:chgData name="Steiner Andreas 6206 ED" userId="e6377c33-a923-4f14-8587-531c474c7b48" providerId="ADAL" clId="{6ECD27E6-B224-41CD-B4E0-E297462320DD}" dt="2023-11-24T11:34:31.427" v="118482"/>
          <ac:spMkLst>
            <pc:docMk/>
            <pc:sldMk cId="43921188" sldId="2147478579"/>
            <ac:spMk id="772" creationId="{33A51F1A-2A04-4A3E-D4ED-F1D4C1D6C98F}"/>
          </ac:spMkLst>
        </pc:spChg>
        <pc:spChg chg="add del mod">
          <ac:chgData name="Steiner Andreas 6206 ED" userId="e6377c33-a923-4f14-8587-531c474c7b48" providerId="ADAL" clId="{6ECD27E6-B224-41CD-B4E0-E297462320DD}" dt="2023-11-24T11:34:33.456" v="118637"/>
          <ac:spMkLst>
            <pc:docMk/>
            <pc:sldMk cId="43921188" sldId="2147478579"/>
            <ac:spMk id="773" creationId="{6D1D63BE-A7B2-3756-19EC-962ED321802C}"/>
          </ac:spMkLst>
        </pc:spChg>
        <pc:spChg chg="add del mod">
          <ac:chgData name="Steiner Andreas 6206 ED" userId="e6377c33-a923-4f14-8587-531c474c7b48" providerId="ADAL" clId="{6ECD27E6-B224-41CD-B4E0-E297462320DD}" dt="2023-11-24T11:34:35.439" v="118792"/>
          <ac:spMkLst>
            <pc:docMk/>
            <pc:sldMk cId="43921188" sldId="2147478579"/>
            <ac:spMk id="774" creationId="{D1E6449B-32EA-A5B9-5751-6D3BAF7D1C3F}"/>
          </ac:spMkLst>
        </pc:spChg>
        <pc:spChg chg="add del mod">
          <ac:chgData name="Steiner Andreas 6206 ED" userId="e6377c33-a923-4f14-8587-531c474c7b48" providerId="ADAL" clId="{6ECD27E6-B224-41CD-B4E0-E297462320DD}" dt="2023-11-24T11:34:37.476" v="118947"/>
          <ac:spMkLst>
            <pc:docMk/>
            <pc:sldMk cId="43921188" sldId="2147478579"/>
            <ac:spMk id="775" creationId="{981949B5-B758-4754-5252-7BE5A22382BE}"/>
          </ac:spMkLst>
        </pc:spChg>
        <pc:spChg chg="add del mod">
          <ac:chgData name="Steiner Andreas 6206 ED" userId="e6377c33-a923-4f14-8587-531c474c7b48" providerId="ADAL" clId="{6ECD27E6-B224-41CD-B4E0-E297462320DD}" dt="2023-11-24T11:34:39.463" v="119102"/>
          <ac:spMkLst>
            <pc:docMk/>
            <pc:sldMk cId="43921188" sldId="2147478579"/>
            <ac:spMk id="776" creationId="{FF2A0208-D534-3172-8210-9530A719CDE6}"/>
          </ac:spMkLst>
        </pc:spChg>
        <pc:spChg chg="add del mod">
          <ac:chgData name="Steiner Andreas 6206 ED" userId="e6377c33-a923-4f14-8587-531c474c7b48" providerId="ADAL" clId="{6ECD27E6-B224-41CD-B4E0-E297462320DD}" dt="2023-11-24T11:34:41.563" v="119257"/>
          <ac:spMkLst>
            <pc:docMk/>
            <pc:sldMk cId="43921188" sldId="2147478579"/>
            <ac:spMk id="777" creationId="{996A05C7-A97D-1CAB-C9FB-4163BD93548C}"/>
          </ac:spMkLst>
        </pc:spChg>
        <pc:spChg chg="add del mod">
          <ac:chgData name="Steiner Andreas 6206 ED" userId="e6377c33-a923-4f14-8587-531c474c7b48" providerId="ADAL" clId="{6ECD27E6-B224-41CD-B4E0-E297462320DD}" dt="2023-11-24T11:34:43.790" v="119412"/>
          <ac:spMkLst>
            <pc:docMk/>
            <pc:sldMk cId="43921188" sldId="2147478579"/>
            <ac:spMk id="778" creationId="{56E1EC0E-03B3-D64A-95F4-7994007C7B8C}"/>
          </ac:spMkLst>
        </pc:spChg>
        <pc:spChg chg="add del mod">
          <ac:chgData name="Steiner Andreas 6206 ED" userId="e6377c33-a923-4f14-8587-531c474c7b48" providerId="ADAL" clId="{6ECD27E6-B224-41CD-B4E0-E297462320DD}" dt="2023-11-24T11:34:45.804" v="119567"/>
          <ac:spMkLst>
            <pc:docMk/>
            <pc:sldMk cId="43921188" sldId="2147478579"/>
            <ac:spMk id="779" creationId="{9AF0F055-8796-9194-2F71-E71387AF7680}"/>
          </ac:spMkLst>
        </pc:spChg>
        <pc:spChg chg="add del mod">
          <ac:chgData name="Steiner Andreas 6206 ED" userId="e6377c33-a923-4f14-8587-531c474c7b48" providerId="ADAL" clId="{6ECD27E6-B224-41CD-B4E0-E297462320DD}" dt="2023-11-24T11:34:47.739" v="119722"/>
          <ac:spMkLst>
            <pc:docMk/>
            <pc:sldMk cId="43921188" sldId="2147478579"/>
            <ac:spMk id="780" creationId="{88463611-3E77-E339-3CA9-F38680E95CA1}"/>
          </ac:spMkLst>
        </pc:spChg>
        <pc:spChg chg="add del mod">
          <ac:chgData name="Steiner Andreas 6206 ED" userId="e6377c33-a923-4f14-8587-531c474c7b48" providerId="ADAL" clId="{6ECD27E6-B224-41CD-B4E0-E297462320DD}" dt="2023-11-24T11:34:49.869" v="119877"/>
          <ac:spMkLst>
            <pc:docMk/>
            <pc:sldMk cId="43921188" sldId="2147478579"/>
            <ac:spMk id="781" creationId="{FD8A2DE1-6909-D7ED-DAC9-705903A4F250}"/>
          </ac:spMkLst>
        </pc:spChg>
        <pc:spChg chg="add del mod">
          <ac:chgData name="Steiner Andreas 6206 ED" userId="e6377c33-a923-4f14-8587-531c474c7b48" providerId="ADAL" clId="{6ECD27E6-B224-41CD-B4E0-E297462320DD}" dt="2023-11-24T11:34:52.011" v="120032"/>
          <ac:spMkLst>
            <pc:docMk/>
            <pc:sldMk cId="43921188" sldId="2147478579"/>
            <ac:spMk id="782" creationId="{5C16FA8C-A61F-22CD-5154-2D1CBEF8332C}"/>
          </ac:spMkLst>
        </pc:spChg>
        <pc:spChg chg="add del mod">
          <ac:chgData name="Steiner Andreas 6206 ED" userId="e6377c33-a923-4f14-8587-531c474c7b48" providerId="ADAL" clId="{6ECD27E6-B224-41CD-B4E0-E297462320DD}" dt="2023-11-24T11:34:53.987" v="120187"/>
          <ac:spMkLst>
            <pc:docMk/>
            <pc:sldMk cId="43921188" sldId="2147478579"/>
            <ac:spMk id="783" creationId="{0AD7F17D-A5D5-D651-FC78-9250543F98C0}"/>
          </ac:spMkLst>
        </pc:spChg>
        <pc:spChg chg="add del mod">
          <ac:chgData name="Steiner Andreas 6206 ED" userId="e6377c33-a923-4f14-8587-531c474c7b48" providerId="ADAL" clId="{6ECD27E6-B224-41CD-B4E0-E297462320DD}" dt="2023-11-24T11:34:55.842" v="120342"/>
          <ac:spMkLst>
            <pc:docMk/>
            <pc:sldMk cId="43921188" sldId="2147478579"/>
            <ac:spMk id="784" creationId="{68ACD9D3-7FA6-DDF3-3863-009AFE50C786}"/>
          </ac:spMkLst>
        </pc:spChg>
        <pc:spChg chg="add del mod">
          <ac:chgData name="Steiner Andreas 6206 ED" userId="e6377c33-a923-4f14-8587-531c474c7b48" providerId="ADAL" clId="{6ECD27E6-B224-41CD-B4E0-E297462320DD}" dt="2023-11-24T11:34:57.681" v="120497"/>
          <ac:spMkLst>
            <pc:docMk/>
            <pc:sldMk cId="43921188" sldId="2147478579"/>
            <ac:spMk id="785" creationId="{6E1A3A05-6691-553E-9D9E-63DAA6D8F011}"/>
          </ac:spMkLst>
        </pc:spChg>
        <pc:spChg chg="add del mod">
          <ac:chgData name="Steiner Andreas 6206 ED" userId="e6377c33-a923-4f14-8587-531c474c7b48" providerId="ADAL" clId="{6ECD27E6-B224-41CD-B4E0-E297462320DD}" dt="2023-11-24T11:34:59.556" v="120652"/>
          <ac:spMkLst>
            <pc:docMk/>
            <pc:sldMk cId="43921188" sldId="2147478579"/>
            <ac:spMk id="786" creationId="{94ABDEB0-90D6-4EEC-EB90-72FAD93DEAF8}"/>
          </ac:spMkLst>
        </pc:spChg>
        <pc:spChg chg="add del mod">
          <ac:chgData name="Steiner Andreas 6206 ED" userId="e6377c33-a923-4f14-8587-531c474c7b48" providerId="ADAL" clId="{6ECD27E6-B224-41CD-B4E0-E297462320DD}" dt="2023-11-24T11:35:01.373" v="120807"/>
          <ac:spMkLst>
            <pc:docMk/>
            <pc:sldMk cId="43921188" sldId="2147478579"/>
            <ac:spMk id="787" creationId="{0FFC0491-46DC-4431-8EAC-8F3207F2E190}"/>
          </ac:spMkLst>
        </pc:spChg>
        <pc:spChg chg="add del mod">
          <ac:chgData name="Steiner Andreas 6206 ED" userId="e6377c33-a923-4f14-8587-531c474c7b48" providerId="ADAL" clId="{6ECD27E6-B224-41CD-B4E0-E297462320DD}" dt="2023-11-24T11:35:03.265" v="120962"/>
          <ac:spMkLst>
            <pc:docMk/>
            <pc:sldMk cId="43921188" sldId="2147478579"/>
            <ac:spMk id="788" creationId="{69E96990-33FF-67CC-0D31-7571521D983E}"/>
          </ac:spMkLst>
        </pc:spChg>
        <pc:spChg chg="add del mod">
          <ac:chgData name="Steiner Andreas 6206 ED" userId="e6377c33-a923-4f14-8587-531c474c7b48" providerId="ADAL" clId="{6ECD27E6-B224-41CD-B4E0-E297462320DD}" dt="2023-11-24T11:35:05.160" v="121117"/>
          <ac:spMkLst>
            <pc:docMk/>
            <pc:sldMk cId="43921188" sldId="2147478579"/>
            <ac:spMk id="789" creationId="{A90A17E9-65A4-C4F7-D3BE-95B289D56750}"/>
          </ac:spMkLst>
        </pc:spChg>
        <pc:spChg chg="add del mod">
          <ac:chgData name="Steiner Andreas 6206 ED" userId="e6377c33-a923-4f14-8587-531c474c7b48" providerId="ADAL" clId="{6ECD27E6-B224-41CD-B4E0-E297462320DD}" dt="2023-11-24T11:35:07.267" v="121272"/>
          <ac:spMkLst>
            <pc:docMk/>
            <pc:sldMk cId="43921188" sldId="2147478579"/>
            <ac:spMk id="790" creationId="{82C2B432-7332-D450-2F0B-23A84A6B7035}"/>
          </ac:spMkLst>
        </pc:spChg>
        <pc:spChg chg="add del mod">
          <ac:chgData name="Steiner Andreas 6206 ED" userId="e6377c33-a923-4f14-8587-531c474c7b48" providerId="ADAL" clId="{6ECD27E6-B224-41CD-B4E0-E297462320DD}" dt="2023-11-24T11:35:09.313" v="121427"/>
          <ac:spMkLst>
            <pc:docMk/>
            <pc:sldMk cId="43921188" sldId="2147478579"/>
            <ac:spMk id="791" creationId="{971FFCD0-35C6-57FB-18F4-3586788AB9DB}"/>
          </ac:spMkLst>
        </pc:spChg>
        <pc:spChg chg="add del mod">
          <ac:chgData name="Steiner Andreas 6206 ED" userId="e6377c33-a923-4f14-8587-531c474c7b48" providerId="ADAL" clId="{6ECD27E6-B224-41CD-B4E0-E297462320DD}" dt="2023-11-24T11:35:11.247" v="121582"/>
          <ac:spMkLst>
            <pc:docMk/>
            <pc:sldMk cId="43921188" sldId="2147478579"/>
            <ac:spMk id="792" creationId="{871DF72F-68E5-0C88-BE88-F9A9796B4A6A}"/>
          </ac:spMkLst>
        </pc:spChg>
        <pc:spChg chg="add del mod">
          <ac:chgData name="Steiner Andreas 6206 ED" userId="e6377c33-a923-4f14-8587-531c474c7b48" providerId="ADAL" clId="{6ECD27E6-B224-41CD-B4E0-E297462320DD}" dt="2023-11-24T11:35:13.032" v="121737"/>
          <ac:spMkLst>
            <pc:docMk/>
            <pc:sldMk cId="43921188" sldId="2147478579"/>
            <ac:spMk id="793" creationId="{2CD608F6-6099-096B-66EE-EF069BADCF0C}"/>
          </ac:spMkLst>
        </pc:spChg>
        <pc:spChg chg="add del mod">
          <ac:chgData name="Steiner Andreas 6206 ED" userId="e6377c33-a923-4f14-8587-531c474c7b48" providerId="ADAL" clId="{6ECD27E6-B224-41CD-B4E0-E297462320DD}" dt="2023-11-24T11:35:14.922" v="121892"/>
          <ac:spMkLst>
            <pc:docMk/>
            <pc:sldMk cId="43921188" sldId="2147478579"/>
            <ac:spMk id="794" creationId="{CFAAD59D-7AA5-316C-9065-C694165CFA57}"/>
          </ac:spMkLst>
        </pc:spChg>
        <pc:spChg chg="add del mod">
          <ac:chgData name="Steiner Andreas 6206 ED" userId="e6377c33-a923-4f14-8587-531c474c7b48" providerId="ADAL" clId="{6ECD27E6-B224-41CD-B4E0-E297462320DD}" dt="2023-11-24T11:35:16.666" v="122047"/>
          <ac:spMkLst>
            <pc:docMk/>
            <pc:sldMk cId="43921188" sldId="2147478579"/>
            <ac:spMk id="795" creationId="{57D917A8-5DA4-B77E-1F0D-76EC23CEE64F}"/>
          </ac:spMkLst>
        </pc:spChg>
        <pc:spChg chg="add del mod">
          <ac:chgData name="Steiner Andreas 6206 ED" userId="e6377c33-a923-4f14-8587-531c474c7b48" providerId="ADAL" clId="{6ECD27E6-B224-41CD-B4E0-E297462320DD}" dt="2023-11-24T11:35:18.383" v="122202"/>
          <ac:spMkLst>
            <pc:docMk/>
            <pc:sldMk cId="43921188" sldId="2147478579"/>
            <ac:spMk id="796" creationId="{1EA1BD4A-1A80-5B5F-911B-6A08973D7841}"/>
          </ac:spMkLst>
        </pc:spChg>
        <pc:spChg chg="add del mod">
          <ac:chgData name="Steiner Andreas 6206 ED" userId="e6377c33-a923-4f14-8587-531c474c7b48" providerId="ADAL" clId="{6ECD27E6-B224-41CD-B4E0-E297462320DD}" dt="2023-11-24T11:35:20.002" v="122357"/>
          <ac:spMkLst>
            <pc:docMk/>
            <pc:sldMk cId="43921188" sldId="2147478579"/>
            <ac:spMk id="797" creationId="{11BB37F9-1512-4AD9-382F-3283D0AA6F6C}"/>
          </ac:spMkLst>
        </pc:spChg>
        <pc:spChg chg="add del mod">
          <ac:chgData name="Steiner Andreas 6206 ED" userId="e6377c33-a923-4f14-8587-531c474c7b48" providerId="ADAL" clId="{6ECD27E6-B224-41CD-B4E0-E297462320DD}" dt="2023-11-24T11:35:21.635" v="122512"/>
          <ac:spMkLst>
            <pc:docMk/>
            <pc:sldMk cId="43921188" sldId="2147478579"/>
            <ac:spMk id="798" creationId="{3A9BFFE4-6443-4D7F-8C5F-9A83148B401A}"/>
          </ac:spMkLst>
        </pc:spChg>
        <pc:spChg chg="add del mod">
          <ac:chgData name="Steiner Andreas 6206 ED" userId="e6377c33-a923-4f14-8587-531c474c7b48" providerId="ADAL" clId="{6ECD27E6-B224-41CD-B4E0-E297462320DD}" dt="2023-11-24T11:35:23.327" v="122667"/>
          <ac:spMkLst>
            <pc:docMk/>
            <pc:sldMk cId="43921188" sldId="2147478579"/>
            <ac:spMk id="799" creationId="{05BFBEB0-6737-12A0-E0BE-70BF3F31A125}"/>
          </ac:spMkLst>
        </pc:spChg>
        <pc:spChg chg="add del mod">
          <ac:chgData name="Steiner Andreas 6206 ED" userId="e6377c33-a923-4f14-8587-531c474c7b48" providerId="ADAL" clId="{6ECD27E6-B224-41CD-B4E0-E297462320DD}" dt="2023-11-24T11:35:25.273" v="122822"/>
          <ac:spMkLst>
            <pc:docMk/>
            <pc:sldMk cId="43921188" sldId="2147478579"/>
            <ac:spMk id="800" creationId="{4763E75C-FE11-580E-7071-3C601E76CC95}"/>
          </ac:spMkLst>
        </pc:spChg>
        <pc:spChg chg="add del mod">
          <ac:chgData name="Steiner Andreas 6206 ED" userId="e6377c33-a923-4f14-8587-531c474c7b48" providerId="ADAL" clId="{6ECD27E6-B224-41CD-B4E0-E297462320DD}" dt="2023-11-24T11:35:27.367" v="122977"/>
          <ac:spMkLst>
            <pc:docMk/>
            <pc:sldMk cId="43921188" sldId="2147478579"/>
            <ac:spMk id="801" creationId="{9E341AE1-725F-3481-AA57-B731F676B7AA}"/>
          </ac:spMkLst>
        </pc:spChg>
        <pc:spChg chg="add del mod">
          <ac:chgData name="Steiner Andreas 6206 ED" userId="e6377c33-a923-4f14-8587-531c474c7b48" providerId="ADAL" clId="{6ECD27E6-B224-41CD-B4E0-E297462320DD}" dt="2023-11-24T11:35:29.248" v="123132"/>
          <ac:spMkLst>
            <pc:docMk/>
            <pc:sldMk cId="43921188" sldId="2147478579"/>
            <ac:spMk id="802" creationId="{BEB53A2D-A7A7-26B9-223D-B4B0C904892F}"/>
          </ac:spMkLst>
        </pc:spChg>
        <pc:spChg chg="add del mod">
          <ac:chgData name="Steiner Andreas 6206 ED" userId="e6377c33-a923-4f14-8587-531c474c7b48" providerId="ADAL" clId="{6ECD27E6-B224-41CD-B4E0-E297462320DD}" dt="2023-11-24T11:35:31.014" v="123287"/>
          <ac:spMkLst>
            <pc:docMk/>
            <pc:sldMk cId="43921188" sldId="2147478579"/>
            <ac:spMk id="803" creationId="{5CFAE5C0-B4EB-AE31-C9FB-B41C46395AE1}"/>
          </ac:spMkLst>
        </pc:spChg>
        <pc:spChg chg="add del mod">
          <ac:chgData name="Steiner Andreas 6206 ED" userId="e6377c33-a923-4f14-8587-531c474c7b48" providerId="ADAL" clId="{6ECD27E6-B224-41CD-B4E0-E297462320DD}" dt="2023-11-24T11:35:33.879" v="123442"/>
          <ac:spMkLst>
            <pc:docMk/>
            <pc:sldMk cId="43921188" sldId="2147478579"/>
            <ac:spMk id="804" creationId="{D1F7B40F-CDA7-5503-0AE9-1F58BC57145A}"/>
          </ac:spMkLst>
        </pc:spChg>
        <pc:spChg chg="add del mod">
          <ac:chgData name="Steiner Andreas 6206 ED" userId="e6377c33-a923-4f14-8587-531c474c7b48" providerId="ADAL" clId="{6ECD27E6-B224-41CD-B4E0-E297462320DD}" dt="2023-11-24T11:35:35.722" v="123597"/>
          <ac:spMkLst>
            <pc:docMk/>
            <pc:sldMk cId="43921188" sldId="2147478579"/>
            <ac:spMk id="805" creationId="{C9FCB64F-C46A-BAFD-2AA2-DD0F0BFB6BE8}"/>
          </ac:spMkLst>
        </pc:spChg>
        <pc:spChg chg="add del mod">
          <ac:chgData name="Steiner Andreas 6206 ED" userId="e6377c33-a923-4f14-8587-531c474c7b48" providerId="ADAL" clId="{6ECD27E6-B224-41CD-B4E0-E297462320DD}" dt="2023-11-24T11:35:37.438" v="123752"/>
          <ac:spMkLst>
            <pc:docMk/>
            <pc:sldMk cId="43921188" sldId="2147478579"/>
            <ac:spMk id="806" creationId="{0DB00E4F-8F77-EB34-D32A-686B996DA0DD}"/>
          </ac:spMkLst>
        </pc:spChg>
        <pc:spChg chg="add del mod">
          <ac:chgData name="Steiner Andreas 6206 ED" userId="e6377c33-a923-4f14-8587-531c474c7b48" providerId="ADAL" clId="{6ECD27E6-B224-41CD-B4E0-E297462320DD}" dt="2023-11-24T11:35:39.070" v="123907"/>
          <ac:spMkLst>
            <pc:docMk/>
            <pc:sldMk cId="43921188" sldId="2147478579"/>
            <ac:spMk id="807" creationId="{2BED3EAF-2E4D-35B3-C274-554A52449DFA}"/>
          </ac:spMkLst>
        </pc:spChg>
        <pc:spChg chg="add del mod">
          <ac:chgData name="Steiner Andreas 6206 ED" userId="e6377c33-a923-4f14-8587-531c474c7b48" providerId="ADAL" clId="{6ECD27E6-B224-41CD-B4E0-E297462320DD}" dt="2023-11-24T11:35:40.781" v="124062"/>
          <ac:spMkLst>
            <pc:docMk/>
            <pc:sldMk cId="43921188" sldId="2147478579"/>
            <ac:spMk id="808" creationId="{1EEBF5FF-1042-5492-A52D-E5D3EBB6EA78}"/>
          </ac:spMkLst>
        </pc:spChg>
        <pc:spChg chg="add del mod">
          <ac:chgData name="Steiner Andreas 6206 ED" userId="e6377c33-a923-4f14-8587-531c474c7b48" providerId="ADAL" clId="{6ECD27E6-B224-41CD-B4E0-E297462320DD}" dt="2023-11-24T11:35:42.378" v="124217"/>
          <ac:spMkLst>
            <pc:docMk/>
            <pc:sldMk cId="43921188" sldId="2147478579"/>
            <ac:spMk id="809" creationId="{7C88AAAF-3CE5-E2C7-328C-3EC3A86D3A85}"/>
          </ac:spMkLst>
        </pc:spChg>
        <pc:spChg chg="add del mod">
          <ac:chgData name="Steiner Andreas 6206 ED" userId="e6377c33-a923-4f14-8587-531c474c7b48" providerId="ADAL" clId="{6ECD27E6-B224-41CD-B4E0-E297462320DD}" dt="2023-11-24T11:35:44.048" v="124372"/>
          <ac:spMkLst>
            <pc:docMk/>
            <pc:sldMk cId="43921188" sldId="2147478579"/>
            <ac:spMk id="810" creationId="{CD966081-0FFF-5AFF-E494-EC8C0DE437E3}"/>
          </ac:spMkLst>
        </pc:spChg>
        <pc:spChg chg="add del mod">
          <ac:chgData name="Steiner Andreas 6206 ED" userId="e6377c33-a923-4f14-8587-531c474c7b48" providerId="ADAL" clId="{6ECD27E6-B224-41CD-B4E0-E297462320DD}" dt="2023-11-24T11:35:45.703" v="124527"/>
          <ac:spMkLst>
            <pc:docMk/>
            <pc:sldMk cId="43921188" sldId="2147478579"/>
            <ac:spMk id="811" creationId="{2A007B72-E911-1F63-E045-46A668317541}"/>
          </ac:spMkLst>
        </pc:spChg>
        <pc:spChg chg="add del mod">
          <ac:chgData name="Steiner Andreas 6206 ED" userId="e6377c33-a923-4f14-8587-531c474c7b48" providerId="ADAL" clId="{6ECD27E6-B224-41CD-B4E0-E297462320DD}" dt="2023-11-24T11:35:47.407" v="124682"/>
          <ac:spMkLst>
            <pc:docMk/>
            <pc:sldMk cId="43921188" sldId="2147478579"/>
            <ac:spMk id="812" creationId="{BE316F25-415F-599C-1937-FB7D02E8140F}"/>
          </ac:spMkLst>
        </pc:spChg>
        <pc:spChg chg="add del mod">
          <ac:chgData name="Steiner Andreas 6206 ED" userId="e6377c33-a923-4f14-8587-531c474c7b48" providerId="ADAL" clId="{6ECD27E6-B224-41CD-B4E0-E297462320DD}" dt="2023-11-24T11:35:49.145" v="124837"/>
          <ac:spMkLst>
            <pc:docMk/>
            <pc:sldMk cId="43921188" sldId="2147478579"/>
            <ac:spMk id="813" creationId="{84668A06-A675-9785-C0E1-70AFAC994D3F}"/>
          </ac:spMkLst>
        </pc:spChg>
        <pc:spChg chg="add del mod">
          <ac:chgData name="Steiner Andreas 6206 ED" userId="e6377c33-a923-4f14-8587-531c474c7b48" providerId="ADAL" clId="{6ECD27E6-B224-41CD-B4E0-E297462320DD}" dt="2023-11-24T11:35:51.077" v="124992"/>
          <ac:spMkLst>
            <pc:docMk/>
            <pc:sldMk cId="43921188" sldId="2147478579"/>
            <ac:spMk id="814" creationId="{37391AA3-B4CF-6A7D-EBDC-F639F588BE46}"/>
          </ac:spMkLst>
        </pc:spChg>
        <pc:spChg chg="add del mod">
          <ac:chgData name="Steiner Andreas 6206 ED" userId="e6377c33-a923-4f14-8587-531c474c7b48" providerId="ADAL" clId="{6ECD27E6-B224-41CD-B4E0-E297462320DD}" dt="2023-11-24T11:35:52.823" v="125147"/>
          <ac:spMkLst>
            <pc:docMk/>
            <pc:sldMk cId="43921188" sldId="2147478579"/>
            <ac:spMk id="815" creationId="{D29F0E7A-7B39-4C02-AC2D-2494E4D4DFAB}"/>
          </ac:spMkLst>
        </pc:spChg>
        <pc:spChg chg="add del mod">
          <ac:chgData name="Steiner Andreas 6206 ED" userId="e6377c33-a923-4f14-8587-531c474c7b48" providerId="ADAL" clId="{6ECD27E6-B224-41CD-B4E0-E297462320DD}" dt="2023-11-24T11:35:54.801" v="125302"/>
          <ac:spMkLst>
            <pc:docMk/>
            <pc:sldMk cId="43921188" sldId="2147478579"/>
            <ac:spMk id="816" creationId="{A97667C6-A4E8-2615-520A-CE9569CDB388}"/>
          </ac:spMkLst>
        </pc:spChg>
        <pc:spChg chg="add del mod">
          <ac:chgData name="Steiner Andreas 6206 ED" userId="e6377c33-a923-4f14-8587-531c474c7b48" providerId="ADAL" clId="{6ECD27E6-B224-41CD-B4E0-E297462320DD}" dt="2023-11-24T11:35:56.897" v="125457"/>
          <ac:spMkLst>
            <pc:docMk/>
            <pc:sldMk cId="43921188" sldId="2147478579"/>
            <ac:spMk id="817" creationId="{411F45D7-CDE7-9401-92A6-7121A420EA85}"/>
          </ac:spMkLst>
        </pc:spChg>
        <pc:spChg chg="add del mod">
          <ac:chgData name="Steiner Andreas 6206 ED" userId="e6377c33-a923-4f14-8587-531c474c7b48" providerId="ADAL" clId="{6ECD27E6-B224-41CD-B4E0-E297462320DD}" dt="2023-11-24T11:35:58.793" v="125612"/>
          <ac:spMkLst>
            <pc:docMk/>
            <pc:sldMk cId="43921188" sldId="2147478579"/>
            <ac:spMk id="818" creationId="{C15DF6A7-5A5E-18E3-E54B-95A9100FB7FA}"/>
          </ac:spMkLst>
        </pc:spChg>
        <pc:spChg chg="add del mod">
          <ac:chgData name="Steiner Andreas 6206 ED" userId="e6377c33-a923-4f14-8587-531c474c7b48" providerId="ADAL" clId="{6ECD27E6-B224-41CD-B4E0-E297462320DD}" dt="2023-11-24T11:36:00.526" v="125767"/>
          <ac:spMkLst>
            <pc:docMk/>
            <pc:sldMk cId="43921188" sldId="2147478579"/>
            <ac:spMk id="819" creationId="{C21E436F-C2FB-77CE-E10B-E9C195C2848E}"/>
          </ac:spMkLst>
        </pc:spChg>
        <pc:spChg chg="add del mod">
          <ac:chgData name="Steiner Andreas 6206 ED" userId="e6377c33-a923-4f14-8587-531c474c7b48" providerId="ADAL" clId="{6ECD27E6-B224-41CD-B4E0-E297462320DD}" dt="2023-11-24T11:36:02.261" v="125922"/>
          <ac:spMkLst>
            <pc:docMk/>
            <pc:sldMk cId="43921188" sldId="2147478579"/>
            <ac:spMk id="820" creationId="{B500F0EA-35D9-19D0-A5DC-C268D64BA040}"/>
          </ac:spMkLst>
        </pc:spChg>
        <pc:spChg chg="add del mod">
          <ac:chgData name="Steiner Andreas 6206 ED" userId="e6377c33-a923-4f14-8587-531c474c7b48" providerId="ADAL" clId="{6ECD27E6-B224-41CD-B4E0-E297462320DD}" dt="2023-11-24T11:36:04.008" v="126077"/>
          <ac:spMkLst>
            <pc:docMk/>
            <pc:sldMk cId="43921188" sldId="2147478579"/>
            <ac:spMk id="821" creationId="{56501BAB-94BE-C509-C6AF-04E418F22C42}"/>
          </ac:spMkLst>
        </pc:spChg>
        <pc:spChg chg="add del mod">
          <ac:chgData name="Steiner Andreas 6206 ED" userId="e6377c33-a923-4f14-8587-531c474c7b48" providerId="ADAL" clId="{6ECD27E6-B224-41CD-B4E0-E297462320DD}" dt="2023-11-24T11:36:05.784" v="126232"/>
          <ac:spMkLst>
            <pc:docMk/>
            <pc:sldMk cId="43921188" sldId="2147478579"/>
            <ac:spMk id="822" creationId="{2A5C7A71-7A75-F76D-4A61-31FB9F37B39A}"/>
          </ac:spMkLst>
        </pc:spChg>
        <pc:spChg chg="add del mod">
          <ac:chgData name="Steiner Andreas 6206 ED" userId="e6377c33-a923-4f14-8587-531c474c7b48" providerId="ADAL" clId="{6ECD27E6-B224-41CD-B4E0-E297462320DD}" dt="2023-11-24T11:36:07.450" v="126387"/>
          <ac:spMkLst>
            <pc:docMk/>
            <pc:sldMk cId="43921188" sldId="2147478579"/>
            <ac:spMk id="823" creationId="{B9A11655-A650-7612-132C-DAE3992F0BD9}"/>
          </ac:spMkLst>
        </pc:spChg>
        <pc:spChg chg="add del mod">
          <ac:chgData name="Steiner Andreas 6206 ED" userId="e6377c33-a923-4f14-8587-531c474c7b48" providerId="ADAL" clId="{6ECD27E6-B224-41CD-B4E0-E297462320DD}" dt="2023-11-24T11:36:09.305" v="126542"/>
          <ac:spMkLst>
            <pc:docMk/>
            <pc:sldMk cId="43921188" sldId="2147478579"/>
            <ac:spMk id="824" creationId="{7C5CFD7A-F73D-C196-5A89-C83E2C0BCED0}"/>
          </ac:spMkLst>
        </pc:spChg>
        <pc:spChg chg="add del mod">
          <ac:chgData name="Steiner Andreas 6206 ED" userId="e6377c33-a923-4f14-8587-531c474c7b48" providerId="ADAL" clId="{6ECD27E6-B224-41CD-B4E0-E297462320DD}" dt="2023-11-24T11:36:11.105" v="126697"/>
          <ac:spMkLst>
            <pc:docMk/>
            <pc:sldMk cId="43921188" sldId="2147478579"/>
            <ac:spMk id="825" creationId="{CFF5922A-1FFA-6D18-1FF2-2280D8BCD9AE}"/>
          </ac:spMkLst>
        </pc:spChg>
        <pc:spChg chg="add del mod">
          <ac:chgData name="Steiner Andreas 6206 ED" userId="e6377c33-a923-4f14-8587-531c474c7b48" providerId="ADAL" clId="{6ECD27E6-B224-41CD-B4E0-E297462320DD}" dt="2023-11-24T11:36:13.024" v="126852"/>
          <ac:spMkLst>
            <pc:docMk/>
            <pc:sldMk cId="43921188" sldId="2147478579"/>
            <ac:spMk id="826" creationId="{7148389E-7B22-178D-51A2-3D3C6975F5A1}"/>
          </ac:spMkLst>
        </pc:spChg>
        <pc:spChg chg="add del mod">
          <ac:chgData name="Steiner Andreas 6206 ED" userId="e6377c33-a923-4f14-8587-531c474c7b48" providerId="ADAL" clId="{6ECD27E6-B224-41CD-B4E0-E297462320DD}" dt="2023-11-24T11:36:14.911" v="127007"/>
          <ac:spMkLst>
            <pc:docMk/>
            <pc:sldMk cId="43921188" sldId="2147478579"/>
            <ac:spMk id="827" creationId="{2444D8DB-54E5-C3F7-8856-0E49DC48488D}"/>
          </ac:spMkLst>
        </pc:spChg>
        <pc:spChg chg="add del mod">
          <ac:chgData name="Steiner Andreas 6206 ED" userId="e6377c33-a923-4f14-8587-531c474c7b48" providerId="ADAL" clId="{6ECD27E6-B224-41CD-B4E0-E297462320DD}" dt="2023-11-24T11:36:17.269" v="127162"/>
          <ac:spMkLst>
            <pc:docMk/>
            <pc:sldMk cId="43921188" sldId="2147478579"/>
            <ac:spMk id="828" creationId="{1125FE93-5E5C-8DEA-1EFE-4B56921D38FC}"/>
          </ac:spMkLst>
        </pc:spChg>
        <pc:spChg chg="add del mod">
          <ac:chgData name="Steiner Andreas 6206 ED" userId="e6377c33-a923-4f14-8587-531c474c7b48" providerId="ADAL" clId="{6ECD27E6-B224-41CD-B4E0-E297462320DD}" dt="2023-11-24T11:36:19.931" v="127317"/>
          <ac:spMkLst>
            <pc:docMk/>
            <pc:sldMk cId="43921188" sldId="2147478579"/>
            <ac:spMk id="829" creationId="{5A791AB3-88F6-957D-ED58-B20D3791379D}"/>
          </ac:spMkLst>
        </pc:spChg>
        <pc:spChg chg="add del mod">
          <ac:chgData name="Steiner Andreas 6206 ED" userId="e6377c33-a923-4f14-8587-531c474c7b48" providerId="ADAL" clId="{6ECD27E6-B224-41CD-B4E0-E297462320DD}" dt="2023-11-24T11:36:22.305" v="127472"/>
          <ac:spMkLst>
            <pc:docMk/>
            <pc:sldMk cId="43921188" sldId="2147478579"/>
            <ac:spMk id="830" creationId="{45FD4D35-974A-B3F5-1353-B72CA6F5C6D6}"/>
          </ac:spMkLst>
        </pc:spChg>
        <pc:spChg chg="add del mod">
          <ac:chgData name="Steiner Andreas 6206 ED" userId="e6377c33-a923-4f14-8587-531c474c7b48" providerId="ADAL" clId="{6ECD27E6-B224-41CD-B4E0-E297462320DD}" dt="2023-11-24T11:36:25.308" v="127627"/>
          <ac:spMkLst>
            <pc:docMk/>
            <pc:sldMk cId="43921188" sldId="2147478579"/>
            <ac:spMk id="831" creationId="{262F717D-5ECC-915E-39B2-EF4F229A8156}"/>
          </ac:spMkLst>
        </pc:spChg>
        <pc:spChg chg="add del mod">
          <ac:chgData name="Steiner Andreas 6206 ED" userId="e6377c33-a923-4f14-8587-531c474c7b48" providerId="ADAL" clId="{6ECD27E6-B224-41CD-B4E0-E297462320DD}" dt="2023-11-24T11:36:28.284" v="127782"/>
          <ac:spMkLst>
            <pc:docMk/>
            <pc:sldMk cId="43921188" sldId="2147478579"/>
            <ac:spMk id="832" creationId="{53F04F25-2058-D594-49D9-CEE370515074}"/>
          </ac:spMkLst>
        </pc:spChg>
        <pc:spChg chg="add del mod">
          <ac:chgData name="Steiner Andreas 6206 ED" userId="e6377c33-a923-4f14-8587-531c474c7b48" providerId="ADAL" clId="{6ECD27E6-B224-41CD-B4E0-E297462320DD}" dt="2023-11-24T11:36:30.959" v="127937"/>
          <ac:spMkLst>
            <pc:docMk/>
            <pc:sldMk cId="43921188" sldId="2147478579"/>
            <ac:spMk id="833" creationId="{0730B985-C711-23E8-C52C-F62567BB0584}"/>
          </ac:spMkLst>
        </pc:spChg>
        <pc:spChg chg="add del mod">
          <ac:chgData name="Steiner Andreas 6206 ED" userId="e6377c33-a923-4f14-8587-531c474c7b48" providerId="ADAL" clId="{6ECD27E6-B224-41CD-B4E0-E297462320DD}" dt="2023-11-24T11:36:33.194" v="128092"/>
          <ac:spMkLst>
            <pc:docMk/>
            <pc:sldMk cId="43921188" sldId="2147478579"/>
            <ac:spMk id="834" creationId="{4D6F081A-E8F8-1345-E8DA-C21958259CF0}"/>
          </ac:spMkLst>
        </pc:spChg>
        <pc:spChg chg="add del mod">
          <ac:chgData name="Steiner Andreas 6206 ED" userId="e6377c33-a923-4f14-8587-531c474c7b48" providerId="ADAL" clId="{6ECD27E6-B224-41CD-B4E0-E297462320DD}" dt="2023-11-24T11:36:35.294" v="128247"/>
          <ac:spMkLst>
            <pc:docMk/>
            <pc:sldMk cId="43921188" sldId="2147478579"/>
            <ac:spMk id="835" creationId="{58A626DE-AFAC-7D91-AB5E-01257358C3B0}"/>
          </ac:spMkLst>
        </pc:spChg>
        <pc:spChg chg="add del mod">
          <ac:chgData name="Steiner Andreas 6206 ED" userId="e6377c33-a923-4f14-8587-531c474c7b48" providerId="ADAL" clId="{6ECD27E6-B224-41CD-B4E0-E297462320DD}" dt="2023-11-24T11:36:37.364" v="128402"/>
          <ac:spMkLst>
            <pc:docMk/>
            <pc:sldMk cId="43921188" sldId="2147478579"/>
            <ac:spMk id="836" creationId="{94D8CEBA-81E5-9810-3586-22F48B5D41E4}"/>
          </ac:spMkLst>
        </pc:spChg>
        <pc:spChg chg="add del mod">
          <ac:chgData name="Steiner Andreas 6206 ED" userId="e6377c33-a923-4f14-8587-531c474c7b48" providerId="ADAL" clId="{6ECD27E6-B224-41CD-B4E0-E297462320DD}" dt="2023-11-24T11:36:39.577" v="128557"/>
          <ac:spMkLst>
            <pc:docMk/>
            <pc:sldMk cId="43921188" sldId="2147478579"/>
            <ac:spMk id="837" creationId="{3D0CEE66-629D-47F5-A745-525785AE51E7}"/>
          </ac:spMkLst>
        </pc:spChg>
        <pc:spChg chg="add del mod">
          <ac:chgData name="Steiner Andreas 6206 ED" userId="e6377c33-a923-4f14-8587-531c474c7b48" providerId="ADAL" clId="{6ECD27E6-B224-41CD-B4E0-E297462320DD}" dt="2023-11-24T11:36:42.133" v="128712"/>
          <ac:spMkLst>
            <pc:docMk/>
            <pc:sldMk cId="43921188" sldId="2147478579"/>
            <ac:spMk id="838" creationId="{15AD7C06-A723-2CE2-E382-A80A79BD2FED}"/>
          </ac:spMkLst>
        </pc:spChg>
        <pc:spChg chg="add del mod">
          <ac:chgData name="Steiner Andreas 6206 ED" userId="e6377c33-a923-4f14-8587-531c474c7b48" providerId="ADAL" clId="{6ECD27E6-B224-41CD-B4E0-E297462320DD}" dt="2023-11-24T11:36:44.454" v="128867"/>
          <ac:spMkLst>
            <pc:docMk/>
            <pc:sldMk cId="43921188" sldId="2147478579"/>
            <ac:spMk id="839" creationId="{FA44B5CD-01F6-2029-0ABA-555ADCA0A475}"/>
          </ac:spMkLst>
        </pc:spChg>
        <pc:spChg chg="add del mod">
          <ac:chgData name="Steiner Andreas 6206 ED" userId="e6377c33-a923-4f14-8587-531c474c7b48" providerId="ADAL" clId="{6ECD27E6-B224-41CD-B4E0-E297462320DD}" dt="2023-11-24T11:36:46.469" v="129022"/>
          <ac:spMkLst>
            <pc:docMk/>
            <pc:sldMk cId="43921188" sldId="2147478579"/>
            <ac:spMk id="840" creationId="{2DD890F4-4B02-3359-0D3D-32F3FC552A2B}"/>
          </ac:spMkLst>
        </pc:spChg>
        <pc:spChg chg="add del mod">
          <ac:chgData name="Steiner Andreas 6206 ED" userId="e6377c33-a923-4f14-8587-531c474c7b48" providerId="ADAL" clId="{6ECD27E6-B224-41CD-B4E0-E297462320DD}" dt="2023-11-24T11:36:48.427" v="129177"/>
          <ac:spMkLst>
            <pc:docMk/>
            <pc:sldMk cId="43921188" sldId="2147478579"/>
            <ac:spMk id="841" creationId="{ADB2A3D3-59AD-C7BA-B721-6A63634B6DD6}"/>
          </ac:spMkLst>
        </pc:spChg>
        <pc:spChg chg="add del mod">
          <ac:chgData name="Steiner Andreas 6206 ED" userId="e6377c33-a923-4f14-8587-531c474c7b48" providerId="ADAL" clId="{6ECD27E6-B224-41CD-B4E0-E297462320DD}" dt="2023-11-24T11:36:50.385" v="129332"/>
          <ac:spMkLst>
            <pc:docMk/>
            <pc:sldMk cId="43921188" sldId="2147478579"/>
            <ac:spMk id="842" creationId="{A4F37BC6-D591-C042-67C8-B1DEDD1FAE5D}"/>
          </ac:spMkLst>
        </pc:spChg>
        <pc:spChg chg="add del mod">
          <ac:chgData name="Steiner Andreas 6206 ED" userId="e6377c33-a923-4f14-8587-531c474c7b48" providerId="ADAL" clId="{6ECD27E6-B224-41CD-B4E0-E297462320DD}" dt="2023-11-24T11:36:52.545" v="129487"/>
          <ac:spMkLst>
            <pc:docMk/>
            <pc:sldMk cId="43921188" sldId="2147478579"/>
            <ac:spMk id="843" creationId="{9099A994-4605-1A06-694A-682D27AD81EC}"/>
          </ac:spMkLst>
        </pc:spChg>
        <pc:spChg chg="add del mod">
          <ac:chgData name="Steiner Andreas 6206 ED" userId="e6377c33-a923-4f14-8587-531c474c7b48" providerId="ADAL" clId="{6ECD27E6-B224-41CD-B4E0-E297462320DD}" dt="2023-11-24T11:36:55.341" v="129642"/>
          <ac:spMkLst>
            <pc:docMk/>
            <pc:sldMk cId="43921188" sldId="2147478579"/>
            <ac:spMk id="844" creationId="{EB058E50-158B-D217-07A7-AC2C109D0FB5}"/>
          </ac:spMkLst>
        </pc:spChg>
        <pc:spChg chg="add del mod">
          <ac:chgData name="Steiner Andreas 6206 ED" userId="e6377c33-a923-4f14-8587-531c474c7b48" providerId="ADAL" clId="{6ECD27E6-B224-41CD-B4E0-E297462320DD}" dt="2023-11-24T11:36:57.565" v="129797"/>
          <ac:spMkLst>
            <pc:docMk/>
            <pc:sldMk cId="43921188" sldId="2147478579"/>
            <ac:spMk id="845" creationId="{69AE527E-DF00-4328-E37D-A025A6144431}"/>
          </ac:spMkLst>
        </pc:spChg>
        <pc:spChg chg="add del mod">
          <ac:chgData name="Steiner Andreas 6206 ED" userId="e6377c33-a923-4f14-8587-531c474c7b48" providerId="ADAL" clId="{6ECD27E6-B224-41CD-B4E0-E297462320DD}" dt="2023-11-24T11:37:00.007" v="129952"/>
          <ac:spMkLst>
            <pc:docMk/>
            <pc:sldMk cId="43921188" sldId="2147478579"/>
            <ac:spMk id="846" creationId="{38126071-1678-351B-4D86-F7509908AA2F}"/>
          </ac:spMkLst>
        </pc:spChg>
        <pc:spChg chg="add del mod">
          <ac:chgData name="Steiner Andreas 6206 ED" userId="e6377c33-a923-4f14-8587-531c474c7b48" providerId="ADAL" clId="{6ECD27E6-B224-41CD-B4E0-E297462320DD}" dt="2023-11-24T11:37:01.865" v="130107"/>
          <ac:spMkLst>
            <pc:docMk/>
            <pc:sldMk cId="43921188" sldId="2147478579"/>
            <ac:spMk id="847" creationId="{3845A170-5832-A507-9E6D-56DFBB4C34B8}"/>
          </ac:spMkLst>
        </pc:spChg>
        <pc:spChg chg="add del mod">
          <ac:chgData name="Steiner Andreas 6206 ED" userId="e6377c33-a923-4f14-8587-531c474c7b48" providerId="ADAL" clId="{6ECD27E6-B224-41CD-B4E0-E297462320DD}" dt="2023-11-24T11:37:03.613" v="130262"/>
          <ac:spMkLst>
            <pc:docMk/>
            <pc:sldMk cId="43921188" sldId="2147478579"/>
            <ac:spMk id="848" creationId="{33B8910F-D92F-7125-D7DA-BBEE0906DBA8}"/>
          </ac:spMkLst>
        </pc:spChg>
        <pc:spChg chg="add del mod">
          <ac:chgData name="Steiner Andreas 6206 ED" userId="e6377c33-a923-4f14-8587-531c474c7b48" providerId="ADAL" clId="{6ECD27E6-B224-41CD-B4E0-E297462320DD}" dt="2023-11-24T11:37:05.487" v="130417"/>
          <ac:spMkLst>
            <pc:docMk/>
            <pc:sldMk cId="43921188" sldId="2147478579"/>
            <ac:spMk id="849" creationId="{1A618E2C-9A25-2F90-19FD-9733B2D2F9C0}"/>
          </ac:spMkLst>
        </pc:spChg>
        <pc:spChg chg="add del mod">
          <ac:chgData name="Steiner Andreas 6206 ED" userId="e6377c33-a923-4f14-8587-531c474c7b48" providerId="ADAL" clId="{6ECD27E6-B224-41CD-B4E0-E297462320DD}" dt="2023-11-24T11:37:07.237" v="130572"/>
          <ac:spMkLst>
            <pc:docMk/>
            <pc:sldMk cId="43921188" sldId="2147478579"/>
            <ac:spMk id="850" creationId="{59531659-A2BC-29B1-7A83-59D1EDDEB23B}"/>
          </ac:spMkLst>
        </pc:spChg>
        <pc:spChg chg="add del mod">
          <ac:chgData name="Steiner Andreas 6206 ED" userId="e6377c33-a923-4f14-8587-531c474c7b48" providerId="ADAL" clId="{6ECD27E6-B224-41CD-B4E0-E297462320DD}" dt="2023-11-24T11:37:08.985" v="130727"/>
          <ac:spMkLst>
            <pc:docMk/>
            <pc:sldMk cId="43921188" sldId="2147478579"/>
            <ac:spMk id="851" creationId="{7DA407F1-13E6-FF0B-8CDA-7AABBAEE4374}"/>
          </ac:spMkLst>
        </pc:spChg>
        <pc:spChg chg="add del mod">
          <ac:chgData name="Steiner Andreas 6206 ED" userId="e6377c33-a923-4f14-8587-531c474c7b48" providerId="ADAL" clId="{6ECD27E6-B224-41CD-B4E0-E297462320DD}" dt="2023-11-24T11:37:10.644" v="130882"/>
          <ac:spMkLst>
            <pc:docMk/>
            <pc:sldMk cId="43921188" sldId="2147478579"/>
            <ac:spMk id="852" creationId="{B5EC698A-802B-2582-73BC-B9F44F80E5F4}"/>
          </ac:spMkLst>
        </pc:spChg>
        <pc:spChg chg="add del mod">
          <ac:chgData name="Steiner Andreas 6206 ED" userId="e6377c33-a923-4f14-8587-531c474c7b48" providerId="ADAL" clId="{6ECD27E6-B224-41CD-B4E0-E297462320DD}" dt="2023-11-24T11:37:12.338" v="131037"/>
          <ac:spMkLst>
            <pc:docMk/>
            <pc:sldMk cId="43921188" sldId="2147478579"/>
            <ac:spMk id="853" creationId="{126D5734-7987-20F6-DB08-B4CE02A2EE8E}"/>
          </ac:spMkLst>
        </pc:spChg>
        <pc:spChg chg="add del mod">
          <ac:chgData name="Steiner Andreas 6206 ED" userId="e6377c33-a923-4f14-8587-531c474c7b48" providerId="ADAL" clId="{6ECD27E6-B224-41CD-B4E0-E297462320DD}" dt="2023-11-24T11:37:14.023" v="131192"/>
          <ac:spMkLst>
            <pc:docMk/>
            <pc:sldMk cId="43921188" sldId="2147478579"/>
            <ac:spMk id="854" creationId="{056F1CC3-4265-431C-A8FF-982EC2D54FBD}"/>
          </ac:spMkLst>
        </pc:spChg>
        <pc:spChg chg="add del mod">
          <ac:chgData name="Steiner Andreas 6206 ED" userId="e6377c33-a923-4f14-8587-531c474c7b48" providerId="ADAL" clId="{6ECD27E6-B224-41CD-B4E0-E297462320DD}" dt="2023-11-24T11:37:15.983" v="131347"/>
          <ac:spMkLst>
            <pc:docMk/>
            <pc:sldMk cId="43921188" sldId="2147478579"/>
            <ac:spMk id="855" creationId="{DB9EF69F-EA50-A76C-1AF6-2AC7A2E1CA86}"/>
          </ac:spMkLst>
        </pc:spChg>
        <pc:spChg chg="add del mod">
          <ac:chgData name="Steiner Andreas 6206 ED" userId="e6377c33-a923-4f14-8587-531c474c7b48" providerId="ADAL" clId="{6ECD27E6-B224-41CD-B4E0-E297462320DD}" dt="2023-11-24T11:37:17.989" v="131502"/>
          <ac:spMkLst>
            <pc:docMk/>
            <pc:sldMk cId="43921188" sldId="2147478579"/>
            <ac:spMk id="856" creationId="{76973145-6373-A10E-B6C7-8FFC20F1A48E}"/>
          </ac:spMkLst>
        </pc:spChg>
        <pc:spChg chg="add del mod">
          <ac:chgData name="Steiner Andreas 6206 ED" userId="e6377c33-a923-4f14-8587-531c474c7b48" providerId="ADAL" clId="{6ECD27E6-B224-41CD-B4E0-E297462320DD}" dt="2023-11-24T11:37:19.915" v="131657"/>
          <ac:spMkLst>
            <pc:docMk/>
            <pc:sldMk cId="43921188" sldId="2147478579"/>
            <ac:spMk id="857" creationId="{7863367A-C749-7857-6D24-255D8E589BC4}"/>
          </ac:spMkLst>
        </pc:spChg>
        <pc:spChg chg="add del mod">
          <ac:chgData name="Steiner Andreas 6206 ED" userId="e6377c33-a923-4f14-8587-531c474c7b48" providerId="ADAL" clId="{6ECD27E6-B224-41CD-B4E0-E297462320DD}" dt="2023-11-24T11:37:21.811" v="131812"/>
          <ac:spMkLst>
            <pc:docMk/>
            <pc:sldMk cId="43921188" sldId="2147478579"/>
            <ac:spMk id="858" creationId="{57965D5B-BEA5-4D87-1C99-18093FCF3EB3}"/>
          </ac:spMkLst>
        </pc:spChg>
        <pc:spChg chg="add del mod">
          <ac:chgData name="Steiner Andreas 6206 ED" userId="e6377c33-a923-4f14-8587-531c474c7b48" providerId="ADAL" clId="{6ECD27E6-B224-41CD-B4E0-E297462320DD}" dt="2023-11-24T11:37:23.604" v="131967"/>
          <ac:spMkLst>
            <pc:docMk/>
            <pc:sldMk cId="43921188" sldId="2147478579"/>
            <ac:spMk id="859" creationId="{CA2F75B5-1F78-4D31-7BE1-0925D221295D}"/>
          </ac:spMkLst>
        </pc:spChg>
        <pc:spChg chg="add del mod">
          <ac:chgData name="Steiner Andreas 6206 ED" userId="e6377c33-a923-4f14-8587-531c474c7b48" providerId="ADAL" clId="{6ECD27E6-B224-41CD-B4E0-E297462320DD}" dt="2023-11-24T11:37:25.339" v="132122"/>
          <ac:spMkLst>
            <pc:docMk/>
            <pc:sldMk cId="43921188" sldId="2147478579"/>
            <ac:spMk id="860" creationId="{D66EDE3F-DF6E-06DF-978F-77AFB3349C70}"/>
          </ac:spMkLst>
        </pc:spChg>
        <pc:spChg chg="add del mod">
          <ac:chgData name="Steiner Andreas 6206 ED" userId="e6377c33-a923-4f14-8587-531c474c7b48" providerId="ADAL" clId="{6ECD27E6-B224-41CD-B4E0-E297462320DD}" dt="2023-11-24T11:37:27.211" v="132277"/>
          <ac:spMkLst>
            <pc:docMk/>
            <pc:sldMk cId="43921188" sldId="2147478579"/>
            <ac:spMk id="861" creationId="{7001AB23-0298-DE16-7739-3EFBE0BF1F17}"/>
          </ac:spMkLst>
        </pc:spChg>
        <pc:spChg chg="add del mod">
          <ac:chgData name="Steiner Andreas 6206 ED" userId="e6377c33-a923-4f14-8587-531c474c7b48" providerId="ADAL" clId="{6ECD27E6-B224-41CD-B4E0-E297462320DD}" dt="2023-11-24T11:37:29.861" v="132432"/>
          <ac:spMkLst>
            <pc:docMk/>
            <pc:sldMk cId="43921188" sldId="2147478579"/>
            <ac:spMk id="862" creationId="{9296035D-2161-EF27-97D4-76DFC182F2D1}"/>
          </ac:spMkLst>
        </pc:spChg>
        <pc:spChg chg="add del mod">
          <ac:chgData name="Steiner Andreas 6206 ED" userId="e6377c33-a923-4f14-8587-531c474c7b48" providerId="ADAL" clId="{6ECD27E6-B224-41CD-B4E0-E297462320DD}" dt="2023-11-24T11:37:32.425" v="132587"/>
          <ac:spMkLst>
            <pc:docMk/>
            <pc:sldMk cId="43921188" sldId="2147478579"/>
            <ac:spMk id="863" creationId="{0D7963A0-067F-7B8F-62DF-9BCAC18C5532}"/>
          </ac:spMkLst>
        </pc:spChg>
        <pc:spChg chg="add del mod">
          <ac:chgData name="Steiner Andreas 6206 ED" userId="e6377c33-a923-4f14-8587-531c474c7b48" providerId="ADAL" clId="{6ECD27E6-B224-41CD-B4E0-E297462320DD}" dt="2023-11-24T11:37:35.399" v="132742"/>
          <ac:spMkLst>
            <pc:docMk/>
            <pc:sldMk cId="43921188" sldId="2147478579"/>
            <ac:spMk id="864" creationId="{CB9E3203-E30E-0BC7-FB6D-A8A070F9DE0B}"/>
          </ac:spMkLst>
        </pc:spChg>
        <pc:spChg chg="add del mod">
          <ac:chgData name="Steiner Andreas 6206 ED" userId="e6377c33-a923-4f14-8587-531c474c7b48" providerId="ADAL" clId="{6ECD27E6-B224-41CD-B4E0-E297462320DD}" dt="2023-11-24T11:37:38.077" v="132897"/>
          <ac:spMkLst>
            <pc:docMk/>
            <pc:sldMk cId="43921188" sldId="2147478579"/>
            <ac:spMk id="865" creationId="{CC52CF2E-2917-6A56-C502-B218C9FD7117}"/>
          </ac:spMkLst>
        </pc:spChg>
        <pc:spChg chg="add del mod">
          <ac:chgData name="Steiner Andreas 6206 ED" userId="e6377c33-a923-4f14-8587-531c474c7b48" providerId="ADAL" clId="{6ECD27E6-B224-41CD-B4E0-E297462320DD}" dt="2023-11-24T11:37:40.695" v="133052"/>
          <ac:spMkLst>
            <pc:docMk/>
            <pc:sldMk cId="43921188" sldId="2147478579"/>
            <ac:spMk id="866" creationId="{DDD39D39-0C1B-A31A-0469-0D730B8614F6}"/>
          </ac:spMkLst>
        </pc:spChg>
        <pc:spChg chg="add del mod">
          <ac:chgData name="Steiner Andreas 6206 ED" userId="e6377c33-a923-4f14-8587-531c474c7b48" providerId="ADAL" clId="{6ECD27E6-B224-41CD-B4E0-E297462320DD}" dt="2023-11-24T11:37:43.513" v="133207"/>
          <ac:spMkLst>
            <pc:docMk/>
            <pc:sldMk cId="43921188" sldId="2147478579"/>
            <ac:spMk id="867" creationId="{BF92DACD-8DE2-A496-323E-F597966D361B}"/>
          </ac:spMkLst>
        </pc:spChg>
        <pc:spChg chg="add del mod">
          <ac:chgData name="Steiner Andreas 6206 ED" userId="e6377c33-a923-4f14-8587-531c474c7b48" providerId="ADAL" clId="{6ECD27E6-B224-41CD-B4E0-E297462320DD}" dt="2023-11-24T11:37:47.606" v="133362"/>
          <ac:spMkLst>
            <pc:docMk/>
            <pc:sldMk cId="43921188" sldId="2147478579"/>
            <ac:spMk id="868" creationId="{A7CBD917-2F8A-2BA7-3C7C-F2A0321880D9}"/>
          </ac:spMkLst>
        </pc:spChg>
        <pc:spChg chg="add del mod">
          <ac:chgData name="Steiner Andreas 6206 ED" userId="e6377c33-a923-4f14-8587-531c474c7b48" providerId="ADAL" clId="{6ECD27E6-B224-41CD-B4E0-E297462320DD}" dt="2023-11-24T11:37:50.708" v="133517"/>
          <ac:spMkLst>
            <pc:docMk/>
            <pc:sldMk cId="43921188" sldId="2147478579"/>
            <ac:spMk id="869" creationId="{5F591485-5163-C4D4-889D-669506E5FD90}"/>
          </ac:spMkLst>
        </pc:spChg>
        <pc:spChg chg="add del mod">
          <ac:chgData name="Steiner Andreas 6206 ED" userId="e6377c33-a923-4f14-8587-531c474c7b48" providerId="ADAL" clId="{6ECD27E6-B224-41CD-B4E0-E297462320DD}" dt="2023-11-24T11:37:53.887" v="133672"/>
          <ac:spMkLst>
            <pc:docMk/>
            <pc:sldMk cId="43921188" sldId="2147478579"/>
            <ac:spMk id="870" creationId="{58F68EBB-D8B8-43B9-895B-FF5E3387C2FD}"/>
          </ac:spMkLst>
        </pc:spChg>
        <pc:spChg chg="add del mod">
          <ac:chgData name="Steiner Andreas 6206 ED" userId="e6377c33-a923-4f14-8587-531c474c7b48" providerId="ADAL" clId="{6ECD27E6-B224-41CD-B4E0-E297462320DD}" dt="2023-11-24T11:37:56.099" v="133827"/>
          <ac:spMkLst>
            <pc:docMk/>
            <pc:sldMk cId="43921188" sldId="2147478579"/>
            <ac:spMk id="871" creationId="{34059EF2-EF20-100A-3049-82A50079DBCF}"/>
          </ac:spMkLst>
        </pc:spChg>
        <pc:spChg chg="add del mod">
          <ac:chgData name="Steiner Andreas 6206 ED" userId="e6377c33-a923-4f14-8587-531c474c7b48" providerId="ADAL" clId="{6ECD27E6-B224-41CD-B4E0-E297462320DD}" dt="2023-11-24T11:37:58.838" v="133982"/>
          <ac:spMkLst>
            <pc:docMk/>
            <pc:sldMk cId="43921188" sldId="2147478579"/>
            <ac:spMk id="872" creationId="{CCDDEE81-F9F1-65DC-5BFC-A50B73CDA8FF}"/>
          </ac:spMkLst>
        </pc:spChg>
        <pc:spChg chg="add del mod">
          <ac:chgData name="Steiner Andreas 6206 ED" userId="e6377c33-a923-4f14-8587-531c474c7b48" providerId="ADAL" clId="{6ECD27E6-B224-41CD-B4E0-E297462320DD}" dt="2023-11-24T11:38:01.126" v="134137"/>
          <ac:spMkLst>
            <pc:docMk/>
            <pc:sldMk cId="43921188" sldId="2147478579"/>
            <ac:spMk id="873" creationId="{1E7D1CE2-C19C-2129-2480-1201B8FDA7D1}"/>
          </ac:spMkLst>
        </pc:spChg>
        <pc:spChg chg="add del mod">
          <ac:chgData name="Steiner Andreas 6206 ED" userId="e6377c33-a923-4f14-8587-531c474c7b48" providerId="ADAL" clId="{6ECD27E6-B224-41CD-B4E0-E297462320DD}" dt="2023-11-24T11:38:03.684" v="134292"/>
          <ac:spMkLst>
            <pc:docMk/>
            <pc:sldMk cId="43921188" sldId="2147478579"/>
            <ac:spMk id="874" creationId="{438A7CFF-1106-567A-B6C0-820EE1F56B68}"/>
          </ac:spMkLst>
        </pc:spChg>
        <pc:spChg chg="add del mod">
          <ac:chgData name="Steiner Andreas 6206 ED" userId="e6377c33-a923-4f14-8587-531c474c7b48" providerId="ADAL" clId="{6ECD27E6-B224-41CD-B4E0-E297462320DD}" dt="2023-11-24T11:38:05.970" v="134447"/>
          <ac:spMkLst>
            <pc:docMk/>
            <pc:sldMk cId="43921188" sldId="2147478579"/>
            <ac:spMk id="875" creationId="{B62F9C47-606C-3D56-5CD7-B5CC69A58158}"/>
          </ac:spMkLst>
        </pc:spChg>
        <pc:spChg chg="add del mod">
          <ac:chgData name="Steiner Andreas 6206 ED" userId="e6377c33-a923-4f14-8587-531c474c7b48" providerId="ADAL" clId="{6ECD27E6-B224-41CD-B4E0-E297462320DD}" dt="2023-11-24T11:38:08.766" v="134602"/>
          <ac:spMkLst>
            <pc:docMk/>
            <pc:sldMk cId="43921188" sldId="2147478579"/>
            <ac:spMk id="876" creationId="{BA01AF43-5ECC-A8BE-36C9-6BAD5D6E4239}"/>
          </ac:spMkLst>
        </pc:spChg>
        <pc:spChg chg="add del mod">
          <ac:chgData name="Steiner Andreas 6206 ED" userId="e6377c33-a923-4f14-8587-531c474c7b48" providerId="ADAL" clId="{6ECD27E6-B224-41CD-B4E0-E297462320DD}" dt="2023-11-24T11:38:11.723" v="134757"/>
          <ac:spMkLst>
            <pc:docMk/>
            <pc:sldMk cId="43921188" sldId="2147478579"/>
            <ac:spMk id="877" creationId="{2C03FEBF-CDF4-6E25-310E-710E1E0C01A3}"/>
          </ac:spMkLst>
        </pc:spChg>
        <pc:spChg chg="add del mod">
          <ac:chgData name="Steiner Andreas 6206 ED" userId="e6377c33-a923-4f14-8587-531c474c7b48" providerId="ADAL" clId="{6ECD27E6-B224-41CD-B4E0-E297462320DD}" dt="2023-11-24T11:38:13.947" v="134912"/>
          <ac:spMkLst>
            <pc:docMk/>
            <pc:sldMk cId="43921188" sldId="2147478579"/>
            <ac:spMk id="878" creationId="{15700708-E181-7506-A718-71C975466664}"/>
          </ac:spMkLst>
        </pc:spChg>
        <pc:spChg chg="add del mod">
          <ac:chgData name="Steiner Andreas 6206 ED" userId="e6377c33-a923-4f14-8587-531c474c7b48" providerId="ADAL" clId="{6ECD27E6-B224-41CD-B4E0-E297462320DD}" dt="2023-11-24T11:38:16.431" v="135067"/>
          <ac:spMkLst>
            <pc:docMk/>
            <pc:sldMk cId="43921188" sldId="2147478579"/>
            <ac:spMk id="879" creationId="{60B4CF4A-632A-20A4-CDF8-5DA3D363E2F0}"/>
          </ac:spMkLst>
        </pc:spChg>
        <pc:spChg chg="add del mod">
          <ac:chgData name="Steiner Andreas 6206 ED" userId="e6377c33-a923-4f14-8587-531c474c7b48" providerId="ADAL" clId="{6ECD27E6-B224-41CD-B4E0-E297462320DD}" dt="2023-11-24T11:38:18.933" v="135222"/>
          <ac:spMkLst>
            <pc:docMk/>
            <pc:sldMk cId="43921188" sldId="2147478579"/>
            <ac:spMk id="880" creationId="{52B1601A-FC78-6AA3-13A5-05C5D27CEA6E}"/>
          </ac:spMkLst>
        </pc:spChg>
        <pc:spChg chg="add del mod">
          <ac:chgData name="Steiner Andreas 6206 ED" userId="e6377c33-a923-4f14-8587-531c474c7b48" providerId="ADAL" clId="{6ECD27E6-B224-41CD-B4E0-E297462320DD}" dt="2023-11-24T11:38:21.841" v="135377"/>
          <ac:spMkLst>
            <pc:docMk/>
            <pc:sldMk cId="43921188" sldId="2147478579"/>
            <ac:spMk id="881" creationId="{87E5C754-D20F-7A49-3B60-70432890BF42}"/>
          </ac:spMkLst>
        </pc:spChg>
        <pc:spChg chg="add del mod">
          <ac:chgData name="Steiner Andreas 6206 ED" userId="e6377c33-a923-4f14-8587-531c474c7b48" providerId="ADAL" clId="{6ECD27E6-B224-41CD-B4E0-E297462320DD}" dt="2023-11-24T11:38:24.682" v="135532"/>
          <ac:spMkLst>
            <pc:docMk/>
            <pc:sldMk cId="43921188" sldId="2147478579"/>
            <ac:spMk id="882" creationId="{F84AA4CA-EC75-68AE-A18B-347BA3F7412C}"/>
          </ac:spMkLst>
        </pc:spChg>
        <pc:spChg chg="add del mod">
          <ac:chgData name="Steiner Andreas 6206 ED" userId="e6377c33-a923-4f14-8587-531c474c7b48" providerId="ADAL" clId="{6ECD27E6-B224-41CD-B4E0-E297462320DD}" dt="2023-11-24T11:38:27.406" v="135687"/>
          <ac:spMkLst>
            <pc:docMk/>
            <pc:sldMk cId="43921188" sldId="2147478579"/>
            <ac:spMk id="883" creationId="{8F4EAE90-7560-D646-34B2-62A2FB222FA2}"/>
          </ac:spMkLst>
        </pc:spChg>
        <pc:spChg chg="add del mod">
          <ac:chgData name="Steiner Andreas 6206 ED" userId="e6377c33-a923-4f14-8587-531c474c7b48" providerId="ADAL" clId="{6ECD27E6-B224-41CD-B4E0-E297462320DD}" dt="2023-11-24T11:38:30.053" v="135842"/>
          <ac:spMkLst>
            <pc:docMk/>
            <pc:sldMk cId="43921188" sldId="2147478579"/>
            <ac:spMk id="884" creationId="{83908CE0-DB17-76BF-855C-0A50691222DB}"/>
          </ac:spMkLst>
        </pc:spChg>
        <pc:spChg chg="add del mod">
          <ac:chgData name="Steiner Andreas 6206 ED" userId="e6377c33-a923-4f14-8587-531c474c7b48" providerId="ADAL" clId="{6ECD27E6-B224-41CD-B4E0-E297462320DD}" dt="2023-11-24T11:38:32.460" v="135997"/>
          <ac:spMkLst>
            <pc:docMk/>
            <pc:sldMk cId="43921188" sldId="2147478579"/>
            <ac:spMk id="885" creationId="{E6E9A345-FDA0-C865-7BEF-3ABFA1CF5A8F}"/>
          </ac:spMkLst>
        </pc:spChg>
        <pc:spChg chg="add del mod">
          <ac:chgData name="Steiner Andreas 6206 ED" userId="e6377c33-a923-4f14-8587-531c474c7b48" providerId="ADAL" clId="{6ECD27E6-B224-41CD-B4E0-E297462320DD}" dt="2023-11-24T11:38:34.949" v="136152"/>
          <ac:spMkLst>
            <pc:docMk/>
            <pc:sldMk cId="43921188" sldId="2147478579"/>
            <ac:spMk id="886" creationId="{2268B90C-A393-6EE9-8B20-5244C0BE4114}"/>
          </ac:spMkLst>
        </pc:spChg>
        <pc:spChg chg="add del mod">
          <ac:chgData name="Steiner Andreas 6206 ED" userId="e6377c33-a923-4f14-8587-531c474c7b48" providerId="ADAL" clId="{6ECD27E6-B224-41CD-B4E0-E297462320DD}" dt="2023-11-24T11:38:37.474" v="136307"/>
          <ac:spMkLst>
            <pc:docMk/>
            <pc:sldMk cId="43921188" sldId="2147478579"/>
            <ac:spMk id="887" creationId="{6BCE0487-1FF1-C9B8-13CE-50AC6EF6ECBA}"/>
          </ac:spMkLst>
        </pc:spChg>
        <pc:spChg chg="add del mod">
          <ac:chgData name="Steiner Andreas 6206 ED" userId="e6377c33-a923-4f14-8587-531c474c7b48" providerId="ADAL" clId="{6ECD27E6-B224-41CD-B4E0-E297462320DD}" dt="2023-11-24T11:38:40.347" v="136462"/>
          <ac:spMkLst>
            <pc:docMk/>
            <pc:sldMk cId="43921188" sldId="2147478579"/>
            <ac:spMk id="888" creationId="{DD875791-31DC-584F-64E4-38AF8581D709}"/>
          </ac:spMkLst>
        </pc:spChg>
        <pc:spChg chg="add del mod">
          <ac:chgData name="Steiner Andreas 6206 ED" userId="e6377c33-a923-4f14-8587-531c474c7b48" providerId="ADAL" clId="{6ECD27E6-B224-41CD-B4E0-E297462320DD}" dt="2023-11-24T11:38:42.760" v="136617"/>
          <ac:spMkLst>
            <pc:docMk/>
            <pc:sldMk cId="43921188" sldId="2147478579"/>
            <ac:spMk id="889" creationId="{B8723287-0836-25AC-7D50-1214AEF694B0}"/>
          </ac:spMkLst>
        </pc:spChg>
        <pc:spChg chg="add del mod">
          <ac:chgData name="Steiner Andreas 6206 ED" userId="e6377c33-a923-4f14-8587-531c474c7b48" providerId="ADAL" clId="{6ECD27E6-B224-41CD-B4E0-E297462320DD}" dt="2023-11-24T11:38:45.117" v="136772"/>
          <ac:spMkLst>
            <pc:docMk/>
            <pc:sldMk cId="43921188" sldId="2147478579"/>
            <ac:spMk id="890" creationId="{A8831C6E-1EDE-9894-CA4A-6A20AD991F7F}"/>
          </ac:spMkLst>
        </pc:spChg>
        <pc:spChg chg="add del mod">
          <ac:chgData name="Steiner Andreas 6206 ED" userId="e6377c33-a923-4f14-8587-531c474c7b48" providerId="ADAL" clId="{6ECD27E6-B224-41CD-B4E0-E297462320DD}" dt="2023-11-24T11:38:47.472" v="136927"/>
          <ac:spMkLst>
            <pc:docMk/>
            <pc:sldMk cId="43921188" sldId="2147478579"/>
            <ac:spMk id="891" creationId="{30BEC505-7495-702A-1C85-9E655686E01B}"/>
          </ac:spMkLst>
        </pc:spChg>
        <pc:spChg chg="add del mod">
          <ac:chgData name="Steiner Andreas 6206 ED" userId="e6377c33-a923-4f14-8587-531c474c7b48" providerId="ADAL" clId="{6ECD27E6-B224-41CD-B4E0-E297462320DD}" dt="2023-11-24T11:38:50.452" v="137082"/>
          <ac:spMkLst>
            <pc:docMk/>
            <pc:sldMk cId="43921188" sldId="2147478579"/>
            <ac:spMk id="892" creationId="{3AF6C19E-43DA-BB39-0A03-3398DC041D1F}"/>
          </ac:spMkLst>
        </pc:spChg>
        <pc:spChg chg="add del mod">
          <ac:chgData name="Steiner Andreas 6206 ED" userId="e6377c33-a923-4f14-8587-531c474c7b48" providerId="ADAL" clId="{6ECD27E6-B224-41CD-B4E0-E297462320DD}" dt="2023-11-24T11:38:52.934" v="137237"/>
          <ac:spMkLst>
            <pc:docMk/>
            <pc:sldMk cId="43921188" sldId="2147478579"/>
            <ac:spMk id="893" creationId="{C2D883F4-C2BE-F12A-B57C-EF910D1AFB13}"/>
          </ac:spMkLst>
        </pc:spChg>
        <pc:spChg chg="add del mod">
          <ac:chgData name="Steiner Andreas 6206 ED" userId="e6377c33-a923-4f14-8587-531c474c7b48" providerId="ADAL" clId="{6ECD27E6-B224-41CD-B4E0-E297462320DD}" dt="2023-11-24T11:38:55.413" v="137392"/>
          <ac:spMkLst>
            <pc:docMk/>
            <pc:sldMk cId="43921188" sldId="2147478579"/>
            <ac:spMk id="894" creationId="{D2F967C2-F5DA-ED49-4FF5-2A8E825A561A}"/>
          </ac:spMkLst>
        </pc:spChg>
        <pc:spChg chg="add del mod">
          <ac:chgData name="Steiner Andreas 6206 ED" userId="e6377c33-a923-4f14-8587-531c474c7b48" providerId="ADAL" clId="{6ECD27E6-B224-41CD-B4E0-E297462320DD}" dt="2023-11-24T11:38:58.031" v="137547"/>
          <ac:spMkLst>
            <pc:docMk/>
            <pc:sldMk cId="43921188" sldId="2147478579"/>
            <ac:spMk id="895" creationId="{70CAA6C8-BBAB-765B-C899-7415216A9A0E}"/>
          </ac:spMkLst>
        </pc:spChg>
        <pc:spChg chg="add del mod">
          <ac:chgData name="Steiner Andreas 6206 ED" userId="e6377c33-a923-4f14-8587-531c474c7b48" providerId="ADAL" clId="{6ECD27E6-B224-41CD-B4E0-E297462320DD}" dt="2023-11-24T11:39:00.260" v="137702"/>
          <ac:spMkLst>
            <pc:docMk/>
            <pc:sldMk cId="43921188" sldId="2147478579"/>
            <ac:spMk id="896" creationId="{C18C203B-981A-FF81-0C52-4FF104A99A8C}"/>
          </ac:spMkLst>
        </pc:spChg>
        <pc:spChg chg="add del mod">
          <ac:chgData name="Steiner Andreas 6206 ED" userId="e6377c33-a923-4f14-8587-531c474c7b48" providerId="ADAL" clId="{6ECD27E6-B224-41CD-B4E0-E297462320DD}" dt="2023-11-24T11:39:03.185" v="137857"/>
          <ac:spMkLst>
            <pc:docMk/>
            <pc:sldMk cId="43921188" sldId="2147478579"/>
            <ac:spMk id="897" creationId="{311F6331-57E5-5FB5-ED09-B36B1842341D}"/>
          </ac:spMkLst>
        </pc:spChg>
        <pc:spChg chg="add del mod">
          <ac:chgData name="Steiner Andreas 6206 ED" userId="e6377c33-a923-4f14-8587-531c474c7b48" providerId="ADAL" clId="{6ECD27E6-B224-41CD-B4E0-E297462320DD}" dt="2023-11-24T11:39:05.963" v="138012"/>
          <ac:spMkLst>
            <pc:docMk/>
            <pc:sldMk cId="43921188" sldId="2147478579"/>
            <ac:spMk id="898" creationId="{934E7E0A-8BAF-E1E0-3D65-43E894354B55}"/>
          </ac:spMkLst>
        </pc:spChg>
        <pc:spChg chg="add del mod">
          <ac:chgData name="Steiner Andreas 6206 ED" userId="e6377c33-a923-4f14-8587-531c474c7b48" providerId="ADAL" clId="{6ECD27E6-B224-41CD-B4E0-E297462320DD}" dt="2023-11-24T11:39:08.413" v="138167"/>
          <ac:spMkLst>
            <pc:docMk/>
            <pc:sldMk cId="43921188" sldId="2147478579"/>
            <ac:spMk id="899" creationId="{A91DBBE0-1E56-8072-4EBD-2972DD9C5534}"/>
          </ac:spMkLst>
        </pc:spChg>
        <pc:spChg chg="add del mod">
          <ac:chgData name="Steiner Andreas 6206 ED" userId="e6377c33-a923-4f14-8587-531c474c7b48" providerId="ADAL" clId="{6ECD27E6-B224-41CD-B4E0-E297462320DD}" dt="2023-11-24T11:39:10.759" v="138322"/>
          <ac:spMkLst>
            <pc:docMk/>
            <pc:sldMk cId="43921188" sldId="2147478579"/>
            <ac:spMk id="900" creationId="{C76C7F72-C5CA-6791-2404-AE37D3A521EC}"/>
          </ac:spMkLst>
        </pc:spChg>
        <pc:spChg chg="add del mod">
          <ac:chgData name="Steiner Andreas 6206 ED" userId="e6377c33-a923-4f14-8587-531c474c7b48" providerId="ADAL" clId="{6ECD27E6-B224-41CD-B4E0-E297462320DD}" dt="2023-11-24T11:39:13.258" v="138477"/>
          <ac:spMkLst>
            <pc:docMk/>
            <pc:sldMk cId="43921188" sldId="2147478579"/>
            <ac:spMk id="901" creationId="{24933112-AE16-966E-6BFF-48DAC91FFE59}"/>
          </ac:spMkLst>
        </pc:spChg>
        <pc:spChg chg="add del mod">
          <ac:chgData name="Steiner Andreas 6206 ED" userId="e6377c33-a923-4f14-8587-531c474c7b48" providerId="ADAL" clId="{6ECD27E6-B224-41CD-B4E0-E297462320DD}" dt="2023-11-24T11:39:15.963" v="138632"/>
          <ac:spMkLst>
            <pc:docMk/>
            <pc:sldMk cId="43921188" sldId="2147478579"/>
            <ac:spMk id="902" creationId="{537CB03D-86CB-01A5-FDF7-13816F4043A6}"/>
          </ac:spMkLst>
        </pc:spChg>
        <pc:spChg chg="add del mod">
          <ac:chgData name="Steiner Andreas 6206 ED" userId="e6377c33-a923-4f14-8587-531c474c7b48" providerId="ADAL" clId="{6ECD27E6-B224-41CD-B4E0-E297462320DD}" dt="2023-11-24T11:39:18.818" v="138787"/>
          <ac:spMkLst>
            <pc:docMk/>
            <pc:sldMk cId="43921188" sldId="2147478579"/>
            <ac:spMk id="903" creationId="{0904339A-A68F-FB77-5FC7-D317F8469BC8}"/>
          </ac:spMkLst>
        </pc:spChg>
        <pc:spChg chg="add del mod">
          <ac:chgData name="Steiner Andreas 6206 ED" userId="e6377c33-a923-4f14-8587-531c474c7b48" providerId="ADAL" clId="{6ECD27E6-B224-41CD-B4E0-E297462320DD}" dt="2023-11-24T11:39:21.468" v="138942"/>
          <ac:spMkLst>
            <pc:docMk/>
            <pc:sldMk cId="43921188" sldId="2147478579"/>
            <ac:spMk id="904" creationId="{C62A9E4E-246D-40C8-7271-A60FA1FE86C6}"/>
          </ac:spMkLst>
        </pc:spChg>
        <pc:spChg chg="add del mod">
          <ac:chgData name="Steiner Andreas 6206 ED" userId="e6377c33-a923-4f14-8587-531c474c7b48" providerId="ADAL" clId="{6ECD27E6-B224-41CD-B4E0-E297462320DD}" dt="2023-11-24T11:39:24.020" v="139097"/>
          <ac:spMkLst>
            <pc:docMk/>
            <pc:sldMk cId="43921188" sldId="2147478579"/>
            <ac:spMk id="905" creationId="{04AD86F2-2552-A63A-A147-6634DBA552E0}"/>
          </ac:spMkLst>
        </pc:spChg>
        <pc:spChg chg="add del mod">
          <ac:chgData name="Steiner Andreas 6206 ED" userId="e6377c33-a923-4f14-8587-531c474c7b48" providerId="ADAL" clId="{6ECD27E6-B224-41CD-B4E0-E297462320DD}" dt="2023-11-24T11:39:26.708" v="139252"/>
          <ac:spMkLst>
            <pc:docMk/>
            <pc:sldMk cId="43921188" sldId="2147478579"/>
            <ac:spMk id="906" creationId="{18B7A947-27C8-D918-8DBF-5A84D00A29EA}"/>
          </ac:spMkLst>
        </pc:spChg>
        <pc:spChg chg="add del mod">
          <ac:chgData name="Steiner Andreas 6206 ED" userId="e6377c33-a923-4f14-8587-531c474c7b48" providerId="ADAL" clId="{6ECD27E6-B224-41CD-B4E0-E297462320DD}" dt="2023-11-24T11:39:29.405" v="139407"/>
          <ac:spMkLst>
            <pc:docMk/>
            <pc:sldMk cId="43921188" sldId="2147478579"/>
            <ac:spMk id="907" creationId="{07513761-DADB-242D-8C69-092095730849}"/>
          </ac:spMkLst>
        </pc:spChg>
        <pc:spChg chg="add del mod">
          <ac:chgData name="Steiner Andreas 6206 ED" userId="e6377c33-a923-4f14-8587-531c474c7b48" providerId="ADAL" clId="{6ECD27E6-B224-41CD-B4E0-E297462320DD}" dt="2023-11-24T11:39:32.407" v="139562"/>
          <ac:spMkLst>
            <pc:docMk/>
            <pc:sldMk cId="43921188" sldId="2147478579"/>
            <ac:spMk id="908" creationId="{9E38270D-AF16-B153-7D74-10EF3D3C23FA}"/>
          </ac:spMkLst>
        </pc:spChg>
        <pc:spChg chg="add del mod">
          <ac:chgData name="Steiner Andreas 6206 ED" userId="e6377c33-a923-4f14-8587-531c474c7b48" providerId="ADAL" clId="{6ECD27E6-B224-41CD-B4E0-E297462320DD}" dt="2023-11-24T11:39:35.097" v="139717"/>
          <ac:spMkLst>
            <pc:docMk/>
            <pc:sldMk cId="43921188" sldId="2147478579"/>
            <ac:spMk id="909" creationId="{CC655BBF-E14E-5E97-3132-D7AB5F5365C1}"/>
          </ac:spMkLst>
        </pc:spChg>
        <pc:spChg chg="add del mod">
          <ac:chgData name="Steiner Andreas 6206 ED" userId="e6377c33-a923-4f14-8587-531c474c7b48" providerId="ADAL" clId="{6ECD27E6-B224-41CD-B4E0-E297462320DD}" dt="2023-11-24T11:39:37.957" v="139872"/>
          <ac:spMkLst>
            <pc:docMk/>
            <pc:sldMk cId="43921188" sldId="2147478579"/>
            <ac:spMk id="910" creationId="{04732ECE-F3F5-F2B6-53B6-56EA678D81D3}"/>
          </ac:spMkLst>
        </pc:spChg>
        <pc:spChg chg="add del mod">
          <ac:chgData name="Steiner Andreas 6206 ED" userId="e6377c33-a923-4f14-8587-531c474c7b48" providerId="ADAL" clId="{6ECD27E6-B224-41CD-B4E0-E297462320DD}" dt="2023-11-24T11:39:40.734" v="140027"/>
          <ac:spMkLst>
            <pc:docMk/>
            <pc:sldMk cId="43921188" sldId="2147478579"/>
            <ac:spMk id="911" creationId="{EF98B120-2C9A-1B61-CFBE-4EE1BF63857F}"/>
          </ac:spMkLst>
        </pc:spChg>
        <pc:spChg chg="add del mod">
          <ac:chgData name="Steiner Andreas 6206 ED" userId="e6377c33-a923-4f14-8587-531c474c7b48" providerId="ADAL" clId="{6ECD27E6-B224-41CD-B4E0-E297462320DD}" dt="2023-11-24T11:39:43.321" v="140182"/>
          <ac:spMkLst>
            <pc:docMk/>
            <pc:sldMk cId="43921188" sldId="2147478579"/>
            <ac:spMk id="912" creationId="{570B5431-71DA-F693-581F-8BE86A0A9E20}"/>
          </ac:spMkLst>
        </pc:spChg>
        <pc:spChg chg="add del mod">
          <ac:chgData name="Steiner Andreas 6206 ED" userId="e6377c33-a923-4f14-8587-531c474c7b48" providerId="ADAL" clId="{6ECD27E6-B224-41CD-B4E0-E297462320DD}" dt="2023-11-24T11:39:45.977" v="140337"/>
          <ac:spMkLst>
            <pc:docMk/>
            <pc:sldMk cId="43921188" sldId="2147478579"/>
            <ac:spMk id="913" creationId="{ED566850-72D2-D8C5-C2FD-DA2CCA2E1D0A}"/>
          </ac:spMkLst>
        </pc:spChg>
        <pc:spChg chg="add del mod">
          <ac:chgData name="Steiner Andreas 6206 ED" userId="e6377c33-a923-4f14-8587-531c474c7b48" providerId="ADAL" clId="{6ECD27E6-B224-41CD-B4E0-E297462320DD}" dt="2023-11-24T11:39:48.385" v="140492"/>
          <ac:spMkLst>
            <pc:docMk/>
            <pc:sldMk cId="43921188" sldId="2147478579"/>
            <ac:spMk id="914" creationId="{5149BDC4-9097-0177-7D9B-F4A8F90978C9}"/>
          </ac:spMkLst>
        </pc:spChg>
        <pc:spChg chg="add del mod">
          <ac:chgData name="Steiner Andreas 6206 ED" userId="e6377c33-a923-4f14-8587-531c474c7b48" providerId="ADAL" clId="{6ECD27E6-B224-41CD-B4E0-E297462320DD}" dt="2023-11-24T11:39:51.356" v="140647"/>
          <ac:spMkLst>
            <pc:docMk/>
            <pc:sldMk cId="43921188" sldId="2147478579"/>
            <ac:spMk id="915" creationId="{E6A3D23B-35C5-B7EA-B5F3-FA3B9AEBB568}"/>
          </ac:spMkLst>
        </pc:spChg>
        <pc:spChg chg="add del mod">
          <ac:chgData name="Steiner Andreas 6206 ED" userId="e6377c33-a923-4f14-8587-531c474c7b48" providerId="ADAL" clId="{6ECD27E6-B224-41CD-B4E0-E297462320DD}" dt="2023-11-24T11:39:54.288" v="140802"/>
          <ac:spMkLst>
            <pc:docMk/>
            <pc:sldMk cId="43921188" sldId="2147478579"/>
            <ac:spMk id="916" creationId="{DBC77793-9FB0-E4EA-13C2-8A2DDED964CC}"/>
          </ac:spMkLst>
        </pc:spChg>
        <pc:spChg chg="add del mod">
          <ac:chgData name="Steiner Andreas 6206 ED" userId="e6377c33-a923-4f14-8587-531c474c7b48" providerId="ADAL" clId="{6ECD27E6-B224-41CD-B4E0-E297462320DD}" dt="2023-11-24T11:39:56.803" v="140957"/>
          <ac:spMkLst>
            <pc:docMk/>
            <pc:sldMk cId="43921188" sldId="2147478579"/>
            <ac:spMk id="917" creationId="{A9EFB81A-1FA5-7249-4608-6BE70CEE7874}"/>
          </ac:spMkLst>
        </pc:spChg>
        <pc:spChg chg="add del mod">
          <ac:chgData name="Steiner Andreas 6206 ED" userId="e6377c33-a923-4f14-8587-531c474c7b48" providerId="ADAL" clId="{6ECD27E6-B224-41CD-B4E0-E297462320DD}" dt="2023-11-24T11:39:59.169" v="141112"/>
          <ac:spMkLst>
            <pc:docMk/>
            <pc:sldMk cId="43921188" sldId="2147478579"/>
            <ac:spMk id="918" creationId="{C19305D5-F3FD-6FA0-D484-E67A9F927056}"/>
          </ac:spMkLst>
        </pc:spChg>
        <pc:spChg chg="add del mod">
          <ac:chgData name="Steiner Andreas 6206 ED" userId="e6377c33-a923-4f14-8587-531c474c7b48" providerId="ADAL" clId="{6ECD27E6-B224-41CD-B4E0-E297462320DD}" dt="2023-11-24T11:40:01.796" v="141267"/>
          <ac:spMkLst>
            <pc:docMk/>
            <pc:sldMk cId="43921188" sldId="2147478579"/>
            <ac:spMk id="919" creationId="{7D721E97-EDE9-B15A-7CA7-56D8B3F6F594}"/>
          </ac:spMkLst>
        </pc:spChg>
        <pc:spChg chg="add del mod">
          <ac:chgData name="Steiner Andreas 6206 ED" userId="e6377c33-a923-4f14-8587-531c474c7b48" providerId="ADAL" clId="{6ECD27E6-B224-41CD-B4E0-E297462320DD}" dt="2023-11-24T11:40:04.742" v="141422"/>
          <ac:spMkLst>
            <pc:docMk/>
            <pc:sldMk cId="43921188" sldId="2147478579"/>
            <ac:spMk id="920" creationId="{F2EE164E-C7DD-088F-8406-3974BD1A3135}"/>
          </ac:spMkLst>
        </pc:spChg>
        <pc:spChg chg="add del mod">
          <ac:chgData name="Steiner Andreas 6206 ED" userId="e6377c33-a923-4f14-8587-531c474c7b48" providerId="ADAL" clId="{6ECD27E6-B224-41CD-B4E0-E297462320DD}" dt="2023-11-24T11:40:07.513" v="141577"/>
          <ac:spMkLst>
            <pc:docMk/>
            <pc:sldMk cId="43921188" sldId="2147478579"/>
            <ac:spMk id="921" creationId="{31AB43B5-D302-58D4-D8BE-9B1C8D01DD7C}"/>
          </ac:spMkLst>
        </pc:spChg>
        <pc:spChg chg="add del mod">
          <ac:chgData name="Steiner Andreas 6206 ED" userId="e6377c33-a923-4f14-8587-531c474c7b48" providerId="ADAL" clId="{6ECD27E6-B224-41CD-B4E0-E297462320DD}" dt="2023-11-24T11:40:09.957" v="141732"/>
          <ac:spMkLst>
            <pc:docMk/>
            <pc:sldMk cId="43921188" sldId="2147478579"/>
            <ac:spMk id="922" creationId="{067F97F6-858C-78CC-FF87-A3AE2C98D8B8}"/>
          </ac:spMkLst>
        </pc:spChg>
        <pc:spChg chg="add del mod">
          <ac:chgData name="Steiner Andreas 6206 ED" userId="e6377c33-a923-4f14-8587-531c474c7b48" providerId="ADAL" clId="{6ECD27E6-B224-41CD-B4E0-E297462320DD}" dt="2023-11-24T11:40:12.404" v="141887"/>
          <ac:spMkLst>
            <pc:docMk/>
            <pc:sldMk cId="43921188" sldId="2147478579"/>
            <ac:spMk id="923" creationId="{E606C352-0075-E99B-E519-7426816D46CE}"/>
          </ac:spMkLst>
        </pc:spChg>
        <pc:spChg chg="add del mod">
          <ac:chgData name="Steiner Andreas 6206 ED" userId="e6377c33-a923-4f14-8587-531c474c7b48" providerId="ADAL" clId="{6ECD27E6-B224-41CD-B4E0-E297462320DD}" dt="2023-11-24T11:40:15.871" v="142042"/>
          <ac:spMkLst>
            <pc:docMk/>
            <pc:sldMk cId="43921188" sldId="2147478579"/>
            <ac:spMk id="924" creationId="{05F24507-F1FD-70A2-90D5-394D21A1B8AD}"/>
          </ac:spMkLst>
        </pc:spChg>
        <pc:spChg chg="add del mod">
          <ac:chgData name="Steiner Andreas 6206 ED" userId="e6377c33-a923-4f14-8587-531c474c7b48" providerId="ADAL" clId="{6ECD27E6-B224-41CD-B4E0-E297462320DD}" dt="2023-11-24T11:40:19.390" v="142197"/>
          <ac:spMkLst>
            <pc:docMk/>
            <pc:sldMk cId="43921188" sldId="2147478579"/>
            <ac:spMk id="925" creationId="{268E743E-6735-820A-A327-55C0008E6661}"/>
          </ac:spMkLst>
        </pc:spChg>
        <pc:spChg chg="add del mod">
          <ac:chgData name="Steiner Andreas 6206 ED" userId="e6377c33-a923-4f14-8587-531c474c7b48" providerId="ADAL" clId="{6ECD27E6-B224-41CD-B4E0-E297462320DD}" dt="2023-11-24T11:40:22.309" v="142352"/>
          <ac:spMkLst>
            <pc:docMk/>
            <pc:sldMk cId="43921188" sldId="2147478579"/>
            <ac:spMk id="926" creationId="{81A89799-D090-B145-A9CA-B8B8BB9F25BD}"/>
          </ac:spMkLst>
        </pc:spChg>
        <pc:spChg chg="add del mod">
          <ac:chgData name="Steiner Andreas 6206 ED" userId="e6377c33-a923-4f14-8587-531c474c7b48" providerId="ADAL" clId="{6ECD27E6-B224-41CD-B4E0-E297462320DD}" dt="2023-11-24T11:40:24.981" v="142507"/>
          <ac:spMkLst>
            <pc:docMk/>
            <pc:sldMk cId="43921188" sldId="2147478579"/>
            <ac:spMk id="927" creationId="{BBE7F03C-BCE0-7938-A780-BE6C00C492F7}"/>
          </ac:spMkLst>
        </pc:spChg>
        <pc:spChg chg="add del mod">
          <ac:chgData name="Steiner Andreas 6206 ED" userId="e6377c33-a923-4f14-8587-531c474c7b48" providerId="ADAL" clId="{6ECD27E6-B224-41CD-B4E0-E297462320DD}" dt="2023-11-24T11:40:28.034" v="142662"/>
          <ac:spMkLst>
            <pc:docMk/>
            <pc:sldMk cId="43921188" sldId="2147478579"/>
            <ac:spMk id="928" creationId="{6EB1B1F9-A23E-461E-E7DE-E2363E0FC453}"/>
          </ac:spMkLst>
        </pc:spChg>
        <pc:spChg chg="add del mod">
          <ac:chgData name="Steiner Andreas 6206 ED" userId="e6377c33-a923-4f14-8587-531c474c7b48" providerId="ADAL" clId="{6ECD27E6-B224-41CD-B4E0-E297462320DD}" dt="2023-11-24T11:40:30.796" v="142817"/>
          <ac:spMkLst>
            <pc:docMk/>
            <pc:sldMk cId="43921188" sldId="2147478579"/>
            <ac:spMk id="929" creationId="{1FBB9D5F-C79D-AF79-D10A-53E6F5F06D58}"/>
          </ac:spMkLst>
        </pc:spChg>
        <pc:spChg chg="add del mod">
          <ac:chgData name="Steiner Andreas 6206 ED" userId="e6377c33-a923-4f14-8587-531c474c7b48" providerId="ADAL" clId="{6ECD27E6-B224-41CD-B4E0-E297462320DD}" dt="2023-11-24T11:40:33.318" v="142972"/>
          <ac:spMkLst>
            <pc:docMk/>
            <pc:sldMk cId="43921188" sldId="2147478579"/>
            <ac:spMk id="930" creationId="{4D7ABE2D-AB67-0FC5-9690-0CD7CC5C33D7}"/>
          </ac:spMkLst>
        </pc:spChg>
        <pc:spChg chg="add del mod">
          <ac:chgData name="Steiner Andreas 6206 ED" userId="e6377c33-a923-4f14-8587-531c474c7b48" providerId="ADAL" clId="{6ECD27E6-B224-41CD-B4E0-E297462320DD}" dt="2023-11-24T11:40:35.930" v="143127"/>
          <ac:spMkLst>
            <pc:docMk/>
            <pc:sldMk cId="43921188" sldId="2147478579"/>
            <ac:spMk id="931" creationId="{6B26FB5E-494C-7931-4824-476F4CD0C306}"/>
          </ac:spMkLst>
        </pc:spChg>
        <pc:spChg chg="add del mod">
          <ac:chgData name="Steiner Andreas 6206 ED" userId="e6377c33-a923-4f14-8587-531c474c7b48" providerId="ADAL" clId="{6ECD27E6-B224-41CD-B4E0-E297462320DD}" dt="2023-11-24T11:40:38.997" v="143282"/>
          <ac:spMkLst>
            <pc:docMk/>
            <pc:sldMk cId="43921188" sldId="2147478579"/>
            <ac:spMk id="932" creationId="{9E49B06C-50DB-D3B8-393B-197FD1F62B08}"/>
          </ac:spMkLst>
        </pc:spChg>
        <pc:spChg chg="add del mod">
          <ac:chgData name="Steiner Andreas 6206 ED" userId="e6377c33-a923-4f14-8587-531c474c7b48" providerId="ADAL" clId="{6ECD27E6-B224-41CD-B4E0-E297462320DD}" dt="2023-11-24T11:40:42.048" v="143437"/>
          <ac:spMkLst>
            <pc:docMk/>
            <pc:sldMk cId="43921188" sldId="2147478579"/>
            <ac:spMk id="933" creationId="{2956A70D-1A8A-CA1A-C860-391159F55158}"/>
          </ac:spMkLst>
        </pc:spChg>
        <pc:spChg chg="add del mod">
          <ac:chgData name="Steiner Andreas 6206 ED" userId="e6377c33-a923-4f14-8587-531c474c7b48" providerId="ADAL" clId="{6ECD27E6-B224-41CD-B4E0-E297462320DD}" dt="2023-11-24T11:40:44.746" v="143592"/>
          <ac:spMkLst>
            <pc:docMk/>
            <pc:sldMk cId="43921188" sldId="2147478579"/>
            <ac:spMk id="934" creationId="{8E70E83D-74B2-DB4C-A40C-B0BF7F53B680}"/>
          </ac:spMkLst>
        </pc:spChg>
        <pc:spChg chg="add del mod">
          <ac:chgData name="Steiner Andreas 6206 ED" userId="e6377c33-a923-4f14-8587-531c474c7b48" providerId="ADAL" clId="{6ECD27E6-B224-41CD-B4E0-E297462320DD}" dt="2023-11-24T11:40:47.489" v="143747"/>
          <ac:spMkLst>
            <pc:docMk/>
            <pc:sldMk cId="43921188" sldId="2147478579"/>
            <ac:spMk id="935" creationId="{0E09E2D8-1C37-C5A9-85BD-55CDB9F35D13}"/>
          </ac:spMkLst>
        </pc:spChg>
        <pc:spChg chg="add del mod">
          <ac:chgData name="Steiner Andreas 6206 ED" userId="e6377c33-a923-4f14-8587-531c474c7b48" providerId="ADAL" clId="{6ECD27E6-B224-41CD-B4E0-E297462320DD}" dt="2023-11-24T11:40:50.284" v="143902"/>
          <ac:spMkLst>
            <pc:docMk/>
            <pc:sldMk cId="43921188" sldId="2147478579"/>
            <ac:spMk id="936" creationId="{9B63E509-31BF-550A-438D-1DDB4DC14ED4}"/>
          </ac:spMkLst>
        </pc:spChg>
        <pc:spChg chg="add del mod">
          <ac:chgData name="Steiner Andreas 6206 ED" userId="e6377c33-a923-4f14-8587-531c474c7b48" providerId="ADAL" clId="{6ECD27E6-B224-41CD-B4E0-E297462320DD}" dt="2023-11-24T11:40:53.132" v="144057"/>
          <ac:spMkLst>
            <pc:docMk/>
            <pc:sldMk cId="43921188" sldId="2147478579"/>
            <ac:spMk id="937" creationId="{C58EC4EC-407D-81F5-8E87-79494038630A}"/>
          </ac:spMkLst>
        </pc:spChg>
        <pc:spChg chg="add del mod">
          <ac:chgData name="Steiner Andreas 6206 ED" userId="e6377c33-a923-4f14-8587-531c474c7b48" providerId="ADAL" clId="{6ECD27E6-B224-41CD-B4E0-E297462320DD}" dt="2023-11-24T11:40:55.785" v="144212"/>
          <ac:spMkLst>
            <pc:docMk/>
            <pc:sldMk cId="43921188" sldId="2147478579"/>
            <ac:spMk id="938" creationId="{C4C306CE-37D7-3F67-AF18-51F08FB147DE}"/>
          </ac:spMkLst>
        </pc:spChg>
        <pc:spChg chg="add del mod">
          <ac:chgData name="Steiner Andreas 6206 ED" userId="e6377c33-a923-4f14-8587-531c474c7b48" providerId="ADAL" clId="{6ECD27E6-B224-41CD-B4E0-E297462320DD}" dt="2023-11-24T11:40:58.399" v="144367"/>
          <ac:spMkLst>
            <pc:docMk/>
            <pc:sldMk cId="43921188" sldId="2147478579"/>
            <ac:spMk id="939" creationId="{9E1B4315-0C6B-112D-9AAB-D9CFA39569C8}"/>
          </ac:spMkLst>
        </pc:spChg>
        <pc:spChg chg="add del mod">
          <ac:chgData name="Steiner Andreas 6206 ED" userId="e6377c33-a923-4f14-8587-531c474c7b48" providerId="ADAL" clId="{6ECD27E6-B224-41CD-B4E0-E297462320DD}" dt="2023-11-24T11:41:00.993" v="144522"/>
          <ac:spMkLst>
            <pc:docMk/>
            <pc:sldMk cId="43921188" sldId="2147478579"/>
            <ac:spMk id="940" creationId="{1D884004-50D7-4805-8326-52B31ADCC13E}"/>
          </ac:spMkLst>
        </pc:spChg>
        <pc:spChg chg="add del mod">
          <ac:chgData name="Steiner Andreas 6206 ED" userId="e6377c33-a923-4f14-8587-531c474c7b48" providerId="ADAL" clId="{6ECD27E6-B224-41CD-B4E0-E297462320DD}" dt="2023-11-24T11:41:03.537" v="144677"/>
          <ac:spMkLst>
            <pc:docMk/>
            <pc:sldMk cId="43921188" sldId="2147478579"/>
            <ac:spMk id="941" creationId="{D42DC126-3858-83A6-9C0A-00D6ED2E63A6}"/>
          </ac:spMkLst>
        </pc:spChg>
        <pc:spChg chg="add del mod">
          <ac:chgData name="Steiner Andreas 6206 ED" userId="e6377c33-a923-4f14-8587-531c474c7b48" providerId="ADAL" clId="{6ECD27E6-B224-41CD-B4E0-E297462320DD}" dt="2023-11-24T11:41:06.770" v="144832"/>
          <ac:spMkLst>
            <pc:docMk/>
            <pc:sldMk cId="43921188" sldId="2147478579"/>
            <ac:spMk id="942" creationId="{60D4DEBE-781A-6387-E4ED-94731109A2B7}"/>
          </ac:spMkLst>
        </pc:spChg>
        <pc:spChg chg="add del mod">
          <ac:chgData name="Steiner Andreas 6206 ED" userId="e6377c33-a923-4f14-8587-531c474c7b48" providerId="ADAL" clId="{6ECD27E6-B224-41CD-B4E0-E297462320DD}" dt="2023-11-24T11:41:09.843" v="144987"/>
          <ac:spMkLst>
            <pc:docMk/>
            <pc:sldMk cId="43921188" sldId="2147478579"/>
            <ac:spMk id="943" creationId="{BC006C3D-C7A7-763D-84D5-AC68714CB512}"/>
          </ac:spMkLst>
        </pc:spChg>
        <pc:spChg chg="add del mod">
          <ac:chgData name="Steiner Andreas 6206 ED" userId="e6377c33-a923-4f14-8587-531c474c7b48" providerId="ADAL" clId="{6ECD27E6-B224-41CD-B4E0-E297462320DD}" dt="2023-11-24T11:41:12.704" v="145142"/>
          <ac:spMkLst>
            <pc:docMk/>
            <pc:sldMk cId="43921188" sldId="2147478579"/>
            <ac:spMk id="944" creationId="{D1540DA3-59E3-73D3-A9CA-3888054B9376}"/>
          </ac:spMkLst>
        </pc:spChg>
        <pc:spChg chg="add del mod">
          <ac:chgData name="Steiner Andreas 6206 ED" userId="e6377c33-a923-4f14-8587-531c474c7b48" providerId="ADAL" clId="{6ECD27E6-B224-41CD-B4E0-E297462320DD}" dt="2023-11-24T11:41:15.607" v="145297"/>
          <ac:spMkLst>
            <pc:docMk/>
            <pc:sldMk cId="43921188" sldId="2147478579"/>
            <ac:spMk id="945" creationId="{A742D395-3220-A0CE-C8BC-C8CBC9689828}"/>
          </ac:spMkLst>
        </pc:spChg>
        <pc:spChg chg="add del mod">
          <ac:chgData name="Steiner Andreas 6206 ED" userId="e6377c33-a923-4f14-8587-531c474c7b48" providerId="ADAL" clId="{6ECD27E6-B224-41CD-B4E0-E297462320DD}" dt="2023-11-24T11:41:18.923" v="145452"/>
          <ac:spMkLst>
            <pc:docMk/>
            <pc:sldMk cId="43921188" sldId="2147478579"/>
            <ac:spMk id="946" creationId="{28DA47A4-40F7-5D3F-EBDC-059360425364}"/>
          </ac:spMkLst>
        </pc:spChg>
        <pc:spChg chg="add del mod">
          <ac:chgData name="Steiner Andreas 6206 ED" userId="e6377c33-a923-4f14-8587-531c474c7b48" providerId="ADAL" clId="{6ECD27E6-B224-41CD-B4E0-E297462320DD}" dt="2023-11-24T11:41:21.554" v="145607"/>
          <ac:spMkLst>
            <pc:docMk/>
            <pc:sldMk cId="43921188" sldId="2147478579"/>
            <ac:spMk id="947" creationId="{098D32B8-ABD2-631A-A921-16489466956F}"/>
          </ac:spMkLst>
        </pc:spChg>
        <pc:spChg chg="add del mod">
          <ac:chgData name="Steiner Andreas 6206 ED" userId="e6377c33-a923-4f14-8587-531c474c7b48" providerId="ADAL" clId="{6ECD27E6-B224-41CD-B4E0-E297462320DD}" dt="2023-11-24T11:41:25.379" v="145762"/>
          <ac:spMkLst>
            <pc:docMk/>
            <pc:sldMk cId="43921188" sldId="2147478579"/>
            <ac:spMk id="948" creationId="{AE3D2E08-1EC3-5E7B-AD6E-5325E4421C70}"/>
          </ac:spMkLst>
        </pc:spChg>
        <pc:spChg chg="add del mod">
          <ac:chgData name="Steiner Andreas 6206 ED" userId="e6377c33-a923-4f14-8587-531c474c7b48" providerId="ADAL" clId="{6ECD27E6-B224-41CD-B4E0-E297462320DD}" dt="2023-11-24T11:41:28.326" v="145917"/>
          <ac:spMkLst>
            <pc:docMk/>
            <pc:sldMk cId="43921188" sldId="2147478579"/>
            <ac:spMk id="949" creationId="{D1DBBF75-C826-D189-D17B-4E71116BC4F4}"/>
          </ac:spMkLst>
        </pc:spChg>
        <pc:spChg chg="add del mod">
          <ac:chgData name="Steiner Andreas 6206 ED" userId="e6377c33-a923-4f14-8587-531c474c7b48" providerId="ADAL" clId="{6ECD27E6-B224-41CD-B4E0-E297462320DD}" dt="2023-11-24T11:41:31.168" v="146072"/>
          <ac:spMkLst>
            <pc:docMk/>
            <pc:sldMk cId="43921188" sldId="2147478579"/>
            <ac:spMk id="950" creationId="{8A15427D-6717-630B-3F88-6DAC9905FEC5}"/>
          </ac:spMkLst>
        </pc:spChg>
        <pc:spChg chg="add del mod">
          <ac:chgData name="Steiner Andreas 6206 ED" userId="e6377c33-a923-4f14-8587-531c474c7b48" providerId="ADAL" clId="{6ECD27E6-B224-41CD-B4E0-E297462320DD}" dt="2023-11-24T11:41:33.374" v="146227"/>
          <ac:spMkLst>
            <pc:docMk/>
            <pc:sldMk cId="43921188" sldId="2147478579"/>
            <ac:spMk id="951" creationId="{554A4819-8BF0-F946-CBB7-A87B7D61EE88}"/>
          </ac:spMkLst>
        </pc:spChg>
        <pc:spChg chg="add del mod">
          <ac:chgData name="Steiner Andreas 6206 ED" userId="e6377c33-a923-4f14-8587-531c474c7b48" providerId="ADAL" clId="{6ECD27E6-B224-41CD-B4E0-E297462320DD}" dt="2023-11-24T11:41:35.493" v="146382"/>
          <ac:spMkLst>
            <pc:docMk/>
            <pc:sldMk cId="43921188" sldId="2147478579"/>
            <ac:spMk id="952" creationId="{0F45BACF-D998-4AAC-482C-423B6E76F64A}"/>
          </ac:spMkLst>
        </pc:spChg>
        <pc:spChg chg="add del mod">
          <ac:chgData name="Steiner Andreas 6206 ED" userId="e6377c33-a923-4f14-8587-531c474c7b48" providerId="ADAL" clId="{6ECD27E6-B224-41CD-B4E0-E297462320DD}" dt="2023-11-24T11:41:37.678" v="146537"/>
          <ac:spMkLst>
            <pc:docMk/>
            <pc:sldMk cId="43921188" sldId="2147478579"/>
            <ac:spMk id="953" creationId="{140DBA59-6282-0DC4-B928-8BA8846CAE49}"/>
          </ac:spMkLst>
        </pc:spChg>
        <pc:spChg chg="add del mod">
          <ac:chgData name="Steiner Andreas 6206 ED" userId="e6377c33-a923-4f14-8587-531c474c7b48" providerId="ADAL" clId="{6ECD27E6-B224-41CD-B4E0-E297462320DD}" dt="2023-11-24T11:41:40.263" v="146692"/>
          <ac:spMkLst>
            <pc:docMk/>
            <pc:sldMk cId="43921188" sldId="2147478579"/>
            <ac:spMk id="954" creationId="{CE8DA53D-31E4-BF8D-4A33-395C9B76F544}"/>
          </ac:spMkLst>
        </pc:spChg>
        <pc:spChg chg="add del mod">
          <ac:chgData name="Steiner Andreas 6206 ED" userId="e6377c33-a923-4f14-8587-531c474c7b48" providerId="ADAL" clId="{6ECD27E6-B224-41CD-B4E0-E297462320DD}" dt="2023-11-24T11:41:42.654" v="146847"/>
          <ac:spMkLst>
            <pc:docMk/>
            <pc:sldMk cId="43921188" sldId="2147478579"/>
            <ac:spMk id="955" creationId="{5902B4C6-9B70-461D-3DBF-9EA6EBF519BE}"/>
          </ac:spMkLst>
        </pc:spChg>
        <pc:spChg chg="add del mod">
          <ac:chgData name="Steiner Andreas 6206 ED" userId="e6377c33-a923-4f14-8587-531c474c7b48" providerId="ADAL" clId="{6ECD27E6-B224-41CD-B4E0-E297462320DD}" dt="2023-11-24T11:41:44.730" v="147002"/>
          <ac:spMkLst>
            <pc:docMk/>
            <pc:sldMk cId="43921188" sldId="2147478579"/>
            <ac:spMk id="956" creationId="{6F2FEEC6-25E6-D7F7-FB7C-8EA147692A5F}"/>
          </ac:spMkLst>
        </pc:spChg>
        <pc:spChg chg="add del mod">
          <ac:chgData name="Steiner Andreas 6206 ED" userId="e6377c33-a923-4f14-8587-531c474c7b48" providerId="ADAL" clId="{6ECD27E6-B224-41CD-B4E0-E297462320DD}" dt="2023-11-24T11:41:47.149" v="147157"/>
          <ac:spMkLst>
            <pc:docMk/>
            <pc:sldMk cId="43921188" sldId="2147478579"/>
            <ac:spMk id="957" creationId="{A7787A28-1D0E-ED2B-7591-DC287F0401F0}"/>
          </ac:spMkLst>
        </pc:spChg>
        <pc:spChg chg="add del mod">
          <ac:chgData name="Steiner Andreas 6206 ED" userId="e6377c33-a923-4f14-8587-531c474c7b48" providerId="ADAL" clId="{6ECD27E6-B224-41CD-B4E0-E297462320DD}" dt="2023-11-24T11:41:49.280" v="147312"/>
          <ac:spMkLst>
            <pc:docMk/>
            <pc:sldMk cId="43921188" sldId="2147478579"/>
            <ac:spMk id="958" creationId="{8CE085DF-6530-2052-BB41-3A367A824ADF}"/>
          </ac:spMkLst>
        </pc:spChg>
        <pc:spChg chg="add del mod">
          <ac:chgData name="Steiner Andreas 6206 ED" userId="e6377c33-a923-4f14-8587-531c474c7b48" providerId="ADAL" clId="{6ECD27E6-B224-41CD-B4E0-E297462320DD}" dt="2023-11-24T11:41:51.628" v="147467"/>
          <ac:spMkLst>
            <pc:docMk/>
            <pc:sldMk cId="43921188" sldId="2147478579"/>
            <ac:spMk id="959" creationId="{073AEBA3-5011-D9DE-DF38-45541340CE3A}"/>
          </ac:spMkLst>
        </pc:spChg>
        <pc:spChg chg="add del mod">
          <ac:chgData name="Steiner Andreas 6206 ED" userId="e6377c33-a923-4f14-8587-531c474c7b48" providerId="ADAL" clId="{6ECD27E6-B224-41CD-B4E0-E297462320DD}" dt="2023-11-24T11:41:54.070" v="147622"/>
          <ac:spMkLst>
            <pc:docMk/>
            <pc:sldMk cId="43921188" sldId="2147478579"/>
            <ac:spMk id="960" creationId="{CF3295E8-AEEF-0EF2-1E65-B331B22A52F1}"/>
          </ac:spMkLst>
        </pc:spChg>
        <pc:spChg chg="add del mod">
          <ac:chgData name="Steiner Andreas 6206 ED" userId="e6377c33-a923-4f14-8587-531c474c7b48" providerId="ADAL" clId="{6ECD27E6-B224-41CD-B4E0-E297462320DD}" dt="2023-11-24T11:41:57.020" v="147777"/>
          <ac:spMkLst>
            <pc:docMk/>
            <pc:sldMk cId="43921188" sldId="2147478579"/>
            <ac:spMk id="961" creationId="{016D72F7-D61D-6202-AEB4-A1DF66BD9DD2}"/>
          </ac:spMkLst>
        </pc:spChg>
        <pc:spChg chg="add del mod">
          <ac:chgData name="Steiner Andreas 6206 ED" userId="e6377c33-a923-4f14-8587-531c474c7b48" providerId="ADAL" clId="{6ECD27E6-B224-41CD-B4E0-E297462320DD}" dt="2023-11-24T11:42:00.402" v="147932"/>
          <ac:spMkLst>
            <pc:docMk/>
            <pc:sldMk cId="43921188" sldId="2147478579"/>
            <ac:spMk id="962" creationId="{3120E5C0-109E-AEA2-B0BA-1B2A69EF2722}"/>
          </ac:spMkLst>
        </pc:spChg>
        <pc:spChg chg="add del mod">
          <ac:chgData name="Steiner Andreas 6206 ED" userId="e6377c33-a923-4f14-8587-531c474c7b48" providerId="ADAL" clId="{6ECD27E6-B224-41CD-B4E0-E297462320DD}" dt="2023-11-24T11:42:03.809" v="148087"/>
          <ac:spMkLst>
            <pc:docMk/>
            <pc:sldMk cId="43921188" sldId="2147478579"/>
            <ac:spMk id="963" creationId="{36A0DAC7-F79C-02BF-F479-8F401925B064}"/>
          </ac:spMkLst>
        </pc:spChg>
        <pc:spChg chg="add del mod">
          <ac:chgData name="Steiner Andreas 6206 ED" userId="e6377c33-a923-4f14-8587-531c474c7b48" providerId="ADAL" clId="{6ECD27E6-B224-41CD-B4E0-E297462320DD}" dt="2023-11-24T11:42:06.275" v="148242"/>
          <ac:spMkLst>
            <pc:docMk/>
            <pc:sldMk cId="43921188" sldId="2147478579"/>
            <ac:spMk id="964" creationId="{92AF287B-474F-562D-CA02-9027329B1890}"/>
          </ac:spMkLst>
        </pc:spChg>
        <pc:spChg chg="add del mod">
          <ac:chgData name="Steiner Andreas 6206 ED" userId="e6377c33-a923-4f14-8587-531c474c7b48" providerId="ADAL" clId="{6ECD27E6-B224-41CD-B4E0-E297462320DD}" dt="2023-11-24T11:42:08.597" v="148397"/>
          <ac:spMkLst>
            <pc:docMk/>
            <pc:sldMk cId="43921188" sldId="2147478579"/>
            <ac:spMk id="965" creationId="{25610EF2-2C36-04C8-6C1F-8F585FFD50CE}"/>
          </ac:spMkLst>
        </pc:spChg>
        <pc:spChg chg="add del mod">
          <ac:chgData name="Steiner Andreas 6206 ED" userId="e6377c33-a923-4f14-8587-531c474c7b48" providerId="ADAL" clId="{6ECD27E6-B224-41CD-B4E0-E297462320DD}" dt="2023-11-24T11:42:11.160" v="148552"/>
          <ac:spMkLst>
            <pc:docMk/>
            <pc:sldMk cId="43921188" sldId="2147478579"/>
            <ac:spMk id="966" creationId="{405834AE-9F6F-5248-BBE2-A5A2AE4FE335}"/>
          </ac:spMkLst>
        </pc:spChg>
        <pc:spChg chg="add del mod">
          <ac:chgData name="Steiner Andreas 6206 ED" userId="e6377c33-a923-4f14-8587-531c474c7b48" providerId="ADAL" clId="{6ECD27E6-B224-41CD-B4E0-E297462320DD}" dt="2023-11-24T11:42:13.703" v="148707"/>
          <ac:spMkLst>
            <pc:docMk/>
            <pc:sldMk cId="43921188" sldId="2147478579"/>
            <ac:spMk id="967" creationId="{41A1314B-7D30-2EE8-18FB-4016802A5872}"/>
          </ac:spMkLst>
        </pc:spChg>
        <pc:spChg chg="add del mod">
          <ac:chgData name="Steiner Andreas 6206 ED" userId="e6377c33-a923-4f14-8587-531c474c7b48" providerId="ADAL" clId="{6ECD27E6-B224-41CD-B4E0-E297462320DD}" dt="2023-11-24T11:42:16.131" v="148862"/>
          <ac:spMkLst>
            <pc:docMk/>
            <pc:sldMk cId="43921188" sldId="2147478579"/>
            <ac:spMk id="968" creationId="{85B00039-31F8-2B13-D59B-4FA4CD30F102}"/>
          </ac:spMkLst>
        </pc:spChg>
        <pc:spChg chg="add del mod">
          <ac:chgData name="Steiner Andreas 6206 ED" userId="e6377c33-a923-4f14-8587-531c474c7b48" providerId="ADAL" clId="{6ECD27E6-B224-41CD-B4E0-E297462320DD}" dt="2023-11-24T11:42:18.197" v="149017"/>
          <ac:spMkLst>
            <pc:docMk/>
            <pc:sldMk cId="43921188" sldId="2147478579"/>
            <ac:spMk id="969" creationId="{A7074ECF-1394-899D-720A-48C5E2A75E56}"/>
          </ac:spMkLst>
        </pc:spChg>
        <pc:spChg chg="add del mod">
          <ac:chgData name="Steiner Andreas 6206 ED" userId="e6377c33-a923-4f14-8587-531c474c7b48" providerId="ADAL" clId="{6ECD27E6-B224-41CD-B4E0-E297462320DD}" dt="2023-11-24T11:42:20.286" v="149172"/>
          <ac:spMkLst>
            <pc:docMk/>
            <pc:sldMk cId="43921188" sldId="2147478579"/>
            <ac:spMk id="970" creationId="{F0505F3C-F811-D45E-95E8-26544D860694}"/>
          </ac:spMkLst>
        </pc:spChg>
        <pc:spChg chg="add del mod">
          <ac:chgData name="Steiner Andreas 6206 ED" userId="e6377c33-a923-4f14-8587-531c474c7b48" providerId="ADAL" clId="{6ECD27E6-B224-41CD-B4E0-E297462320DD}" dt="2023-11-24T11:42:22.367" v="149327"/>
          <ac:spMkLst>
            <pc:docMk/>
            <pc:sldMk cId="43921188" sldId="2147478579"/>
            <ac:spMk id="971" creationId="{58B2DE86-16F5-6839-8DA0-63AA9BD55DB4}"/>
          </ac:spMkLst>
        </pc:spChg>
        <pc:spChg chg="add del mod">
          <ac:chgData name="Steiner Andreas 6206 ED" userId="e6377c33-a923-4f14-8587-531c474c7b48" providerId="ADAL" clId="{6ECD27E6-B224-41CD-B4E0-E297462320DD}" dt="2023-11-24T11:42:24.317" v="149482"/>
          <ac:spMkLst>
            <pc:docMk/>
            <pc:sldMk cId="43921188" sldId="2147478579"/>
            <ac:spMk id="972" creationId="{9D285A60-6636-2AFE-0F67-3314B1DEF275}"/>
          </ac:spMkLst>
        </pc:spChg>
        <pc:spChg chg="add del mod">
          <ac:chgData name="Steiner Andreas 6206 ED" userId="e6377c33-a923-4f14-8587-531c474c7b48" providerId="ADAL" clId="{6ECD27E6-B224-41CD-B4E0-E297462320DD}" dt="2023-11-24T11:42:26.262" v="149637"/>
          <ac:spMkLst>
            <pc:docMk/>
            <pc:sldMk cId="43921188" sldId="2147478579"/>
            <ac:spMk id="973" creationId="{588F0DF4-ED6F-460C-F764-818F7CB2B88D}"/>
          </ac:spMkLst>
        </pc:spChg>
        <pc:spChg chg="add del mod">
          <ac:chgData name="Steiner Andreas 6206 ED" userId="e6377c33-a923-4f14-8587-531c474c7b48" providerId="ADAL" clId="{6ECD27E6-B224-41CD-B4E0-E297462320DD}" dt="2023-11-24T11:42:29.244" v="149792"/>
          <ac:spMkLst>
            <pc:docMk/>
            <pc:sldMk cId="43921188" sldId="2147478579"/>
            <ac:spMk id="974" creationId="{268DEAD6-EBB0-ADB4-D055-C18E55C41990}"/>
          </ac:spMkLst>
        </pc:spChg>
        <pc:spChg chg="add del mod">
          <ac:chgData name="Steiner Andreas 6206 ED" userId="e6377c33-a923-4f14-8587-531c474c7b48" providerId="ADAL" clId="{6ECD27E6-B224-41CD-B4E0-E297462320DD}" dt="2023-11-24T11:42:32.192" v="149947"/>
          <ac:spMkLst>
            <pc:docMk/>
            <pc:sldMk cId="43921188" sldId="2147478579"/>
            <ac:spMk id="975" creationId="{FCA44502-D3D7-AB94-1213-A100ECF61061}"/>
          </ac:spMkLst>
        </pc:spChg>
        <pc:spChg chg="add del mod">
          <ac:chgData name="Steiner Andreas 6206 ED" userId="e6377c33-a923-4f14-8587-531c474c7b48" providerId="ADAL" clId="{6ECD27E6-B224-41CD-B4E0-E297462320DD}" dt="2023-11-24T11:42:35.510" v="150102"/>
          <ac:spMkLst>
            <pc:docMk/>
            <pc:sldMk cId="43921188" sldId="2147478579"/>
            <ac:spMk id="976" creationId="{38E02292-98E0-7744-AFD1-8E0038EA83C9}"/>
          </ac:spMkLst>
        </pc:spChg>
        <pc:spChg chg="add del mod">
          <ac:chgData name="Steiner Andreas 6206 ED" userId="e6377c33-a923-4f14-8587-531c474c7b48" providerId="ADAL" clId="{6ECD27E6-B224-41CD-B4E0-E297462320DD}" dt="2023-11-24T11:42:37.892" v="150257"/>
          <ac:spMkLst>
            <pc:docMk/>
            <pc:sldMk cId="43921188" sldId="2147478579"/>
            <ac:spMk id="977" creationId="{5CF80A38-AD18-EA56-931F-A5366BAA7355}"/>
          </ac:spMkLst>
        </pc:spChg>
        <pc:spChg chg="add del mod">
          <ac:chgData name="Steiner Andreas 6206 ED" userId="e6377c33-a923-4f14-8587-531c474c7b48" providerId="ADAL" clId="{6ECD27E6-B224-41CD-B4E0-E297462320DD}" dt="2023-11-24T11:42:39.975" v="150412"/>
          <ac:spMkLst>
            <pc:docMk/>
            <pc:sldMk cId="43921188" sldId="2147478579"/>
            <ac:spMk id="978" creationId="{E6224A7F-69B2-B8AA-EA20-CE7F8BEF314E}"/>
          </ac:spMkLst>
        </pc:spChg>
        <pc:spChg chg="add del mod">
          <ac:chgData name="Steiner Andreas 6206 ED" userId="e6377c33-a923-4f14-8587-531c474c7b48" providerId="ADAL" clId="{6ECD27E6-B224-41CD-B4E0-E297462320DD}" dt="2023-11-24T11:42:42.037" v="150567"/>
          <ac:spMkLst>
            <pc:docMk/>
            <pc:sldMk cId="43921188" sldId="2147478579"/>
            <ac:spMk id="979" creationId="{767BFE2F-6081-AE00-8B14-0CE93915E91E}"/>
          </ac:spMkLst>
        </pc:spChg>
        <pc:spChg chg="add del mod">
          <ac:chgData name="Steiner Andreas 6206 ED" userId="e6377c33-a923-4f14-8587-531c474c7b48" providerId="ADAL" clId="{6ECD27E6-B224-41CD-B4E0-E297462320DD}" dt="2023-11-24T11:42:44.146" v="150722"/>
          <ac:spMkLst>
            <pc:docMk/>
            <pc:sldMk cId="43921188" sldId="2147478579"/>
            <ac:spMk id="980" creationId="{66479AEB-732E-F587-3D8E-92BF3DA8AF25}"/>
          </ac:spMkLst>
        </pc:spChg>
        <pc:spChg chg="add del mod">
          <ac:chgData name="Steiner Andreas 6206 ED" userId="e6377c33-a923-4f14-8587-531c474c7b48" providerId="ADAL" clId="{6ECD27E6-B224-41CD-B4E0-E297462320DD}" dt="2023-11-24T11:42:46.358" v="150877"/>
          <ac:spMkLst>
            <pc:docMk/>
            <pc:sldMk cId="43921188" sldId="2147478579"/>
            <ac:spMk id="981" creationId="{D9535F5E-CB5A-75FC-3295-121E39D51BAC}"/>
          </ac:spMkLst>
        </pc:spChg>
        <pc:spChg chg="add del mod">
          <ac:chgData name="Steiner Andreas 6206 ED" userId="e6377c33-a923-4f14-8587-531c474c7b48" providerId="ADAL" clId="{6ECD27E6-B224-41CD-B4E0-E297462320DD}" dt="2023-11-24T11:42:48.628" v="151032"/>
          <ac:spMkLst>
            <pc:docMk/>
            <pc:sldMk cId="43921188" sldId="2147478579"/>
            <ac:spMk id="982" creationId="{8F734FA8-60A9-7E3F-0E4F-675B06723DAC}"/>
          </ac:spMkLst>
        </pc:spChg>
        <pc:spChg chg="add del mod">
          <ac:chgData name="Steiner Andreas 6206 ED" userId="e6377c33-a923-4f14-8587-531c474c7b48" providerId="ADAL" clId="{6ECD27E6-B224-41CD-B4E0-E297462320DD}" dt="2023-11-24T11:42:50.830" v="151187"/>
          <ac:spMkLst>
            <pc:docMk/>
            <pc:sldMk cId="43921188" sldId="2147478579"/>
            <ac:spMk id="983" creationId="{9A1B54BB-5983-5C4B-9C9A-992317D6F186}"/>
          </ac:spMkLst>
        </pc:spChg>
        <pc:spChg chg="add del mod">
          <ac:chgData name="Steiner Andreas 6206 ED" userId="e6377c33-a923-4f14-8587-531c474c7b48" providerId="ADAL" clId="{6ECD27E6-B224-41CD-B4E0-E297462320DD}" dt="2023-11-24T11:42:53.197" v="151342"/>
          <ac:spMkLst>
            <pc:docMk/>
            <pc:sldMk cId="43921188" sldId="2147478579"/>
            <ac:spMk id="984" creationId="{ECAE7401-8013-2954-5DE3-334BE68254D4}"/>
          </ac:spMkLst>
        </pc:spChg>
        <pc:spChg chg="add del mod">
          <ac:chgData name="Steiner Andreas 6206 ED" userId="e6377c33-a923-4f14-8587-531c474c7b48" providerId="ADAL" clId="{6ECD27E6-B224-41CD-B4E0-E297462320DD}" dt="2023-11-24T11:42:55.460" v="151497"/>
          <ac:spMkLst>
            <pc:docMk/>
            <pc:sldMk cId="43921188" sldId="2147478579"/>
            <ac:spMk id="985" creationId="{20F5945A-593F-1152-D845-F49EBC196B76}"/>
          </ac:spMkLst>
        </pc:spChg>
        <pc:spChg chg="add del mod">
          <ac:chgData name="Steiner Andreas 6206 ED" userId="e6377c33-a923-4f14-8587-531c474c7b48" providerId="ADAL" clId="{6ECD27E6-B224-41CD-B4E0-E297462320DD}" dt="2023-11-24T11:42:57.836" v="151652"/>
          <ac:spMkLst>
            <pc:docMk/>
            <pc:sldMk cId="43921188" sldId="2147478579"/>
            <ac:spMk id="986" creationId="{EC2D1E0F-BAAA-6037-C664-0BAFE1EFD8A0}"/>
          </ac:spMkLst>
        </pc:spChg>
        <pc:spChg chg="add del mod">
          <ac:chgData name="Steiner Andreas 6206 ED" userId="e6377c33-a923-4f14-8587-531c474c7b48" providerId="ADAL" clId="{6ECD27E6-B224-41CD-B4E0-E297462320DD}" dt="2023-11-24T11:43:01.537" v="151807"/>
          <ac:spMkLst>
            <pc:docMk/>
            <pc:sldMk cId="43921188" sldId="2147478579"/>
            <ac:spMk id="987" creationId="{1453BA62-5AE6-EFE1-0F64-FB29E6A95BE5}"/>
          </ac:spMkLst>
        </pc:spChg>
        <pc:spChg chg="add del mod">
          <ac:chgData name="Steiner Andreas 6206 ED" userId="e6377c33-a923-4f14-8587-531c474c7b48" providerId="ADAL" clId="{6ECD27E6-B224-41CD-B4E0-E297462320DD}" dt="2023-11-24T11:43:03.911" v="151962"/>
          <ac:spMkLst>
            <pc:docMk/>
            <pc:sldMk cId="43921188" sldId="2147478579"/>
            <ac:spMk id="988" creationId="{BF63FF47-3BF1-2506-D484-A36DFF42CE26}"/>
          </ac:spMkLst>
        </pc:spChg>
        <pc:spChg chg="add del mod">
          <ac:chgData name="Steiner Andreas 6206 ED" userId="e6377c33-a923-4f14-8587-531c474c7b48" providerId="ADAL" clId="{6ECD27E6-B224-41CD-B4E0-E297462320DD}" dt="2023-11-24T11:43:06.169" v="152117"/>
          <ac:spMkLst>
            <pc:docMk/>
            <pc:sldMk cId="43921188" sldId="2147478579"/>
            <ac:spMk id="989" creationId="{93A23ECE-9969-17AE-3959-6372E47D9DC9}"/>
          </ac:spMkLst>
        </pc:spChg>
        <pc:spChg chg="add del mod">
          <ac:chgData name="Steiner Andreas 6206 ED" userId="e6377c33-a923-4f14-8587-531c474c7b48" providerId="ADAL" clId="{6ECD27E6-B224-41CD-B4E0-E297462320DD}" dt="2023-11-24T11:43:08.229" v="152272"/>
          <ac:spMkLst>
            <pc:docMk/>
            <pc:sldMk cId="43921188" sldId="2147478579"/>
            <ac:spMk id="990" creationId="{F96A2494-8B8D-8410-17B5-36EB56709A08}"/>
          </ac:spMkLst>
        </pc:spChg>
        <pc:spChg chg="add del mod">
          <ac:chgData name="Steiner Andreas 6206 ED" userId="e6377c33-a923-4f14-8587-531c474c7b48" providerId="ADAL" clId="{6ECD27E6-B224-41CD-B4E0-E297462320DD}" dt="2023-11-24T11:43:10.423" v="152427"/>
          <ac:spMkLst>
            <pc:docMk/>
            <pc:sldMk cId="43921188" sldId="2147478579"/>
            <ac:spMk id="991" creationId="{E6316EF0-1CE8-ECBF-CB9B-29A4E983A108}"/>
          </ac:spMkLst>
        </pc:spChg>
        <pc:spChg chg="add del mod">
          <ac:chgData name="Steiner Andreas 6206 ED" userId="e6377c33-a923-4f14-8587-531c474c7b48" providerId="ADAL" clId="{6ECD27E6-B224-41CD-B4E0-E297462320DD}" dt="2023-11-24T11:43:12.581" v="152582"/>
          <ac:spMkLst>
            <pc:docMk/>
            <pc:sldMk cId="43921188" sldId="2147478579"/>
            <ac:spMk id="992" creationId="{814359B3-BDA7-FABC-866D-5780BCBF7BCF}"/>
          </ac:spMkLst>
        </pc:spChg>
        <pc:spChg chg="add del mod">
          <ac:chgData name="Steiner Andreas 6206 ED" userId="e6377c33-a923-4f14-8587-531c474c7b48" providerId="ADAL" clId="{6ECD27E6-B224-41CD-B4E0-E297462320DD}" dt="2023-11-24T11:43:14.855" v="152737"/>
          <ac:spMkLst>
            <pc:docMk/>
            <pc:sldMk cId="43921188" sldId="2147478579"/>
            <ac:spMk id="993" creationId="{02E3BC55-6886-111A-5966-9707E4B1E7A1}"/>
          </ac:spMkLst>
        </pc:spChg>
        <pc:spChg chg="add del mod">
          <ac:chgData name="Steiner Andreas 6206 ED" userId="e6377c33-a923-4f14-8587-531c474c7b48" providerId="ADAL" clId="{6ECD27E6-B224-41CD-B4E0-E297462320DD}" dt="2023-11-24T11:43:17.798" v="152892"/>
          <ac:spMkLst>
            <pc:docMk/>
            <pc:sldMk cId="43921188" sldId="2147478579"/>
            <ac:spMk id="994" creationId="{EAC4C675-66AC-39C4-A8D0-E9947FC3FFA5}"/>
          </ac:spMkLst>
        </pc:spChg>
        <pc:spChg chg="add del mod">
          <ac:chgData name="Steiner Andreas 6206 ED" userId="e6377c33-a923-4f14-8587-531c474c7b48" providerId="ADAL" clId="{6ECD27E6-B224-41CD-B4E0-E297462320DD}" dt="2023-11-24T11:43:22.043" v="153047"/>
          <ac:spMkLst>
            <pc:docMk/>
            <pc:sldMk cId="43921188" sldId="2147478579"/>
            <ac:spMk id="995" creationId="{77F1034A-D2C6-F41C-0B4E-4E19954262FE}"/>
          </ac:spMkLst>
        </pc:spChg>
        <pc:spChg chg="add del mod">
          <ac:chgData name="Steiner Andreas 6206 ED" userId="e6377c33-a923-4f14-8587-531c474c7b48" providerId="ADAL" clId="{6ECD27E6-B224-41CD-B4E0-E297462320DD}" dt="2023-11-24T11:43:24.609" v="153202"/>
          <ac:spMkLst>
            <pc:docMk/>
            <pc:sldMk cId="43921188" sldId="2147478579"/>
            <ac:spMk id="996" creationId="{58471BAE-BF8E-E1F0-C0FF-B7523EE10A77}"/>
          </ac:spMkLst>
        </pc:spChg>
        <pc:spChg chg="add del mod">
          <ac:chgData name="Steiner Andreas 6206 ED" userId="e6377c33-a923-4f14-8587-531c474c7b48" providerId="ADAL" clId="{6ECD27E6-B224-41CD-B4E0-E297462320DD}" dt="2023-11-24T11:43:26.911" v="153357"/>
          <ac:spMkLst>
            <pc:docMk/>
            <pc:sldMk cId="43921188" sldId="2147478579"/>
            <ac:spMk id="997" creationId="{20752497-8AAB-D81E-437D-A22A2CB92375}"/>
          </ac:spMkLst>
        </pc:spChg>
        <pc:spChg chg="add del mod">
          <ac:chgData name="Steiner Andreas 6206 ED" userId="e6377c33-a923-4f14-8587-531c474c7b48" providerId="ADAL" clId="{6ECD27E6-B224-41CD-B4E0-E297462320DD}" dt="2023-11-24T11:43:29.198" v="153512"/>
          <ac:spMkLst>
            <pc:docMk/>
            <pc:sldMk cId="43921188" sldId="2147478579"/>
            <ac:spMk id="998" creationId="{21BA2047-8460-ABFC-CAA3-F5B4D8C277B9}"/>
          </ac:spMkLst>
        </pc:spChg>
        <pc:spChg chg="add del mod">
          <ac:chgData name="Steiner Andreas 6206 ED" userId="e6377c33-a923-4f14-8587-531c474c7b48" providerId="ADAL" clId="{6ECD27E6-B224-41CD-B4E0-E297462320DD}" dt="2023-11-24T11:43:31.448" v="153667"/>
          <ac:spMkLst>
            <pc:docMk/>
            <pc:sldMk cId="43921188" sldId="2147478579"/>
            <ac:spMk id="999" creationId="{9139A61D-4355-6F6A-0AC6-AAA4FA930146}"/>
          </ac:spMkLst>
        </pc:spChg>
        <pc:spChg chg="add del mod">
          <ac:chgData name="Steiner Andreas 6206 ED" userId="e6377c33-a923-4f14-8587-531c474c7b48" providerId="ADAL" clId="{6ECD27E6-B224-41CD-B4E0-E297462320DD}" dt="2023-11-24T11:43:34.086" v="153822"/>
          <ac:spMkLst>
            <pc:docMk/>
            <pc:sldMk cId="43921188" sldId="2147478579"/>
            <ac:spMk id="1000" creationId="{92506E43-31E1-E318-F739-1A32CFD87AD8}"/>
          </ac:spMkLst>
        </pc:spChg>
        <pc:spChg chg="add del mod">
          <ac:chgData name="Steiner Andreas 6206 ED" userId="e6377c33-a923-4f14-8587-531c474c7b48" providerId="ADAL" clId="{6ECD27E6-B224-41CD-B4E0-E297462320DD}" dt="2023-11-24T11:43:36.338" v="153977"/>
          <ac:spMkLst>
            <pc:docMk/>
            <pc:sldMk cId="43921188" sldId="2147478579"/>
            <ac:spMk id="1001" creationId="{F0ACCA47-8930-6FCB-FF2F-1BBFACE67C7D}"/>
          </ac:spMkLst>
        </pc:spChg>
        <pc:spChg chg="add del mod">
          <ac:chgData name="Steiner Andreas 6206 ED" userId="e6377c33-a923-4f14-8587-531c474c7b48" providerId="ADAL" clId="{6ECD27E6-B224-41CD-B4E0-E297462320DD}" dt="2023-11-24T11:43:38.530" v="154132"/>
          <ac:spMkLst>
            <pc:docMk/>
            <pc:sldMk cId="43921188" sldId="2147478579"/>
            <ac:spMk id="1002" creationId="{8880B602-5CD5-528B-1D1E-ACB892A2FC3D}"/>
          </ac:spMkLst>
        </pc:spChg>
        <pc:spChg chg="add del mod">
          <ac:chgData name="Steiner Andreas 6206 ED" userId="e6377c33-a923-4f14-8587-531c474c7b48" providerId="ADAL" clId="{6ECD27E6-B224-41CD-B4E0-E297462320DD}" dt="2023-11-24T11:43:40.801" v="154287"/>
          <ac:spMkLst>
            <pc:docMk/>
            <pc:sldMk cId="43921188" sldId="2147478579"/>
            <ac:spMk id="1003" creationId="{4920E029-6B8E-7C91-92AE-5ED12E9CC2CE}"/>
          </ac:spMkLst>
        </pc:spChg>
        <pc:spChg chg="add del mod">
          <ac:chgData name="Steiner Andreas 6206 ED" userId="e6377c33-a923-4f14-8587-531c474c7b48" providerId="ADAL" clId="{6ECD27E6-B224-41CD-B4E0-E297462320DD}" dt="2023-11-24T11:43:43.770" v="154442"/>
          <ac:spMkLst>
            <pc:docMk/>
            <pc:sldMk cId="43921188" sldId="2147478579"/>
            <ac:spMk id="1004" creationId="{F894FA3C-E351-F0C7-46DA-9CACBA8628D9}"/>
          </ac:spMkLst>
        </pc:spChg>
        <pc:spChg chg="add del mod">
          <ac:chgData name="Steiner Andreas 6206 ED" userId="e6377c33-a923-4f14-8587-531c474c7b48" providerId="ADAL" clId="{6ECD27E6-B224-41CD-B4E0-E297462320DD}" dt="2023-11-24T11:43:46.135" v="154597"/>
          <ac:spMkLst>
            <pc:docMk/>
            <pc:sldMk cId="43921188" sldId="2147478579"/>
            <ac:spMk id="1005" creationId="{13D1B780-0E1E-BA58-D545-57D24785A243}"/>
          </ac:spMkLst>
        </pc:spChg>
        <pc:spChg chg="add del mod">
          <ac:chgData name="Steiner Andreas 6206 ED" userId="e6377c33-a923-4f14-8587-531c474c7b48" providerId="ADAL" clId="{6ECD27E6-B224-41CD-B4E0-E297462320DD}" dt="2023-11-24T11:43:48.438" v="154752"/>
          <ac:spMkLst>
            <pc:docMk/>
            <pc:sldMk cId="43921188" sldId="2147478579"/>
            <ac:spMk id="1006" creationId="{69C45555-397A-5F74-C6FB-CA4958CCE587}"/>
          </ac:spMkLst>
        </pc:spChg>
        <pc:spChg chg="add del mod">
          <ac:chgData name="Steiner Andreas 6206 ED" userId="e6377c33-a923-4f14-8587-531c474c7b48" providerId="ADAL" clId="{6ECD27E6-B224-41CD-B4E0-E297462320DD}" dt="2023-11-24T11:43:50.505" v="154907"/>
          <ac:spMkLst>
            <pc:docMk/>
            <pc:sldMk cId="43921188" sldId="2147478579"/>
            <ac:spMk id="1007" creationId="{D54390C8-B99E-EE69-3D10-ED2A5ECFB9A0}"/>
          </ac:spMkLst>
        </pc:spChg>
        <pc:spChg chg="add del mod">
          <ac:chgData name="Steiner Andreas 6206 ED" userId="e6377c33-a923-4f14-8587-531c474c7b48" providerId="ADAL" clId="{6ECD27E6-B224-41CD-B4E0-E297462320DD}" dt="2023-11-24T11:43:52.701" v="155062"/>
          <ac:spMkLst>
            <pc:docMk/>
            <pc:sldMk cId="43921188" sldId="2147478579"/>
            <ac:spMk id="1008" creationId="{12E02C89-46D3-8779-E11F-BD7CE1151670}"/>
          </ac:spMkLst>
        </pc:spChg>
        <pc:spChg chg="add del mod">
          <ac:chgData name="Steiner Andreas 6206 ED" userId="e6377c33-a923-4f14-8587-531c474c7b48" providerId="ADAL" clId="{6ECD27E6-B224-41CD-B4E0-E297462320DD}" dt="2023-11-24T11:43:55.596" v="155217"/>
          <ac:spMkLst>
            <pc:docMk/>
            <pc:sldMk cId="43921188" sldId="2147478579"/>
            <ac:spMk id="1009" creationId="{49318DEB-A772-F3BB-0C19-5F1D0D07F56E}"/>
          </ac:spMkLst>
        </pc:spChg>
        <pc:spChg chg="add del mod">
          <ac:chgData name="Steiner Andreas 6206 ED" userId="e6377c33-a923-4f14-8587-531c474c7b48" providerId="ADAL" clId="{6ECD27E6-B224-41CD-B4E0-E297462320DD}" dt="2023-11-24T11:43:58.037" v="155372"/>
          <ac:spMkLst>
            <pc:docMk/>
            <pc:sldMk cId="43921188" sldId="2147478579"/>
            <ac:spMk id="1010" creationId="{16590E45-8C8B-55E7-7D36-04BCAEFDC296}"/>
          </ac:spMkLst>
        </pc:spChg>
        <pc:spChg chg="add del mod">
          <ac:chgData name="Steiner Andreas 6206 ED" userId="e6377c33-a923-4f14-8587-531c474c7b48" providerId="ADAL" clId="{6ECD27E6-B224-41CD-B4E0-E297462320DD}" dt="2023-11-24T11:44:00.158" v="155527"/>
          <ac:spMkLst>
            <pc:docMk/>
            <pc:sldMk cId="43921188" sldId="2147478579"/>
            <ac:spMk id="1011" creationId="{3D7C6A48-7A51-E30B-13BB-6CFCC7D529B2}"/>
          </ac:spMkLst>
        </pc:spChg>
        <pc:spChg chg="add del mod">
          <ac:chgData name="Steiner Andreas 6206 ED" userId="e6377c33-a923-4f14-8587-531c474c7b48" providerId="ADAL" clId="{6ECD27E6-B224-41CD-B4E0-E297462320DD}" dt="2023-11-24T11:44:02.185" v="155682"/>
          <ac:spMkLst>
            <pc:docMk/>
            <pc:sldMk cId="43921188" sldId="2147478579"/>
            <ac:spMk id="1012" creationId="{B06BDF59-9000-A22E-04EF-362CD3B4430B}"/>
          </ac:spMkLst>
        </pc:spChg>
        <pc:spChg chg="add del mod">
          <ac:chgData name="Steiner Andreas 6206 ED" userId="e6377c33-a923-4f14-8587-531c474c7b48" providerId="ADAL" clId="{6ECD27E6-B224-41CD-B4E0-E297462320DD}" dt="2023-11-24T11:44:04.204" v="155837"/>
          <ac:spMkLst>
            <pc:docMk/>
            <pc:sldMk cId="43921188" sldId="2147478579"/>
            <ac:spMk id="1013" creationId="{AE2D7B9E-8807-B2C3-9955-45B84836537A}"/>
          </ac:spMkLst>
        </pc:spChg>
        <pc:spChg chg="add del mod">
          <ac:chgData name="Steiner Andreas 6206 ED" userId="e6377c33-a923-4f14-8587-531c474c7b48" providerId="ADAL" clId="{6ECD27E6-B224-41CD-B4E0-E297462320DD}" dt="2023-11-24T11:44:06.231" v="155992"/>
          <ac:spMkLst>
            <pc:docMk/>
            <pc:sldMk cId="43921188" sldId="2147478579"/>
            <ac:spMk id="1014" creationId="{BC604BAD-C440-0DB5-1838-3289A16D27C4}"/>
          </ac:spMkLst>
        </pc:spChg>
        <pc:spChg chg="add del mod">
          <ac:chgData name="Steiner Andreas 6206 ED" userId="e6377c33-a923-4f14-8587-531c474c7b48" providerId="ADAL" clId="{6ECD27E6-B224-41CD-B4E0-E297462320DD}" dt="2023-11-24T11:44:08.374" v="156147"/>
          <ac:spMkLst>
            <pc:docMk/>
            <pc:sldMk cId="43921188" sldId="2147478579"/>
            <ac:spMk id="1015" creationId="{2CD3B136-5B3A-3D3B-F623-8A30CBA3F754}"/>
          </ac:spMkLst>
        </pc:spChg>
        <pc:spChg chg="add del mod">
          <ac:chgData name="Steiner Andreas 6206 ED" userId="e6377c33-a923-4f14-8587-531c474c7b48" providerId="ADAL" clId="{6ECD27E6-B224-41CD-B4E0-E297462320DD}" dt="2023-11-24T11:44:10.467" v="156302"/>
          <ac:spMkLst>
            <pc:docMk/>
            <pc:sldMk cId="43921188" sldId="2147478579"/>
            <ac:spMk id="1016" creationId="{059D0161-B9DA-ADA4-5953-AE2C53B8BBAA}"/>
          </ac:spMkLst>
        </pc:spChg>
        <pc:spChg chg="add del mod">
          <ac:chgData name="Steiner Andreas 6206 ED" userId="e6377c33-a923-4f14-8587-531c474c7b48" providerId="ADAL" clId="{6ECD27E6-B224-41CD-B4E0-E297462320DD}" dt="2023-11-24T11:44:12.479" v="156457"/>
          <ac:spMkLst>
            <pc:docMk/>
            <pc:sldMk cId="43921188" sldId="2147478579"/>
            <ac:spMk id="1017" creationId="{FB607A32-16DB-C2A0-529D-44CC1CC313A3}"/>
          </ac:spMkLst>
        </pc:spChg>
        <pc:spChg chg="add del mod">
          <ac:chgData name="Steiner Andreas 6206 ED" userId="e6377c33-a923-4f14-8587-531c474c7b48" providerId="ADAL" clId="{6ECD27E6-B224-41CD-B4E0-E297462320DD}" dt="2023-11-24T11:44:14.456" v="156612"/>
          <ac:spMkLst>
            <pc:docMk/>
            <pc:sldMk cId="43921188" sldId="2147478579"/>
            <ac:spMk id="1018" creationId="{9FC5D98E-4D0D-E5BE-1826-4974D2A1CBE4}"/>
          </ac:spMkLst>
        </pc:spChg>
        <pc:spChg chg="add del mod">
          <ac:chgData name="Steiner Andreas 6206 ED" userId="e6377c33-a923-4f14-8587-531c474c7b48" providerId="ADAL" clId="{6ECD27E6-B224-41CD-B4E0-E297462320DD}" dt="2023-11-24T11:44:16.453" v="156767"/>
          <ac:spMkLst>
            <pc:docMk/>
            <pc:sldMk cId="43921188" sldId="2147478579"/>
            <ac:spMk id="1019" creationId="{A2BB902D-2F64-B363-653B-7CFCD53C520C}"/>
          </ac:spMkLst>
        </pc:spChg>
        <pc:spChg chg="add del mod">
          <ac:chgData name="Steiner Andreas 6206 ED" userId="e6377c33-a923-4f14-8587-531c474c7b48" providerId="ADAL" clId="{6ECD27E6-B224-41CD-B4E0-E297462320DD}" dt="2023-11-24T11:44:18.511" v="156922"/>
          <ac:spMkLst>
            <pc:docMk/>
            <pc:sldMk cId="43921188" sldId="2147478579"/>
            <ac:spMk id="1020" creationId="{00F4362E-7F9F-6E9F-97FC-8C21B7A17372}"/>
          </ac:spMkLst>
        </pc:spChg>
        <pc:spChg chg="add del mod">
          <ac:chgData name="Steiner Andreas 6206 ED" userId="e6377c33-a923-4f14-8587-531c474c7b48" providerId="ADAL" clId="{6ECD27E6-B224-41CD-B4E0-E297462320DD}" dt="2023-11-24T11:44:20.670" v="157077"/>
          <ac:spMkLst>
            <pc:docMk/>
            <pc:sldMk cId="43921188" sldId="2147478579"/>
            <ac:spMk id="1021" creationId="{F098AD98-DDD2-F9A8-C76A-5740870CF2AD}"/>
          </ac:spMkLst>
        </pc:spChg>
        <pc:spChg chg="add del mod">
          <ac:chgData name="Steiner Andreas 6206 ED" userId="e6377c33-a923-4f14-8587-531c474c7b48" providerId="ADAL" clId="{6ECD27E6-B224-41CD-B4E0-E297462320DD}" dt="2023-11-24T11:44:22.945" v="157232"/>
          <ac:spMkLst>
            <pc:docMk/>
            <pc:sldMk cId="43921188" sldId="2147478579"/>
            <ac:spMk id="1022" creationId="{4251C7BD-DB79-6410-D5DE-0D4AEAA2324D}"/>
          </ac:spMkLst>
        </pc:spChg>
        <pc:spChg chg="add del mod">
          <ac:chgData name="Steiner Andreas 6206 ED" userId="e6377c33-a923-4f14-8587-531c474c7b48" providerId="ADAL" clId="{6ECD27E6-B224-41CD-B4E0-E297462320DD}" dt="2023-11-24T11:44:25.142" v="157387"/>
          <ac:spMkLst>
            <pc:docMk/>
            <pc:sldMk cId="43921188" sldId="2147478579"/>
            <ac:spMk id="1023" creationId="{E6A99BF4-BAF9-5BB0-79CD-1B1675270152}"/>
          </ac:spMkLst>
        </pc:spChg>
        <pc:spChg chg="add del mod">
          <ac:chgData name="Steiner Andreas 6206 ED" userId="e6377c33-a923-4f14-8587-531c474c7b48" providerId="ADAL" clId="{6ECD27E6-B224-41CD-B4E0-E297462320DD}" dt="2023-11-24T11:44:30.527" v="157542"/>
          <ac:spMkLst>
            <pc:docMk/>
            <pc:sldMk cId="43921188" sldId="2147478579"/>
            <ac:spMk id="1024" creationId="{F323C48B-0A6B-1845-A7E6-AFA642777915}"/>
          </ac:spMkLst>
        </pc:spChg>
        <pc:spChg chg="add mod">
          <ac:chgData name="Steiner Andreas 6206 ED" userId="e6377c33-a923-4f14-8587-531c474c7b48" providerId="ADAL" clId="{6ECD27E6-B224-41CD-B4E0-E297462320DD}" dt="2023-11-24T11:44:30.528" v="157543"/>
          <ac:spMkLst>
            <pc:docMk/>
            <pc:sldMk cId="43921188" sldId="2147478579"/>
            <ac:spMk id="1025" creationId="{988E52F3-FF84-7103-6B97-DCDC622683D7}"/>
          </ac:spMkLst>
        </pc:spChg>
      </pc:sldChg>
      <pc:sldChg chg="addSp delSp modSp mod">
        <pc:chgData name="Steiner Andreas 6206 ED" userId="e6377c33-a923-4f14-8587-531c474c7b48" providerId="ADAL" clId="{6ECD27E6-B224-41CD-B4E0-E297462320DD}" dt="2023-11-24T11:44:30.735" v="157600"/>
        <pc:sldMkLst>
          <pc:docMk/>
          <pc:sldMk cId="398206320" sldId="2147478580"/>
        </pc:sldMkLst>
        <pc:spChg chg="mod">
          <ac:chgData name="Steiner Andreas 6206 ED" userId="e6377c33-a923-4f14-8587-531c474c7b48" providerId="ADAL" clId="{6ECD27E6-B224-41CD-B4E0-E297462320DD}" dt="2023-11-24T11:44:30.731" v="157596" actId="20577"/>
          <ac:spMkLst>
            <pc:docMk/>
            <pc:sldMk cId="398206320" sldId="2147478580"/>
            <ac:spMk id="3" creationId="{94625422-E791-16A2-58EC-31B35811A76E}"/>
          </ac:spMkLst>
        </pc:spChg>
        <pc:spChg chg="del">
          <ac:chgData name="Steiner Andreas 6206 ED" userId="e6377c33-a923-4f14-8587-531c474c7b48" providerId="ADAL" clId="{6ECD27E6-B224-41CD-B4E0-E297462320DD}" dt="2023-11-23T19:49:53.557" v="115"/>
          <ac:spMkLst>
            <pc:docMk/>
            <pc:sldMk cId="398206320" sldId="2147478580"/>
            <ac:spMk id="5" creationId="{F2F3BD0F-2E61-692E-67EB-8189307D5BCD}"/>
          </ac:spMkLst>
        </pc:spChg>
        <pc:spChg chg="add del mod">
          <ac:chgData name="Steiner Andreas 6206 ED" userId="e6377c33-a923-4f14-8587-531c474c7b48" providerId="ADAL" clId="{6ECD27E6-B224-41CD-B4E0-E297462320DD}" dt="2023-11-23T19:49:53.559" v="118"/>
          <ac:spMkLst>
            <pc:docMk/>
            <pc:sldMk cId="398206320" sldId="2147478580"/>
            <ac:spMk id="7" creationId="{D28CCACE-5184-5DD5-9CBD-A7F834A59989}"/>
          </ac:spMkLst>
        </pc:spChg>
        <pc:spChg chg="add del mod">
          <ac:chgData name="Steiner Andreas 6206 ED" userId="e6377c33-a923-4f14-8587-531c474c7b48" providerId="ADAL" clId="{6ECD27E6-B224-41CD-B4E0-E297462320DD}" dt="2023-11-23T19:49:54.474" v="274"/>
          <ac:spMkLst>
            <pc:docMk/>
            <pc:sldMk cId="398206320" sldId="2147478580"/>
            <ac:spMk id="9" creationId="{E3F463BD-238A-CE9A-4E0D-91931F6AFE00}"/>
          </ac:spMkLst>
        </pc:spChg>
        <pc:spChg chg="add del mod">
          <ac:chgData name="Steiner Andreas 6206 ED" userId="e6377c33-a923-4f14-8587-531c474c7b48" providerId="ADAL" clId="{6ECD27E6-B224-41CD-B4E0-E297462320DD}" dt="2023-11-23T19:50:25.287" v="429"/>
          <ac:spMkLst>
            <pc:docMk/>
            <pc:sldMk cId="398206320" sldId="2147478580"/>
            <ac:spMk id="10" creationId="{B8A8D590-62BA-BE93-AA52-1A8361EF2266}"/>
          </ac:spMkLst>
        </pc:spChg>
        <pc:spChg chg="add del mod">
          <ac:chgData name="Steiner Andreas 6206 ED" userId="e6377c33-a923-4f14-8587-531c474c7b48" providerId="ADAL" clId="{6ECD27E6-B224-41CD-B4E0-E297462320DD}" dt="2023-11-23T19:50:35.087" v="584"/>
          <ac:spMkLst>
            <pc:docMk/>
            <pc:sldMk cId="398206320" sldId="2147478580"/>
            <ac:spMk id="11" creationId="{EFA8E352-7614-CBFE-64A1-0E00A6CB4A5D}"/>
          </ac:spMkLst>
        </pc:spChg>
        <pc:spChg chg="add del mod">
          <ac:chgData name="Steiner Andreas 6206 ED" userId="e6377c33-a923-4f14-8587-531c474c7b48" providerId="ADAL" clId="{6ECD27E6-B224-41CD-B4E0-E297462320DD}" dt="2023-11-23T19:50:46.757" v="739"/>
          <ac:spMkLst>
            <pc:docMk/>
            <pc:sldMk cId="398206320" sldId="2147478580"/>
            <ac:spMk id="12" creationId="{E9ACA4F9-5232-7553-595E-0EBA805CA120}"/>
          </ac:spMkLst>
        </pc:spChg>
        <pc:spChg chg="add del mod">
          <ac:chgData name="Steiner Andreas 6206 ED" userId="e6377c33-a923-4f14-8587-531c474c7b48" providerId="ADAL" clId="{6ECD27E6-B224-41CD-B4E0-E297462320DD}" dt="2023-11-23T19:50:58.465" v="894"/>
          <ac:spMkLst>
            <pc:docMk/>
            <pc:sldMk cId="398206320" sldId="2147478580"/>
            <ac:spMk id="14" creationId="{187592FD-2A9B-0C35-CC8B-E97138F65700}"/>
          </ac:spMkLst>
        </pc:spChg>
        <pc:spChg chg="add del mod">
          <ac:chgData name="Steiner Andreas 6206 ED" userId="e6377c33-a923-4f14-8587-531c474c7b48" providerId="ADAL" clId="{6ECD27E6-B224-41CD-B4E0-E297462320DD}" dt="2023-11-23T19:51:09.145" v="1049"/>
          <ac:spMkLst>
            <pc:docMk/>
            <pc:sldMk cId="398206320" sldId="2147478580"/>
            <ac:spMk id="15" creationId="{20E178E1-DEFE-4324-2A92-AD9E85AD3639}"/>
          </ac:spMkLst>
        </pc:spChg>
        <pc:spChg chg="add del mod">
          <ac:chgData name="Steiner Andreas 6206 ED" userId="e6377c33-a923-4f14-8587-531c474c7b48" providerId="ADAL" clId="{6ECD27E6-B224-41CD-B4E0-E297462320DD}" dt="2023-11-23T19:51:20.135" v="1204"/>
          <ac:spMkLst>
            <pc:docMk/>
            <pc:sldMk cId="398206320" sldId="2147478580"/>
            <ac:spMk id="16" creationId="{02E7B4AD-767C-EC0C-7B9B-9154812CC3FE}"/>
          </ac:spMkLst>
        </pc:spChg>
        <pc:spChg chg="add del mod">
          <ac:chgData name="Steiner Andreas 6206 ED" userId="e6377c33-a923-4f14-8587-531c474c7b48" providerId="ADAL" clId="{6ECD27E6-B224-41CD-B4E0-E297462320DD}" dt="2023-11-23T19:51:31.608" v="1359"/>
          <ac:spMkLst>
            <pc:docMk/>
            <pc:sldMk cId="398206320" sldId="2147478580"/>
            <ac:spMk id="17" creationId="{CB83CA85-DCFA-1DAF-B592-D690DA630D03}"/>
          </ac:spMkLst>
        </pc:spChg>
        <pc:spChg chg="add del mod">
          <ac:chgData name="Steiner Andreas 6206 ED" userId="e6377c33-a923-4f14-8587-531c474c7b48" providerId="ADAL" clId="{6ECD27E6-B224-41CD-B4E0-E297462320DD}" dt="2023-11-23T19:51:42.271" v="1514"/>
          <ac:spMkLst>
            <pc:docMk/>
            <pc:sldMk cId="398206320" sldId="2147478580"/>
            <ac:spMk id="18" creationId="{0D5EC115-34AF-42F0-5290-3EFE4476B67F}"/>
          </ac:spMkLst>
        </pc:spChg>
        <pc:spChg chg="add del mod">
          <ac:chgData name="Steiner Andreas 6206 ED" userId="e6377c33-a923-4f14-8587-531c474c7b48" providerId="ADAL" clId="{6ECD27E6-B224-41CD-B4E0-E297462320DD}" dt="2023-11-23T19:51:53.603" v="1669"/>
          <ac:spMkLst>
            <pc:docMk/>
            <pc:sldMk cId="398206320" sldId="2147478580"/>
            <ac:spMk id="19" creationId="{5C352B50-3652-80FF-2EAB-2CE572A98600}"/>
          </ac:spMkLst>
        </pc:spChg>
        <pc:spChg chg="add del mod">
          <ac:chgData name="Steiner Andreas 6206 ED" userId="e6377c33-a923-4f14-8587-531c474c7b48" providerId="ADAL" clId="{6ECD27E6-B224-41CD-B4E0-E297462320DD}" dt="2023-11-23T19:52:05.257" v="1824"/>
          <ac:spMkLst>
            <pc:docMk/>
            <pc:sldMk cId="398206320" sldId="2147478580"/>
            <ac:spMk id="20" creationId="{EF2DAA0B-182E-C375-B653-9A9DCC1BBB48}"/>
          </ac:spMkLst>
        </pc:spChg>
        <pc:spChg chg="add del mod">
          <ac:chgData name="Steiner Andreas 6206 ED" userId="e6377c33-a923-4f14-8587-531c474c7b48" providerId="ADAL" clId="{6ECD27E6-B224-41CD-B4E0-E297462320DD}" dt="2023-11-23T19:52:16.965" v="1979"/>
          <ac:spMkLst>
            <pc:docMk/>
            <pc:sldMk cId="398206320" sldId="2147478580"/>
            <ac:spMk id="21" creationId="{40F0F246-C2F6-94B3-4F8F-77127F27FF00}"/>
          </ac:spMkLst>
        </pc:spChg>
        <pc:spChg chg="add del mod">
          <ac:chgData name="Steiner Andreas 6206 ED" userId="e6377c33-a923-4f14-8587-531c474c7b48" providerId="ADAL" clId="{6ECD27E6-B224-41CD-B4E0-E297462320DD}" dt="2023-11-23T19:52:28.655" v="2134"/>
          <ac:spMkLst>
            <pc:docMk/>
            <pc:sldMk cId="398206320" sldId="2147478580"/>
            <ac:spMk id="22" creationId="{36C93DD0-806A-085A-9C3C-006F6DC783D9}"/>
          </ac:spMkLst>
        </pc:spChg>
        <pc:spChg chg="add del mod">
          <ac:chgData name="Steiner Andreas 6206 ED" userId="e6377c33-a923-4f14-8587-531c474c7b48" providerId="ADAL" clId="{6ECD27E6-B224-41CD-B4E0-E297462320DD}" dt="2023-11-23T19:52:40.342" v="2289"/>
          <ac:spMkLst>
            <pc:docMk/>
            <pc:sldMk cId="398206320" sldId="2147478580"/>
            <ac:spMk id="23" creationId="{6014DB6D-1C0A-BA82-6DA2-4C0197CFC9C3}"/>
          </ac:spMkLst>
        </pc:spChg>
        <pc:spChg chg="add del mod">
          <ac:chgData name="Steiner Andreas 6206 ED" userId="e6377c33-a923-4f14-8587-531c474c7b48" providerId="ADAL" clId="{6ECD27E6-B224-41CD-B4E0-E297462320DD}" dt="2023-11-23T19:52:51.728" v="2444"/>
          <ac:spMkLst>
            <pc:docMk/>
            <pc:sldMk cId="398206320" sldId="2147478580"/>
            <ac:spMk id="24" creationId="{030FB3E9-D54D-D172-898E-FB82AF959E49}"/>
          </ac:spMkLst>
        </pc:spChg>
        <pc:spChg chg="add del mod">
          <ac:chgData name="Steiner Andreas 6206 ED" userId="e6377c33-a923-4f14-8587-531c474c7b48" providerId="ADAL" clId="{6ECD27E6-B224-41CD-B4E0-E297462320DD}" dt="2023-11-23T19:53:03.404" v="2599"/>
          <ac:spMkLst>
            <pc:docMk/>
            <pc:sldMk cId="398206320" sldId="2147478580"/>
            <ac:spMk id="25" creationId="{4EA90833-0FDF-FF7B-AEC9-547DF172F808}"/>
          </ac:spMkLst>
        </pc:spChg>
        <pc:spChg chg="add del mod">
          <ac:chgData name="Steiner Andreas 6206 ED" userId="e6377c33-a923-4f14-8587-531c474c7b48" providerId="ADAL" clId="{6ECD27E6-B224-41CD-B4E0-E297462320DD}" dt="2023-11-23T19:53:15.136" v="2754"/>
          <ac:spMkLst>
            <pc:docMk/>
            <pc:sldMk cId="398206320" sldId="2147478580"/>
            <ac:spMk id="26" creationId="{F33DF8C5-1C1B-05C2-1216-F11EF6DD1609}"/>
          </ac:spMkLst>
        </pc:spChg>
        <pc:spChg chg="add del mod">
          <ac:chgData name="Steiner Andreas 6206 ED" userId="e6377c33-a923-4f14-8587-531c474c7b48" providerId="ADAL" clId="{6ECD27E6-B224-41CD-B4E0-E297462320DD}" dt="2023-11-23T19:53:26.819" v="2909"/>
          <ac:spMkLst>
            <pc:docMk/>
            <pc:sldMk cId="398206320" sldId="2147478580"/>
            <ac:spMk id="27" creationId="{6499F130-4051-4A74-CB72-B5B7C543FA02}"/>
          </ac:spMkLst>
        </pc:spChg>
        <pc:spChg chg="add del mod">
          <ac:chgData name="Steiner Andreas 6206 ED" userId="e6377c33-a923-4f14-8587-531c474c7b48" providerId="ADAL" clId="{6ECD27E6-B224-41CD-B4E0-E297462320DD}" dt="2023-11-23T19:53:38.476" v="3064"/>
          <ac:spMkLst>
            <pc:docMk/>
            <pc:sldMk cId="398206320" sldId="2147478580"/>
            <ac:spMk id="28" creationId="{B82D3393-2C1B-FA58-1EF3-E2B0AF164508}"/>
          </ac:spMkLst>
        </pc:spChg>
        <pc:spChg chg="add del mod">
          <ac:chgData name="Steiner Andreas 6206 ED" userId="e6377c33-a923-4f14-8587-531c474c7b48" providerId="ADAL" clId="{6ECD27E6-B224-41CD-B4E0-E297462320DD}" dt="2023-11-23T19:53:50.140" v="3219"/>
          <ac:spMkLst>
            <pc:docMk/>
            <pc:sldMk cId="398206320" sldId="2147478580"/>
            <ac:spMk id="29" creationId="{B3088280-BC74-F79F-ECC8-85665B10710B}"/>
          </ac:spMkLst>
        </pc:spChg>
        <pc:spChg chg="add del mod">
          <ac:chgData name="Steiner Andreas 6206 ED" userId="e6377c33-a923-4f14-8587-531c474c7b48" providerId="ADAL" clId="{6ECD27E6-B224-41CD-B4E0-E297462320DD}" dt="2023-11-23T19:54:01.813" v="3374"/>
          <ac:spMkLst>
            <pc:docMk/>
            <pc:sldMk cId="398206320" sldId="2147478580"/>
            <ac:spMk id="30" creationId="{4D5522AB-F2AC-CD5C-56D6-9AFCC6FEEDCE}"/>
          </ac:spMkLst>
        </pc:spChg>
        <pc:spChg chg="add del mod">
          <ac:chgData name="Steiner Andreas 6206 ED" userId="e6377c33-a923-4f14-8587-531c474c7b48" providerId="ADAL" clId="{6ECD27E6-B224-41CD-B4E0-E297462320DD}" dt="2023-11-23T19:54:13.504" v="3529"/>
          <ac:spMkLst>
            <pc:docMk/>
            <pc:sldMk cId="398206320" sldId="2147478580"/>
            <ac:spMk id="31" creationId="{250E4081-2A0B-9E06-0200-E1C01C517FF1}"/>
          </ac:spMkLst>
        </pc:spChg>
        <pc:spChg chg="add del mod">
          <ac:chgData name="Steiner Andreas 6206 ED" userId="e6377c33-a923-4f14-8587-531c474c7b48" providerId="ADAL" clId="{6ECD27E6-B224-41CD-B4E0-E297462320DD}" dt="2023-11-23T19:54:25.167" v="3684"/>
          <ac:spMkLst>
            <pc:docMk/>
            <pc:sldMk cId="398206320" sldId="2147478580"/>
            <ac:spMk id="32" creationId="{DCAD15FD-CB28-D3B7-CFE8-05F43BEEB4F2}"/>
          </ac:spMkLst>
        </pc:spChg>
        <pc:spChg chg="add del mod">
          <ac:chgData name="Steiner Andreas 6206 ED" userId="e6377c33-a923-4f14-8587-531c474c7b48" providerId="ADAL" clId="{6ECD27E6-B224-41CD-B4E0-E297462320DD}" dt="2023-11-23T19:54:36.887" v="3839"/>
          <ac:spMkLst>
            <pc:docMk/>
            <pc:sldMk cId="398206320" sldId="2147478580"/>
            <ac:spMk id="33" creationId="{D3527FC1-5D14-BAA3-5C2B-E30EEFDC6972}"/>
          </ac:spMkLst>
        </pc:spChg>
        <pc:spChg chg="add del mod">
          <ac:chgData name="Steiner Andreas 6206 ED" userId="e6377c33-a923-4f14-8587-531c474c7b48" providerId="ADAL" clId="{6ECD27E6-B224-41CD-B4E0-E297462320DD}" dt="2023-11-23T19:54:48.210" v="3994"/>
          <ac:spMkLst>
            <pc:docMk/>
            <pc:sldMk cId="398206320" sldId="2147478580"/>
            <ac:spMk id="34" creationId="{FEE853C2-0952-1843-A4CF-C09771FAE62A}"/>
          </ac:spMkLst>
        </pc:spChg>
        <pc:spChg chg="add del mod">
          <ac:chgData name="Steiner Andreas 6206 ED" userId="e6377c33-a923-4f14-8587-531c474c7b48" providerId="ADAL" clId="{6ECD27E6-B224-41CD-B4E0-E297462320DD}" dt="2023-11-23T19:54:59.860" v="4149"/>
          <ac:spMkLst>
            <pc:docMk/>
            <pc:sldMk cId="398206320" sldId="2147478580"/>
            <ac:spMk id="35" creationId="{DA8AF49F-506F-7531-BE72-4478F2AA536D}"/>
          </ac:spMkLst>
        </pc:spChg>
        <pc:spChg chg="add del mod">
          <ac:chgData name="Steiner Andreas 6206 ED" userId="e6377c33-a923-4f14-8587-531c474c7b48" providerId="ADAL" clId="{6ECD27E6-B224-41CD-B4E0-E297462320DD}" dt="2023-11-23T19:55:11.594" v="4304"/>
          <ac:spMkLst>
            <pc:docMk/>
            <pc:sldMk cId="398206320" sldId="2147478580"/>
            <ac:spMk id="36" creationId="{98C0E28F-967A-D127-F6BB-00F6FF8225F8}"/>
          </ac:spMkLst>
        </pc:spChg>
        <pc:spChg chg="add del mod">
          <ac:chgData name="Steiner Andreas 6206 ED" userId="e6377c33-a923-4f14-8587-531c474c7b48" providerId="ADAL" clId="{6ECD27E6-B224-41CD-B4E0-E297462320DD}" dt="2023-11-23T19:55:23.271" v="4459"/>
          <ac:spMkLst>
            <pc:docMk/>
            <pc:sldMk cId="398206320" sldId="2147478580"/>
            <ac:spMk id="37" creationId="{A685E8EF-B48B-6170-85AC-BF47338D690D}"/>
          </ac:spMkLst>
        </pc:spChg>
        <pc:spChg chg="add del mod">
          <ac:chgData name="Steiner Andreas 6206 ED" userId="e6377c33-a923-4f14-8587-531c474c7b48" providerId="ADAL" clId="{6ECD27E6-B224-41CD-B4E0-E297462320DD}" dt="2023-11-23T19:55:34.915" v="4614"/>
          <ac:spMkLst>
            <pc:docMk/>
            <pc:sldMk cId="398206320" sldId="2147478580"/>
            <ac:spMk id="38" creationId="{536835C5-101F-8EB0-D9A9-22D86E6FF4FF}"/>
          </ac:spMkLst>
        </pc:spChg>
        <pc:spChg chg="add del mod">
          <ac:chgData name="Steiner Andreas 6206 ED" userId="e6377c33-a923-4f14-8587-531c474c7b48" providerId="ADAL" clId="{6ECD27E6-B224-41CD-B4E0-E297462320DD}" dt="2023-11-23T19:55:46.242" v="4769"/>
          <ac:spMkLst>
            <pc:docMk/>
            <pc:sldMk cId="398206320" sldId="2147478580"/>
            <ac:spMk id="39" creationId="{85733610-0475-50D4-E625-4FBFA2637044}"/>
          </ac:spMkLst>
        </pc:spChg>
        <pc:spChg chg="add del mod">
          <ac:chgData name="Steiner Andreas 6206 ED" userId="e6377c33-a923-4f14-8587-531c474c7b48" providerId="ADAL" clId="{6ECD27E6-B224-41CD-B4E0-E297462320DD}" dt="2023-11-23T19:55:57.914" v="4924"/>
          <ac:spMkLst>
            <pc:docMk/>
            <pc:sldMk cId="398206320" sldId="2147478580"/>
            <ac:spMk id="40" creationId="{735B44BE-9926-205D-3765-F101DD48D4EA}"/>
          </ac:spMkLst>
        </pc:spChg>
        <pc:spChg chg="add del mod">
          <ac:chgData name="Steiner Andreas 6206 ED" userId="e6377c33-a923-4f14-8587-531c474c7b48" providerId="ADAL" clId="{6ECD27E6-B224-41CD-B4E0-E297462320DD}" dt="2023-11-23T19:56:09.585" v="5079"/>
          <ac:spMkLst>
            <pc:docMk/>
            <pc:sldMk cId="398206320" sldId="2147478580"/>
            <ac:spMk id="41" creationId="{3F1117EC-157C-8CCF-7BCE-396FF17D3D06}"/>
          </ac:spMkLst>
        </pc:spChg>
        <pc:spChg chg="add del mod">
          <ac:chgData name="Steiner Andreas 6206 ED" userId="e6377c33-a923-4f14-8587-531c474c7b48" providerId="ADAL" clId="{6ECD27E6-B224-41CD-B4E0-E297462320DD}" dt="2023-11-23T19:56:21.281" v="5234"/>
          <ac:spMkLst>
            <pc:docMk/>
            <pc:sldMk cId="398206320" sldId="2147478580"/>
            <ac:spMk id="42" creationId="{0C2937B9-73B3-5A63-9644-3E4A7F22B6FC}"/>
          </ac:spMkLst>
        </pc:spChg>
        <pc:spChg chg="add del mod">
          <ac:chgData name="Steiner Andreas 6206 ED" userId="e6377c33-a923-4f14-8587-531c474c7b48" providerId="ADAL" clId="{6ECD27E6-B224-41CD-B4E0-E297462320DD}" dt="2023-11-23T19:56:32.966" v="5389"/>
          <ac:spMkLst>
            <pc:docMk/>
            <pc:sldMk cId="398206320" sldId="2147478580"/>
            <ac:spMk id="43" creationId="{988DC9C0-FA3E-9E78-0ADA-3E061CF913EF}"/>
          </ac:spMkLst>
        </pc:spChg>
        <pc:spChg chg="add del mod">
          <ac:chgData name="Steiner Andreas 6206 ED" userId="e6377c33-a923-4f14-8587-531c474c7b48" providerId="ADAL" clId="{6ECD27E6-B224-41CD-B4E0-E297462320DD}" dt="2023-11-23T19:56:44.324" v="5544"/>
          <ac:spMkLst>
            <pc:docMk/>
            <pc:sldMk cId="398206320" sldId="2147478580"/>
            <ac:spMk id="44" creationId="{DBC9B637-3A37-5681-F837-DCE418284050}"/>
          </ac:spMkLst>
        </pc:spChg>
        <pc:spChg chg="add del mod">
          <ac:chgData name="Steiner Andreas 6206 ED" userId="e6377c33-a923-4f14-8587-531c474c7b48" providerId="ADAL" clId="{6ECD27E6-B224-41CD-B4E0-E297462320DD}" dt="2023-11-23T19:56:54.698" v="5699"/>
          <ac:spMkLst>
            <pc:docMk/>
            <pc:sldMk cId="398206320" sldId="2147478580"/>
            <ac:spMk id="45" creationId="{7137D103-52A5-73C0-21C4-BB340E8CCC15}"/>
          </ac:spMkLst>
        </pc:spChg>
        <pc:spChg chg="add del mod">
          <ac:chgData name="Steiner Andreas 6206 ED" userId="e6377c33-a923-4f14-8587-531c474c7b48" providerId="ADAL" clId="{6ECD27E6-B224-41CD-B4E0-E297462320DD}" dt="2023-11-23T19:57:06.164" v="5854"/>
          <ac:spMkLst>
            <pc:docMk/>
            <pc:sldMk cId="398206320" sldId="2147478580"/>
            <ac:spMk id="46" creationId="{0513E499-555A-9FF0-EC11-BA466973DEFF}"/>
          </ac:spMkLst>
        </pc:spChg>
        <pc:spChg chg="add del mod">
          <ac:chgData name="Steiner Andreas 6206 ED" userId="e6377c33-a923-4f14-8587-531c474c7b48" providerId="ADAL" clId="{6ECD27E6-B224-41CD-B4E0-E297462320DD}" dt="2023-11-23T19:57:17.852" v="6009"/>
          <ac:spMkLst>
            <pc:docMk/>
            <pc:sldMk cId="398206320" sldId="2147478580"/>
            <ac:spMk id="47" creationId="{EF4908F2-ADF6-9168-E88C-2E7F390A8464}"/>
          </ac:spMkLst>
        </pc:spChg>
        <pc:spChg chg="add del mod">
          <ac:chgData name="Steiner Andreas 6206 ED" userId="e6377c33-a923-4f14-8587-531c474c7b48" providerId="ADAL" clId="{6ECD27E6-B224-41CD-B4E0-E297462320DD}" dt="2023-11-23T19:57:29.306" v="6164"/>
          <ac:spMkLst>
            <pc:docMk/>
            <pc:sldMk cId="398206320" sldId="2147478580"/>
            <ac:spMk id="48" creationId="{88899C21-57E0-31B6-5F31-A028EB659E23}"/>
          </ac:spMkLst>
        </pc:spChg>
        <pc:spChg chg="add del mod">
          <ac:chgData name="Steiner Andreas 6206 ED" userId="e6377c33-a923-4f14-8587-531c474c7b48" providerId="ADAL" clId="{6ECD27E6-B224-41CD-B4E0-E297462320DD}" dt="2023-11-23T19:57:40.934" v="6319"/>
          <ac:spMkLst>
            <pc:docMk/>
            <pc:sldMk cId="398206320" sldId="2147478580"/>
            <ac:spMk id="49" creationId="{2EDFD0A4-494D-A239-75D4-2CE042BE5ACD}"/>
          </ac:spMkLst>
        </pc:spChg>
        <pc:spChg chg="add del mod">
          <ac:chgData name="Steiner Andreas 6206 ED" userId="e6377c33-a923-4f14-8587-531c474c7b48" providerId="ADAL" clId="{6ECD27E6-B224-41CD-B4E0-E297462320DD}" dt="2023-11-23T19:57:52.603" v="6474"/>
          <ac:spMkLst>
            <pc:docMk/>
            <pc:sldMk cId="398206320" sldId="2147478580"/>
            <ac:spMk id="50" creationId="{94293A84-6DD8-F9A4-27E5-A07FB4910A9A}"/>
          </ac:spMkLst>
        </pc:spChg>
        <pc:spChg chg="add del mod">
          <ac:chgData name="Steiner Andreas 6206 ED" userId="e6377c33-a923-4f14-8587-531c474c7b48" providerId="ADAL" clId="{6ECD27E6-B224-41CD-B4E0-E297462320DD}" dt="2023-11-23T19:58:04.309" v="6629"/>
          <ac:spMkLst>
            <pc:docMk/>
            <pc:sldMk cId="398206320" sldId="2147478580"/>
            <ac:spMk id="51" creationId="{59EB7D63-4CAD-64AF-B152-934566AB1E7C}"/>
          </ac:spMkLst>
        </pc:spChg>
        <pc:spChg chg="add del mod">
          <ac:chgData name="Steiner Andreas 6206 ED" userId="e6377c33-a923-4f14-8587-531c474c7b48" providerId="ADAL" clId="{6ECD27E6-B224-41CD-B4E0-E297462320DD}" dt="2023-11-23T19:58:15.698" v="6784"/>
          <ac:spMkLst>
            <pc:docMk/>
            <pc:sldMk cId="398206320" sldId="2147478580"/>
            <ac:spMk id="52" creationId="{0A448E91-42F4-A10D-1B18-863B5BE879D4}"/>
          </ac:spMkLst>
        </pc:spChg>
        <pc:spChg chg="add del mod">
          <ac:chgData name="Steiner Andreas 6206 ED" userId="e6377c33-a923-4f14-8587-531c474c7b48" providerId="ADAL" clId="{6ECD27E6-B224-41CD-B4E0-E297462320DD}" dt="2023-11-23T19:58:27.823" v="6939"/>
          <ac:spMkLst>
            <pc:docMk/>
            <pc:sldMk cId="398206320" sldId="2147478580"/>
            <ac:spMk id="53" creationId="{02740A3E-BBD3-38E7-92C6-6917A88C1D97}"/>
          </ac:spMkLst>
        </pc:spChg>
        <pc:spChg chg="add del mod">
          <ac:chgData name="Steiner Andreas 6206 ED" userId="e6377c33-a923-4f14-8587-531c474c7b48" providerId="ADAL" clId="{6ECD27E6-B224-41CD-B4E0-E297462320DD}" dt="2023-11-23T19:58:39.565" v="7094"/>
          <ac:spMkLst>
            <pc:docMk/>
            <pc:sldMk cId="398206320" sldId="2147478580"/>
            <ac:spMk id="54" creationId="{BF3E0D5E-0B5F-80CF-2EDE-1471D543F226}"/>
          </ac:spMkLst>
        </pc:spChg>
        <pc:spChg chg="add del mod">
          <ac:chgData name="Steiner Andreas 6206 ED" userId="e6377c33-a923-4f14-8587-531c474c7b48" providerId="ADAL" clId="{6ECD27E6-B224-41CD-B4E0-E297462320DD}" dt="2023-11-23T19:58:51.253" v="7249"/>
          <ac:spMkLst>
            <pc:docMk/>
            <pc:sldMk cId="398206320" sldId="2147478580"/>
            <ac:spMk id="55" creationId="{1FAA405F-D721-108A-43FA-D5C564688970}"/>
          </ac:spMkLst>
        </pc:spChg>
        <pc:spChg chg="add del mod">
          <ac:chgData name="Steiner Andreas 6206 ED" userId="e6377c33-a923-4f14-8587-531c474c7b48" providerId="ADAL" clId="{6ECD27E6-B224-41CD-B4E0-E297462320DD}" dt="2023-11-23T19:59:02.626" v="7404"/>
          <ac:spMkLst>
            <pc:docMk/>
            <pc:sldMk cId="398206320" sldId="2147478580"/>
            <ac:spMk id="56" creationId="{AA32C7C6-00EA-60D9-D222-CDAB1779817B}"/>
          </ac:spMkLst>
        </pc:spChg>
        <pc:spChg chg="add del mod">
          <ac:chgData name="Steiner Andreas 6206 ED" userId="e6377c33-a923-4f14-8587-531c474c7b48" providerId="ADAL" clId="{6ECD27E6-B224-41CD-B4E0-E297462320DD}" dt="2023-11-24T08:31:41.511" v="7559"/>
          <ac:spMkLst>
            <pc:docMk/>
            <pc:sldMk cId="398206320" sldId="2147478580"/>
            <ac:spMk id="57" creationId="{D2C7B227-2FAE-DCE5-B202-C29CC17DD8B9}"/>
          </ac:spMkLst>
        </pc:spChg>
        <pc:spChg chg="add del mod">
          <ac:chgData name="Steiner Andreas 6206 ED" userId="e6377c33-a923-4f14-8587-531c474c7b48" providerId="ADAL" clId="{6ECD27E6-B224-41CD-B4E0-E297462320DD}" dt="2023-11-24T08:31:45.190" v="7714"/>
          <ac:spMkLst>
            <pc:docMk/>
            <pc:sldMk cId="398206320" sldId="2147478580"/>
            <ac:spMk id="58" creationId="{AD25BAA2-2BBB-C551-7A20-031CE04C5B44}"/>
          </ac:spMkLst>
        </pc:spChg>
        <pc:spChg chg="add del mod">
          <ac:chgData name="Steiner Andreas 6206 ED" userId="e6377c33-a923-4f14-8587-531c474c7b48" providerId="ADAL" clId="{6ECD27E6-B224-41CD-B4E0-E297462320DD}" dt="2023-11-24T08:31:47.041" v="7869"/>
          <ac:spMkLst>
            <pc:docMk/>
            <pc:sldMk cId="398206320" sldId="2147478580"/>
            <ac:spMk id="59" creationId="{1092676A-01E6-3C1A-EA75-D3A4661A0A14}"/>
          </ac:spMkLst>
        </pc:spChg>
        <pc:spChg chg="add del mod">
          <ac:chgData name="Steiner Andreas 6206 ED" userId="e6377c33-a923-4f14-8587-531c474c7b48" providerId="ADAL" clId="{6ECD27E6-B224-41CD-B4E0-E297462320DD}" dt="2023-11-24T08:31:48.916" v="8024"/>
          <ac:spMkLst>
            <pc:docMk/>
            <pc:sldMk cId="398206320" sldId="2147478580"/>
            <ac:spMk id="60" creationId="{F6BAD8D8-32DA-E36C-9F29-5F5F90C87484}"/>
          </ac:spMkLst>
        </pc:spChg>
        <pc:spChg chg="add del mod">
          <ac:chgData name="Steiner Andreas 6206 ED" userId="e6377c33-a923-4f14-8587-531c474c7b48" providerId="ADAL" clId="{6ECD27E6-B224-41CD-B4E0-E297462320DD}" dt="2023-11-24T08:31:50.770" v="8179"/>
          <ac:spMkLst>
            <pc:docMk/>
            <pc:sldMk cId="398206320" sldId="2147478580"/>
            <ac:spMk id="61" creationId="{BFB91C87-8F6D-0276-0DDC-5C96412C8F8D}"/>
          </ac:spMkLst>
        </pc:spChg>
        <pc:spChg chg="add del mod">
          <ac:chgData name="Steiner Andreas 6206 ED" userId="e6377c33-a923-4f14-8587-531c474c7b48" providerId="ADAL" clId="{6ECD27E6-B224-41CD-B4E0-E297462320DD}" dt="2023-11-24T08:31:52.557" v="8334"/>
          <ac:spMkLst>
            <pc:docMk/>
            <pc:sldMk cId="398206320" sldId="2147478580"/>
            <ac:spMk id="62" creationId="{0ACAAF82-D558-8624-63F2-E5B990A48779}"/>
          </ac:spMkLst>
        </pc:spChg>
        <pc:spChg chg="add del mod">
          <ac:chgData name="Steiner Andreas 6206 ED" userId="e6377c33-a923-4f14-8587-531c474c7b48" providerId="ADAL" clId="{6ECD27E6-B224-41CD-B4E0-E297462320DD}" dt="2023-11-24T08:31:54.372" v="8489"/>
          <ac:spMkLst>
            <pc:docMk/>
            <pc:sldMk cId="398206320" sldId="2147478580"/>
            <ac:spMk id="63" creationId="{FF38A767-E4D4-02F2-EC27-0BC801E02A9A}"/>
          </ac:spMkLst>
        </pc:spChg>
        <pc:spChg chg="add del mod">
          <ac:chgData name="Steiner Andreas 6206 ED" userId="e6377c33-a923-4f14-8587-531c474c7b48" providerId="ADAL" clId="{6ECD27E6-B224-41CD-B4E0-E297462320DD}" dt="2023-11-24T08:31:56.213" v="8644"/>
          <ac:spMkLst>
            <pc:docMk/>
            <pc:sldMk cId="398206320" sldId="2147478580"/>
            <ac:spMk id="64" creationId="{770D01F4-9EA3-8CD3-8F9D-C3F39BAAD8BC}"/>
          </ac:spMkLst>
        </pc:spChg>
        <pc:spChg chg="add del mod">
          <ac:chgData name="Steiner Andreas 6206 ED" userId="e6377c33-a923-4f14-8587-531c474c7b48" providerId="ADAL" clId="{6ECD27E6-B224-41CD-B4E0-E297462320DD}" dt="2023-11-24T08:31:58.096" v="8799"/>
          <ac:spMkLst>
            <pc:docMk/>
            <pc:sldMk cId="398206320" sldId="2147478580"/>
            <ac:spMk id="65" creationId="{F7DD7B00-FA49-72AF-C4AC-7923599DFD4E}"/>
          </ac:spMkLst>
        </pc:spChg>
        <pc:spChg chg="add del mod">
          <ac:chgData name="Steiner Andreas 6206 ED" userId="e6377c33-a923-4f14-8587-531c474c7b48" providerId="ADAL" clId="{6ECD27E6-B224-41CD-B4E0-E297462320DD}" dt="2023-11-24T08:32:00.826" v="8954"/>
          <ac:spMkLst>
            <pc:docMk/>
            <pc:sldMk cId="398206320" sldId="2147478580"/>
            <ac:spMk id="66" creationId="{CCC0734D-D73D-25C1-2EBE-967E303BB67F}"/>
          </ac:spMkLst>
        </pc:spChg>
        <pc:spChg chg="add del mod">
          <ac:chgData name="Steiner Andreas 6206 ED" userId="e6377c33-a923-4f14-8587-531c474c7b48" providerId="ADAL" clId="{6ECD27E6-B224-41CD-B4E0-E297462320DD}" dt="2023-11-24T08:32:03.149" v="9109"/>
          <ac:spMkLst>
            <pc:docMk/>
            <pc:sldMk cId="398206320" sldId="2147478580"/>
            <ac:spMk id="67" creationId="{96BD41E1-962A-4822-E363-1DBC58717EAE}"/>
          </ac:spMkLst>
        </pc:spChg>
        <pc:spChg chg="add del mod">
          <ac:chgData name="Steiner Andreas 6206 ED" userId="e6377c33-a923-4f14-8587-531c474c7b48" providerId="ADAL" clId="{6ECD27E6-B224-41CD-B4E0-E297462320DD}" dt="2023-11-24T08:32:05.195" v="9264"/>
          <ac:spMkLst>
            <pc:docMk/>
            <pc:sldMk cId="398206320" sldId="2147478580"/>
            <ac:spMk id="68" creationId="{541F4E74-C8A4-D980-9A61-EA360C4F06C4}"/>
          </ac:spMkLst>
        </pc:spChg>
        <pc:spChg chg="add del mod">
          <ac:chgData name="Steiner Andreas 6206 ED" userId="e6377c33-a923-4f14-8587-531c474c7b48" providerId="ADAL" clId="{6ECD27E6-B224-41CD-B4E0-E297462320DD}" dt="2023-11-24T08:32:07.135" v="9419"/>
          <ac:spMkLst>
            <pc:docMk/>
            <pc:sldMk cId="398206320" sldId="2147478580"/>
            <ac:spMk id="69" creationId="{39C3C288-67A2-D81A-75D5-AF35D51C6FED}"/>
          </ac:spMkLst>
        </pc:spChg>
        <pc:spChg chg="add del mod">
          <ac:chgData name="Steiner Andreas 6206 ED" userId="e6377c33-a923-4f14-8587-531c474c7b48" providerId="ADAL" clId="{6ECD27E6-B224-41CD-B4E0-E297462320DD}" dt="2023-11-24T08:32:09.469" v="9574"/>
          <ac:spMkLst>
            <pc:docMk/>
            <pc:sldMk cId="398206320" sldId="2147478580"/>
            <ac:spMk id="70" creationId="{F4597EFF-22B0-FEDB-7F0D-AAED63B5FE3C}"/>
          </ac:spMkLst>
        </pc:spChg>
        <pc:spChg chg="add del mod">
          <ac:chgData name="Steiner Andreas 6206 ED" userId="e6377c33-a923-4f14-8587-531c474c7b48" providerId="ADAL" clId="{6ECD27E6-B224-41CD-B4E0-E297462320DD}" dt="2023-11-24T08:32:11.772" v="9729"/>
          <ac:spMkLst>
            <pc:docMk/>
            <pc:sldMk cId="398206320" sldId="2147478580"/>
            <ac:spMk id="71" creationId="{149796C1-EDD3-C13F-5F21-F64A1F4A25F2}"/>
          </ac:spMkLst>
        </pc:spChg>
        <pc:spChg chg="add del mod">
          <ac:chgData name="Steiner Andreas 6206 ED" userId="e6377c33-a923-4f14-8587-531c474c7b48" providerId="ADAL" clId="{6ECD27E6-B224-41CD-B4E0-E297462320DD}" dt="2023-11-24T08:32:13.933" v="9884"/>
          <ac:spMkLst>
            <pc:docMk/>
            <pc:sldMk cId="398206320" sldId="2147478580"/>
            <ac:spMk id="72" creationId="{36DE974B-23CE-14B1-BDE3-F9F04D83A89C}"/>
          </ac:spMkLst>
        </pc:spChg>
        <pc:spChg chg="add del mod">
          <ac:chgData name="Steiner Andreas 6206 ED" userId="e6377c33-a923-4f14-8587-531c474c7b48" providerId="ADAL" clId="{6ECD27E6-B224-41CD-B4E0-E297462320DD}" dt="2023-11-24T08:32:15.876" v="10039"/>
          <ac:spMkLst>
            <pc:docMk/>
            <pc:sldMk cId="398206320" sldId="2147478580"/>
            <ac:spMk id="73" creationId="{7A99F528-66B5-3D52-84C1-8058960CA9B5}"/>
          </ac:spMkLst>
        </pc:spChg>
        <pc:spChg chg="add del mod">
          <ac:chgData name="Steiner Andreas 6206 ED" userId="e6377c33-a923-4f14-8587-531c474c7b48" providerId="ADAL" clId="{6ECD27E6-B224-41CD-B4E0-E297462320DD}" dt="2023-11-24T08:32:17.872" v="10194"/>
          <ac:spMkLst>
            <pc:docMk/>
            <pc:sldMk cId="398206320" sldId="2147478580"/>
            <ac:spMk id="74" creationId="{F2541832-A547-38DE-68F5-850C6E1C9C54}"/>
          </ac:spMkLst>
        </pc:spChg>
        <pc:spChg chg="add del mod">
          <ac:chgData name="Steiner Andreas 6206 ED" userId="e6377c33-a923-4f14-8587-531c474c7b48" providerId="ADAL" clId="{6ECD27E6-B224-41CD-B4E0-E297462320DD}" dt="2023-11-24T08:32:19.826" v="10349"/>
          <ac:spMkLst>
            <pc:docMk/>
            <pc:sldMk cId="398206320" sldId="2147478580"/>
            <ac:spMk id="75" creationId="{587BE89F-F056-E86B-3851-1741D5E1D7EF}"/>
          </ac:spMkLst>
        </pc:spChg>
        <pc:spChg chg="add del mod">
          <ac:chgData name="Steiner Andreas 6206 ED" userId="e6377c33-a923-4f14-8587-531c474c7b48" providerId="ADAL" clId="{6ECD27E6-B224-41CD-B4E0-E297462320DD}" dt="2023-11-24T08:32:21.785" v="10504"/>
          <ac:spMkLst>
            <pc:docMk/>
            <pc:sldMk cId="398206320" sldId="2147478580"/>
            <ac:spMk id="76" creationId="{65CB1563-607C-FA45-CF42-4B511D6311B4}"/>
          </ac:spMkLst>
        </pc:spChg>
        <pc:spChg chg="add del mod">
          <ac:chgData name="Steiner Andreas 6206 ED" userId="e6377c33-a923-4f14-8587-531c474c7b48" providerId="ADAL" clId="{6ECD27E6-B224-41CD-B4E0-E297462320DD}" dt="2023-11-24T08:32:23.957" v="10659"/>
          <ac:spMkLst>
            <pc:docMk/>
            <pc:sldMk cId="398206320" sldId="2147478580"/>
            <ac:spMk id="77" creationId="{D28EBA03-019F-5418-A1CD-0B5C2C7EB94E}"/>
          </ac:spMkLst>
        </pc:spChg>
        <pc:spChg chg="add del mod">
          <ac:chgData name="Steiner Andreas 6206 ED" userId="e6377c33-a923-4f14-8587-531c474c7b48" providerId="ADAL" clId="{6ECD27E6-B224-41CD-B4E0-E297462320DD}" dt="2023-11-24T08:32:25.910" v="10814"/>
          <ac:spMkLst>
            <pc:docMk/>
            <pc:sldMk cId="398206320" sldId="2147478580"/>
            <ac:spMk id="78" creationId="{9864CAEC-C951-7F4D-EBA0-9FFEC76C2C10}"/>
          </ac:spMkLst>
        </pc:spChg>
        <pc:spChg chg="add del mod">
          <ac:chgData name="Steiner Andreas 6206 ED" userId="e6377c33-a923-4f14-8587-531c474c7b48" providerId="ADAL" clId="{6ECD27E6-B224-41CD-B4E0-E297462320DD}" dt="2023-11-24T08:32:27.896" v="10969"/>
          <ac:spMkLst>
            <pc:docMk/>
            <pc:sldMk cId="398206320" sldId="2147478580"/>
            <ac:spMk id="79" creationId="{2A1E0640-B6C7-8408-A79B-EE5BB8D24EDE}"/>
          </ac:spMkLst>
        </pc:spChg>
        <pc:spChg chg="add del mod">
          <ac:chgData name="Steiner Andreas 6206 ED" userId="e6377c33-a923-4f14-8587-531c474c7b48" providerId="ADAL" clId="{6ECD27E6-B224-41CD-B4E0-E297462320DD}" dt="2023-11-24T08:32:29.808" v="11124"/>
          <ac:spMkLst>
            <pc:docMk/>
            <pc:sldMk cId="398206320" sldId="2147478580"/>
            <ac:spMk id="80" creationId="{3F58D9C1-EFFF-0856-A98C-D85F172EBE1D}"/>
          </ac:spMkLst>
        </pc:spChg>
        <pc:spChg chg="add del mod">
          <ac:chgData name="Steiner Andreas 6206 ED" userId="e6377c33-a923-4f14-8587-531c474c7b48" providerId="ADAL" clId="{6ECD27E6-B224-41CD-B4E0-E297462320DD}" dt="2023-11-24T08:32:31.931" v="11279"/>
          <ac:spMkLst>
            <pc:docMk/>
            <pc:sldMk cId="398206320" sldId="2147478580"/>
            <ac:spMk id="81" creationId="{2444E4C9-DFB4-5BDB-A219-C3116120F887}"/>
          </ac:spMkLst>
        </pc:spChg>
        <pc:spChg chg="add del mod">
          <ac:chgData name="Steiner Andreas 6206 ED" userId="e6377c33-a923-4f14-8587-531c474c7b48" providerId="ADAL" clId="{6ECD27E6-B224-41CD-B4E0-E297462320DD}" dt="2023-11-24T08:32:34.297" v="11434"/>
          <ac:spMkLst>
            <pc:docMk/>
            <pc:sldMk cId="398206320" sldId="2147478580"/>
            <ac:spMk id="82" creationId="{CC765F71-3E16-229F-4778-8552FF37EF3C}"/>
          </ac:spMkLst>
        </pc:spChg>
        <pc:spChg chg="add del mod">
          <ac:chgData name="Steiner Andreas 6206 ED" userId="e6377c33-a923-4f14-8587-531c474c7b48" providerId="ADAL" clId="{6ECD27E6-B224-41CD-B4E0-E297462320DD}" dt="2023-11-24T08:32:36.652" v="11589"/>
          <ac:spMkLst>
            <pc:docMk/>
            <pc:sldMk cId="398206320" sldId="2147478580"/>
            <ac:spMk id="83" creationId="{8F9EC03B-8169-68BD-2519-466B9A620053}"/>
          </ac:spMkLst>
        </pc:spChg>
        <pc:spChg chg="add del mod">
          <ac:chgData name="Steiner Andreas 6206 ED" userId="e6377c33-a923-4f14-8587-531c474c7b48" providerId="ADAL" clId="{6ECD27E6-B224-41CD-B4E0-E297462320DD}" dt="2023-11-24T08:32:38.584" v="11744"/>
          <ac:spMkLst>
            <pc:docMk/>
            <pc:sldMk cId="398206320" sldId="2147478580"/>
            <ac:spMk id="84" creationId="{1429783B-0C7F-FF61-0FEE-F402D61EECF1}"/>
          </ac:spMkLst>
        </pc:spChg>
        <pc:spChg chg="add del mod">
          <ac:chgData name="Steiner Andreas 6206 ED" userId="e6377c33-a923-4f14-8587-531c474c7b48" providerId="ADAL" clId="{6ECD27E6-B224-41CD-B4E0-E297462320DD}" dt="2023-11-24T08:32:40.689" v="11899"/>
          <ac:spMkLst>
            <pc:docMk/>
            <pc:sldMk cId="398206320" sldId="2147478580"/>
            <ac:spMk id="85" creationId="{F5D3B77D-3FC8-CF3E-74F3-D53EAF509600}"/>
          </ac:spMkLst>
        </pc:spChg>
        <pc:spChg chg="add del mod">
          <ac:chgData name="Steiner Andreas 6206 ED" userId="e6377c33-a923-4f14-8587-531c474c7b48" providerId="ADAL" clId="{6ECD27E6-B224-41CD-B4E0-E297462320DD}" dt="2023-11-24T08:32:42.831" v="12054"/>
          <ac:spMkLst>
            <pc:docMk/>
            <pc:sldMk cId="398206320" sldId="2147478580"/>
            <ac:spMk id="86" creationId="{D39E8DD3-7CD0-5692-ECB0-963742341FC4}"/>
          </ac:spMkLst>
        </pc:spChg>
        <pc:spChg chg="add del mod">
          <ac:chgData name="Steiner Andreas 6206 ED" userId="e6377c33-a923-4f14-8587-531c474c7b48" providerId="ADAL" clId="{6ECD27E6-B224-41CD-B4E0-E297462320DD}" dt="2023-11-24T08:32:44.984" v="12209"/>
          <ac:spMkLst>
            <pc:docMk/>
            <pc:sldMk cId="398206320" sldId="2147478580"/>
            <ac:spMk id="87" creationId="{C390144F-D8E3-2ED5-F66B-D62DFF94A249}"/>
          </ac:spMkLst>
        </pc:spChg>
        <pc:spChg chg="add del mod">
          <ac:chgData name="Steiner Andreas 6206 ED" userId="e6377c33-a923-4f14-8587-531c474c7b48" providerId="ADAL" clId="{6ECD27E6-B224-41CD-B4E0-E297462320DD}" dt="2023-11-24T08:32:47.171" v="12364"/>
          <ac:spMkLst>
            <pc:docMk/>
            <pc:sldMk cId="398206320" sldId="2147478580"/>
            <ac:spMk id="88" creationId="{280BFBDE-FF1A-FF10-744A-D6C7594D963D}"/>
          </ac:spMkLst>
        </pc:spChg>
        <pc:spChg chg="add del mod">
          <ac:chgData name="Steiner Andreas 6206 ED" userId="e6377c33-a923-4f14-8587-531c474c7b48" providerId="ADAL" clId="{6ECD27E6-B224-41CD-B4E0-E297462320DD}" dt="2023-11-24T08:32:49.223" v="12519"/>
          <ac:spMkLst>
            <pc:docMk/>
            <pc:sldMk cId="398206320" sldId="2147478580"/>
            <ac:spMk id="89" creationId="{EA971534-AA71-B16C-BF51-1CC929E3C9E8}"/>
          </ac:spMkLst>
        </pc:spChg>
        <pc:spChg chg="add del mod">
          <ac:chgData name="Steiner Andreas 6206 ED" userId="e6377c33-a923-4f14-8587-531c474c7b48" providerId="ADAL" clId="{6ECD27E6-B224-41CD-B4E0-E297462320DD}" dt="2023-11-24T08:32:51.163" v="12674"/>
          <ac:spMkLst>
            <pc:docMk/>
            <pc:sldMk cId="398206320" sldId="2147478580"/>
            <ac:spMk id="90" creationId="{2F94E68F-9934-CA6A-5B86-5DF740842D93}"/>
          </ac:spMkLst>
        </pc:spChg>
        <pc:spChg chg="add del mod">
          <ac:chgData name="Steiner Andreas 6206 ED" userId="e6377c33-a923-4f14-8587-531c474c7b48" providerId="ADAL" clId="{6ECD27E6-B224-41CD-B4E0-E297462320DD}" dt="2023-11-24T08:32:53.181" v="12829"/>
          <ac:spMkLst>
            <pc:docMk/>
            <pc:sldMk cId="398206320" sldId="2147478580"/>
            <ac:spMk id="91" creationId="{85714AE8-EBAE-B50F-76F9-CFB5E104F429}"/>
          </ac:spMkLst>
        </pc:spChg>
        <pc:spChg chg="add del mod">
          <ac:chgData name="Steiner Andreas 6206 ED" userId="e6377c33-a923-4f14-8587-531c474c7b48" providerId="ADAL" clId="{6ECD27E6-B224-41CD-B4E0-E297462320DD}" dt="2023-11-24T08:32:55.172" v="12984"/>
          <ac:spMkLst>
            <pc:docMk/>
            <pc:sldMk cId="398206320" sldId="2147478580"/>
            <ac:spMk id="92" creationId="{4B6CCE15-C25C-A75E-72CE-7C64EFCD18F7}"/>
          </ac:spMkLst>
        </pc:spChg>
        <pc:spChg chg="add del mod">
          <ac:chgData name="Steiner Andreas 6206 ED" userId="e6377c33-a923-4f14-8587-531c474c7b48" providerId="ADAL" clId="{6ECD27E6-B224-41CD-B4E0-E297462320DD}" dt="2023-11-24T08:32:57.095" v="13139"/>
          <ac:spMkLst>
            <pc:docMk/>
            <pc:sldMk cId="398206320" sldId="2147478580"/>
            <ac:spMk id="93" creationId="{8F23C8C5-6228-222C-6B33-2237A79CAD9B}"/>
          </ac:spMkLst>
        </pc:spChg>
        <pc:spChg chg="add del mod">
          <ac:chgData name="Steiner Andreas 6206 ED" userId="e6377c33-a923-4f14-8587-531c474c7b48" providerId="ADAL" clId="{6ECD27E6-B224-41CD-B4E0-E297462320DD}" dt="2023-11-24T08:32:59.199" v="13294"/>
          <ac:spMkLst>
            <pc:docMk/>
            <pc:sldMk cId="398206320" sldId="2147478580"/>
            <ac:spMk id="94" creationId="{77A2DDF2-0B2E-37A8-AF11-DD028A1C420C}"/>
          </ac:spMkLst>
        </pc:spChg>
        <pc:spChg chg="add del mod">
          <ac:chgData name="Steiner Andreas 6206 ED" userId="e6377c33-a923-4f14-8587-531c474c7b48" providerId="ADAL" clId="{6ECD27E6-B224-41CD-B4E0-E297462320DD}" dt="2023-11-24T08:33:01.347" v="13449"/>
          <ac:spMkLst>
            <pc:docMk/>
            <pc:sldMk cId="398206320" sldId="2147478580"/>
            <ac:spMk id="95" creationId="{D7234748-359F-24C1-CD11-2122457A9922}"/>
          </ac:spMkLst>
        </pc:spChg>
        <pc:spChg chg="add del mod">
          <ac:chgData name="Steiner Andreas 6206 ED" userId="e6377c33-a923-4f14-8587-531c474c7b48" providerId="ADAL" clId="{6ECD27E6-B224-41CD-B4E0-E297462320DD}" dt="2023-11-24T08:33:03.683" v="13604"/>
          <ac:spMkLst>
            <pc:docMk/>
            <pc:sldMk cId="398206320" sldId="2147478580"/>
            <ac:spMk id="96" creationId="{9E5158B1-77C0-DB1A-32FD-D96F533CE088}"/>
          </ac:spMkLst>
        </pc:spChg>
        <pc:spChg chg="add del mod">
          <ac:chgData name="Steiner Andreas 6206 ED" userId="e6377c33-a923-4f14-8587-531c474c7b48" providerId="ADAL" clId="{6ECD27E6-B224-41CD-B4E0-E297462320DD}" dt="2023-11-24T08:33:06.029" v="13759"/>
          <ac:spMkLst>
            <pc:docMk/>
            <pc:sldMk cId="398206320" sldId="2147478580"/>
            <ac:spMk id="97" creationId="{F00A4773-3A41-D7ED-6313-C67C8CAA3673}"/>
          </ac:spMkLst>
        </pc:spChg>
        <pc:spChg chg="add del mod">
          <ac:chgData name="Steiner Andreas 6206 ED" userId="e6377c33-a923-4f14-8587-531c474c7b48" providerId="ADAL" clId="{6ECD27E6-B224-41CD-B4E0-E297462320DD}" dt="2023-11-24T08:33:08.243" v="13914"/>
          <ac:spMkLst>
            <pc:docMk/>
            <pc:sldMk cId="398206320" sldId="2147478580"/>
            <ac:spMk id="98" creationId="{0FA24E99-7247-C9CD-6F36-46F6E0635C6F}"/>
          </ac:spMkLst>
        </pc:spChg>
        <pc:spChg chg="add del mod">
          <ac:chgData name="Steiner Andreas 6206 ED" userId="e6377c33-a923-4f14-8587-531c474c7b48" providerId="ADAL" clId="{6ECD27E6-B224-41CD-B4E0-E297462320DD}" dt="2023-11-24T08:33:10.697" v="14069"/>
          <ac:spMkLst>
            <pc:docMk/>
            <pc:sldMk cId="398206320" sldId="2147478580"/>
            <ac:spMk id="99" creationId="{A91795DA-3AD2-3C29-449C-BB9013FF94BF}"/>
          </ac:spMkLst>
        </pc:spChg>
        <pc:spChg chg="add del mod">
          <ac:chgData name="Steiner Andreas 6206 ED" userId="e6377c33-a923-4f14-8587-531c474c7b48" providerId="ADAL" clId="{6ECD27E6-B224-41CD-B4E0-E297462320DD}" dt="2023-11-24T08:33:12.656" v="14224"/>
          <ac:spMkLst>
            <pc:docMk/>
            <pc:sldMk cId="398206320" sldId="2147478580"/>
            <ac:spMk id="100" creationId="{F8546ECF-B867-08BE-CC47-977C9A2EF89E}"/>
          </ac:spMkLst>
        </pc:spChg>
        <pc:spChg chg="add del mod">
          <ac:chgData name="Steiner Andreas 6206 ED" userId="e6377c33-a923-4f14-8587-531c474c7b48" providerId="ADAL" clId="{6ECD27E6-B224-41CD-B4E0-E297462320DD}" dt="2023-11-24T08:33:14.553" v="14379"/>
          <ac:spMkLst>
            <pc:docMk/>
            <pc:sldMk cId="398206320" sldId="2147478580"/>
            <ac:spMk id="101" creationId="{BF83E419-B63B-2D78-EC4C-6E0BC9FAC5C3}"/>
          </ac:spMkLst>
        </pc:spChg>
        <pc:spChg chg="add del mod">
          <ac:chgData name="Steiner Andreas 6206 ED" userId="e6377c33-a923-4f14-8587-531c474c7b48" providerId="ADAL" clId="{6ECD27E6-B224-41CD-B4E0-E297462320DD}" dt="2023-11-24T08:33:16.576" v="14534"/>
          <ac:spMkLst>
            <pc:docMk/>
            <pc:sldMk cId="398206320" sldId="2147478580"/>
            <ac:spMk id="102" creationId="{91642BA7-69CB-7239-CEAD-7D05A3CE7B6F}"/>
          </ac:spMkLst>
        </pc:spChg>
        <pc:spChg chg="add del mod">
          <ac:chgData name="Steiner Andreas 6206 ED" userId="e6377c33-a923-4f14-8587-531c474c7b48" providerId="ADAL" clId="{6ECD27E6-B224-41CD-B4E0-E297462320DD}" dt="2023-11-24T08:33:18.880" v="14689"/>
          <ac:spMkLst>
            <pc:docMk/>
            <pc:sldMk cId="398206320" sldId="2147478580"/>
            <ac:spMk id="103" creationId="{03C55683-F357-6FBC-DCA6-7059CED351BE}"/>
          </ac:spMkLst>
        </pc:spChg>
        <pc:spChg chg="add del mod">
          <ac:chgData name="Steiner Andreas 6206 ED" userId="e6377c33-a923-4f14-8587-531c474c7b48" providerId="ADAL" clId="{6ECD27E6-B224-41CD-B4E0-E297462320DD}" dt="2023-11-24T08:33:21.256" v="14844"/>
          <ac:spMkLst>
            <pc:docMk/>
            <pc:sldMk cId="398206320" sldId="2147478580"/>
            <ac:spMk id="104" creationId="{C4B2833F-341F-5050-7F55-1123272FE9AC}"/>
          </ac:spMkLst>
        </pc:spChg>
        <pc:spChg chg="add del mod">
          <ac:chgData name="Steiner Andreas 6206 ED" userId="e6377c33-a923-4f14-8587-531c474c7b48" providerId="ADAL" clId="{6ECD27E6-B224-41CD-B4E0-E297462320DD}" dt="2023-11-24T08:33:23.628" v="14999"/>
          <ac:spMkLst>
            <pc:docMk/>
            <pc:sldMk cId="398206320" sldId="2147478580"/>
            <ac:spMk id="105" creationId="{71AA465F-5B9A-6748-CA8D-32E5211CF18C}"/>
          </ac:spMkLst>
        </pc:spChg>
        <pc:spChg chg="add del mod">
          <ac:chgData name="Steiner Andreas 6206 ED" userId="e6377c33-a923-4f14-8587-531c474c7b48" providerId="ADAL" clId="{6ECD27E6-B224-41CD-B4E0-E297462320DD}" dt="2023-11-24T08:33:26.030" v="15154"/>
          <ac:spMkLst>
            <pc:docMk/>
            <pc:sldMk cId="398206320" sldId="2147478580"/>
            <ac:spMk id="106" creationId="{63CAC86D-557C-A48A-A299-18C68339D6A4}"/>
          </ac:spMkLst>
        </pc:spChg>
        <pc:spChg chg="add del mod">
          <ac:chgData name="Steiner Andreas 6206 ED" userId="e6377c33-a923-4f14-8587-531c474c7b48" providerId="ADAL" clId="{6ECD27E6-B224-41CD-B4E0-E297462320DD}" dt="2023-11-24T08:33:28.330" v="15309"/>
          <ac:spMkLst>
            <pc:docMk/>
            <pc:sldMk cId="398206320" sldId="2147478580"/>
            <ac:spMk id="107" creationId="{DDA3F707-C7B2-BEBB-CC01-FDB51F9723AD}"/>
          </ac:spMkLst>
        </pc:spChg>
        <pc:spChg chg="add del mod">
          <ac:chgData name="Steiner Andreas 6206 ED" userId="e6377c33-a923-4f14-8587-531c474c7b48" providerId="ADAL" clId="{6ECD27E6-B224-41CD-B4E0-E297462320DD}" dt="2023-11-24T08:33:30.816" v="15464"/>
          <ac:spMkLst>
            <pc:docMk/>
            <pc:sldMk cId="398206320" sldId="2147478580"/>
            <ac:spMk id="108" creationId="{0C533072-061B-9EBF-80A7-F4998A803C74}"/>
          </ac:spMkLst>
        </pc:spChg>
        <pc:spChg chg="add del mod">
          <ac:chgData name="Steiner Andreas 6206 ED" userId="e6377c33-a923-4f14-8587-531c474c7b48" providerId="ADAL" clId="{6ECD27E6-B224-41CD-B4E0-E297462320DD}" dt="2023-11-24T08:33:33.567" v="15619"/>
          <ac:spMkLst>
            <pc:docMk/>
            <pc:sldMk cId="398206320" sldId="2147478580"/>
            <ac:spMk id="109" creationId="{2E60439B-BDEE-A1B8-2560-572DE9A36A38}"/>
          </ac:spMkLst>
        </pc:spChg>
        <pc:spChg chg="add del mod">
          <ac:chgData name="Steiner Andreas 6206 ED" userId="e6377c33-a923-4f14-8587-531c474c7b48" providerId="ADAL" clId="{6ECD27E6-B224-41CD-B4E0-E297462320DD}" dt="2023-11-24T08:33:35.855" v="15774"/>
          <ac:spMkLst>
            <pc:docMk/>
            <pc:sldMk cId="398206320" sldId="2147478580"/>
            <ac:spMk id="110" creationId="{2A2487EA-925A-CD8A-D4DA-CE7F5540276B}"/>
          </ac:spMkLst>
        </pc:spChg>
        <pc:spChg chg="add del mod">
          <ac:chgData name="Steiner Andreas 6206 ED" userId="e6377c33-a923-4f14-8587-531c474c7b48" providerId="ADAL" clId="{6ECD27E6-B224-41CD-B4E0-E297462320DD}" dt="2023-11-24T08:33:37.975" v="15929"/>
          <ac:spMkLst>
            <pc:docMk/>
            <pc:sldMk cId="398206320" sldId="2147478580"/>
            <ac:spMk id="111" creationId="{904C4817-F9E5-600F-601A-FE864DF2757F}"/>
          </ac:spMkLst>
        </pc:spChg>
        <pc:spChg chg="add del mod">
          <ac:chgData name="Steiner Andreas 6206 ED" userId="e6377c33-a923-4f14-8587-531c474c7b48" providerId="ADAL" clId="{6ECD27E6-B224-41CD-B4E0-E297462320DD}" dt="2023-11-24T08:33:40.299" v="16084"/>
          <ac:spMkLst>
            <pc:docMk/>
            <pc:sldMk cId="398206320" sldId="2147478580"/>
            <ac:spMk id="112" creationId="{33E94C8A-5B05-C937-46E4-671FC063480E}"/>
          </ac:spMkLst>
        </pc:spChg>
        <pc:spChg chg="add del mod">
          <ac:chgData name="Steiner Andreas 6206 ED" userId="e6377c33-a923-4f14-8587-531c474c7b48" providerId="ADAL" clId="{6ECD27E6-B224-41CD-B4E0-E297462320DD}" dt="2023-11-24T08:33:43.008" v="16239"/>
          <ac:spMkLst>
            <pc:docMk/>
            <pc:sldMk cId="398206320" sldId="2147478580"/>
            <ac:spMk id="113" creationId="{E484E2BF-B932-CB48-FB88-7BE3E7762252}"/>
          </ac:spMkLst>
        </pc:spChg>
        <pc:spChg chg="add del mod">
          <ac:chgData name="Steiner Andreas 6206 ED" userId="e6377c33-a923-4f14-8587-531c474c7b48" providerId="ADAL" clId="{6ECD27E6-B224-41CD-B4E0-E297462320DD}" dt="2023-11-24T08:33:45.489" v="16394"/>
          <ac:spMkLst>
            <pc:docMk/>
            <pc:sldMk cId="398206320" sldId="2147478580"/>
            <ac:spMk id="114" creationId="{8720612E-7566-7CE4-934E-BA7F6D027B13}"/>
          </ac:spMkLst>
        </pc:spChg>
        <pc:spChg chg="add del mod">
          <ac:chgData name="Steiner Andreas 6206 ED" userId="e6377c33-a923-4f14-8587-531c474c7b48" providerId="ADAL" clId="{6ECD27E6-B224-41CD-B4E0-E297462320DD}" dt="2023-11-24T08:33:47.691" v="16549"/>
          <ac:spMkLst>
            <pc:docMk/>
            <pc:sldMk cId="398206320" sldId="2147478580"/>
            <ac:spMk id="115" creationId="{94BC1967-A18B-7A85-C9D0-4D2EF169A527}"/>
          </ac:spMkLst>
        </pc:spChg>
        <pc:spChg chg="add del mod">
          <ac:chgData name="Steiner Andreas 6206 ED" userId="e6377c33-a923-4f14-8587-531c474c7b48" providerId="ADAL" clId="{6ECD27E6-B224-41CD-B4E0-E297462320DD}" dt="2023-11-24T08:33:50.452" v="16704"/>
          <ac:spMkLst>
            <pc:docMk/>
            <pc:sldMk cId="398206320" sldId="2147478580"/>
            <ac:spMk id="116" creationId="{431E170A-A4A0-9F34-6F83-FC596EE7A3C1}"/>
          </ac:spMkLst>
        </pc:spChg>
        <pc:spChg chg="add del mod">
          <ac:chgData name="Steiner Andreas 6206 ED" userId="e6377c33-a923-4f14-8587-531c474c7b48" providerId="ADAL" clId="{6ECD27E6-B224-41CD-B4E0-E297462320DD}" dt="2023-11-24T08:33:52.820" v="16859"/>
          <ac:spMkLst>
            <pc:docMk/>
            <pc:sldMk cId="398206320" sldId="2147478580"/>
            <ac:spMk id="117" creationId="{D60074E4-3836-03F2-E437-6F744CF1E40A}"/>
          </ac:spMkLst>
        </pc:spChg>
        <pc:spChg chg="add del mod">
          <ac:chgData name="Steiner Andreas 6206 ED" userId="e6377c33-a923-4f14-8587-531c474c7b48" providerId="ADAL" clId="{6ECD27E6-B224-41CD-B4E0-E297462320DD}" dt="2023-11-24T08:33:54.994" v="17014"/>
          <ac:spMkLst>
            <pc:docMk/>
            <pc:sldMk cId="398206320" sldId="2147478580"/>
            <ac:spMk id="118" creationId="{3D405A4A-382F-5CF5-ADA4-269EFFEF1F93}"/>
          </ac:spMkLst>
        </pc:spChg>
        <pc:spChg chg="add del mod">
          <ac:chgData name="Steiner Andreas 6206 ED" userId="e6377c33-a923-4f14-8587-531c474c7b48" providerId="ADAL" clId="{6ECD27E6-B224-41CD-B4E0-E297462320DD}" dt="2023-11-24T08:33:57.379" v="17169"/>
          <ac:spMkLst>
            <pc:docMk/>
            <pc:sldMk cId="398206320" sldId="2147478580"/>
            <ac:spMk id="119" creationId="{F4CCA9A8-9D78-C096-2088-930748C2966A}"/>
          </ac:spMkLst>
        </pc:spChg>
        <pc:spChg chg="add del mod">
          <ac:chgData name="Steiner Andreas 6206 ED" userId="e6377c33-a923-4f14-8587-531c474c7b48" providerId="ADAL" clId="{6ECD27E6-B224-41CD-B4E0-E297462320DD}" dt="2023-11-24T08:33:59.805" v="17324"/>
          <ac:spMkLst>
            <pc:docMk/>
            <pc:sldMk cId="398206320" sldId="2147478580"/>
            <ac:spMk id="120" creationId="{EE3457A6-E054-00FA-7348-82F3E11EFC36}"/>
          </ac:spMkLst>
        </pc:spChg>
        <pc:spChg chg="add del mod">
          <ac:chgData name="Steiner Andreas 6206 ED" userId="e6377c33-a923-4f14-8587-531c474c7b48" providerId="ADAL" clId="{6ECD27E6-B224-41CD-B4E0-E297462320DD}" dt="2023-11-24T08:34:01.769" v="17479"/>
          <ac:spMkLst>
            <pc:docMk/>
            <pc:sldMk cId="398206320" sldId="2147478580"/>
            <ac:spMk id="121" creationId="{EF4CBF5F-E11F-91E7-A4F3-962E73096A4D}"/>
          </ac:spMkLst>
        </pc:spChg>
        <pc:spChg chg="add del mod">
          <ac:chgData name="Steiner Andreas 6206 ED" userId="e6377c33-a923-4f14-8587-531c474c7b48" providerId="ADAL" clId="{6ECD27E6-B224-41CD-B4E0-E297462320DD}" dt="2023-11-24T08:34:04.167" v="17634"/>
          <ac:spMkLst>
            <pc:docMk/>
            <pc:sldMk cId="398206320" sldId="2147478580"/>
            <ac:spMk id="122" creationId="{A646CB74-64EF-777E-21FA-E35E8A58C237}"/>
          </ac:spMkLst>
        </pc:spChg>
        <pc:spChg chg="add del mod">
          <ac:chgData name="Steiner Andreas 6206 ED" userId="e6377c33-a923-4f14-8587-531c474c7b48" providerId="ADAL" clId="{6ECD27E6-B224-41CD-B4E0-E297462320DD}" dt="2023-11-24T08:34:06.040" v="17789"/>
          <ac:spMkLst>
            <pc:docMk/>
            <pc:sldMk cId="398206320" sldId="2147478580"/>
            <ac:spMk id="123" creationId="{721620E0-E467-DE60-7080-CE6738EE696E}"/>
          </ac:spMkLst>
        </pc:spChg>
        <pc:spChg chg="add del mod">
          <ac:chgData name="Steiner Andreas 6206 ED" userId="e6377c33-a923-4f14-8587-531c474c7b48" providerId="ADAL" clId="{6ECD27E6-B224-41CD-B4E0-E297462320DD}" dt="2023-11-24T08:34:08.131" v="17944"/>
          <ac:spMkLst>
            <pc:docMk/>
            <pc:sldMk cId="398206320" sldId="2147478580"/>
            <ac:spMk id="124" creationId="{541788D0-B3C1-047E-54A2-14EEEA4E87D0}"/>
          </ac:spMkLst>
        </pc:spChg>
        <pc:spChg chg="add del mod">
          <ac:chgData name="Steiner Andreas 6206 ED" userId="e6377c33-a923-4f14-8587-531c474c7b48" providerId="ADAL" clId="{6ECD27E6-B224-41CD-B4E0-E297462320DD}" dt="2023-11-24T08:34:10.079" v="18099"/>
          <ac:spMkLst>
            <pc:docMk/>
            <pc:sldMk cId="398206320" sldId="2147478580"/>
            <ac:spMk id="125" creationId="{91008A0E-7DA6-8FBF-CFE3-E92F9219F44E}"/>
          </ac:spMkLst>
        </pc:spChg>
        <pc:spChg chg="add del mod">
          <ac:chgData name="Steiner Andreas 6206 ED" userId="e6377c33-a923-4f14-8587-531c474c7b48" providerId="ADAL" clId="{6ECD27E6-B224-41CD-B4E0-E297462320DD}" dt="2023-11-24T08:34:12.188" v="18254"/>
          <ac:spMkLst>
            <pc:docMk/>
            <pc:sldMk cId="398206320" sldId="2147478580"/>
            <ac:spMk id="126" creationId="{77A6BCC4-430B-1D75-9938-1507ABEC1F93}"/>
          </ac:spMkLst>
        </pc:spChg>
        <pc:spChg chg="add del mod">
          <ac:chgData name="Steiner Andreas 6206 ED" userId="e6377c33-a923-4f14-8587-531c474c7b48" providerId="ADAL" clId="{6ECD27E6-B224-41CD-B4E0-E297462320DD}" dt="2023-11-24T08:34:14.498" v="18409"/>
          <ac:spMkLst>
            <pc:docMk/>
            <pc:sldMk cId="398206320" sldId="2147478580"/>
            <ac:spMk id="127" creationId="{9129DD0A-67A7-ADAA-FBB6-E920378891A0}"/>
          </ac:spMkLst>
        </pc:spChg>
        <pc:spChg chg="add del mod">
          <ac:chgData name="Steiner Andreas 6206 ED" userId="e6377c33-a923-4f14-8587-531c474c7b48" providerId="ADAL" clId="{6ECD27E6-B224-41CD-B4E0-E297462320DD}" dt="2023-11-24T08:34:16.532" v="18564"/>
          <ac:spMkLst>
            <pc:docMk/>
            <pc:sldMk cId="398206320" sldId="2147478580"/>
            <ac:spMk id="128" creationId="{C6D4EECA-ACE1-9629-593D-825DA5517E51}"/>
          </ac:spMkLst>
        </pc:spChg>
        <pc:spChg chg="add del mod">
          <ac:chgData name="Steiner Andreas 6206 ED" userId="e6377c33-a923-4f14-8587-531c474c7b48" providerId="ADAL" clId="{6ECD27E6-B224-41CD-B4E0-E297462320DD}" dt="2023-11-24T08:34:18.763" v="18719"/>
          <ac:spMkLst>
            <pc:docMk/>
            <pc:sldMk cId="398206320" sldId="2147478580"/>
            <ac:spMk id="129" creationId="{41407EBA-57EA-808B-6D89-D79108E14848}"/>
          </ac:spMkLst>
        </pc:spChg>
        <pc:spChg chg="add del mod">
          <ac:chgData name="Steiner Andreas 6206 ED" userId="e6377c33-a923-4f14-8587-531c474c7b48" providerId="ADAL" clId="{6ECD27E6-B224-41CD-B4E0-E297462320DD}" dt="2023-11-24T08:34:20.838" v="18874"/>
          <ac:spMkLst>
            <pc:docMk/>
            <pc:sldMk cId="398206320" sldId="2147478580"/>
            <ac:spMk id="130" creationId="{68D43795-AD33-4C69-126E-B9313491E980}"/>
          </ac:spMkLst>
        </pc:spChg>
        <pc:spChg chg="add del mod">
          <ac:chgData name="Steiner Andreas 6206 ED" userId="e6377c33-a923-4f14-8587-531c474c7b48" providerId="ADAL" clId="{6ECD27E6-B224-41CD-B4E0-E297462320DD}" dt="2023-11-24T08:34:22.962" v="19029"/>
          <ac:spMkLst>
            <pc:docMk/>
            <pc:sldMk cId="398206320" sldId="2147478580"/>
            <ac:spMk id="131" creationId="{07496277-AAD7-35D3-7A03-3FF9276C1AD6}"/>
          </ac:spMkLst>
        </pc:spChg>
        <pc:spChg chg="add del mod">
          <ac:chgData name="Steiner Andreas 6206 ED" userId="e6377c33-a923-4f14-8587-531c474c7b48" providerId="ADAL" clId="{6ECD27E6-B224-41CD-B4E0-E297462320DD}" dt="2023-11-24T08:34:26.229" v="19184"/>
          <ac:spMkLst>
            <pc:docMk/>
            <pc:sldMk cId="398206320" sldId="2147478580"/>
            <ac:spMk id="132" creationId="{BAB3AE58-EAB4-3852-695C-B34C27B6C5A9}"/>
          </ac:spMkLst>
        </pc:spChg>
        <pc:spChg chg="add del mod">
          <ac:chgData name="Steiner Andreas 6206 ED" userId="e6377c33-a923-4f14-8587-531c474c7b48" providerId="ADAL" clId="{6ECD27E6-B224-41CD-B4E0-E297462320DD}" dt="2023-11-24T08:34:28.890" v="19339"/>
          <ac:spMkLst>
            <pc:docMk/>
            <pc:sldMk cId="398206320" sldId="2147478580"/>
            <ac:spMk id="133" creationId="{65BBF40F-F64E-BB2F-4353-71B2D3F1D952}"/>
          </ac:spMkLst>
        </pc:spChg>
        <pc:spChg chg="add del mod">
          <ac:chgData name="Steiner Andreas 6206 ED" userId="e6377c33-a923-4f14-8587-531c474c7b48" providerId="ADAL" clId="{6ECD27E6-B224-41CD-B4E0-E297462320DD}" dt="2023-11-24T08:34:31.520" v="19494"/>
          <ac:spMkLst>
            <pc:docMk/>
            <pc:sldMk cId="398206320" sldId="2147478580"/>
            <ac:spMk id="134" creationId="{A926E70C-15B0-DF56-E5D9-200EB8352537}"/>
          </ac:spMkLst>
        </pc:spChg>
        <pc:spChg chg="add del mod">
          <ac:chgData name="Steiner Andreas 6206 ED" userId="e6377c33-a923-4f14-8587-531c474c7b48" providerId="ADAL" clId="{6ECD27E6-B224-41CD-B4E0-E297462320DD}" dt="2023-11-24T08:34:33.714" v="19649"/>
          <ac:spMkLst>
            <pc:docMk/>
            <pc:sldMk cId="398206320" sldId="2147478580"/>
            <ac:spMk id="135" creationId="{D0D5E690-6D03-BBCA-E65A-E82A92B6F3AE}"/>
          </ac:spMkLst>
        </pc:spChg>
        <pc:spChg chg="add del mod">
          <ac:chgData name="Steiner Andreas 6206 ED" userId="e6377c33-a923-4f14-8587-531c474c7b48" providerId="ADAL" clId="{6ECD27E6-B224-41CD-B4E0-E297462320DD}" dt="2023-11-24T08:34:35.981" v="19804"/>
          <ac:spMkLst>
            <pc:docMk/>
            <pc:sldMk cId="398206320" sldId="2147478580"/>
            <ac:spMk id="136" creationId="{C1D9AE50-66CE-4487-41E7-4C3348033313}"/>
          </ac:spMkLst>
        </pc:spChg>
        <pc:spChg chg="add del mod">
          <ac:chgData name="Steiner Andreas 6206 ED" userId="e6377c33-a923-4f14-8587-531c474c7b48" providerId="ADAL" clId="{6ECD27E6-B224-41CD-B4E0-E297462320DD}" dt="2023-11-24T08:34:38.217" v="19959"/>
          <ac:spMkLst>
            <pc:docMk/>
            <pc:sldMk cId="398206320" sldId="2147478580"/>
            <ac:spMk id="137" creationId="{DE7B365E-6A0F-D4C1-C9E2-20846AB27EA0}"/>
          </ac:spMkLst>
        </pc:spChg>
        <pc:spChg chg="add del mod">
          <ac:chgData name="Steiner Andreas 6206 ED" userId="e6377c33-a923-4f14-8587-531c474c7b48" providerId="ADAL" clId="{6ECD27E6-B224-41CD-B4E0-E297462320DD}" dt="2023-11-24T08:34:40.499" v="20114"/>
          <ac:spMkLst>
            <pc:docMk/>
            <pc:sldMk cId="398206320" sldId="2147478580"/>
            <ac:spMk id="138" creationId="{BBA0275F-465B-544B-B479-9BBB4B4E50C9}"/>
          </ac:spMkLst>
        </pc:spChg>
        <pc:spChg chg="add del mod">
          <ac:chgData name="Steiner Andreas 6206 ED" userId="e6377c33-a923-4f14-8587-531c474c7b48" providerId="ADAL" clId="{6ECD27E6-B224-41CD-B4E0-E297462320DD}" dt="2023-11-24T08:34:43.261" v="20269"/>
          <ac:spMkLst>
            <pc:docMk/>
            <pc:sldMk cId="398206320" sldId="2147478580"/>
            <ac:spMk id="139" creationId="{35B054EB-15A1-52D7-BAA4-6BA94D3EBF96}"/>
          </ac:spMkLst>
        </pc:spChg>
        <pc:spChg chg="add del mod">
          <ac:chgData name="Steiner Andreas 6206 ED" userId="e6377c33-a923-4f14-8587-531c474c7b48" providerId="ADAL" clId="{6ECD27E6-B224-41CD-B4E0-E297462320DD}" dt="2023-11-24T08:34:45.602" v="20424"/>
          <ac:spMkLst>
            <pc:docMk/>
            <pc:sldMk cId="398206320" sldId="2147478580"/>
            <ac:spMk id="140" creationId="{11C434C7-0EF2-C5C4-4C03-53C03845BDB3}"/>
          </ac:spMkLst>
        </pc:spChg>
        <pc:spChg chg="add del mod">
          <ac:chgData name="Steiner Andreas 6206 ED" userId="e6377c33-a923-4f14-8587-531c474c7b48" providerId="ADAL" clId="{6ECD27E6-B224-41CD-B4E0-E297462320DD}" dt="2023-11-24T08:34:47.845" v="20579"/>
          <ac:spMkLst>
            <pc:docMk/>
            <pc:sldMk cId="398206320" sldId="2147478580"/>
            <ac:spMk id="141" creationId="{5EA5FF1C-A588-2D75-EE09-12919993589B}"/>
          </ac:spMkLst>
        </pc:spChg>
        <pc:spChg chg="add del mod">
          <ac:chgData name="Steiner Andreas 6206 ED" userId="e6377c33-a923-4f14-8587-531c474c7b48" providerId="ADAL" clId="{6ECD27E6-B224-41CD-B4E0-E297462320DD}" dt="2023-11-24T08:34:50.290" v="20734"/>
          <ac:spMkLst>
            <pc:docMk/>
            <pc:sldMk cId="398206320" sldId="2147478580"/>
            <ac:spMk id="142" creationId="{EFBFA6DF-F7F8-45B1-7923-C8760103986B}"/>
          </ac:spMkLst>
        </pc:spChg>
        <pc:spChg chg="add del mod">
          <ac:chgData name="Steiner Andreas 6206 ED" userId="e6377c33-a923-4f14-8587-531c474c7b48" providerId="ADAL" clId="{6ECD27E6-B224-41CD-B4E0-E297462320DD}" dt="2023-11-24T08:34:52.877" v="20889"/>
          <ac:spMkLst>
            <pc:docMk/>
            <pc:sldMk cId="398206320" sldId="2147478580"/>
            <ac:spMk id="143" creationId="{7220E4E7-053C-CF7B-C8C1-26A2D5AAE893}"/>
          </ac:spMkLst>
        </pc:spChg>
        <pc:spChg chg="add del mod">
          <ac:chgData name="Steiner Andreas 6206 ED" userId="e6377c33-a923-4f14-8587-531c474c7b48" providerId="ADAL" clId="{6ECD27E6-B224-41CD-B4E0-E297462320DD}" dt="2023-11-24T08:34:55.317" v="21044"/>
          <ac:spMkLst>
            <pc:docMk/>
            <pc:sldMk cId="398206320" sldId="2147478580"/>
            <ac:spMk id="144" creationId="{413E9E34-C52E-6640-9C69-717CF13FBE42}"/>
          </ac:spMkLst>
        </pc:spChg>
        <pc:spChg chg="add del mod">
          <ac:chgData name="Steiner Andreas 6206 ED" userId="e6377c33-a923-4f14-8587-531c474c7b48" providerId="ADAL" clId="{6ECD27E6-B224-41CD-B4E0-E297462320DD}" dt="2023-11-24T08:34:57.628" v="21199"/>
          <ac:spMkLst>
            <pc:docMk/>
            <pc:sldMk cId="398206320" sldId="2147478580"/>
            <ac:spMk id="145" creationId="{C5941E57-B222-B8FC-36B7-B70E0739842A}"/>
          </ac:spMkLst>
        </pc:spChg>
        <pc:spChg chg="add del mod">
          <ac:chgData name="Steiner Andreas 6206 ED" userId="e6377c33-a923-4f14-8587-531c474c7b48" providerId="ADAL" clId="{6ECD27E6-B224-41CD-B4E0-E297462320DD}" dt="2023-11-24T08:35:00.153" v="21354"/>
          <ac:spMkLst>
            <pc:docMk/>
            <pc:sldMk cId="398206320" sldId="2147478580"/>
            <ac:spMk id="146" creationId="{0200CFD2-F0BC-BA0C-56E1-2ED7DAA6B01F}"/>
          </ac:spMkLst>
        </pc:spChg>
        <pc:spChg chg="add del mod">
          <ac:chgData name="Steiner Andreas 6206 ED" userId="e6377c33-a923-4f14-8587-531c474c7b48" providerId="ADAL" clId="{6ECD27E6-B224-41CD-B4E0-E297462320DD}" dt="2023-11-24T08:35:02.797" v="21509"/>
          <ac:spMkLst>
            <pc:docMk/>
            <pc:sldMk cId="398206320" sldId="2147478580"/>
            <ac:spMk id="147" creationId="{34EB591D-9FD1-D8FB-62F7-36F589EF4912}"/>
          </ac:spMkLst>
        </pc:spChg>
        <pc:spChg chg="add del mod">
          <ac:chgData name="Steiner Andreas 6206 ED" userId="e6377c33-a923-4f14-8587-531c474c7b48" providerId="ADAL" clId="{6ECD27E6-B224-41CD-B4E0-E297462320DD}" dt="2023-11-24T08:35:05.275" v="21664"/>
          <ac:spMkLst>
            <pc:docMk/>
            <pc:sldMk cId="398206320" sldId="2147478580"/>
            <ac:spMk id="148" creationId="{A4886735-70F2-2E9C-EA3E-7DE3EB4E45C3}"/>
          </ac:spMkLst>
        </pc:spChg>
        <pc:spChg chg="add del mod">
          <ac:chgData name="Steiner Andreas 6206 ED" userId="e6377c33-a923-4f14-8587-531c474c7b48" providerId="ADAL" clId="{6ECD27E6-B224-41CD-B4E0-E297462320DD}" dt="2023-11-24T08:35:07.801" v="21819"/>
          <ac:spMkLst>
            <pc:docMk/>
            <pc:sldMk cId="398206320" sldId="2147478580"/>
            <ac:spMk id="149" creationId="{BA911601-0DF3-6B84-E900-CBDC641B36E8}"/>
          </ac:spMkLst>
        </pc:spChg>
        <pc:spChg chg="add del mod">
          <ac:chgData name="Steiner Andreas 6206 ED" userId="e6377c33-a923-4f14-8587-531c474c7b48" providerId="ADAL" clId="{6ECD27E6-B224-41CD-B4E0-E297462320DD}" dt="2023-11-24T08:35:10.300" v="21974"/>
          <ac:spMkLst>
            <pc:docMk/>
            <pc:sldMk cId="398206320" sldId="2147478580"/>
            <ac:spMk id="150" creationId="{5BF8708D-E87E-E83B-B001-52B29EB84C16}"/>
          </ac:spMkLst>
        </pc:spChg>
        <pc:spChg chg="add del mod">
          <ac:chgData name="Steiner Andreas 6206 ED" userId="e6377c33-a923-4f14-8587-531c474c7b48" providerId="ADAL" clId="{6ECD27E6-B224-41CD-B4E0-E297462320DD}" dt="2023-11-24T08:35:12.734" v="22129"/>
          <ac:spMkLst>
            <pc:docMk/>
            <pc:sldMk cId="398206320" sldId="2147478580"/>
            <ac:spMk id="151" creationId="{EFA9108F-BC1C-9AC2-C29B-91B200291207}"/>
          </ac:spMkLst>
        </pc:spChg>
        <pc:spChg chg="add del mod">
          <ac:chgData name="Steiner Andreas 6206 ED" userId="e6377c33-a923-4f14-8587-531c474c7b48" providerId="ADAL" clId="{6ECD27E6-B224-41CD-B4E0-E297462320DD}" dt="2023-11-24T08:35:14.811" v="22284"/>
          <ac:spMkLst>
            <pc:docMk/>
            <pc:sldMk cId="398206320" sldId="2147478580"/>
            <ac:spMk id="152" creationId="{27D39E2C-2A4B-A24D-4706-E3EDF8A95B96}"/>
          </ac:spMkLst>
        </pc:spChg>
        <pc:spChg chg="add del mod">
          <ac:chgData name="Steiner Andreas 6206 ED" userId="e6377c33-a923-4f14-8587-531c474c7b48" providerId="ADAL" clId="{6ECD27E6-B224-41CD-B4E0-E297462320DD}" dt="2023-11-24T08:35:17.225" v="22439"/>
          <ac:spMkLst>
            <pc:docMk/>
            <pc:sldMk cId="398206320" sldId="2147478580"/>
            <ac:spMk id="153" creationId="{942DFB0E-A46D-2B83-5750-DB9B38205135}"/>
          </ac:spMkLst>
        </pc:spChg>
        <pc:spChg chg="add del mod">
          <ac:chgData name="Steiner Andreas 6206 ED" userId="e6377c33-a923-4f14-8587-531c474c7b48" providerId="ADAL" clId="{6ECD27E6-B224-41CD-B4E0-E297462320DD}" dt="2023-11-24T08:35:19.677" v="22594"/>
          <ac:spMkLst>
            <pc:docMk/>
            <pc:sldMk cId="398206320" sldId="2147478580"/>
            <ac:spMk id="154" creationId="{98586AFF-3605-2488-BEB0-BAD21D36A453}"/>
          </ac:spMkLst>
        </pc:spChg>
        <pc:spChg chg="add del mod">
          <ac:chgData name="Steiner Andreas 6206 ED" userId="e6377c33-a923-4f14-8587-531c474c7b48" providerId="ADAL" clId="{6ECD27E6-B224-41CD-B4E0-E297462320DD}" dt="2023-11-24T08:35:22.094" v="22749"/>
          <ac:spMkLst>
            <pc:docMk/>
            <pc:sldMk cId="398206320" sldId="2147478580"/>
            <ac:spMk id="155" creationId="{2D94CA96-8EAD-F4E0-1AB2-D0CA4A44F6BF}"/>
          </ac:spMkLst>
        </pc:spChg>
        <pc:spChg chg="add del mod">
          <ac:chgData name="Steiner Andreas 6206 ED" userId="e6377c33-a923-4f14-8587-531c474c7b48" providerId="ADAL" clId="{6ECD27E6-B224-41CD-B4E0-E297462320DD}" dt="2023-11-24T08:35:24.416" v="22904"/>
          <ac:spMkLst>
            <pc:docMk/>
            <pc:sldMk cId="398206320" sldId="2147478580"/>
            <ac:spMk id="156" creationId="{38D51EA5-19B3-723E-D6F1-9B9439DE3CBE}"/>
          </ac:spMkLst>
        </pc:spChg>
        <pc:spChg chg="add del mod">
          <ac:chgData name="Steiner Andreas 6206 ED" userId="e6377c33-a923-4f14-8587-531c474c7b48" providerId="ADAL" clId="{6ECD27E6-B224-41CD-B4E0-E297462320DD}" dt="2023-11-24T08:35:27.058" v="23059"/>
          <ac:spMkLst>
            <pc:docMk/>
            <pc:sldMk cId="398206320" sldId="2147478580"/>
            <ac:spMk id="157" creationId="{A06B7B2A-B299-F468-4501-D243161CB652}"/>
          </ac:spMkLst>
        </pc:spChg>
        <pc:spChg chg="add del mod">
          <ac:chgData name="Steiner Andreas 6206 ED" userId="e6377c33-a923-4f14-8587-531c474c7b48" providerId="ADAL" clId="{6ECD27E6-B224-41CD-B4E0-E297462320DD}" dt="2023-11-24T08:35:29.777" v="23214"/>
          <ac:spMkLst>
            <pc:docMk/>
            <pc:sldMk cId="398206320" sldId="2147478580"/>
            <ac:spMk id="158" creationId="{BE0B4924-53D4-436D-A45F-23CBBBE3BD11}"/>
          </ac:spMkLst>
        </pc:spChg>
        <pc:spChg chg="add del mod">
          <ac:chgData name="Steiner Andreas 6206 ED" userId="e6377c33-a923-4f14-8587-531c474c7b48" providerId="ADAL" clId="{6ECD27E6-B224-41CD-B4E0-E297462320DD}" dt="2023-11-24T08:35:32.139" v="23369"/>
          <ac:spMkLst>
            <pc:docMk/>
            <pc:sldMk cId="398206320" sldId="2147478580"/>
            <ac:spMk id="159" creationId="{59DE9C13-7110-90F8-A31E-15B1D89E1134}"/>
          </ac:spMkLst>
        </pc:spChg>
        <pc:spChg chg="add del mod">
          <ac:chgData name="Steiner Andreas 6206 ED" userId="e6377c33-a923-4f14-8587-531c474c7b48" providerId="ADAL" clId="{6ECD27E6-B224-41CD-B4E0-E297462320DD}" dt="2023-11-24T08:35:34.547" v="23524"/>
          <ac:spMkLst>
            <pc:docMk/>
            <pc:sldMk cId="398206320" sldId="2147478580"/>
            <ac:spMk id="160" creationId="{43287DB0-F523-5EE7-DD4B-C1049FD51E02}"/>
          </ac:spMkLst>
        </pc:spChg>
        <pc:spChg chg="add del mod">
          <ac:chgData name="Steiner Andreas 6206 ED" userId="e6377c33-a923-4f14-8587-531c474c7b48" providerId="ADAL" clId="{6ECD27E6-B224-41CD-B4E0-E297462320DD}" dt="2023-11-24T08:35:36.850" v="23679"/>
          <ac:spMkLst>
            <pc:docMk/>
            <pc:sldMk cId="398206320" sldId="2147478580"/>
            <ac:spMk id="161" creationId="{F0B05163-452A-73DC-3134-ED4DED034C4A}"/>
          </ac:spMkLst>
        </pc:spChg>
        <pc:spChg chg="add del mod">
          <ac:chgData name="Steiner Andreas 6206 ED" userId="e6377c33-a923-4f14-8587-531c474c7b48" providerId="ADAL" clId="{6ECD27E6-B224-41CD-B4E0-E297462320DD}" dt="2023-11-24T08:35:39.266" v="23834"/>
          <ac:spMkLst>
            <pc:docMk/>
            <pc:sldMk cId="398206320" sldId="2147478580"/>
            <ac:spMk id="162" creationId="{CDDB18AC-7ACA-E1F4-435B-B3ABF06A5A34}"/>
          </ac:spMkLst>
        </pc:spChg>
        <pc:spChg chg="add del mod">
          <ac:chgData name="Steiner Andreas 6206 ED" userId="e6377c33-a923-4f14-8587-531c474c7b48" providerId="ADAL" clId="{6ECD27E6-B224-41CD-B4E0-E297462320DD}" dt="2023-11-24T08:35:41.932" v="23989"/>
          <ac:spMkLst>
            <pc:docMk/>
            <pc:sldMk cId="398206320" sldId="2147478580"/>
            <ac:spMk id="163" creationId="{34D0CC35-1B28-B4E0-E48F-DC9BBE0475BA}"/>
          </ac:spMkLst>
        </pc:spChg>
        <pc:spChg chg="add del mod">
          <ac:chgData name="Steiner Andreas 6206 ED" userId="e6377c33-a923-4f14-8587-531c474c7b48" providerId="ADAL" clId="{6ECD27E6-B224-41CD-B4E0-E297462320DD}" dt="2023-11-24T08:35:44.407" v="24144"/>
          <ac:spMkLst>
            <pc:docMk/>
            <pc:sldMk cId="398206320" sldId="2147478580"/>
            <ac:spMk id="164" creationId="{80FAD944-C33F-9A6B-433F-7A9D59DDEA0D}"/>
          </ac:spMkLst>
        </pc:spChg>
        <pc:spChg chg="add del mod">
          <ac:chgData name="Steiner Andreas 6206 ED" userId="e6377c33-a923-4f14-8587-531c474c7b48" providerId="ADAL" clId="{6ECD27E6-B224-41CD-B4E0-E297462320DD}" dt="2023-11-24T08:35:46.664" v="24299"/>
          <ac:spMkLst>
            <pc:docMk/>
            <pc:sldMk cId="398206320" sldId="2147478580"/>
            <ac:spMk id="165" creationId="{07E4B7F9-8141-EC43-F9D9-AAC6EDFCCEE0}"/>
          </ac:spMkLst>
        </pc:spChg>
        <pc:spChg chg="add del mod">
          <ac:chgData name="Steiner Andreas 6206 ED" userId="e6377c33-a923-4f14-8587-531c474c7b48" providerId="ADAL" clId="{6ECD27E6-B224-41CD-B4E0-E297462320DD}" dt="2023-11-24T08:35:48.902" v="24454"/>
          <ac:spMkLst>
            <pc:docMk/>
            <pc:sldMk cId="398206320" sldId="2147478580"/>
            <ac:spMk id="166" creationId="{A3254138-6903-D21A-153C-9E8390BAE68B}"/>
          </ac:spMkLst>
        </pc:spChg>
        <pc:spChg chg="add del mod">
          <ac:chgData name="Steiner Andreas 6206 ED" userId="e6377c33-a923-4f14-8587-531c474c7b48" providerId="ADAL" clId="{6ECD27E6-B224-41CD-B4E0-E297462320DD}" dt="2023-11-24T08:35:51.197" v="24609"/>
          <ac:spMkLst>
            <pc:docMk/>
            <pc:sldMk cId="398206320" sldId="2147478580"/>
            <ac:spMk id="167" creationId="{253EF7F3-C481-CA1C-3594-B4C52C45D358}"/>
          </ac:spMkLst>
        </pc:spChg>
        <pc:spChg chg="add del mod">
          <ac:chgData name="Steiner Andreas 6206 ED" userId="e6377c33-a923-4f14-8587-531c474c7b48" providerId="ADAL" clId="{6ECD27E6-B224-41CD-B4E0-E297462320DD}" dt="2023-11-24T08:35:54.105" v="24764"/>
          <ac:spMkLst>
            <pc:docMk/>
            <pc:sldMk cId="398206320" sldId="2147478580"/>
            <ac:spMk id="168" creationId="{5343D092-176D-69F7-9322-4B2ED3473A85}"/>
          </ac:spMkLst>
        </pc:spChg>
        <pc:spChg chg="add del mod">
          <ac:chgData name="Steiner Andreas 6206 ED" userId="e6377c33-a923-4f14-8587-531c474c7b48" providerId="ADAL" clId="{6ECD27E6-B224-41CD-B4E0-E297462320DD}" dt="2023-11-24T08:35:56.593" v="24919"/>
          <ac:spMkLst>
            <pc:docMk/>
            <pc:sldMk cId="398206320" sldId="2147478580"/>
            <ac:spMk id="169" creationId="{823DF620-187D-2290-1468-6FFA609CF17C}"/>
          </ac:spMkLst>
        </pc:spChg>
        <pc:spChg chg="add del mod">
          <ac:chgData name="Steiner Andreas 6206 ED" userId="e6377c33-a923-4f14-8587-531c474c7b48" providerId="ADAL" clId="{6ECD27E6-B224-41CD-B4E0-E297462320DD}" dt="2023-11-24T08:35:59.140" v="25074"/>
          <ac:spMkLst>
            <pc:docMk/>
            <pc:sldMk cId="398206320" sldId="2147478580"/>
            <ac:spMk id="170" creationId="{A2409987-00B8-070E-00D5-DA9EB49CA87D}"/>
          </ac:spMkLst>
        </pc:spChg>
        <pc:spChg chg="add del mod">
          <ac:chgData name="Steiner Andreas 6206 ED" userId="e6377c33-a923-4f14-8587-531c474c7b48" providerId="ADAL" clId="{6ECD27E6-B224-41CD-B4E0-E297462320DD}" dt="2023-11-24T08:36:01.649" v="25229"/>
          <ac:spMkLst>
            <pc:docMk/>
            <pc:sldMk cId="398206320" sldId="2147478580"/>
            <ac:spMk id="171" creationId="{8587A1EE-4F51-67E3-3D83-CA583EE92F5F}"/>
          </ac:spMkLst>
        </pc:spChg>
        <pc:spChg chg="add del mod">
          <ac:chgData name="Steiner Andreas 6206 ED" userId="e6377c33-a923-4f14-8587-531c474c7b48" providerId="ADAL" clId="{6ECD27E6-B224-41CD-B4E0-E297462320DD}" dt="2023-11-24T08:36:04.244" v="25384"/>
          <ac:spMkLst>
            <pc:docMk/>
            <pc:sldMk cId="398206320" sldId="2147478580"/>
            <ac:spMk id="172" creationId="{AF310CA1-21AF-77E8-A10C-1623BD2C4241}"/>
          </ac:spMkLst>
        </pc:spChg>
        <pc:spChg chg="add del mod">
          <ac:chgData name="Steiner Andreas 6206 ED" userId="e6377c33-a923-4f14-8587-531c474c7b48" providerId="ADAL" clId="{6ECD27E6-B224-41CD-B4E0-E297462320DD}" dt="2023-11-24T08:36:06.718" v="25539"/>
          <ac:spMkLst>
            <pc:docMk/>
            <pc:sldMk cId="398206320" sldId="2147478580"/>
            <ac:spMk id="173" creationId="{6FBE3691-B72C-BC97-7D57-957821CEEA1B}"/>
          </ac:spMkLst>
        </pc:spChg>
        <pc:spChg chg="add del mod">
          <ac:chgData name="Steiner Andreas 6206 ED" userId="e6377c33-a923-4f14-8587-531c474c7b48" providerId="ADAL" clId="{6ECD27E6-B224-41CD-B4E0-E297462320DD}" dt="2023-11-24T08:36:09.242" v="25694"/>
          <ac:spMkLst>
            <pc:docMk/>
            <pc:sldMk cId="398206320" sldId="2147478580"/>
            <ac:spMk id="174" creationId="{C25AC39A-2F10-F134-B409-0E1355B71D1D}"/>
          </ac:spMkLst>
        </pc:spChg>
        <pc:spChg chg="add del mod">
          <ac:chgData name="Steiner Andreas 6206 ED" userId="e6377c33-a923-4f14-8587-531c474c7b48" providerId="ADAL" clId="{6ECD27E6-B224-41CD-B4E0-E297462320DD}" dt="2023-11-24T08:36:11.778" v="25849"/>
          <ac:spMkLst>
            <pc:docMk/>
            <pc:sldMk cId="398206320" sldId="2147478580"/>
            <ac:spMk id="175" creationId="{91EB69AD-E92F-2397-F61C-54CCED8E8513}"/>
          </ac:spMkLst>
        </pc:spChg>
        <pc:spChg chg="add del mod">
          <ac:chgData name="Steiner Andreas 6206 ED" userId="e6377c33-a923-4f14-8587-531c474c7b48" providerId="ADAL" clId="{6ECD27E6-B224-41CD-B4E0-E297462320DD}" dt="2023-11-24T08:36:14.170" v="26004"/>
          <ac:spMkLst>
            <pc:docMk/>
            <pc:sldMk cId="398206320" sldId="2147478580"/>
            <ac:spMk id="176" creationId="{881CBE41-1028-8B1D-143A-0A305C5BA4C4}"/>
          </ac:spMkLst>
        </pc:spChg>
        <pc:spChg chg="add del mod">
          <ac:chgData name="Steiner Andreas 6206 ED" userId="e6377c33-a923-4f14-8587-531c474c7b48" providerId="ADAL" clId="{6ECD27E6-B224-41CD-B4E0-E297462320DD}" dt="2023-11-24T08:36:16.989" v="26159"/>
          <ac:spMkLst>
            <pc:docMk/>
            <pc:sldMk cId="398206320" sldId="2147478580"/>
            <ac:spMk id="177" creationId="{02F4C60A-4EA6-FB1A-1DD3-6995316C0FD3}"/>
          </ac:spMkLst>
        </pc:spChg>
        <pc:spChg chg="add del mod">
          <ac:chgData name="Steiner Andreas 6206 ED" userId="e6377c33-a923-4f14-8587-531c474c7b48" providerId="ADAL" clId="{6ECD27E6-B224-41CD-B4E0-E297462320DD}" dt="2023-11-24T08:36:19.403" v="26314"/>
          <ac:spMkLst>
            <pc:docMk/>
            <pc:sldMk cId="398206320" sldId="2147478580"/>
            <ac:spMk id="178" creationId="{914989D6-755F-30E0-BDF9-1333EC31AA59}"/>
          </ac:spMkLst>
        </pc:spChg>
        <pc:spChg chg="add del mod">
          <ac:chgData name="Steiner Andreas 6206 ED" userId="e6377c33-a923-4f14-8587-531c474c7b48" providerId="ADAL" clId="{6ECD27E6-B224-41CD-B4E0-E297462320DD}" dt="2023-11-24T08:36:21.649" v="26469"/>
          <ac:spMkLst>
            <pc:docMk/>
            <pc:sldMk cId="398206320" sldId="2147478580"/>
            <ac:spMk id="179" creationId="{6B244ABA-AB4C-53B6-F12A-AABB409B1CB6}"/>
          </ac:spMkLst>
        </pc:spChg>
        <pc:spChg chg="add del mod">
          <ac:chgData name="Steiner Andreas 6206 ED" userId="e6377c33-a923-4f14-8587-531c474c7b48" providerId="ADAL" clId="{6ECD27E6-B224-41CD-B4E0-E297462320DD}" dt="2023-11-24T08:36:24.169" v="26624"/>
          <ac:spMkLst>
            <pc:docMk/>
            <pc:sldMk cId="398206320" sldId="2147478580"/>
            <ac:spMk id="180" creationId="{C47BAE90-CB2C-929E-E94A-1D4C7B9834D1}"/>
          </ac:spMkLst>
        </pc:spChg>
        <pc:spChg chg="add del mod">
          <ac:chgData name="Steiner Andreas 6206 ED" userId="e6377c33-a923-4f14-8587-531c474c7b48" providerId="ADAL" clId="{6ECD27E6-B224-41CD-B4E0-E297462320DD}" dt="2023-11-24T08:36:26.689" v="26779"/>
          <ac:spMkLst>
            <pc:docMk/>
            <pc:sldMk cId="398206320" sldId="2147478580"/>
            <ac:spMk id="181" creationId="{D1B3F9E7-C295-7464-160F-D79EC75CF63F}"/>
          </ac:spMkLst>
        </pc:spChg>
        <pc:spChg chg="add del mod">
          <ac:chgData name="Steiner Andreas 6206 ED" userId="e6377c33-a923-4f14-8587-531c474c7b48" providerId="ADAL" clId="{6ECD27E6-B224-41CD-B4E0-E297462320DD}" dt="2023-11-24T08:36:29.599" v="26934"/>
          <ac:spMkLst>
            <pc:docMk/>
            <pc:sldMk cId="398206320" sldId="2147478580"/>
            <ac:spMk id="182" creationId="{B0941184-3EF3-2E30-31F8-DEEA402C22DE}"/>
          </ac:spMkLst>
        </pc:spChg>
        <pc:spChg chg="add del mod">
          <ac:chgData name="Steiner Andreas 6206 ED" userId="e6377c33-a923-4f14-8587-531c474c7b48" providerId="ADAL" clId="{6ECD27E6-B224-41CD-B4E0-E297462320DD}" dt="2023-11-24T08:36:32.303" v="27089"/>
          <ac:spMkLst>
            <pc:docMk/>
            <pc:sldMk cId="398206320" sldId="2147478580"/>
            <ac:spMk id="183" creationId="{7BD0A780-F602-D8E2-ABC8-3D1F9AB468B2}"/>
          </ac:spMkLst>
        </pc:spChg>
        <pc:spChg chg="add del mod">
          <ac:chgData name="Steiner Andreas 6206 ED" userId="e6377c33-a923-4f14-8587-531c474c7b48" providerId="ADAL" clId="{6ECD27E6-B224-41CD-B4E0-E297462320DD}" dt="2023-11-24T08:36:34.827" v="27244"/>
          <ac:spMkLst>
            <pc:docMk/>
            <pc:sldMk cId="398206320" sldId="2147478580"/>
            <ac:spMk id="184" creationId="{00B2BC6B-677B-4971-D5BF-288BB59A8115}"/>
          </ac:spMkLst>
        </pc:spChg>
        <pc:spChg chg="add del mod">
          <ac:chgData name="Steiner Andreas 6206 ED" userId="e6377c33-a923-4f14-8587-531c474c7b48" providerId="ADAL" clId="{6ECD27E6-B224-41CD-B4E0-E297462320DD}" dt="2023-11-24T08:36:37.362" v="27399"/>
          <ac:spMkLst>
            <pc:docMk/>
            <pc:sldMk cId="398206320" sldId="2147478580"/>
            <ac:spMk id="185" creationId="{8180971C-2E1F-9073-93CC-43D777A45B6F}"/>
          </ac:spMkLst>
        </pc:spChg>
        <pc:spChg chg="add del mod">
          <ac:chgData name="Steiner Andreas 6206 ED" userId="e6377c33-a923-4f14-8587-531c474c7b48" providerId="ADAL" clId="{6ECD27E6-B224-41CD-B4E0-E297462320DD}" dt="2023-11-24T08:36:39.953" v="27554"/>
          <ac:spMkLst>
            <pc:docMk/>
            <pc:sldMk cId="398206320" sldId="2147478580"/>
            <ac:spMk id="186" creationId="{483ECE97-C133-00AB-B0E6-F1F59515F525}"/>
          </ac:spMkLst>
        </pc:spChg>
        <pc:spChg chg="add del mod">
          <ac:chgData name="Steiner Andreas 6206 ED" userId="e6377c33-a923-4f14-8587-531c474c7b48" providerId="ADAL" clId="{6ECD27E6-B224-41CD-B4E0-E297462320DD}" dt="2023-11-24T08:36:42.735" v="27709"/>
          <ac:spMkLst>
            <pc:docMk/>
            <pc:sldMk cId="398206320" sldId="2147478580"/>
            <ac:spMk id="187" creationId="{DEEAF559-42F8-6646-A8E8-7FBDA40120A9}"/>
          </ac:spMkLst>
        </pc:spChg>
        <pc:spChg chg="add del mod">
          <ac:chgData name="Steiner Andreas 6206 ED" userId="e6377c33-a923-4f14-8587-531c474c7b48" providerId="ADAL" clId="{6ECD27E6-B224-41CD-B4E0-E297462320DD}" dt="2023-11-24T08:36:45.229" v="27864"/>
          <ac:spMkLst>
            <pc:docMk/>
            <pc:sldMk cId="398206320" sldId="2147478580"/>
            <ac:spMk id="188" creationId="{DD7675C9-117A-DF38-E5D2-630A9FAD46D1}"/>
          </ac:spMkLst>
        </pc:spChg>
        <pc:spChg chg="add del mod">
          <ac:chgData name="Steiner Andreas 6206 ED" userId="e6377c33-a923-4f14-8587-531c474c7b48" providerId="ADAL" clId="{6ECD27E6-B224-41CD-B4E0-E297462320DD}" dt="2023-11-24T08:36:47.640" v="28019"/>
          <ac:spMkLst>
            <pc:docMk/>
            <pc:sldMk cId="398206320" sldId="2147478580"/>
            <ac:spMk id="189" creationId="{CF7B85F4-2B04-055F-3CDB-CD959AF716C7}"/>
          </ac:spMkLst>
        </pc:spChg>
        <pc:spChg chg="add del mod">
          <ac:chgData name="Steiner Andreas 6206 ED" userId="e6377c33-a923-4f14-8587-531c474c7b48" providerId="ADAL" clId="{6ECD27E6-B224-41CD-B4E0-E297462320DD}" dt="2023-11-24T08:36:50.127" v="28174"/>
          <ac:spMkLst>
            <pc:docMk/>
            <pc:sldMk cId="398206320" sldId="2147478580"/>
            <ac:spMk id="190" creationId="{1B8960D9-47D7-637C-7DA0-AF622AD6BAE7}"/>
          </ac:spMkLst>
        </pc:spChg>
        <pc:spChg chg="add del mod">
          <ac:chgData name="Steiner Andreas 6206 ED" userId="e6377c33-a923-4f14-8587-531c474c7b48" providerId="ADAL" clId="{6ECD27E6-B224-41CD-B4E0-E297462320DD}" dt="2023-11-24T08:36:53.172" v="28329"/>
          <ac:spMkLst>
            <pc:docMk/>
            <pc:sldMk cId="398206320" sldId="2147478580"/>
            <ac:spMk id="191" creationId="{37DF333B-BD56-156A-0BF2-9436A83BBC50}"/>
          </ac:spMkLst>
        </pc:spChg>
        <pc:spChg chg="add del mod">
          <ac:chgData name="Steiner Andreas 6206 ED" userId="e6377c33-a923-4f14-8587-531c474c7b48" providerId="ADAL" clId="{6ECD27E6-B224-41CD-B4E0-E297462320DD}" dt="2023-11-24T08:36:56.249" v="28484"/>
          <ac:spMkLst>
            <pc:docMk/>
            <pc:sldMk cId="398206320" sldId="2147478580"/>
            <ac:spMk id="192" creationId="{0B41A6FC-FCFF-7200-0BD7-7ACE9E3FED45}"/>
          </ac:spMkLst>
        </pc:spChg>
        <pc:spChg chg="add del mod">
          <ac:chgData name="Steiner Andreas 6206 ED" userId="e6377c33-a923-4f14-8587-531c474c7b48" providerId="ADAL" clId="{6ECD27E6-B224-41CD-B4E0-E297462320DD}" dt="2023-11-24T08:36:59.079" v="28639"/>
          <ac:spMkLst>
            <pc:docMk/>
            <pc:sldMk cId="398206320" sldId="2147478580"/>
            <ac:spMk id="193" creationId="{631A49AA-EA28-24DE-B4D4-8D97C97EC60F}"/>
          </ac:spMkLst>
        </pc:spChg>
        <pc:spChg chg="add del mod">
          <ac:chgData name="Steiner Andreas 6206 ED" userId="e6377c33-a923-4f14-8587-531c474c7b48" providerId="ADAL" clId="{6ECD27E6-B224-41CD-B4E0-E297462320DD}" dt="2023-11-24T08:37:01.746" v="28794"/>
          <ac:spMkLst>
            <pc:docMk/>
            <pc:sldMk cId="398206320" sldId="2147478580"/>
            <ac:spMk id="194" creationId="{6121C74D-ADDE-E293-1619-6136489865CE}"/>
          </ac:spMkLst>
        </pc:spChg>
        <pc:spChg chg="add del mod">
          <ac:chgData name="Steiner Andreas 6206 ED" userId="e6377c33-a923-4f14-8587-531c474c7b48" providerId="ADAL" clId="{6ECD27E6-B224-41CD-B4E0-E297462320DD}" dt="2023-11-24T08:37:04.535" v="28949"/>
          <ac:spMkLst>
            <pc:docMk/>
            <pc:sldMk cId="398206320" sldId="2147478580"/>
            <ac:spMk id="195" creationId="{E3A8C14C-D3F9-EDE0-A840-A9F44DEE5241}"/>
          </ac:spMkLst>
        </pc:spChg>
        <pc:spChg chg="add del mod">
          <ac:chgData name="Steiner Andreas 6206 ED" userId="e6377c33-a923-4f14-8587-531c474c7b48" providerId="ADAL" clId="{6ECD27E6-B224-41CD-B4E0-E297462320DD}" dt="2023-11-24T08:37:07.384" v="29104"/>
          <ac:spMkLst>
            <pc:docMk/>
            <pc:sldMk cId="398206320" sldId="2147478580"/>
            <ac:spMk id="196" creationId="{2FB5D599-6BA2-30ED-16CF-FB1EB16B1A5E}"/>
          </ac:spMkLst>
        </pc:spChg>
        <pc:spChg chg="add del mod">
          <ac:chgData name="Steiner Andreas 6206 ED" userId="e6377c33-a923-4f14-8587-531c474c7b48" providerId="ADAL" clId="{6ECD27E6-B224-41CD-B4E0-E297462320DD}" dt="2023-11-24T08:37:09.921" v="29259"/>
          <ac:spMkLst>
            <pc:docMk/>
            <pc:sldMk cId="398206320" sldId="2147478580"/>
            <ac:spMk id="197" creationId="{1220B3A8-FAF4-E8BC-F24D-CDBFC3A19660}"/>
          </ac:spMkLst>
        </pc:spChg>
        <pc:spChg chg="add del mod">
          <ac:chgData name="Steiner Andreas 6206 ED" userId="e6377c33-a923-4f14-8587-531c474c7b48" providerId="ADAL" clId="{6ECD27E6-B224-41CD-B4E0-E297462320DD}" dt="2023-11-24T08:37:12.666" v="29414"/>
          <ac:spMkLst>
            <pc:docMk/>
            <pc:sldMk cId="398206320" sldId="2147478580"/>
            <ac:spMk id="198" creationId="{ECA490CF-FBB4-F45D-996A-6D7C04E50AAC}"/>
          </ac:spMkLst>
        </pc:spChg>
        <pc:spChg chg="add del mod">
          <ac:chgData name="Steiner Andreas 6206 ED" userId="e6377c33-a923-4f14-8587-531c474c7b48" providerId="ADAL" clId="{6ECD27E6-B224-41CD-B4E0-E297462320DD}" dt="2023-11-24T08:37:16.022" v="29569"/>
          <ac:spMkLst>
            <pc:docMk/>
            <pc:sldMk cId="398206320" sldId="2147478580"/>
            <ac:spMk id="199" creationId="{9C5BC4B8-38C8-01C2-81E5-B108C1383FDD}"/>
          </ac:spMkLst>
        </pc:spChg>
        <pc:spChg chg="add del mod">
          <ac:chgData name="Steiner Andreas 6206 ED" userId="e6377c33-a923-4f14-8587-531c474c7b48" providerId="ADAL" clId="{6ECD27E6-B224-41CD-B4E0-E297462320DD}" dt="2023-11-24T08:37:18.728" v="29724"/>
          <ac:spMkLst>
            <pc:docMk/>
            <pc:sldMk cId="398206320" sldId="2147478580"/>
            <ac:spMk id="200" creationId="{DBD25410-C957-234A-C1DB-AEBB4A83C67F}"/>
          </ac:spMkLst>
        </pc:spChg>
        <pc:spChg chg="add del mod">
          <ac:chgData name="Steiner Andreas 6206 ED" userId="e6377c33-a923-4f14-8587-531c474c7b48" providerId="ADAL" clId="{6ECD27E6-B224-41CD-B4E0-E297462320DD}" dt="2023-11-24T08:37:21.236" v="29879"/>
          <ac:spMkLst>
            <pc:docMk/>
            <pc:sldMk cId="398206320" sldId="2147478580"/>
            <ac:spMk id="201" creationId="{B77627E7-F2AC-E58C-4FDC-FE9BFC61E269}"/>
          </ac:spMkLst>
        </pc:spChg>
        <pc:spChg chg="add del mod">
          <ac:chgData name="Steiner Andreas 6206 ED" userId="e6377c33-a923-4f14-8587-531c474c7b48" providerId="ADAL" clId="{6ECD27E6-B224-41CD-B4E0-E297462320DD}" dt="2023-11-24T08:37:24.074" v="30034"/>
          <ac:spMkLst>
            <pc:docMk/>
            <pc:sldMk cId="398206320" sldId="2147478580"/>
            <ac:spMk id="202" creationId="{B9743261-D9CA-8DCB-912F-5E32CE3F700C}"/>
          </ac:spMkLst>
        </pc:spChg>
        <pc:spChg chg="add del mod">
          <ac:chgData name="Steiner Andreas 6206 ED" userId="e6377c33-a923-4f14-8587-531c474c7b48" providerId="ADAL" clId="{6ECD27E6-B224-41CD-B4E0-E297462320DD}" dt="2023-11-24T08:37:26.611" v="30189"/>
          <ac:spMkLst>
            <pc:docMk/>
            <pc:sldMk cId="398206320" sldId="2147478580"/>
            <ac:spMk id="203" creationId="{A701027F-E6AB-E2FD-5A0B-78B70F087366}"/>
          </ac:spMkLst>
        </pc:spChg>
        <pc:spChg chg="add del mod">
          <ac:chgData name="Steiner Andreas 6206 ED" userId="e6377c33-a923-4f14-8587-531c474c7b48" providerId="ADAL" clId="{6ECD27E6-B224-41CD-B4E0-E297462320DD}" dt="2023-11-24T08:37:29.853" v="30344"/>
          <ac:spMkLst>
            <pc:docMk/>
            <pc:sldMk cId="398206320" sldId="2147478580"/>
            <ac:spMk id="204" creationId="{6702474E-0C5F-2C03-987E-D3A9C4BD2E5D}"/>
          </ac:spMkLst>
        </pc:spChg>
        <pc:spChg chg="add del mod">
          <ac:chgData name="Steiner Andreas 6206 ED" userId="e6377c33-a923-4f14-8587-531c474c7b48" providerId="ADAL" clId="{6ECD27E6-B224-41CD-B4E0-E297462320DD}" dt="2023-11-24T08:37:32.789" v="30499"/>
          <ac:spMkLst>
            <pc:docMk/>
            <pc:sldMk cId="398206320" sldId="2147478580"/>
            <ac:spMk id="205" creationId="{ED115FF1-B082-3E3D-899D-BF6E897CD9C8}"/>
          </ac:spMkLst>
        </pc:spChg>
        <pc:spChg chg="add del mod">
          <ac:chgData name="Steiner Andreas 6206 ED" userId="e6377c33-a923-4f14-8587-531c474c7b48" providerId="ADAL" clId="{6ECD27E6-B224-41CD-B4E0-E297462320DD}" dt="2023-11-24T08:37:35.387" v="30654"/>
          <ac:spMkLst>
            <pc:docMk/>
            <pc:sldMk cId="398206320" sldId="2147478580"/>
            <ac:spMk id="206" creationId="{2F805B16-D196-15E2-D715-758531DCF74A}"/>
          </ac:spMkLst>
        </pc:spChg>
        <pc:spChg chg="add del mod">
          <ac:chgData name="Steiner Andreas 6206 ED" userId="e6377c33-a923-4f14-8587-531c474c7b48" providerId="ADAL" clId="{6ECD27E6-B224-41CD-B4E0-E297462320DD}" dt="2023-11-24T08:37:38.028" v="30809"/>
          <ac:spMkLst>
            <pc:docMk/>
            <pc:sldMk cId="398206320" sldId="2147478580"/>
            <ac:spMk id="207" creationId="{FE49AFEF-50E4-76C3-2322-9A4B01833D0C}"/>
          </ac:spMkLst>
        </pc:spChg>
        <pc:spChg chg="add del mod">
          <ac:chgData name="Steiner Andreas 6206 ED" userId="e6377c33-a923-4f14-8587-531c474c7b48" providerId="ADAL" clId="{6ECD27E6-B224-41CD-B4E0-E297462320DD}" dt="2023-11-24T08:37:41.931" v="30964"/>
          <ac:spMkLst>
            <pc:docMk/>
            <pc:sldMk cId="398206320" sldId="2147478580"/>
            <ac:spMk id="208" creationId="{EDE6AD31-BD9B-4028-14C8-0984F1C1DD52}"/>
          </ac:spMkLst>
        </pc:spChg>
        <pc:spChg chg="add del mod">
          <ac:chgData name="Steiner Andreas 6206 ED" userId="e6377c33-a923-4f14-8587-531c474c7b48" providerId="ADAL" clId="{6ECD27E6-B224-41CD-B4E0-E297462320DD}" dt="2023-11-24T08:37:45.014" v="31119"/>
          <ac:spMkLst>
            <pc:docMk/>
            <pc:sldMk cId="398206320" sldId="2147478580"/>
            <ac:spMk id="209" creationId="{4A517B11-BC31-1F37-E7BD-44325FE0DF36}"/>
          </ac:spMkLst>
        </pc:spChg>
        <pc:spChg chg="add del mod">
          <ac:chgData name="Steiner Andreas 6206 ED" userId="e6377c33-a923-4f14-8587-531c474c7b48" providerId="ADAL" clId="{6ECD27E6-B224-41CD-B4E0-E297462320DD}" dt="2023-11-24T08:37:47.758" v="31274"/>
          <ac:spMkLst>
            <pc:docMk/>
            <pc:sldMk cId="398206320" sldId="2147478580"/>
            <ac:spMk id="210" creationId="{0AC84BE9-C589-1F95-3933-BA82B1B9BAC4}"/>
          </ac:spMkLst>
        </pc:spChg>
        <pc:spChg chg="add del mod">
          <ac:chgData name="Steiner Andreas 6206 ED" userId="e6377c33-a923-4f14-8587-531c474c7b48" providerId="ADAL" clId="{6ECD27E6-B224-41CD-B4E0-E297462320DD}" dt="2023-11-24T08:37:50.531" v="31429"/>
          <ac:spMkLst>
            <pc:docMk/>
            <pc:sldMk cId="398206320" sldId="2147478580"/>
            <ac:spMk id="211" creationId="{37115A29-7A08-9640-F039-508B3E7C5DCA}"/>
          </ac:spMkLst>
        </pc:spChg>
        <pc:spChg chg="add del mod">
          <ac:chgData name="Steiner Andreas 6206 ED" userId="e6377c33-a923-4f14-8587-531c474c7b48" providerId="ADAL" clId="{6ECD27E6-B224-41CD-B4E0-E297462320DD}" dt="2023-11-24T08:37:53.127" v="31584"/>
          <ac:spMkLst>
            <pc:docMk/>
            <pc:sldMk cId="398206320" sldId="2147478580"/>
            <ac:spMk id="212" creationId="{B25FFDD6-D79D-F54B-E048-C4EA762DC77D}"/>
          </ac:spMkLst>
        </pc:spChg>
        <pc:spChg chg="add del mod">
          <ac:chgData name="Steiner Andreas 6206 ED" userId="e6377c33-a923-4f14-8587-531c474c7b48" providerId="ADAL" clId="{6ECD27E6-B224-41CD-B4E0-E297462320DD}" dt="2023-11-24T08:37:57.232" v="31739"/>
          <ac:spMkLst>
            <pc:docMk/>
            <pc:sldMk cId="398206320" sldId="2147478580"/>
            <ac:spMk id="213" creationId="{5DC9C107-FE15-33C1-9C48-0D28A79D9B03}"/>
          </ac:spMkLst>
        </pc:spChg>
        <pc:spChg chg="add del mod">
          <ac:chgData name="Steiner Andreas 6206 ED" userId="e6377c33-a923-4f14-8587-531c474c7b48" providerId="ADAL" clId="{6ECD27E6-B224-41CD-B4E0-E297462320DD}" dt="2023-11-24T08:38:00.026" v="31894"/>
          <ac:spMkLst>
            <pc:docMk/>
            <pc:sldMk cId="398206320" sldId="2147478580"/>
            <ac:spMk id="214" creationId="{15F05D23-1818-77CC-3560-84EB4CDF5D9B}"/>
          </ac:spMkLst>
        </pc:spChg>
        <pc:spChg chg="add del mod">
          <ac:chgData name="Steiner Andreas 6206 ED" userId="e6377c33-a923-4f14-8587-531c474c7b48" providerId="ADAL" clId="{6ECD27E6-B224-41CD-B4E0-E297462320DD}" dt="2023-11-24T08:38:02.978" v="32049"/>
          <ac:spMkLst>
            <pc:docMk/>
            <pc:sldMk cId="398206320" sldId="2147478580"/>
            <ac:spMk id="215" creationId="{79B6723E-53B6-CCDE-5984-EF44D83DBFAC}"/>
          </ac:spMkLst>
        </pc:spChg>
        <pc:spChg chg="add del mod">
          <ac:chgData name="Steiner Andreas 6206 ED" userId="e6377c33-a923-4f14-8587-531c474c7b48" providerId="ADAL" clId="{6ECD27E6-B224-41CD-B4E0-E297462320DD}" dt="2023-11-24T08:38:05.872" v="32204"/>
          <ac:spMkLst>
            <pc:docMk/>
            <pc:sldMk cId="398206320" sldId="2147478580"/>
            <ac:spMk id="216" creationId="{C56A7858-4FBB-83F3-5B9B-0329F3CE562F}"/>
          </ac:spMkLst>
        </pc:spChg>
        <pc:spChg chg="add del mod">
          <ac:chgData name="Steiner Andreas 6206 ED" userId="e6377c33-a923-4f14-8587-531c474c7b48" providerId="ADAL" clId="{6ECD27E6-B224-41CD-B4E0-E297462320DD}" dt="2023-11-24T08:38:09.034" v="32359"/>
          <ac:spMkLst>
            <pc:docMk/>
            <pc:sldMk cId="398206320" sldId="2147478580"/>
            <ac:spMk id="217" creationId="{8CA3B53E-BECC-0587-32B2-BFFA3D221868}"/>
          </ac:spMkLst>
        </pc:spChg>
        <pc:spChg chg="add del mod">
          <ac:chgData name="Steiner Andreas 6206 ED" userId="e6377c33-a923-4f14-8587-531c474c7b48" providerId="ADAL" clId="{6ECD27E6-B224-41CD-B4E0-E297462320DD}" dt="2023-11-24T08:38:11.749" v="32514"/>
          <ac:spMkLst>
            <pc:docMk/>
            <pc:sldMk cId="398206320" sldId="2147478580"/>
            <ac:spMk id="218" creationId="{5E8A9B60-AA52-8799-E000-40019D56B098}"/>
          </ac:spMkLst>
        </pc:spChg>
        <pc:spChg chg="add del mod">
          <ac:chgData name="Steiner Andreas 6206 ED" userId="e6377c33-a923-4f14-8587-531c474c7b48" providerId="ADAL" clId="{6ECD27E6-B224-41CD-B4E0-E297462320DD}" dt="2023-11-24T08:38:14.397" v="32669"/>
          <ac:spMkLst>
            <pc:docMk/>
            <pc:sldMk cId="398206320" sldId="2147478580"/>
            <ac:spMk id="219" creationId="{56DA7E65-D4BE-B7D6-012E-777F4430678B}"/>
          </ac:spMkLst>
        </pc:spChg>
        <pc:spChg chg="add del mod">
          <ac:chgData name="Steiner Andreas 6206 ED" userId="e6377c33-a923-4f14-8587-531c474c7b48" providerId="ADAL" clId="{6ECD27E6-B224-41CD-B4E0-E297462320DD}" dt="2023-11-24T08:38:17.084" v="32824"/>
          <ac:spMkLst>
            <pc:docMk/>
            <pc:sldMk cId="398206320" sldId="2147478580"/>
            <ac:spMk id="220" creationId="{1E712FD5-BFF3-F7FD-B77D-84E6A6090D77}"/>
          </ac:spMkLst>
        </pc:spChg>
        <pc:spChg chg="add del mod">
          <ac:chgData name="Steiner Andreas 6206 ED" userId="e6377c33-a923-4f14-8587-531c474c7b48" providerId="ADAL" clId="{6ECD27E6-B224-41CD-B4E0-E297462320DD}" dt="2023-11-24T08:38:20.105" v="32979"/>
          <ac:spMkLst>
            <pc:docMk/>
            <pc:sldMk cId="398206320" sldId="2147478580"/>
            <ac:spMk id="221" creationId="{16306610-9DF9-99F6-4E4A-E995A4AC8722}"/>
          </ac:spMkLst>
        </pc:spChg>
        <pc:spChg chg="add del mod">
          <ac:chgData name="Steiner Andreas 6206 ED" userId="e6377c33-a923-4f14-8587-531c474c7b48" providerId="ADAL" clId="{6ECD27E6-B224-41CD-B4E0-E297462320DD}" dt="2023-11-24T08:38:22.954" v="33134"/>
          <ac:spMkLst>
            <pc:docMk/>
            <pc:sldMk cId="398206320" sldId="2147478580"/>
            <ac:spMk id="222" creationId="{3BBBD634-39C9-3F49-C9BF-FD2308BAFA0B}"/>
          </ac:spMkLst>
        </pc:spChg>
        <pc:spChg chg="add del mod">
          <ac:chgData name="Steiner Andreas 6206 ED" userId="e6377c33-a923-4f14-8587-531c474c7b48" providerId="ADAL" clId="{6ECD27E6-B224-41CD-B4E0-E297462320DD}" dt="2023-11-24T08:38:25.712" v="33289"/>
          <ac:spMkLst>
            <pc:docMk/>
            <pc:sldMk cId="398206320" sldId="2147478580"/>
            <ac:spMk id="223" creationId="{742DF5A3-9F83-C6A8-0303-33F3E08820C5}"/>
          </ac:spMkLst>
        </pc:spChg>
        <pc:spChg chg="add del mod">
          <ac:chgData name="Steiner Andreas 6206 ED" userId="e6377c33-a923-4f14-8587-531c474c7b48" providerId="ADAL" clId="{6ECD27E6-B224-41CD-B4E0-E297462320DD}" dt="2023-11-24T08:38:29.340" v="33444"/>
          <ac:spMkLst>
            <pc:docMk/>
            <pc:sldMk cId="398206320" sldId="2147478580"/>
            <ac:spMk id="224" creationId="{5F116DF7-0464-F515-19AA-8C6C898ED4B4}"/>
          </ac:spMkLst>
        </pc:spChg>
        <pc:spChg chg="add del mod">
          <ac:chgData name="Steiner Andreas 6206 ED" userId="e6377c33-a923-4f14-8587-531c474c7b48" providerId="ADAL" clId="{6ECD27E6-B224-41CD-B4E0-E297462320DD}" dt="2023-11-24T08:38:32.486" v="33599"/>
          <ac:spMkLst>
            <pc:docMk/>
            <pc:sldMk cId="398206320" sldId="2147478580"/>
            <ac:spMk id="225" creationId="{889133A4-B363-DF01-0BF3-5B0253CE13B6}"/>
          </ac:spMkLst>
        </pc:spChg>
        <pc:spChg chg="add del mod">
          <ac:chgData name="Steiner Andreas 6206 ED" userId="e6377c33-a923-4f14-8587-531c474c7b48" providerId="ADAL" clId="{6ECD27E6-B224-41CD-B4E0-E297462320DD}" dt="2023-11-24T08:38:35.147" v="33754"/>
          <ac:spMkLst>
            <pc:docMk/>
            <pc:sldMk cId="398206320" sldId="2147478580"/>
            <ac:spMk id="226" creationId="{2E00F6B2-233F-BD11-F195-57B0A0A2FF5D}"/>
          </ac:spMkLst>
        </pc:spChg>
        <pc:spChg chg="add del mod">
          <ac:chgData name="Steiner Andreas 6206 ED" userId="e6377c33-a923-4f14-8587-531c474c7b48" providerId="ADAL" clId="{6ECD27E6-B224-41CD-B4E0-E297462320DD}" dt="2023-11-24T08:38:37.808" v="33909"/>
          <ac:spMkLst>
            <pc:docMk/>
            <pc:sldMk cId="398206320" sldId="2147478580"/>
            <ac:spMk id="227" creationId="{8886C623-64E7-E1B1-CF62-CBB00A1F3D3C}"/>
          </ac:spMkLst>
        </pc:spChg>
        <pc:spChg chg="add del mod">
          <ac:chgData name="Steiner Andreas 6206 ED" userId="e6377c33-a923-4f14-8587-531c474c7b48" providerId="ADAL" clId="{6ECD27E6-B224-41CD-B4E0-E297462320DD}" dt="2023-11-24T08:38:40.359" v="34064"/>
          <ac:spMkLst>
            <pc:docMk/>
            <pc:sldMk cId="398206320" sldId="2147478580"/>
            <ac:spMk id="228" creationId="{73BF64E6-65A6-D8BB-E6DB-91B2953775DE}"/>
          </ac:spMkLst>
        </pc:spChg>
        <pc:spChg chg="add del mod">
          <ac:chgData name="Steiner Andreas 6206 ED" userId="e6377c33-a923-4f14-8587-531c474c7b48" providerId="ADAL" clId="{6ECD27E6-B224-41CD-B4E0-E297462320DD}" dt="2023-11-24T08:38:42.824" v="34219"/>
          <ac:spMkLst>
            <pc:docMk/>
            <pc:sldMk cId="398206320" sldId="2147478580"/>
            <ac:spMk id="229" creationId="{96E3A228-2239-CF11-6E99-9906B0727D87}"/>
          </ac:spMkLst>
        </pc:spChg>
        <pc:spChg chg="add del mod">
          <ac:chgData name="Steiner Andreas 6206 ED" userId="e6377c33-a923-4f14-8587-531c474c7b48" providerId="ADAL" clId="{6ECD27E6-B224-41CD-B4E0-E297462320DD}" dt="2023-11-24T08:38:46.893" v="34374"/>
          <ac:spMkLst>
            <pc:docMk/>
            <pc:sldMk cId="398206320" sldId="2147478580"/>
            <ac:spMk id="230" creationId="{2C52CFC3-4176-D1B0-53B5-6F35D8EC6A3B}"/>
          </ac:spMkLst>
        </pc:spChg>
        <pc:spChg chg="add del mod">
          <ac:chgData name="Steiner Andreas 6206 ED" userId="e6377c33-a923-4f14-8587-531c474c7b48" providerId="ADAL" clId="{6ECD27E6-B224-41CD-B4E0-E297462320DD}" dt="2023-11-24T08:38:49.587" v="34529"/>
          <ac:spMkLst>
            <pc:docMk/>
            <pc:sldMk cId="398206320" sldId="2147478580"/>
            <ac:spMk id="231" creationId="{70C13F10-184D-978D-5A60-EC85CBD90E47}"/>
          </ac:spMkLst>
        </pc:spChg>
        <pc:spChg chg="add del mod">
          <ac:chgData name="Steiner Andreas 6206 ED" userId="e6377c33-a923-4f14-8587-531c474c7b48" providerId="ADAL" clId="{6ECD27E6-B224-41CD-B4E0-E297462320DD}" dt="2023-11-24T08:38:52.385" v="34684"/>
          <ac:spMkLst>
            <pc:docMk/>
            <pc:sldMk cId="398206320" sldId="2147478580"/>
            <ac:spMk id="232" creationId="{389EA353-134E-FFF3-68B0-7348DD5FB57E}"/>
          </ac:spMkLst>
        </pc:spChg>
        <pc:spChg chg="add del mod">
          <ac:chgData name="Steiner Andreas 6206 ED" userId="e6377c33-a923-4f14-8587-531c474c7b48" providerId="ADAL" clId="{6ECD27E6-B224-41CD-B4E0-E297462320DD}" dt="2023-11-24T08:38:55.408" v="34839"/>
          <ac:spMkLst>
            <pc:docMk/>
            <pc:sldMk cId="398206320" sldId="2147478580"/>
            <ac:spMk id="233" creationId="{2475B019-5EAD-B6EA-C00F-8EC52E2B306D}"/>
          </ac:spMkLst>
        </pc:spChg>
        <pc:spChg chg="add del mod">
          <ac:chgData name="Steiner Andreas 6206 ED" userId="e6377c33-a923-4f14-8587-531c474c7b48" providerId="ADAL" clId="{6ECD27E6-B224-41CD-B4E0-E297462320DD}" dt="2023-11-24T08:38:58.591" v="34994"/>
          <ac:spMkLst>
            <pc:docMk/>
            <pc:sldMk cId="398206320" sldId="2147478580"/>
            <ac:spMk id="234" creationId="{1739D05B-0197-253A-F75C-E091ADC3235D}"/>
          </ac:spMkLst>
        </pc:spChg>
        <pc:spChg chg="add del mod">
          <ac:chgData name="Steiner Andreas 6206 ED" userId="e6377c33-a923-4f14-8587-531c474c7b48" providerId="ADAL" clId="{6ECD27E6-B224-41CD-B4E0-E297462320DD}" dt="2023-11-24T08:39:02.047" v="35149"/>
          <ac:spMkLst>
            <pc:docMk/>
            <pc:sldMk cId="398206320" sldId="2147478580"/>
            <ac:spMk id="235" creationId="{6988AC7D-612D-E359-D193-82AB7014C248}"/>
          </ac:spMkLst>
        </pc:spChg>
        <pc:spChg chg="add del mod">
          <ac:chgData name="Steiner Andreas 6206 ED" userId="e6377c33-a923-4f14-8587-531c474c7b48" providerId="ADAL" clId="{6ECD27E6-B224-41CD-B4E0-E297462320DD}" dt="2023-11-24T08:39:05.208" v="35304"/>
          <ac:spMkLst>
            <pc:docMk/>
            <pc:sldMk cId="398206320" sldId="2147478580"/>
            <ac:spMk id="236" creationId="{9C078FEC-8621-1896-358E-59D3C8BFCED0}"/>
          </ac:spMkLst>
        </pc:spChg>
        <pc:spChg chg="add del mod">
          <ac:chgData name="Steiner Andreas 6206 ED" userId="e6377c33-a923-4f14-8587-531c474c7b48" providerId="ADAL" clId="{6ECD27E6-B224-41CD-B4E0-E297462320DD}" dt="2023-11-24T08:39:08.060" v="35459"/>
          <ac:spMkLst>
            <pc:docMk/>
            <pc:sldMk cId="398206320" sldId="2147478580"/>
            <ac:spMk id="237" creationId="{724CD643-2DBD-C8BD-67EB-A22E0ABC598E}"/>
          </ac:spMkLst>
        </pc:spChg>
        <pc:spChg chg="add del mod">
          <ac:chgData name="Steiner Andreas 6206 ED" userId="e6377c33-a923-4f14-8587-531c474c7b48" providerId="ADAL" clId="{6ECD27E6-B224-41CD-B4E0-E297462320DD}" dt="2023-11-24T08:39:12.754" v="35614"/>
          <ac:spMkLst>
            <pc:docMk/>
            <pc:sldMk cId="398206320" sldId="2147478580"/>
            <ac:spMk id="238" creationId="{F14CBAC6-AA75-6203-47C4-B7A518687915}"/>
          </ac:spMkLst>
        </pc:spChg>
        <pc:spChg chg="add del mod">
          <ac:chgData name="Steiner Andreas 6206 ED" userId="e6377c33-a923-4f14-8587-531c474c7b48" providerId="ADAL" clId="{6ECD27E6-B224-41CD-B4E0-E297462320DD}" dt="2023-11-24T08:39:15.412" v="35769"/>
          <ac:spMkLst>
            <pc:docMk/>
            <pc:sldMk cId="398206320" sldId="2147478580"/>
            <ac:spMk id="239" creationId="{363D621F-3333-B52C-DEBD-9F8FD9DC6333}"/>
          </ac:spMkLst>
        </pc:spChg>
        <pc:spChg chg="add del mod">
          <ac:chgData name="Steiner Andreas 6206 ED" userId="e6377c33-a923-4f14-8587-531c474c7b48" providerId="ADAL" clId="{6ECD27E6-B224-41CD-B4E0-E297462320DD}" dt="2023-11-24T08:39:18.076" v="35924"/>
          <ac:spMkLst>
            <pc:docMk/>
            <pc:sldMk cId="398206320" sldId="2147478580"/>
            <ac:spMk id="240" creationId="{76F0F5E7-292B-E328-B5DB-CAB579A3A478}"/>
          </ac:spMkLst>
        </pc:spChg>
        <pc:spChg chg="add del mod">
          <ac:chgData name="Steiner Andreas 6206 ED" userId="e6377c33-a923-4f14-8587-531c474c7b48" providerId="ADAL" clId="{6ECD27E6-B224-41CD-B4E0-E297462320DD}" dt="2023-11-24T08:39:20.678" v="36079"/>
          <ac:spMkLst>
            <pc:docMk/>
            <pc:sldMk cId="398206320" sldId="2147478580"/>
            <ac:spMk id="241" creationId="{81292423-D1A2-93FE-FCB1-9E2EC8DE6C12}"/>
          </ac:spMkLst>
        </pc:spChg>
        <pc:spChg chg="add del mod">
          <ac:chgData name="Steiner Andreas 6206 ED" userId="e6377c33-a923-4f14-8587-531c474c7b48" providerId="ADAL" clId="{6ECD27E6-B224-41CD-B4E0-E297462320DD}" dt="2023-11-24T08:39:23.873" v="36234"/>
          <ac:spMkLst>
            <pc:docMk/>
            <pc:sldMk cId="398206320" sldId="2147478580"/>
            <ac:spMk id="242" creationId="{E644AF98-3079-B4D2-A46C-6185CFFD261A}"/>
          </ac:spMkLst>
        </pc:spChg>
        <pc:spChg chg="add del mod">
          <ac:chgData name="Steiner Andreas 6206 ED" userId="e6377c33-a923-4f14-8587-531c474c7b48" providerId="ADAL" clId="{6ECD27E6-B224-41CD-B4E0-E297462320DD}" dt="2023-11-24T08:39:26.579" v="36389"/>
          <ac:spMkLst>
            <pc:docMk/>
            <pc:sldMk cId="398206320" sldId="2147478580"/>
            <ac:spMk id="243" creationId="{8B87EA32-2489-215C-E0A6-D139F4B186FF}"/>
          </ac:spMkLst>
        </pc:spChg>
        <pc:spChg chg="add del mod">
          <ac:chgData name="Steiner Andreas 6206 ED" userId="e6377c33-a923-4f14-8587-531c474c7b48" providerId="ADAL" clId="{6ECD27E6-B224-41CD-B4E0-E297462320DD}" dt="2023-11-24T08:39:29.340" v="36544"/>
          <ac:spMkLst>
            <pc:docMk/>
            <pc:sldMk cId="398206320" sldId="2147478580"/>
            <ac:spMk id="244" creationId="{2FC1D69B-0E8C-3737-AB1C-1736EA2F23C0}"/>
          </ac:spMkLst>
        </pc:spChg>
        <pc:spChg chg="add del mod">
          <ac:chgData name="Steiner Andreas 6206 ED" userId="e6377c33-a923-4f14-8587-531c474c7b48" providerId="ADAL" clId="{6ECD27E6-B224-41CD-B4E0-E297462320DD}" dt="2023-11-24T08:39:31.919" v="36699"/>
          <ac:spMkLst>
            <pc:docMk/>
            <pc:sldMk cId="398206320" sldId="2147478580"/>
            <ac:spMk id="245" creationId="{B25F38E4-DF1F-EF28-E4BC-F1260D6D2D6C}"/>
          </ac:spMkLst>
        </pc:spChg>
        <pc:spChg chg="add del mod">
          <ac:chgData name="Steiner Andreas 6206 ED" userId="e6377c33-a923-4f14-8587-531c474c7b48" providerId="ADAL" clId="{6ECD27E6-B224-41CD-B4E0-E297462320DD}" dt="2023-11-24T08:39:34.416" v="36854"/>
          <ac:spMkLst>
            <pc:docMk/>
            <pc:sldMk cId="398206320" sldId="2147478580"/>
            <ac:spMk id="246" creationId="{B4B5731F-0247-C4FE-1724-691CEA5F1C8F}"/>
          </ac:spMkLst>
        </pc:spChg>
        <pc:spChg chg="add del mod">
          <ac:chgData name="Steiner Andreas 6206 ED" userId="e6377c33-a923-4f14-8587-531c474c7b48" providerId="ADAL" clId="{6ECD27E6-B224-41CD-B4E0-E297462320DD}" dt="2023-11-24T08:39:37.339" v="37009"/>
          <ac:spMkLst>
            <pc:docMk/>
            <pc:sldMk cId="398206320" sldId="2147478580"/>
            <ac:spMk id="247" creationId="{08189559-57CD-BB53-27F4-9E54EC96F1B9}"/>
          </ac:spMkLst>
        </pc:spChg>
        <pc:spChg chg="add del mod">
          <ac:chgData name="Steiner Andreas 6206 ED" userId="e6377c33-a923-4f14-8587-531c474c7b48" providerId="ADAL" clId="{6ECD27E6-B224-41CD-B4E0-E297462320DD}" dt="2023-11-24T08:39:39.938" v="37164"/>
          <ac:spMkLst>
            <pc:docMk/>
            <pc:sldMk cId="398206320" sldId="2147478580"/>
            <ac:spMk id="248" creationId="{5EA6D958-1952-7C35-3001-E8AA7C90E4EB}"/>
          </ac:spMkLst>
        </pc:spChg>
        <pc:spChg chg="add del mod">
          <ac:chgData name="Steiner Andreas 6206 ED" userId="e6377c33-a923-4f14-8587-531c474c7b48" providerId="ADAL" clId="{6ECD27E6-B224-41CD-B4E0-E297462320DD}" dt="2023-11-24T08:39:42.435" v="37319"/>
          <ac:spMkLst>
            <pc:docMk/>
            <pc:sldMk cId="398206320" sldId="2147478580"/>
            <ac:spMk id="249" creationId="{C2587D40-F09E-2E03-138B-8A93CB9FFEE5}"/>
          </ac:spMkLst>
        </pc:spChg>
        <pc:spChg chg="add del mod">
          <ac:chgData name="Steiner Andreas 6206 ED" userId="e6377c33-a923-4f14-8587-531c474c7b48" providerId="ADAL" clId="{6ECD27E6-B224-41CD-B4E0-E297462320DD}" dt="2023-11-24T08:39:44.972" v="37474"/>
          <ac:spMkLst>
            <pc:docMk/>
            <pc:sldMk cId="398206320" sldId="2147478580"/>
            <ac:spMk id="250" creationId="{23FF0E93-81CB-CF3A-F3D2-D82E4BA1A45E}"/>
          </ac:spMkLst>
        </pc:spChg>
        <pc:spChg chg="add del mod">
          <ac:chgData name="Steiner Andreas 6206 ED" userId="e6377c33-a923-4f14-8587-531c474c7b48" providerId="ADAL" clId="{6ECD27E6-B224-41CD-B4E0-E297462320DD}" dt="2023-11-24T08:39:47.945" v="37629"/>
          <ac:spMkLst>
            <pc:docMk/>
            <pc:sldMk cId="398206320" sldId="2147478580"/>
            <ac:spMk id="251" creationId="{5A84B553-6005-B47C-EFA7-E4E62EF49366}"/>
          </ac:spMkLst>
        </pc:spChg>
        <pc:spChg chg="add del mod">
          <ac:chgData name="Steiner Andreas 6206 ED" userId="e6377c33-a923-4f14-8587-531c474c7b48" providerId="ADAL" clId="{6ECD27E6-B224-41CD-B4E0-E297462320DD}" dt="2023-11-24T08:39:50.702" v="37784"/>
          <ac:spMkLst>
            <pc:docMk/>
            <pc:sldMk cId="398206320" sldId="2147478580"/>
            <ac:spMk id="252" creationId="{A2A2ACAA-D5BF-45F4-6A33-6DD3F4E3C274}"/>
          </ac:spMkLst>
        </pc:spChg>
        <pc:spChg chg="add del mod">
          <ac:chgData name="Steiner Andreas 6206 ED" userId="e6377c33-a923-4f14-8587-531c474c7b48" providerId="ADAL" clId="{6ECD27E6-B224-41CD-B4E0-E297462320DD}" dt="2023-11-24T08:39:53.354" v="37939"/>
          <ac:spMkLst>
            <pc:docMk/>
            <pc:sldMk cId="398206320" sldId="2147478580"/>
            <ac:spMk id="253" creationId="{F1FA4318-03D9-A34A-53F7-00D4B1DDF7C0}"/>
          </ac:spMkLst>
        </pc:spChg>
        <pc:spChg chg="add del mod">
          <ac:chgData name="Steiner Andreas 6206 ED" userId="e6377c33-a923-4f14-8587-531c474c7b48" providerId="ADAL" clId="{6ECD27E6-B224-41CD-B4E0-E297462320DD}" dt="2023-11-24T08:39:56.280" v="38094"/>
          <ac:spMkLst>
            <pc:docMk/>
            <pc:sldMk cId="398206320" sldId="2147478580"/>
            <ac:spMk id="254" creationId="{C3E0971C-7ADA-A619-3AB0-163C377E3FE4}"/>
          </ac:spMkLst>
        </pc:spChg>
        <pc:spChg chg="add del mod">
          <ac:chgData name="Steiner Andreas 6206 ED" userId="e6377c33-a923-4f14-8587-531c474c7b48" providerId="ADAL" clId="{6ECD27E6-B224-41CD-B4E0-E297462320DD}" dt="2023-11-24T08:39:59.435" v="38249"/>
          <ac:spMkLst>
            <pc:docMk/>
            <pc:sldMk cId="398206320" sldId="2147478580"/>
            <ac:spMk id="255" creationId="{4173C07C-80BB-A384-6781-0D234BA2652F}"/>
          </ac:spMkLst>
        </pc:spChg>
        <pc:spChg chg="add del mod">
          <ac:chgData name="Steiner Andreas 6206 ED" userId="e6377c33-a923-4f14-8587-531c474c7b48" providerId="ADAL" clId="{6ECD27E6-B224-41CD-B4E0-E297462320DD}" dt="2023-11-24T08:40:02.760" v="38404"/>
          <ac:spMkLst>
            <pc:docMk/>
            <pc:sldMk cId="398206320" sldId="2147478580"/>
            <ac:spMk id="256" creationId="{3358E053-8D54-0283-9DF0-57EB93469EA9}"/>
          </ac:spMkLst>
        </pc:spChg>
        <pc:spChg chg="add del mod">
          <ac:chgData name="Steiner Andreas 6206 ED" userId="e6377c33-a923-4f14-8587-531c474c7b48" providerId="ADAL" clId="{6ECD27E6-B224-41CD-B4E0-E297462320DD}" dt="2023-11-24T08:40:05.514" v="38559"/>
          <ac:spMkLst>
            <pc:docMk/>
            <pc:sldMk cId="398206320" sldId="2147478580"/>
            <ac:spMk id="257" creationId="{78A2EBC4-C03B-D972-D57D-AEEFDCA722A1}"/>
          </ac:spMkLst>
        </pc:spChg>
        <pc:spChg chg="add del mod">
          <ac:chgData name="Steiner Andreas 6206 ED" userId="e6377c33-a923-4f14-8587-531c474c7b48" providerId="ADAL" clId="{6ECD27E6-B224-41CD-B4E0-E297462320DD}" dt="2023-11-24T08:40:08.062" v="38714"/>
          <ac:spMkLst>
            <pc:docMk/>
            <pc:sldMk cId="398206320" sldId="2147478580"/>
            <ac:spMk id="258" creationId="{3704978A-4A93-BA90-AC98-3DE22E47248D}"/>
          </ac:spMkLst>
        </pc:spChg>
        <pc:spChg chg="add del mod">
          <ac:chgData name="Steiner Andreas 6206 ED" userId="e6377c33-a923-4f14-8587-531c474c7b48" providerId="ADAL" clId="{6ECD27E6-B224-41CD-B4E0-E297462320DD}" dt="2023-11-24T08:40:10.765" v="38869"/>
          <ac:spMkLst>
            <pc:docMk/>
            <pc:sldMk cId="398206320" sldId="2147478580"/>
            <ac:spMk id="259" creationId="{C89C4C79-6ADF-2B3F-041A-FE536AE08B67}"/>
          </ac:spMkLst>
        </pc:spChg>
        <pc:spChg chg="add del mod">
          <ac:chgData name="Steiner Andreas 6206 ED" userId="e6377c33-a923-4f14-8587-531c474c7b48" providerId="ADAL" clId="{6ECD27E6-B224-41CD-B4E0-E297462320DD}" dt="2023-11-24T08:40:13.938" v="39024"/>
          <ac:spMkLst>
            <pc:docMk/>
            <pc:sldMk cId="398206320" sldId="2147478580"/>
            <ac:spMk id="260" creationId="{9FD890C2-FB84-3280-5C5A-A833DDF6B3EC}"/>
          </ac:spMkLst>
        </pc:spChg>
        <pc:spChg chg="add del mod">
          <ac:chgData name="Steiner Andreas 6206 ED" userId="e6377c33-a923-4f14-8587-531c474c7b48" providerId="ADAL" clId="{6ECD27E6-B224-41CD-B4E0-E297462320DD}" dt="2023-11-24T08:40:16.629" v="39179"/>
          <ac:spMkLst>
            <pc:docMk/>
            <pc:sldMk cId="398206320" sldId="2147478580"/>
            <ac:spMk id="261" creationId="{D52D9BA7-F285-8DC9-6380-728587B182A0}"/>
          </ac:spMkLst>
        </pc:spChg>
        <pc:spChg chg="add del mod">
          <ac:chgData name="Steiner Andreas 6206 ED" userId="e6377c33-a923-4f14-8587-531c474c7b48" providerId="ADAL" clId="{6ECD27E6-B224-41CD-B4E0-E297462320DD}" dt="2023-11-24T08:40:19.140" v="39334"/>
          <ac:spMkLst>
            <pc:docMk/>
            <pc:sldMk cId="398206320" sldId="2147478580"/>
            <ac:spMk id="262" creationId="{657D29DD-3629-96AF-C060-D66B69F745FA}"/>
          </ac:spMkLst>
        </pc:spChg>
        <pc:spChg chg="add del mod">
          <ac:chgData name="Steiner Andreas 6206 ED" userId="e6377c33-a923-4f14-8587-531c474c7b48" providerId="ADAL" clId="{6ECD27E6-B224-41CD-B4E0-E297462320DD}" dt="2023-11-24T08:40:21.564" v="39489"/>
          <ac:spMkLst>
            <pc:docMk/>
            <pc:sldMk cId="398206320" sldId="2147478580"/>
            <ac:spMk id="263" creationId="{3283D7EF-80AE-23A7-A0A6-00A1C3C98625}"/>
          </ac:spMkLst>
        </pc:spChg>
        <pc:spChg chg="add del mod">
          <ac:chgData name="Steiner Andreas 6206 ED" userId="e6377c33-a923-4f14-8587-531c474c7b48" providerId="ADAL" clId="{6ECD27E6-B224-41CD-B4E0-E297462320DD}" dt="2023-11-24T08:40:24.293" v="39644"/>
          <ac:spMkLst>
            <pc:docMk/>
            <pc:sldMk cId="398206320" sldId="2147478580"/>
            <ac:spMk id="264" creationId="{04244949-A114-402E-5F7B-78734ECC257C}"/>
          </ac:spMkLst>
        </pc:spChg>
        <pc:spChg chg="add del mod">
          <ac:chgData name="Steiner Andreas 6206 ED" userId="e6377c33-a923-4f14-8587-531c474c7b48" providerId="ADAL" clId="{6ECD27E6-B224-41CD-B4E0-E297462320DD}" dt="2023-11-24T08:40:27.182" v="39799"/>
          <ac:spMkLst>
            <pc:docMk/>
            <pc:sldMk cId="398206320" sldId="2147478580"/>
            <ac:spMk id="265" creationId="{6623DCC8-8524-9D0C-90E6-CE0D16D19B12}"/>
          </ac:spMkLst>
        </pc:spChg>
        <pc:spChg chg="add del mod">
          <ac:chgData name="Steiner Andreas 6206 ED" userId="e6377c33-a923-4f14-8587-531c474c7b48" providerId="ADAL" clId="{6ECD27E6-B224-41CD-B4E0-E297462320DD}" dt="2023-11-24T08:40:29.797" v="39954"/>
          <ac:spMkLst>
            <pc:docMk/>
            <pc:sldMk cId="398206320" sldId="2147478580"/>
            <ac:spMk id="266" creationId="{EF7DA465-7A08-9A72-CFCF-6C2DDE65DE92}"/>
          </ac:spMkLst>
        </pc:spChg>
        <pc:spChg chg="add del mod">
          <ac:chgData name="Steiner Andreas 6206 ED" userId="e6377c33-a923-4f14-8587-531c474c7b48" providerId="ADAL" clId="{6ECD27E6-B224-41CD-B4E0-E297462320DD}" dt="2023-11-24T08:40:32.387" v="40109"/>
          <ac:spMkLst>
            <pc:docMk/>
            <pc:sldMk cId="398206320" sldId="2147478580"/>
            <ac:spMk id="267" creationId="{AE35BB87-D4B8-133C-025C-91BD65447C87}"/>
          </ac:spMkLst>
        </pc:spChg>
        <pc:spChg chg="add del mod">
          <ac:chgData name="Steiner Andreas 6206 ED" userId="e6377c33-a923-4f14-8587-531c474c7b48" providerId="ADAL" clId="{6ECD27E6-B224-41CD-B4E0-E297462320DD}" dt="2023-11-24T08:40:34.951" v="40264"/>
          <ac:spMkLst>
            <pc:docMk/>
            <pc:sldMk cId="398206320" sldId="2147478580"/>
            <ac:spMk id="268" creationId="{1914FFFB-D38E-F1FA-75F5-49EFEA52844B}"/>
          </ac:spMkLst>
        </pc:spChg>
        <pc:spChg chg="add del mod">
          <ac:chgData name="Steiner Andreas 6206 ED" userId="e6377c33-a923-4f14-8587-531c474c7b48" providerId="ADAL" clId="{6ECD27E6-B224-41CD-B4E0-E297462320DD}" dt="2023-11-24T08:40:38.381" v="40419"/>
          <ac:spMkLst>
            <pc:docMk/>
            <pc:sldMk cId="398206320" sldId="2147478580"/>
            <ac:spMk id="269" creationId="{D9187AB3-CDBB-619D-736A-8A8AD8A409BE}"/>
          </ac:spMkLst>
        </pc:spChg>
        <pc:spChg chg="add del mod">
          <ac:chgData name="Steiner Andreas 6206 ED" userId="e6377c33-a923-4f14-8587-531c474c7b48" providerId="ADAL" clId="{6ECD27E6-B224-41CD-B4E0-E297462320DD}" dt="2023-11-24T08:40:41.099" v="40574"/>
          <ac:spMkLst>
            <pc:docMk/>
            <pc:sldMk cId="398206320" sldId="2147478580"/>
            <ac:spMk id="270" creationId="{3B2C3442-7A76-FF0F-5CBB-98E01E64ED09}"/>
          </ac:spMkLst>
        </pc:spChg>
        <pc:spChg chg="add del mod">
          <ac:chgData name="Steiner Andreas 6206 ED" userId="e6377c33-a923-4f14-8587-531c474c7b48" providerId="ADAL" clId="{6ECD27E6-B224-41CD-B4E0-E297462320DD}" dt="2023-11-24T08:40:43.856" v="40729"/>
          <ac:spMkLst>
            <pc:docMk/>
            <pc:sldMk cId="398206320" sldId="2147478580"/>
            <ac:spMk id="271" creationId="{15A8795D-8799-0C63-E2B8-D2736E8A6AFC}"/>
          </ac:spMkLst>
        </pc:spChg>
        <pc:spChg chg="add del mod">
          <ac:chgData name="Steiner Andreas 6206 ED" userId="e6377c33-a923-4f14-8587-531c474c7b48" providerId="ADAL" clId="{6ECD27E6-B224-41CD-B4E0-E297462320DD}" dt="2023-11-24T08:40:46.301" v="40884"/>
          <ac:spMkLst>
            <pc:docMk/>
            <pc:sldMk cId="398206320" sldId="2147478580"/>
            <ac:spMk id="272" creationId="{F36C2571-D284-EC7D-F264-5DA24BD9132B}"/>
          </ac:spMkLst>
        </pc:spChg>
        <pc:spChg chg="add del mod">
          <ac:chgData name="Steiner Andreas 6206 ED" userId="e6377c33-a923-4f14-8587-531c474c7b48" providerId="ADAL" clId="{6ECD27E6-B224-41CD-B4E0-E297462320DD}" dt="2023-11-24T08:40:49.133" v="41039"/>
          <ac:spMkLst>
            <pc:docMk/>
            <pc:sldMk cId="398206320" sldId="2147478580"/>
            <ac:spMk id="273" creationId="{C4903A55-FC40-2614-130D-742F5A08C0E7}"/>
          </ac:spMkLst>
        </pc:spChg>
        <pc:spChg chg="add del mod">
          <ac:chgData name="Steiner Andreas 6206 ED" userId="e6377c33-a923-4f14-8587-531c474c7b48" providerId="ADAL" clId="{6ECD27E6-B224-41CD-B4E0-E297462320DD}" dt="2023-11-24T08:40:51.961" v="41194"/>
          <ac:spMkLst>
            <pc:docMk/>
            <pc:sldMk cId="398206320" sldId="2147478580"/>
            <ac:spMk id="274" creationId="{3BF7BAE6-5894-5E7E-79C6-BCA89296EF5E}"/>
          </ac:spMkLst>
        </pc:spChg>
        <pc:spChg chg="add del mod">
          <ac:chgData name="Steiner Andreas 6206 ED" userId="e6377c33-a923-4f14-8587-531c474c7b48" providerId="ADAL" clId="{6ECD27E6-B224-41CD-B4E0-E297462320DD}" dt="2023-11-24T08:40:54.497" v="41349"/>
          <ac:spMkLst>
            <pc:docMk/>
            <pc:sldMk cId="398206320" sldId="2147478580"/>
            <ac:spMk id="275" creationId="{0EBAD7DE-C823-F323-B1D9-043F11CAA246}"/>
          </ac:spMkLst>
        </pc:spChg>
        <pc:spChg chg="add del mod">
          <ac:chgData name="Steiner Andreas 6206 ED" userId="e6377c33-a923-4f14-8587-531c474c7b48" providerId="ADAL" clId="{6ECD27E6-B224-41CD-B4E0-E297462320DD}" dt="2023-11-24T08:40:56.937" v="41504"/>
          <ac:spMkLst>
            <pc:docMk/>
            <pc:sldMk cId="398206320" sldId="2147478580"/>
            <ac:spMk id="276" creationId="{2DCC70A3-C732-A2CD-6CDB-AEE0E3BCA1B0}"/>
          </ac:spMkLst>
        </pc:spChg>
        <pc:spChg chg="add del mod">
          <ac:chgData name="Steiner Andreas 6206 ED" userId="e6377c33-a923-4f14-8587-531c474c7b48" providerId="ADAL" clId="{6ECD27E6-B224-41CD-B4E0-E297462320DD}" dt="2023-11-24T08:40:59.644" v="41659"/>
          <ac:spMkLst>
            <pc:docMk/>
            <pc:sldMk cId="398206320" sldId="2147478580"/>
            <ac:spMk id="277" creationId="{8D9EEA3C-7B66-6515-5647-3D09A4476C2B}"/>
          </ac:spMkLst>
        </pc:spChg>
        <pc:spChg chg="add del mod">
          <ac:chgData name="Steiner Andreas 6206 ED" userId="e6377c33-a923-4f14-8587-531c474c7b48" providerId="ADAL" clId="{6ECD27E6-B224-41CD-B4E0-E297462320DD}" dt="2023-11-24T08:41:02.653" v="41814"/>
          <ac:spMkLst>
            <pc:docMk/>
            <pc:sldMk cId="398206320" sldId="2147478580"/>
            <ac:spMk id="278" creationId="{FDE51150-A523-1838-D185-B662C737FC37}"/>
          </ac:spMkLst>
        </pc:spChg>
        <pc:spChg chg="add del mod">
          <ac:chgData name="Steiner Andreas 6206 ED" userId="e6377c33-a923-4f14-8587-531c474c7b48" providerId="ADAL" clId="{6ECD27E6-B224-41CD-B4E0-E297462320DD}" dt="2023-11-24T08:41:05.373" v="41969"/>
          <ac:spMkLst>
            <pc:docMk/>
            <pc:sldMk cId="398206320" sldId="2147478580"/>
            <ac:spMk id="279" creationId="{B9B03FAC-72CA-D1D2-7A1B-F7B8A3D41809}"/>
          </ac:spMkLst>
        </pc:spChg>
        <pc:spChg chg="add del mod">
          <ac:chgData name="Steiner Andreas 6206 ED" userId="e6377c33-a923-4f14-8587-531c474c7b48" providerId="ADAL" clId="{6ECD27E6-B224-41CD-B4E0-E297462320DD}" dt="2023-11-24T08:41:08.816" v="42124"/>
          <ac:spMkLst>
            <pc:docMk/>
            <pc:sldMk cId="398206320" sldId="2147478580"/>
            <ac:spMk id="280" creationId="{62103215-AD34-6675-21F2-1DC1562C4EC9}"/>
          </ac:spMkLst>
        </pc:spChg>
        <pc:spChg chg="add del mod">
          <ac:chgData name="Steiner Andreas 6206 ED" userId="e6377c33-a923-4f14-8587-531c474c7b48" providerId="ADAL" clId="{6ECD27E6-B224-41CD-B4E0-E297462320DD}" dt="2023-11-24T08:41:12.587" v="42279"/>
          <ac:spMkLst>
            <pc:docMk/>
            <pc:sldMk cId="398206320" sldId="2147478580"/>
            <ac:spMk id="281" creationId="{294BDAC0-240D-AECA-8057-2DC2733B0F65}"/>
          </ac:spMkLst>
        </pc:spChg>
        <pc:spChg chg="add del mod">
          <ac:chgData name="Steiner Andreas 6206 ED" userId="e6377c33-a923-4f14-8587-531c474c7b48" providerId="ADAL" clId="{6ECD27E6-B224-41CD-B4E0-E297462320DD}" dt="2023-11-24T08:41:15.338" v="42434"/>
          <ac:spMkLst>
            <pc:docMk/>
            <pc:sldMk cId="398206320" sldId="2147478580"/>
            <ac:spMk id="282" creationId="{F086AC39-3DD3-86AA-E9E5-7ED157D65BBF}"/>
          </ac:spMkLst>
        </pc:spChg>
        <pc:spChg chg="add del mod">
          <ac:chgData name="Steiner Andreas 6206 ED" userId="e6377c33-a923-4f14-8587-531c474c7b48" providerId="ADAL" clId="{6ECD27E6-B224-41CD-B4E0-E297462320DD}" dt="2023-11-24T08:41:17.499" v="42589"/>
          <ac:spMkLst>
            <pc:docMk/>
            <pc:sldMk cId="398206320" sldId="2147478580"/>
            <ac:spMk id="283" creationId="{39062BAA-B921-0B39-22E7-AE9DE6571C3A}"/>
          </ac:spMkLst>
        </pc:spChg>
        <pc:spChg chg="add del mod">
          <ac:chgData name="Steiner Andreas 6206 ED" userId="e6377c33-a923-4f14-8587-531c474c7b48" providerId="ADAL" clId="{6ECD27E6-B224-41CD-B4E0-E297462320DD}" dt="2023-11-24T08:41:19.887" v="42744"/>
          <ac:spMkLst>
            <pc:docMk/>
            <pc:sldMk cId="398206320" sldId="2147478580"/>
            <ac:spMk id="284" creationId="{B984978A-ECAF-C0EB-5A1A-FFEEA7D03710}"/>
          </ac:spMkLst>
        </pc:spChg>
        <pc:spChg chg="add del mod">
          <ac:chgData name="Steiner Andreas 6206 ED" userId="e6377c33-a923-4f14-8587-531c474c7b48" providerId="ADAL" clId="{6ECD27E6-B224-41CD-B4E0-E297462320DD}" dt="2023-11-24T08:41:22.217" v="42899"/>
          <ac:spMkLst>
            <pc:docMk/>
            <pc:sldMk cId="398206320" sldId="2147478580"/>
            <ac:spMk id="285" creationId="{EEFA9546-9F0F-6AE3-AA77-3463524BC2B7}"/>
          </ac:spMkLst>
        </pc:spChg>
        <pc:spChg chg="add del mod">
          <ac:chgData name="Steiner Andreas 6206 ED" userId="e6377c33-a923-4f14-8587-531c474c7b48" providerId="ADAL" clId="{6ECD27E6-B224-41CD-B4E0-E297462320DD}" dt="2023-11-24T08:41:24.355" v="43054"/>
          <ac:spMkLst>
            <pc:docMk/>
            <pc:sldMk cId="398206320" sldId="2147478580"/>
            <ac:spMk id="286" creationId="{B206BEA8-6880-F7DC-9C0F-3398D8CD12F7}"/>
          </ac:spMkLst>
        </pc:spChg>
        <pc:spChg chg="add del mod">
          <ac:chgData name="Steiner Andreas 6206 ED" userId="e6377c33-a923-4f14-8587-531c474c7b48" providerId="ADAL" clId="{6ECD27E6-B224-41CD-B4E0-E297462320DD}" dt="2023-11-24T08:41:26.894" v="43209"/>
          <ac:spMkLst>
            <pc:docMk/>
            <pc:sldMk cId="398206320" sldId="2147478580"/>
            <ac:spMk id="287" creationId="{89895882-09EA-2591-39B2-DA1ED0374248}"/>
          </ac:spMkLst>
        </pc:spChg>
        <pc:spChg chg="add del mod">
          <ac:chgData name="Steiner Andreas 6206 ED" userId="e6377c33-a923-4f14-8587-531c474c7b48" providerId="ADAL" clId="{6ECD27E6-B224-41CD-B4E0-E297462320DD}" dt="2023-11-24T08:41:29.002" v="43364"/>
          <ac:spMkLst>
            <pc:docMk/>
            <pc:sldMk cId="398206320" sldId="2147478580"/>
            <ac:spMk id="288" creationId="{7466C838-0E63-D8F4-DC3C-3C00705E0975}"/>
          </ac:spMkLst>
        </pc:spChg>
        <pc:spChg chg="add del mod">
          <ac:chgData name="Steiner Andreas 6206 ED" userId="e6377c33-a923-4f14-8587-531c474c7b48" providerId="ADAL" clId="{6ECD27E6-B224-41CD-B4E0-E297462320DD}" dt="2023-11-24T08:41:31.264" v="43519"/>
          <ac:spMkLst>
            <pc:docMk/>
            <pc:sldMk cId="398206320" sldId="2147478580"/>
            <ac:spMk id="289" creationId="{3B7E61B9-B7EB-7A04-3953-F7D5BA2CAB36}"/>
          </ac:spMkLst>
        </pc:spChg>
        <pc:spChg chg="add del mod">
          <ac:chgData name="Steiner Andreas 6206 ED" userId="e6377c33-a923-4f14-8587-531c474c7b48" providerId="ADAL" clId="{6ECD27E6-B224-41CD-B4E0-E297462320DD}" dt="2023-11-24T08:41:35.661" v="43674"/>
          <ac:spMkLst>
            <pc:docMk/>
            <pc:sldMk cId="398206320" sldId="2147478580"/>
            <ac:spMk id="290" creationId="{20976C7E-2D24-772F-32CF-04C342D86305}"/>
          </ac:spMkLst>
        </pc:spChg>
        <pc:spChg chg="add del mod">
          <ac:chgData name="Steiner Andreas 6206 ED" userId="e6377c33-a923-4f14-8587-531c474c7b48" providerId="ADAL" clId="{6ECD27E6-B224-41CD-B4E0-E297462320DD}" dt="2023-11-24T08:41:38.630" v="43829"/>
          <ac:spMkLst>
            <pc:docMk/>
            <pc:sldMk cId="398206320" sldId="2147478580"/>
            <ac:spMk id="291" creationId="{8DBA7A23-412D-D0F7-E37C-3FE0F06E4ABE}"/>
          </ac:spMkLst>
        </pc:spChg>
        <pc:spChg chg="add del mod">
          <ac:chgData name="Steiner Andreas 6206 ED" userId="e6377c33-a923-4f14-8587-531c474c7b48" providerId="ADAL" clId="{6ECD27E6-B224-41CD-B4E0-E297462320DD}" dt="2023-11-24T08:41:40.858" v="43984"/>
          <ac:spMkLst>
            <pc:docMk/>
            <pc:sldMk cId="398206320" sldId="2147478580"/>
            <ac:spMk id="292" creationId="{B82D282D-BCB8-1A82-ED63-E767868A82BB}"/>
          </ac:spMkLst>
        </pc:spChg>
        <pc:spChg chg="add del mod">
          <ac:chgData name="Steiner Andreas 6206 ED" userId="e6377c33-a923-4f14-8587-531c474c7b48" providerId="ADAL" clId="{6ECD27E6-B224-41CD-B4E0-E297462320DD}" dt="2023-11-24T08:41:43.254" v="44139"/>
          <ac:spMkLst>
            <pc:docMk/>
            <pc:sldMk cId="398206320" sldId="2147478580"/>
            <ac:spMk id="293" creationId="{1C654882-2932-2B30-0C4A-9E7C6CA689A1}"/>
          </ac:spMkLst>
        </pc:spChg>
        <pc:spChg chg="add del mod">
          <ac:chgData name="Steiner Andreas 6206 ED" userId="e6377c33-a923-4f14-8587-531c474c7b48" providerId="ADAL" clId="{6ECD27E6-B224-41CD-B4E0-E297462320DD}" dt="2023-11-24T08:41:45.162" v="44294"/>
          <ac:spMkLst>
            <pc:docMk/>
            <pc:sldMk cId="398206320" sldId="2147478580"/>
            <ac:spMk id="294" creationId="{5B110B13-BCB0-5CA4-EF01-15068C19FB2B}"/>
          </ac:spMkLst>
        </pc:spChg>
        <pc:spChg chg="add del mod">
          <ac:chgData name="Steiner Andreas 6206 ED" userId="e6377c33-a923-4f14-8587-531c474c7b48" providerId="ADAL" clId="{6ECD27E6-B224-41CD-B4E0-E297462320DD}" dt="2023-11-24T08:41:47.083" v="44449"/>
          <ac:spMkLst>
            <pc:docMk/>
            <pc:sldMk cId="398206320" sldId="2147478580"/>
            <ac:spMk id="295" creationId="{658536D0-02E5-0305-066E-E576005B7897}"/>
          </ac:spMkLst>
        </pc:spChg>
        <pc:spChg chg="add del mod">
          <ac:chgData name="Steiner Andreas 6206 ED" userId="e6377c33-a923-4f14-8587-531c474c7b48" providerId="ADAL" clId="{6ECD27E6-B224-41CD-B4E0-E297462320DD}" dt="2023-11-24T08:41:49.113" v="44604"/>
          <ac:spMkLst>
            <pc:docMk/>
            <pc:sldMk cId="398206320" sldId="2147478580"/>
            <ac:spMk id="296" creationId="{13479A50-56AA-ACD4-ABA7-9D93C6EAE804}"/>
          </ac:spMkLst>
        </pc:spChg>
        <pc:spChg chg="add del mod">
          <ac:chgData name="Steiner Andreas 6206 ED" userId="e6377c33-a923-4f14-8587-531c474c7b48" providerId="ADAL" clId="{6ECD27E6-B224-41CD-B4E0-E297462320DD}" dt="2023-11-24T08:41:50.974" v="44759"/>
          <ac:spMkLst>
            <pc:docMk/>
            <pc:sldMk cId="398206320" sldId="2147478580"/>
            <ac:spMk id="297" creationId="{0E136213-67C7-99EA-F957-D929BE62359E}"/>
          </ac:spMkLst>
        </pc:spChg>
        <pc:spChg chg="add del mod">
          <ac:chgData name="Steiner Andreas 6206 ED" userId="e6377c33-a923-4f14-8587-531c474c7b48" providerId="ADAL" clId="{6ECD27E6-B224-41CD-B4E0-E297462320DD}" dt="2023-11-24T08:41:53.315" v="44914"/>
          <ac:spMkLst>
            <pc:docMk/>
            <pc:sldMk cId="398206320" sldId="2147478580"/>
            <ac:spMk id="298" creationId="{F1682610-903D-AEC7-CA39-5CD1301B5B24}"/>
          </ac:spMkLst>
        </pc:spChg>
        <pc:spChg chg="add del mod">
          <ac:chgData name="Steiner Andreas 6206 ED" userId="e6377c33-a923-4f14-8587-531c474c7b48" providerId="ADAL" clId="{6ECD27E6-B224-41CD-B4E0-E297462320DD}" dt="2023-11-24T08:41:55.241" v="45069"/>
          <ac:spMkLst>
            <pc:docMk/>
            <pc:sldMk cId="398206320" sldId="2147478580"/>
            <ac:spMk id="299" creationId="{5DCDABCE-E665-A62A-FDCB-594A3BDAB8DF}"/>
          </ac:spMkLst>
        </pc:spChg>
        <pc:spChg chg="add del mod">
          <ac:chgData name="Steiner Andreas 6206 ED" userId="e6377c33-a923-4f14-8587-531c474c7b48" providerId="ADAL" clId="{6ECD27E6-B224-41CD-B4E0-E297462320DD}" dt="2023-11-24T08:41:57.511" v="45224"/>
          <ac:spMkLst>
            <pc:docMk/>
            <pc:sldMk cId="398206320" sldId="2147478580"/>
            <ac:spMk id="300" creationId="{421BF2CA-8668-EF91-6AF2-1F1089F1A0E7}"/>
          </ac:spMkLst>
        </pc:spChg>
        <pc:spChg chg="add del mod">
          <ac:chgData name="Steiner Andreas 6206 ED" userId="e6377c33-a923-4f14-8587-531c474c7b48" providerId="ADAL" clId="{6ECD27E6-B224-41CD-B4E0-E297462320DD}" dt="2023-11-24T08:41:59.709" v="45379"/>
          <ac:spMkLst>
            <pc:docMk/>
            <pc:sldMk cId="398206320" sldId="2147478580"/>
            <ac:spMk id="301" creationId="{DFA10EBD-81B2-B79D-B821-B7FB60A52058}"/>
          </ac:spMkLst>
        </pc:spChg>
        <pc:spChg chg="add del mod">
          <ac:chgData name="Steiner Andreas 6206 ED" userId="e6377c33-a923-4f14-8587-531c474c7b48" providerId="ADAL" clId="{6ECD27E6-B224-41CD-B4E0-E297462320DD}" dt="2023-11-24T08:42:01.897" v="45534"/>
          <ac:spMkLst>
            <pc:docMk/>
            <pc:sldMk cId="398206320" sldId="2147478580"/>
            <ac:spMk id="302" creationId="{1EBF8EC8-3D93-0281-4CA3-2409BC0ED3F4}"/>
          </ac:spMkLst>
        </pc:spChg>
        <pc:spChg chg="add del mod">
          <ac:chgData name="Steiner Andreas 6206 ED" userId="e6377c33-a923-4f14-8587-531c474c7b48" providerId="ADAL" clId="{6ECD27E6-B224-41CD-B4E0-E297462320DD}" dt="2023-11-24T08:42:03.913" v="45689"/>
          <ac:spMkLst>
            <pc:docMk/>
            <pc:sldMk cId="398206320" sldId="2147478580"/>
            <ac:spMk id="303" creationId="{66D83200-6750-E55D-03B0-6EBE72DFADA8}"/>
          </ac:spMkLst>
        </pc:spChg>
        <pc:spChg chg="add del mod">
          <ac:chgData name="Steiner Andreas 6206 ED" userId="e6377c33-a923-4f14-8587-531c474c7b48" providerId="ADAL" clId="{6ECD27E6-B224-41CD-B4E0-E297462320DD}" dt="2023-11-24T08:42:05.864" v="45844"/>
          <ac:spMkLst>
            <pc:docMk/>
            <pc:sldMk cId="398206320" sldId="2147478580"/>
            <ac:spMk id="304" creationId="{5C2A74F0-CEE9-03CC-1578-5ECF3913A2F3}"/>
          </ac:spMkLst>
        </pc:spChg>
        <pc:spChg chg="add del mod">
          <ac:chgData name="Steiner Andreas 6206 ED" userId="e6377c33-a923-4f14-8587-531c474c7b48" providerId="ADAL" clId="{6ECD27E6-B224-41CD-B4E0-E297462320DD}" dt="2023-11-24T08:42:07.763" v="45999"/>
          <ac:spMkLst>
            <pc:docMk/>
            <pc:sldMk cId="398206320" sldId="2147478580"/>
            <ac:spMk id="305" creationId="{90748CFF-3DBF-D5B4-35E8-099036DBF4DE}"/>
          </ac:spMkLst>
        </pc:spChg>
        <pc:spChg chg="add del mod">
          <ac:chgData name="Steiner Andreas 6206 ED" userId="e6377c33-a923-4f14-8587-531c474c7b48" providerId="ADAL" clId="{6ECD27E6-B224-41CD-B4E0-E297462320DD}" dt="2023-11-24T08:42:09.651" v="46154"/>
          <ac:spMkLst>
            <pc:docMk/>
            <pc:sldMk cId="398206320" sldId="2147478580"/>
            <ac:spMk id="306" creationId="{4DCA9304-1B6A-AAC2-F425-F35145287880}"/>
          </ac:spMkLst>
        </pc:spChg>
        <pc:spChg chg="add del mod">
          <ac:chgData name="Steiner Andreas 6206 ED" userId="e6377c33-a923-4f14-8587-531c474c7b48" providerId="ADAL" clId="{6ECD27E6-B224-41CD-B4E0-E297462320DD}" dt="2023-11-24T08:42:12.025" v="46309"/>
          <ac:spMkLst>
            <pc:docMk/>
            <pc:sldMk cId="398206320" sldId="2147478580"/>
            <ac:spMk id="307" creationId="{9C657383-73A2-9565-4467-82323919D7F1}"/>
          </ac:spMkLst>
        </pc:spChg>
        <pc:spChg chg="add del mod">
          <ac:chgData name="Steiner Andreas 6206 ED" userId="e6377c33-a923-4f14-8587-531c474c7b48" providerId="ADAL" clId="{6ECD27E6-B224-41CD-B4E0-E297462320DD}" dt="2023-11-24T08:42:14.553" v="46464"/>
          <ac:spMkLst>
            <pc:docMk/>
            <pc:sldMk cId="398206320" sldId="2147478580"/>
            <ac:spMk id="308" creationId="{DCFAFFDD-A9FC-6036-2B63-427F63468378}"/>
          </ac:spMkLst>
        </pc:spChg>
        <pc:spChg chg="add del mod">
          <ac:chgData name="Steiner Andreas 6206 ED" userId="e6377c33-a923-4f14-8587-531c474c7b48" providerId="ADAL" clId="{6ECD27E6-B224-41CD-B4E0-E297462320DD}" dt="2023-11-24T08:42:16.932" v="46619"/>
          <ac:spMkLst>
            <pc:docMk/>
            <pc:sldMk cId="398206320" sldId="2147478580"/>
            <ac:spMk id="309" creationId="{C832A78D-3FA2-0DF8-9876-D73698B460EA}"/>
          </ac:spMkLst>
        </pc:spChg>
        <pc:spChg chg="add del mod">
          <ac:chgData name="Steiner Andreas 6206 ED" userId="e6377c33-a923-4f14-8587-531c474c7b48" providerId="ADAL" clId="{6ECD27E6-B224-41CD-B4E0-E297462320DD}" dt="2023-11-24T08:42:19.065" v="46774"/>
          <ac:spMkLst>
            <pc:docMk/>
            <pc:sldMk cId="398206320" sldId="2147478580"/>
            <ac:spMk id="310" creationId="{3D0A3106-4AA1-B9A2-7A14-15C589FEDB85}"/>
          </ac:spMkLst>
        </pc:spChg>
        <pc:spChg chg="add del mod">
          <ac:chgData name="Steiner Andreas 6206 ED" userId="e6377c33-a923-4f14-8587-531c474c7b48" providerId="ADAL" clId="{6ECD27E6-B224-41CD-B4E0-E297462320DD}" dt="2023-11-24T08:42:21.396" v="46929"/>
          <ac:spMkLst>
            <pc:docMk/>
            <pc:sldMk cId="398206320" sldId="2147478580"/>
            <ac:spMk id="311" creationId="{6B0EFE4D-BB45-B5D7-7450-8AB9756FBFE4}"/>
          </ac:spMkLst>
        </pc:spChg>
        <pc:spChg chg="add del mod">
          <ac:chgData name="Steiner Andreas 6206 ED" userId="e6377c33-a923-4f14-8587-531c474c7b48" providerId="ADAL" clId="{6ECD27E6-B224-41CD-B4E0-E297462320DD}" dt="2023-11-24T08:42:24.018" v="47084"/>
          <ac:spMkLst>
            <pc:docMk/>
            <pc:sldMk cId="398206320" sldId="2147478580"/>
            <ac:spMk id="312" creationId="{90FDAB15-4884-686B-DA83-F7A12E1BF3C0}"/>
          </ac:spMkLst>
        </pc:spChg>
        <pc:spChg chg="add del mod">
          <ac:chgData name="Steiner Andreas 6206 ED" userId="e6377c33-a923-4f14-8587-531c474c7b48" providerId="ADAL" clId="{6ECD27E6-B224-41CD-B4E0-E297462320DD}" dt="2023-11-24T08:42:25.992" v="47239"/>
          <ac:spMkLst>
            <pc:docMk/>
            <pc:sldMk cId="398206320" sldId="2147478580"/>
            <ac:spMk id="313" creationId="{F7389A27-8627-284A-215E-B2A3D874E44D}"/>
          </ac:spMkLst>
        </pc:spChg>
        <pc:spChg chg="add del mod">
          <ac:chgData name="Steiner Andreas 6206 ED" userId="e6377c33-a923-4f14-8587-531c474c7b48" providerId="ADAL" clId="{6ECD27E6-B224-41CD-B4E0-E297462320DD}" dt="2023-11-24T08:42:27.893" v="47394"/>
          <ac:spMkLst>
            <pc:docMk/>
            <pc:sldMk cId="398206320" sldId="2147478580"/>
            <ac:spMk id="314" creationId="{149A72F8-C2EB-FBD3-B3B1-F485EEEA2FC9}"/>
          </ac:spMkLst>
        </pc:spChg>
        <pc:spChg chg="add del mod">
          <ac:chgData name="Steiner Andreas 6206 ED" userId="e6377c33-a923-4f14-8587-531c474c7b48" providerId="ADAL" clId="{6ECD27E6-B224-41CD-B4E0-E297462320DD}" dt="2023-11-24T08:42:29.660" v="47549"/>
          <ac:spMkLst>
            <pc:docMk/>
            <pc:sldMk cId="398206320" sldId="2147478580"/>
            <ac:spMk id="315" creationId="{B3A33048-F86C-9AC6-D122-D1356CD459FE}"/>
          </ac:spMkLst>
        </pc:spChg>
        <pc:spChg chg="add del mod">
          <ac:chgData name="Steiner Andreas 6206 ED" userId="e6377c33-a923-4f14-8587-531c474c7b48" providerId="ADAL" clId="{6ECD27E6-B224-41CD-B4E0-E297462320DD}" dt="2023-11-24T08:42:31.556" v="47704"/>
          <ac:spMkLst>
            <pc:docMk/>
            <pc:sldMk cId="398206320" sldId="2147478580"/>
            <ac:spMk id="316" creationId="{4D41B95B-D43E-FBF7-3358-13C35A5B33CF}"/>
          </ac:spMkLst>
        </pc:spChg>
        <pc:spChg chg="add del mod">
          <ac:chgData name="Steiner Andreas 6206 ED" userId="e6377c33-a923-4f14-8587-531c474c7b48" providerId="ADAL" clId="{6ECD27E6-B224-41CD-B4E0-E297462320DD}" dt="2023-11-24T08:42:33.540" v="47859"/>
          <ac:spMkLst>
            <pc:docMk/>
            <pc:sldMk cId="398206320" sldId="2147478580"/>
            <ac:spMk id="317" creationId="{FC5CF3B4-EFBB-9EBD-898F-BFB7F45A2383}"/>
          </ac:spMkLst>
        </pc:spChg>
        <pc:spChg chg="add del mod">
          <ac:chgData name="Steiner Andreas 6206 ED" userId="e6377c33-a923-4f14-8587-531c474c7b48" providerId="ADAL" clId="{6ECD27E6-B224-41CD-B4E0-E297462320DD}" dt="2023-11-24T08:42:35.605" v="48014"/>
          <ac:spMkLst>
            <pc:docMk/>
            <pc:sldMk cId="398206320" sldId="2147478580"/>
            <ac:spMk id="318" creationId="{F8706D0A-5217-BA04-BE0E-D3A2BEF1CAB3}"/>
          </ac:spMkLst>
        </pc:spChg>
        <pc:spChg chg="add del mod">
          <ac:chgData name="Steiner Andreas 6206 ED" userId="e6377c33-a923-4f14-8587-531c474c7b48" providerId="ADAL" clId="{6ECD27E6-B224-41CD-B4E0-E297462320DD}" dt="2023-11-24T08:42:37.483" v="48169"/>
          <ac:spMkLst>
            <pc:docMk/>
            <pc:sldMk cId="398206320" sldId="2147478580"/>
            <ac:spMk id="319" creationId="{32C14276-FC14-AFEF-437E-2B487C4593C4}"/>
          </ac:spMkLst>
        </pc:spChg>
        <pc:spChg chg="add del mod">
          <ac:chgData name="Steiner Andreas 6206 ED" userId="e6377c33-a923-4f14-8587-531c474c7b48" providerId="ADAL" clId="{6ECD27E6-B224-41CD-B4E0-E297462320DD}" dt="2023-11-24T08:42:39.346" v="48324"/>
          <ac:spMkLst>
            <pc:docMk/>
            <pc:sldMk cId="398206320" sldId="2147478580"/>
            <ac:spMk id="320" creationId="{FAE104DE-C689-D20C-D5E3-121674F15844}"/>
          </ac:spMkLst>
        </pc:spChg>
        <pc:spChg chg="add del mod">
          <ac:chgData name="Steiner Andreas 6206 ED" userId="e6377c33-a923-4f14-8587-531c474c7b48" providerId="ADAL" clId="{6ECD27E6-B224-41CD-B4E0-E297462320DD}" dt="2023-11-24T08:42:41.473" v="48479"/>
          <ac:spMkLst>
            <pc:docMk/>
            <pc:sldMk cId="398206320" sldId="2147478580"/>
            <ac:spMk id="321" creationId="{FABDB736-221C-8D3A-3D86-15CE38D89B2B}"/>
          </ac:spMkLst>
        </pc:spChg>
        <pc:spChg chg="add del mod">
          <ac:chgData name="Steiner Andreas 6206 ED" userId="e6377c33-a923-4f14-8587-531c474c7b48" providerId="ADAL" clId="{6ECD27E6-B224-41CD-B4E0-E297462320DD}" dt="2023-11-24T08:42:43.581" v="48634"/>
          <ac:spMkLst>
            <pc:docMk/>
            <pc:sldMk cId="398206320" sldId="2147478580"/>
            <ac:spMk id="322" creationId="{3C827F39-035B-3737-7579-553DB98BCEBB}"/>
          </ac:spMkLst>
        </pc:spChg>
        <pc:spChg chg="add del mod">
          <ac:chgData name="Steiner Andreas 6206 ED" userId="e6377c33-a923-4f14-8587-531c474c7b48" providerId="ADAL" clId="{6ECD27E6-B224-41CD-B4E0-E297462320DD}" dt="2023-11-24T08:42:45.618" v="48789"/>
          <ac:spMkLst>
            <pc:docMk/>
            <pc:sldMk cId="398206320" sldId="2147478580"/>
            <ac:spMk id="323" creationId="{83D347CE-FE2D-907B-52E5-C8D12956B003}"/>
          </ac:spMkLst>
        </pc:spChg>
        <pc:spChg chg="add del mod">
          <ac:chgData name="Steiner Andreas 6206 ED" userId="e6377c33-a923-4f14-8587-531c474c7b48" providerId="ADAL" clId="{6ECD27E6-B224-41CD-B4E0-E297462320DD}" dt="2023-11-24T08:42:47.498" v="48944"/>
          <ac:spMkLst>
            <pc:docMk/>
            <pc:sldMk cId="398206320" sldId="2147478580"/>
            <ac:spMk id="324" creationId="{C8CB90CA-F8A0-B7C0-980A-1694021EDA85}"/>
          </ac:spMkLst>
        </pc:spChg>
        <pc:spChg chg="add del mod">
          <ac:chgData name="Steiner Andreas 6206 ED" userId="e6377c33-a923-4f14-8587-531c474c7b48" providerId="ADAL" clId="{6ECD27E6-B224-41CD-B4E0-E297462320DD}" dt="2023-11-24T08:42:49.292" v="49099"/>
          <ac:spMkLst>
            <pc:docMk/>
            <pc:sldMk cId="398206320" sldId="2147478580"/>
            <ac:spMk id="325" creationId="{7B1D4B6E-C56B-0079-3700-C1E610FD81CA}"/>
          </ac:spMkLst>
        </pc:spChg>
        <pc:spChg chg="add del mod">
          <ac:chgData name="Steiner Andreas 6206 ED" userId="e6377c33-a923-4f14-8587-531c474c7b48" providerId="ADAL" clId="{6ECD27E6-B224-41CD-B4E0-E297462320DD}" dt="2023-11-24T08:42:51.169" v="49254"/>
          <ac:spMkLst>
            <pc:docMk/>
            <pc:sldMk cId="398206320" sldId="2147478580"/>
            <ac:spMk id="326" creationId="{4033D9E2-D9E3-D229-83D3-C22E896C18D0}"/>
          </ac:spMkLst>
        </pc:spChg>
        <pc:spChg chg="add del mod">
          <ac:chgData name="Steiner Andreas 6206 ED" userId="e6377c33-a923-4f14-8587-531c474c7b48" providerId="ADAL" clId="{6ECD27E6-B224-41CD-B4E0-E297462320DD}" dt="2023-11-24T08:42:53.283" v="49409"/>
          <ac:spMkLst>
            <pc:docMk/>
            <pc:sldMk cId="398206320" sldId="2147478580"/>
            <ac:spMk id="327" creationId="{FD64D8AA-B24C-2D75-4724-F353FFB2CDD1}"/>
          </ac:spMkLst>
        </pc:spChg>
        <pc:spChg chg="add del mod">
          <ac:chgData name="Steiner Andreas 6206 ED" userId="e6377c33-a923-4f14-8587-531c474c7b48" providerId="ADAL" clId="{6ECD27E6-B224-41CD-B4E0-E297462320DD}" dt="2023-11-24T08:42:55.882" v="49564"/>
          <ac:spMkLst>
            <pc:docMk/>
            <pc:sldMk cId="398206320" sldId="2147478580"/>
            <ac:spMk id="328" creationId="{C0D3665A-DC4C-7942-3953-4B6FA67F16CF}"/>
          </ac:spMkLst>
        </pc:spChg>
        <pc:spChg chg="add del mod">
          <ac:chgData name="Steiner Andreas 6206 ED" userId="e6377c33-a923-4f14-8587-531c474c7b48" providerId="ADAL" clId="{6ECD27E6-B224-41CD-B4E0-E297462320DD}" dt="2023-11-24T08:42:57.975" v="49719"/>
          <ac:spMkLst>
            <pc:docMk/>
            <pc:sldMk cId="398206320" sldId="2147478580"/>
            <ac:spMk id="329" creationId="{1FD53ED2-FA1E-2F9C-A622-50AA8ECEB8DB}"/>
          </ac:spMkLst>
        </pc:spChg>
        <pc:spChg chg="add del mod">
          <ac:chgData name="Steiner Andreas 6206 ED" userId="e6377c33-a923-4f14-8587-531c474c7b48" providerId="ADAL" clId="{6ECD27E6-B224-41CD-B4E0-E297462320DD}" dt="2023-11-24T08:42:59.894" v="49874"/>
          <ac:spMkLst>
            <pc:docMk/>
            <pc:sldMk cId="398206320" sldId="2147478580"/>
            <ac:spMk id="330" creationId="{1EE66997-0608-7F93-9AEF-89A11FC76637}"/>
          </ac:spMkLst>
        </pc:spChg>
        <pc:spChg chg="add del mod">
          <ac:chgData name="Steiner Andreas 6206 ED" userId="e6377c33-a923-4f14-8587-531c474c7b48" providerId="ADAL" clId="{6ECD27E6-B224-41CD-B4E0-E297462320DD}" dt="2023-11-24T08:43:01.893" v="50029"/>
          <ac:spMkLst>
            <pc:docMk/>
            <pc:sldMk cId="398206320" sldId="2147478580"/>
            <ac:spMk id="331" creationId="{BD58ECA1-3F3B-B355-F251-33222E3FA3EE}"/>
          </ac:spMkLst>
        </pc:spChg>
        <pc:spChg chg="add del mod">
          <ac:chgData name="Steiner Andreas 6206 ED" userId="e6377c33-a923-4f14-8587-531c474c7b48" providerId="ADAL" clId="{6ECD27E6-B224-41CD-B4E0-E297462320DD}" dt="2023-11-24T08:43:03.879" v="50184"/>
          <ac:spMkLst>
            <pc:docMk/>
            <pc:sldMk cId="398206320" sldId="2147478580"/>
            <ac:spMk id="332" creationId="{C87E1AD9-0CDE-D7D2-39C4-C3B954A72994}"/>
          </ac:spMkLst>
        </pc:spChg>
        <pc:spChg chg="add del mod">
          <ac:chgData name="Steiner Andreas 6206 ED" userId="e6377c33-a923-4f14-8587-531c474c7b48" providerId="ADAL" clId="{6ECD27E6-B224-41CD-B4E0-E297462320DD}" dt="2023-11-24T08:43:05.764" v="50339"/>
          <ac:spMkLst>
            <pc:docMk/>
            <pc:sldMk cId="398206320" sldId="2147478580"/>
            <ac:spMk id="333" creationId="{D2854354-ED03-0B8A-9274-785B0C74B101}"/>
          </ac:spMkLst>
        </pc:spChg>
        <pc:spChg chg="add del mod">
          <ac:chgData name="Steiner Andreas 6206 ED" userId="e6377c33-a923-4f14-8587-531c474c7b48" providerId="ADAL" clId="{6ECD27E6-B224-41CD-B4E0-E297462320DD}" dt="2023-11-24T08:43:07.981" v="50494"/>
          <ac:spMkLst>
            <pc:docMk/>
            <pc:sldMk cId="398206320" sldId="2147478580"/>
            <ac:spMk id="334" creationId="{C5B1F553-A973-2F70-CB13-6B032B97BE3A}"/>
          </ac:spMkLst>
        </pc:spChg>
        <pc:spChg chg="add del mod">
          <ac:chgData name="Steiner Andreas 6206 ED" userId="e6377c33-a923-4f14-8587-531c474c7b48" providerId="ADAL" clId="{6ECD27E6-B224-41CD-B4E0-E297462320DD}" dt="2023-11-24T08:43:10.027" v="50649"/>
          <ac:spMkLst>
            <pc:docMk/>
            <pc:sldMk cId="398206320" sldId="2147478580"/>
            <ac:spMk id="335" creationId="{2B6CA9FE-4408-F882-3204-7EDF6653B264}"/>
          </ac:spMkLst>
        </pc:spChg>
        <pc:spChg chg="add del mod">
          <ac:chgData name="Steiner Andreas 6206 ED" userId="e6377c33-a923-4f14-8587-531c474c7b48" providerId="ADAL" clId="{6ECD27E6-B224-41CD-B4E0-E297462320DD}" dt="2023-11-24T08:43:11.865" v="50804"/>
          <ac:spMkLst>
            <pc:docMk/>
            <pc:sldMk cId="398206320" sldId="2147478580"/>
            <ac:spMk id="336" creationId="{CDCE2D1E-4D03-E262-D6E0-9F85255FE52D}"/>
          </ac:spMkLst>
        </pc:spChg>
        <pc:spChg chg="add del mod">
          <ac:chgData name="Steiner Andreas 6206 ED" userId="e6377c33-a923-4f14-8587-531c474c7b48" providerId="ADAL" clId="{6ECD27E6-B224-41CD-B4E0-E297462320DD}" dt="2023-11-24T08:43:13.929" v="50959"/>
          <ac:spMkLst>
            <pc:docMk/>
            <pc:sldMk cId="398206320" sldId="2147478580"/>
            <ac:spMk id="337" creationId="{F5F2D5AA-D9E8-915C-27D2-6E059C74192C}"/>
          </ac:spMkLst>
        </pc:spChg>
        <pc:spChg chg="add del mod">
          <ac:chgData name="Steiner Andreas 6206 ED" userId="e6377c33-a923-4f14-8587-531c474c7b48" providerId="ADAL" clId="{6ECD27E6-B224-41CD-B4E0-E297462320DD}" dt="2023-11-24T08:43:15.905" v="51114"/>
          <ac:spMkLst>
            <pc:docMk/>
            <pc:sldMk cId="398206320" sldId="2147478580"/>
            <ac:spMk id="338" creationId="{DC4BBDF1-408E-F9E1-3BBB-5C4C2B48117B}"/>
          </ac:spMkLst>
        </pc:spChg>
        <pc:spChg chg="add del mod">
          <ac:chgData name="Steiner Andreas 6206 ED" userId="e6377c33-a923-4f14-8587-531c474c7b48" providerId="ADAL" clId="{6ECD27E6-B224-41CD-B4E0-E297462320DD}" dt="2023-11-24T08:43:17.976" v="51269"/>
          <ac:spMkLst>
            <pc:docMk/>
            <pc:sldMk cId="398206320" sldId="2147478580"/>
            <ac:spMk id="339" creationId="{818FD8EE-4092-2028-FC7D-2791EE10495A}"/>
          </ac:spMkLst>
        </pc:spChg>
        <pc:spChg chg="add del mod">
          <ac:chgData name="Steiner Andreas 6206 ED" userId="e6377c33-a923-4f14-8587-531c474c7b48" providerId="ADAL" clId="{6ECD27E6-B224-41CD-B4E0-E297462320DD}" dt="2023-11-24T08:43:19.966" v="51424"/>
          <ac:spMkLst>
            <pc:docMk/>
            <pc:sldMk cId="398206320" sldId="2147478580"/>
            <ac:spMk id="340" creationId="{433AA312-C27B-9F27-C274-DEDA953EC870}"/>
          </ac:spMkLst>
        </pc:spChg>
        <pc:spChg chg="add del mod">
          <ac:chgData name="Steiner Andreas 6206 ED" userId="e6377c33-a923-4f14-8587-531c474c7b48" providerId="ADAL" clId="{6ECD27E6-B224-41CD-B4E0-E297462320DD}" dt="2023-11-24T08:43:21.872" v="51579"/>
          <ac:spMkLst>
            <pc:docMk/>
            <pc:sldMk cId="398206320" sldId="2147478580"/>
            <ac:spMk id="341" creationId="{10521F4F-6694-1932-5E99-76D4BD014C43}"/>
          </ac:spMkLst>
        </pc:spChg>
        <pc:spChg chg="add del mod">
          <ac:chgData name="Steiner Andreas 6206 ED" userId="e6377c33-a923-4f14-8587-531c474c7b48" providerId="ADAL" clId="{6ECD27E6-B224-41CD-B4E0-E297462320DD}" dt="2023-11-24T08:43:23.811" v="51734"/>
          <ac:spMkLst>
            <pc:docMk/>
            <pc:sldMk cId="398206320" sldId="2147478580"/>
            <ac:spMk id="342" creationId="{683D293A-AA9E-AB07-B1A1-4DC3B5917FAD}"/>
          </ac:spMkLst>
        </pc:spChg>
        <pc:spChg chg="add del mod">
          <ac:chgData name="Steiner Andreas 6206 ED" userId="e6377c33-a923-4f14-8587-531c474c7b48" providerId="ADAL" clId="{6ECD27E6-B224-41CD-B4E0-E297462320DD}" dt="2023-11-24T08:43:25.699" v="51889"/>
          <ac:spMkLst>
            <pc:docMk/>
            <pc:sldMk cId="398206320" sldId="2147478580"/>
            <ac:spMk id="343" creationId="{84FD903A-6907-AAAE-4587-F056A8F20982}"/>
          </ac:spMkLst>
        </pc:spChg>
        <pc:spChg chg="add del mod">
          <ac:chgData name="Steiner Andreas 6206 ED" userId="e6377c33-a923-4f14-8587-531c474c7b48" providerId="ADAL" clId="{6ECD27E6-B224-41CD-B4E0-E297462320DD}" dt="2023-11-24T08:43:27.532" v="52044"/>
          <ac:spMkLst>
            <pc:docMk/>
            <pc:sldMk cId="398206320" sldId="2147478580"/>
            <ac:spMk id="344" creationId="{7A1A78D9-630C-9322-76A5-8239D703BC4D}"/>
          </ac:spMkLst>
        </pc:spChg>
        <pc:spChg chg="add del mod">
          <ac:chgData name="Steiner Andreas 6206 ED" userId="e6377c33-a923-4f14-8587-531c474c7b48" providerId="ADAL" clId="{6ECD27E6-B224-41CD-B4E0-E297462320DD}" dt="2023-11-24T08:43:29.326" v="52199"/>
          <ac:spMkLst>
            <pc:docMk/>
            <pc:sldMk cId="398206320" sldId="2147478580"/>
            <ac:spMk id="345" creationId="{26B6002C-A6A2-A6FE-AA03-8D6E5D6868B2}"/>
          </ac:spMkLst>
        </pc:spChg>
        <pc:spChg chg="add del mod">
          <ac:chgData name="Steiner Andreas 6206 ED" userId="e6377c33-a923-4f14-8587-531c474c7b48" providerId="ADAL" clId="{6ECD27E6-B224-41CD-B4E0-E297462320DD}" dt="2023-11-24T08:43:32.032" v="52354"/>
          <ac:spMkLst>
            <pc:docMk/>
            <pc:sldMk cId="398206320" sldId="2147478580"/>
            <ac:spMk id="346" creationId="{B2230726-7870-1F3D-E09C-FC628C76F846}"/>
          </ac:spMkLst>
        </pc:spChg>
        <pc:spChg chg="add del mod">
          <ac:chgData name="Steiner Andreas 6206 ED" userId="e6377c33-a923-4f14-8587-531c474c7b48" providerId="ADAL" clId="{6ECD27E6-B224-41CD-B4E0-E297462320DD}" dt="2023-11-24T08:43:34.546" v="52509"/>
          <ac:spMkLst>
            <pc:docMk/>
            <pc:sldMk cId="398206320" sldId="2147478580"/>
            <ac:spMk id="347" creationId="{CF80A018-27FC-2D62-88C0-EE7067B3D70A}"/>
          </ac:spMkLst>
        </pc:spChg>
        <pc:spChg chg="add del mod">
          <ac:chgData name="Steiner Andreas 6206 ED" userId="e6377c33-a923-4f14-8587-531c474c7b48" providerId="ADAL" clId="{6ECD27E6-B224-41CD-B4E0-E297462320DD}" dt="2023-11-24T08:43:36.632" v="52664"/>
          <ac:spMkLst>
            <pc:docMk/>
            <pc:sldMk cId="398206320" sldId="2147478580"/>
            <ac:spMk id="348" creationId="{ED77715C-2781-2B5E-AFB0-AB821A96C309}"/>
          </ac:spMkLst>
        </pc:spChg>
        <pc:spChg chg="add del mod">
          <ac:chgData name="Steiner Andreas 6206 ED" userId="e6377c33-a923-4f14-8587-531c474c7b48" providerId="ADAL" clId="{6ECD27E6-B224-41CD-B4E0-E297462320DD}" dt="2023-11-24T08:43:38.748" v="52819"/>
          <ac:spMkLst>
            <pc:docMk/>
            <pc:sldMk cId="398206320" sldId="2147478580"/>
            <ac:spMk id="349" creationId="{7C8C3E33-D51E-D415-75FD-F492008210C9}"/>
          </ac:spMkLst>
        </pc:spChg>
        <pc:spChg chg="add del mod">
          <ac:chgData name="Steiner Andreas 6206 ED" userId="e6377c33-a923-4f14-8587-531c474c7b48" providerId="ADAL" clId="{6ECD27E6-B224-41CD-B4E0-E297462320DD}" dt="2023-11-24T08:43:40.845" v="52974"/>
          <ac:spMkLst>
            <pc:docMk/>
            <pc:sldMk cId="398206320" sldId="2147478580"/>
            <ac:spMk id="350" creationId="{E660FFA3-E409-6596-EA20-39A578644EF2}"/>
          </ac:spMkLst>
        </pc:spChg>
        <pc:spChg chg="add del mod">
          <ac:chgData name="Steiner Andreas 6206 ED" userId="e6377c33-a923-4f14-8587-531c474c7b48" providerId="ADAL" clId="{6ECD27E6-B224-41CD-B4E0-E297462320DD}" dt="2023-11-24T08:43:42.818" v="53129"/>
          <ac:spMkLst>
            <pc:docMk/>
            <pc:sldMk cId="398206320" sldId="2147478580"/>
            <ac:spMk id="351" creationId="{13B5FF43-F3A5-8008-F47D-9B92E6CE1378}"/>
          </ac:spMkLst>
        </pc:spChg>
        <pc:spChg chg="add del mod">
          <ac:chgData name="Steiner Andreas 6206 ED" userId="e6377c33-a923-4f14-8587-531c474c7b48" providerId="ADAL" clId="{6ECD27E6-B224-41CD-B4E0-E297462320DD}" dt="2023-11-24T08:43:44.635" v="53284"/>
          <ac:spMkLst>
            <pc:docMk/>
            <pc:sldMk cId="398206320" sldId="2147478580"/>
            <ac:spMk id="352" creationId="{DDD87D09-C965-6D60-FB5A-DBB4EF24B5F8}"/>
          </ac:spMkLst>
        </pc:spChg>
        <pc:spChg chg="add del mod">
          <ac:chgData name="Steiner Andreas 6206 ED" userId="e6377c33-a923-4f14-8587-531c474c7b48" providerId="ADAL" clId="{6ECD27E6-B224-41CD-B4E0-E297462320DD}" dt="2023-11-24T08:43:46.422" v="53439"/>
          <ac:spMkLst>
            <pc:docMk/>
            <pc:sldMk cId="398206320" sldId="2147478580"/>
            <ac:spMk id="353" creationId="{9FF15F79-B9C1-F2B9-63B4-73B547441EE7}"/>
          </ac:spMkLst>
        </pc:spChg>
        <pc:spChg chg="add del mod">
          <ac:chgData name="Steiner Andreas 6206 ED" userId="e6377c33-a923-4f14-8587-531c474c7b48" providerId="ADAL" clId="{6ECD27E6-B224-41CD-B4E0-E297462320DD}" dt="2023-11-24T08:43:48.373" v="53594"/>
          <ac:spMkLst>
            <pc:docMk/>
            <pc:sldMk cId="398206320" sldId="2147478580"/>
            <ac:spMk id="354" creationId="{D8C6D1F5-AAA5-C721-F84C-46FE5D918538}"/>
          </ac:spMkLst>
        </pc:spChg>
        <pc:spChg chg="add del mod">
          <ac:chgData name="Steiner Andreas 6206 ED" userId="e6377c33-a923-4f14-8587-531c474c7b48" providerId="ADAL" clId="{6ECD27E6-B224-41CD-B4E0-E297462320DD}" dt="2023-11-24T08:43:50.334" v="53749"/>
          <ac:spMkLst>
            <pc:docMk/>
            <pc:sldMk cId="398206320" sldId="2147478580"/>
            <ac:spMk id="355" creationId="{B09B4698-FDE8-5BCD-7C6E-E482CB389E07}"/>
          </ac:spMkLst>
        </pc:spChg>
        <pc:spChg chg="add del mod">
          <ac:chgData name="Steiner Andreas 6206 ED" userId="e6377c33-a923-4f14-8587-531c474c7b48" providerId="ADAL" clId="{6ECD27E6-B224-41CD-B4E0-E297462320DD}" dt="2023-11-24T08:43:52.517" v="53904"/>
          <ac:spMkLst>
            <pc:docMk/>
            <pc:sldMk cId="398206320" sldId="2147478580"/>
            <ac:spMk id="356" creationId="{F6F6FE8C-897C-7120-3516-F15573F54AC9}"/>
          </ac:spMkLst>
        </pc:spChg>
        <pc:spChg chg="add del mod">
          <ac:chgData name="Steiner Andreas 6206 ED" userId="e6377c33-a923-4f14-8587-531c474c7b48" providerId="ADAL" clId="{6ECD27E6-B224-41CD-B4E0-E297462320DD}" dt="2023-11-24T08:43:55.154" v="54059"/>
          <ac:spMkLst>
            <pc:docMk/>
            <pc:sldMk cId="398206320" sldId="2147478580"/>
            <ac:spMk id="357" creationId="{AABF3FFC-EEF6-49D3-E4C8-4A55DDE47EE3}"/>
          </ac:spMkLst>
        </pc:spChg>
        <pc:spChg chg="add del mod">
          <ac:chgData name="Steiner Andreas 6206 ED" userId="e6377c33-a923-4f14-8587-531c474c7b48" providerId="ADAL" clId="{6ECD27E6-B224-41CD-B4E0-E297462320DD}" dt="2023-11-24T08:43:57.199" v="54214"/>
          <ac:spMkLst>
            <pc:docMk/>
            <pc:sldMk cId="398206320" sldId="2147478580"/>
            <ac:spMk id="358" creationId="{94CE48F7-DDDD-C01E-0656-4ED129C28323}"/>
          </ac:spMkLst>
        </pc:spChg>
        <pc:spChg chg="add del mod">
          <ac:chgData name="Steiner Andreas 6206 ED" userId="e6377c33-a923-4f14-8587-531c474c7b48" providerId="ADAL" clId="{6ECD27E6-B224-41CD-B4E0-E297462320DD}" dt="2023-11-24T08:43:59.377" v="54369"/>
          <ac:spMkLst>
            <pc:docMk/>
            <pc:sldMk cId="398206320" sldId="2147478580"/>
            <ac:spMk id="359" creationId="{9432E32F-D40D-3C9E-02F1-A6D580204C15}"/>
          </ac:spMkLst>
        </pc:spChg>
        <pc:spChg chg="add del mod">
          <ac:chgData name="Steiner Andreas 6206 ED" userId="e6377c33-a923-4f14-8587-531c474c7b48" providerId="ADAL" clId="{6ECD27E6-B224-41CD-B4E0-E297462320DD}" dt="2023-11-24T08:44:01.643" v="54524"/>
          <ac:spMkLst>
            <pc:docMk/>
            <pc:sldMk cId="398206320" sldId="2147478580"/>
            <ac:spMk id="360" creationId="{70DA7D23-808E-DBB9-4D2C-A4EC84252629}"/>
          </ac:spMkLst>
        </pc:spChg>
        <pc:spChg chg="add del mod">
          <ac:chgData name="Steiner Andreas 6206 ED" userId="e6377c33-a923-4f14-8587-531c474c7b48" providerId="ADAL" clId="{6ECD27E6-B224-41CD-B4E0-E297462320DD}" dt="2023-11-24T08:44:03.801" v="54679"/>
          <ac:spMkLst>
            <pc:docMk/>
            <pc:sldMk cId="398206320" sldId="2147478580"/>
            <ac:spMk id="361" creationId="{EABB6DC4-966B-F50C-47BC-E18630A3F3D7}"/>
          </ac:spMkLst>
        </pc:spChg>
        <pc:spChg chg="add del mod">
          <ac:chgData name="Steiner Andreas 6206 ED" userId="e6377c33-a923-4f14-8587-531c474c7b48" providerId="ADAL" clId="{6ECD27E6-B224-41CD-B4E0-E297462320DD}" dt="2023-11-24T08:44:05.881" v="54834"/>
          <ac:spMkLst>
            <pc:docMk/>
            <pc:sldMk cId="398206320" sldId="2147478580"/>
            <ac:spMk id="362" creationId="{11044881-F36B-A7E9-B664-ECA2BEF8CE09}"/>
          </ac:spMkLst>
        </pc:spChg>
        <pc:spChg chg="add del mod">
          <ac:chgData name="Steiner Andreas 6206 ED" userId="e6377c33-a923-4f14-8587-531c474c7b48" providerId="ADAL" clId="{6ECD27E6-B224-41CD-B4E0-E297462320DD}" dt="2023-11-24T08:44:07.857" v="54989"/>
          <ac:spMkLst>
            <pc:docMk/>
            <pc:sldMk cId="398206320" sldId="2147478580"/>
            <ac:spMk id="363" creationId="{455BDD9F-A28A-1C29-280B-F1383BF2BEB5}"/>
          </ac:spMkLst>
        </pc:spChg>
        <pc:spChg chg="add del mod">
          <ac:chgData name="Steiner Andreas 6206 ED" userId="e6377c33-a923-4f14-8587-531c474c7b48" providerId="ADAL" clId="{6ECD27E6-B224-41CD-B4E0-E297462320DD}" dt="2023-11-24T08:44:09.839" v="55144"/>
          <ac:spMkLst>
            <pc:docMk/>
            <pc:sldMk cId="398206320" sldId="2147478580"/>
            <ac:spMk id="364" creationId="{9D996B73-DB88-E106-6FB1-425BCBAB6B85}"/>
          </ac:spMkLst>
        </pc:spChg>
        <pc:spChg chg="add del mod">
          <ac:chgData name="Steiner Andreas 6206 ED" userId="e6377c33-a923-4f14-8587-531c474c7b48" providerId="ADAL" clId="{6ECD27E6-B224-41CD-B4E0-E297462320DD}" dt="2023-11-24T08:44:11.841" v="55299"/>
          <ac:spMkLst>
            <pc:docMk/>
            <pc:sldMk cId="398206320" sldId="2147478580"/>
            <ac:spMk id="365" creationId="{866D66CF-8220-77F9-13D7-43B1CC666704}"/>
          </ac:spMkLst>
        </pc:spChg>
        <pc:spChg chg="add del mod">
          <ac:chgData name="Steiner Andreas 6206 ED" userId="e6377c33-a923-4f14-8587-531c474c7b48" providerId="ADAL" clId="{6ECD27E6-B224-41CD-B4E0-E297462320DD}" dt="2023-11-24T08:44:13.989" v="55454"/>
          <ac:spMkLst>
            <pc:docMk/>
            <pc:sldMk cId="398206320" sldId="2147478580"/>
            <ac:spMk id="366" creationId="{C8A1A3CF-1ED5-1E88-887F-886DE5E6D376}"/>
          </ac:spMkLst>
        </pc:spChg>
        <pc:spChg chg="add del mod">
          <ac:chgData name="Steiner Andreas 6206 ED" userId="e6377c33-a923-4f14-8587-531c474c7b48" providerId="ADAL" clId="{6ECD27E6-B224-41CD-B4E0-E297462320DD}" dt="2023-11-24T08:44:16.080" v="55609"/>
          <ac:spMkLst>
            <pc:docMk/>
            <pc:sldMk cId="398206320" sldId="2147478580"/>
            <ac:spMk id="367" creationId="{97007C44-E9ED-D7CD-8748-4410109C1A37}"/>
          </ac:spMkLst>
        </pc:spChg>
        <pc:spChg chg="add del mod">
          <ac:chgData name="Steiner Andreas 6206 ED" userId="e6377c33-a923-4f14-8587-531c474c7b48" providerId="ADAL" clId="{6ECD27E6-B224-41CD-B4E0-E297462320DD}" dt="2023-11-24T08:44:18.543" v="55764"/>
          <ac:spMkLst>
            <pc:docMk/>
            <pc:sldMk cId="398206320" sldId="2147478580"/>
            <ac:spMk id="368" creationId="{6A17968F-7DF8-C70B-8173-C9A81A7DC604}"/>
          </ac:spMkLst>
        </pc:spChg>
        <pc:spChg chg="add del mod">
          <ac:chgData name="Steiner Andreas 6206 ED" userId="e6377c33-a923-4f14-8587-531c474c7b48" providerId="ADAL" clId="{6ECD27E6-B224-41CD-B4E0-E297462320DD}" dt="2023-11-24T08:44:21.396" v="55919"/>
          <ac:spMkLst>
            <pc:docMk/>
            <pc:sldMk cId="398206320" sldId="2147478580"/>
            <ac:spMk id="369" creationId="{78FDEEE1-CE6C-E6AD-D744-490C136A0E83}"/>
          </ac:spMkLst>
        </pc:spChg>
        <pc:spChg chg="add del mod">
          <ac:chgData name="Steiner Andreas 6206 ED" userId="e6377c33-a923-4f14-8587-531c474c7b48" providerId="ADAL" clId="{6ECD27E6-B224-41CD-B4E0-E297462320DD}" dt="2023-11-24T08:44:23.793" v="56074"/>
          <ac:spMkLst>
            <pc:docMk/>
            <pc:sldMk cId="398206320" sldId="2147478580"/>
            <ac:spMk id="370" creationId="{8CD71415-6130-18EB-98E2-C240B505E9BF}"/>
          </ac:spMkLst>
        </pc:spChg>
        <pc:spChg chg="add del mod">
          <ac:chgData name="Steiner Andreas 6206 ED" userId="e6377c33-a923-4f14-8587-531c474c7b48" providerId="ADAL" clId="{6ECD27E6-B224-41CD-B4E0-E297462320DD}" dt="2023-11-24T08:44:25.726" v="56229"/>
          <ac:spMkLst>
            <pc:docMk/>
            <pc:sldMk cId="398206320" sldId="2147478580"/>
            <ac:spMk id="371" creationId="{74580D92-F5FA-119A-A767-14D3E63CEF3A}"/>
          </ac:spMkLst>
        </pc:spChg>
        <pc:spChg chg="add del mod">
          <ac:chgData name="Steiner Andreas 6206 ED" userId="e6377c33-a923-4f14-8587-531c474c7b48" providerId="ADAL" clId="{6ECD27E6-B224-41CD-B4E0-E297462320DD}" dt="2023-11-24T08:44:27.899" v="56384"/>
          <ac:spMkLst>
            <pc:docMk/>
            <pc:sldMk cId="398206320" sldId="2147478580"/>
            <ac:spMk id="372" creationId="{1E3196C1-0698-663B-C46A-97AAF587B0A3}"/>
          </ac:spMkLst>
        </pc:spChg>
        <pc:spChg chg="add del mod">
          <ac:chgData name="Steiner Andreas 6206 ED" userId="e6377c33-a923-4f14-8587-531c474c7b48" providerId="ADAL" clId="{6ECD27E6-B224-41CD-B4E0-E297462320DD}" dt="2023-11-24T08:44:29.913" v="56539"/>
          <ac:spMkLst>
            <pc:docMk/>
            <pc:sldMk cId="398206320" sldId="2147478580"/>
            <ac:spMk id="373" creationId="{C73B542C-0646-07C6-53AF-53642B9D1A4D}"/>
          </ac:spMkLst>
        </pc:spChg>
        <pc:spChg chg="add del mod">
          <ac:chgData name="Steiner Andreas 6206 ED" userId="e6377c33-a923-4f14-8587-531c474c7b48" providerId="ADAL" clId="{6ECD27E6-B224-41CD-B4E0-E297462320DD}" dt="2023-11-24T08:44:31.889" v="56694"/>
          <ac:spMkLst>
            <pc:docMk/>
            <pc:sldMk cId="398206320" sldId="2147478580"/>
            <ac:spMk id="374" creationId="{F33B77F0-8A16-C5C9-DB40-8203B276EFCE}"/>
          </ac:spMkLst>
        </pc:spChg>
        <pc:spChg chg="add del mod">
          <ac:chgData name="Steiner Andreas 6206 ED" userId="e6377c33-a923-4f14-8587-531c474c7b48" providerId="ADAL" clId="{6ECD27E6-B224-41CD-B4E0-E297462320DD}" dt="2023-11-24T08:44:33.849" v="56849"/>
          <ac:spMkLst>
            <pc:docMk/>
            <pc:sldMk cId="398206320" sldId="2147478580"/>
            <ac:spMk id="375" creationId="{1BB82924-DCF9-8C87-F77C-01BEB1786D9A}"/>
          </ac:spMkLst>
        </pc:spChg>
        <pc:spChg chg="add del mod">
          <ac:chgData name="Steiner Andreas 6206 ED" userId="e6377c33-a923-4f14-8587-531c474c7b48" providerId="ADAL" clId="{6ECD27E6-B224-41CD-B4E0-E297462320DD}" dt="2023-11-24T08:44:36.291" v="57004"/>
          <ac:spMkLst>
            <pc:docMk/>
            <pc:sldMk cId="398206320" sldId="2147478580"/>
            <ac:spMk id="376" creationId="{74E301BE-84FB-1390-38B7-430E83DAC701}"/>
          </ac:spMkLst>
        </pc:spChg>
        <pc:spChg chg="add del mod">
          <ac:chgData name="Steiner Andreas 6206 ED" userId="e6377c33-a923-4f14-8587-531c474c7b48" providerId="ADAL" clId="{6ECD27E6-B224-41CD-B4E0-E297462320DD}" dt="2023-11-24T08:44:38.884" v="57159"/>
          <ac:spMkLst>
            <pc:docMk/>
            <pc:sldMk cId="398206320" sldId="2147478580"/>
            <ac:spMk id="377" creationId="{BFC0C5B6-F6BF-BC53-0BD0-09DB0D161BA7}"/>
          </ac:spMkLst>
        </pc:spChg>
        <pc:spChg chg="add del mod">
          <ac:chgData name="Steiner Andreas 6206 ED" userId="e6377c33-a923-4f14-8587-531c474c7b48" providerId="ADAL" clId="{6ECD27E6-B224-41CD-B4E0-E297462320DD}" dt="2023-11-24T08:44:41.178" v="57314"/>
          <ac:spMkLst>
            <pc:docMk/>
            <pc:sldMk cId="398206320" sldId="2147478580"/>
            <ac:spMk id="378" creationId="{81A290E8-1806-21B9-A910-4AFCBA047F1E}"/>
          </ac:spMkLst>
        </pc:spChg>
        <pc:spChg chg="add del mod">
          <ac:chgData name="Steiner Andreas 6206 ED" userId="e6377c33-a923-4f14-8587-531c474c7b48" providerId="ADAL" clId="{6ECD27E6-B224-41CD-B4E0-E297462320DD}" dt="2023-11-24T08:44:43.382" v="57469"/>
          <ac:spMkLst>
            <pc:docMk/>
            <pc:sldMk cId="398206320" sldId="2147478580"/>
            <ac:spMk id="379" creationId="{12148BC5-3478-678A-1F19-5275FDAB4AB0}"/>
          </ac:spMkLst>
        </pc:spChg>
        <pc:spChg chg="add del mod">
          <ac:chgData name="Steiner Andreas 6206 ED" userId="e6377c33-a923-4f14-8587-531c474c7b48" providerId="ADAL" clId="{6ECD27E6-B224-41CD-B4E0-E297462320DD}" dt="2023-11-24T08:44:45.543" v="57624"/>
          <ac:spMkLst>
            <pc:docMk/>
            <pc:sldMk cId="398206320" sldId="2147478580"/>
            <ac:spMk id="380" creationId="{8A06D3FB-FED3-22FD-7619-05BD16A5AD23}"/>
          </ac:spMkLst>
        </pc:spChg>
        <pc:spChg chg="add del mod">
          <ac:chgData name="Steiner Andreas 6206 ED" userId="e6377c33-a923-4f14-8587-531c474c7b48" providerId="ADAL" clId="{6ECD27E6-B224-41CD-B4E0-E297462320DD}" dt="2023-11-24T08:44:48.291" v="57779"/>
          <ac:spMkLst>
            <pc:docMk/>
            <pc:sldMk cId="398206320" sldId="2147478580"/>
            <ac:spMk id="381" creationId="{B5331EFA-2182-7CDF-B85C-01DED50C9A61}"/>
          </ac:spMkLst>
        </pc:spChg>
        <pc:spChg chg="add del mod">
          <ac:chgData name="Steiner Andreas 6206 ED" userId="e6377c33-a923-4f14-8587-531c474c7b48" providerId="ADAL" clId="{6ECD27E6-B224-41CD-B4E0-E297462320DD}" dt="2023-11-24T08:44:50.537" v="57934"/>
          <ac:spMkLst>
            <pc:docMk/>
            <pc:sldMk cId="398206320" sldId="2147478580"/>
            <ac:spMk id="382" creationId="{2503185B-A56F-6C5F-64B6-2D6620BD6CB6}"/>
          </ac:spMkLst>
        </pc:spChg>
        <pc:spChg chg="add del mod">
          <ac:chgData name="Steiner Andreas 6206 ED" userId="e6377c33-a923-4f14-8587-531c474c7b48" providerId="ADAL" clId="{6ECD27E6-B224-41CD-B4E0-E297462320DD}" dt="2023-11-24T08:44:52.688" v="58089"/>
          <ac:spMkLst>
            <pc:docMk/>
            <pc:sldMk cId="398206320" sldId="2147478580"/>
            <ac:spMk id="383" creationId="{4A574FC5-9A31-8583-6A97-D9667D90B240}"/>
          </ac:spMkLst>
        </pc:spChg>
        <pc:spChg chg="add del mod">
          <ac:chgData name="Steiner Andreas 6206 ED" userId="e6377c33-a923-4f14-8587-531c474c7b48" providerId="ADAL" clId="{6ECD27E6-B224-41CD-B4E0-E297462320DD}" dt="2023-11-24T08:44:54.885" v="58244"/>
          <ac:spMkLst>
            <pc:docMk/>
            <pc:sldMk cId="398206320" sldId="2147478580"/>
            <ac:spMk id="384" creationId="{0C9A5C15-57AE-5A08-9E5E-88363A3269B0}"/>
          </ac:spMkLst>
        </pc:spChg>
        <pc:spChg chg="add del mod">
          <ac:chgData name="Steiner Andreas 6206 ED" userId="e6377c33-a923-4f14-8587-531c474c7b48" providerId="ADAL" clId="{6ECD27E6-B224-41CD-B4E0-E297462320DD}" dt="2023-11-24T08:44:56.895" v="58399"/>
          <ac:spMkLst>
            <pc:docMk/>
            <pc:sldMk cId="398206320" sldId="2147478580"/>
            <ac:spMk id="385" creationId="{1232477A-1103-E093-AAD0-224ACA887CBB}"/>
          </ac:spMkLst>
        </pc:spChg>
        <pc:spChg chg="add del mod">
          <ac:chgData name="Steiner Andreas 6206 ED" userId="e6377c33-a923-4f14-8587-531c474c7b48" providerId="ADAL" clId="{6ECD27E6-B224-41CD-B4E0-E297462320DD}" dt="2023-11-24T08:44:58.830" v="58554"/>
          <ac:spMkLst>
            <pc:docMk/>
            <pc:sldMk cId="398206320" sldId="2147478580"/>
            <ac:spMk id="386" creationId="{72717B6A-7301-3F1B-02CC-6A00A14D62A2}"/>
          </ac:spMkLst>
        </pc:spChg>
        <pc:spChg chg="add del mod">
          <ac:chgData name="Steiner Andreas 6206 ED" userId="e6377c33-a923-4f14-8587-531c474c7b48" providerId="ADAL" clId="{6ECD27E6-B224-41CD-B4E0-E297462320DD}" dt="2023-11-24T08:45:00.997" v="58709"/>
          <ac:spMkLst>
            <pc:docMk/>
            <pc:sldMk cId="398206320" sldId="2147478580"/>
            <ac:spMk id="387" creationId="{4CDEA61E-3B05-2941-2CDA-7F86EEC80CF0}"/>
          </ac:spMkLst>
        </pc:spChg>
        <pc:spChg chg="add del mod">
          <ac:chgData name="Steiner Andreas 6206 ED" userId="e6377c33-a923-4f14-8587-531c474c7b48" providerId="ADAL" clId="{6ECD27E6-B224-41CD-B4E0-E297462320DD}" dt="2023-11-24T08:45:02.913" v="58864"/>
          <ac:spMkLst>
            <pc:docMk/>
            <pc:sldMk cId="398206320" sldId="2147478580"/>
            <ac:spMk id="388" creationId="{54BE1A17-407B-3B08-9718-6C3D88B33EF0}"/>
          </ac:spMkLst>
        </pc:spChg>
        <pc:spChg chg="add del mod">
          <ac:chgData name="Steiner Andreas 6206 ED" userId="e6377c33-a923-4f14-8587-531c474c7b48" providerId="ADAL" clId="{6ECD27E6-B224-41CD-B4E0-E297462320DD}" dt="2023-11-24T08:45:04.761" v="59019"/>
          <ac:spMkLst>
            <pc:docMk/>
            <pc:sldMk cId="398206320" sldId="2147478580"/>
            <ac:spMk id="389" creationId="{AFCEBCFA-21E3-1A8B-62E8-DB2F9131F08C}"/>
          </ac:spMkLst>
        </pc:spChg>
        <pc:spChg chg="add del mod">
          <ac:chgData name="Steiner Andreas 6206 ED" userId="e6377c33-a923-4f14-8587-531c474c7b48" providerId="ADAL" clId="{6ECD27E6-B224-41CD-B4E0-E297462320DD}" dt="2023-11-24T08:45:06.617" v="59174"/>
          <ac:spMkLst>
            <pc:docMk/>
            <pc:sldMk cId="398206320" sldId="2147478580"/>
            <ac:spMk id="390" creationId="{0BFF6509-50F3-1996-1F88-802E9D897A56}"/>
          </ac:spMkLst>
        </pc:spChg>
        <pc:spChg chg="add del mod">
          <ac:chgData name="Steiner Andreas 6206 ED" userId="e6377c33-a923-4f14-8587-531c474c7b48" providerId="ADAL" clId="{6ECD27E6-B224-41CD-B4E0-E297462320DD}" dt="2023-11-24T08:45:08.454" v="59329"/>
          <ac:spMkLst>
            <pc:docMk/>
            <pc:sldMk cId="398206320" sldId="2147478580"/>
            <ac:spMk id="391" creationId="{47C1BBCC-B0E6-FE3F-E50F-644F6F145FD2}"/>
          </ac:spMkLst>
        </pc:spChg>
        <pc:spChg chg="add del mod">
          <ac:chgData name="Steiner Andreas 6206 ED" userId="e6377c33-a923-4f14-8587-531c474c7b48" providerId="ADAL" clId="{6ECD27E6-B224-41CD-B4E0-E297462320DD}" dt="2023-11-24T08:45:10.260" v="59484"/>
          <ac:spMkLst>
            <pc:docMk/>
            <pc:sldMk cId="398206320" sldId="2147478580"/>
            <ac:spMk id="392" creationId="{DCD4471A-FB8D-2C58-2E1D-0CB42D671EE8}"/>
          </ac:spMkLst>
        </pc:spChg>
        <pc:spChg chg="add del mod">
          <ac:chgData name="Steiner Andreas 6206 ED" userId="e6377c33-a923-4f14-8587-531c474c7b48" providerId="ADAL" clId="{6ECD27E6-B224-41CD-B4E0-E297462320DD}" dt="2023-11-24T08:45:12.346" v="59639"/>
          <ac:spMkLst>
            <pc:docMk/>
            <pc:sldMk cId="398206320" sldId="2147478580"/>
            <ac:spMk id="393" creationId="{E43EB630-9A87-7556-29FB-7508852E6BD8}"/>
          </ac:spMkLst>
        </pc:spChg>
        <pc:spChg chg="add del mod">
          <ac:chgData name="Steiner Andreas 6206 ED" userId="e6377c33-a923-4f14-8587-531c474c7b48" providerId="ADAL" clId="{6ECD27E6-B224-41CD-B4E0-E297462320DD}" dt="2023-11-24T08:45:14.279" v="59794"/>
          <ac:spMkLst>
            <pc:docMk/>
            <pc:sldMk cId="398206320" sldId="2147478580"/>
            <ac:spMk id="394" creationId="{6B5783FD-6950-346C-B443-15647CE0421E}"/>
          </ac:spMkLst>
        </pc:spChg>
        <pc:spChg chg="add del mod">
          <ac:chgData name="Steiner Andreas 6206 ED" userId="e6377c33-a923-4f14-8587-531c474c7b48" providerId="ADAL" clId="{6ECD27E6-B224-41CD-B4E0-E297462320DD}" dt="2023-11-24T08:45:16.352" v="59949"/>
          <ac:spMkLst>
            <pc:docMk/>
            <pc:sldMk cId="398206320" sldId="2147478580"/>
            <ac:spMk id="395" creationId="{1F91596D-C1BA-57A4-806A-FF60F4633594}"/>
          </ac:spMkLst>
        </pc:spChg>
        <pc:spChg chg="add del mod">
          <ac:chgData name="Steiner Andreas 6206 ED" userId="e6377c33-a923-4f14-8587-531c474c7b48" providerId="ADAL" clId="{6ECD27E6-B224-41CD-B4E0-E297462320DD}" dt="2023-11-24T08:45:18.294" v="60104"/>
          <ac:spMkLst>
            <pc:docMk/>
            <pc:sldMk cId="398206320" sldId="2147478580"/>
            <ac:spMk id="396" creationId="{A3B6F1A4-3040-DF9F-2296-B3393998078F}"/>
          </ac:spMkLst>
        </pc:spChg>
        <pc:spChg chg="add del mod">
          <ac:chgData name="Steiner Andreas 6206 ED" userId="e6377c33-a923-4f14-8587-531c474c7b48" providerId="ADAL" clId="{6ECD27E6-B224-41CD-B4E0-E297462320DD}" dt="2023-11-24T08:45:20.187" v="60259"/>
          <ac:spMkLst>
            <pc:docMk/>
            <pc:sldMk cId="398206320" sldId="2147478580"/>
            <ac:spMk id="397" creationId="{8E66FE22-9893-9D84-445E-A105B88E3C40}"/>
          </ac:spMkLst>
        </pc:spChg>
        <pc:spChg chg="add del mod">
          <ac:chgData name="Steiner Andreas 6206 ED" userId="e6377c33-a923-4f14-8587-531c474c7b48" providerId="ADAL" clId="{6ECD27E6-B224-41CD-B4E0-E297462320DD}" dt="2023-11-24T08:45:22.352" v="60414"/>
          <ac:spMkLst>
            <pc:docMk/>
            <pc:sldMk cId="398206320" sldId="2147478580"/>
            <ac:spMk id="398" creationId="{91E0857A-02D3-7A08-AC53-89D3747E5E61}"/>
          </ac:spMkLst>
        </pc:spChg>
        <pc:spChg chg="add del mod">
          <ac:chgData name="Steiner Andreas 6206 ED" userId="e6377c33-a923-4f14-8587-531c474c7b48" providerId="ADAL" clId="{6ECD27E6-B224-41CD-B4E0-E297462320DD}" dt="2023-11-24T08:45:24.547" v="60569"/>
          <ac:spMkLst>
            <pc:docMk/>
            <pc:sldMk cId="398206320" sldId="2147478580"/>
            <ac:spMk id="399" creationId="{D6F30D1A-985D-61CA-1695-3F79C47F649C}"/>
          </ac:spMkLst>
        </pc:spChg>
        <pc:spChg chg="add del mod">
          <ac:chgData name="Steiner Andreas 6206 ED" userId="e6377c33-a923-4f14-8587-531c474c7b48" providerId="ADAL" clId="{6ECD27E6-B224-41CD-B4E0-E297462320DD}" dt="2023-11-24T08:45:26.501" v="60724"/>
          <ac:spMkLst>
            <pc:docMk/>
            <pc:sldMk cId="398206320" sldId="2147478580"/>
            <ac:spMk id="400" creationId="{F13709FE-67D5-1ABE-2AA5-97C324D70E4E}"/>
          </ac:spMkLst>
        </pc:spChg>
        <pc:spChg chg="add del mod">
          <ac:chgData name="Steiner Andreas 6206 ED" userId="e6377c33-a923-4f14-8587-531c474c7b48" providerId="ADAL" clId="{6ECD27E6-B224-41CD-B4E0-E297462320DD}" dt="2023-11-24T08:45:28.389" v="60879"/>
          <ac:spMkLst>
            <pc:docMk/>
            <pc:sldMk cId="398206320" sldId="2147478580"/>
            <ac:spMk id="401" creationId="{967C7628-A6FA-61DB-7164-0335C6B2771C}"/>
          </ac:spMkLst>
        </pc:spChg>
        <pc:spChg chg="add del mod">
          <ac:chgData name="Steiner Andreas 6206 ED" userId="e6377c33-a923-4f14-8587-531c474c7b48" providerId="ADAL" clId="{6ECD27E6-B224-41CD-B4E0-E297462320DD}" dt="2023-11-24T08:45:30.211" v="61034"/>
          <ac:spMkLst>
            <pc:docMk/>
            <pc:sldMk cId="398206320" sldId="2147478580"/>
            <ac:spMk id="402" creationId="{F56F67A6-064C-3E82-6446-5C7C9C3A50A0}"/>
          </ac:spMkLst>
        </pc:spChg>
        <pc:spChg chg="add del mod">
          <ac:chgData name="Steiner Andreas 6206 ED" userId="e6377c33-a923-4f14-8587-531c474c7b48" providerId="ADAL" clId="{6ECD27E6-B224-41CD-B4E0-E297462320DD}" dt="2023-11-24T08:45:32.083" v="61189"/>
          <ac:spMkLst>
            <pc:docMk/>
            <pc:sldMk cId="398206320" sldId="2147478580"/>
            <ac:spMk id="403" creationId="{8BFF5BFA-794B-E474-DA92-2C991378ED99}"/>
          </ac:spMkLst>
        </pc:spChg>
        <pc:spChg chg="add del mod">
          <ac:chgData name="Steiner Andreas 6206 ED" userId="e6377c33-a923-4f14-8587-531c474c7b48" providerId="ADAL" clId="{6ECD27E6-B224-41CD-B4E0-E297462320DD}" dt="2023-11-24T08:45:34.213" v="61344"/>
          <ac:spMkLst>
            <pc:docMk/>
            <pc:sldMk cId="398206320" sldId="2147478580"/>
            <ac:spMk id="404" creationId="{DA449C4E-FA48-95D1-8CCB-683FA3F4D514}"/>
          </ac:spMkLst>
        </pc:spChg>
        <pc:spChg chg="add del mod">
          <ac:chgData name="Steiner Andreas 6206 ED" userId="e6377c33-a923-4f14-8587-531c474c7b48" providerId="ADAL" clId="{6ECD27E6-B224-41CD-B4E0-E297462320DD}" dt="2023-11-24T08:45:36.269" v="61499"/>
          <ac:spMkLst>
            <pc:docMk/>
            <pc:sldMk cId="398206320" sldId="2147478580"/>
            <ac:spMk id="405" creationId="{535D5D55-93D1-43FF-0F13-754FCAAC5AA2}"/>
          </ac:spMkLst>
        </pc:spChg>
        <pc:spChg chg="add del mod">
          <ac:chgData name="Steiner Andreas 6206 ED" userId="e6377c33-a923-4f14-8587-531c474c7b48" providerId="ADAL" clId="{6ECD27E6-B224-41CD-B4E0-E297462320DD}" dt="2023-11-24T08:45:38.151" v="61654"/>
          <ac:spMkLst>
            <pc:docMk/>
            <pc:sldMk cId="398206320" sldId="2147478580"/>
            <ac:spMk id="406" creationId="{2A2CBED6-6FD4-E471-93CB-DDA490C2846E}"/>
          </ac:spMkLst>
        </pc:spChg>
        <pc:spChg chg="add del mod">
          <ac:chgData name="Steiner Andreas 6206 ED" userId="e6377c33-a923-4f14-8587-531c474c7b48" providerId="ADAL" clId="{6ECD27E6-B224-41CD-B4E0-E297462320DD}" dt="2023-11-24T08:45:40.034" v="61809"/>
          <ac:spMkLst>
            <pc:docMk/>
            <pc:sldMk cId="398206320" sldId="2147478580"/>
            <ac:spMk id="407" creationId="{05E6C2B0-8A9D-55CB-3BFF-13654D84A9CF}"/>
          </ac:spMkLst>
        </pc:spChg>
        <pc:spChg chg="add del mod">
          <ac:chgData name="Steiner Andreas 6206 ED" userId="e6377c33-a923-4f14-8587-531c474c7b48" providerId="ADAL" clId="{6ECD27E6-B224-41CD-B4E0-E297462320DD}" dt="2023-11-24T08:45:42.043" v="61964"/>
          <ac:spMkLst>
            <pc:docMk/>
            <pc:sldMk cId="398206320" sldId="2147478580"/>
            <ac:spMk id="408" creationId="{4C6B832F-30D9-3114-9623-24FCAAC0AD01}"/>
          </ac:spMkLst>
        </pc:spChg>
        <pc:spChg chg="add del mod">
          <ac:chgData name="Steiner Andreas 6206 ED" userId="e6377c33-a923-4f14-8587-531c474c7b48" providerId="ADAL" clId="{6ECD27E6-B224-41CD-B4E0-E297462320DD}" dt="2023-11-24T08:45:44.028" v="62119"/>
          <ac:spMkLst>
            <pc:docMk/>
            <pc:sldMk cId="398206320" sldId="2147478580"/>
            <ac:spMk id="409" creationId="{0DB0E078-A2A4-049A-483C-F17AC0914979}"/>
          </ac:spMkLst>
        </pc:spChg>
        <pc:spChg chg="add del mod">
          <ac:chgData name="Steiner Andreas 6206 ED" userId="e6377c33-a923-4f14-8587-531c474c7b48" providerId="ADAL" clId="{6ECD27E6-B224-41CD-B4E0-E297462320DD}" dt="2023-11-24T08:45:46.144" v="62274"/>
          <ac:spMkLst>
            <pc:docMk/>
            <pc:sldMk cId="398206320" sldId="2147478580"/>
            <ac:spMk id="410" creationId="{B220D525-2CCC-1A03-2759-561404677019}"/>
          </ac:spMkLst>
        </pc:spChg>
        <pc:spChg chg="add del mod">
          <ac:chgData name="Steiner Andreas 6206 ED" userId="e6377c33-a923-4f14-8587-531c474c7b48" providerId="ADAL" clId="{6ECD27E6-B224-41CD-B4E0-E297462320DD}" dt="2023-11-24T08:45:48.038" v="62429"/>
          <ac:spMkLst>
            <pc:docMk/>
            <pc:sldMk cId="398206320" sldId="2147478580"/>
            <ac:spMk id="411" creationId="{EC160AC0-B466-EFF5-A074-01761DB46625}"/>
          </ac:spMkLst>
        </pc:spChg>
        <pc:spChg chg="add del mod">
          <ac:chgData name="Steiner Andreas 6206 ED" userId="e6377c33-a923-4f14-8587-531c474c7b48" providerId="ADAL" clId="{6ECD27E6-B224-41CD-B4E0-E297462320DD}" dt="2023-11-24T08:45:50.370" v="62584"/>
          <ac:spMkLst>
            <pc:docMk/>
            <pc:sldMk cId="398206320" sldId="2147478580"/>
            <ac:spMk id="412" creationId="{370FECA2-4685-5509-0D17-03C179D6702F}"/>
          </ac:spMkLst>
        </pc:spChg>
        <pc:spChg chg="add del mod">
          <ac:chgData name="Steiner Andreas 6206 ED" userId="e6377c33-a923-4f14-8587-531c474c7b48" providerId="ADAL" clId="{6ECD27E6-B224-41CD-B4E0-E297462320DD}" dt="2023-11-24T08:45:52.393" v="62739"/>
          <ac:spMkLst>
            <pc:docMk/>
            <pc:sldMk cId="398206320" sldId="2147478580"/>
            <ac:spMk id="413" creationId="{D2743693-3DE2-D8CB-AE56-44341A71C7C0}"/>
          </ac:spMkLst>
        </pc:spChg>
        <pc:spChg chg="add del mod">
          <ac:chgData name="Steiner Andreas 6206 ED" userId="e6377c33-a923-4f14-8587-531c474c7b48" providerId="ADAL" clId="{6ECD27E6-B224-41CD-B4E0-E297462320DD}" dt="2023-11-24T08:45:54.409" v="62894"/>
          <ac:spMkLst>
            <pc:docMk/>
            <pc:sldMk cId="398206320" sldId="2147478580"/>
            <ac:spMk id="414" creationId="{304638EE-5D9A-E20C-311D-C07D74F33538}"/>
          </ac:spMkLst>
        </pc:spChg>
        <pc:spChg chg="add del mod">
          <ac:chgData name="Steiner Andreas 6206 ED" userId="e6377c33-a923-4f14-8587-531c474c7b48" providerId="ADAL" clId="{6ECD27E6-B224-41CD-B4E0-E297462320DD}" dt="2023-11-24T08:45:56.597" v="63049"/>
          <ac:spMkLst>
            <pc:docMk/>
            <pc:sldMk cId="398206320" sldId="2147478580"/>
            <ac:spMk id="415" creationId="{AFBBF885-E707-FDC2-38FD-861B623424D3}"/>
          </ac:spMkLst>
        </pc:spChg>
        <pc:spChg chg="add del mod">
          <ac:chgData name="Steiner Andreas 6206 ED" userId="e6377c33-a923-4f14-8587-531c474c7b48" providerId="ADAL" clId="{6ECD27E6-B224-41CD-B4E0-E297462320DD}" dt="2023-11-24T08:45:58.622" v="63204"/>
          <ac:spMkLst>
            <pc:docMk/>
            <pc:sldMk cId="398206320" sldId="2147478580"/>
            <ac:spMk id="416" creationId="{33813A01-4B47-B461-7687-2C19D269E732}"/>
          </ac:spMkLst>
        </pc:spChg>
        <pc:spChg chg="add del mod">
          <ac:chgData name="Steiner Andreas 6206 ED" userId="e6377c33-a923-4f14-8587-531c474c7b48" providerId="ADAL" clId="{6ECD27E6-B224-41CD-B4E0-E297462320DD}" dt="2023-11-24T08:46:00.707" v="63359"/>
          <ac:spMkLst>
            <pc:docMk/>
            <pc:sldMk cId="398206320" sldId="2147478580"/>
            <ac:spMk id="417" creationId="{6A7A1823-118D-96C1-2FF7-84FA2B404A3F}"/>
          </ac:spMkLst>
        </pc:spChg>
        <pc:spChg chg="add del mod">
          <ac:chgData name="Steiner Andreas 6206 ED" userId="e6377c33-a923-4f14-8587-531c474c7b48" providerId="ADAL" clId="{6ECD27E6-B224-41CD-B4E0-E297462320DD}" dt="2023-11-24T08:46:02.781" v="63514"/>
          <ac:spMkLst>
            <pc:docMk/>
            <pc:sldMk cId="398206320" sldId="2147478580"/>
            <ac:spMk id="418" creationId="{420E4873-C07D-A77B-B8C4-D00375B3F566}"/>
          </ac:spMkLst>
        </pc:spChg>
        <pc:spChg chg="add del mod">
          <ac:chgData name="Steiner Andreas 6206 ED" userId="e6377c33-a923-4f14-8587-531c474c7b48" providerId="ADAL" clId="{6ECD27E6-B224-41CD-B4E0-E297462320DD}" dt="2023-11-24T08:46:05.194" v="63669"/>
          <ac:spMkLst>
            <pc:docMk/>
            <pc:sldMk cId="398206320" sldId="2147478580"/>
            <ac:spMk id="419" creationId="{11F2D63B-D528-214C-DA57-C349F2428A64}"/>
          </ac:spMkLst>
        </pc:spChg>
        <pc:spChg chg="add del mod">
          <ac:chgData name="Steiner Andreas 6206 ED" userId="e6377c33-a923-4f14-8587-531c474c7b48" providerId="ADAL" clId="{6ECD27E6-B224-41CD-B4E0-E297462320DD}" dt="2023-11-24T08:46:07.702" v="63824"/>
          <ac:spMkLst>
            <pc:docMk/>
            <pc:sldMk cId="398206320" sldId="2147478580"/>
            <ac:spMk id="420" creationId="{64F6B70C-66A3-EAD7-DA5D-74D26F9A6F07}"/>
          </ac:spMkLst>
        </pc:spChg>
        <pc:spChg chg="add del mod">
          <ac:chgData name="Steiner Andreas 6206 ED" userId="e6377c33-a923-4f14-8587-531c474c7b48" providerId="ADAL" clId="{6ECD27E6-B224-41CD-B4E0-E297462320DD}" dt="2023-11-24T08:46:09.898" v="63979"/>
          <ac:spMkLst>
            <pc:docMk/>
            <pc:sldMk cId="398206320" sldId="2147478580"/>
            <ac:spMk id="421" creationId="{19F3F089-2F15-0C39-1C21-B358EEAB6D8C}"/>
          </ac:spMkLst>
        </pc:spChg>
        <pc:spChg chg="add del mod">
          <ac:chgData name="Steiner Andreas 6206 ED" userId="e6377c33-a923-4f14-8587-531c474c7b48" providerId="ADAL" clId="{6ECD27E6-B224-41CD-B4E0-E297462320DD}" dt="2023-11-24T08:46:12.089" v="64134"/>
          <ac:spMkLst>
            <pc:docMk/>
            <pc:sldMk cId="398206320" sldId="2147478580"/>
            <ac:spMk id="422" creationId="{F370BCE2-44B3-3BE7-7558-38F7486DD504}"/>
          </ac:spMkLst>
        </pc:spChg>
        <pc:spChg chg="add del mod">
          <ac:chgData name="Steiner Andreas 6206 ED" userId="e6377c33-a923-4f14-8587-531c474c7b48" providerId="ADAL" clId="{6ECD27E6-B224-41CD-B4E0-E297462320DD}" dt="2023-11-24T08:46:14.255" v="64289"/>
          <ac:spMkLst>
            <pc:docMk/>
            <pc:sldMk cId="398206320" sldId="2147478580"/>
            <ac:spMk id="423" creationId="{6EC45F0F-2D78-962F-F013-6323B608DF88}"/>
          </ac:spMkLst>
        </pc:spChg>
        <pc:spChg chg="add del mod">
          <ac:chgData name="Steiner Andreas 6206 ED" userId="e6377c33-a923-4f14-8587-531c474c7b48" providerId="ADAL" clId="{6ECD27E6-B224-41CD-B4E0-E297462320DD}" dt="2023-11-24T08:46:16.468" v="64444"/>
          <ac:spMkLst>
            <pc:docMk/>
            <pc:sldMk cId="398206320" sldId="2147478580"/>
            <ac:spMk id="424" creationId="{7A545872-5C37-0083-8923-26E8ED638E38}"/>
          </ac:spMkLst>
        </pc:spChg>
        <pc:spChg chg="add del mod">
          <ac:chgData name="Steiner Andreas 6206 ED" userId="e6377c33-a923-4f14-8587-531c474c7b48" providerId="ADAL" clId="{6ECD27E6-B224-41CD-B4E0-E297462320DD}" dt="2023-11-24T08:46:18.336" v="64599"/>
          <ac:spMkLst>
            <pc:docMk/>
            <pc:sldMk cId="398206320" sldId="2147478580"/>
            <ac:spMk id="425" creationId="{05EA9901-A86D-615D-E5E4-BFE04231DD10}"/>
          </ac:spMkLst>
        </pc:spChg>
        <pc:spChg chg="add del mod">
          <ac:chgData name="Steiner Andreas 6206 ED" userId="e6377c33-a923-4f14-8587-531c474c7b48" providerId="ADAL" clId="{6ECD27E6-B224-41CD-B4E0-E297462320DD}" dt="2023-11-24T08:46:20.871" v="64754"/>
          <ac:spMkLst>
            <pc:docMk/>
            <pc:sldMk cId="398206320" sldId="2147478580"/>
            <ac:spMk id="426" creationId="{84E3331F-E46A-8450-8A34-DA91ABE9C820}"/>
          </ac:spMkLst>
        </pc:spChg>
        <pc:spChg chg="add del mod">
          <ac:chgData name="Steiner Andreas 6206 ED" userId="e6377c33-a923-4f14-8587-531c474c7b48" providerId="ADAL" clId="{6ECD27E6-B224-41CD-B4E0-E297462320DD}" dt="2023-11-24T08:46:23.116" v="64909"/>
          <ac:spMkLst>
            <pc:docMk/>
            <pc:sldMk cId="398206320" sldId="2147478580"/>
            <ac:spMk id="427" creationId="{1387099A-527A-5802-6F46-92715C9020E1}"/>
          </ac:spMkLst>
        </pc:spChg>
        <pc:spChg chg="add del mod">
          <ac:chgData name="Steiner Andreas 6206 ED" userId="e6377c33-a923-4f14-8587-531c474c7b48" providerId="ADAL" clId="{6ECD27E6-B224-41CD-B4E0-E297462320DD}" dt="2023-11-24T08:46:25.373" v="65064"/>
          <ac:spMkLst>
            <pc:docMk/>
            <pc:sldMk cId="398206320" sldId="2147478580"/>
            <ac:spMk id="428" creationId="{16C95FE7-4267-F302-CADF-CB8DF30FC606}"/>
          </ac:spMkLst>
        </pc:spChg>
        <pc:spChg chg="add del mod">
          <ac:chgData name="Steiner Andreas 6206 ED" userId="e6377c33-a923-4f14-8587-531c474c7b48" providerId="ADAL" clId="{6ECD27E6-B224-41CD-B4E0-E297462320DD}" dt="2023-11-24T08:46:27.698" v="65219"/>
          <ac:spMkLst>
            <pc:docMk/>
            <pc:sldMk cId="398206320" sldId="2147478580"/>
            <ac:spMk id="429" creationId="{BE749830-082C-2B1A-C16B-5B7C53ADD456}"/>
          </ac:spMkLst>
        </pc:spChg>
        <pc:spChg chg="add del mod">
          <ac:chgData name="Steiner Andreas 6206 ED" userId="e6377c33-a923-4f14-8587-531c474c7b48" providerId="ADAL" clId="{6ECD27E6-B224-41CD-B4E0-E297462320DD}" dt="2023-11-24T08:46:29.721" v="65374"/>
          <ac:spMkLst>
            <pc:docMk/>
            <pc:sldMk cId="398206320" sldId="2147478580"/>
            <ac:spMk id="430" creationId="{8BEB3B47-303F-926B-43AC-0FF988540CB4}"/>
          </ac:spMkLst>
        </pc:spChg>
        <pc:spChg chg="add del mod">
          <ac:chgData name="Steiner Andreas 6206 ED" userId="e6377c33-a923-4f14-8587-531c474c7b48" providerId="ADAL" clId="{6ECD27E6-B224-41CD-B4E0-E297462320DD}" dt="2023-11-24T08:46:32.204" v="65529"/>
          <ac:spMkLst>
            <pc:docMk/>
            <pc:sldMk cId="398206320" sldId="2147478580"/>
            <ac:spMk id="431" creationId="{BA45A628-7F00-EDA5-D406-56410B3096C9}"/>
          </ac:spMkLst>
        </pc:spChg>
        <pc:spChg chg="add del mod">
          <ac:chgData name="Steiner Andreas 6206 ED" userId="e6377c33-a923-4f14-8587-531c474c7b48" providerId="ADAL" clId="{6ECD27E6-B224-41CD-B4E0-E297462320DD}" dt="2023-11-24T08:46:34.266" v="65684"/>
          <ac:spMkLst>
            <pc:docMk/>
            <pc:sldMk cId="398206320" sldId="2147478580"/>
            <ac:spMk id="432" creationId="{52A81417-9F34-A50F-88ED-F593D37ED2D7}"/>
          </ac:spMkLst>
        </pc:spChg>
        <pc:spChg chg="add del mod">
          <ac:chgData name="Steiner Andreas 6206 ED" userId="e6377c33-a923-4f14-8587-531c474c7b48" providerId="ADAL" clId="{6ECD27E6-B224-41CD-B4E0-E297462320DD}" dt="2023-11-24T08:46:36.198" v="65839"/>
          <ac:spMkLst>
            <pc:docMk/>
            <pc:sldMk cId="398206320" sldId="2147478580"/>
            <ac:spMk id="433" creationId="{561B00EB-DA49-4236-699C-203EB9973711}"/>
          </ac:spMkLst>
        </pc:spChg>
        <pc:spChg chg="add del mod">
          <ac:chgData name="Steiner Andreas 6206 ED" userId="e6377c33-a923-4f14-8587-531c474c7b48" providerId="ADAL" clId="{6ECD27E6-B224-41CD-B4E0-E297462320DD}" dt="2023-11-24T08:46:38.280" v="65994"/>
          <ac:spMkLst>
            <pc:docMk/>
            <pc:sldMk cId="398206320" sldId="2147478580"/>
            <ac:spMk id="434" creationId="{E2575661-D9C6-FDF2-416C-06C38A5C378D}"/>
          </ac:spMkLst>
        </pc:spChg>
        <pc:spChg chg="add del mod">
          <ac:chgData name="Steiner Andreas 6206 ED" userId="e6377c33-a923-4f14-8587-531c474c7b48" providerId="ADAL" clId="{6ECD27E6-B224-41CD-B4E0-E297462320DD}" dt="2023-11-24T08:46:40.357" v="66149"/>
          <ac:spMkLst>
            <pc:docMk/>
            <pc:sldMk cId="398206320" sldId="2147478580"/>
            <ac:spMk id="435" creationId="{A7594F09-82DF-7EAD-25E0-BD1A39BA6566}"/>
          </ac:spMkLst>
        </pc:spChg>
        <pc:spChg chg="add del mod">
          <ac:chgData name="Steiner Andreas 6206 ED" userId="e6377c33-a923-4f14-8587-531c474c7b48" providerId="ADAL" clId="{6ECD27E6-B224-41CD-B4E0-E297462320DD}" dt="2023-11-24T08:46:42.632" v="66304"/>
          <ac:spMkLst>
            <pc:docMk/>
            <pc:sldMk cId="398206320" sldId="2147478580"/>
            <ac:spMk id="436" creationId="{CE2A0426-B1C5-FAF7-11D4-7580527D7708}"/>
          </ac:spMkLst>
        </pc:spChg>
        <pc:spChg chg="add del mod">
          <ac:chgData name="Steiner Andreas 6206 ED" userId="e6377c33-a923-4f14-8587-531c474c7b48" providerId="ADAL" clId="{6ECD27E6-B224-41CD-B4E0-E297462320DD}" dt="2023-11-24T08:46:44.751" v="66459"/>
          <ac:spMkLst>
            <pc:docMk/>
            <pc:sldMk cId="398206320" sldId="2147478580"/>
            <ac:spMk id="437" creationId="{C1AD8A60-D760-32BC-EB3E-BBDA413E68B5}"/>
          </ac:spMkLst>
        </pc:spChg>
        <pc:spChg chg="add del mod">
          <ac:chgData name="Steiner Andreas 6206 ED" userId="e6377c33-a923-4f14-8587-531c474c7b48" providerId="ADAL" clId="{6ECD27E6-B224-41CD-B4E0-E297462320DD}" dt="2023-11-24T08:46:46.821" v="66614"/>
          <ac:spMkLst>
            <pc:docMk/>
            <pc:sldMk cId="398206320" sldId="2147478580"/>
            <ac:spMk id="438" creationId="{AC31D3B5-458C-5D93-4C95-650F87DC2128}"/>
          </ac:spMkLst>
        </pc:spChg>
        <pc:spChg chg="add del mod">
          <ac:chgData name="Steiner Andreas 6206 ED" userId="e6377c33-a923-4f14-8587-531c474c7b48" providerId="ADAL" clId="{6ECD27E6-B224-41CD-B4E0-E297462320DD}" dt="2023-11-24T08:46:48.960" v="66769"/>
          <ac:spMkLst>
            <pc:docMk/>
            <pc:sldMk cId="398206320" sldId="2147478580"/>
            <ac:spMk id="439" creationId="{A3025FF5-9692-36EB-5F1D-BF0658E9A6DA}"/>
          </ac:spMkLst>
        </pc:spChg>
        <pc:spChg chg="add del mod">
          <ac:chgData name="Steiner Andreas 6206 ED" userId="e6377c33-a923-4f14-8587-531c474c7b48" providerId="ADAL" clId="{6ECD27E6-B224-41CD-B4E0-E297462320DD}" dt="2023-11-24T08:46:51.010" v="66924"/>
          <ac:spMkLst>
            <pc:docMk/>
            <pc:sldMk cId="398206320" sldId="2147478580"/>
            <ac:spMk id="440" creationId="{019A3968-1490-63D8-B8AD-F369F6C6E018}"/>
          </ac:spMkLst>
        </pc:spChg>
        <pc:spChg chg="add del mod">
          <ac:chgData name="Steiner Andreas 6206 ED" userId="e6377c33-a923-4f14-8587-531c474c7b48" providerId="ADAL" clId="{6ECD27E6-B224-41CD-B4E0-E297462320DD}" dt="2023-11-24T08:46:53.058" v="67079"/>
          <ac:spMkLst>
            <pc:docMk/>
            <pc:sldMk cId="398206320" sldId="2147478580"/>
            <ac:spMk id="441" creationId="{88AB3F72-B757-3403-B32B-A2878B691F78}"/>
          </ac:spMkLst>
        </pc:spChg>
        <pc:spChg chg="add del mod">
          <ac:chgData name="Steiner Andreas 6206 ED" userId="e6377c33-a923-4f14-8587-531c474c7b48" providerId="ADAL" clId="{6ECD27E6-B224-41CD-B4E0-E297462320DD}" dt="2023-11-24T08:46:55.031" v="67234"/>
          <ac:spMkLst>
            <pc:docMk/>
            <pc:sldMk cId="398206320" sldId="2147478580"/>
            <ac:spMk id="442" creationId="{3A6047EA-027A-104D-7AFA-E34D35F3E151}"/>
          </ac:spMkLst>
        </pc:spChg>
        <pc:spChg chg="add del mod">
          <ac:chgData name="Steiner Andreas 6206 ED" userId="e6377c33-a923-4f14-8587-531c474c7b48" providerId="ADAL" clId="{6ECD27E6-B224-41CD-B4E0-E297462320DD}" dt="2023-11-24T08:46:57.003" v="67389"/>
          <ac:spMkLst>
            <pc:docMk/>
            <pc:sldMk cId="398206320" sldId="2147478580"/>
            <ac:spMk id="443" creationId="{D1F3953B-CBD1-4962-57FC-826D07E6C73C}"/>
          </ac:spMkLst>
        </pc:spChg>
        <pc:spChg chg="add del mod">
          <ac:chgData name="Steiner Andreas 6206 ED" userId="e6377c33-a923-4f14-8587-531c474c7b48" providerId="ADAL" clId="{6ECD27E6-B224-41CD-B4E0-E297462320DD}" dt="2023-11-24T08:46:58.866" v="67544"/>
          <ac:spMkLst>
            <pc:docMk/>
            <pc:sldMk cId="398206320" sldId="2147478580"/>
            <ac:spMk id="444" creationId="{2E6EB061-F008-192C-56BD-816E3CF6644B}"/>
          </ac:spMkLst>
        </pc:spChg>
        <pc:spChg chg="add del mod">
          <ac:chgData name="Steiner Andreas 6206 ED" userId="e6377c33-a923-4f14-8587-531c474c7b48" providerId="ADAL" clId="{6ECD27E6-B224-41CD-B4E0-E297462320DD}" dt="2023-11-24T08:47:00.973" v="67699"/>
          <ac:spMkLst>
            <pc:docMk/>
            <pc:sldMk cId="398206320" sldId="2147478580"/>
            <ac:spMk id="445" creationId="{C0F5FC43-5E4C-311B-D1AB-3B99FD36BF6F}"/>
          </ac:spMkLst>
        </pc:spChg>
        <pc:spChg chg="add del mod">
          <ac:chgData name="Steiner Andreas 6206 ED" userId="e6377c33-a923-4f14-8587-531c474c7b48" providerId="ADAL" clId="{6ECD27E6-B224-41CD-B4E0-E297462320DD}" dt="2023-11-24T08:47:03.133" v="67854"/>
          <ac:spMkLst>
            <pc:docMk/>
            <pc:sldMk cId="398206320" sldId="2147478580"/>
            <ac:spMk id="446" creationId="{BFBB2F0B-1289-8150-6021-DB38D448D65C}"/>
          </ac:spMkLst>
        </pc:spChg>
        <pc:spChg chg="add del mod">
          <ac:chgData name="Steiner Andreas 6206 ED" userId="e6377c33-a923-4f14-8587-531c474c7b48" providerId="ADAL" clId="{6ECD27E6-B224-41CD-B4E0-E297462320DD}" dt="2023-11-24T08:47:05.126" v="68009"/>
          <ac:spMkLst>
            <pc:docMk/>
            <pc:sldMk cId="398206320" sldId="2147478580"/>
            <ac:spMk id="447" creationId="{6F76A750-A97B-4C5C-8B9F-381975FE4A64}"/>
          </ac:spMkLst>
        </pc:spChg>
        <pc:spChg chg="add del mod">
          <ac:chgData name="Steiner Andreas 6206 ED" userId="e6377c33-a923-4f14-8587-531c474c7b48" providerId="ADAL" clId="{6ECD27E6-B224-41CD-B4E0-E297462320DD}" dt="2023-11-24T08:47:06.904" v="68164"/>
          <ac:spMkLst>
            <pc:docMk/>
            <pc:sldMk cId="398206320" sldId="2147478580"/>
            <ac:spMk id="448" creationId="{5B47C473-49FB-6F06-87AE-5B084EDE26CF}"/>
          </ac:spMkLst>
        </pc:spChg>
        <pc:spChg chg="add del mod">
          <ac:chgData name="Steiner Andreas 6206 ED" userId="e6377c33-a923-4f14-8587-531c474c7b48" providerId="ADAL" clId="{6ECD27E6-B224-41CD-B4E0-E297462320DD}" dt="2023-11-24T08:47:08.793" v="68319"/>
          <ac:spMkLst>
            <pc:docMk/>
            <pc:sldMk cId="398206320" sldId="2147478580"/>
            <ac:spMk id="449" creationId="{F55CA6F7-EA54-48DC-8D80-CBEF2FDED821}"/>
          </ac:spMkLst>
        </pc:spChg>
        <pc:spChg chg="add del mod">
          <ac:chgData name="Steiner Andreas 6206 ED" userId="e6377c33-a923-4f14-8587-531c474c7b48" providerId="ADAL" clId="{6ECD27E6-B224-41CD-B4E0-E297462320DD}" dt="2023-11-24T08:47:10.676" v="68474"/>
          <ac:spMkLst>
            <pc:docMk/>
            <pc:sldMk cId="398206320" sldId="2147478580"/>
            <ac:spMk id="450" creationId="{25DC3B88-4681-B55E-C392-95CFE846235E}"/>
          </ac:spMkLst>
        </pc:spChg>
        <pc:spChg chg="add del mod">
          <ac:chgData name="Steiner Andreas 6206 ED" userId="e6377c33-a923-4f14-8587-531c474c7b48" providerId="ADAL" clId="{6ECD27E6-B224-41CD-B4E0-E297462320DD}" dt="2023-11-24T08:47:12.550" v="68629"/>
          <ac:spMkLst>
            <pc:docMk/>
            <pc:sldMk cId="398206320" sldId="2147478580"/>
            <ac:spMk id="451" creationId="{D952B5F5-7950-FAD6-AA20-A118E515EC42}"/>
          </ac:spMkLst>
        </pc:spChg>
        <pc:spChg chg="add del mod">
          <ac:chgData name="Steiner Andreas 6206 ED" userId="e6377c33-a923-4f14-8587-531c474c7b48" providerId="ADAL" clId="{6ECD27E6-B224-41CD-B4E0-E297462320DD}" dt="2023-11-24T08:47:14.713" v="68784"/>
          <ac:spMkLst>
            <pc:docMk/>
            <pc:sldMk cId="398206320" sldId="2147478580"/>
            <ac:spMk id="452" creationId="{4742778B-2BF9-9065-F833-73FAA0188FEA}"/>
          </ac:spMkLst>
        </pc:spChg>
        <pc:spChg chg="add del mod">
          <ac:chgData name="Steiner Andreas 6206 ED" userId="e6377c33-a923-4f14-8587-531c474c7b48" providerId="ADAL" clId="{6ECD27E6-B224-41CD-B4E0-E297462320DD}" dt="2023-11-24T08:47:16.674" v="68939"/>
          <ac:spMkLst>
            <pc:docMk/>
            <pc:sldMk cId="398206320" sldId="2147478580"/>
            <ac:spMk id="453" creationId="{349B6FDF-4196-9A24-2A54-5791E852845F}"/>
          </ac:spMkLst>
        </pc:spChg>
        <pc:spChg chg="add del mod">
          <ac:chgData name="Steiner Andreas 6206 ED" userId="e6377c33-a923-4f14-8587-531c474c7b48" providerId="ADAL" clId="{6ECD27E6-B224-41CD-B4E0-E297462320DD}" dt="2023-11-24T08:47:18.594" v="69094"/>
          <ac:spMkLst>
            <pc:docMk/>
            <pc:sldMk cId="398206320" sldId="2147478580"/>
            <ac:spMk id="454" creationId="{87703BC7-952A-AB53-B6F6-AA91B0596608}"/>
          </ac:spMkLst>
        </pc:spChg>
        <pc:spChg chg="add del mod">
          <ac:chgData name="Steiner Andreas 6206 ED" userId="e6377c33-a923-4f14-8587-531c474c7b48" providerId="ADAL" clId="{6ECD27E6-B224-41CD-B4E0-E297462320DD}" dt="2023-11-24T08:47:20.576" v="69249"/>
          <ac:spMkLst>
            <pc:docMk/>
            <pc:sldMk cId="398206320" sldId="2147478580"/>
            <ac:spMk id="455" creationId="{976AD793-1475-699D-D48F-C43BB33C6466}"/>
          </ac:spMkLst>
        </pc:spChg>
        <pc:spChg chg="add del mod">
          <ac:chgData name="Steiner Andreas 6206 ED" userId="e6377c33-a923-4f14-8587-531c474c7b48" providerId="ADAL" clId="{6ECD27E6-B224-41CD-B4E0-E297462320DD}" dt="2023-11-24T08:47:22.973" v="69404"/>
          <ac:spMkLst>
            <pc:docMk/>
            <pc:sldMk cId="398206320" sldId="2147478580"/>
            <ac:spMk id="456" creationId="{8EAFDF4D-D2EF-8F05-3377-8C56CA210827}"/>
          </ac:spMkLst>
        </pc:spChg>
        <pc:spChg chg="add del mod">
          <ac:chgData name="Steiner Andreas 6206 ED" userId="e6377c33-a923-4f14-8587-531c474c7b48" providerId="ADAL" clId="{6ECD27E6-B224-41CD-B4E0-E297462320DD}" dt="2023-11-24T08:47:25.641" v="69559"/>
          <ac:spMkLst>
            <pc:docMk/>
            <pc:sldMk cId="398206320" sldId="2147478580"/>
            <ac:spMk id="457" creationId="{361D9E46-957F-44D3-21A7-3912F38A3B7B}"/>
          </ac:spMkLst>
        </pc:spChg>
        <pc:spChg chg="add del mod">
          <ac:chgData name="Steiner Andreas 6206 ED" userId="e6377c33-a923-4f14-8587-531c474c7b48" providerId="ADAL" clId="{6ECD27E6-B224-41CD-B4E0-E297462320DD}" dt="2023-11-24T08:47:27.836" v="69714"/>
          <ac:spMkLst>
            <pc:docMk/>
            <pc:sldMk cId="398206320" sldId="2147478580"/>
            <ac:spMk id="458" creationId="{C9BA43C2-7466-0919-B06D-C0A25012A030}"/>
          </ac:spMkLst>
        </pc:spChg>
        <pc:spChg chg="add del mod">
          <ac:chgData name="Steiner Andreas 6206 ED" userId="e6377c33-a923-4f14-8587-531c474c7b48" providerId="ADAL" clId="{6ECD27E6-B224-41CD-B4E0-E297462320DD}" dt="2023-11-24T08:47:29.902" v="69869"/>
          <ac:spMkLst>
            <pc:docMk/>
            <pc:sldMk cId="398206320" sldId="2147478580"/>
            <ac:spMk id="459" creationId="{773D61AF-0B92-E249-354F-2022074E67E9}"/>
          </ac:spMkLst>
        </pc:spChg>
        <pc:spChg chg="add del mod">
          <ac:chgData name="Steiner Andreas 6206 ED" userId="e6377c33-a923-4f14-8587-531c474c7b48" providerId="ADAL" clId="{6ECD27E6-B224-41CD-B4E0-E297462320DD}" dt="2023-11-24T08:47:31.869" v="70024"/>
          <ac:spMkLst>
            <pc:docMk/>
            <pc:sldMk cId="398206320" sldId="2147478580"/>
            <ac:spMk id="460" creationId="{1C5BCD63-FC52-8D5C-2361-3D74DBA1C783}"/>
          </ac:spMkLst>
        </pc:spChg>
        <pc:spChg chg="add del mod">
          <ac:chgData name="Steiner Andreas 6206 ED" userId="e6377c33-a923-4f14-8587-531c474c7b48" providerId="ADAL" clId="{6ECD27E6-B224-41CD-B4E0-E297462320DD}" dt="2023-11-24T08:47:33.859" v="70179"/>
          <ac:spMkLst>
            <pc:docMk/>
            <pc:sldMk cId="398206320" sldId="2147478580"/>
            <ac:spMk id="461" creationId="{1F59D12D-F00B-07F7-8968-C5FEC4D1DA1F}"/>
          </ac:spMkLst>
        </pc:spChg>
        <pc:spChg chg="add del mod">
          <ac:chgData name="Steiner Andreas 6206 ED" userId="e6377c33-a923-4f14-8587-531c474c7b48" providerId="ADAL" clId="{6ECD27E6-B224-41CD-B4E0-E297462320DD}" dt="2023-11-24T08:47:36.018" v="70334"/>
          <ac:spMkLst>
            <pc:docMk/>
            <pc:sldMk cId="398206320" sldId="2147478580"/>
            <ac:spMk id="462" creationId="{AFC7BF05-C8BF-E989-D974-FF86ADD53078}"/>
          </ac:spMkLst>
        </pc:spChg>
        <pc:spChg chg="add del mod">
          <ac:chgData name="Steiner Andreas 6206 ED" userId="e6377c33-a923-4f14-8587-531c474c7b48" providerId="ADAL" clId="{6ECD27E6-B224-41CD-B4E0-E297462320DD}" dt="2023-11-24T08:47:38.119" v="70489"/>
          <ac:spMkLst>
            <pc:docMk/>
            <pc:sldMk cId="398206320" sldId="2147478580"/>
            <ac:spMk id="463" creationId="{D0D168BE-E28E-B34C-7CED-2995B1C784EA}"/>
          </ac:spMkLst>
        </pc:spChg>
        <pc:spChg chg="add del mod">
          <ac:chgData name="Steiner Andreas 6206 ED" userId="e6377c33-a923-4f14-8587-531c474c7b48" providerId="ADAL" clId="{6ECD27E6-B224-41CD-B4E0-E297462320DD}" dt="2023-11-24T08:47:40.204" v="70644"/>
          <ac:spMkLst>
            <pc:docMk/>
            <pc:sldMk cId="398206320" sldId="2147478580"/>
            <ac:spMk id="464" creationId="{5D7E8CAE-C361-1A0E-CD73-F48B39D86410}"/>
          </ac:spMkLst>
        </pc:spChg>
        <pc:spChg chg="add del mod">
          <ac:chgData name="Steiner Andreas 6206 ED" userId="e6377c33-a923-4f14-8587-531c474c7b48" providerId="ADAL" clId="{6ECD27E6-B224-41CD-B4E0-E297462320DD}" dt="2023-11-24T08:47:42.119" v="70799"/>
          <ac:spMkLst>
            <pc:docMk/>
            <pc:sldMk cId="398206320" sldId="2147478580"/>
            <ac:spMk id="465" creationId="{7684B1D9-1B48-0A08-FC7E-28ABAD7399D2}"/>
          </ac:spMkLst>
        </pc:spChg>
        <pc:spChg chg="add del mod">
          <ac:chgData name="Steiner Andreas 6206 ED" userId="e6377c33-a923-4f14-8587-531c474c7b48" providerId="ADAL" clId="{6ECD27E6-B224-41CD-B4E0-E297462320DD}" dt="2023-11-24T08:47:44.039" v="70954"/>
          <ac:spMkLst>
            <pc:docMk/>
            <pc:sldMk cId="398206320" sldId="2147478580"/>
            <ac:spMk id="466" creationId="{BBA97BEA-D31C-CD00-EEBE-2DE28D6B665C}"/>
          </ac:spMkLst>
        </pc:spChg>
        <pc:spChg chg="add del mod">
          <ac:chgData name="Steiner Andreas 6206 ED" userId="e6377c33-a923-4f14-8587-531c474c7b48" providerId="ADAL" clId="{6ECD27E6-B224-41CD-B4E0-E297462320DD}" dt="2023-11-24T08:47:45.976" v="71109"/>
          <ac:spMkLst>
            <pc:docMk/>
            <pc:sldMk cId="398206320" sldId="2147478580"/>
            <ac:spMk id="467" creationId="{F27B9E7D-A012-8E1C-B19A-BC5A93EE1427}"/>
          </ac:spMkLst>
        </pc:spChg>
        <pc:spChg chg="add del mod">
          <ac:chgData name="Steiner Andreas 6206 ED" userId="e6377c33-a923-4f14-8587-531c474c7b48" providerId="ADAL" clId="{6ECD27E6-B224-41CD-B4E0-E297462320DD}" dt="2023-11-24T08:47:48.060" v="71264"/>
          <ac:spMkLst>
            <pc:docMk/>
            <pc:sldMk cId="398206320" sldId="2147478580"/>
            <ac:spMk id="468" creationId="{2870196A-81CC-E76B-8010-98CBD9ED5512}"/>
          </ac:spMkLst>
        </pc:spChg>
        <pc:spChg chg="add del mod">
          <ac:chgData name="Steiner Andreas 6206 ED" userId="e6377c33-a923-4f14-8587-531c474c7b48" providerId="ADAL" clId="{6ECD27E6-B224-41CD-B4E0-E297462320DD}" dt="2023-11-24T08:47:50.166" v="71419"/>
          <ac:spMkLst>
            <pc:docMk/>
            <pc:sldMk cId="398206320" sldId="2147478580"/>
            <ac:spMk id="469" creationId="{0A7A5BED-D040-DF8D-0EBE-A08002819F07}"/>
          </ac:spMkLst>
        </pc:spChg>
        <pc:spChg chg="add del mod">
          <ac:chgData name="Steiner Andreas 6206 ED" userId="e6377c33-a923-4f14-8587-531c474c7b48" providerId="ADAL" clId="{6ECD27E6-B224-41CD-B4E0-E297462320DD}" dt="2023-11-24T08:47:52.072" v="71574"/>
          <ac:spMkLst>
            <pc:docMk/>
            <pc:sldMk cId="398206320" sldId="2147478580"/>
            <ac:spMk id="470" creationId="{0D796925-DEDC-FA5A-878E-B93EC108BC8D}"/>
          </ac:spMkLst>
        </pc:spChg>
        <pc:spChg chg="add del mod">
          <ac:chgData name="Steiner Andreas 6206 ED" userId="e6377c33-a923-4f14-8587-531c474c7b48" providerId="ADAL" clId="{6ECD27E6-B224-41CD-B4E0-E297462320DD}" dt="2023-11-24T08:47:54.021" v="71729"/>
          <ac:spMkLst>
            <pc:docMk/>
            <pc:sldMk cId="398206320" sldId="2147478580"/>
            <ac:spMk id="471" creationId="{C7D4C182-88F1-534A-704E-9401F1453C9C}"/>
          </ac:spMkLst>
        </pc:spChg>
        <pc:spChg chg="add del mod">
          <ac:chgData name="Steiner Andreas 6206 ED" userId="e6377c33-a923-4f14-8587-531c474c7b48" providerId="ADAL" clId="{6ECD27E6-B224-41CD-B4E0-E297462320DD}" dt="2023-11-24T08:47:55.860" v="71884"/>
          <ac:spMkLst>
            <pc:docMk/>
            <pc:sldMk cId="398206320" sldId="2147478580"/>
            <ac:spMk id="472" creationId="{C802D299-77CD-CB43-F733-5169C01CF07C}"/>
          </ac:spMkLst>
        </pc:spChg>
        <pc:spChg chg="add del mod">
          <ac:chgData name="Steiner Andreas 6206 ED" userId="e6377c33-a923-4f14-8587-531c474c7b48" providerId="ADAL" clId="{6ECD27E6-B224-41CD-B4E0-E297462320DD}" dt="2023-11-24T08:47:57.859" v="72039"/>
          <ac:spMkLst>
            <pc:docMk/>
            <pc:sldMk cId="398206320" sldId="2147478580"/>
            <ac:spMk id="473" creationId="{522BE7D4-C214-4CEA-A332-A2CC134E2785}"/>
          </ac:spMkLst>
        </pc:spChg>
        <pc:spChg chg="add del mod">
          <ac:chgData name="Steiner Andreas 6206 ED" userId="e6377c33-a923-4f14-8587-531c474c7b48" providerId="ADAL" clId="{6ECD27E6-B224-41CD-B4E0-E297462320DD}" dt="2023-11-24T08:47:59.985" v="72194"/>
          <ac:spMkLst>
            <pc:docMk/>
            <pc:sldMk cId="398206320" sldId="2147478580"/>
            <ac:spMk id="474" creationId="{46F11A4D-560D-1FA3-46C6-B7FC8DF83D44}"/>
          </ac:spMkLst>
        </pc:spChg>
        <pc:spChg chg="add del mod">
          <ac:chgData name="Steiner Andreas 6206 ED" userId="e6377c33-a923-4f14-8587-531c474c7b48" providerId="ADAL" clId="{6ECD27E6-B224-41CD-B4E0-E297462320DD}" dt="2023-11-24T08:48:02.115" v="72349"/>
          <ac:spMkLst>
            <pc:docMk/>
            <pc:sldMk cId="398206320" sldId="2147478580"/>
            <ac:spMk id="475" creationId="{0C53E7AD-B030-FBDC-8885-1FAD221F214E}"/>
          </ac:spMkLst>
        </pc:spChg>
        <pc:spChg chg="add del mod">
          <ac:chgData name="Steiner Andreas 6206 ED" userId="e6377c33-a923-4f14-8587-531c474c7b48" providerId="ADAL" clId="{6ECD27E6-B224-41CD-B4E0-E297462320DD}" dt="2023-11-24T08:48:04.140" v="72504"/>
          <ac:spMkLst>
            <pc:docMk/>
            <pc:sldMk cId="398206320" sldId="2147478580"/>
            <ac:spMk id="476" creationId="{49B45EEB-DCF4-2DB3-1A48-18E81027C5DC}"/>
          </ac:spMkLst>
        </pc:spChg>
        <pc:spChg chg="add del mod">
          <ac:chgData name="Steiner Andreas 6206 ED" userId="e6377c33-a923-4f14-8587-531c474c7b48" providerId="ADAL" clId="{6ECD27E6-B224-41CD-B4E0-E297462320DD}" dt="2023-11-24T08:48:06.359" v="72659"/>
          <ac:spMkLst>
            <pc:docMk/>
            <pc:sldMk cId="398206320" sldId="2147478580"/>
            <ac:spMk id="477" creationId="{85055A00-334A-BDC1-A29A-2B79E1B00F9F}"/>
          </ac:spMkLst>
        </pc:spChg>
        <pc:spChg chg="add del mod">
          <ac:chgData name="Steiner Andreas 6206 ED" userId="e6377c33-a923-4f14-8587-531c474c7b48" providerId="ADAL" clId="{6ECD27E6-B224-41CD-B4E0-E297462320DD}" dt="2023-11-24T08:48:08.505" v="72814"/>
          <ac:spMkLst>
            <pc:docMk/>
            <pc:sldMk cId="398206320" sldId="2147478580"/>
            <ac:spMk id="478" creationId="{6A69F9E5-8B35-6394-B424-2975E4524AD5}"/>
          </ac:spMkLst>
        </pc:spChg>
        <pc:spChg chg="add del mod">
          <ac:chgData name="Steiner Andreas 6206 ED" userId="e6377c33-a923-4f14-8587-531c474c7b48" providerId="ADAL" clId="{6ECD27E6-B224-41CD-B4E0-E297462320DD}" dt="2023-11-24T08:48:10.561" v="72969"/>
          <ac:spMkLst>
            <pc:docMk/>
            <pc:sldMk cId="398206320" sldId="2147478580"/>
            <ac:spMk id="479" creationId="{D5C3E247-304A-8175-7986-30C4CD6CDA88}"/>
          </ac:spMkLst>
        </pc:spChg>
        <pc:spChg chg="add del mod">
          <ac:chgData name="Steiner Andreas 6206 ED" userId="e6377c33-a923-4f14-8587-531c474c7b48" providerId="ADAL" clId="{6ECD27E6-B224-41CD-B4E0-E297462320DD}" dt="2023-11-24T08:48:12.529" v="73124"/>
          <ac:spMkLst>
            <pc:docMk/>
            <pc:sldMk cId="398206320" sldId="2147478580"/>
            <ac:spMk id="480" creationId="{967FD696-45B3-9FB8-BCD2-104DB64BA6D6}"/>
          </ac:spMkLst>
        </pc:spChg>
        <pc:spChg chg="add del mod">
          <ac:chgData name="Steiner Andreas 6206 ED" userId="e6377c33-a923-4f14-8587-531c474c7b48" providerId="ADAL" clId="{6ECD27E6-B224-41CD-B4E0-E297462320DD}" dt="2023-11-24T08:48:15.065" v="73279"/>
          <ac:spMkLst>
            <pc:docMk/>
            <pc:sldMk cId="398206320" sldId="2147478580"/>
            <ac:spMk id="481" creationId="{EA570F82-32FC-A374-3B6A-DC1FBD3926CA}"/>
          </ac:spMkLst>
        </pc:spChg>
        <pc:spChg chg="add del mod">
          <ac:chgData name="Steiner Andreas 6206 ED" userId="e6377c33-a923-4f14-8587-531c474c7b48" providerId="ADAL" clId="{6ECD27E6-B224-41CD-B4E0-E297462320DD}" dt="2023-11-24T08:48:17.861" v="73434"/>
          <ac:spMkLst>
            <pc:docMk/>
            <pc:sldMk cId="398206320" sldId="2147478580"/>
            <ac:spMk id="482" creationId="{1052693E-74B1-D35A-CB28-FF1C73ADDD59}"/>
          </ac:spMkLst>
        </pc:spChg>
        <pc:spChg chg="add del mod">
          <ac:chgData name="Steiner Andreas 6206 ED" userId="e6377c33-a923-4f14-8587-531c474c7b48" providerId="ADAL" clId="{6ECD27E6-B224-41CD-B4E0-E297462320DD}" dt="2023-11-24T08:48:20.365" v="73589"/>
          <ac:spMkLst>
            <pc:docMk/>
            <pc:sldMk cId="398206320" sldId="2147478580"/>
            <ac:spMk id="483" creationId="{6EF9400D-19B4-03F1-77EE-17EE7EF51063}"/>
          </ac:spMkLst>
        </pc:spChg>
        <pc:spChg chg="add del mod">
          <ac:chgData name="Steiner Andreas 6206 ED" userId="e6377c33-a923-4f14-8587-531c474c7b48" providerId="ADAL" clId="{6ECD27E6-B224-41CD-B4E0-E297462320DD}" dt="2023-11-24T08:48:22.506" v="73744"/>
          <ac:spMkLst>
            <pc:docMk/>
            <pc:sldMk cId="398206320" sldId="2147478580"/>
            <ac:spMk id="484" creationId="{2B8684D8-4A8C-8AAD-D03B-90F8331DB20C}"/>
          </ac:spMkLst>
        </pc:spChg>
        <pc:spChg chg="add del mod">
          <ac:chgData name="Steiner Andreas 6206 ED" userId="e6377c33-a923-4f14-8587-531c474c7b48" providerId="ADAL" clId="{6ECD27E6-B224-41CD-B4E0-E297462320DD}" dt="2023-11-24T08:48:24.579" v="73899"/>
          <ac:spMkLst>
            <pc:docMk/>
            <pc:sldMk cId="398206320" sldId="2147478580"/>
            <ac:spMk id="485" creationId="{9B7AF08B-09B7-A1A9-D6FA-A6E1DEE3A5B7}"/>
          </ac:spMkLst>
        </pc:spChg>
        <pc:spChg chg="add del mod">
          <ac:chgData name="Steiner Andreas 6206 ED" userId="e6377c33-a923-4f14-8587-531c474c7b48" providerId="ADAL" clId="{6ECD27E6-B224-41CD-B4E0-E297462320DD}" dt="2023-11-24T08:48:26.685" v="74054"/>
          <ac:spMkLst>
            <pc:docMk/>
            <pc:sldMk cId="398206320" sldId="2147478580"/>
            <ac:spMk id="486" creationId="{B3A32FBA-BD79-7758-06A5-552A8AA30314}"/>
          </ac:spMkLst>
        </pc:spChg>
        <pc:spChg chg="add del mod">
          <ac:chgData name="Steiner Andreas 6206 ED" userId="e6377c33-a923-4f14-8587-531c474c7b48" providerId="ADAL" clId="{6ECD27E6-B224-41CD-B4E0-E297462320DD}" dt="2023-11-24T08:48:28.689" v="74209"/>
          <ac:spMkLst>
            <pc:docMk/>
            <pc:sldMk cId="398206320" sldId="2147478580"/>
            <ac:spMk id="487" creationId="{BAA7E45C-2914-2E20-E2E9-F917F21C7EAD}"/>
          </ac:spMkLst>
        </pc:spChg>
        <pc:spChg chg="add del mod">
          <ac:chgData name="Steiner Andreas 6206 ED" userId="e6377c33-a923-4f14-8587-531c474c7b48" providerId="ADAL" clId="{6ECD27E6-B224-41CD-B4E0-E297462320DD}" dt="2023-11-24T08:48:30.565" v="74364"/>
          <ac:spMkLst>
            <pc:docMk/>
            <pc:sldMk cId="398206320" sldId="2147478580"/>
            <ac:spMk id="488" creationId="{35A7FA2D-2EE5-BE08-0FC0-DF9A75AC9BE2}"/>
          </ac:spMkLst>
        </pc:spChg>
        <pc:spChg chg="add del mod">
          <ac:chgData name="Steiner Andreas 6206 ED" userId="e6377c33-a923-4f14-8587-531c474c7b48" providerId="ADAL" clId="{6ECD27E6-B224-41CD-B4E0-E297462320DD}" dt="2023-11-24T08:48:32.542" v="74519"/>
          <ac:spMkLst>
            <pc:docMk/>
            <pc:sldMk cId="398206320" sldId="2147478580"/>
            <ac:spMk id="489" creationId="{9C81CFFF-A049-0160-0349-56D2C08E1089}"/>
          </ac:spMkLst>
        </pc:spChg>
        <pc:spChg chg="add del mod">
          <ac:chgData name="Steiner Andreas 6206 ED" userId="e6377c33-a923-4f14-8587-531c474c7b48" providerId="ADAL" clId="{6ECD27E6-B224-41CD-B4E0-E297462320DD}" dt="2023-11-24T08:48:34.823" v="74674"/>
          <ac:spMkLst>
            <pc:docMk/>
            <pc:sldMk cId="398206320" sldId="2147478580"/>
            <ac:spMk id="490" creationId="{B206F2B1-4DAD-FA78-83BF-397EFC944320}"/>
          </ac:spMkLst>
        </pc:spChg>
        <pc:spChg chg="add del mod">
          <ac:chgData name="Steiner Andreas 6206 ED" userId="e6377c33-a923-4f14-8587-531c474c7b48" providerId="ADAL" clId="{6ECD27E6-B224-41CD-B4E0-E297462320DD}" dt="2023-11-24T08:48:36.955" v="74829"/>
          <ac:spMkLst>
            <pc:docMk/>
            <pc:sldMk cId="398206320" sldId="2147478580"/>
            <ac:spMk id="491" creationId="{D2BFEB0A-CA54-FC96-0BCD-AD7E42CF3ECE}"/>
          </ac:spMkLst>
        </pc:spChg>
        <pc:spChg chg="add del mod">
          <ac:chgData name="Steiner Andreas 6206 ED" userId="e6377c33-a923-4f14-8587-531c474c7b48" providerId="ADAL" clId="{6ECD27E6-B224-41CD-B4E0-E297462320DD}" dt="2023-11-24T08:48:39.016" v="74984"/>
          <ac:spMkLst>
            <pc:docMk/>
            <pc:sldMk cId="398206320" sldId="2147478580"/>
            <ac:spMk id="492" creationId="{EF0B7BC4-0151-6E64-626A-75EF9649EDE0}"/>
          </ac:spMkLst>
        </pc:spChg>
        <pc:spChg chg="add del mod">
          <ac:chgData name="Steiner Andreas 6206 ED" userId="e6377c33-a923-4f14-8587-531c474c7b48" providerId="ADAL" clId="{6ECD27E6-B224-41CD-B4E0-E297462320DD}" dt="2023-11-24T08:48:41.152" v="75139"/>
          <ac:spMkLst>
            <pc:docMk/>
            <pc:sldMk cId="398206320" sldId="2147478580"/>
            <ac:spMk id="493" creationId="{6800060B-F36A-C51D-ABE5-1A85C5491B72}"/>
          </ac:spMkLst>
        </pc:spChg>
        <pc:spChg chg="add del mod">
          <ac:chgData name="Steiner Andreas 6206 ED" userId="e6377c33-a923-4f14-8587-531c474c7b48" providerId="ADAL" clId="{6ECD27E6-B224-41CD-B4E0-E297462320DD}" dt="2023-11-24T08:48:43.585" v="75294"/>
          <ac:spMkLst>
            <pc:docMk/>
            <pc:sldMk cId="398206320" sldId="2147478580"/>
            <ac:spMk id="494" creationId="{C40F2F65-F8D0-31BD-23B0-3279ACE70268}"/>
          </ac:spMkLst>
        </pc:spChg>
        <pc:spChg chg="add del mod">
          <ac:chgData name="Steiner Andreas 6206 ED" userId="e6377c33-a923-4f14-8587-531c474c7b48" providerId="ADAL" clId="{6ECD27E6-B224-41CD-B4E0-E297462320DD}" dt="2023-11-24T08:48:45.897" v="75449"/>
          <ac:spMkLst>
            <pc:docMk/>
            <pc:sldMk cId="398206320" sldId="2147478580"/>
            <ac:spMk id="495" creationId="{1D30D269-32BA-4C84-E00C-F34917454D72}"/>
          </ac:spMkLst>
        </pc:spChg>
        <pc:spChg chg="add del mod">
          <ac:chgData name="Steiner Andreas 6206 ED" userId="e6377c33-a923-4f14-8587-531c474c7b48" providerId="ADAL" clId="{6ECD27E6-B224-41CD-B4E0-E297462320DD}" dt="2023-11-24T08:48:47.930" v="75604"/>
          <ac:spMkLst>
            <pc:docMk/>
            <pc:sldMk cId="398206320" sldId="2147478580"/>
            <ac:spMk id="496" creationId="{7F42AE06-63B0-27B8-26C1-0D95737C9AE2}"/>
          </ac:spMkLst>
        </pc:spChg>
        <pc:spChg chg="add del mod">
          <ac:chgData name="Steiner Andreas 6206 ED" userId="e6377c33-a923-4f14-8587-531c474c7b48" providerId="ADAL" clId="{6ECD27E6-B224-41CD-B4E0-E297462320DD}" dt="2023-11-24T08:48:49.897" v="75759"/>
          <ac:spMkLst>
            <pc:docMk/>
            <pc:sldMk cId="398206320" sldId="2147478580"/>
            <ac:spMk id="497" creationId="{992A30FB-5603-8649-E627-2781C209C068}"/>
          </ac:spMkLst>
        </pc:spChg>
        <pc:spChg chg="add del mod">
          <ac:chgData name="Steiner Andreas 6206 ED" userId="e6377c33-a923-4f14-8587-531c474c7b48" providerId="ADAL" clId="{6ECD27E6-B224-41CD-B4E0-E297462320DD}" dt="2023-11-24T08:48:52.127" v="75914"/>
          <ac:spMkLst>
            <pc:docMk/>
            <pc:sldMk cId="398206320" sldId="2147478580"/>
            <ac:spMk id="498" creationId="{98706420-EDE4-8F26-A9DF-16CA36C21C3B}"/>
          </ac:spMkLst>
        </pc:spChg>
        <pc:spChg chg="add del mod">
          <ac:chgData name="Steiner Andreas 6206 ED" userId="e6377c33-a923-4f14-8587-531c474c7b48" providerId="ADAL" clId="{6ECD27E6-B224-41CD-B4E0-E297462320DD}" dt="2023-11-24T08:48:54.026" v="76069"/>
          <ac:spMkLst>
            <pc:docMk/>
            <pc:sldMk cId="398206320" sldId="2147478580"/>
            <ac:spMk id="499" creationId="{AABA2B18-4169-F6D8-3BB4-83AA2C4088C9}"/>
          </ac:spMkLst>
        </pc:spChg>
        <pc:spChg chg="add del mod">
          <ac:chgData name="Steiner Andreas 6206 ED" userId="e6377c33-a923-4f14-8587-531c474c7b48" providerId="ADAL" clId="{6ECD27E6-B224-41CD-B4E0-E297462320DD}" dt="2023-11-24T08:48:56.034" v="76224"/>
          <ac:spMkLst>
            <pc:docMk/>
            <pc:sldMk cId="398206320" sldId="2147478580"/>
            <ac:spMk id="500" creationId="{DB964115-6E1D-09C9-89F8-E2D2FB1B3D4E}"/>
          </ac:spMkLst>
        </pc:spChg>
        <pc:spChg chg="add del mod">
          <ac:chgData name="Steiner Andreas 6206 ED" userId="e6377c33-a923-4f14-8587-531c474c7b48" providerId="ADAL" clId="{6ECD27E6-B224-41CD-B4E0-E297462320DD}" dt="2023-11-24T08:48:57.972" v="76379"/>
          <ac:spMkLst>
            <pc:docMk/>
            <pc:sldMk cId="398206320" sldId="2147478580"/>
            <ac:spMk id="501" creationId="{9933E6EC-C221-85D6-A53C-CD90C70CFE70}"/>
          </ac:spMkLst>
        </pc:spChg>
        <pc:spChg chg="add del mod">
          <ac:chgData name="Steiner Andreas 6206 ED" userId="e6377c33-a923-4f14-8587-531c474c7b48" providerId="ADAL" clId="{6ECD27E6-B224-41CD-B4E0-E297462320DD}" dt="2023-11-24T08:49:00.030" v="76534"/>
          <ac:spMkLst>
            <pc:docMk/>
            <pc:sldMk cId="398206320" sldId="2147478580"/>
            <ac:spMk id="502" creationId="{891675BF-9FCA-D7F6-2C6A-B8193B967F28}"/>
          </ac:spMkLst>
        </pc:spChg>
        <pc:spChg chg="add del mod">
          <ac:chgData name="Steiner Andreas 6206 ED" userId="e6377c33-a923-4f14-8587-531c474c7b48" providerId="ADAL" clId="{6ECD27E6-B224-41CD-B4E0-E297462320DD}" dt="2023-11-24T08:49:02.001" v="76689"/>
          <ac:spMkLst>
            <pc:docMk/>
            <pc:sldMk cId="398206320" sldId="2147478580"/>
            <ac:spMk id="503" creationId="{7CE9A692-BA49-0673-D82E-2E37A8F4448D}"/>
          </ac:spMkLst>
        </pc:spChg>
        <pc:spChg chg="add del mod">
          <ac:chgData name="Steiner Andreas 6206 ED" userId="e6377c33-a923-4f14-8587-531c474c7b48" providerId="ADAL" clId="{6ECD27E6-B224-41CD-B4E0-E297462320DD}" dt="2023-11-24T08:49:03.964" v="76844"/>
          <ac:spMkLst>
            <pc:docMk/>
            <pc:sldMk cId="398206320" sldId="2147478580"/>
            <ac:spMk id="504" creationId="{51C8CC90-6249-C290-DC0D-91BF369CD256}"/>
          </ac:spMkLst>
        </pc:spChg>
        <pc:spChg chg="add del mod">
          <ac:chgData name="Steiner Andreas 6206 ED" userId="e6377c33-a923-4f14-8587-531c474c7b48" providerId="ADAL" clId="{6ECD27E6-B224-41CD-B4E0-E297462320DD}" dt="2023-11-24T08:49:05.865" v="76999"/>
          <ac:spMkLst>
            <pc:docMk/>
            <pc:sldMk cId="398206320" sldId="2147478580"/>
            <ac:spMk id="505" creationId="{080EFD04-333D-2F48-7779-F30405108491}"/>
          </ac:spMkLst>
        </pc:spChg>
        <pc:spChg chg="add del mod">
          <ac:chgData name="Steiner Andreas 6206 ED" userId="e6377c33-a923-4f14-8587-531c474c7b48" providerId="ADAL" clId="{6ECD27E6-B224-41CD-B4E0-E297462320DD}" dt="2023-11-24T08:49:07.971" v="77154"/>
          <ac:spMkLst>
            <pc:docMk/>
            <pc:sldMk cId="398206320" sldId="2147478580"/>
            <ac:spMk id="506" creationId="{4ACE0459-7FC6-A22C-5ED3-474FB600B0BF}"/>
          </ac:spMkLst>
        </pc:spChg>
        <pc:spChg chg="add del mod">
          <ac:chgData name="Steiner Andreas 6206 ED" userId="e6377c33-a923-4f14-8587-531c474c7b48" providerId="ADAL" clId="{6ECD27E6-B224-41CD-B4E0-E297462320DD}" dt="2023-11-24T08:49:09.853" v="77309"/>
          <ac:spMkLst>
            <pc:docMk/>
            <pc:sldMk cId="398206320" sldId="2147478580"/>
            <ac:spMk id="507" creationId="{C6FA559E-E65B-2A09-2E50-72ACDC29B9D3}"/>
          </ac:spMkLst>
        </pc:spChg>
        <pc:spChg chg="add del mod">
          <ac:chgData name="Steiner Andreas 6206 ED" userId="e6377c33-a923-4f14-8587-531c474c7b48" providerId="ADAL" clId="{6ECD27E6-B224-41CD-B4E0-E297462320DD}" dt="2023-11-24T08:49:11.632" v="77464"/>
          <ac:spMkLst>
            <pc:docMk/>
            <pc:sldMk cId="398206320" sldId="2147478580"/>
            <ac:spMk id="508" creationId="{0022FFD7-2DE6-7F82-C486-1F06E4E2BCFD}"/>
          </ac:spMkLst>
        </pc:spChg>
        <pc:spChg chg="add del mod">
          <ac:chgData name="Steiner Andreas 6206 ED" userId="e6377c33-a923-4f14-8587-531c474c7b48" providerId="ADAL" clId="{6ECD27E6-B224-41CD-B4E0-E297462320DD}" dt="2023-11-24T08:49:13.743" v="77619"/>
          <ac:spMkLst>
            <pc:docMk/>
            <pc:sldMk cId="398206320" sldId="2147478580"/>
            <ac:spMk id="509" creationId="{B5DD096E-1320-BB73-4639-6C3B2B2ADFCD}"/>
          </ac:spMkLst>
        </pc:spChg>
        <pc:spChg chg="add del mod">
          <ac:chgData name="Steiner Andreas 6206 ED" userId="e6377c33-a923-4f14-8587-531c474c7b48" providerId="ADAL" clId="{6ECD27E6-B224-41CD-B4E0-E297462320DD}" dt="2023-11-24T08:49:15.731" v="77774"/>
          <ac:spMkLst>
            <pc:docMk/>
            <pc:sldMk cId="398206320" sldId="2147478580"/>
            <ac:spMk id="510" creationId="{B589BACB-0093-7C9C-30B5-E518BF74471C}"/>
          </ac:spMkLst>
        </pc:spChg>
        <pc:spChg chg="add del mod">
          <ac:chgData name="Steiner Andreas 6206 ED" userId="e6377c33-a923-4f14-8587-531c474c7b48" providerId="ADAL" clId="{6ECD27E6-B224-41CD-B4E0-E297462320DD}" dt="2023-11-24T08:49:17.766" v="77929"/>
          <ac:spMkLst>
            <pc:docMk/>
            <pc:sldMk cId="398206320" sldId="2147478580"/>
            <ac:spMk id="511" creationId="{6E398EE9-5C53-621E-31BD-6A267F05DB30}"/>
          </ac:spMkLst>
        </pc:spChg>
        <pc:spChg chg="add del mod">
          <ac:chgData name="Steiner Andreas 6206 ED" userId="e6377c33-a923-4f14-8587-531c474c7b48" providerId="ADAL" clId="{6ECD27E6-B224-41CD-B4E0-E297462320DD}" dt="2023-11-24T08:49:19.810" v="78084"/>
          <ac:spMkLst>
            <pc:docMk/>
            <pc:sldMk cId="398206320" sldId="2147478580"/>
            <ac:spMk id="512" creationId="{B109CCFB-1629-1A72-EC47-810A3355A575}"/>
          </ac:spMkLst>
        </pc:spChg>
        <pc:spChg chg="add del mod">
          <ac:chgData name="Steiner Andreas 6206 ED" userId="e6377c33-a923-4f14-8587-531c474c7b48" providerId="ADAL" clId="{6ECD27E6-B224-41CD-B4E0-E297462320DD}" dt="2023-11-24T08:49:21.702" v="78239"/>
          <ac:spMkLst>
            <pc:docMk/>
            <pc:sldMk cId="398206320" sldId="2147478580"/>
            <ac:spMk id="513" creationId="{603EAE7E-75F4-265B-071C-E3CC4C1DF313}"/>
          </ac:spMkLst>
        </pc:spChg>
        <pc:spChg chg="add del mod">
          <ac:chgData name="Steiner Andreas 6206 ED" userId="e6377c33-a923-4f14-8587-531c474c7b48" providerId="ADAL" clId="{6ECD27E6-B224-41CD-B4E0-E297462320DD}" dt="2023-11-24T08:49:23.615" v="78394"/>
          <ac:spMkLst>
            <pc:docMk/>
            <pc:sldMk cId="398206320" sldId="2147478580"/>
            <ac:spMk id="514" creationId="{44562539-CEB5-FB60-9C54-C4F36D0FF66A}"/>
          </ac:spMkLst>
        </pc:spChg>
        <pc:spChg chg="add del mod">
          <ac:chgData name="Steiner Andreas 6206 ED" userId="e6377c33-a923-4f14-8587-531c474c7b48" providerId="ADAL" clId="{6ECD27E6-B224-41CD-B4E0-E297462320DD}" dt="2023-11-24T08:49:25.485" v="78549"/>
          <ac:spMkLst>
            <pc:docMk/>
            <pc:sldMk cId="398206320" sldId="2147478580"/>
            <ac:spMk id="515" creationId="{D3F9C595-902B-0F0C-3A17-546D6E5999A1}"/>
          </ac:spMkLst>
        </pc:spChg>
        <pc:spChg chg="add del mod">
          <ac:chgData name="Steiner Andreas 6206 ED" userId="e6377c33-a923-4f14-8587-531c474c7b48" providerId="ADAL" clId="{6ECD27E6-B224-41CD-B4E0-E297462320DD}" dt="2023-11-24T08:49:27.558" v="78704"/>
          <ac:spMkLst>
            <pc:docMk/>
            <pc:sldMk cId="398206320" sldId="2147478580"/>
            <ac:spMk id="516" creationId="{CC7AABE0-B21C-501E-2F8F-D713F084D9F3}"/>
          </ac:spMkLst>
        </pc:spChg>
        <pc:spChg chg="add del mod">
          <ac:chgData name="Steiner Andreas 6206 ED" userId="e6377c33-a923-4f14-8587-531c474c7b48" providerId="ADAL" clId="{6ECD27E6-B224-41CD-B4E0-E297462320DD}" dt="2023-11-24T08:49:29.588" v="78859"/>
          <ac:spMkLst>
            <pc:docMk/>
            <pc:sldMk cId="398206320" sldId="2147478580"/>
            <ac:spMk id="517" creationId="{65A63C96-0913-7264-7879-7446C04084EC}"/>
          </ac:spMkLst>
        </pc:spChg>
        <pc:spChg chg="add del mod">
          <ac:chgData name="Steiner Andreas 6206 ED" userId="e6377c33-a923-4f14-8587-531c474c7b48" providerId="ADAL" clId="{6ECD27E6-B224-41CD-B4E0-E297462320DD}" dt="2023-11-24T08:49:31.514" v="79014"/>
          <ac:spMkLst>
            <pc:docMk/>
            <pc:sldMk cId="398206320" sldId="2147478580"/>
            <ac:spMk id="518" creationId="{1D3040CF-175B-F285-FBA3-7F7028764A9D}"/>
          </ac:spMkLst>
        </pc:spChg>
        <pc:spChg chg="add del mod">
          <ac:chgData name="Steiner Andreas 6206 ED" userId="e6377c33-a923-4f14-8587-531c474c7b48" providerId="ADAL" clId="{6ECD27E6-B224-41CD-B4E0-E297462320DD}" dt="2023-11-24T08:49:33.417" v="79169"/>
          <ac:spMkLst>
            <pc:docMk/>
            <pc:sldMk cId="398206320" sldId="2147478580"/>
            <ac:spMk id="519" creationId="{EB7BA162-1293-5F9F-6A0A-C69760C43A9B}"/>
          </ac:spMkLst>
        </pc:spChg>
        <pc:spChg chg="add del mod">
          <ac:chgData name="Steiner Andreas 6206 ED" userId="e6377c33-a923-4f14-8587-531c474c7b48" providerId="ADAL" clId="{6ECD27E6-B224-41CD-B4E0-E297462320DD}" dt="2023-11-24T08:49:35.320" v="79324"/>
          <ac:spMkLst>
            <pc:docMk/>
            <pc:sldMk cId="398206320" sldId="2147478580"/>
            <ac:spMk id="520" creationId="{668574AD-FFAE-C1D8-01CD-CC70C7EEF21C}"/>
          </ac:spMkLst>
        </pc:spChg>
        <pc:spChg chg="add del mod">
          <ac:chgData name="Steiner Andreas 6206 ED" userId="e6377c33-a923-4f14-8587-531c474c7b48" providerId="ADAL" clId="{6ECD27E6-B224-41CD-B4E0-E297462320DD}" dt="2023-11-24T08:49:37.150" v="79479"/>
          <ac:spMkLst>
            <pc:docMk/>
            <pc:sldMk cId="398206320" sldId="2147478580"/>
            <ac:spMk id="521" creationId="{4C2E06F8-2A91-ADEB-F572-0DC97DB9496B}"/>
          </ac:spMkLst>
        </pc:spChg>
        <pc:spChg chg="add del mod">
          <ac:chgData name="Steiner Andreas 6206 ED" userId="e6377c33-a923-4f14-8587-531c474c7b48" providerId="ADAL" clId="{6ECD27E6-B224-41CD-B4E0-E297462320DD}" dt="2023-11-24T08:49:39.117" v="79634"/>
          <ac:spMkLst>
            <pc:docMk/>
            <pc:sldMk cId="398206320" sldId="2147478580"/>
            <ac:spMk id="522" creationId="{48D2C382-4566-9455-07BE-68B1B5943077}"/>
          </ac:spMkLst>
        </pc:spChg>
        <pc:spChg chg="add del mod">
          <ac:chgData name="Steiner Andreas 6206 ED" userId="e6377c33-a923-4f14-8587-531c474c7b48" providerId="ADAL" clId="{6ECD27E6-B224-41CD-B4E0-E297462320DD}" dt="2023-11-24T08:49:41.212" v="79789"/>
          <ac:spMkLst>
            <pc:docMk/>
            <pc:sldMk cId="398206320" sldId="2147478580"/>
            <ac:spMk id="523" creationId="{08899360-00C7-D700-99BA-38D51A14A9DC}"/>
          </ac:spMkLst>
        </pc:spChg>
        <pc:spChg chg="add del mod">
          <ac:chgData name="Steiner Andreas 6206 ED" userId="e6377c33-a923-4f14-8587-531c474c7b48" providerId="ADAL" clId="{6ECD27E6-B224-41CD-B4E0-E297462320DD}" dt="2023-11-24T08:49:43.119" v="79944"/>
          <ac:spMkLst>
            <pc:docMk/>
            <pc:sldMk cId="398206320" sldId="2147478580"/>
            <ac:spMk id="524" creationId="{D76D8CC8-B6C4-971C-D012-D70F60726EB0}"/>
          </ac:spMkLst>
        </pc:spChg>
        <pc:spChg chg="add del mod">
          <ac:chgData name="Steiner Andreas 6206 ED" userId="e6377c33-a923-4f14-8587-531c474c7b48" providerId="ADAL" clId="{6ECD27E6-B224-41CD-B4E0-E297462320DD}" dt="2023-11-24T08:49:45.063" v="80099"/>
          <ac:spMkLst>
            <pc:docMk/>
            <pc:sldMk cId="398206320" sldId="2147478580"/>
            <ac:spMk id="525" creationId="{53E243E3-C245-7EE9-A67F-F3CD8E82C142}"/>
          </ac:spMkLst>
        </pc:spChg>
        <pc:spChg chg="add del mod">
          <ac:chgData name="Steiner Andreas 6206 ED" userId="e6377c33-a923-4f14-8587-531c474c7b48" providerId="ADAL" clId="{6ECD27E6-B224-41CD-B4E0-E297462320DD}" dt="2023-11-24T08:49:47.026" v="80254"/>
          <ac:spMkLst>
            <pc:docMk/>
            <pc:sldMk cId="398206320" sldId="2147478580"/>
            <ac:spMk id="526" creationId="{9204F5F6-65BD-6007-58D0-052F9DDFC400}"/>
          </ac:spMkLst>
        </pc:spChg>
        <pc:spChg chg="add del mod">
          <ac:chgData name="Steiner Andreas 6206 ED" userId="e6377c33-a923-4f14-8587-531c474c7b48" providerId="ADAL" clId="{6ECD27E6-B224-41CD-B4E0-E297462320DD}" dt="2023-11-24T08:49:48.897" v="80409"/>
          <ac:spMkLst>
            <pc:docMk/>
            <pc:sldMk cId="398206320" sldId="2147478580"/>
            <ac:spMk id="527" creationId="{0BA5A347-5577-C7DF-29EF-ED1C12B010BB}"/>
          </ac:spMkLst>
        </pc:spChg>
        <pc:spChg chg="add del mod">
          <ac:chgData name="Steiner Andreas 6206 ED" userId="e6377c33-a923-4f14-8587-531c474c7b48" providerId="ADAL" clId="{6ECD27E6-B224-41CD-B4E0-E297462320DD}" dt="2023-11-24T08:49:50.798" v="80564"/>
          <ac:spMkLst>
            <pc:docMk/>
            <pc:sldMk cId="398206320" sldId="2147478580"/>
            <ac:spMk id="528" creationId="{068103F9-4394-C923-9A62-CE79240F64EB}"/>
          </ac:spMkLst>
        </pc:spChg>
        <pc:spChg chg="add del mod">
          <ac:chgData name="Steiner Andreas 6206 ED" userId="e6377c33-a923-4f14-8587-531c474c7b48" providerId="ADAL" clId="{6ECD27E6-B224-41CD-B4E0-E297462320DD}" dt="2023-11-24T08:49:52.724" v="80719"/>
          <ac:spMkLst>
            <pc:docMk/>
            <pc:sldMk cId="398206320" sldId="2147478580"/>
            <ac:spMk id="529" creationId="{E5395CC8-A852-4878-ABDE-1006F953D237}"/>
          </ac:spMkLst>
        </pc:spChg>
        <pc:spChg chg="add del mod">
          <ac:chgData name="Steiner Andreas 6206 ED" userId="e6377c33-a923-4f14-8587-531c474c7b48" providerId="ADAL" clId="{6ECD27E6-B224-41CD-B4E0-E297462320DD}" dt="2023-11-24T08:49:54.657" v="80874"/>
          <ac:spMkLst>
            <pc:docMk/>
            <pc:sldMk cId="398206320" sldId="2147478580"/>
            <ac:spMk id="530" creationId="{9DCAD622-C0D6-417C-F711-CA2C7C68CB02}"/>
          </ac:spMkLst>
        </pc:spChg>
        <pc:spChg chg="add del mod">
          <ac:chgData name="Steiner Andreas 6206 ED" userId="e6377c33-a923-4f14-8587-531c474c7b48" providerId="ADAL" clId="{6ECD27E6-B224-41CD-B4E0-E297462320DD}" dt="2023-11-24T08:49:56.528" v="81029"/>
          <ac:spMkLst>
            <pc:docMk/>
            <pc:sldMk cId="398206320" sldId="2147478580"/>
            <ac:spMk id="531" creationId="{0867F11E-B882-A710-2A5F-E3CB661D60C4}"/>
          </ac:spMkLst>
        </pc:spChg>
        <pc:spChg chg="add del mod">
          <ac:chgData name="Steiner Andreas 6206 ED" userId="e6377c33-a923-4f14-8587-531c474c7b48" providerId="ADAL" clId="{6ECD27E6-B224-41CD-B4E0-E297462320DD}" dt="2023-11-24T08:49:58.422" v="81184"/>
          <ac:spMkLst>
            <pc:docMk/>
            <pc:sldMk cId="398206320" sldId="2147478580"/>
            <ac:spMk id="532" creationId="{398EBE1F-260F-7BF5-B8F7-643B582AF603}"/>
          </ac:spMkLst>
        </pc:spChg>
        <pc:spChg chg="add del mod">
          <ac:chgData name="Steiner Andreas 6206 ED" userId="e6377c33-a923-4f14-8587-531c474c7b48" providerId="ADAL" clId="{6ECD27E6-B224-41CD-B4E0-E297462320DD}" dt="2023-11-24T08:50:00.347" v="81339"/>
          <ac:spMkLst>
            <pc:docMk/>
            <pc:sldMk cId="398206320" sldId="2147478580"/>
            <ac:spMk id="533" creationId="{8E0F9667-0F9A-2747-FE83-047CDD548F9A}"/>
          </ac:spMkLst>
        </pc:spChg>
        <pc:spChg chg="add del mod">
          <ac:chgData name="Steiner Andreas 6206 ED" userId="e6377c33-a923-4f14-8587-531c474c7b48" providerId="ADAL" clId="{6ECD27E6-B224-41CD-B4E0-E297462320DD}" dt="2023-11-24T08:50:02.422" v="81494"/>
          <ac:spMkLst>
            <pc:docMk/>
            <pc:sldMk cId="398206320" sldId="2147478580"/>
            <ac:spMk id="534" creationId="{46233211-9BC9-E7F9-EB89-54B8FB989E44}"/>
          </ac:spMkLst>
        </pc:spChg>
        <pc:spChg chg="add del mod">
          <ac:chgData name="Steiner Andreas 6206 ED" userId="e6377c33-a923-4f14-8587-531c474c7b48" providerId="ADAL" clId="{6ECD27E6-B224-41CD-B4E0-E297462320DD}" dt="2023-11-24T08:50:04.490" v="81649"/>
          <ac:spMkLst>
            <pc:docMk/>
            <pc:sldMk cId="398206320" sldId="2147478580"/>
            <ac:spMk id="535" creationId="{A4152C83-7155-F8AE-AE2C-CB1EF585487B}"/>
          </ac:spMkLst>
        </pc:spChg>
        <pc:spChg chg="add del mod">
          <ac:chgData name="Steiner Andreas 6206 ED" userId="e6377c33-a923-4f14-8587-531c474c7b48" providerId="ADAL" clId="{6ECD27E6-B224-41CD-B4E0-E297462320DD}" dt="2023-11-24T08:50:06.428" v="81804"/>
          <ac:spMkLst>
            <pc:docMk/>
            <pc:sldMk cId="398206320" sldId="2147478580"/>
            <ac:spMk id="536" creationId="{420759C2-E2BA-A42C-9B9E-E8DFF095DE23}"/>
          </ac:spMkLst>
        </pc:spChg>
        <pc:spChg chg="add del mod">
          <ac:chgData name="Steiner Andreas 6206 ED" userId="e6377c33-a923-4f14-8587-531c474c7b48" providerId="ADAL" clId="{6ECD27E6-B224-41CD-B4E0-E297462320DD}" dt="2023-11-24T08:50:08.314" v="81959"/>
          <ac:spMkLst>
            <pc:docMk/>
            <pc:sldMk cId="398206320" sldId="2147478580"/>
            <ac:spMk id="537" creationId="{36DC8D53-72A1-A2A0-A258-6092551CC343}"/>
          </ac:spMkLst>
        </pc:spChg>
        <pc:spChg chg="add del mod">
          <ac:chgData name="Steiner Andreas 6206 ED" userId="e6377c33-a923-4f14-8587-531c474c7b48" providerId="ADAL" clId="{6ECD27E6-B224-41CD-B4E0-E297462320DD}" dt="2023-11-24T08:50:10.210" v="82114"/>
          <ac:spMkLst>
            <pc:docMk/>
            <pc:sldMk cId="398206320" sldId="2147478580"/>
            <ac:spMk id="538" creationId="{61078EBB-044A-8AED-C84F-391AEF30297D}"/>
          </ac:spMkLst>
        </pc:spChg>
        <pc:spChg chg="add del mod">
          <ac:chgData name="Steiner Andreas 6206 ED" userId="e6377c33-a923-4f14-8587-531c474c7b48" providerId="ADAL" clId="{6ECD27E6-B224-41CD-B4E0-E297462320DD}" dt="2023-11-24T08:50:12.125" v="82269"/>
          <ac:spMkLst>
            <pc:docMk/>
            <pc:sldMk cId="398206320" sldId="2147478580"/>
            <ac:spMk id="539" creationId="{33B6CD45-3C39-F19A-FEC6-467EE9FA9714}"/>
          </ac:spMkLst>
        </pc:spChg>
        <pc:spChg chg="add del mod">
          <ac:chgData name="Steiner Andreas 6206 ED" userId="e6377c33-a923-4f14-8587-531c474c7b48" providerId="ADAL" clId="{6ECD27E6-B224-41CD-B4E0-E297462320DD}" dt="2023-11-24T08:50:14.191" v="82424"/>
          <ac:spMkLst>
            <pc:docMk/>
            <pc:sldMk cId="398206320" sldId="2147478580"/>
            <ac:spMk id="540" creationId="{0FC3FFC1-4ACE-79D8-48DF-D2392F8BB68B}"/>
          </ac:spMkLst>
        </pc:spChg>
        <pc:spChg chg="add del mod">
          <ac:chgData name="Steiner Andreas 6206 ED" userId="e6377c33-a923-4f14-8587-531c474c7b48" providerId="ADAL" clId="{6ECD27E6-B224-41CD-B4E0-E297462320DD}" dt="2023-11-24T08:50:16.137" v="82579"/>
          <ac:spMkLst>
            <pc:docMk/>
            <pc:sldMk cId="398206320" sldId="2147478580"/>
            <ac:spMk id="541" creationId="{F1184E88-F044-D372-37D1-566D9FDCACB3}"/>
          </ac:spMkLst>
        </pc:spChg>
        <pc:spChg chg="add del mod">
          <ac:chgData name="Steiner Andreas 6206 ED" userId="e6377c33-a923-4f14-8587-531c474c7b48" providerId="ADAL" clId="{6ECD27E6-B224-41CD-B4E0-E297462320DD}" dt="2023-11-24T08:50:18.127" v="82734"/>
          <ac:spMkLst>
            <pc:docMk/>
            <pc:sldMk cId="398206320" sldId="2147478580"/>
            <ac:spMk id="542" creationId="{CA2DAACD-3A8B-E197-2C38-AA7F76E017B4}"/>
          </ac:spMkLst>
        </pc:spChg>
        <pc:spChg chg="add del mod">
          <ac:chgData name="Steiner Andreas 6206 ED" userId="e6377c33-a923-4f14-8587-531c474c7b48" providerId="ADAL" clId="{6ECD27E6-B224-41CD-B4E0-E297462320DD}" dt="2023-11-24T08:50:20.331" v="82889"/>
          <ac:spMkLst>
            <pc:docMk/>
            <pc:sldMk cId="398206320" sldId="2147478580"/>
            <ac:spMk id="543" creationId="{BD3CE5BB-FF1A-328C-E1B4-FBDCA756569A}"/>
          </ac:spMkLst>
        </pc:spChg>
        <pc:spChg chg="add del mod">
          <ac:chgData name="Steiner Andreas 6206 ED" userId="e6377c33-a923-4f14-8587-531c474c7b48" providerId="ADAL" clId="{6ECD27E6-B224-41CD-B4E0-E297462320DD}" dt="2023-11-24T08:50:22.263" v="83044"/>
          <ac:spMkLst>
            <pc:docMk/>
            <pc:sldMk cId="398206320" sldId="2147478580"/>
            <ac:spMk id="544" creationId="{E97AE843-73BB-F380-63AD-6AC1B0BE81D8}"/>
          </ac:spMkLst>
        </pc:spChg>
        <pc:spChg chg="add del mod">
          <ac:chgData name="Steiner Andreas 6206 ED" userId="e6377c33-a923-4f14-8587-531c474c7b48" providerId="ADAL" clId="{6ECD27E6-B224-41CD-B4E0-E297462320DD}" dt="2023-11-24T08:50:24.356" v="83199"/>
          <ac:spMkLst>
            <pc:docMk/>
            <pc:sldMk cId="398206320" sldId="2147478580"/>
            <ac:spMk id="545" creationId="{4F2CE67D-9A7D-5B31-0857-7C589A35E945}"/>
          </ac:spMkLst>
        </pc:spChg>
        <pc:spChg chg="add del mod">
          <ac:chgData name="Steiner Andreas 6206 ED" userId="e6377c33-a923-4f14-8587-531c474c7b48" providerId="ADAL" clId="{6ECD27E6-B224-41CD-B4E0-E297462320DD}" dt="2023-11-24T08:50:26.358" v="83354"/>
          <ac:spMkLst>
            <pc:docMk/>
            <pc:sldMk cId="398206320" sldId="2147478580"/>
            <ac:spMk id="546" creationId="{E74BF466-397A-072E-4AC5-46F45F2CF4D0}"/>
          </ac:spMkLst>
        </pc:spChg>
        <pc:spChg chg="add del mod">
          <ac:chgData name="Steiner Andreas 6206 ED" userId="e6377c33-a923-4f14-8587-531c474c7b48" providerId="ADAL" clId="{6ECD27E6-B224-41CD-B4E0-E297462320DD}" dt="2023-11-24T08:50:28.290" v="83509"/>
          <ac:spMkLst>
            <pc:docMk/>
            <pc:sldMk cId="398206320" sldId="2147478580"/>
            <ac:spMk id="547" creationId="{730B52BD-52FF-2064-E980-AA1EB35BDCBD}"/>
          </ac:spMkLst>
        </pc:spChg>
        <pc:spChg chg="add del mod">
          <ac:chgData name="Steiner Andreas 6206 ED" userId="e6377c33-a923-4f14-8587-531c474c7b48" providerId="ADAL" clId="{6ECD27E6-B224-41CD-B4E0-E297462320DD}" dt="2023-11-24T08:50:30.202" v="83664"/>
          <ac:spMkLst>
            <pc:docMk/>
            <pc:sldMk cId="398206320" sldId="2147478580"/>
            <ac:spMk id="548" creationId="{DCB35476-8E05-63E8-75E3-71F9BC6FB743}"/>
          </ac:spMkLst>
        </pc:spChg>
        <pc:spChg chg="add del mod">
          <ac:chgData name="Steiner Andreas 6206 ED" userId="e6377c33-a923-4f14-8587-531c474c7b48" providerId="ADAL" clId="{6ECD27E6-B224-41CD-B4E0-E297462320DD}" dt="2023-11-24T08:50:32.258" v="83819"/>
          <ac:spMkLst>
            <pc:docMk/>
            <pc:sldMk cId="398206320" sldId="2147478580"/>
            <ac:spMk id="549" creationId="{5F869047-2711-29EC-FB8B-AF24D1E152A2}"/>
          </ac:spMkLst>
        </pc:spChg>
        <pc:spChg chg="add del mod">
          <ac:chgData name="Steiner Andreas 6206 ED" userId="e6377c33-a923-4f14-8587-531c474c7b48" providerId="ADAL" clId="{6ECD27E6-B224-41CD-B4E0-E297462320DD}" dt="2023-11-24T08:50:34.285" v="83974"/>
          <ac:spMkLst>
            <pc:docMk/>
            <pc:sldMk cId="398206320" sldId="2147478580"/>
            <ac:spMk id="550" creationId="{52B5B506-E849-D3A9-5E4E-5D0C0C0CD3EB}"/>
          </ac:spMkLst>
        </pc:spChg>
        <pc:spChg chg="add del mod">
          <ac:chgData name="Steiner Andreas 6206 ED" userId="e6377c33-a923-4f14-8587-531c474c7b48" providerId="ADAL" clId="{6ECD27E6-B224-41CD-B4E0-E297462320DD}" dt="2023-11-24T08:50:36.520" v="84129"/>
          <ac:spMkLst>
            <pc:docMk/>
            <pc:sldMk cId="398206320" sldId="2147478580"/>
            <ac:spMk id="551" creationId="{B053406E-51DA-6974-42BC-BF7C63F5C9C2}"/>
          </ac:spMkLst>
        </pc:spChg>
        <pc:spChg chg="add del mod">
          <ac:chgData name="Steiner Andreas 6206 ED" userId="e6377c33-a923-4f14-8587-531c474c7b48" providerId="ADAL" clId="{6ECD27E6-B224-41CD-B4E0-E297462320DD}" dt="2023-11-24T08:50:38.481" v="84284"/>
          <ac:spMkLst>
            <pc:docMk/>
            <pc:sldMk cId="398206320" sldId="2147478580"/>
            <ac:spMk id="552" creationId="{8F51EB7B-31B5-7E34-5304-0919806D88BA}"/>
          </ac:spMkLst>
        </pc:spChg>
        <pc:spChg chg="add del mod">
          <ac:chgData name="Steiner Andreas 6206 ED" userId="e6377c33-a923-4f14-8587-531c474c7b48" providerId="ADAL" clId="{6ECD27E6-B224-41CD-B4E0-E297462320DD}" dt="2023-11-24T08:50:40.467" v="84439"/>
          <ac:spMkLst>
            <pc:docMk/>
            <pc:sldMk cId="398206320" sldId="2147478580"/>
            <ac:spMk id="553" creationId="{25DB0BB5-926F-5375-BB5A-6AA72BE3CE54}"/>
          </ac:spMkLst>
        </pc:spChg>
        <pc:spChg chg="add del mod">
          <ac:chgData name="Steiner Andreas 6206 ED" userId="e6377c33-a923-4f14-8587-531c474c7b48" providerId="ADAL" clId="{6ECD27E6-B224-41CD-B4E0-E297462320DD}" dt="2023-11-24T08:50:42.462" v="84594"/>
          <ac:spMkLst>
            <pc:docMk/>
            <pc:sldMk cId="398206320" sldId="2147478580"/>
            <ac:spMk id="554" creationId="{03A4F1FB-3DE9-9CAF-15ED-22B7512BAFF6}"/>
          </ac:spMkLst>
        </pc:spChg>
        <pc:spChg chg="add del mod">
          <ac:chgData name="Steiner Andreas 6206 ED" userId="e6377c33-a923-4f14-8587-531c474c7b48" providerId="ADAL" clId="{6ECD27E6-B224-41CD-B4E0-E297462320DD}" dt="2023-11-24T08:50:44.633" v="84749"/>
          <ac:spMkLst>
            <pc:docMk/>
            <pc:sldMk cId="398206320" sldId="2147478580"/>
            <ac:spMk id="555" creationId="{EBFD78AA-EA77-4390-9CB3-25B92F2733B9}"/>
          </ac:spMkLst>
        </pc:spChg>
        <pc:spChg chg="add del mod">
          <ac:chgData name="Steiner Andreas 6206 ED" userId="e6377c33-a923-4f14-8587-531c474c7b48" providerId="ADAL" clId="{6ECD27E6-B224-41CD-B4E0-E297462320DD}" dt="2023-11-24T08:50:46.736" v="84904"/>
          <ac:spMkLst>
            <pc:docMk/>
            <pc:sldMk cId="398206320" sldId="2147478580"/>
            <ac:spMk id="556" creationId="{BD86EF76-4BC6-A8C3-531C-649835D482DB}"/>
          </ac:spMkLst>
        </pc:spChg>
        <pc:spChg chg="add del mod">
          <ac:chgData name="Steiner Andreas 6206 ED" userId="e6377c33-a923-4f14-8587-531c474c7b48" providerId="ADAL" clId="{6ECD27E6-B224-41CD-B4E0-E297462320DD}" dt="2023-11-24T08:50:48.861" v="85059"/>
          <ac:spMkLst>
            <pc:docMk/>
            <pc:sldMk cId="398206320" sldId="2147478580"/>
            <ac:spMk id="557" creationId="{F8211BCD-77D9-902B-5814-E5B98FCF0763}"/>
          </ac:spMkLst>
        </pc:spChg>
        <pc:spChg chg="add del mod">
          <ac:chgData name="Steiner Andreas 6206 ED" userId="e6377c33-a923-4f14-8587-531c474c7b48" providerId="ADAL" clId="{6ECD27E6-B224-41CD-B4E0-E297462320DD}" dt="2023-11-24T08:50:50.959" v="85214"/>
          <ac:spMkLst>
            <pc:docMk/>
            <pc:sldMk cId="398206320" sldId="2147478580"/>
            <ac:spMk id="558" creationId="{379C03EF-61D6-D25C-5887-F33CD4A358F9}"/>
          </ac:spMkLst>
        </pc:spChg>
        <pc:spChg chg="add del mod">
          <ac:chgData name="Steiner Andreas 6206 ED" userId="e6377c33-a923-4f14-8587-531c474c7b48" providerId="ADAL" clId="{6ECD27E6-B224-41CD-B4E0-E297462320DD}" dt="2023-11-24T08:50:53.078" v="85369"/>
          <ac:spMkLst>
            <pc:docMk/>
            <pc:sldMk cId="398206320" sldId="2147478580"/>
            <ac:spMk id="559" creationId="{79F91859-A3F6-49FF-C5B3-135D9F11B0D8}"/>
          </ac:spMkLst>
        </pc:spChg>
        <pc:spChg chg="add del mod">
          <ac:chgData name="Steiner Andreas 6206 ED" userId="e6377c33-a923-4f14-8587-531c474c7b48" providerId="ADAL" clId="{6ECD27E6-B224-41CD-B4E0-E297462320DD}" dt="2023-11-24T08:50:54.990" v="85524"/>
          <ac:spMkLst>
            <pc:docMk/>
            <pc:sldMk cId="398206320" sldId="2147478580"/>
            <ac:spMk id="560" creationId="{A9E5144B-10FC-AC89-FC03-766151777319}"/>
          </ac:spMkLst>
        </pc:spChg>
        <pc:spChg chg="add del mod">
          <ac:chgData name="Steiner Andreas 6206 ED" userId="e6377c33-a923-4f14-8587-531c474c7b48" providerId="ADAL" clId="{6ECD27E6-B224-41CD-B4E0-E297462320DD}" dt="2023-11-24T08:50:56.894" v="85679"/>
          <ac:spMkLst>
            <pc:docMk/>
            <pc:sldMk cId="398206320" sldId="2147478580"/>
            <ac:spMk id="561" creationId="{4D04D850-23EE-74AE-33E9-EA393A3D2914}"/>
          </ac:spMkLst>
        </pc:spChg>
        <pc:spChg chg="add del mod">
          <ac:chgData name="Steiner Andreas 6206 ED" userId="e6377c33-a923-4f14-8587-531c474c7b48" providerId="ADAL" clId="{6ECD27E6-B224-41CD-B4E0-E297462320DD}" dt="2023-11-24T08:50:59.091" v="85834"/>
          <ac:spMkLst>
            <pc:docMk/>
            <pc:sldMk cId="398206320" sldId="2147478580"/>
            <ac:spMk id="562" creationId="{A2525F40-3221-727B-EB4B-A0164660747D}"/>
          </ac:spMkLst>
        </pc:spChg>
        <pc:spChg chg="add del mod">
          <ac:chgData name="Steiner Andreas 6206 ED" userId="e6377c33-a923-4f14-8587-531c474c7b48" providerId="ADAL" clId="{6ECD27E6-B224-41CD-B4E0-E297462320DD}" dt="2023-11-24T08:51:01.035" v="85989"/>
          <ac:spMkLst>
            <pc:docMk/>
            <pc:sldMk cId="398206320" sldId="2147478580"/>
            <ac:spMk id="563" creationId="{7A9775E3-61EA-99B8-8B7A-BACC31241D49}"/>
          </ac:spMkLst>
        </pc:spChg>
        <pc:spChg chg="add del mod">
          <ac:chgData name="Steiner Andreas 6206 ED" userId="e6377c33-a923-4f14-8587-531c474c7b48" providerId="ADAL" clId="{6ECD27E6-B224-41CD-B4E0-E297462320DD}" dt="2023-11-24T08:51:03.018" v="86144"/>
          <ac:spMkLst>
            <pc:docMk/>
            <pc:sldMk cId="398206320" sldId="2147478580"/>
            <ac:spMk id="564" creationId="{F274259D-2704-61E3-BA58-770B8A3F8A3B}"/>
          </ac:spMkLst>
        </pc:spChg>
        <pc:spChg chg="add del mod">
          <ac:chgData name="Steiner Andreas 6206 ED" userId="e6377c33-a923-4f14-8587-531c474c7b48" providerId="ADAL" clId="{6ECD27E6-B224-41CD-B4E0-E297462320DD}" dt="2023-11-24T08:51:04.889" v="86299"/>
          <ac:spMkLst>
            <pc:docMk/>
            <pc:sldMk cId="398206320" sldId="2147478580"/>
            <ac:spMk id="565" creationId="{0FE486A9-DA82-FDFF-CFF9-7C454C618CE3}"/>
          </ac:spMkLst>
        </pc:spChg>
        <pc:spChg chg="add del mod">
          <ac:chgData name="Steiner Andreas 6206 ED" userId="e6377c33-a923-4f14-8587-531c474c7b48" providerId="ADAL" clId="{6ECD27E6-B224-41CD-B4E0-E297462320DD}" dt="2023-11-24T08:51:06.783" v="86454"/>
          <ac:spMkLst>
            <pc:docMk/>
            <pc:sldMk cId="398206320" sldId="2147478580"/>
            <ac:spMk id="566" creationId="{4C33AB82-9A25-8266-E834-DC67E6B9449B}"/>
          </ac:spMkLst>
        </pc:spChg>
        <pc:spChg chg="add del mod">
          <ac:chgData name="Steiner Andreas 6206 ED" userId="e6377c33-a923-4f14-8587-531c474c7b48" providerId="ADAL" clId="{6ECD27E6-B224-41CD-B4E0-E297462320DD}" dt="2023-11-24T08:51:08.771" v="86609"/>
          <ac:spMkLst>
            <pc:docMk/>
            <pc:sldMk cId="398206320" sldId="2147478580"/>
            <ac:spMk id="567" creationId="{C0F85335-A3BB-C8D0-8418-465373E50E7B}"/>
          </ac:spMkLst>
        </pc:spChg>
        <pc:spChg chg="add del mod">
          <ac:chgData name="Steiner Andreas 6206 ED" userId="e6377c33-a923-4f14-8587-531c474c7b48" providerId="ADAL" clId="{6ECD27E6-B224-41CD-B4E0-E297462320DD}" dt="2023-11-24T08:51:10.803" v="86764"/>
          <ac:spMkLst>
            <pc:docMk/>
            <pc:sldMk cId="398206320" sldId="2147478580"/>
            <ac:spMk id="568" creationId="{E82FCEDD-176F-8492-AE84-525EB9A0F3FE}"/>
          </ac:spMkLst>
        </pc:spChg>
        <pc:spChg chg="add del mod">
          <ac:chgData name="Steiner Andreas 6206 ED" userId="e6377c33-a923-4f14-8587-531c474c7b48" providerId="ADAL" clId="{6ECD27E6-B224-41CD-B4E0-E297462320DD}" dt="2023-11-24T08:51:12.701" v="86919"/>
          <ac:spMkLst>
            <pc:docMk/>
            <pc:sldMk cId="398206320" sldId="2147478580"/>
            <ac:spMk id="569" creationId="{FFA396AC-CDDA-F060-3E37-E80A7059CE57}"/>
          </ac:spMkLst>
        </pc:spChg>
        <pc:spChg chg="add del mod">
          <ac:chgData name="Steiner Andreas 6206 ED" userId="e6377c33-a923-4f14-8587-531c474c7b48" providerId="ADAL" clId="{6ECD27E6-B224-41CD-B4E0-E297462320DD}" dt="2023-11-24T08:51:14.880" v="87074"/>
          <ac:spMkLst>
            <pc:docMk/>
            <pc:sldMk cId="398206320" sldId="2147478580"/>
            <ac:spMk id="570" creationId="{94488DE1-74A7-4252-35B0-BA0598918883}"/>
          </ac:spMkLst>
        </pc:spChg>
        <pc:spChg chg="add del mod">
          <ac:chgData name="Steiner Andreas 6206 ED" userId="e6377c33-a923-4f14-8587-531c474c7b48" providerId="ADAL" clId="{6ECD27E6-B224-41CD-B4E0-E297462320DD}" dt="2023-11-24T08:51:16.975" v="87229"/>
          <ac:spMkLst>
            <pc:docMk/>
            <pc:sldMk cId="398206320" sldId="2147478580"/>
            <ac:spMk id="571" creationId="{53530876-1782-A439-35D7-3813F7D91F8E}"/>
          </ac:spMkLst>
        </pc:spChg>
        <pc:spChg chg="add del mod">
          <ac:chgData name="Steiner Andreas 6206 ED" userId="e6377c33-a923-4f14-8587-531c474c7b48" providerId="ADAL" clId="{6ECD27E6-B224-41CD-B4E0-E297462320DD}" dt="2023-11-24T08:51:18.893" v="87384"/>
          <ac:spMkLst>
            <pc:docMk/>
            <pc:sldMk cId="398206320" sldId="2147478580"/>
            <ac:spMk id="572" creationId="{6EFE5AA8-70C1-15D3-64E0-701D2E25E313}"/>
          </ac:spMkLst>
        </pc:spChg>
        <pc:spChg chg="add del mod">
          <ac:chgData name="Steiner Andreas 6206 ED" userId="e6377c33-a923-4f14-8587-531c474c7b48" providerId="ADAL" clId="{6ECD27E6-B224-41CD-B4E0-E297462320DD}" dt="2023-11-24T08:51:20.955" v="87539"/>
          <ac:spMkLst>
            <pc:docMk/>
            <pc:sldMk cId="398206320" sldId="2147478580"/>
            <ac:spMk id="573" creationId="{5F2A97BA-8CE6-20B8-CEA8-63274E388F51}"/>
          </ac:spMkLst>
        </pc:spChg>
        <pc:spChg chg="add del mod">
          <ac:chgData name="Steiner Andreas 6206 ED" userId="e6377c33-a923-4f14-8587-531c474c7b48" providerId="ADAL" clId="{6ECD27E6-B224-41CD-B4E0-E297462320DD}" dt="2023-11-24T08:51:22.905" v="87694"/>
          <ac:spMkLst>
            <pc:docMk/>
            <pc:sldMk cId="398206320" sldId="2147478580"/>
            <ac:spMk id="574" creationId="{F3A8DE01-B41E-0AA9-95AD-9292B81FCF48}"/>
          </ac:spMkLst>
        </pc:spChg>
        <pc:spChg chg="add del mod">
          <ac:chgData name="Steiner Andreas 6206 ED" userId="e6377c33-a923-4f14-8587-531c474c7b48" providerId="ADAL" clId="{6ECD27E6-B224-41CD-B4E0-E297462320DD}" dt="2023-11-24T08:51:24.812" v="87849"/>
          <ac:spMkLst>
            <pc:docMk/>
            <pc:sldMk cId="398206320" sldId="2147478580"/>
            <ac:spMk id="575" creationId="{1514A270-DF39-DFC1-4FE4-7BED78C69367}"/>
          </ac:spMkLst>
        </pc:spChg>
        <pc:spChg chg="add del mod">
          <ac:chgData name="Steiner Andreas 6206 ED" userId="e6377c33-a923-4f14-8587-531c474c7b48" providerId="ADAL" clId="{6ECD27E6-B224-41CD-B4E0-E297462320DD}" dt="2023-11-24T08:51:26.685" v="88004"/>
          <ac:spMkLst>
            <pc:docMk/>
            <pc:sldMk cId="398206320" sldId="2147478580"/>
            <ac:spMk id="576" creationId="{D3C0BE1A-DAF7-7583-B238-885C7A951E5E}"/>
          </ac:spMkLst>
        </pc:spChg>
        <pc:spChg chg="add del mod">
          <ac:chgData name="Steiner Andreas 6206 ED" userId="e6377c33-a923-4f14-8587-531c474c7b48" providerId="ADAL" clId="{6ECD27E6-B224-41CD-B4E0-E297462320DD}" dt="2023-11-24T08:51:28.596" v="88159"/>
          <ac:spMkLst>
            <pc:docMk/>
            <pc:sldMk cId="398206320" sldId="2147478580"/>
            <ac:spMk id="577" creationId="{F08F58DD-E6E9-50FB-7581-8E9D75FF8254}"/>
          </ac:spMkLst>
        </pc:spChg>
        <pc:spChg chg="add del mod">
          <ac:chgData name="Steiner Andreas 6206 ED" userId="e6377c33-a923-4f14-8587-531c474c7b48" providerId="ADAL" clId="{6ECD27E6-B224-41CD-B4E0-E297462320DD}" dt="2023-11-24T08:51:30.574" v="88314"/>
          <ac:spMkLst>
            <pc:docMk/>
            <pc:sldMk cId="398206320" sldId="2147478580"/>
            <ac:spMk id="578" creationId="{5924E445-0964-3518-A514-4BBC822483AC}"/>
          </ac:spMkLst>
        </pc:spChg>
        <pc:spChg chg="add del mod">
          <ac:chgData name="Steiner Andreas 6206 ED" userId="e6377c33-a923-4f14-8587-531c474c7b48" providerId="ADAL" clId="{6ECD27E6-B224-41CD-B4E0-E297462320DD}" dt="2023-11-24T08:51:32.729" v="88469"/>
          <ac:spMkLst>
            <pc:docMk/>
            <pc:sldMk cId="398206320" sldId="2147478580"/>
            <ac:spMk id="579" creationId="{2B0999EC-B90F-8E60-26F9-F6E826A14D32}"/>
          </ac:spMkLst>
        </pc:spChg>
        <pc:spChg chg="add del mod">
          <ac:chgData name="Steiner Andreas 6206 ED" userId="e6377c33-a923-4f14-8587-531c474c7b48" providerId="ADAL" clId="{6ECD27E6-B224-41CD-B4E0-E297462320DD}" dt="2023-11-24T08:51:34.691" v="88624"/>
          <ac:spMkLst>
            <pc:docMk/>
            <pc:sldMk cId="398206320" sldId="2147478580"/>
            <ac:spMk id="580" creationId="{8F03A01B-7784-7B3C-E855-C4D16E18D2F4}"/>
          </ac:spMkLst>
        </pc:spChg>
        <pc:spChg chg="add del mod">
          <ac:chgData name="Steiner Andreas 6206 ED" userId="e6377c33-a923-4f14-8587-531c474c7b48" providerId="ADAL" clId="{6ECD27E6-B224-41CD-B4E0-E297462320DD}" dt="2023-11-24T08:51:36.565" v="88779"/>
          <ac:spMkLst>
            <pc:docMk/>
            <pc:sldMk cId="398206320" sldId="2147478580"/>
            <ac:spMk id="581" creationId="{8146DDEA-0966-5ABC-B4FF-F33E1D5F04F1}"/>
          </ac:spMkLst>
        </pc:spChg>
        <pc:spChg chg="add del mod">
          <ac:chgData name="Steiner Andreas 6206 ED" userId="e6377c33-a923-4f14-8587-531c474c7b48" providerId="ADAL" clId="{6ECD27E6-B224-41CD-B4E0-E297462320DD}" dt="2023-11-24T08:51:38.507" v="88934"/>
          <ac:spMkLst>
            <pc:docMk/>
            <pc:sldMk cId="398206320" sldId="2147478580"/>
            <ac:spMk id="582" creationId="{42D66025-28A5-8B5A-6176-98F1D116E879}"/>
          </ac:spMkLst>
        </pc:spChg>
        <pc:spChg chg="add del mod">
          <ac:chgData name="Steiner Andreas 6206 ED" userId="e6377c33-a923-4f14-8587-531c474c7b48" providerId="ADAL" clId="{6ECD27E6-B224-41CD-B4E0-E297462320DD}" dt="2023-11-24T08:51:40.447" v="89089"/>
          <ac:spMkLst>
            <pc:docMk/>
            <pc:sldMk cId="398206320" sldId="2147478580"/>
            <ac:spMk id="583" creationId="{B2763850-E9DD-2E8E-C7EB-7F0F7C77A525}"/>
          </ac:spMkLst>
        </pc:spChg>
        <pc:spChg chg="add del mod">
          <ac:chgData name="Steiner Andreas 6206 ED" userId="e6377c33-a923-4f14-8587-531c474c7b48" providerId="ADAL" clId="{6ECD27E6-B224-41CD-B4E0-E297462320DD}" dt="2023-11-24T08:51:42.447" v="89244"/>
          <ac:spMkLst>
            <pc:docMk/>
            <pc:sldMk cId="398206320" sldId="2147478580"/>
            <ac:spMk id="584" creationId="{6CEAA657-517F-D6BF-EB33-345D54D52C26}"/>
          </ac:spMkLst>
        </pc:spChg>
        <pc:spChg chg="add del mod">
          <ac:chgData name="Steiner Andreas 6206 ED" userId="e6377c33-a923-4f14-8587-531c474c7b48" providerId="ADAL" clId="{6ECD27E6-B224-41CD-B4E0-E297462320DD}" dt="2023-11-24T08:51:44.560" v="89399"/>
          <ac:spMkLst>
            <pc:docMk/>
            <pc:sldMk cId="398206320" sldId="2147478580"/>
            <ac:spMk id="585" creationId="{65C9D935-B6B1-7D40-DB22-20209556D9FB}"/>
          </ac:spMkLst>
        </pc:spChg>
        <pc:spChg chg="add del mod">
          <ac:chgData name="Steiner Andreas 6206 ED" userId="e6377c33-a923-4f14-8587-531c474c7b48" providerId="ADAL" clId="{6ECD27E6-B224-41CD-B4E0-E297462320DD}" dt="2023-11-24T08:51:46.521" v="89554"/>
          <ac:spMkLst>
            <pc:docMk/>
            <pc:sldMk cId="398206320" sldId="2147478580"/>
            <ac:spMk id="586" creationId="{2AAF26BE-BB79-CFA2-C712-AE2B55A1B420}"/>
          </ac:spMkLst>
        </pc:spChg>
        <pc:spChg chg="add del mod">
          <ac:chgData name="Steiner Andreas 6206 ED" userId="e6377c33-a923-4f14-8587-531c474c7b48" providerId="ADAL" clId="{6ECD27E6-B224-41CD-B4E0-E297462320DD}" dt="2023-11-24T08:51:48.410" v="89709"/>
          <ac:spMkLst>
            <pc:docMk/>
            <pc:sldMk cId="398206320" sldId="2147478580"/>
            <ac:spMk id="587" creationId="{5C5ABFDA-4360-C6DE-AF8D-253409C78085}"/>
          </ac:spMkLst>
        </pc:spChg>
        <pc:spChg chg="add del mod">
          <ac:chgData name="Steiner Andreas 6206 ED" userId="e6377c33-a923-4f14-8587-531c474c7b48" providerId="ADAL" clId="{6ECD27E6-B224-41CD-B4E0-E297462320DD}" dt="2023-11-24T08:51:50.337" v="89864"/>
          <ac:spMkLst>
            <pc:docMk/>
            <pc:sldMk cId="398206320" sldId="2147478580"/>
            <ac:spMk id="588" creationId="{E5A486BD-EA78-C3D3-BF07-DDD69306F677}"/>
          </ac:spMkLst>
        </pc:spChg>
        <pc:spChg chg="add del mod">
          <ac:chgData name="Steiner Andreas 6206 ED" userId="e6377c33-a923-4f14-8587-531c474c7b48" providerId="ADAL" clId="{6ECD27E6-B224-41CD-B4E0-E297462320DD}" dt="2023-11-24T08:51:52.238" v="90019"/>
          <ac:spMkLst>
            <pc:docMk/>
            <pc:sldMk cId="398206320" sldId="2147478580"/>
            <ac:spMk id="589" creationId="{241B6213-5E01-616F-F42E-7CBFB7077BE1}"/>
          </ac:spMkLst>
        </pc:spChg>
        <pc:spChg chg="add del mod">
          <ac:chgData name="Steiner Andreas 6206 ED" userId="e6377c33-a923-4f14-8587-531c474c7b48" providerId="ADAL" clId="{6ECD27E6-B224-41CD-B4E0-E297462320DD}" dt="2023-11-24T08:51:54.229" v="90174"/>
          <ac:spMkLst>
            <pc:docMk/>
            <pc:sldMk cId="398206320" sldId="2147478580"/>
            <ac:spMk id="590" creationId="{7189014F-EF01-5C09-3AD9-3301678D4753}"/>
          </ac:spMkLst>
        </pc:spChg>
        <pc:spChg chg="add del mod">
          <ac:chgData name="Steiner Andreas 6206 ED" userId="e6377c33-a923-4f14-8587-531c474c7b48" providerId="ADAL" clId="{6ECD27E6-B224-41CD-B4E0-E297462320DD}" dt="2023-11-24T08:51:56.213" v="90329"/>
          <ac:spMkLst>
            <pc:docMk/>
            <pc:sldMk cId="398206320" sldId="2147478580"/>
            <ac:spMk id="591" creationId="{52A4243E-77DD-1D20-C931-6526A71447B5}"/>
          </ac:spMkLst>
        </pc:spChg>
        <pc:spChg chg="add del mod">
          <ac:chgData name="Steiner Andreas 6206 ED" userId="e6377c33-a923-4f14-8587-531c474c7b48" providerId="ADAL" clId="{6ECD27E6-B224-41CD-B4E0-E297462320DD}" dt="2023-11-24T08:51:58.143" v="90484"/>
          <ac:spMkLst>
            <pc:docMk/>
            <pc:sldMk cId="398206320" sldId="2147478580"/>
            <ac:spMk id="592" creationId="{69AEF511-4733-1ABF-53E5-F1EDB1026BDB}"/>
          </ac:spMkLst>
        </pc:spChg>
        <pc:spChg chg="add del mod">
          <ac:chgData name="Steiner Andreas 6206 ED" userId="e6377c33-a923-4f14-8587-531c474c7b48" providerId="ADAL" clId="{6ECD27E6-B224-41CD-B4E0-E297462320DD}" dt="2023-11-24T08:52:00.267" v="90639"/>
          <ac:spMkLst>
            <pc:docMk/>
            <pc:sldMk cId="398206320" sldId="2147478580"/>
            <ac:spMk id="593" creationId="{E5C86D6A-B667-D180-8ADA-06F298D4E3CC}"/>
          </ac:spMkLst>
        </pc:spChg>
        <pc:spChg chg="add del mod">
          <ac:chgData name="Steiner Andreas 6206 ED" userId="e6377c33-a923-4f14-8587-531c474c7b48" providerId="ADAL" clId="{6ECD27E6-B224-41CD-B4E0-E297462320DD}" dt="2023-11-24T08:52:02.222" v="90794"/>
          <ac:spMkLst>
            <pc:docMk/>
            <pc:sldMk cId="398206320" sldId="2147478580"/>
            <ac:spMk id="594" creationId="{82732D11-F09E-2C70-7209-57C3EB62861B}"/>
          </ac:spMkLst>
        </pc:spChg>
        <pc:spChg chg="add del mod">
          <ac:chgData name="Steiner Andreas 6206 ED" userId="e6377c33-a923-4f14-8587-531c474c7b48" providerId="ADAL" clId="{6ECD27E6-B224-41CD-B4E0-E297462320DD}" dt="2023-11-24T08:52:04.146" v="90949"/>
          <ac:spMkLst>
            <pc:docMk/>
            <pc:sldMk cId="398206320" sldId="2147478580"/>
            <ac:spMk id="595" creationId="{7284607C-74E4-49C5-0FDB-6247F87BB1AA}"/>
          </ac:spMkLst>
        </pc:spChg>
        <pc:spChg chg="add del mod">
          <ac:chgData name="Steiner Andreas 6206 ED" userId="e6377c33-a923-4f14-8587-531c474c7b48" providerId="ADAL" clId="{6ECD27E6-B224-41CD-B4E0-E297462320DD}" dt="2023-11-24T08:52:06.349" v="91104"/>
          <ac:spMkLst>
            <pc:docMk/>
            <pc:sldMk cId="398206320" sldId="2147478580"/>
            <ac:spMk id="596" creationId="{9DFD66EC-CCFD-AFD9-3470-FC02A5FCA44F}"/>
          </ac:spMkLst>
        </pc:spChg>
        <pc:spChg chg="add del mod">
          <ac:chgData name="Steiner Andreas 6206 ED" userId="e6377c33-a923-4f14-8587-531c474c7b48" providerId="ADAL" clId="{6ECD27E6-B224-41CD-B4E0-E297462320DD}" dt="2023-11-24T08:52:08.313" v="91259"/>
          <ac:spMkLst>
            <pc:docMk/>
            <pc:sldMk cId="398206320" sldId="2147478580"/>
            <ac:spMk id="597" creationId="{F97ED22B-C45D-099C-006D-F76C8D4D8F18}"/>
          </ac:spMkLst>
        </pc:spChg>
        <pc:spChg chg="add del mod">
          <ac:chgData name="Steiner Andreas 6206 ED" userId="e6377c33-a923-4f14-8587-531c474c7b48" providerId="ADAL" clId="{6ECD27E6-B224-41CD-B4E0-E297462320DD}" dt="2023-11-24T08:52:10.197" v="91414"/>
          <ac:spMkLst>
            <pc:docMk/>
            <pc:sldMk cId="398206320" sldId="2147478580"/>
            <ac:spMk id="598" creationId="{4D516BD5-2FB6-DB65-4BCD-B17AAF4274AC}"/>
          </ac:spMkLst>
        </pc:spChg>
        <pc:spChg chg="add del mod">
          <ac:chgData name="Steiner Andreas 6206 ED" userId="e6377c33-a923-4f14-8587-531c474c7b48" providerId="ADAL" clId="{6ECD27E6-B224-41CD-B4E0-E297462320DD}" dt="2023-11-24T08:52:12.048" v="91569"/>
          <ac:spMkLst>
            <pc:docMk/>
            <pc:sldMk cId="398206320" sldId="2147478580"/>
            <ac:spMk id="599" creationId="{EA792B00-0C66-E64F-4E44-0CE26A98174D}"/>
          </ac:spMkLst>
        </pc:spChg>
        <pc:spChg chg="add del mod">
          <ac:chgData name="Steiner Andreas 6206 ED" userId="e6377c33-a923-4f14-8587-531c474c7b48" providerId="ADAL" clId="{6ECD27E6-B224-41CD-B4E0-E297462320DD}" dt="2023-11-24T08:52:13.991" v="91724"/>
          <ac:spMkLst>
            <pc:docMk/>
            <pc:sldMk cId="398206320" sldId="2147478580"/>
            <ac:spMk id="600" creationId="{8E5E64FB-4F3B-926B-DABD-CCD9B103C235}"/>
          </ac:spMkLst>
        </pc:spChg>
        <pc:spChg chg="add del mod">
          <ac:chgData name="Steiner Andreas 6206 ED" userId="e6377c33-a923-4f14-8587-531c474c7b48" providerId="ADAL" clId="{6ECD27E6-B224-41CD-B4E0-E297462320DD}" dt="2023-11-24T08:52:15.900" v="91879"/>
          <ac:spMkLst>
            <pc:docMk/>
            <pc:sldMk cId="398206320" sldId="2147478580"/>
            <ac:spMk id="601" creationId="{E4C6DC4C-0C88-9C3E-F2F6-1BB381D1AAD0}"/>
          </ac:spMkLst>
        </pc:spChg>
        <pc:spChg chg="add del mod">
          <ac:chgData name="Steiner Andreas 6206 ED" userId="e6377c33-a923-4f14-8587-531c474c7b48" providerId="ADAL" clId="{6ECD27E6-B224-41CD-B4E0-E297462320DD}" dt="2023-11-24T08:52:18.058" v="92034"/>
          <ac:spMkLst>
            <pc:docMk/>
            <pc:sldMk cId="398206320" sldId="2147478580"/>
            <ac:spMk id="602" creationId="{FA2D76A6-0826-47E5-2CA4-5E4B15D4EF76}"/>
          </ac:spMkLst>
        </pc:spChg>
        <pc:spChg chg="add del mod">
          <ac:chgData name="Steiner Andreas 6206 ED" userId="e6377c33-a923-4f14-8587-531c474c7b48" providerId="ADAL" clId="{6ECD27E6-B224-41CD-B4E0-E297462320DD}" dt="2023-11-24T08:52:20.025" v="92189"/>
          <ac:spMkLst>
            <pc:docMk/>
            <pc:sldMk cId="398206320" sldId="2147478580"/>
            <ac:spMk id="603" creationId="{28FBD6DA-E11F-7CDB-AD19-5972798A5264}"/>
          </ac:spMkLst>
        </pc:spChg>
        <pc:spChg chg="add del mod">
          <ac:chgData name="Steiner Andreas 6206 ED" userId="e6377c33-a923-4f14-8587-531c474c7b48" providerId="ADAL" clId="{6ECD27E6-B224-41CD-B4E0-E297462320DD}" dt="2023-11-24T08:52:21.864" v="92344"/>
          <ac:spMkLst>
            <pc:docMk/>
            <pc:sldMk cId="398206320" sldId="2147478580"/>
            <ac:spMk id="604" creationId="{5F5D082A-0144-2F18-75F2-233D036B1F4D}"/>
          </ac:spMkLst>
        </pc:spChg>
        <pc:spChg chg="add del mod">
          <ac:chgData name="Steiner Andreas 6206 ED" userId="e6377c33-a923-4f14-8587-531c474c7b48" providerId="ADAL" clId="{6ECD27E6-B224-41CD-B4E0-E297462320DD}" dt="2023-11-24T08:52:23.922" v="92499"/>
          <ac:spMkLst>
            <pc:docMk/>
            <pc:sldMk cId="398206320" sldId="2147478580"/>
            <ac:spMk id="605" creationId="{13F9066B-9F36-E9B3-BCF5-387A84EEA4A9}"/>
          </ac:spMkLst>
        </pc:spChg>
        <pc:spChg chg="add del mod">
          <ac:chgData name="Steiner Andreas 6206 ED" userId="e6377c33-a923-4f14-8587-531c474c7b48" providerId="ADAL" clId="{6ECD27E6-B224-41CD-B4E0-E297462320DD}" dt="2023-11-24T08:52:25.794" v="92654"/>
          <ac:spMkLst>
            <pc:docMk/>
            <pc:sldMk cId="398206320" sldId="2147478580"/>
            <ac:spMk id="606" creationId="{2D8B6253-0D88-E066-D997-5520316BCFDD}"/>
          </ac:spMkLst>
        </pc:spChg>
        <pc:spChg chg="add del mod">
          <ac:chgData name="Steiner Andreas 6206 ED" userId="e6377c33-a923-4f14-8587-531c474c7b48" providerId="ADAL" clId="{6ECD27E6-B224-41CD-B4E0-E297462320DD}" dt="2023-11-24T08:52:27.667" v="92809"/>
          <ac:spMkLst>
            <pc:docMk/>
            <pc:sldMk cId="398206320" sldId="2147478580"/>
            <ac:spMk id="607" creationId="{D9452207-98A4-DC6F-9286-A0698F7ABC43}"/>
          </ac:spMkLst>
        </pc:spChg>
        <pc:spChg chg="add del mod">
          <ac:chgData name="Steiner Andreas 6206 ED" userId="e6377c33-a923-4f14-8587-531c474c7b48" providerId="ADAL" clId="{6ECD27E6-B224-41CD-B4E0-E297462320DD}" dt="2023-11-24T08:52:29.767" v="92964"/>
          <ac:spMkLst>
            <pc:docMk/>
            <pc:sldMk cId="398206320" sldId="2147478580"/>
            <ac:spMk id="608" creationId="{DE0A8000-E26A-9119-76A1-AF9892C99894}"/>
          </ac:spMkLst>
        </pc:spChg>
        <pc:spChg chg="add del mod">
          <ac:chgData name="Steiner Andreas 6206 ED" userId="e6377c33-a923-4f14-8587-531c474c7b48" providerId="ADAL" clId="{6ECD27E6-B224-41CD-B4E0-E297462320DD}" dt="2023-11-24T08:52:31.688" v="93119"/>
          <ac:spMkLst>
            <pc:docMk/>
            <pc:sldMk cId="398206320" sldId="2147478580"/>
            <ac:spMk id="609" creationId="{748D7C02-4C24-8224-58BA-3A27F7056443}"/>
          </ac:spMkLst>
        </pc:spChg>
        <pc:spChg chg="add del mod">
          <ac:chgData name="Steiner Andreas 6206 ED" userId="e6377c33-a923-4f14-8587-531c474c7b48" providerId="ADAL" clId="{6ECD27E6-B224-41CD-B4E0-E297462320DD}" dt="2023-11-24T08:52:33.610" v="93274"/>
          <ac:spMkLst>
            <pc:docMk/>
            <pc:sldMk cId="398206320" sldId="2147478580"/>
            <ac:spMk id="610" creationId="{2DE8D33C-886D-95A9-C853-E6E69E504715}"/>
          </ac:spMkLst>
        </pc:spChg>
        <pc:spChg chg="add del mod">
          <ac:chgData name="Steiner Andreas 6206 ED" userId="e6377c33-a923-4f14-8587-531c474c7b48" providerId="ADAL" clId="{6ECD27E6-B224-41CD-B4E0-E297462320DD}" dt="2023-11-24T08:52:35.512" v="93429"/>
          <ac:spMkLst>
            <pc:docMk/>
            <pc:sldMk cId="398206320" sldId="2147478580"/>
            <ac:spMk id="611" creationId="{CD6F0F66-CD55-ACF4-B7ED-CFEEE33F3A75}"/>
          </ac:spMkLst>
        </pc:spChg>
        <pc:spChg chg="add del mod">
          <ac:chgData name="Steiner Andreas 6206 ED" userId="e6377c33-a923-4f14-8587-531c474c7b48" providerId="ADAL" clId="{6ECD27E6-B224-41CD-B4E0-E297462320DD}" dt="2023-11-24T08:52:37.432" v="93584"/>
          <ac:spMkLst>
            <pc:docMk/>
            <pc:sldMk cId="398206320" sldId="2147478580"/>
            <ac:spMk id="612" creationId="{E7A7CF1E-28DB-FB46-46AF-637E01317FDF}"/>
          </ac:spMkLst>
        </pc:spChg>
        <pc:spChg chg="add del mod">
          <ac:chgData name="Steiner Andreas 6206 ED" userId="e6377c33-a923-4f14-8587-531c474c7b48" providerId="ADAL" clId="{6ECD27E6-B224-41CD-B4E0-E297462320DD}" dt="2023-11-24T08:52:39.350" v="93739"/>
          <ac:spMkLst>
            <pc:docMk/>
            <pc:sldMk cId="398206320" sldId="2147478580"/>
            <ac:spMk id="613" creationId="{3EF60DF3-AF97-6B41-D48C-C9EDB1684C4F}"/>
          </ac:spMkLst>
        </pc:spChg>
        <pc:spChg chg="add del mod">
          <ac:chgData name="Steiner Andreas 6206 ED" userId="e6377c33-a923-4f14-8587-531c474c7b48" providerId="ADAL" clId="{6ECD27E6-B224-41CD-B4E0-E297462320DD}" dt="2023-11-24T08:52:41.402" v="93894"/>
          <ac:spMkLst>
            <pc:docMk/>
            <pc:sldMk cId="398206320" sldId="2147478580"/>
            <ac:spMk id="614" creationId="{E8663212-9A6C-6B44-9FE5-BF29097E7126}"/>
          </ac:spMkLst>
        </pc:spChg>
        <pc:spChg chg="add del mod">
          <ac:chgData name="Steiner Andreas 6206 ED" userId="e6377c33-a923-4f14-8587-531c474c7b48" providerId="ADAL" clId="{6ECD27E6-B224-41CD-B4E0-E297462320DD}" dt="2023-11-24T08:52:43.343" v="94049"/>
          <ac:spMkLst>
            <pc:docMk/>
            <pc:sldMk cId="398206320" sldId="2147478580"/>
            <ac:spMk id="615" creationId="{D1296E58-7080-F1C5-AB17-0CDD59A779F4}"/>
          </ac:spMkLst>
        </pc:spChg>
        <pc:spChg chg="add del mod">
          <ac:chgData name="Steiner Andreas 6206 ED" userId="e6377c33-a923-4f14-8587-531c474c7b48" providerId="ADAL" clId="{6ECD27E6-B224-41CD-B4E0-E297462320DD}" dt="2023-11-24T08:52:45.280" v="94204"/>
          <ac:spMkLst>
            <pc:docMk/>
            <pc:sldMk cId="398206320" sldId="2147478580"/>
            <ac:spMk id="616" creationId="{D4B77FB9-279C-64A2-DD10-725C3C07DC63}"/>
          </ac:spMkLst>
        </pc:spChg>
        <pc:spChg chg="add del mod">
          <ac:chgData name="Steiner Andreas 6206 ED" userId="e6377c33-a923-4f14-8587-531c474c7b48" providerId="ADAL" clId="{6ECD27E6-B224-41CD-B4E0-E297462320DD}" dt="2023-11-24T08:52:47.245" v="94359"/>
          <ac:spMkLst>
            <pc:docMk/>
            <pc:sldMk cId="398206320" sldId="2147478580"/>
            <ac:spMk id="617" creationId="{1AAB722B-9FA7-9CF1-90D9-988BE6840413}"/>
          </ac:spMkLst>
        </pc:spChg>
        <pc:spChg chg="add del mod">
          <ac:chgData name="Steiner Andreas 6206 ED" userId="e6377c33-a923-4f14-8587-531c474c7b48" providerId="ADAL" clId="{6ECD27E6-B224-41CD-B4E0-E297462320DD}" dt="2023-11-24T08:52:49.323" v="94514"/>
          <ac:spMkLst>
            <pc:docMk/>
            <pc:sldMk cId="398206320" sldId="2147478580"/>
            <ac:spMk id="618" creationId="{60EFB58D-FB9A-6077-5A05-2E9C05EB0A91}"/>
          </ac:spMkLst>
        </pc:spChg>
        <pc:spChg chg="add del mod">
          <ac:chgData name="Steiner Andreas 6206 ED" userId="e6377c33-a923-4f14-8587-531c474c7b48" providerId="ADAL" clId="{6ECD27E6-B224-41CD-B4E0-E297462320DD}" dt="2023-11-24T08:52:51.521" v="94669"/>
          <ac:spMkLst>
            <pc:docMk/>
            <pc:sldMk cId="398206320" sldId="2147478580"/>
            <ac:spMk id="619" creationId="{FBB44031-764C-8D9B-095D-76B9121936E7}"/>
          </ac:spMkLst>
        </pc:spChg>
        <pc:spChg chg="add del mod">
          <ac:chgData name="Steiner Andreas 6206 ED" userId="e6377c33-a923-4f14-8587-531c474c7b48" providerId="ADAL" clId="{6ECD27E6-B224-41CD-B4E0-E297462320DD}" dt="2023-11-24T08:52:53.466" v="94824"/>
          <ac:spMkLst>
            <pc:docMk/>
            <pc:sldMk cId="398206320" sldId="2147478580"/>
            <ac:spMk id="620" creationId="{9BD101EB-A9F1-6ACD-335B-EE55B0B5B37D}"/>
          </ac:spMkLst>
        </pc:spChg>
        <pc:spChg chg="add del mod">
          <ac:chgData name="Steiner Andreas 6206 ED" userId="e6377c33-a923-4f14-8587-531c474c7b48" providerId="ADAL" clId="{6ECD27E6-B224-41CD-B4E0-E297462320DD}" dt="2023-11-24T08:52:55.404" v="94979"/>
          <ac:spMkLst>
            <pc:docMk/>
            <pc:sldMk cId="398206320" sldId="2147478580"/>
            <ac:spMk id="621" creationId="{2128308A-7618-AAC5-562B-D3C0D11185C5}"/>
          </ac:spMkLst>
        </pc:spChg>
        <pc:spChg chg="add del mod">
          <ac:chgData name="Steiner Andreas 6206 ED" userId="e6377c33-a923-4f14-8587-531c474c7b48" providerId="ADAL" clId="{6ECD27E6-B224-41CD-B4E0-E297462320DD}" dt="2023-11-24T08:52:57.433" v="95134"/>
          <ac:spMkLst>
            <pc:docMk/>
            <pc:sldMk cId="398206320" sldId="2147478580"/>
            <ac:spMk id="622" creationId="{69A0C40F-3969-B816-6452-4C8B6B882948}"/>
          </ac:spMkLst>
        </pc:spChg>
        <pc:spChg chg="add del mod">
          <ac:chgData name="Steiner Andreas 6206 ED" userId="e6377c33-a923-4f14-8587-531c474c7b48" providerId="ADAL" clId="{6ECD27E6-B224-41CD-B4E0-E297462320DD}" dt="2023-11-24T08:52:59.385" v="95289"/>
          <ac:spMkLst>
            <pc:docMk/>
            <pc:sldMk cId="398206320" sldId="2147478580"/>
            <ac:spMk id="623" creationId="{BCA72B12-D4F4-3067-E819-9806FF9E964F}"/>
          </ac:spMkLst>
        </pc:spChg>
        <pc:spChg chg="add del mod">
          <ac:chgData name="Steiner Andreas 6206 ED" userId="e6377c33-a923-4f14-8587-531c474c7b48" providerId="ADAL" clId="{6ECD27E6-B224-41CD-B4E0-E297462320DD}" dt="2023-11-24T08:53:01.393" v="95444"/>
          <ac:spMkLst>
            <pc:docMk/>
            <pc:sldMk cId="398206320" sldId="2147478580"/>
            <ac:spMk id="624" creationId="{3E989276-111E-D7F6-C129-768DCEFF36BE}"/>
          </ac:spMkLst>
        </pc:spChg>
        <pc:spChg chg="add del mod">
          <ac:chgData name="Steiner Andreas 6206 ED" userId="e6377c33-a923-4f14-8587-531c474c7b48" providerId="ADAL" clId="{6ECD27E6-B224-41CD-B4E0-E297462320DD}" dt="2023-11-24T08:53:03.516" v="95599"/>
          <ac:spMkLst>
            <pc:docMk/>
            <pc:sldMk cId="398206320" sldId="2147478580"/>
            <ac:spMk id="625" creationId="{02032710-0FE6-61FE-89F7-6FEF318C20C8}"/>
          </ac:spMkLst>
        </pc:spChg>
        <pc:spChg chg="add del mod">
          <ac:chgData name="Steiner Andreas 6206 ED" userId="e6377c33-a923-4f14-8587-531c474c7b48" providerId="ADAL" clId="{6ECD27E6-B224-41CD-B4E0-E297462320DD}" dt="2023-11-24T08:53:05.474" v="95754"/>
          <ac:spMkLst>
            <pc:docMk/>
            <pc:sldMk cId="398206320" sldId="2147478580"/>
            <ac:spMk id="626" creationId="{08F9DFC7-D262-E147-25DF-884CFC6C5D86}"/>
          </ac:spMkLst>
        </pc:spChg>
        <pc:spChg chg="add del mod">
          <ac:chgData name="Steiner Andreas 6206 ED" userId="e6377c33-a923-4f14-8587-531c474c7b48" providerId="ADAL" clId="{6ECD27E6-B224-41CD-B4E0-E297462320DD}" dt="2023-11-24T08:53:07.353" v="95909"/>
          <ac:spMkLst>
            <pc:docMk/>
            <pc:sldMk cId="398206320" sldId="2147478580"/>
            <ac:spMk id="627" creationId="{B0DB50A3-619D-0DE8-2BAA-1B463B0AA53F}"/>
          </ac:spMkLst>
        </pc:spChg>
        <pc:spChg chg="add del mod">
          <ac:chgData name="Steiner Andreas 6206 ED" userId="e6377c33-a923-4f14-8587-531c474c7b48" providerId="ADAL" clId="{6ECD27E6-B224-41CD-B4E0-E297462320DD}" dt="2023-11-24T08:53:09.291" v="96064"/>
          <ac:spMkLst>
            <pc:docMk/>
            <pc:sldMk cId="398206320" sldId="2147478580"/>
            <ac:spMk id="628" creationId="{4EFA4DBD-4F49-1717-8634-5D18B856AF1B}"/>
          </ac:spMkLst>
        </pc:spChg>
        <pc:spChg chg="add del mod">
          <ac:chgData name="Steiner Andreas 6206 ED" userId="e6377c33-a923-4f14-8587-531c474c7b48" providerId="ADAL" clId="{6ECD27E6-B224-41CD-B4E0-E297462320DD}" dt="2023-11-24T08:53:11.239" v="96219"/>
          <ac:spMkLst>
            <pc:docMk/>
            <pc:sldMk cId="398206320" sldId="2147478580"/>
            <ac:spMk id="629" creationId="{347D6FFC-76A7-0430-0A1B-19F8E80353D1}"/>
          </ac:spMkLst>
        </pc:spChg>
        <pc:spChg chg="add del mod">
          <ac:chgData name="Steiner Andreas 6206 ED" userId="e6377c33-a923-4f14-8587-531c474c7b48" providerId="ADAL" clId="{6ECD27E6-B224-41CD-B4E0-E297462320DD}" dt="2023-11-24T08:53:13.235" v="96374"/>
          <ac:spMkLst>
            <pc:docMk/>
            <pc:sldMk cId="398206320" sldId="2147478580"/>
            <ac:spMk id="630" creationId="{F5F82D99-9486-AB4E-C3C7-8961A60F84FD}"/>
          </ac:spMkLst>
        </pc:spChg>
        <pc:spChg chg="add del mod">
          <ac:chgData name="Steiner Andreas 6206 ED" userId="e6377c33-a923-4f14-8587-531c474c7b48" providerId="ADAL" clId="{6ECD27E6-B224-41CD-B4E0-E297462320DD}" dt="2023-11-24T08:53:15.319" v="96529"/>
          <ac:spMkLst>
            <pc:docMk/>
            <pc:sldMk cId="398206320" sldId="2147478580"/>
            <ac:spMk id="631" creationId="{0EA9BB0D-6D15-9854-0EE3-43D9CF0B954A}"/>
          </ac:spMkLst>
        </pc:spChg>
        <pc:spChg chg="add del mod">
          <ac:chgData name="Steiner Andreas 6206 ED" userId="e6377c33-a923-4f14-8587-531c474c7b48" providerId="ADAL" clId="{6ECD27E6-B224-41CD-B4E0-E297462320DD}" dt="2023-11-24T08:53:17.281" v="96684"/>
          <ac:spMkLst>
            <pc:docMk/>
            <pc:sldMk cId="398206320" sldId="2147478580"/>
            <ac:spMk id="632" creationId="{8F8986F4-3E71-27F8-E213-FFD85521DC9C}"/>
          </ac:spMkLst>
        </pc:spChg>
        <pc:spChg chg="add del mod">
          <ac:chgData name="Steiner Andreas 6206 ED" userId="e6377c33-a923-4f14-8587-531c474c7b48" providerId="ADAL" clId="{6ECD27E6-B224-41CD-B4E0-E297462320DD}" dt="2023-11-24T08:53:19.253" v="96839"/>
          <ac:spMkLst>
            <pc:docMk/>
            <pc:sldMk cId="398206320" sldId="2147478580"/>
            <ac:spMk id="633" creationId="{F25D6A9D-7047-066A-C3BE-962081CAA5F0}"/>
          </ac:spMkLst>
        </pc:spChg>
        <pc:spChg chg="add del mod">
          <ac:chgData name="Steiner Andreas 6206 ED" userId="e6377c33-a923-4f14-8587-531c474c7b48" providerId="ADAL" clId="{6ECD27E6-B224-41CD-B4E0-E297462320DD}" dt="2023-11-24T08:53:21.206" v="96994"/>
          <ac:spMkLst>
            <pc:docMk/>
            <pc:sldMk cId="398206320" sldId="2147478580"/>
            <ac:spMk id="634" creationId="{A43BDFDB-C5A1-95F8-819A-0500F9DC8F06}"/>
          </ac:spMkLst>
        </pc:spChg>
        <pc:spChg chg="add del mod">
          <ac:chgData name="Steiner Andreas 6206 ED" userId="e6377c33-a923-4f14-8587-531c474c7b48" providerId="ADAL" clId="{6ECD27E6-B224-41CD-B4E0-E297462320DD}" dt="2023-11-24T08:53:23.166" v="97149"/>
          <ac:spMkLst>
            <pc:docMk/>
            <pc:sldMk cId="398206320" sldId="2147478580"/>
            <ac:spMk id="635" creationId="{99536074-923A-3848-1D53-DC33991CCA0A}"/>
          </ac:spMkLst>
        </pc:spChg>
        <pc:spChg chg="add del mod">
          <ac:chgData name="Steiner Andreas 6206 ED" userId="e6377c33-a923-4f14-8587-531c474c7b48" providerId="ADAL" clId="{6ECD27E6-B224-41CD-B4E0-E297462320DD}" dt="2023-11-24T08:53:25.285" v="97304"/>
          <ac:spMkLst>
            <pc:docMk/>
            <pc:sldMk cId="398206320" sldId="2147478580"/>
            <ac:spMk id="636" creationId="{2FF3E76E-C8BD-1301-8795-2CE303FCC6AB}"/>
          </ac:spMkLst>
        </pc:spChg>
        <pc:spChg chg="add del mod">
          <ac:chgData name="Steiner Andreas 6206 ED" userId="e6377c33-a923-4f14-8587-531c474c7b48" providerId="ADAL" clId="{6ECD27E6-B224-41CD-B4E0-E297462320DD}" dt="2023-11-24T08:53:27.272" v="97459"/>
          <ac:spMkLst>
            <pc:docMk/>
            <pc:sldMk cId="398206320" sldId="2147478580"/>
            <ac:spMk id="637" creationId="{7BCDA1F0-97C7-2B85-8183-F451C6329438}"/>
          </ac:spMkLst>
        </pc:spChg>
        <pc:spChg chg="add del mod">
          <ac:chgData name="Steiner Andreas 6206 ED" userId="e6377c33-a923-4f14-8587-531c474c7b48" providerId="ADAL" clId="{6ECD27E6-B224-41CD-B4E0-E297462320DD}" dt="2023-11-24T08:53:29.162" v="97614"/>
          <ac:spMkLst>
            <pc:docMk/>
            <pc:sldMk cId="398206320" sldId="2147478580"/>
            <ac:spMk id="638" creationId="{CB781B0D-E88C-1DF7-800D-7A587D00C5AA}"/>
          </ac:spMkLst>
        </pc:spChg>
        <pc:spChg chg="add del mod">
          <ac:chgData name="Steiner Andreas 6206 ED" userId="e6377c33-a923-4f14-8587-531c474c7b48" providerId="ADAL" clId="{6ECD27E6-B224-41CD-B4E0-E297462320DD}" dt="2023-11-24T08:53:31.063" v="97769"/>
          <ac:spMkLst>
            <pc:docMk/>
            <pc:sldMk cId="398206320" sldId="2147478580"/>
            <ac:spMk id="639" creationId="{C0C81C3E-1491-6429-E49A-973AE902EC35}"/>
          </ac:spMkLst>
        </pc:spChg>
        <pc:spChg chg="add del mod">
          <ac:chgData name="Steiner Andreas 6206 ED" userId="e6377c33-a923-4f14-8587-531c474c7b48" providerId="ADAL" clId="{6ECD27E6-B224-41CD-B4E0-E297462320DD}" dt="2023-11-24T08:53:32.995" v="97924"/>
          <ac:spMkLst>
            <pc:docMk/>
            <pc:sldMk cId="398206320" sldId="2147478580"/>
            <ac:spMk id="640" creationId="{0EA223D4-143C-ED02-197B-C066DBAB3E2A}"/>
          </ac:spMkLst>
        </pc:spChg>
        <pc:spChg chg="add del mod">
          <ac:chgData name="Steiner Andreas 6206 ED" userId="e6377c33-a923-4f14-8587-531c474c7b48" providerId="ADAL" clId="{6ECD27E6-B224-41CD-B4E0-E297462320DD}" dt="2023-11-24T08:53:34.924" v="98079"/>
          <ac:spMkLst>
            <pc:docMk/>
            <pc:sldMk cId="398206320" sldId="2147478580"/>
            <ac:spMk id="641" creationId="{04B302D6-BA71-B23F-30A9-CD17B6C2DEB3}"/>
          </ac:spMkLst>
        </pc:spChg>
        <pc:spChg chg="add del mod">
          <ac:chgData name="Steiner Andreas 6206 ED" userId="e6377c33-a923-4f14-8587-531c474c7b48" providerId="ADAL" clId="{6ECD27E6-B224-41CD-B4E0-E297462320DD}" dt="2023-11-24T08:53:37.049" v="98234"/>
          <ac:spMkLst>
            <pc:docMk/>
            <pc:sldMk cId="398206320" sldId="2147478580"/>
            <ac:spMk id="642" creationId="{4F2BC065-E0DA-5D48-C311-E7CA3F00401A}"/>
          </ac:spMkLst>
        </pc:spChg>
        <pc:spChg chg="add del mod">
          <ac:chgData name="Steiner Andreas 6206 ED" userId="e6377c33-a923-4f14-8587-531c474c7b48" providerId="ADAL" clId="{6ECD27E6-B224-41CD-B4E0-E297462320DD}" dt="2023-11-24T08:53:38.935" v="98389"/>
          <ac:spMkLst>
            <pc:docMk/>
            <pc:sldMk cId="398206320" sldId="2147478580"/>
            <ac:spMk id="643" creationId="{FC89E57A-4AA8-9718-82FE-4907E738B118}"/>
          </ac:spMkLst>
        </pc:spChg>
        <pc:spChg chg="add del mod">
          <ac:chgData name="Steiner Andreas 6206 ED" userId="e6377c33-a923-4f14-8587-531c474c7b48" providerId="ADAL" clId="{6ECD27E6-B224-41CD-B4E0-E297462320DD}" dt="2023-11-24T08:53:40.895" v="98544"/>
          <ac:spMkLst>
            <pc:docMk/>
            <pc:sldMk cId="398206320" sldId="2147478580"/>
            <ac:spMk id="644" creationId="{D0A87889-0926-4EE7-CF9E-FD8E5B68267F}"/>
          </ac:spMkLst>
        </pc:spChg>
        <pc:spChg chg="add del mod">
          <ac:chgData name="Steiner Andreas 6206 ED" userId="e6377c33-a923-4f14-8587-531c474c7b48" providerId="ADAL" clId="{6ECD27E6-B224-41CD-B4E0-E297462320DD}" dt="2023-11-24T08:53:42.840" v="98699"/>
          <ac:spMkLst>
            <pc:docMk/>
            <pc:sldMk cId="398206320" sldId="2147478580"/>
            <ac:spMk id="645" creationId="{6E76490B-9F10-60E2-091E-97F2D92320A4}"/>
          </ac:spMkLst>
        </pc:spChg>
        <pc:spChg chg="add del mod">
          <ac:chgData name="Steiner Andreas 6206 ED" userId="e6377c33-a923-4f14-8587-531c474c7b48" providerId="ADAL" clId="{6ECD27E6-B224-41CD-B4E0-E297462320DD}" dt="2023-11-24T08:53:44.785" v="98854"/>
          <ac:spMkLst>
            <pc:docMk/>
            <pc:sldMk cId="398206320" sldId="2147478580"/>
            <ac:spMk id="646" creationId="{6E5ED454-A50A-00D2-D0E0-C052CF81EE68}"/>
          </ac:spMkLst>
        </pc:spChg>
        <pc:spChg chg="add del mod">
          <ac:chgData name="Steiner Andreas 6206 ED" userId="e6377c33-a923-4f14-8587-531c474c7b48" providerId="ADAL" clId="{6ECD27E6-B224-41CD-B4E0-E297462320DD}" dt="2023-11-24T08:53:46.730" v="99009"/>
          <ac:spMkLst>
            <pc:docMk/>
            <pc:sldMk cId="398206320" sldId="2147478580"/>
            <ac:spMk id="647" creationId="{5A97C615-63EA-462C-AA26-DDACACD2E4C0}"/>
          </ac:spMkLst>
        </pc:spChg>
        <pc:spChg chg="add del mod">
          <ac:chgData name="Steiner Andreas 6206 ED" userId="e6377c33-a923-4f14-8587-531c474c7b48" providerId="ADAL" clId="{6ECD27E6-B224-41CD-B4E0-E297462320DD}" dt="2023-11-24T08:53:48.786" v="99164"/>
          <ac:spMkLst>
            <pc:docMk/>
            <pc:sldMk cId="398206320" sldId="2147478580"/>
            <ac:spMk id="648" creationId="{CFEB5A78-075B-2824-96A9-279EC5EF3894}"/>
          </ac:spMkLst>
        </pc:spChg>
        <pc:spChg chg="add del mod">
          <ac:chgData name="Steiner Andreas 6206 ED" userId="e6377c33-a923-4f14-8587-531c474c7b48" providerId="ADAL" clId="{6ECD27E6-B224-41CD-B4E0-E297462320DD}" dt="2023-11-24T08:53:50.737" v="99319"/>
          <ac:spMkLst>
            <pc:docMk/>
            <pc:sldMk cId="398206320" sldId="2147478580"/>
            <ac:spMk id="649" creationId="{FC1C1283-2D2A-3F8B-894F-068180C11AEE}"/>
          </ac:spMkLst>
        </pc:spChg>
        <pc:spChg chg="add del mod">
          <ac:chgData name="Steiner Andreas 6206 ED" userId="e6377c33-a923-4f14-8587-531c474c7b48" providerId="ADAL" clId="{6ECD27E6-B224-41CD-B4E0-E297462320DD}" dt="2023-11-24T08:53:52.728" v="99474"/>
          <ac:spMkLst>
            <pc:docMk/>
            <pc:sldMk cId="398206320" sldId="2147478580"/>
            <ac:spMk id="650" creationId="{82D9ED2B-7666-52A6-0FF3-5F5D6003EE98}"/>
          </ac:spMkLst>
        </pc:spChg>
        <pc:spChg chg="add del mod">
          <ac:chgData name="Steiner Andreas 6206 ED" userId="e6377c33-a923-4f14-8587-531c474c7b48" providerId="ADAL" clId="{6ECD27E6-B224-41CD-B4E0-E297462320DD}" dt="2023-11-24T08:53:54.684" v="99629"/>
          <ac:spMkLst>
            <pc:docMk/>
            <pc:sldMk cId="398206320" sldId="2147478580"/>
            <ac:spMk id="651" creationId="{8AA99D86-1A14-3D07-42DC-8E946B4D3DFA}"/>
          </ac:spMkLst>
        </pc:spChg>
        <pc:spChg chg="add del mod">
          <ac:chgData name="Steiner Andreas 6206 ED" userId="e6377c33-a923-4f14-8587-531c474c7b48" providerId="ADAL" clId="{6ECD27E6-B224-41CD-B4E0-E297462320DD}" dt="2023-11-24T08:53:56.620" v="99784"/>
          <ac:spMkLst>
            <pc:docMk/>
            <pc:sldMk cId="398206320" sldId="2147478580"/>
            <ac:spMk id="652" creationId="{4E3ADDCB-D272-250E-5F7B-E13EFBEE555D}"/>
          </ac:spMkLst>
        </pc:spChg>
        <pc:spChg chg="add del mod">
          <ac:chgData name="Steiner Andreas 6206 ED" userId="e6377c33-a923-4f14-8587-531c474c7b48" providerId="ADAL" clId="{6ECD27E6-B224-41CD-B4E0-E297462320DD}" dt="2023-11-24T08:53:58.696" v="99939"/>
          <ac:spMkLst>
            <pc:docMk/>
            <pc:sldMk cId="398206320" sldId="2147478580"/>
            <ac:spMk id="653" creationId="{5223A40E-BB4D-4D64-877E-50565E9C8F80}"/>
          </ac:spMkLst>
        </pc:spChg>
        <pc:spChg chg="add del mod">
          <ac:chgData name="Steiner Andreas 6206 ED" userId="e6377c33-a923-4f14-8587-531c474c7b48" providerId="ADAL" clId="{6ECD27E6-B224-41CD-B4E0-E297462320DD}" dt="2023-11-24T08:54:00.791" v="100094"/>
          <ac:spMkLst>
            <pc:docMk/>
            <pc:sldMk cId="398206320" sldId="2147478580"/>
            <ac:spMk id="654" creationId="{28541AC8-1EEA-9C2C-B690-64923364CDE0}"/>
          </ac:spMkLst>
        </pc:spChg>
        <pc:spChg chg="add del mod">
          <ac:chgData name="Steiner Andreas 6206 ED" userId="e6377c33-a923-4f14-8587-531c474c7b48" providerId="ADAL" clId="{6ECD27E6-B224-41CD-B4E0-E297462320DD}" dt="2023-11-24T08:54:02.787" v="100249"/>
          <ac:spMkLst>
            <pc:docMk/>
            <pc:sldMk cId="398206320" sldId="2147478580"/>
            <ac:spMk id="655" creationId="{360B7FC5-B9C3-7C57-AF18-73DC76091E3E}"/>
          </ac:spMkLst>
        </pc:spChg>
        <pc:spChg chg="add del mod">
          <ac:chgData name="Steiner Andreas 6206 ED" userId="e6377c33-a923-4f14-8587-531c474c7b48" providerId="ADAL" clId="{6ECD27E6-B224-41CD-B4E0-E297462320DD}" dt="2023-11-24T08:54:04.735" v="100404"/>
          <ac:spMkLst>
            <pc:docMk/>
            <pc:sldMk cId="398206320" sldId="2147478580"/>
            <ac:spMk id="656" creationId="{CD94F6E7-540C-CF99-08AF-F48656F2F911}"/>
          </ac:spMkLst>
        </pc:spChg>
        <pc:spChg chg="add del mod">
          <ac:chgData name="Steiner Andreas 6206 ED" userId="e6377c33-a923-4f14-8587-531c474c7b48" providerId="ADAL" clId="{6ECD27E6-B224-41CD-B4E0-E297462320DD}" dt="2023-11-24T08:54:06.705" v="100559"/>
          <ac:spMkLst>
            <pc:docMk/>
            <pc:sldMk cId="398206320" sldId="2147478580"/>
            <ac:spMk id="657" creationId="{B16E14F6-5F35-B68A-71DB-DFFD53310663}"/>
          </ac:spMkLst>
        </pc:spChg>
        <pc:spChg chg="add del mod">
          <ac:chgData name="Steiner Andreas 6206 ED" userId="e6377c33-a923-4f14-8587-531c474c7b48" providerId="ADAL" clId="{6ECD27E6-B224-41CD-B4E0-E297462320DD}" dt="2023-11-24T08:54:08.699" v="100714"/>
          <ac:spMkLst>
            <pc:docMk/>
            <pc:sldMk cId="398206320" sldId="2147478580"/>
            <ac:spMk id="658" creationId="{8937EFF5-2A6C-750D-D83F-B0454F4A5F67}"/>
          </ac:spMkLst>
        </pc:spChg>
        <pc:spChg chg="add del mod">
          <ac:chgData name="Steiner Andreas 6206 ED" userId="e6377c33-a923-4f14-8587-531c474c7b48" providerId="ADAL" clId="{6ECD27E6-B224-41CD-B4E0-E297462320DD}" dt="2023-11-24T08:54:10.829" v="100869"/>
          <ac:spMkLst>
            <pc:docMk/>
            <pc:sldMk cId="398206320" sldId="2147478580"/>
            <ac:spMk id="659" creationId="{43842632-7F48-1310-0909-DC7BD90AC5C3}"/>
          </ac:spMkLst>
        </pc:spChg>
        <pc:spChg chg="add del mod">
          <ac:chgData name="Steiner Andreas 6206 ED" userId="e6377c33-a923-4f14-8587-531c474c7b48" providerId="ADAL" clId="{6ECD27E6-B224-41CD-B4E0-E297462320DD}" dt="2023-11-24T08:54:12.757" v="101024"/>
          <ac:spMkLst>
            <pc:docMk/>
            <pc:sldMk cId="398206320" sldId="2147478580"/>
            <ac:spMk id="660" creationId="{50A2A0EE-EFE4-6E77-F9D7-0A343CD5B4E1}"/>
          </ac:spMkLst>
        </pc:spChg>
        <pc:spChg chg="add del mod">
          <ac:chgData name="Steiner Andreas 6206 ED" userId="e6377c33-a923-4f14-8587-531c474c7b48" providerId="ADAL" clId="{6ECD27E6-B224-41CD-B4E0-E297462320DD}" dt="2023-11-24T08:54:14.721" v="101179"/>
          <ac:spMkLst>
            <pc:docMk/>
            <pc:sldMk cId="398206320" sldId="2147478580"/>
            <ac:spMk id="661" creationId="{AFE3F447-F0E6-B10B-F4F1-E41D290ED7D1}"/>
          </ac:spMkLst>
        </pc:spChg>
        <pc:spChg chg="add del mod">
          <ac:chgData name="Steiner Andreas 6206 ED" userId="e6377c33-a923-4f14-8587-531c474c7b48" providerId="ADAL" clId="{6ECD27E6-B224-41CD-B4E0-E297462320DD}" dt="2023-11-24T08:54:16.608" v="101334"/>
          <ac:spMkLst>
            <pc:docMk/>
            <pc:sldMk cId="398206320" sldId="2147478580"/>
            <ac:spMk id="662" creationId="{1940D58D-6DCE-B34C-441F-1728526E97E5}"/>
          </ac:spMkLst>
        </pc:spChg>
        <pc:spChg chg="add del mod">
          <ac:chgData name="Steiner Andreas 6206 ED" userId="e6377c33-a923-4f14-8587-531c474c7b48" providerId="ADAL" clId="{6ECD27E6-B224-41CD-B4E0-E297462320DD}" dt="2023-11-24T08:54:18.527" v="101489"/>
          <ac:spMkLst>
            <pc:docMk/>
            <pc:sldMk cId="398206320" sldId="2147478580"/>
            <ac:spMk id="663" creationId="{8283B9B8-BC71-2EF6-5B20-EFC44BD2DCA3}"/>
          </ac:spMkLst>
        </pc:spChg>
        <pc:spChg chg="add del mod">
          <ac:chgData name="Steiner Andreas 6206 ED" userId="e6377c33-a923-4f14-8587-531c474c7b48" providerId="ADAL" clId="{6ECD27E6-B224-41CD-B4E0-E297462320DD}" dt="2023-11-24T08:54:20.493" v="101644"/>
          <ac:spMkLst>
            <pc:docMk/>
            <pc:sldMk cId="398206320" sldId="2147478580"/>
            <ac:spMk id="664" creationId="{4191EA55-3128-43C7-23B3-01B7E42BC42C}"/>
          </ac:spMkLst>
        </pc:spChg>
        <pc:spChg chg="add del mod">
          <ac:chgData name="Steiner Andreas 6206 ED" userId="e6377c33-a923-4f14-8587-531c474c7b48" providerId="ADAL" clId="{6ECD27E6-B224-41CD-B4E0-E297462320DD}" dt="2023-11-24T08:54:22.591" v="101799"/>
          <ac:spMkLst>
            <pc:docMk/>
            <pc:sldMk cId="398206320" sldId="2147478580"/>
            <ac:spMk id="665" creationId="{60AB0C48-3EA1-7645-CD1A-29CB8F4F2728}"/>
          </ac:spMkLst>
        </pc:spChg>
        <pc:spChg chg="add del mod">
          <ac:chgData name="Steiner Andreas 6206 ED" userId="e6377c33-a923-4f14-8587-531c474c7b48" providerId="ADAL" clId="{6ECD27E6-B224-41CD-B4E0-E297462320DD}" dt="2023-11-24T08:54:24.562" v="101954"/>
          <ac:spMkLst>
            <pc:docMk/>
            <pc:sldMk cId="398206320" sldId="2147478580"/>
            <ac:spMk id="666" creationId="{274363BA-965E-28ED-C336-3C5EC26B0732}"/>
          </ac:spMkLst>
        </pc:spChg>
        <pc:spChg chg="add del mod">
          <ac:chgData name="Steiner Andreas 6206 ED" userId="e6377c33-a923-4f14-8587-531c474c7b48" providerId="ADAL" clId="{6ECD27E6-B224-41CD-B4E0-E297462320DD}" dt="2023-11-24T08:54:26.508" v="102109"/>
          <ac:spMkLst>
            <pc:docMk/>
            <pc:sldMk cId="398206320" sldId="2147478580"/>
            <ac:spMk id="667" creationId="{909E0536-CE83-6BD2-3A36-B74B8B40A543}"/>
          </ac:spMkLst>
        </pc:spChg>
        <pc:spChg chg="add del mod">
          <ac:chgData name="Steiner Andreas 6206 ED" userId="e6377c33-a923-4f14-8587-531c474c7b48" providerId="ADAL" clId="{6ECD27E6-B224-41CD-B4E0-E297462320DD}" dt="2023-11-24T08:54:28.466" v="102264"/>
          <ac:spMkLst>
            <pc:docMk/>
            <pc:sldMk cId="398206320" sldId="2147478580"/>
            <ac:spMk id="668" creationId="{EC1A2126-4709-52F1-DE9B-7DB5E027E64C}"/>
          </ac:spMkLst>
        </pc:spChg>
        <pc:spChg chg="add del mod">
          <ac:chgData name="Steiner Andreas 6206 ED" userId="e6377c33-a923-4f14-8587-531c474c7b48" providerId="ADAL" clId="{6ECD27E6-B224-41CD-B4E0-E297462320DD}" dt="2023-11-24T08:54:30.391" v="102419"/>
          <ac:spMkLst>
            <pc:docMk/>
            <pc:sldMk cId="398206320" sldId="2147478580"/>
            <ac:spMk id="669" creationId="{FBB694C1-DF4C-FEF2-E345-8ADE215B4FF3}"/>
          </ac:spMkLst>
        </pc:spChg>
        <pc:spChg chg="add del mod">
          <ac:chgData name="Steiner Andreas 6206 ED" userId="e6377c33-a923-4f14-8587-531c474c7b48" providerId="ADAL" clId="{6ECD27E6-B224-41CD-B4E0-E297462320DD}" dt="2023-11-24T08:54:32.555" v="102574"/>
          <ac:spMkLst>
            <pc:docMk/>
            <pc:sldMk cId="398206320" sldId="2147478580"/>
            <ac:spMk id="670" creationId="{735F2044-FAD2-E09A-E45B-7449D6176E73}"/>
          </ac:spMkLst>
        </pc:spChg>
        <pc:spChg chg="add del mod">
          <ac:chgData name="Steiner Andreas 6206 ED" userId="e6377c33-a923-4f14-8587-531c474c7b48" providerId="ADAL" clId="{6ECD27E6-B224-41CD-B4E0-E297462320DD}" dt="2023-11-24T08:54:34.527" v="102729"/>
          <ac:spMkLst>
            <pc:docMk/>
            <pc:sldMk cId="398206320" sldId="2147478580"/>
            <ac:spMk id="671" creationId="{DC10BF2C-8F6F-EAA3-D0A5-113675651873}"/>
          </ac:spMkLst>
        </pc:spChg>
        <pc:spChg chg="add del mod">
          <ac:chgData name="Steiner Andreas 6206 ED" userId="e6377c33-a923-4f14-8587-531c474c7b48" providerId="ADAL" clId="{6ECD27E6-B224-41CD-B4E0-E297462320DD}" dt="2023-11-24T08:54:36.456" v="102884"/>
          <ac:spMkLst>
            <pc:docMk/>
            <pc:sldMk cId="398206320" sldId="2147478580"/>
            <ac:spMk id="672" creationId="{D5A2BBF4-1D19-4387-8458-56F3B4CA1476}"/>
          </ac:spMkLst>
        </pc:spChg>
        <pc:spChg chg="add del mod">
          <ac:chgData name="Steiner Andreas 6206 ED" userId="e6377c33-a923-4f14-8587-531c474c7b48" providerId="ADAL" clId="{6ECD27E6-B224-41CD-B4E0-E297462320DD}" dt="2023-11-24T08:54:38.681" v="103039"/>
          <ac:spMkLst>
            <pc:docMk/>
            <pc:sldMk cId="398206320" sldId="2147478580"/>
            <ac:spMk id="673" creationId="{7A3AE08E-0ECA-8FB3-2078-2A37E3FA6F06}"/>
          </ac:spMkLst>
        </pc:spChg>
        <pc:spChg chg="add del mod">
          <ac:chgData name="Steiner Andreas 6206 ED" userId="e6377c33-a923-4f14-8587-531c474c7b48" providerId="ADAL" clId="{6ECD27E6-B224-41CD-B4E0-E297462320DD}" dt="2023-11-24T08:54:40.830" v="103194"/>
          <ac:spMkLst>
            <pc:docMk/>
            <pc:sldMk cId="398206320" sldId="2147478580"/>
            <ac:spMk id="674" creationId="{99934CBA-EEE9-35C4-BFE7-808DFA6E0045}"/>
          </ac:spMkLst>
        </pc:spChg>
        <pc:spChg chg="add del mod">
          <ac:chgData name="Steiner Andreas 6206 ED" userId="e6377c33-a923-4f14-8587-531c474c7b48" providerId="ADAL" clId="{6ECD27E6-B224-41CD-B4E0-E297462320DD}" dt="2023-11-24T08:54:42.745" v="103349"/>
          <ac:spMkLst>
            <pc:docMk/>
            <pc:sldMk cId="398206320" sldId="2147478580"/>
            <ac:spMk id="675" creationId="{7AB0EE05-078C-054F-6CD6-6689F7CF3B29}"/>
          </ac:spMkLst>
        </pc:spChg>
        <pc:spChg chg="add del mod">
          <ac:chgData name="Steiner Andreas 6206 ED" userId="e6377c33-a923-4f14-8587-531c474c7b48" providerId="ADAL" clId="{6ECD27E6-B224-41CD-B4E0-E297462320DD}" dt="2023-11-24T08:54:45.014" v="103504"/>
          <ac:spMkLst>
            <pc:docMk/>
            <pc:sldMk cId="398206320" sldId="2147478580"/>
            <ac:spMk id="676" creationId="{2774A6CF-155F-3668-AD03-94A66E24CC5E}"/>
          </ac:spMkLst>
        </pc:spChg>
        <pc:spChg chg="add del mod">
          <ac:chgData name="Steiner Andreas 6206 ED" userId="e6377c33-a923-4f14-8587-531c474c7b48" providerId="ADAL" clId="{6ECD27E6-B224-41CD-B4E0-E297462320DD}" dt="2023-11-24T08:54:47.252" v="103659"/>
          <ac:spMkLst>
            <pc:docMk/>
            <pc:sldMk cId="398206320" sldId="2147478580"/>
            <ac:spMk id="677" creationId="{DE2FE444-4BC1-89B8-C9C9-D7CCC24936FA}"/>
          </ac:spMkLst>
        </pc:spChg>
        <pc:spChg chg="add del mod">
          <ac:chgData name="Steiner Andreas 6206 ED" userId="e6377c33-a923-4f14-8587-531c474c7b48" providerId="ADAL" clId="{6ECD27E6-B224-41CD-B4E0-E297462320DD}" dt="2023-11-24T08:54:49.372" v="103814"/>
          <ac:spMkLst>
            <pc:docMk/>
            <pc:sldMk cId="398206320" sldId="2147478580"/>
            <ac:spMk id="678" creationId="{1178054E-9F21-07BD-3E63-6E3C56F830B8}"/>
          </ac:spMkLst>
        </pc:spChg>
        <pc:spChg chg="add del mod">
          <ac:chgData name="Steiner Andreas 6206 ED" userId="e6377c33-a923-4f14-8587-531c474c7b48" providerId="ADAL" clId="{6ECD27E6-B224-41CD-B4E0-E297462320DD}" dt="2023-11-24T08:54:51.739" v="103969"/>
          <ac:spMkLst>
            <pc:docMk/>
            <pc:sldMk cId="398206320" sldId="2147478580"/>
            <ac:spMk id="679" creationId="{A8EE5A74-48FC-31ED-2A89-A66C0097B36E}"/>
          </ac:spMkLst>
        </pc:spChg>
        <pc:spChg chg="add del mod">
          <ac:chgData name="Steiner Andreas 6206 ED" userId="e6377c33-a923-4f14-8587-531c474c7b48" providerId="ADAL" clId="{6ECD27E6-B224-41CD-B4E0-E297462320DD}" dt="2023-11-24T08:54:53.793" v="104124"/>
          <ac:spMkLst>
            <pc:docMk/>
            <pc:sldMk cId="398206320" sldId="2147478580"/>
            <ac:spMk id="680" creationId="{E0B201C1-59E1-4D70-55C5-3680C1F62F34}"/>
          </ac:spMkLst>
        </pc:spChg>
        <pc:spChg chg="add del mod">
          <ac:chgData name="Steiner Andreas 6206 ED" userId="e6377c33-a923-4f14-8587-531c474c7b48" providerId="ADAL" clId="{6ECD27E6-B224-41CD-B4E0-E297462320DD}" dt="2023-11-24T08:54:55.916" v="104279"/>
          <ac:spMkLst>
            <pc:docMk/>
            <pc:sldMk cId="398206320" sldId="2147478580"/>
            <ac:spMk id="681" creationId="{6A9C1E1A-7A7C-060B-AAF6-888C92D893B0}"/>
          </ac:spMkLst>
        </pc:spChg>
        <pc:spChg chg="add del mod">
          <ac:chgData name="Steiner Andreas 6206 ED" userId="e6377c33-a923-4f14-8587-531c474c7b48" providerId="ADAL" clId="{6ECD27E6-B224-41CD-B4E0-E297462320DD}" dt="2023-11-24T08:54:57.993" v="104434"/>
          <ac:spMkLst>
            <pc:docMk/>
            <pc:sldMk cId="398206320" sldId="2147478580"/>
            <ac:spMk id="682" creationId="{84FA1EC3-345D-758C-4E7B-3238071DBC75}"/>
          </ac:spMkLst>
        </pc:spChg>
        <pc:spChg chg="add del mod">
          <ac:chgData name="Steiner Andreas 6206 ED" userId="e6377c33-a923-4f14-8587-531c474c7b48" providerId="ADAL" clId="{6ECD27E6-B224-41CD-B4E0-E297462320DD}" dt="2023-11-24T08:54:59.999" v="104589"/>
          <ac:spMkLst>
            <pc:docMk/>
            <pc:sldMk cId="398206320" sldId="2147478580"/>
            <ac:spMk id="683" creationId="{8F65668E-AB12-7C49-9079-305E4EA1ED36}"/>
          </ac:spMkLst>
        </pc:spChg>
        <pc:spChg chg="add del mod">
          <ac:chgData name="Steiner Andreas 6206 ED" userId="e6377c33-a923-4f14-8587-531c474c7b48" providerId="ADAL" clId="{6ECD27E6-B224-41CD-B4E0-E297462320DD}" dt="2023-11-24T08:55:01.950" v="104744"/>
          <ac:spMkLst>
            <pc:docMk/>
            <pc:sldMk cId="398206320" sldId="2147478580"/>
            <ac:spMk id="684" creationId="{09C048E1-D6F7-39E0-C370-7E5FC88E00D5}"/>
          </ac:spMkLst>
        </pc:spChg>
        <pc:spChg chg="add del mod">
          <ac:chgData name="Steiner Andreas 6206 ED" userId="e6377c33-a923-4f14-8587-531c474c7b48" providerId="ADAL" clId="{6ECD27E6-B224-41CD-B4E0-E297462320DD}" dt="2023-11-24T08:55:03.921" v="104899"/>
          <ac:spMkLst>
            <pc:docMk/>
            <pc:sldMk cId="398206320" sldId="2147478580"/>
            <ac:spMk id="685" creationId="{A3BB7678-B598-5F63-D937-CC1A74766062}"/>
          </ac:spMkLst>
        </pc:spChg>
        <pc:spChg chg="add del mod">
          <ac:chgData name="Steiner Andreas 6206 ED" userId="e6377c33-a923-4f14-8587-531c474c7b48" providerId="ADAL" clId="{6ECD27E6-B224-41CD-B4E0-E297462320DD}" dt="2023-11-24T08:55:06.043" v="105054"/>
          <ac:spMkLst>
            <pc:docMk/>
            <pc:sldMk cId="398206320" sldId="2147478580"/>
            <ac:spMk id="686" creationId="{158E53E6-1DE2-06E5-CCA6-6E0F635A200D}"/>
          </ac:spMkLst>
        </pc:spChg>
        <pc:spChg chg="add del mod">
          <ac:chgData name="Steiner Andreas 6206 ED" userId="e6377c33-a923-4f14-8587-531c474c7b48" providerId="ADAL" clId="{6ECD27E6-B224-41CD-B4E0-E297462320DD}" dt="2023-11-24T08:55:08.132" v="105209"/>
          <ac:spMkLst>
            <pc:docMk/>
            <pc:sldMk cId="398206320" sldId="2147478580"/>
            <ac:spMk id="687" creationId="{37E09942-A06D-0248-285C-D5297B1CD83E}"/>
          </ac:spMkLst>
        </pc:spChg>
        <pc:spChg chg="add del mod">
          <ac:chgData name="Steiner Andreas 6206 ED" userId="e6377c33-a923-4f14-8587-531c474c7b48" providerId="ADAL" clId="{6ECD27E6-B224-41CD-B4E0-E297462320DD}" dt="2023-11-24T08:55:10.123" v="105364"/>
          <ac:spMkLst>
            <pc:docMk/>
            <pc:sldMk cId="398206320" sldId="2147478580"/>
            <ac:spMk id="688" creationId="{355FEC78-E4A6-0FC0-2E7A-20BB5B7934EC}"/>
          </ac:spMkLst>
        </pc:spChg>
        <pc:spChg chg="add del mod">
          <ac:chgData name="Steiner Andreas 6206 ED" userId="e6377c33-a923-4f14-8587-531c474c7b48" providerId="ADAL" clId="{6ECD27E6-B224-41CD-B4E0-E297462320DD}" dt="2023-11-24T08:55:12.107" v="105519"/>
          <ac:spMkLst>
            <pc:docMk/>
            <pc:sldMk cId="398206320" sldId="2147478580"/>
            <ac:spMk id="689" creationId="{84E29BB7-6CFC-B0C4-EF41-7CB367220EA8}"/>
          </ac:spMkLst>
        </pc:spChg>
        <pc:spChg chg="add del mod">
          <ac:chgData name="Steiner Andreas 6206 ED" userId="e6377c33-a923-4f14-8587-531c474c7b48" providerId="ADAL" clId="{6ECD27E6-B224-41CD-B4E0-E297462320DD}" dt="2023-11-24T08:55:14.166" v="105674"/>
          <ac:spMkLst>
            <pc:docMk/>
            <pc:sldMk cId="398206320" sldId="2147478580"/>
            <ac:spMk id="690" creationId="{F6C2303C-FC22-8C13-9296-79E50313A14D}"/>
          </ac:spMkLst>
        </pc:spChg>
        <pc:spChg chg="add del mod">
          <ac:chgData name="Steiner Andreas 6206 ED" userId="e6377c33-a923-4f14-8587-531c474c7b48" providerId="ADAL" clId="{6ECD27E6-B224-41CD-B4E0-E297462320DD}" dt="2023-11-24T08:55:16.230" v="105829"/>
          <ac:spMkLst>
            <pc:docMk/>
            <pc:sldMk cId="398206320" sldId="2147478580"/>
            <ac:spMk id="691" creationId="{F7171E9B-9DD1-2DBE-FA57-E9AA6D340DEE}"/>
          </ac:spMkLst>
        </pc:spChg>
        <pc:spChg chg="add del mod">
          <ac:chgData name="Steiner Andreas 6206 ED" userId="e6377c33-a923-4f14-8587-531c474c7b48" providerId="ADAL" clId="{6ECD27E6-B224-41CD-B4E0-E297462320DD}" dt="2023-11-24T08:55:18.268" v="105984"/>
          <ac:spMkLst>
            <pc:docMk/>
            <pc:sldMk cId="398206320" sldId="2147478580"/>
            <ac:spMk id="692" creationId="{AB811458-7696-8A18-CF88-21C71A2A8DC6}"/>
          </ac:spMkLst>
        </pc:spChg>
        <pc:spChg chg="add del mod">
          <ac:chgData name="Steiner Andreas 6206 ED" userId="e6377c33-a923-4f14-8587-531c474c7b48" providerId="ADAL" clId="{6ECD27E6-B224-41CD-B4E0-E297462320DD}" dt="2023-11-24T08:55:20.285" v="106139"/>
          <ac:spMkLst>
            <pc:docMk/>
            <pc:sldMk cId="398206320" sldId="2147478580"/>
            <ac:spMk id="693" creationId="{9E0221AD-A6AC-6E0F-65A6-B27605292ED2}"/>
          </ac:spMkLst>
        </pc:spChg>
        <pc:spChg chg="add del mod">
          <ac:chgData name="Steiner Andreas 6206 ED" userId="e6377c33-a923-4f14-8587-531c474c7b48" providerId="ADAL" clId="{6ECD27E6-B224-41CD-B4E0-E297462320DD}" dt="2023-11-24T08:55:22.229" v="106294"/>
          <ac:spMkLst>
            <pc:docMk/>
            <pc:sldMk cId="398206320" sldId="2147478580"/>
            <ac:spMk id="694" creationId="{5447511C-3B31-CB7F-6EC2-E2585D782B03}"/>
          </ac:spMkLst>
        </pc:spChg>
        <pc:spChg chg="add del mod">
          <ac:chgData name="Steiner Andreas 6206 ED" userId="e6377c33-a923-4f14-8587-531c474c7b48" providerId="ADAL" clId="{6ECD27E6-B224-41CD-B4E0-E297462320DD}" dt="2023-11-24T08:55:24.239" v="106449"/>
          <ac:spMkLst>
            <pc:docMk/>
            <pc:sldMk cId="398206320" sldId="2147478580"/>
            <ac:spMk id="695" creationId="{0149507B-4FB2-939B-48AD-AA1AF91383AA}"/>
          </ac:spMkLst>
        </pc:spChg>
        <pc:spChg chg="add del mod">
          <ac:chgData name="Steiner Andreas 6206 ED" userId="e6377c33-a923-4f14-8587-531c474c7b48" providerId="ADAL" clId="{6ECD27E6-B224-41CD-B4E0-E297462320DD}" dt="2023-11-24T08:55:26.209" v="106604"/>
          <ac:spMkLst>
            <pc:docMk/>
            <pc:sldMk cId="398206320" sldId="2147478580"/>
            <ac:spMk id="696" creationId="{99F8D182-3425-BA25-79C6-FE945609D69A}"/>
          </ac:spMkLst>
        </pc:spChg>
        <pc:spChg chg="add del mod">
          <ac:chgData name="Steiner Andreas 6206 ED" userId="e6377c33-a923-4f14-8587-531c474c7b48" providerId="ADAL" clId="{6ECD27E6-B224-41CD-B4E0-E297462320DD}" dt="2023-11-24T08:55:28.360" v="106759"/>
          <ac:spMkLst>
            <pc:docMk/>
            <pc:sldMk cId="398206320" sldId="2147478580"/>
            <ac:spMk id="697" creationId="{0793D04D-BCD8-030F-1E40-96BB56EEA334}"/>
          </ac:spMkLst>
        </pc:spChg>
        <pc:spChg chg="add del mod">
          <ac:chgData name="Steiner Andreas 6206 ED" userId="e6377c33-a923-4f14-8587-531c474c7b48" providerId="ADAL" clId="{6ECD27E6-B224-41CD-B4E0-E297462320DD}" dt="2023-11-24T08:55:30.335" v="106914"/>
          <ac:spMkLst>
            <pc:docMk/>
            <pc:sldMk cId="398206320" sldId="2147478580"/>
            <ac:spMk id="698" creationId="{E274C7DB-5D29-78A9-F2CE-CF8C2E47DBCA}"/>
          </ac:spMkLst>
        </pc:spChg>
        <pc:spChg chg="add del mod">
          <ac:chgData name="Steiner Andreas 6206 ED" userId="e6377c33-a923-4f14-8587-531c474c7b48" providerId="ADAL" clId="{6ECD27E6-B224-41CD-B4E0-E297462320DD}" dt="2023-11-24T08:55:32.530" v="107069"/>
          <ac:spMkLst>
            <pc:docMk/>
            <pc:sldMk cId="398206320" sldId="2147478580"/>
            <ac:spMk id="699" creationId="{0279C08E-43E8-777D-A070-19878248093F}"/>
          </ac:spMkLst>
        </pc:spChg>
        <pc:spChg chg="add del mod">
          <ac:chgData name="Steiner Andreas 6206 ED" userId="e6377c33-a923-4f14-8587-531c474c7b48" providerId="ADAL" clId="{6ECD27E6-B224-41CD-B4E0-E297462320DD}" dt="2023-11-24T08:55:34.427" v="107224"/>
          <ac:spMkLst>
            <pc:docMk/>
            <pc:sldMk cId="398206320" sldId="2147478580"/>
            <ac:spMk id="700" creationId="{14AFC591-DCE2-43A6-FFDF-4D190D668596}"/>
          </ac:spMkLst>
        </pc:spChg>
        <pc:spChg chg="add del mod">
          <ac:chgData name="Steiner Andreas 6206 ED" userId="e6377c33-a923-4f14-8587-531c474c7b48" providerId="ADAL" clId="{6ECD27E6-B224-41CD-B4E0-E297462320DD}" dt="2023-11-24T08:55:36.363" v="107379"/>
          <ac:spMkLst>
            <pc:docMk/>
            <pc:sldMk cId="398206320" sldId="2147478580"/>
            <ac:spMk id="701" creationId="{E9E1BB67-96DF-D3DF-F069-DC5F99E8D9A8}"/>
          </ac:spMkLst>
        </pc:spChg>
        <pc:spChg chg="add del mod">
          <ac:chgData name="Steiner Andreas 6206 ED" userId="e6377c33-a923-4f14-8587-531c474c7b48" providerId="ADAL" clId="{6ECD27E6-B224-41CD-B4E0-E297462320DD}" dt="2023-11-24T08:55:38.391" v="107534"/>
          <ac:spMkLst>
            <pc:docMk/>
            <pc:sldMk cId="398206320" sldId="2147478580"/>
            <ac:spMk id="702" creationId="{1354A9C5-B5C9-5D6F-5644-44289821BD27}"/>
          </ac:spMkLst>
        </pc:spChg>
        <pc:spChg chg="add del mod">
          <ac:chgData name="Steiner Andreas 6206 ED" userId="e6377c33-a923-4f14-8587-531c474c7b48" providerId="ADAL" clId="{6ECD27E6-B224-41CD-B4E0-E297462320DD}" dt="2023-11-24T08:55:40.434" v="107689"/>
          <ac:spMkLst>
            <pc:docMk/>
            <pc:sldMk cId="398206320" sldId="2147478580"/>
            <ac:spMk id="703" creationId="{8213A118-0DAA-08D5-2772-FFD9F70616BB}"/>
          </ac:spMkLst>
        </pc:spChg>
        <pc:spChg chg="add del mod">
          <ac:chgData name="Steiner Andreas 6206 ED" userId="e6377c33-a923-4f14-8587-531c474c7b48" providerId="ADAL" clId="{6ECD27E6-B224-41CD-B4E0-E297462320DD}" dt="2023-11-24T08:55:42.314" v="107844"/>
          <ac:spMkLst>
            <pc:docMk/>
            <pc:sldMk cId="398206320" sldId="2147478580"/>
            <ac:spMk id="704" creationId="{674E08B2-7462-E9DA-08F2-B80D7C0DE7A5}"/>
          </ac:spMkLst>
        </pc:spChg>
        <pc:spChg chg="add del mod">
          <ac:chgData name="Steiner Andreas 6206 ED" userId="e6377c33-a923-4f14-8587-531c474c7b48" providerId="ADAL" clId="{6ECD27E6-B224-41CD-B4E0-E297462320DD}" dt="2023-11-24T08:55:44.285" v="107999"/>
          <ac:spMkLst>
            <pc:docMk/>
            <pc:sldMk cId="398206320" sldId="2147478580"/>
            <ac:spMk id="705" creationId="{301AF73A-F61A-2928-EAA1-737D9327644F}"/>
          </ac:spMkLst>
        </pc:spChg>
        <pc:spChg chg="add del mod">
          <ac:chgData name="Steiner Andreas 6206 ED" userId="e6377c33-a923-4f14-8587-531c474c7b48" providerId="ADAL" clId="{6ECD27E6-B224-41CD-B4E0-E297462320DD}" dt="2023-11-24T08:55:46.614" v="108154"/>
          <ac:spMkLst>
            <pc:docMk/>
            <pc:sldMk cId="398206320" sldId="2147478580"/>
            <ac:spMk id="706" creationId="{E4777E92-D08D-08A8-00BF-53E7FC4C3A61}"/>
          </ac:spMkLst>
        </pc:spChg>
        <pc:spChg chg="add del mod">
          <ac:chgData name="Steiner Andreas 6206 ED" userId="e6377c33-a923-4f14-8587-531c474c7b48" providerId="ADAL" clId="{6ECD27E6-B224-41CD-B4E0-E297462320DD}" dt="2023-11-24T08:55:48.822" v="108309"/>
          <ac:spMkLst>
            <pc:docMk/>
            <pc:sldMk cId="398206320" sldId="2147478580"/>
            <ac:spMk id="707" creationId="{29BE942B-5097-1A77-0082-80F591B72376}"/>
          </ac:spMkLst>
        </pc:spChg>
        <pc:spChg chg="add del mod">
          <ac:chgData name="Steiner Andreas 6206 ED" userId="e6377c33-a923-4f14-8587-531c474c7b48" providerId="ADAL" clId="{6ECD27E6-B224-41CD-B4E0-E297462320DD}" dt="2023-11-24T08:55:51.255" v="108464"/>
          <ac:spMkLst>
            <pc:docMk/>
            <pc:sldMk cId="398206320" sldId="2147478580"/>
            <ac:spMk id="708" creationId="{87D8BDE4-D030-753E-970B-10D67DDD42B1}"/>
          </ac:spMkLst>
        </pc:spChg>
        <pc:spChg chg="add del mod">
          <ac:chgData name="Steiner Andreas 6206 ED" userId="e6377c33-a923-4f14-8587-531c474c7b48" providerId="ADAL" clId="{6ECD27E6-B224-41CD-B4E0-E297462320DD}" dt="2023-11-24T08:55:53.296" v="108619"/>
          <ac:spMkLst>
            <pc:docMk/>
            <pc:sldMk cId="398206320" sldId="2147478580"/>
            <ac:spMk id="709" creationId="{95252FA7-AF82-15B6-9A9B-A16EA6FDC709}"/>
          </ac:spMkLst>
        </pc:spChg>
        <pc:spChg chg="add del mod">
          <ac:chgData name="Steiner Andreas 6206 ED" userId="e6377c33-a923-4f14-8587-531c474c7b48" providerId="ADAL" clId="{6ECD27E6-B224-41CD-B4E0-E297462320DD}" dt="2023-11-24T08:55:55.424" v="108774"/>
          <ac:spMkLst>
            <pc:docMk/>
            <pc:sldMk cId="398206320" sldId="2147478580"/>
            <ac:spMk id="710" creationId="{653140FC-31E4-C49E-4783-5BA52E38F2AF}"/>
          </ac:spMkLst>
        </pc:spChg>
        <pc:spChg chg="add del mod">
          <ac:chgData name="Steiner Andreas 6206 ED" userId="e6377c33-a923-4f14-8587-531c474c7b48" providerId="ADAL" clId="{6ECD27E6-B224-41CD-B4E0-E297462320DD}" dt="2023-11-24T08:55:57.442" v="108929"/>
          <ac:spMkLst>
            <pc:docMk/>
            <pc:sldMk cId="398206320" sldId="2147478580"/>
            <ac:spMk id="711" creationId="{7FF490D5-19C2-C0FC-5CFD-36E257805A7D}"/>
          </ac:spMkLst>
        </pc:spChg>
        <pc:spChg chg="add del mod">
          <ac:chgData name="Steiner Andreas 6206 ED" userId="e6377c33-a923-4f14-8587-531c474c7b48" providerId="ADAL" clId="{6ECD27E6-B224-41CD-B4E0-E297462320DD}" dt="2023-11-24T08:55:59.525" v="109084"/>
          <ac:spMkLst>
            <pc:docMk/>
            <pc:sldMk cId="398206320" sldId="2147478580"/>
            <ac:spMk id="712" creationId="{B15A6A41-8174-0CB2-BE54-FD5ABF66003E}"/>
          </ac:spMkLst>
        </pc:spChg>
        <pc:spChg chg="add del mod">
          <ac:chgData name="Steiner Andreas 6206 ED" userId="e6377c33-a923-4f14-8587-531c474c7b48" providerId="ADAL" clId="{6ECD27E6-B224-41CD-B4E0-E297462320DD}" dt="2023-11-24T08:56:01.902" v="109239"/>
          <ac:spMkLst>
            <pc:docMk/>
            <pc:sldMk cId="398206320" sldId="2147478580"/>
            <ac:spMk id="713" creationId="{5523F78C-700D-6A4F-8C41-22735B458BAA}"/>
          </ac:spMkLst>
        </pc:spChg>
        <pc:spChg chg="add del mod">
          <ac:chgData name="Steiner Andreas 6206 ED" userId="e6377c33-a923-4f14-8587-531c474c7b48" providerId="ADAL" clId="{6ECD27E6-B224-41CD-B4E0-E297462320DD}" dt="2023-11-24T08:56:04.153" v="109394"/>
          <ac:spMkLst>
            <pc:docMk/>
            <pc:sldMk cId="398206320" sldId="2147478580"/>
            <ac:spMk id="714" creationId="{942F93DB-4ECD-3D4E-EE15-6CEF8D5E1EE4}"/>
          </ac:spMkLst>
        </pc:spChg>
        <pc:spChg chg="add del mod">
          <ac:chgData name="Steiner Andreas 6206 ED" userId="e6377c33-a923-4f14-8587-531c474c7b48" providerId="ADAL" clId="{6ECD27E6-B224-41CD-B4E0-E297462320DD}" dt="2023-11-24T08:56:06.451" v="109549"/>
          <ac:spMkLst>
            <pc:docMk/>
            <pc:sldMk cId="398206320" sldId="2147478580"/>
            <ac:spMk id="715" creationId="{683C20D5-5663-C58A-9551-3495DDA3DEC7}"/>
          </ac:spMkLst>
        </pc:spChg>
        <pc:spChg chg="add del mod">
          <ac:chgData name="Steiner Andreas 6206 ED" userId="e6377c33-a923-4f14-8587-531c474c7b48" providerId="ADAL" clId="{6ECD27E6-B224-41CD-B4E0-E297462320DD}" dt="2023-11-24T08:56:08.736" v="109704"/>
          <ac:spMkLst>
            <pc:docMk/>
            <pc:sldMk cId="398206320" sldId="2147478580"/>
            <ac:spMk id="716" creationId="{C9DA8411-0F8A-6FBD-BD87-7572C74F5117}"/>
          </ac:spMkLst>
        </pc:spChg>
        <pc:spChg chg="add del mod">
          <ac:chgData name="Steiner Andreas 6206 ED" userId="e6377c33-a923-4f14-8587-531c474c7b48" providerId="ADAL" clId="{6ECD27E6-B224-41CD-B4E0-E297462320DD}" dt="2023-11-24T08:56:10.782" v="109859"/>
          <ac:spMkLst>
            <pc:docMk/>
            <pc:sldMk cId="398206320" sldId="2147478580"/>
            <ac:spMk id="717" creationId="{4B01A854-F009-8096-17C5-2E6D9738F8D1}"/>
          </ac:spMkLst>
        </pc:spChg>
        <pc:spChg chg="add del mod">
          <ac:chgData name="Steiner Andreas 6206 ED" userId="e6377c33-a923-4f14-8587-531c474c7b48" providerId="ADAL" clId="{6ECD27E6-B224-41CD-B4E0-E297462320DD}" dt="2023-11-24T08:56:12.899" v="110014"/>
          <ac:spMkLst>
            <pc:docMk/>
            <pc:sldMk cId="398206320" sldId="2147478580"/>
            <ac:spMk id="718" creationId="{AB48A21C-B281-A51B-D5FE-02E0685BF2E5}"/>
          </ac:spMkLst>
        </pc:spChg>
        <pc:spChg chg="add del mod">
          <ac:chgData name="Steiner Andreas 6206 ED" userId="e6377c33-a923-4f14-8587-531c474c7b48" providerId="ADAL" clId="{6ECD27E6-B224-41CD-B4E0-E297462320DD}" dt="2023-11-24T08:56:15.022" v="110169"/>
          <ac:spMkLst>
            <pc:docMk/>
            <pc:sldMk cId="398206320" sldId="2147478580"/>
            <ac:spMk id="719" creationId="{8AD6E8AF-681A-93D0-E3D0-C74793C10BB1}"/>
          </ac:spMkLst>
        </pc:spChg>
        <pc:spChg chg="add del mod">
          <ac:chgData name="Steiner Andreas 6206 ED" userId="e6377c33-a923-4f14-8587-531c474c7b48" providerId="ADAL" clId="{6ECD27E6-B224-41CD-B4E0-E297462320DD}" dt="2023-11-24T08:56:17.002" v="110324"/>
          <ac:spMkLst>
            <pc:docMk/>
            <pc:sldMk cId="398206320" sldId="2147478580"/>
            <ac:spMk id="720" creationId="{F4292D1D-2E2A-C556-0F27-E895D97CC881}"/>
          </ac:spMkLst>
        </pc:spChg>
        <pc:spChg chg="add del mod">
          <ac:chgData name="Steiner Andreas 6206 ED" userId="e6377c33-a923-4f14-8587-531c474c7b48" providerId="ADAL" clId="{6ECD27E6-B224-41CD-B4E0-E297462320DD}" dt="2023-11-24T08:56:18.982" v="110479"/>
          <ac:spMkLst>
            <pc:docMk/>
            <pc:sldMk cId="398206320" sldId="2147478580"/>
            <ac:spMk id="721" creationId="{0D8DD613-A274-4D35-FEF5-1F0036A13529}"/>
          </ac:spMkLst>
        </pc:spChg>
        <pc:spChg chg="add del mod">
          <ac:chgData name="Steiner Andreas 6206 ED" userId="e6377c33-a923-4f14-8587-531c474c7b48" providerId="ADAL" clId="{6ECD27E6-B224-41CD-B4E0-E297462320DD}" dt="2023-11-24T08:56:20.925" v="110634"/>
          <ac:spMkLst>
            <pc:docMk/>
            <pc:sldMk cId="398206320" sldId="2147478580"/>
            <ac:spMk id="722" creationId="{DD9899A5-7793-1953-380E-F33955170E97}"/>
          </ac:spMkLst>
        </pc:spChg>
        <pc:spChg chg="add del mod">
          <ac:chgData name="Steiner Andreas 6206 ED" userId="e6377c33-a923-4f14-8587-531c474c7b48" providerId="ADAL" clId="{6ECD27E6-B224-41CD-B4E0-E297462320DD}" dt="2023-11-24T08:56:23.065" v="110789"/>
          <ac:spMkLst>
            <pc:docMk/>
            <pc:sldMk cId="398206320" sldId="2147478580"/>
            <ac:spMk id="723" creationId="{2FABB0C6-D598-7A17-7F08-BCBE725479FB}"/>
          </ac:spMkLst>
        </pc:spChg>
        <pc:spChg chg="add del mod">
          <ac:chgData name="Steiner Andreas 6206 ED" userId="e6377c33-a923-4f14-8587-531c474c7b48" providerId="ADAL" clId="{6ECD27E6-B224-41CD-B4E0-E297462320DD}" dt="2023-11-24T08:56:25.267" v="110944"/>
          <ac:spMkLst>
            <pc:docMk/>
            <pc:sldMk cId="398206320" sldId="2147478580"/>
            <ac:spMk id="724" creationId="{AC1EB018-6B7B-759B-823C-569BA48CD3AC}"/>
          </ac:spMkLst>
        </pc:spChg>
        <pc:spChg chg="add del mod">
          <ac:chgData name="Steiner Andreas 6206 ED" userId="e6377c33-a923-4f14-8587-531c474c7b48" providerId="ADAL" clId="{6ECD27E6-B224-41CD-B4E0-E297462320DD}" dt="2023-11-24T08:56:27.291" v="111099"/>
          <ac:spMkLst>
            <pc:docMk/>
            <pc:sldMk cId="398206320" sldId="2147478580"/>
            <ac:spMk id="725" creationId="{E3EC0526-01C4-25CB-9C3B-9146D58BBACA}"/>
          </ac:spMkLst>
        </pc:spChg>
        <pc:spChg chg="add del mod">
          <ac:chgData name="Steiner Andreas 6206 ED" userId="e6377c33-a923-4f14-8587-531c474c7b48" providerId="ADAL" clId="{6ECD27E6-B224-41CD-B4E0-E297462320DD}" dt="2023-11-24T08:56:29.327" v="111254"/>
          <ac:spMkLst>
            <pc:docMk/>
            <pc:sldMk cId="398206320" sldId="2147478580"/>
            <ac:spMk id="726" creationId="{0A6D5E36-ED0A-26AC-4B35-178ABF874C5A}"/>
          </ac:spMkLst>
        </pc:spChg>
        <pc:spChg chg="add del mod">
          <ac:chgData name="Steiner Andreas 6206 ED" userId="e6377c33-a923-4f14-8587-531c474c7b48" providerId="ADAL" clId="{6ECD27E6-B224-41CD-B4E0-E297462320DD}" dt="2023-11-24T08:56:31.433" v="111409"/>
          <ac:spMkLst>
            <pc:docMk/>
            <pc:sldMk cId="398206320" sldId="2147478580"/>
            <ac:spMk id="727" creationId="{632228B2-BE8A-9C04-F352-A95EE2E6F2F0}"/>
          </ac:spMkLst>
        </pc:spChg>
        <pc:spChg chg="add del mod">
          <ac:chgData name="Steiner Andreas 6206 ED" userId="e6377c33-a923-4f14-8587-531c474c7b48" providerId="ADAL" clId="{6ECD27E6-B224-41CD-B4E0-E297462320DD}" dt="2023-11-24T08:56:33.662" v="111564"/>
          <ac:spMkLst>
            <pc:docMk/>
            <pc:sldMk cId="398206320" sldId="2147478580"/>
            <ac:spMk id="728" creationId="{744982D9-7B65-F1FC-B68B-248A1F9E6364}"/>
          </ac:spMkLst>
        </pc:spChg>
        <pc:spChg chg="add del mod">
          <ac:chgData name="Steiner Andreas 6206 ED" userId="e6377c33-a923-4f14-8587-531c474c7b48" providerId="ADAL" clId="{6ECD27E6-B224-41CD-B4E0-E297462320DD}" dt="2023-11-24T08:56:35.842" v="111719"/>
          <ac:spMkLst>
            <pc:docMk/>
            <pc:sldMk cId="398206320" sldId="2147478580"/>
            <ac:spMk id="729" creationId="{EDB31E1A-8AE5-4021-FB32-EB426A59E851}"/>
          </ac:spMkLst>
        </pc:spChg>
        <pc:spChg chg="add del mod">
          <ac:chgData name="Steiner Andreas 6206 ED" userId="e6377c33-a923-4f14-8587-531c474c7b48" providerId="ADAL" clId="{6ECD27E6-B224-41CD-B4E0-E297462320DD}" dt="2023-11-24T08:56:37.910" v="111874"/>
          <ac:spMkLst>
            <pc:docMk/>
            <pc:sldMk cId="398206320" sldId="2147478580"/>
            <ac:spMk id="730" creationId="{999FE5FB-C6F6-136D-9097-E510EBD381CE}"/>
          </ac:spMkLst>
        </pc:spChg>
        <pc:spChg chg="add del mod">
          <ac:chgData name="Steiner Andreas 6206 ED" userId="e6377c33-a923-4f14-8587-531c474c7b48" providerId="ADAL" clId="{6ECD27E6-B224-41CD-B4E0-E297462320DD}" dt="2023-11-24T08:56:40.059" v="112029"/>
          <ac:spMkLst>
            <pc:docMk/>
            <pc:sldMk cId="398206320" sldId="2147478580"/>
            <ac:spMk id="731" creationId="{12033020-00C3-E066-B5D4-573B4BDAD5E6}"/>
          </ac:spMkLst>
        </pc:spChg>
        <pc:spChg chg="add del mod">
          <ac:chgData name="Steiner Andreas 6206 ED" userId="e6377c33-a923-4f14-8587-531c474c7b48" providerId="ADAL" clId="{6ECD27E6-B224-41CD-B4E0-E297462320DD}" dt="2023-11-24T08:56:42.009" v="112184"/>
          <ac:spMkLst>
            <pc:docMk/>
            <pc:sldMk cId="398206320" sldId="2147478580"/>
            <ac:spMk id="732" creationId="{79980306-BE4C-3AF4-BA9B-2248EB2751AD}"/>
          </ac:spMkLst>
        </pc:spChg>
        <pc:spChg chg="add del mod">
          <ac:chgData name="Steiner Andreas 6206 ED" userId="e6377c33-a923-4f14-8587-531c474c7b48" providerId="ADAL" clId="{6ECD27E6-B224-41CD-B4E0-E297462320DD}" dt="2023-11-24T08:56:44.009" v="112339"/>
          <ac:spMkLst>
            <pc:docMk/>
            <pc:sldMk cId="398206320" sldId="2147478580"/>
            <ac:spMk id="733" creationId="{D7115E87-11BB-E1A7-9F6D-6A8664F62C73}"/>
          </ac:spMkLst>
        </pc:spChg>
        <pc:spChg chg="add del mod">
          <ac:chgData name="Steiner Andreas 6206 ED" userId="e6377c33-a923-4f14-8587-531c474c7b48" providerId="ADAL" clId="{6ECD27E6-B224-41CD-B4E0-E297462320DD}" dt="2023-11-24T08:56:46.040" v="112494"/>
          <ac:spMkLst>
            <pc:docMk/>
            <pc:sldMk cId="398206320" sldId="2147478580"/>
            <ac:spMk id="734" creationId="{364F44E2-7ADE-78B1-D149-C451A99345A0}"/>
          </ac:spMkLst>
        </pc:spChg>
        <pc:spChg chg="add del mod">
          <ac:chgData name="Steiner Andreas 6206 ED" userId="e6377c33-a923-4f14-8587-531c474c7b48" providerId="ADAL" clId="{6ECD27E6-B224-41CD-B4E0-E297462320DD}" dt="2023-11-24T08:56:48.252" v="112649"/>
          <ac:spMkLst>
            <pc:docMk/>
            <pc:sldMk cId="398206320" sldId="2147478580"/>
            <ac:spMk id="735" creationId="{51622E6C-4CC1-D582-19AB-8C07461412A1}"/>
          </ac:spMkLst>
        </pc:spChg>
        <pc:spChg chg="add del mod">
          <ac:chgData name="Steiner Andreas 6206 ED" userId="e6377c33-a923-4f14-8587-531c474c7b48" providerId="ADAL" clId="{6ECD27E6-B224-41CD-B4E0-E297462320DD}" dt="2023-11-24T08:56:50.308" v="112804"/>
          <ac:spMkLst>
            <pc:docMk/>
            <pc:sldMk cId="398206320" sldId="2147478580"/>
            <ac:spMk id="736" creationId="{47AE0252-7689-0B4E-0F96-FEC03553DE62}"/>
          </ac:spMkLst>
        </pc:spChg>
        <pc:spChg chg="add del mod">
          <ac:chgData name="Steiner Andreas 6206 ED" userId="e6377c33-a923-4f14-8587-531c474c7b48" providerId="ADAL" clId="{6ECD27E6-B224-41CD-B4E0-E297462320DD}" dt="2023-11-24T08:56:52.237" v="112959"/>
          <ac:spMkLst>
            <pc:docMk/>
            <pc:sldMk cId="398206320" sldId="2147478580"/>
            <ac:spMk id="737" creationId="{AE0F4E87-2AC6-4695-1A4F-322A6E3B69A2}"/>
          </ac:spMkLst>
        </pc:spChg>
        <pc:spChg chg="add del mod">
          <ac:chgData name="Steiner Andreas 6206 ED" userId="e6377c33-a923-4f14-8587-531c474c7b48" providerId="ADAL" clId="{6ECD27E6-B224-41CD-B4E0-E297462320DD}" dt="2023-11-24T08:56:54.360" v="113114"/>
          <ac:spMkLst>
            <pc:docMk/>
            <pc:sldMk cId="398206320" sldId="2147478580"/>
            <ac:spMk id="738" creationId="{430A0A7B-7DE8-854B-22F1-5441D389C867}"/>
          </ac:spMkLst>
        </pc:spChg>
        <pc:spChg chg="add del mod">
          <ac:chgData name="Steiner Andreas 6206 ED" userId="e6377c33-a923-4f14-8587-531c474c7b48" providerId="ADAL" clId="{6ECD27E6-B224-41CD-B4E0-E297462320DD}" dt="2023-11-24T08:56:56.317" v="113269"/>
          <ac:spMkLst>
            <pc:docMk/>
            <pc:sldMk cId="398206320" sldId="2147478580"/>
            <ac:spMk id="739" creationId="{91B2DBEC-755E-03DD-1355-BDE7D7EBAA29}"/>
          </ac:spMkLst>
        </pc:spChg>
        <pc:spChg chg="add del mod">
          <ac:chgData name="Steiner Andreas 6206 ED" userId="e6377c33-a923-4f14-8587-531c474c7b48" providerId="ADAL" clId="{6ECD27E6-B224-41CD-B4E0-E297462320DD}" dt="2023-11-24T08:56:58.444" v="113424"/>
          <ac:spMkLst>
            <pc:docMk/>
            <pc:sldMk cId="398206320" sldId="2147478580"/>
            <ac:spMk id="740" creationId="{AB653CED-1477-32C3-47E4-07180ABEF181}"/>
          </ac:spMkLst>
        </pc:spChg>
        <pc:spChg chg="add del mod">
          <ac:chgData name="Steiner Andreas 6206 ED" userId="e6377c33-a923-4f14-8587-531c474c7b48" providerId="ADAL" clId="{6ECD27E6-B224-41CD-B4E0-E297462320DD}" dt="2023-11-24T08:57:00.744" v="113579"/>
          <ac:spMkLst>
            <pc:docMk/>
            <pc:sldMk cId="398206320" sldId="2147478580"/>
            <ac:spMk id="741" creationId="{A968876A-D221-E73A-B71E-BE0E86D29C6A}"/>
          </ac:spMkLst>
        </pc:spChg>
        <pc:spChg chg="add del mod">
          <ac:chgData name="Steiner Andreas 6206 ED" userId="e6377c33-a923-4f14-8587-531c474c7b48" providerId="ADAL" clId="{6ECD27E6-B224-41CD-B4E0-E297462320DD}" dt="2023-11-24T08:57:03.123" v="113734"/>
          <ac:spMkLst>
            <pc:docMk/>
            <pc:sldMk cId="398206320" sldId="2147478580"/>
            <ac:spMk id="742" creationId="{44D738B6-C7AD-6959-FEA9-5E6CD03D0EB2}"/>
          </ac:spMkLst>
        </pc:spChg>
        <pc:spChg chg="add del mod">
          <ac:chgData name="Steiner Andreas 6206 ED" userId="e6377c33-a923-4f14-8587-531c474c7b48" providerId="ADAL" clId="{6ECD27E6-B224-41CD-B4E0-E297462320DD}" dt="2023-11-24T09:02:21.641" v="113889"/>
          <ac:spMkLst>
            <pc:docMk/>
            <pc:sldMk cId="398206320" sldId="2147478580"/>
            <ac:spMk id="743" creationId="{EDD22CF3-05BD-97E6-B844-3429C168ACCD}"/>
          </ac:spMkLst>
        </pc:spChg>
        <pc:spChg chg="add del mod">
          <ac:chgData name="Steiner Andreas 6206 ED" userId="e6377c33-a923-4f14-8587-531c474c7b48" providerId="ADAL" clId="{6ECD27E6-B224-41CD-B4E0-E297462320DD}" dt="2023-11-24T09:02:27.518" v="114044"/>
          <ac:spMkLst>
            <pc:docMk/>
            <pc:sldMk cId="398206320" sldId="2147478580"/>
            <ac:spMk id="744" creationId="{C999FB50-C1A6-2AD8-94B7-F803EA6893D9}"/>
          </ac:spMkLst>
        </pc:spChg>
        <pc:spChg chg="add del mod">
          <ac:chgData name="Steiner Andreas 6206 ED" userId="e6377c33-a923-4f14-8587-531c474c7b48" providerId="ADAL" clId="{6ECD27E6-B224-41CD-B4E0-E297462320DD}" dt="2023-11-24T09:02:30.084" v="114199"/>
          <ac:spMkLst>
            <pc:docMk/>
            <pc:sldMk cId="398206320" sldId="2147478580"/>
            <ac:spMk id="745" creationId="{4431DC77-3AC6-CFF5-E116-B689FA923FD1}"/>
          </ac:spMkLst>
        </pc:spChg>
        <pc:spChg chg="add del mod">
          <ac:chgData name="Steiner Andreas 6206 ED" userId="e6377c33-a923-4f14-8587-531c474c7b48" providerId="ADAL" clId="{6ECD27E6-B224-41CD-B4E0-E297462320DD}" dt="2023-11-24T09:02:33.397" v="114354"/>
          <ac:spMkLst>
            <pc:docMk/>
            <pc:sldMk cId="398206320" sldId="2147478580"/>
            <ac:spMk id="746" creationId="{6D407C8F-3B55-F608-DC0F-7DB8C091FD5E}"/>
          </ac:spMkLst>
        </pc:spChg>
        <pc:spChg chg="add del mod">
          <ac:chgData name="Steiner Andreas 6206 ED" userId="e6377c33-a923-4f14-8587-531c474c7b48" providerId="ADAL" clId="{6ECD27E6-B224-41CD-B4E0-E297462320DD}" dt="2023-11-24T09:02:36.793" v="114509"/>
          <ac:spMkLst>
            <pc:docMk/>
            <pc:sldMk cId="398206320" sldId="2147478580"/>
            <ac:spMk id="747" creationId="{4EAC41AF-CA40-57E7-A2C2-065BBCE5665C}"/>
          </ac:spMkLst>
        </pc:spChg>
        <pc:spChg chg="add del mod">
          <ac:chgData name="Steiner Andreas 6206 ED" userId="e6377c33-a923-4f14-8587-531c474c7b48" providerId="ADAL" clId="{6ECD27E6-B224-41CD-B4E0-E297462320DD}" dt="2023-11-24T11:31:22.575" v="114664"/>
          <ac:spMkLst>
            <pc:docMk/>
            <pc:sldMk cId="398206320" sldId="2147478580"/>
            <ac:spMk id="748" creationId="{32FF4F3C-3A16-FBD5-D411-A5C6D141AEC5}"/>
          </ac:spMkLst>
        </pc:spChg>
        <pc:spChg chg="add del mod">
          <ac:chgData name="Steiner Andreas 6206 ED" userId="e6377c33-a923-4f14-8587-531c474c7b48" providerId="ADAL" clId="{6ECD27E6-B224-41CD-B4E0-E297462320DD}" dt="2023-11-24T11:33:29.888" v="114819"/>
          <ac:spMkLst>
            <pc:docMk/>
            <pc:sldMk cId="398206320" sldId="2147478580"/>
            <ac:spMk id="749" creationId="{ECB4586A-9A01-AD88-D66D-CA0F65818BAE}"/>
          </ac:spMkLst>
        </pc:spChg>
        <pc:spChg chg="add del mod">
          <ac:chgData name="Steiner Andreas 6206 ED" userId="e6377c33-a923-4f14-8587-531c474c7b48" providerId="ADAL" clId="{6ECD27E6-B224-41CD-B4E0-E297462320DD}" dt="2023-11-24T11:33:36.375" v="114974"/>
          <ac:spMkLst>
            <pc:docMk/>
            <pc:sldMk cId="398206320" sldId="2147478580"/>
            <ac:spMk id="750" creationId="{BEF0F32C-B5EA-3B4F-9F26-0C5C99BC5B84}"/>
          </ac:spMkLst>
        </pc:spChg>
        <pc:spChg chg="add del mod">
          <ac:chgData name="Steiner Andreas 6206 ED" userId="e6377c33-a923-4f14-8587-531c474c7b48" providerId="ADAL" clId="{6ECD27E6-B224-41CD-B4E0-E297462320DD}" dt="2023-11-24T11:33:39.492" v="115129"/>
          <ac:spMkLst>
            <pc:docMk/>
            <pc:sldMk cId="398206320" sldId="2147478580"/>
            <ac:spMk id="751" creationId="{BF6FBB78-154E-5B39-09A4-767F9545CF1C}"/>
          </ac:spMkLst>
        </pc:spChg>
        <pc:spChg chg="add del mod">
          <ac:chgData name="Steiner Andreas 6206 ED" userId="e6377c33-a923-4f14-8587-531c474c7b48" providerId="ADAL" clId="{6ECD27E6-B224-41CD-B4E0-E297462320DD}" dt="2023-11-24T11:33:43.048" v="115284"/>
          <ac:spMkLst>
            <pc:docMk/>
            <pc:sldMk cId="398206320" sldId="2147478580"/>
            <ac:spMk id="752" creationId="{0FC945A5-8496-B65A-5F40-0EBC7D484FA9}"/>
          </ac:spMkLst>
        </pc:spChg>
        <pc:spChg chg="add del mod">
          <ac:chgData name="Steiner Andreas 6206 ED" userId="e6377c33-a923-4f14-8587-531c474c7b48" providerId="ADAL" clId="{6ECD27E6-B224-41CD-B4E0-E297462320DD}" dt="2023-11-24T11:33:46.261" v="115439"/>
          <ac:spMkLst>
            <pc:docMk/>
            <pc:sldMk cId="398206320" sldId="2147478580"/>
            <ac:spMk id="753" creationId="{7A8B7066-7E51-C66F-F68A-FD9A56F821E4}"/>
          </ac:spMkLst>
        </pc:spChg>
        <pc:spChg chg="add del mod">
          <ac:chgData name="Steiner Andreas 6206 ED" userId="e6377c33-a923-4f14-8587-531c474c7b48" providerId="ADAL" clId="{6ECD27E6-B224-41CD-B4E0-E297462320DD}" dt="2023-11-24T11:33:49.352" v="115594"/>
          <ac:spMkLst>
            <pc:docMk/>
            <pc:sldMk cId="398206320" sldId="2147478580"/>
            <ac:spMk id="754" creationId="{18F4F239-87A6-5E6F-9582-5920F218781F}"/>
          </ac:spMkLst>
        </pc:spChg>
        <pc:spChg chg="add del mod">
          <ac:chgData name="Steiner Andreas 6206 ED" userId="e6377c33-a923-4f14-8587-531c474c7b48" providerId="ADAL" clId="{6ECD27E6-B224-41CD-B4E0-E297462320DD}" dt="2023-11-24T11:33:52.029" v="115749"/>
          <ac:spMkLst>
            <pc:docMk/>
            <pc:sldMk cId="398206320" sldId="2147478580"/>
            <ac:spMk id="755" creationId="{A178B8AE-5320-6B8C-08A6-D6A6C342E8BB}"/>
          </ac:spMkLst>
        </pc:spChg>
        <pc:spChg chg="add del mod">
          <ac:chgData name="Steiner Andreas 6206 ED" userId="e6377c33-a923-4f14-8587-531c474c7b48" providerId="ADAL" clId="{6ECD27E6-B224-41CD-B4E0-E297462320DD}" dt="2023-11-24T11:33:54.865" v="115904"/>
          <ac:spMkLst>
            <pc:docMk/>
            <pc:sldMk cId="398206320" sldId="2147478580"/>
            <ac:spMk id="756" creationId="{5A3DDD9B-EBB4-B312-B496-25C0A704CED8}"/>
          </ac:spMkLst>
        </pc:spChg>
        <pc:spChg chg="add del mod">
          <ac:chgData name="Steiner Andreas 6206 ED" userId="e6377c33-a923-4f14-8587-531c474c7b48" providerId="ADAL" clId="{6ECD27E6-B224-41CD-B4E0-E297462320DD}" dt="2023-11-24T11:33:57.365" v="116059"/>
          <ac:spMkLst>
            <pc:docMk/>
            <pc:sldMk cId="398206320" sldId="2147478580"/>
            <ac:spMk id="757" creationId="{183BAC6C-56B6-B759-2F1F-9B126C07CEB7}"/>
          </ac:spMkLst>
        </pc:spChg>
        <pc:spChg chg="add del mod">
          <ac:chgData name="Steiner Andreas 6206 ED" userId="e6377c33-a923-4f14-8587-531c474c7b48" providerId="ADAL" clId="{6ECD27E6-B224-41CD-B4E0-E297462320DD}" dt="2023-11-24T11:33:59.703" v="116214"/>
          <ac:spMkLst>
            <pc:docMk/>
            <pc:sldMk cId="398206320" sldId="2147478580"/>
            <ac:spMk id="758" creationId="{E6395874-B93E-B457-44F2-E11DC00CE4C9}"/>
          </ac:spMkLst>
        </pc:spChg>
        <pc:spChg chg="add del mod">
          <ac:chgData name="Steiner Andreas 6206 ED" userId="e6377c33-a923-4f14-8587-531c474c7b48" providerId="ADAL" clId="{6ECD27E6-B224-41CD-B4E0-E297462320DD}" dt="2023-11-24T11:34:02.068" v="116369"/>
          <ac:spMkLst>
            <pc:docMk/>
            <pc:sldMk cId="398206320" sldId="2147478580"/>
            <ac:spMk id="759" creationId="{D819CE41-3592-E61C-FA34-32F7D6F00039}"/>
          </ac:spMkLst>
        </pc:spChg>
        <pc:spChg chg="add del mod">
          <ac:chgData name="Steiner Andreas 6206 ED" userId="e6377c33-a923-4f14-8587-531c474c7b48" providerId="ADAL" clId="{6ECD27E6-B224-41CD-B4E0-E297462320DD}" dt="2023-11-24T11:34:04.378" v="116524"/>
          <ac:spMkLst>
            <pc:docMk/>
            <pc:sldMk cId="398206320" sldId="2147478580"/>
            <ac:spMk id="760" creationId="{F2F45BB2-86BD-3AE3-673B-D9AA109BE9BE}"/>
          </ac:spMkLst>
        </pc:spChg>
        <pc:spChg chg="add del mod">
          <ac:chgData name="Steiner Andreas 6206 ED" userId="e6377c33-a923-4f14-8587-531c474c7b48" providerId="ADAL" clId="{6ECD27E6-B224-41CD-B4E0-E297462320DD}" dt="2023-11-24T11:34:06.869" v="116679"/>
          <ac:spMkLst>
            <pc:docMk/>
            <pc:sldMk cId="398206320" sldId="2147478580"/>
            <ac:spMk id="761" creationId="{825BC170-1928-8B57-C8ED-0D016567267D}"/>
          </ac:spMkLst>
        </pc:spChg>
        <pc:spChg chg="add del mod">
          <ac:chgData name="Steiner Andreas 6206 ED" userId="e6377c33-a923-4f14-8587-531c474c7b48" providerId="ADAL" clId="{6ECD27E6-B224-41CD-B4E0-E297462320DD}" dt="2023-11-24T11:34:09.475" v="116834"/>
          <ac:spMkLst>
            <pc:docMk/>
            <pc:sldMk cId="398206320" sldId="2147478580"/>
            <ac:spMk id="762" creationId="{7DD62DDD-F584-342F-E4A8-BD4CF6324EFA}"/>
          </ac:spMkLst>
        </pc:spChg>
        <pc:spChg chg="add del mod">
          <ac:chgData name="Steiner Andreas 6206 ED" userId="e6377c33-a923-4f14-8587-531c474c7b48" providerId="ADAL" clId="{6ECD27E6-B224-41CD-B4E0-E297462320DD}" dt="2023-11-24T11:34:11.445" v="116989"/>
          <ac:spMkLst>
            <pc:docMk/>
            <pc:sldMk cId="398206320" sldId="2147478580"/>
            <ac:spMk id="763" creationId="{980DC42B-5B25-A340-14FA-5BE40B1FCD6A}"/>
          </ac:spMkLst>
        </pc:spChg>
        <pc:spChg chg="add del mod">
          <ac:chgData name="Steiner Andreas 6206 ED" userId="e6377c33-a923-4f14-8587-531c474c7b48" providerId="ADAL" clId="{6ECD27E6-B224-41CD-B4E0-E297462320DD}" dt="2023-11-24T11:34:13.205" v="117144"/>
          <ac:spMkLst>
            <pc:docMk/>
            <pc:sldMk cId="398206320" sldId="2147478580"/>
            <ac:spMk id="764" creationId="{E159BC42-ECD0-EE9F-D8DB-504EC771410D}"/>
          </ac:spMkLst>
        </pc:spChg>
        <pc:spChg chg="add del mod">
          <ac:chgData name="Steiner Andreas 6206 ED" userId="e6377c33-a923-4f14-8587-531c474c7b48" providerId="ADAL" clId="{6ECD27E6-B224-41CD-B4E0-E297462320DD}" dt="2023-11-24T11:34:14.997" v="117299"/>
          <ac:spMkLst>
            <pc:docMk/>
            <pc:sldMk cId="398206320" sldId="2147478580"/>
            <ac:spMk id="765" creationId="{72C7F385-8782-D680-1767-A2B7C2F5771F}"/>
          </ac:spMkLst>
        </pc:spChg>
        <pc:spChg chg="add del mod">
          <ac:chgData name="Steiner Andreas 6206 ED" userId="e6377c33-a923-4f14-8587-531c474c7b48" providerId="ADAL" clId="{6ECD27E6-B224-41CD-B4E0-E297462320DD}" dt="2023-11-24T11:34:16.783" v="117454"/>
          <ac:spMkLst>
            <pc:docMk/>
            <pc:sldMk cId="398206320" sldId="2147478580"/>
            <ac:spMk id="766" creationId="{8CD4FDB0-0FF3-51FE-2FEB-2834829DC07F}"/>
          </ac:spMkLst>
        </pc:spChg>
        <pc:spChg chg="add del mod">
          <ac:chgData name="Steiner Andreas 6206 ED" userId="e6377c33-a923-4f14-8587-531c474c7b48" providerId="ADAL" clId="{6ECD27E6-B224-41CD-B4E0-E297462320DD}" dt="2023-11-24T11:34:18.604" v="117609"/>
          <ac:spMkLst>
            <pc:docMk/>
            <pc:sldMk cId="398206320" sldId="2147478580"/>
            <ac:spMk id="767" creationId="{0CBE3407-DF97-3D15-6CF0-84AE8B6F82E7}"/>
          </ac:spMkLst>
        </pc:spChg>
        <pc:spChg chg="add del mod">
          <ac:chgData name="Steiner Andreas 6206 ED" userId="e6377c33-a923-4f14-8587-531c474c7b48" providerId="ADAL" clId="{6ECD27E6-B224-41CD-B4E0-E297462320DD}" dt="2023-11-24T11:34:20.719" v="117764"/>
          <ac:spMkLst>
            <pc:docMk/>
            <pc:sldMk cId="398206320" sldId="2147478580"/>
            <ac:spMk id="768" creationId="{572A270A-B762-DEB3-E0C3-A889CDF39852}"/>
          </ac:spMkLst>
        </pc:spChg>
        <pc:spChg chg="add del mod">
          <ac:chgData name="Steiner Andreas 6206 ED" userId="e6377c33-a923-4f14-8587-531c474c7b48" providerId="ADAL" clId="{6ECD27E6-B224-41CD-B4E0-E297462320DD}" dt="2023-11-24T11:34:22.632" v="117919"/>
          <ac:spMkLst>
            <pc:docMk/>
            <pc:sldMk cId="398206320" sldId="2147478580"/>
            <ac:spMk id="769" creationId="{30643AF9-EF44-A6EC-5476-8C99DE7C7173}"/>
          </ac:spMkLst>
        </pc:spChg>
        <pc:spChg chg="add del mod">
          <ac:chgData name="Steiner Andreas 6206 ED" userId="e6377c33-a923-4f14-8587-531c474c7b48" providerId="ADAL" clId="{6ECD27E6-B224-41CD-B4E0-E297462320DD}" dt="2023-11-24T11:34:24.740" v="118074"/>
          <ac:spMkLst>
            <pc:docMk/>
            <pc:sldMk cId="398206320" sldId="2147478580"/>
            <ac:spMk id="770" creationId="{27354FE1-91EF-3DB6-A404-75EDD10F5307}"/>
          </ac:spMkLst>
        </pc:spChg>
        <pc:spChg chg="add del mod">
          <ac:chgData name="Steiner Andreas 6206 ED" userId="e6377c33-a923-4f14-8587-531c474c7b48" providerId="ADAL" clId="{6ECD27E6-B224-41CD-B4E0-E297462320DD}" dt="2023-11-24T11:34:27.300" v="118229"/>
          <ac:spMkLst>
            <pc:docMk/>
            <pc:sldMk cId="398206320" sldId="2147478580"/>
            <ac:spMk id="771" creationId="{2B6B4C76-CF12-8653-AB04-B3A771BF612B}"/>
          </ac:spMkLst>
        </pc:spChg>
        <pc:spChg chg="add del mod">
          <ac:chgData name="Steiner Andreas 6206 ED" userId="e6377c33-a923-4f14-8587-531c474c7b48" providerId="ADAL" clId="{6ECD27E6-B224-41CD-B4E0-E297462320DD}" dt="2023-11-24T11:34:29.344" v="118384"/>
          <ac:spMkLst>
            <pc:docMk/>
            <pc:sldMk cId="398206320" sldId="2147478580"/>
            <ac:spMk id="772" creationId="{0FC3C8B0-94E8-524C-B252-D3ACA1882C84}"/>
          </ac:spMkLst>
        </pc:spChg>
        <pc:spChg chg="add del mod">
          <ac:chgData name="Steiner Andreas 6206 ED" userId="e6377c33-a923-4f14-8587-531c474c7b48" providerId="ADAL" clId="{6ECD27E6-B224-41CD-B4E0-E297462320DD}" dt="2023-11-24T11:34:31.632" v="118539"/>
          <ac:spMkLst>
            <pc:docMk/>
            <pc:sldMk cId="398206320" sldId="2147478580"/>
            <ac:spMk id="773" creationId="{CA37A630-D05D-2EE4-BE1F-B63BDE1B7652}"/>
          </ac:spMkLst>
        </pc:spChg>
        <pc:spChg chg="add del mod">
          <ac:chgData name="Steiner Andreas 6206 ED" userId="e6377c33-a923-4f14-8587-531c474c7b48" providerId="ADAL" clId="{6ECD27E6-B224-41CD-B4E0-E297462320DD}" dt="2023-11-24T11:34:33.588" v="118694"/>
          <ac:spMkLst>
            <pc:docMk/>
            <pc:sldMk cId="398206320" sldId="2147478580"/>
            <ac:spMk id="774" creationId="{4C5EAC5C-69D5-33E9-9376-2582AA1BEA9F}"/>
          </ac:spMkLst>
        </pc:spChg>
        <pc:spChg chg="add del mod">
          <ac:chgData name="Steiner Andreas 6206 ED" userId="e6377c33-a923-4f14-8587-531c474c7b48" providerId="ADAL" clId="{6ECD27E6-B224-41CD-B4E0-E297462320DD}" dt="2023-11-24T11:34:35.583" v="118849"/>
          <ac:spMkLst>
            <pc:docMk/>
            <pc:sldMk cId="398206320" sldId="2147478580"/>
            <ac:spMk id="775" creationId="{724552C3-4014-D840-0A17-C3B35C91DF67}"/>
          </ac:spMkLst>
        </pc:spChg>
        <pc:spChg chg="add del mod">
          <ac:chgData name="Steiner Andreas 6206 ED" userId="e6377c33-a923-4f14-8587-531c474c7b48" providerId="ADAL" clId="{6ECD27E6-B224-41CD-B4E0-E297462320DD}" dt="2023-11-24T11:34:37.687" v="119004"/>
          <ac:spMkLst>
            <pc:docMk/>
            <pc:sldMk cId="398206320" sldId="2147478580"/>
            <ac:spMk id="776" creationId="{311D1A8C-1B87-265D-32BA-E4CBB3A5EF57}"/>
          </ac:spMkLst>
        </pc:spChg>
        <pc:spChg chg="add del mod">
          <ac:chgData name="Steiner Andreas 6206 ED" userId="e6377c33-a923-4f14-8587-531c474c7b48" providerId="ADAL" clId="{6ECD27E6-B224-41CD-B4E0-E297462320DD}" dt="2023-11-24T11:34:39.627" v="119159"/>
          <ac:spMkLst>
            <pc:docMk/>
            <pc:sldMk cId="398206320" sldId="2147478580"/>
            <ac:spMk id="777" creationId="{7D4994B3-CB20-F870-139B-54348B7ED646}"/>
          </ac:spMkLst>
        </pc:spChg>
        <pc:spChg chg="add del mod">
          <ac:chgData name="Steiner Andreas 6206 ED" userId="e6377c33-a923-4f14-8587-531c474c7b48" providerId="ADAL" clId="{6ECD27E6-B224-41CD-B4E0-E297462320DD}" dt="2023-11-24T11:34:41.767" v="119314"/>
          <ac:spMkLst>
            <pc:docMk/>
            <pc:sldMk cId="398206320" sldId="2147478580"/>
            <ac:spMk id="778" creationId="{4A72314C-BD4A-84C2-884D-E510B11C80E4}"/>
          </ac:spMkLst>
        </pc:spChg>
        <pc:spChg chg="add del mod">
          <ac:chgData name="Steiner Andreas 6206 ED" userId="e6377c33-a923-4f14-8587-531c474c7b48" providerId="ADAL" clId="{6ECD27E6-B224-41CD-B4E0-E297462320DD}" dt="2023-11-24T11:34:43.955" v="119469"/>
          <ac:spMkLst>
            <pc:docMk/>
            <pc:sldMk cId="398206320" sldId="2147478580"/>
            <ac:spMk id="779" creationId="{C302C075-D2E6-EA51-A16D-12239664DC00}"/>
          </ac:spMkLst>
        </pc:spChg>
        <pc:spChg chg="add del mod">
          <ac:chgData name="Steiner Andreas 6206 ED" userId="e6377c33-a923-4f14-8587-531c474c7b48" providerId="ADAL" clId="{6ECD27E6-B224-41CD-B4E0-E297462320DD}" dt="2023-11-24T11:34:45.955" v="119624"/>
          <ac:spMkLst>
            <pc:docMk/>
            <pc:sldMk cId="398206320" sldId="2147478580"/>
            <ac:spMk id="780" creationId="{DD73D5C9-25BB-E253-6895-602E6AF218AD}"/>
          </ac:spMkLst>
        </pc:spChg>
        <pc:spChg chg="add del mod">
          <ac:chgData name="Steiner Andreas 6206 ED" userId="e6377c33-a923-4f14-8587-531c474c7b48" providerId="ADAL" clId="{6ECD27E6-B224-41CD-B4E0-E297462320DD}" dt="2023-11-24T11:34:47.876" v="119779"/>
          <ac:spMkLst>
            <pc:docMk/>
            <pc:sldMk cId="398206320" sldId="2147478580"/>
            <ac:spMk id="781" creationId="{B7B6D2CD-89DF-53A0-A875-41A174AC39DE}"/>
          </ac:spMkLst>
        </pc:spChg>
        <pc:spChg chg="add del mod">
          <ac:chgData name="Steiner Andreas 6206 ED" userId="e6377c33-a923-4f14-8587-531c474c7b48" providerId="ADAL" clId="{6ECD27E6-B224-41CD-B4E0-E297462320DD}" dt="2023-11-24T11:34:50.059" v="119934"/>
          <ac:spMkLst>
            <pc:docMk/>
            <pc:sldMk cId="398206320" sldId="2147478580"/>
            <ac:spMk id="782" creationId="{B5282F66-A273-32DF-14DD-DCF58C184F75}"/>
          </ac:spMkLst>
        </pc:spChg>
        <pc:spChg chg="add del mod">
          <ac:chgData name="Steiner Andreas 6206 ED" userId="e6377c33-a923-4f14-8587-531c474c7b48" providerId="ADAL" clId="{6ECD27E6-B224-41CD-B4E0-E297462320DD}" dt="2023-11-24T11:34:52.146" v="120089"/>
          <ac:spMkLst>
            <pc:docMk/>
            <pc:sldMk cId="398206320" sldId="2147478580"/>
            <ac:spMk id="783" creationId="{0A60C6B5-D0E1-84C8-1B8B-7DADF83B1D65}"/>
          </ac:spMkLst>
        </pc:spChg>
        <pc:spChg chg="add del mod">
          <ac:chgData name="Steiner Andreas 6206 ED" userId="e6377c33-a923-4f14-8587-531c474c7b48" providerId="ADAL" clId="{6ECD27E6-B224-41CD-B4E0-E297462320DD}" dt="2023-11-24T11:34:54.119" v="120244"/>
          <ac:spMkLst>
            <pc:docMk/>
            <pc:sldMk cId="398206320" sldId="2147478580"/>
            <ac:spMk id="784" creationId="{4B717F87-3AD0-A1C4-35BC-C39B628AF92A}"/>
          </ac:spMkLst>
        </pc:spChg>
        <pc:spChg chg="add del mod">
          <ac:chgData name="Steiner Andreas 6206 ED" userId="e6377c33-a923-4f14-8587-531c474c7b48" providerId="ADAL" clId="{6ECD27E6-B224-41CD-B4E0-E297462320DD}" dt="2023-11-24T11:34:55.990" v="120399"/>
          <ac:spMkLst>
            <pc:docMk/>
            <pc:sldMk cId="398206320" sldId="2147478580"/>
            <ac:spMk id="785" creationId="{808093C5-6B96-845C-C6C3-56ED29DB453B}"/>
          </ac:spMkLst>
        </pc:spChg>
        <pc:spChg chg="add del mod">
          <ac:chgData name="Steiner Andreas 6206 ED" userId="e6377c33-a923-4f14-8587-531c474c7b48" providerId="ADAL" clId="{6ECD27E6-B224-41CD-B4E0-E297462320DD}" dt="2023-11-24T11:34:57.793" v="120554"/>
          <ac:spMkLst>
            <pc:docMk/>
            <pc:sldMk cId="398206320" sldId="2147478580"/>
            <ac:spMk id="786" creationId="{7136DE97-A4BD-6F6C-DBD0-2642554C4463}"/>
          </ac:spMkLst>
        </pc:spChg>
        <pc:spChg chg="add del mod">
          <ac:chgData name="Steiner Andreas 6206 ED" userId="e6377c33-a923-4f14-8587-531c474c7b48" providerId="ADAL" clId="{6ECD27E6-B224-41CD-B4E0-E297462320DD}" dt="2023-11-24T11:34:59.690" v="120709"/>
          <ac:spMkLst>
            <pc:docMk/>
            <pc:sldMk cId="398206320" sldId="2147478580"/>
            <ac:spMk id="787" creationId="{004F4B23-5636-0612-A56F-25C87C4FA5E3}"/>
          </ac:spMkLst>
        </pc:spChg>
        <pc:spChg chg="add del mod">
          <ac:chgData name="Steiner Andreas 6206 ED" userId="e6377c33-a923-4f14-8587-531c474c7b48" providerId="ADAL" clId="{6ECD27E6-B224-41CD-B4E0-E297462320DD}" dt="2023-11-24T11:35:01.527" v="120864"/>
          <ac:spMkLst>
            <pc:docMk/>
            <pc:sldMk cId="398206320" sldId="2147478580"/>
            <ac:spMk id="788" creationId="{D417FD83-B9F6-AC64-FF3F-5BAFC8FB3653}"/>
          </ac:spMkLst>
        </pc:spChg>
        <pc:spChg chg="add del mod">
          <ac:chgData name="Steiner Andreas 6206 ED" userId="e6377c33-a923-4f14-8587-531c474c7b48" providerId="ADAL" clId="{6ECD27E6-B224-41CD-B4E0-E297462320DD}" dt="2023-11-24T11:35:03.396" v="121019"/>
          <ac:spMkLst>
            <pc:docMk/>
            <pc:sldMk cId="398206320" sldId="2147478580"/>
            <ac:spMk id="789" creationId="{843DA239-E810-563D-F7A8-35CD22CA61C1}"/>
          </ac:spMkLst>
        </pc:spChg>
        <pc:spChg chg="add del mod">
          <ac:chgData name="Steiner Andreas 6206 ED" userId="e6377c33-a923-4f14-8587-531c474c7b48" providerId="ADAL" clId="{6ECD27E6-B224-41CD-B4E0-E297462320DD}" dt="2023-11-24T11:35:05.298" v="121174"/>
          <ac:spMkLst>
            <pc:docMk/>
            <pc:sldMk cId="398206320" sldId="2147478580"/>
            <ac:spMk id="790" creationId="{5D4154B6-BBF0-EF31-D919-EF2557512B3E}"/>
          </ac:spMkLst>
        </pc:spChg>
        <pc:spChg chg="add del mod">
          <ac:chgData name="Steiner Andreas 6206 ED" userId="e6377c33-a923-4f14-8587-531c474c7b48" providerId="ADAL" clId="{6ECD27E6-B224-41CD-B4E0-E297462320DD}" dt="2023-11-24T11:35:07.429" v="121329"/>
          <ac:spMkLst>
            <pc:docMk/>
            <pc:sldMk cId="398206320" sldId="2147478580"/>
            <ac:spMk id="791" creationId="{665A097E-1955-9496-B683-9867874EDA6C}"/>
          </ac:spMkLst>
        </pc:spChg>
        <pc:spChg chg="add del mod">
          <ac:chgData name="Steiner Andreas 6206 ED" userId="e6377c33-a923-4f14-8587-531c474c7b48" providerId="ADAL" clId="{6ECD27E6-B224-41CD-B4E0-E297462320DD}" dt="2023-11-24T11:35:09.445" v="121484"/>
          <ac:spMkLst>
            <pc:docMk/>
            <pc:sldMk cId="398206320" sldId="2147478580"/>
            <ac:spMk id="792" creationId="{2303E687-BBF6-6FD0-3EAA-C825FBF65EEE}"/>
          </ac:spMkLst>
        </pc:spChg>
        <pc:spChg chg="add del mod">
          <ac:chgData name="Steiner Andreas 6206 ED" userId="e6377c33-a923-4f14-8587-531c474c7b48" providerId="ADAL" clId="{6ECD27E6-B224-41CD-B4E0-E297462320DD}" dt="2023-11-24T11:35:11.411" v="121639"/>
          <ac:spMkLst>
            <pc:docMk/>
            <pc:sldMk cId="398206320" sldId="2147478580"/>
            <ac:spMk id="793" creationId="{6E4D3EF7-235F-636E-FF9F-F61FB7750FFF}"/>
          </ac:spMkLst>
        </pc:spChg>
        <pc:spChg chg="add del mod">
          <ac:chgData name="Steiner Andreas 6206 ED" userId="e6377c33-a923-4f14-8587-531c474c7b48" providerId="ADAL" clId="{6ECD27E6-B224-41CD-B4E0-E297462320DD}" dt="2023-11-24T11:35:13.131" v="121794"/>
          <ac:spMkLst>
            <pc:docMk/>
            <pc:sldMk cId="398206320" sldId="2147478580"/>
            <ac:spMk id="794" creationId="{DCF5AF2D-17F9-BB6C-4926-30B8AB7C8D2E}"/>
          </ac:spMkLst>
        </pc:spChg>
        <pc:spChg chg="add del mod">
          <ac:chgData name="Steiner Andreas 6206 ED" userId="e6377c33-a923-4f14-8587-531c474c7b48" providerId="ADAL" clId="{6ECD27E6-B224-41CD-B4E0-E297462320DD}" dt="2023-11-24T11:35:15.092" v="121949"/>
          <ac:spMkLst>
            <pc:docMk/>
            <pc:sldMk cId="398206320" sldId="2147478580"/>
            <ac:spMk id="795" creationId="{B43A1E73-234A-EFB9-68B6-6942B8DEE239}"/>
          </ac:spMkLst>
        </pc:spChg>
        <pc:spChg chg="add del mod">
          <ac:chgData name="Steiner Andreas 6206 ED" userId="e6377c33-a923-4f14-8587-531c474c7b48" providerId="ADAL" clId="{6ECD27E6-B224-41CD-B4E0-E297462320DD}" dt="2023-11-24T11:35:16.763" v="122104"/>
          <ac:spMkLst>
            <pc:docMk/>
            <pc:sldMk cId="398206320" sldId="2147478580"/>
            <ac:spMk id="796" creationId="{BB2C881D-9A37-CFF2-3E8D-73D8B69FA6C0}"/>
          </ac:spMkLst>
        </pc:spChg>
        <pc:spChg chg="add del mod">
          <ac:chgData name="Steiner Andreas 6206 ED" userId="e6377c33-a923-4f14-8587-531c474c7b48" providerId="ADAL" clId="{6ECD27E6-B224-41CD-B4E0-E297462320DD}" dt="2023-11-24T11:35:18.465" v="122259"/>
          <ac:spMkLst>
            <pc:docMk/>
            <pc:sldMk cId="398206320" sldId="2147478580"/>
            <ac:spMk id="797" creationId="{F9CE3EFB-24A1-95D6-E73D-7BC6FEEBFCEF}"/>
          </ac:spMkLst>
        </pc:spChg>
        <pc:spChg chg="add del mod">
          <ac:chgData name="Steiner Andreas 6206 ED" userId="e6377c33-a923-4f14-8587-531c474c7b48" providerId="ADAL" clId="{6ECD27E6-B224-41CD-B4E0-E297462320DD}" dt="2023-11-24T11:35:20.095" v="122414"/>
          <ac:spMkLst>
            <pc:docMk/>
            <pc:sldMk cId="398206320" sldId="2147478580"/>
            <ac:spMk id="798" creationId="{35F9A21B-BC2E-FEB9-92C5-C19A3D7510B2}"/>
          </ac:spMkLst>
        </pc:spChg>
        <pc:spChg chg="add del mod">
          <ac:chgData name="Steiner Andreas 6206 ED" userId="e6377c33-a923-4f14-8587-531c474c7b48" providerId="ADAL" clId="{6ECD27E6-B224-41CD-B4E0-E297462320DD}" dt="2023-11-24T11:35:21.734" v="122569"/>
          <ac:spMkLst>
            <pc:docMk/>
            <pc:sldMk cId="398206320" sldId="2147478580"/>
            <ac:spMk id="799" creationId="{E3177B5A-80A2-A07F-C058-F074886AC3DF}"/>
          </ac:spMkLst>
        </pc:spChg>
        <pc:spChg chg="add del mod">
          <ac:chgData name="Steiner Andreas 6206 ED" userId="e6377c33-a923-4f14-8587-531c474c7b48" providerId="ADAL" clId="{6ECD27E6-B224-41CD-B4E0-E297462320DD}" dt="2023-11-24T11:35:23.444" v="122724"/>
          <ac:spMkLst>
            <pc:docMk/>
            <pc:sldMk cId="398206320" sldId="2147478580"/>
            <ac:spMk id="800" creationId="{64542078-105E-59C6-3FBB-A95E7D062616}"/>
          </ac:spMkLst>
        </pc:spChg>
        <pc:spChg chg="add del mod">
          <ac:chgData name="Steiner Andreas 6206 ED" userId="e6377c33-a923-4f14-8587-531c474c7b48" providerId="ADAL" clId="{6ECD27E6-B224-41CD-B4E0-E297462320DD}" dt="2023-11-24T11:35:25.487" v="122879"/>
          <ac:spMkLst>
            <pc:docMk/>
            <pc:sldMk cId="398206320" sldId="2147478580"/>
            <ac:spMk id="801" creationId="{13F4222A-A30D-DBCE-CEDB-231252A73CE4}"/>
          </ac:spMkLst>
        </pc:spChg>
        <pc:spChg chg="add del mod">
          <ac:chgData name="Steiner Andreas 6206 ED" userId="e6377c33-a923-4f14-8587-531c474c7b48" providerId="ADAL" clId="{6ECD27E6-B224-41CD-B4E0-E297462320DD}" dt="2023-11-24T11:35:27.496" v="123034"/>
          <ac:spMkLst>
            <pc:docMk/>
            <pc:sldMk cId="398206320" sldId="2147478580"/>
            <ac:spMk id="802" creationId="{E68D4E86-B770-B937-3CE3-CC2E3E757AAC}"/>
          </ac:spMkLst>
        </pc:spChg>
        <pc:spChg chg="add del mod">
          <ac:chgData name="Steiner Andreas 6206 ED" userId="e6377c33-a923-4f14-8587-531c474c7b48" providerId="ADAL" clId="{6ECD27E6-B224-41CD-B4E0-E297462320DD}" dt="2023-11-24T11:35:29.383" v="123189"/>
          <ac:spMkLst>
            <pc:docMk/>
            <pc:sldMk cId="398206320" sldId="2147478580"/>
            <ac:spMk id="803" creationId="{9F9B8155-2879-AAFA-C637-ADC2D9C8C4C0}"/>
          </ac:spMkLst>
        </pc:spChg>
        <pc:spChg chg="add del mod">
          <ac:chgData name="Steiner Andreas 6206 ED" userId="e6377c33-a923-4f14-8587-531c474c7b48" providerId="ADAL" clId="{6ECD27E6-B224-41CD-B4E0-E297462320DD}" dt="2023-11-24T11:35:31.110" v="123344"/>
          <ac:spMkLst>
            <pc:docMk/>
            <pc:sldMk cId="398206320" sldId="2147478580"/>
            <ac:spMk id="804" creationId="{11688A51-B31B-3185-20CD-BCF9D8356D4A}"/>
          </ac:spMkLst>
        </pc:spChg>
        <pc:spChg chg="add del mod">
          <ac:chgData name="Steiner Andreas 6206 ED" userId="e6377c33-a923-4f14-8587-531c474c7b48" providerId="ADAL" clId="{6ECD27E6-B224-41CD-B4E0-E297462320DD}" dt="2023-11-24T11:35:34.030" v="123499"/>
          <ac:spMkLst>
            <pc:docMk/>
            <pc:sldMk cId="398206320" sldId="2147478580"/>
            <ac:spMk id="805" creationId="{F6CF0774-829C-BB13-ADD1-222C76418E0E}"/>
          </ac:spMkLst>
        </pc:spChg>
        <pc:spChg chg="add del mod">
          <ac:chgData name="Steiner Andreas 6206 ED" userId="e6377c33-a923-4f14-8587-531c474c7b48" providerId="ADAL" clId="{6ECD27E6-B224-41CD-B4E0-E297462320DD}" dt="2023-11-24T11:35:35.864" v="123654"/>
          <ac:spMkLst>
            <pc:docMk/>
            <pc:sldMk cId="398206320" sldId="2147478580"/>
            <ac:spMk id="806" creationId="{0F4E33BA-23B1-DEA6-B94F-41154A800C6D}"/>
          </ac:spMkLst>
        </pc:spChg>
        <pc:spChg chg="add del mod">
          <ac:chgData name="Steiner Andreas 6206 ED" userId="e6377c33-a923-4f14-8587-531c474c7b48" providerId="ADAL" clId="{6ECD27E6-B224-41CD-B4E0-E297462320DD}" dt="2023-11-24T11:35:37.536" v="123809"/>
          <ac:spMkLst>
            <pc:docMk/>
            <pc:sldMk cId="398206320" sldId="2147478580"/>
            <ac:spMk id="807" creationId="{7EB3C02F-0588-28EE-1A00-49C54103951E}"/>
          </ac:spMkLst>
        </pc:spChg>
        <pc:spChg chg="add del mod">
          <ac:chgData name="Steiner Andreas 6206 ED" userId="e6377c33-a923-4f14-8587-531c474c7b48" providerId="ADAL" clId="{6ECD27E6-B224-41CD-B4E0-E297462320DD}" dt="2023-11-24T11:35:39.170" v="123964"/>
          <ac:spMkLst>
            <pc:docMk/>
            <pc:sldMk cId="398206320" sldId="2147478580"/>
            <ac:spMk id="808" creationId="{AE20D675-D365-BE81-7674-B43353010349}"/>
          </ac:spMkLst>
        </pc:spChg>
        <pc:spChg chg="add del mod">
          <ac:chgData name="Steiner Andreas 6206 ED" userId="e6377c33-a923-4f14-8587-531c474c7b48" providerId="ADAL" clId="{6ECD27E6-B224-41CD-B4E0-E297462320DD}" dt="2023-11-24T11:35:40.881" v="124119"/>
          <ac:spMkLst>
            <pc:docMk/>
            <pc:sldMk cId="398206320" sldId="2147478580"/>
            <ac:spMk id="809" creationId="{7FA02761-CE73-D9BC-8BB0-AEA2F1588E75}"/>
          </ac:spMkLst>
        </pc:spChg>
        <pc:spChg chg="add del mod">
          <ac:chgData name="Steiner Andreas 6206 ED" userId="e6377c33-a923-4f14-8587-531c474c7b48" providerId="ADAL" clId="{6ECD27E6-B224-41CD-B4E0-E297462320DD}" dt="2023-11-24T11:35:42.471" v="124274"/>
          <ac:spMkLst>
            <pc:docMk/>
            <pc:sldMk cId="398206320" sldId="2147478580"/>
            <ac:spMk id="810" creationId="{6742A8E4-A4C1-9094-4F42-4C79158C2991}"/>
          </ac:spMkLst>
        </pc:spChg>
        <pc:spChg chg="add del mod">
          <ac:chgData name="Steiner Andreas 6206 ED" userId="e6377c33-a923-4f14-8587-531c474c7b48" providerId="ADAL" clId="{6ECD27E6-B224-41CD-B4E0-E297462320DD}" dt="2023-11-24T11:35:44.167" v="124429"/>
          <ac:spMkLst>
            <pc:docMk/>
            <pc:sldMk cId="398206320" sldId="2147478580"/>
            <ac:spMk id="811" creationId="{37C49AB4-BAC5-91E7-0AA7-F6DDDBCE84E7}"/>
          </ac:spMkLst>
        </pc:spChg>
        <pc:spChg chg="add del mod">
          <ac:chgData name="Steiner Andreas 6206 ED" userId="e6377c33-a923-4f14-8587-531c474c7b48" providerId="ADAL" clId="{6ECD27E6-B224-41CD-B4E0-E297462320DD}" dt="2023-11-24T11:35:45.803" v="124584"/>
          <ac:spMkLst>
            <pc:docMk/>
            <pc:sldMk cId="398206320" sldId="2147478580"/>
            <ac:spMk id="812" creationId="{217B58C7-C197-01C1-56AE-4BF4787D8AEE}"/>
          </ac:spMkLst>
        </pc:spChg>
        <pc:spChg chg="add del mod">
          <ac:chgData name="Steiner Andreas 6206 ED" userId="e6377c33-a923-4f14-8587-531c474c7b48" providerId="ADAL" clId="{6ECD27E6-B224-41CD-B4E0-E297462320DD}" dt="2023-11-24T11:35:47.506" v="124739"/>
          <ac:spMkLst>
            <pc:docMk/>
            <pc:sldMk cId="398206320" sldId="2147478580"/>
            <ac:spMk id="813" creationId="{9E1459F5-62CF-0E93-D57D-98B51D8002BC}"/>
          </ac:spMkLst>
        </pc:spChg>
        <pc:spChg chg="add del mod">
          <ac:chgData name="Steiner Andreas 6206 ED" userId="e6377c33-a923-4f14-8587-531c474c7b48" providerId="ADAL" clId="{6ECD27E6-B224-41CD-B4E0-E297462320DD}" dt="2023-11-24T11:35:49.300" v="124894"/>
          <ac:spMkLst>
            <pc:docMk/>
            <pc:sldMk cId="398206320" sldId="2147478580"/>
            <ac:spMk id="814" creationId="{CC259483-8C69-5490-47CF-ADF3D0037E85}"/>
          </ac:spMkLst>
        </pc:spChg>
        <pc:spChg chg="add del mod">
          <ac:chgData name="Steiner Andreas 6206 ED" userId="e6377c33-a923-4f14-8587-531c474c7b48" providerId="ADAL" clId="{6ECD27E6-B224-41CD-B4E0-E297462320DD}" dt="2023-11-24T11:35:51.215" v="125049"/>
          <ac:spMkLst>
            <pc:docMk/>
            <pc:sldMk cId="398206320" sldId="2147478580"/>
            <ac:spMk id="815" creationId="{F97679DF-12B5-0335-D214-5DC03B122004}"/>
          </ac:spMkLst>
        </pc:spChg>
        <pc:spChg chg="add del mod">
          <ac:chgData name="Steiner Andreas 6206 ED" userId="e6377c33-a923-4f14-8587-531c474c7b48" providerId="ADAL" clId="{6ECD27E6-B224-41CD-B4E0-E297462320DD}" dt="2023-11-24T11:35:52.932" v="125204"/>
          <ac:spMkLst>
            <pc:docMk/>
            <pc:sldMk cId="398206320" sldId="2147478580"/>
            <ac:spMk id="816" creationId="{4AA14B0C-8A1D-AFAC-DAC9-DEF170D65C61}"/>
          </ac:spMkLst>
        </pc:spChg>
        <pc:spChg chg="add del mod">
          <ac:chgData name="Steiner Andreas 6206 ED" userId="e6377c33-a923-4f14-8587-531c474c7b48" providerId="ADAL" clId="{6ECD27E6-B224-41CD-B4E0-E297462320DD}" dt="2023-11-24T11:35:54.948" v="125359"/>
          <ac:spMkLst>
            <pc:docMk/>
            <pc:sldMk cId="398206320" sldId="2147478580"/>
            <ac:spMk id="817" creationId="{35C824CA-7909-FA8C-9045-5F0408F2A5C4}"/>
          </ac:spMkLst>
        </pc:spChg>
        <pc:spChg chg="add del mod">
          <ac:chgData name="Steiner Andreas 6206 ED" userId="e6377c33-a923-4f14-8587-531c474c7b48" providerId="ADAL" clId="{6ECD27E6-B224-41CD-B4E0-E297462320DD}" dt="2023-11-24T11:35:57.137" v="125514"/>
          <ac:spMkLst>
            <pc:docMk/>
            <pc:sldMk cId="398206320" sldId="2147478580"/>
            <ac:spMk id="818" creationId="{CEC4C68B-B6A4-327B-8701-4DA3014C5A07}"/>
          </ac:spMkLst>
        </pc:spChg>
        <pc:spChg chg="add del mod">
          <ac:chgData name="Steiner Andreas 6206 ED" userId="e6377c33-a923-4f14-8587-531c474c7b48" providerId="ADAL" clId="{6ECD27E6-B224-41CD-B4E0-E297462320DD}" dt="2023-11-24T11:35:58.905" v="125669"/>
          <ac:spMkLst>
            <pc:docMk/>
            <pc:sldMk cId="398206320" sldId="2147478580"/>
            <ac:spMk id="819" creationId="{5F7DBCF5-CEB2-89E5-4F61-A73464310212}"/>
          </ac:spMkLst>
        </pc:spChg>
        <pc:spChg chg="add del mod">
          <ac:chgData name="Steiner Andreas 6206 ED" userId="e6377c33-a923-4f14-8587-531c474c7b48" providerId="ADAL" clId="{6ECD27E6-B224-41CD-B4E0-E297462320DD}" dt="2023-11-24T11:36:00.644" v="125824"/>
          <ac:spMkLst>
            <pc:docMk/>
            <pc:sldMk cId="398206320" sldId="2147478580"/>
            <ac:spMk id="820" creationId="{46003D8C-CA48-F692-D7E1-52D0040B2AF5}"/>
          </ac:spMkLst>
        </pc:spChg>
        <pc:spChg chg="add del mod">
          <ac:chgData name="Steiner Andreas 6206 ED" userId="e6377c33-a923-4f14-8587-531c474c7b48" providerId="ADAL" clId="{6ECD27E6-B224-41CD-B4E0-E297462320DD}" dt="2023-11-24T11:36:02.376" v="125979"/>
          <ac:spMkLst>
            <pc:docMk/>
            <pc:sldMk cId="398206320" sldId="2147478580"/>
            <ac:spMk id="821" creationId="{C41F824A-6E8E-07DB-BFB1-79573EE2F059}"/>
          </ac:spMkLst>
        </pc:spChg>
        <pc:spChg chg="add del mod">
          <ac:chgData name="Steiner Andreas 6206 ED" userId="e6377c33-a923-4f14-8587-531c474c7b48" providerId="ADAL" clId="{6ECD27E6-B224-41CD-B4E0-E297462320DD}" dt="2023-11-24T11:36:04.126" v="126134"/>
          <ac:spMkLst>
            <pc:docMk/>
            <pc:sldMk cId="398206320" sldId="2147478580"/>
            <ac:spMk id="822" creationId="{3A5183A6-BEC0-1DFA-2076-9113A766B09C}"/>
          </ac:spMkLst>
        </pc:spChg>
        <pc:spChg chg="add del mod">
          <ac:chgData name="Steiner Andreas 6206 ED" userId="e6377c33-a923-4f14-8587-531c474c7b48" providerId="ADAL" clId="{6ECD27E6-B224-41CD-B4E0-E297462320DD}" dt="2023-11-24T11:36:05.902" v="126289"/>
          <ac:spMkLst>
            <pc:docMk/>
            <pc:sldMk cId="398206320" sldId="2147478580"/>
            <ac:spMk id="823" creationId="{1CCFB70B-D35E-179A-C82F-32DB26A31FD0}"/>
          </ac:spMkLst>
        </pc:spChg>
        <pc:spChg chg="add del mod">
          <ac:chgData name="Steiner Andreas 6206 ED" userId="e6377c33-a923-4f14-8587-531c474c7b48" providerId="ADAL" clId="{6ECD27E6-B224-41CD-B4E0-E297462320DD}" dt="2023-11-24T11:36:07.594" v="126444"/>
          <ac:spMkLst>
            <pc:docMk/>
            <pc:sldMk cId="398206320" sldId="2147478580"/>
            <ac:spMk id="824" creationId="{D2C73FF9-B6E9-FFB1-7343-E3324F7C1D4C}"/>
          </ac:spMkLst>
        </pc:spChg>
        <pc:spChg chg="add del mod">
          <ac:chgData name="Steiner Andreas 6206 ED" userId="e6377c33-a923-4f14-8587-531c474c7b48" providerId="ADAL" clId="{6ECD27E6-B224-41CD-B4E0-E297462320DD}" dt="2023-11-24T11:36:09.432" v="126599"/>
          <ac:spMkLst>
            <pc:docMk/>
            <pc:sldMk cId="398206320" sldId="2147478580"/>
            <ac:spMk id="825" creationId="{36FB0904-4AC6-7283-0AFB-5E65FC22AD18}"/>
          </ac:spMkLst>
        </pc:spChg>
        <pc:spChg chg="add del mod">
          <ac:chgData name="Steiner Andreas 6206 ED" userId="e6377c33-a923-4f14-8587-531c474c7b48" providerId="ADAL" clId="{6ECD27E6-B224-41CD-B4E0-E297462320DD}" dt="2023-11-24T11:36:11.251" v="126754"/>
          <ac:spMkLst>
            <pc:docMk/>
            <pc:sldMk cId="398206320" sldId="2147478580"/>
            <ac:spMk id="826" creationId="{CC87BC8C-0C4D-6FEF-98AE-F007B7160FFE}"/>
          </ac:spMkLst>
        </pc:spChg>
        <pc:spChg chg="add del mod">
          <ac:chgData name="Steiner Andreas 6206 ED" userId="e6377c33-a923-4f14-8587-531c474c7b48" providerId="ADAL" clId="{6ECD27E6-B224-41CD-B4E0-E297462320DD}" dt="2023-11-24T11:36:13.140" v="126909"/>
          <ac:spMkLst>
            <pc:docMk/>
            <pc:sldMk cId="398206320" sldId="2147478580"/>
            <ac:spMk id="827" creationId="{F8BF3A67-D07B-AA36-9E1D-27735CC5C2D7}"/>
          </ac:spMkLst>
        </pc:spChg>
        <pc:spChg chg="add del mod">
          <ac:chgData name="Steiner Andreas 6206 ED" userId="e6377c33-a923-4f14-8587-531c474c7b48" providerId="ADAL" clId="{6ECD27E6-B224-41CD-B4E0-E297462320DD}" dt="2023-11-24T11:36:15.035" v="127064"/>
          <ac:spMkLst>
            <pc:docMk/>
            <pc:sldMk cId="398206320" sldId="2147478580"/>
            <ac:spMk id="828" creationId="{FB0DD8D3-343A-6D6F-2770-65E62FA9CAD2}"/>
          </ac:spMkLst>
        </pc:spChg>
        <pc:spChg chg="add del mod">
          <ac:chgData name="Steiner Andreas 6206 ED" userId="e6377c33-a923-4f14-8587-531c474c7b48" providerId="ADAL" clId="{6ECD27E6-B224-41CD-B4E0-E297462320DD}" dt="2023-11-24T11:36:17.623" v="127219"/>
          <ac:spMkLst>
            <pc:docMk/>
            <pc:sldMk cId="398206320" sldId="2147478580"/>
            <ac:spMk id="829" creationId="{955A1FE9-A4AB-D523-ED89-4775CD353DBA}"/>
          </ac:spMkLst>
        </pc:spChg>
        <pc:spChg chg="add del mod">
          <ac:chgData name="Steiner Andreas 6206 ED" userId="e6377c33-a923-4f14-8587-531c474c7b48" providerId="ADAL" clId="{6ECD27E6-B224-41CD-B4E0-E297462320DD}" dt="2023-11-24T11:36:20.193" v="127374"/>
          <ac:spMkLst>
            <pc:docMk/>
            <pc:sldMk cId="398206320" sldId="2147478580"/>
            <ac:spMk id="830" creationId="{A38C5D2A-663D-CF03-4DE5-A89BD8E4E991}"/>
          </ac:spMkLst>
        </pc:spChg>
        <pc:spChg chg="add del mod">
          <ac:chgData name="Steiner Andreas 6206 ED" userId="e6377c33-a923-4f14-8587-531c474c7b48" providerId="ADAL" clId="{6ECD27E6-B224-41CD-B4E0-E297462320DD}" dt="2023-11-24T11:36:22.524" v="127529"/>
          <ac:spMkLst>
            <pc:docMk/>
            <pc:sldMk cId="398206320" sldId="2147478580"/>
            <ac:spMk id="831" creationId="{4462F6FE-1F6E-BD2D-2825-F5AECFA6BB73}"/>
          </ac:spMkLst>
        </pc:spChg>
        <pc:spChg chg="add del mod">
          <ac:chgData name="Steiner Andreas 6206 ED" userId="e6377c33-a923-4f14-8587-531c474c7b48" providerId="ADAL" clId="{6ECD27E6-B224-41CD-B4E0-E297462320DD}" dt="2023-11-24T11:36:25.689" v="127684"/>
          <ac:spMkLst>
            <pc:docMk/>
            <pc:sldMk cId="398206320" sldId="2147478580"/>
            <ac:spMk id="832" creationId="{7742E6BA-56C5-C110-7A79-B5AF9BD178A9}"/>
          </ac:spMkLst>
        </pc:spChg>
        <pc:spChg chg="add del mod">
          <ac:chgData name="Steiner Andreas 6206 ED" userId="e6377c33-a923-4f14-8587-531c474c7b48" providerId="ADAL" clId="{6ECD27E6-B224-41CD-B4E0-E297462320DD}" dt="2023-11-24T11:36:28.493" v="127839"/>
          <ac:spMkLst>
            <pc:docMk/>
            <pc:sldMk cId="398206320" sldId="2147478580"/>
            <ac:spMk id="833" creationId="{A58424A8-45A0-D855-9CE4-DE5B29E365B1}"/>
          </ac:spMkLst>
        </pc:spChg>
        <pc:spChg chg="add del mod">
          <ac:chgData name="Steiner Andreas 6206 ED" userId="e6377c33-a923-4f14-8587-531c474c7b48" providerId="ADAL" clId="{6ECD27E6-B224-41CD-B4E0-E297462320DD}" dt="2023-11-24T11:36:31.151" v="127994"/>
          <ac:spMkLst>
            <pc:docMk/>
            <pc:sldMk cId="398206320" sldId="2147478580"/>
            <ac:spMk id="834" creationId="{65909944-E64B-2D8E-D47B-99B062569320}"/>
          </ac:spMkLst>
        </pc:spChg>
        <pc:spChg chg="add del mod">
          <ac:chgData name="Steiner Andreas 6206 ED" userId="e6377c33-a923-4f14-8587-531c474c7b48" providerId="ADAL" clId="{6ECD27E6-B224-41CD-B4E0-E297462320DD}" dt="2023-11-24T11:36:33.415" v="128149"/>
          <ac:spMkLst>
            <pc:docMk/>
            <pc:sldMk cId="398206320" sldId="2147478580"/>
            <ac:spMk id="835" creationId="{54AA10B4-EF7F-3276-AFB7-F67D1E83739E}"/>
          </ac:spMkLst>
        </pc:spChg>
        <pc:spChg chg="add del mod">
          <ac:chgData name="Steiner Andreas 6206 ED" userId="e6377c33-a923-4f14-8587-531c474c7b48" providerId="ADAL" clId="{6ECD27E6-B224-41CD-B4E0-E297462320DD}" dt="2023-11-24T11:36:35.473" v="128304"/>
          <ac:spMkLst>
            <pc:docMk/>
            <pc:sldMk cId="398206320" sldId="2147478580"/>
            <ac:spMk id="836" creationId="{E38F9196-E8D6-ED61-FCCC-C8F037D6E5BE}"/>
          </ac:spMkLst>
        </pc:spChg>
        <pc:spChg chg="add del mod">
          <ac:chgData name="Steiner Andreas 6206 ED" userId="e6377c33-a923-4f14-8587-531c474c7b48" providerId="ADAL" clId="{6ECD27E6-B224-41CD-B4E0-E297462320DD}" dt="2023-11-24T11:36:37.587" v="128459"/>
          <ac:spMkLst>
            <pc:docMk/>
            <pc:sldMk cId="398206320" sldId="2147478580"/>
            <ac:spMk id="837" creationId="{7041A8EA-371B-E44A-8A9A-5E22CE1A2848}"/>
          </ac:spMkLst>
        </pc:spChg>
        <pc:spChg chg="add del mod">
          <ac:chgData name="Steiner Andreas 6206 ED" userId="e6377c33-a923-4f14-8587-531c474c7b48" providerId="ADAL" clId="{6ECD27E6-B224-41CD-B4E0-E297462320DD}" dt="2023-11-24T11:36:39.803" v="128614"/>
          <ac:spMkLst>
            <pc:docMk/>
            <pc:sldMk cId="398206320" sldId="2147478580"/>
            <ac:spMk id="838" creationId="{785FDA19-F0F0-91E6-84C1-E247BA8640C3}"/>
          </ac:spMkLst>
        </pc:spChg>
        <pc:spChg chg="add del mod">
          <ac:chgData name="Steiner Andreas 6206 ED" userId="e6377c33-a923-4f14-8587-531c474c7b48" providerId="ADAL" clId="{6ECD27E6-B224-41CD-B4E0-E297462320DD}" dt="2023-11-24T11:36:42.353" v="128769"/>
          <ac:spMkLst>
            <pc:docMk/>
            <pc:sldMk cId="398206320" sldId="2147478580"/>
            <ac:spMk id="839" creationId="{84E0FA9D-1005-25E9-871F-69A3DA4B3CC6}"/>
          </ac:spMkLst>
        </pc:spChg>
        <pc:spChg chg="add del mod">
          <ac:chgData name="Steiner Andreas 6206 ED" userId="e6377c33-a923-4f14-8587-531c474c7b48" providerId="ADAL" clId="{6ECD27E6-B224-41CD-B4E0-E297462320DD}" dt="2023-11-24T11:36:44.651" v="128924"/>
          <ac:spMkLst>
            <pc:docMk/>
            <pc:sldMk cId="398206320" sldId="2147478580"/>
            <ac:spMk id="840" creationId="{ECF54E50-B54D-C3D4-5501-ABEFA674C8AC}"/>
          </ac:spMkLst>
        </pc:spChg>
        <pc:spChg chg="add del mod">
          <ac:chgData name="Steiner Andreas 6206 ED" userId="e6377c33-a923-4f14-8587-531c474c7b48" providerId="ADAL" clId="{6ECD27E6-B224-41CD-B4E0-E297462320DD}" dt="2023-11-24T11:36:46.622" v="129079"/>
          <ac:spMkLst>
            <pc:docMk/>
            <pc:sldMk cId="398206320" sldId="2147478580"/>
            <ac:spMk id="841" creationId="{73C40B1C-DBC7-1D0C-04FA-205906E65D6D}"/>
          </ac:spMkLst>
        </pc:spChg>
        <pc:spChg chg="add del mod">
          <ac:chgData name="Steiner Andreas 6206 ED" userId="e6377c33-a923-4f14-8587-531c474c7b48" providerId="ADAL" clId="{6ECD27E6-B224-41CD-B4E0-E297462320DD}" dt="2023-11-24T11:36:48.587" v="129234"/>
          <ac:spMkLst>
            <pc:docMk/>
            <pc:sldMk cId="398206320" sldId="2147478580"/>
            <ac:spMk id="842" creationId="{77F348DC-E785-CFEF-3719-185CFE9B2E9A}"/>
          </ac:spMkLst>
        </pc:spChg>
        <pc:spChg chg="add del mod">
          <ac:chgData name="Steiner Andreas 6206 ED" userId="e6377c33-a923-4f14-8587-531c474c7b48" providerId="ADAL" clId="{6ECD27E6-B224-41CD-B4E0-E297462320DD}" dt="2023-11-24T11:36:50.565" v="129389"/>
          <ac:spMkLst>
            <pc:docMk/>
            <pc:sldMk cId="398206320" sldId="2147478580"/>
            <ac:spMk id="843" creationId="{53EA5B7B-8000-5C2C-5F2E-EE93567C8AEF}"/>
          </ac:spMkLst>
        </pc:spChg>
        <pc:spChg chg="add del mod">
          <ac:chgData name="Steiner Andreas 6206 ED" userId="e6377c33-a923-4f14-8587-531c474c7b48" providerId="ADAL" clId="{6ECD27E6-B224-41CD-B4E0-E297462320DD}" dt="2023-11-24T11:36:52.696" v="129544"/>
          <ac:spMkLst>
            <pc:docMk/>
            <pc:sldMk cId="398206320" sldId="2147478580"/>
            <ac:spMk id="844" creationId="{3D780128-26C3-C884-4B79-FBD847F84D68}"/>
          </ac:spMkLst>
        </pc:spChg>
        <pc:spChg chg="add del mod">
          <ac:chgData name="Steiner Andreas 6206 ED" userId="e6377c33-a923-4f14-8587-531c474c7b48" providerId="ADAL" clId="{6ECD27E6-B224-41CD-B4E0-E297462320DD}" dt="2023-11-24T11:36:55.592" v="129699"/>
          <ac:spMkLst>
            <pc:docMk/>
            <pc:sldMk cId="398206320" sldId="2147478580"/>
            <ac:spMk id="845" creationId="{EEA657C0-5C82-73C0-A4F4-EA1EEE085589}"/>
          </ac:spMkLst>
        </pc:spChg>
        <pc:spChg chg="add del mod">
          <ac:chgData name="Steiner Andreas 6206 ED" userId="e6377c33-a923-4f14-8587-531c474c7b48" providerId="ADAL" clId="{6ECD27E6-B224-41CD-B4E0-E297462320DD}" dt="2023-11-24T11:36:57.839" v="129854"/>
          <ac:spMkLst>
            <pc:docMk/>
            <pc:sldMk cId="398206320" sldId="2147478580"/>
            <ac:spMk id="846" creationId="{16BA95A0-81C3-B256-BAA2-E265BDC74583}"/>
          </ac:spMkLst>
        </pc:spChg>
        <pc:spChg chg="add del mod">
          <ac:chgData name="Steiner Andreas 6206 ED" userId="e6377c33-a923-4f14-8587-531c474c7b48" providerId="ADAL" clId="{6ECD27E6-B224-41CD-B4E0-E297462320DD}" dt="2023-11-24T11:37:00.175" v="130009"/>
          <ac:spMkLst>
            <pc:docMk/>
            <pc:sldMk cId="398206320" sldId="2147478580"/>
            <ac:spMk id="847" creationId="{3B840210-0CFE-699E-946A-8AAFAE2599C0}"/>
          </ac:spMkLst>
        </pc:spChg>
        <pc:spChg chg="add del mod">
          <ac:chgData name="Steiner Andreas 6206 ED" userId="e6377c33-a923-4f14-8587-531c474c7b48" providerId="ADAL" clId="{6ECD27E6-B224-41CD-B4E0-E297462320DD}" dt="2023-11-24T11:37:01.994" v="130164"/>
          <ac:spMkLst>
            <pc:docMk/>
            <pc:sldMk cId="398206320" sldId="2147478580"/>
            <ac:spMk id="848" creationId="{B6D0758F-1C30-2EC9-A6F0-9D914195C2F2}"/>
          </ac:spMkLst>
        </pc:spChg>
        <pc:spChg chg="add del mod">
          <ac:chgData name="Steiner Andreas 6206 ED" userId="e6377c33-a923-4f14-8587-531c474c7b48" providerId="ADAL" clId="{6ECD27E6-B224-41CD-B4E0-E297462320DD}" dt="2023-11-24T11:37:03.734" v="130319"/>
          <ac:spMkLst>
            <pc:docMk/>
            <pc:sldMk cId="398206320" sldId="2147478580"/>
            <ac:spMk id="849" creationId="{58A31E2C-8459-A24B-8103-0BFDC80F4917}"/>
          </ac:spMkLst>
        </pc:spChg>
        <pc:spChg chg="add del mod">
          <ac:chgData name="Steiner Andreas 6206 ED" userId="e6377c33-a923-4f14-8587-531c474c7b48" providerId="ADAL" clId="{6ECD27E6-B224-41CD-B4E0-E297462320DD}" dt="2023-11-24T11:37:05.613" v="130474"/>
          <ac:spMkLst>
            <pc:docMk/>
            <pc:sldMk cId="398206320" sldId="2147478580"/>
            <ac:spMk id="850" creationId="{5763AC5B-A8DC-3C9D-4876-6E652A498834}"/>
          </ac:spMkLst>
        </pc:spChg>
        <pc:spChg chg="add del mod">
          <ac:chgData name="Steiner Andreas 6206 ED" userId="e6377c33-a923-4f14-8587-531c474c7b48" providerId="ADAL" clId="{6ECD27E6-B224-41CD-B4E0-E297462320DD}" dt="2023-11-24T11:37:07.377" v="130629"/>
          <ac:spMkLst>
            <pc:docMk/>
            <pc:sldMk cId="398206320" sldId="2147478580"/>
            <ac:spMk id="851" creationId="{F3379864-D409-8F88-CE7E-ED2204F43FEB}"/>
          </ac:spMkLst>
        </pc:spChg>
        <pc:spChg chg="add del mod">
          <ac:chgData name="Steiner Andreas 6206 ED" userId="e6377c33-a923-4f14-8587-531c474c7b48" providerId="ADAL" clId="{6ECD27E6-B224-41CD-B4E0-E297462320DD}" dt="2023-11-24T11:37:09.094" v="130784"/>
          <ac:spMkLst>
            <pc:docMk/>
            <pc:sldMk cId="398206320" sldId="2147478580"/>
            <ac:spMk id="852" creationId="{A2F01296-963F-A43F-0FC8-9FDA2102A869}"/>
          </ac:spMkLst>
        </pc:spChg>
        <pc:spChg chg="add del mod">
          <ac:chgData name="Steiner Andreas 6206 ED" userId="e6377c33-a923-4f14-8587-531c474c7b48" providerId="ADAL" clId="{6ECD27E6-B224-41CD-B4E0-E297462320DD}" dt="2023-11-24T11:37:10.751" v="130939"/>
          <ac:spMkLst>
            <pc:docMk/>
            <pc:sldMk cId="398206320" sldId="2147478580"/>
            <ac:spMk id="853" creationId="{94984958-7B4D-0FE0-0625-57E7F0F4DD5E}"/>
          </ac:spMkLst>
        </pc:spChg>
        <pc:spChg chg="add del mod">
          <ac:chgData name="Steiner Andreas 6206 ED" userId="e6377c33-a923-4f14-8587-531c474c7b48" providerId="ADAL" clId="{6ECD27E6-B224-41CD-B4E0-E297462320DD}" dt="2023-11-24T11:37:12.455" v="131094"/>
          <ac:spMkLst>
            <pc:docMk/>
            <pc:sldMk cId="398206320" sldId="2147478580"/>
            <ac:spMk id="854" creationId="{82FD3845-E5B4-6211-9CB9-1C0E3D7B2EBB}"/>
          </ac:spMkLst>
        </pc:spChg>
        <pc:spChg chg="add del mod">
          <ac:chgData name="Steiner Andreas 6206 ED" userId="e6377c33-a923-4f14-8587-531c474c7b48" providerId="ADAL" clId="{6ECD27E6-B224-41CD-B4E0-E297462320DD}" dt="2023-11-24T11:37:14.118" v="131249"/>
          <ac:spMkLst>
            <pc:docMk/>
            <pc:sldMk cId="398206320" sldId="2147478580"/>
            <ac:spMk id="855" creationId="{042723C2-36D1-C92D-E6EA-7F52151DF3CF}"/>
          </ac:spMkLst>
        </pc:spChg>
        <pc:spChg chg="add del mod">
          <ac:chgData name="Steiner Andreas 6206 ED" userId="e6377c33-a923-4f14-8587-531c474c7b48" providerId="ADAL" clId="{6ECD27E6-B224-41CD-B4E0-E297462320DD}" dt="2023-11-24T11:37:16.182" v="131404"/>
          <ac:spMkLst>
            <pc:docMk/>
            <pc:sldMk cId="398206320" sldId="2147478580"/>
            <ac:spMk id="856" creationId="{1FAD1C47-EF64-9EC1-CE5B-29F044234C84}"/>
          </ac:spMkLst>
        </pc:spChg>
        <pc:spChg chg="add del mod">
          <ac:chgData name="Steiner Andreas 6206 ED" userId="e6377c33-a923-4f14-8587-531c474c7b48" providerId="ADAL" clId="{6ECD27E6-B224-41CD-B4E0-E297462320DD}" dt="2023-11-24T11:37:18.167" v="131559"/>
          <ac:spMkLst>
            <pc:docMk/>
            <pc:sldMk cId="398206320" sldId="2147478580"/>
            <ac:spMk id="857" creationId="{0E46D093-6B19-9F70-5160-7C9E18473287}"/>
          </ac:spMkLst>
        </pc:spChg>
        <pc:spChg chg="add del mod">
          <ac:chgData name="Steiner Andreas 6206 ED" userId="e6377c33-a923-4f14-8587-531c474c7b48" providerId="ADAL" clId="{6ECD27E6-B224-41CD-B4E0-E297462320DD}" dt="2023-11-24T11:37:20.048" v="131714"/>
          <ac:spMkLst>
            <pc:docMk/>
            <pc:sldMk cId="398206320" sldId="2147478580"/>
            <ac:spMk id="858" creationId="{8A841171-3D1B-0C4B-80C5-3EBF997A801B}"/>
          </ac:spMkLst>
        </pc:spChg>
        <pc:spChg chg="add del mod">
          <ac:chgData name="Steiner Andreas 6206 ED" userId="e6377c33-a923-4f14-8587-531c474c7b48" providerId="ADAL" clId="{6ECD27E6-B224-41CD-B4E0-E297462320DD}" dt="2023-11-24T11:37:21.960" v="131869"/>
          <ac:spMkLst>
            <pc:docMk/>
            <pc:sldMk cId="398206320" sldId="2147478580"/>
            <ac:spMk id="859" creationId="{96EA0AAD-0CAA-3A6B-E41A-8B4D20AC2430}"/>
          </ac:spMkLst>
        </pc:spChg>
        <pc:spChg chg="add del mod">
          <ac:chgData name="Steiner Andreas 6206 ED" userId="e6377c33-a923-4f14-8587-531c474c7b48" providerId="ADAL" clId="{6ECD27E6-B224-41CD-B4E0-E297462320DD}" dt="2023-11-24T11:37:23.736" v="132024"/>
          <ac:spMkLst>
            <pc:docMk/>
            <pc:sldMk cId="398206320" sldId="2147478580"/>
            <ac:spMk id="860" creationId="{9D7EF5DF-5EE9-E3B7-5C93-56E1F7CF3587}"/>
          </ac:spMkLst>
        </pc:spChg>
        <pc:spChg chg="add del mod">
          <ac:chgData name="Steiner Andreas 6206 ED" userId="e6377c33-a923-4f14-8587-531c474c7b48" providerId="ADAL" clId="{6ECD27E6-B224-41CD-B4E0-E297462320DD}" dt="2023-11-24T11:37:25.434" v="132179"/>
          <ac:spMkLst>
            <pc:docMk/>
            <pc:sldMk cId="398206320" sldId="2147478580"/>
            <ac:spMk id="861" creationId="{C8CE8C93-CC12-95C1-DDF1-307C98FFCAB8}"/>
          </ac:spMkLst>
        </pc:spChg>
        <pc:spChg chg="add del mod">
          <ac:chgData name="Steiner Andreas 6206 ED" userId="e6377c33-a923-4f14-8587-531c474c7b48" providerId="ADAL" clId="{6ECD27E6-B224-41CD-B4E0-E297462320DD}" dt="2023-11-24T11:37:27.413" v="132334"/>
          <ac:spMkLst>
            <pc:docMk/>
            <pc:sldMk cId="398206320" sldId="2147478580"/>
            <ac:spMk id="862" creationId="{A1D37474-D73D-32D7-6260-B71A435AF614}"/>
          </ac:spMkLst>
        </pc:spChg>
        <pc:spChg chg="add del mod">
          <ac:chgData name="Steiner Andreas 6206 ED" userId="e6377c33-a923-4f14-8587-531c474c7b48" providerId="ADAL" clId="{6ECD27E6-B224-41CD-B4E0-E297462320DD}" dt="2023-11-24T11:37:30.111" v="132489"/>
          <ac:spMkLst>
            <pc:docMk/>
            <pc:sldMk cId="398206320" sldId="2147478580"/>
            <ac:spMk id="863" creationId="{B82919DC-B0CA-2519-A59D-DE7CF0F8F2B8}"/>
          </ac:spMkLst>
        </pc:spChg>
        <pc:spChg chg="add del mod">
          <ac:chgData name="Steiner Andreas 6206 ED" userId="e6377c33-a923-4f14-8587-531c474c7b48" providerId="ADAL" clId="{6ECD27E6-B224-41CD-B4E0-E297462320DD}" dt="2023-11-24T11:37:32.739" v="132644"/>
          <ac:spMkLst>
            <pc:docMk/>
            <pc:sldMk cId="398206320" sldId="2147478580"/>
            <ac:spMk id="864" creationId="{B6C81167-C1CB-52B7-31FC-1C23F460752E}"/>
          </ac:spMkLst>
        </pc:spChg>
        <pc:spChg chg="add del mod">
          <ac:chgData name="Steiner Andreas 6206 ED" userId="e6377c33-a923-4f14-8587-531c474c7b48" providerId="ADAL" clId="{6ECD27E6-B224-41CD-B4E0-E297462320DD}" dt="2023-11-24T11:37:35.599" v="132799"/>
          <ac:spMkLst>
            <pc:docMk/>
            <pc:sldMk cId="398206320" sldId="2147478580"/>
            <ac:spMk id="865" creationId="{A2CD0873-83F5-EFA6-D229-B052943316CE}"/>
          </ac:spMkLst>
        </pc:spChg>
        <pc:spChg chg="add del mod">
          <ac:chgData name="Steiner Andreas 6206 ED" userId="e6377c33-a923-4f14-8587-531c474c7b48" providerId="ADAL" clId="{6ECD27E6-B224-41CD-B4E0-E297462320DD}" dt="2023-11-24T11:37:38.335" v="132954"/>
          <ac:spMkLst>
            <pc:docMk/>
            <pc:sldMk cId="398206320" sldId="2147478580"/>
            <ac:spMk id="866" creationId="{FB0D47DF-6818-9951-E02D-FD6C30818530}"/>
          </ac:spMkLst>
        </pc:spChg>
        <pc:spChg chg="add del mod">
          <ac:chgData name="Steiner Andreas 6206 ED" userId="e6377c33-a923-4f14-8587-531c474c7b48" providerId="ADAL" clId="{6ECD27E6-B224-41CD-B4E0-E297462320DD}" dt="2023-11-24T11:37:40.882" v="133109"/>
          <ac:spMkLst>
            <pc:docMk/>
            <pc:sldMk cId="398206320" sldId="2147478580"/>
            <ac:spMk id="867" creationId="{662F4505-96C2-5D50-7D64-1DD846F70172}"/>
          </ac:spMkLst>
        </pc:spChg>
        <pc:spChg chg="add del mod">
          <ac:chgData name="Steiner Andreas 6206 ED" userId="e6377c33-a923-4f14-8587-531c474c7b48" providerId="ADAL" clId="{6ECD27E6-B224-41CD-B4E0-E297462320DD}" dt="2023-11-24T11:37:43.891" v="133264"/>
          <ac:spMkLst>
            <pc:docMk/>
            <pc:sldMk cId="398206320" sldId="2147478580"/>
            <ac:spMk id="868" creationId="{BDCEBB8C-E02A-36E7-3521-ACEFACD1094D}"/>
          </ac:spMkLst>
        </pc:spChg>
        <pc:spChg chg="add del mod">
          <ac:chgData name="Steiner Andreas 6206 ED" userId="e6377c33-a923-4f14-8587-531c474c7b48" providerId="ADAL" clId="{6ECD27E6-B224-41CD-B4E0-E297462320DD}" dt="2023-11-24T11:37:48.064" v="133419"/>
          <ac:spMkLst>
            <pc:docMk/>
            <pc:sldMk cId="398206320" sldId="2147478580"/>
            <ac:spMk id="869" creationId="{A80A35E0-4564-3D8C-E579-8762DC9B73A0}"/>
          </ac:spMkLst>
        </pc:spChg>
        <pc:spChg chg="add del mod">
          <ac:chgData name="Steiner Andreas 6206 ED" userId="e6377c33-a923-4f14-8587-531c474c7b48" providerId="ADAL" clId="{6ECD27E6-B224-41CD-B4E0-E297462320DD}" dt="2023-11-24T11:37:51.211" v="133574"/>
          <ac:spMkLst>
            <pc:docMk/>
            <pc:sldMk cId="398206320" sldId="2147478580"/>
            <ac:spMk id="870" creationId="{0ADBFB4A-2413-0156-89ED-FD3904D366A7}"/>
          </ac:spMkLst>
        </pc:spChg>
        <pc:spChg chg="add del mod">
          <ac:chgData name="Steiner Andreas 6206 ED" userId="e6377c33-a923-4f14-8587-531c474c7b48" providerId="ADAL" clId="{6ECD27E6-B224-41CD-B4E0-E297462320DD}" dt="2023-11-24T11:37:54.101" v="133729"/>
          <ac:spMkLst>
            <pc:docMk/>
            <pc:sldMk cId="398206320" sldId="2147478580"/>
            <ac:spMk id="871" creationId="{CB8D76B4-7802-5BA1-3495-8E132DD59DDF}"/>
          </ac:spMkLst>
        </pc:spChg>
        <pc:spChg chg="add del mod">
          <ac:chgData name="Steiner Andreas 6206 ED" userId="e6377c33-a923-4f14-8587-531c474c7b48" providerId="ADAL" clId="{6ECD27E6-B224-41CD-B4E0-E297462320DD}" dt="2023-11-24T11:37:56.446" v="133884"/>
          <ac:spMkLst>
            <pc:docMk/>
            <pc:sldMk cId="398206320" sldId="2147478580"/>
            <ac:spMk id="872" creationId="{B46BEBC4-CA65-9202-C983-88F1FF8907B7}"/>
          </ac:spMkLst>
        </pc:spChg>
        <pc:spChg chg="add del mod">
          <ac:chgData name="Steiner Andreas 6206 ED" userId="e6377c33-a923-4f14-8587-531c474c7b48" providerId="ADAL" clId="{6ECD27E6-B224-41CD-B4E0-E297462320DD}" dt="2023-11-24T11:37:59.055" v="134039"/>
          <ac:spMkLst>
            <pc:docMk/>
            <pc:sldMk cId="398206320" sldId="2147478580"/>
            <ac:spMk id="873" creationId="{E73CE394-E512-E9AA-48EB-20F65A49EA98}"/>
          </ac:spMkLst>
        </pc:spChg>
        <pc:spChg chg="add del mod">
          <ac:chgData name="Steiner Andreas 6206 ED" userId="e6377c33-a923-4f14-8587-531c474c7b48" providerId="ADAL" clId="{6ECD27E6-B224-41CD-B4E0-E297462320DD}" dt="2023-11-24T11:38:01.308" v="134194"/>
          <ac:spMkLst>
            <pc:docMk/>
            <pc:sldMk cId="398206320" sldId="2147478580"/>
            <ac:spMk id="874" creationId="{54E64D49-2B07-E0E9-0C74-CFE696EC6A38}"/>
          </ac:spMkLst>
        </pc:spChg>
        <pc:spChg chg="add del mod">
          <ac:chgData name="Steiner Andreas 6206 ED" userId="e6377c33-a923-4f14-8587-531c474c7b48" providerId="ADAL" clId="{6ECD27E6-B224-41CD-B4E0-E297462320DD}" dt="2023-11-24T11:38:03.862" v="134349"/>
          <ac:spMkLst>
            <pc:docMk/>
            <pc:sldMk cId="398206320" sldId="2147478580"/>
            <ac:spMk id="875" creationId="{9F66AC42-D28D-7729-F098-0968E5BF6901}"/>
          </ac:spMkLst>
        </pc:spChg>
        <pc:spChg chg="add del mod">
          <ac:chgData name="Steiner Andreas 6206 ED" userId="e6377c33-a923-4f14-8587-531c474c7b48" providerId="ADAL" clId="{6ECD27E6-B224-41CD-B4E0-E297462320DD}" dt="2023-11-24T11:38:06.250" v="134504"/>
          <ac:spMkLst>
            <pc:docMk/>
            <pc:sldMk cId="398206320" sldId="2147478580"/>
            <ac:spMk id="876" creationId="{ED425C1C-57F9-AF34-5C26-5D9471D0B3EC}"/>
          </ac:spMkLst>
        </pc:spChg>
        <pc:spChg chg="add del mod">
          <ac:chgData name="Steiner Andreas 6206 ED" userId="e6377c33-a923-4f14-8587-531c474c7b48" providerId="ADAL" clId="{6ECD27E6-B224-41CD-B4E0-E297462320DD}" dt="2023-11-24T11:38:09.043" v="134659"/>
          <ac:spMkLst>
            <pc:docMk/>
            <pc:sldMk cId="398206320" sldId="2147478580"/>
            <ac:spMk id="877" creationId="{CCBAB0F5-254B-89EE-5C8A-C150C4D2EF73}"/>
          </ac:spMkLst>
        </pc:spChg>
        <pc:spChg chg="add del mod">
          <ac:chgData name="Steiner Andreas 6206 ED" userId="e6377c33-a923-4f14-8587-531c474c7b48" providerId="ADAL" clId="{6ECD27E6-B224-41CD-B4E0-E297462320DD}" dt="2023-11-24T11:38:11.938" v="134814"/>
          <ac:spMkLst>
            <pc:docMk/>
            <pc:sldMk cId="398206320" sldId="2147478580"/>
            <ac:spMk id="878" creationId="{ED9614BF-D662-DFAD-7AB9-54ECCC413D5B}"/>
          </ac:spMkLst>
        </pc:spChg>
        <pc:spChg chg="add del mod">
          <ac:chgData name="Steiner Andreas 6206 ED" userId="e6377c33-a923-4f14-8587-531c474c7b48" providerId="ADAL" clId="{6ECD27E6-B224-41CD-B4E0-E297462320DD}" dt="2023-11-24T11:38:14.186" v="134969"/>
          <ac:spMkLst>
            <pc:docMk/>
            <pc:sldMk cId="398206320" sldId="2147478580"/>
            <ac:spMk id="879" creationId="{AA32DAE6-C3CB-8303-167A-43D3CC8B1A0A}"/>
          </ac:spMkLst>
        </pc:spChg>
        <pc:spChg chg="add del mod">
          <ac:chgData name="Steiner Andreas 6206 ED" userId="e6377c33-a923-4f14-8587-531c474c7b48" providerId="ADAL" clId="{6ECD27E6-B224-41CD-B4E0-E297462320DD}" dt="2023-11-24T11:38:16.671" v="135124"/>
          <ac:spMkLst>
            <pc:docMk/>
            <pc:sldMk cId="398206320" sldId="2147478580"/>
            <ac:spMk id="880" creationId="{3042A09D-6F6D-A51C-A51C-EF6FEE6F01B7}"/>
          </ac:spMkLst>
        </pc:spChg>
        <pc:spChg chg="add del mod">
          <ac:chgData name="Steiner Andreas 6206 ED" userId="e6377c33-a923-4f14-8587-531c474c7b48" providerId="ADAL" clId="{6ECD27E6-B224-41CD-B4E0-E297462320DD}" dt="2023-11-24T11:38:19.477" v="135279"/>
          <ac:spMkLst>
            <pc:docMk/>
            <pc:sldMk cId="398206320" sldId="2147478580"/>
            <ac:spMk id="881" creationId="{7F23305B-8124-EFE0-B914-05FAC23A5ED2}"/>
          </ac:spMkLst>
        </pc:spChg>
        <pc:spChg chg="add del mod">
          <ac:chgData name="Steiner Andreas 6206 ED" userId="e6377c33-a923-4f14-8587-531c474c7b48" providerId="ADAL" clId="{6ECD27E6-B224-41CD-B4E0-E297462320DD}" dt="2023-11-24T11:38:22.035" v="135434"/>
          <ac:spMkLst>
            <pc:docMk/>
            <pc:sldMk cId="398206320" sldId="2147478580"/>
            <ac:spMk id="882" creationId="{BAA792B7-684E-806A-054D-A2282256F4CA}"/>
          </ac:spMkLst>
        </pc:spChg>
        <pc:spChg chg="add del mod">
          <ac:chgData name="Steiner Andreas 6206 ED" userId="e6377c33-a923-4f14-8587-531c474c7b48" providerId="ADAL" clId="{6ECD27E6-B224-41CD-B4E0-E297462320DD}" dt="2023-11-24T11:38:24.887" v="135589"/>
          <ac:spMkLst>
            <pc:docMk/>
            <pc:sldMk cId="398206320" sldId="2147478580"/>
            <ac:spMk id="883" creationId="{17D9C074-DA39-FBB5-A96B-7217DBAB42F1}"/>
          </ac:spMkLst>
        </pc:spChg>
        <pc:spChg chg="add del mod">
          <ac:chgData name="Steiner Andreas 6206 ED" userId="e6377c33-a923-4f14-8587-531c474c7b48" providerId="ADAL" clId="{6ECD27E6-B224-41CD-B4E0-E297462320DD}" dt="2023-11-24T11:38:27.654" v="135744"/>
          <ac:spMkLst>
            <pc:docMk/>
            <pc:sldMk cId="398206320" sldId="2147478580"/>
            <ac:spMk id="884" creationId="{6FFB0454-28EA-CAD8-CAEF-B7B7B487A50A}"/>
          </ac:spMkLst>
        </pc:spChg>
        <pc:spChg chg="add del mod">
          <ac:chgData name="Steiner Andreas 6206 ED" userId="e6377c33-a923-4f14-8587-531c474c7b48" providerId="ADAL" clId="{6ECD27E6-B224-41CD-B4E0-E297462320DD}" dt="2023-11-24T11:38:30.334" v="135899"/>
          <ac:spMkLst>
            <pc:docMk/>
            <pc:sldMk cId="398206320" sldId="2147478580"/>
            <ac:spMk id="885" creationId="{CB4BAE8A-48CB-7BBC-ECB6-F04A23709BEF}"/>
          </ac:spMkLst>
        </pc:spChg>
        <pc:spChg chg="add del mod">
          <ac:chgData name="Steiner Andreas 6206 ED" userId="e6377c33-a923-4f14-8587-531c474c7b48" providerId="ADAL" clId="{6ECD27E6-B224-41CD-B4E0-E297462320DD}" dt="2023-11-24T11:38:32.662" v="136054"/>
          <ac:spMkLst>
            <pc:docMk/>
            <pc:sldMk cId="398206320" sldId="2147478580"/>
            <ac:spMk id="886" creationId="{52305D7E-40EB-C402-AFC9-F01F6F6BABD0}"/>
          </ac:spMkLst>
        </pc:spChg>
        <pc:spChg chg="add del mod">
          <ac:chgData name="Steiner Andreas 6206 ED" userId="e6377c33-a923-4f14-8587-531c474c7b48" providerId="ADAL" clId="{6ECD27E6-B224-41CD-B4E0-E297462320DD}" dt="2023-11-24T11:38:35.144" v="136209"/>
          <ac:spMkLst>
            <pc:docMk/>
            <pc:sldMk cId="398206320" sldId="2147478580"/>
            <ac:spMk id="887" creationId="{890D3C8F-1DB6-A7C2-350A-96260750375D}"/>
          </ac:spMkLst>
        </pc:spChg>
        <pc:spChg chg="add del mod">
          <ac:chgData name="Steiner Andreas 6206 ED" userId="e6377c33-a923-4f14-8587-531c474c7b48" providerId="ADAL" clId="{6ECD27E6-B224-41CD-B4E0-E297462320DD}" dt="2023-11-24T11:38:37.887" v="136364"/>
          <ac:spMkLst>
            <pc:docMk/>
            <pc:sldMk cId="398206320" sldId="2147478580"/>
            <ac:spMk id="888" creationId="{96DD127A-050B-C049-AE45-197D5649D964}"/>
          </ac:spMkLst>
        </pc:spChg>
        <pc:spChg chg="add del mod">
          <ac:chgData name="Steiner Andreas 6206 ED" userId="e6377c33-a923-4f14-8587-531c474c7b48" providerId="ADAL" clId="{6ECD27E6-B224-41CD-B4E0-E297462320DD}" dt="2023-11-24T11:38:40.559" v="136519"/>
          <ac:spMkLst>
            <pc:docMk/>
            <pc:sldMk cId="398206320" sldId="2147478580"/>
            <ac:spMk id="889" creationId="{92BE4A24-2B5C-7146-9BB1-63270691E627}"/>
          </ac:spMkLst>
        </pc:spChg>
        <pc:spChg chg="add del mod">
          <ac:chgData name="Steiner Andreas 6206 ED" userId="e6377c33-a923-4f14-8587-531c474c7b48" providerId="ADAL" clId="{6ECD27E6-B224-41CD-B4E0-E297462320DD}" dt="2023-11-24T11:38:42.964" v="136674"/>
          <ac:spMkLst>
            <pc:docMk/>
            <pc:sldMk cId="398206320" sldId="2147478580"/>
            <ac:spMk id="890" creationId="{B57F1D67-6C4D-ACFB-D9BE-CD6CFC73FCCE}"/>
          </ac:spMkLst>
        </pc:spChg>
        <pc:spChg chg="add del mod">
          <ac:chgData name="Steiner Andreas 6206 ED" userId="e6377c33-a923-4f14-8587-531c474c7b48" providerId="ADAL" clId="{6ECD27E6-B224-41CD-B4E0-E297462320DD}" dt="2023-11-24T11:38:45.324" v="136829"/>
          <ac:spMkLst>
            <pc:docMk/>
            <pc:sldMk cId="398206320" sldId="2147478580"/>
            <ac:spMk id="891" creationId="{ACDFAED1-D458-FCF7-AFD3-005AA234C180}"/>
          </ac:spMkLst>
        </pc:spChg>
        <pc:spChg chg="add del mod">
          <ac:chgData name="Steiner Andreas 6206 ED" userId="e6377c33-a923-4f14-8587-531c474c7b48" providerId="ADAL" clId="{6ECD27E6-B224-41CD-B4E0-E297462320DD}" dt="2023-11-24T11:38:47.718" v="136984"/>
          <ac:spMkLst>
            <pc:docMk/>
            <pc:sldMk cId="398206320" sldId="2147478580"/>
            <ac:spMk id="892" creationId="{FF1EC9CD-4706-795D-51EA-351077156A85}"/>
          </ac:spMkLst>
        </pc:spChg>
        <pc:spChg chg="add del mod">
          <ac:chgData name="Steiner Andreas 6206 ED" userId="e6377c33-a923-4f14-8587-531c474c7b48" providerId="ADAL" clId="{6ECD27E6-B224-41CD-B4E0-E297462320DD}" dt="2023-11-24T11:38:50.745" v="137139"/>
          <ac:spMkLst>
            <pc:docMk/>
            <pc:sldMk cId="398206320" sldId="2147478580"/>
            <ac:spMk id="893" creationId="{6704F6D7-4FF6-052D-19F8-88EC4F8A26CE}"/>
          </ac:spMkLst>
        </pc:spChg>
        <pc:spChg chg="add del mod">
          <ac:chgData name="Steiner Andreas 6206 ED" userId="e6377c33-a923-4f14-8587-531c474c7b48" providerId="ADAL" clId="{6ECD27E6-B224-41CD-B4E0-E297462320DD}" dt="2023-11-24T11:38:53.144" v="137294"/>
          <ac:spMkLst>
            <pc:docMk/>
            <pc:sldMk cId="398206320" sldId="2147478580"/>
            <ac:spMk id="894" creationId="{933223AE-BF66-5D05-D062-C3CD9862EBE4}"/>
          </ac:spMkLst>
        </pc:spChg>
        <pc:spChg chg="add del mod">
          <ac:chgData name="Steiner Andreas 6206 ED" userId="e6377c33-a923-4f14-8587-531c474c7b48" providerId="ADAL" clId="{6ECD27E6-B224-41CD-B4E0-E297462320DD}" dt="2023-11-24T11:38:55.622" v="137449"/>
          <ac:spMkLst>
            <pc:docMk/>
            <pc:sldMk cId="398206320" sldId="2147478580"/>
            <ac:spMk id="895" creationId="{4B39BE2B-E957-CFE6-E18D-839938B6398F}"/>
          </ac:spMkLst>
        </pc:spChg>
        <pc:spChg chg="add del mod">
          <ac:chgData name="Steiner Andreas 6206 ED" userId="e6377c33-a923-4f14-8587-531c474c7b48" providerId="ADAL" clId="{6ECD27E6-B224-41CD-B4E0-E297462320DD}" dt="2023-11-24T11:38:58.229" v="137604"/>
          <ac:spMkLst>
            <pc:docMk/>
            <pc:sldMk cId="398206320" sldId="2147478580"/>
            <ac:spMk id="896" creationId="{A5F7D1A5-01CA-373A-A476-5CC26013B6DC}"/>
          </ac:spMkLst>
        </pc:spChg>
        <pc:spChg chg="add del mod">
          <ac:chgData name="Steiner Andreas 6206 ED" userId="e6377c33-a923-4f14-8587-531c474c7b48" providerId="ADAL" clId="{6ECD27E6-B224-41CD-B4E0-E297462320DD}" dt="2023-11-24T11:39:00.491" v="137759"/>
          <ac:spMkLst>
            <pc:docMk/>
            <pc:sldMk cId="398206320" sldId="2147478580"/>
            <ac:spMk id="897" creationId="{64D97591-8CAB-5C9C-978A-F25A41DFD7E4}"/>
          </ac:spMkLst>
        </pc:spChg>
        <pc:spChg chg="add del mod">
          <ac:chgData name="Steiner Andreas 6206 ED" userId="e6377c33-a923-4f14-8587-531c474c7b48" providerId="ADAL" clId="{6ECD27E6-B224-41CD-B4E0-E297462320DD}" dt="2023-11-24T11:39:03.519" v="137914"/>
          <ac:spMkLst>
            <pc:docMk/>
            <pc:sldMk cId="398206320" sldId="2147478580"/>
            <ac:spMk id="898" creationId="{0152C032-783F-7308-4987-979F1DE0D017}"/>
          </ac:spMkLst>
        </pc:spChg>
        <pc:spChg chg="add del mod">
          <ac:chgData name="Steiner Andreas 6206 ED" userId="e6377c33-a923-4f14-8587-531c474c7b48" providerId="ADAL" clId="{6ECD27E6-B224-41CD-B4E0-E297462320DD}" dt="2023-11-24T11:39:06.172" v="138069"/>
          <ac:spMkLst>
            <pc:docMk/>
            <pc:sldMk cId="398206320" sldId="2147478580"/>
            <ac:spMk id="899" creationId="{EB80DDF4-876A-6CCE-A971-DAFEB0E9A95C}"/>
          </ac:spMkLst>
        </pc:spChg>
        <pc:spChg chg="add del mod">
          <ac:chgData name="Steiner Andreas 6206 ED" userId="e6377c33-a923-4f14-8587-531c474c7b48" providerId="ADAL" clId="{6ECD27E6-B224-41CD-B4E0-E297462320DD}" dt="2023-11-24T11:39:08.673" v="138224"/>
          <ac:spMkLst>
            <pc:docMk/>
            <pc:sldMk cId="398206320" sldId="2147478580"/>
            <ac:spMk id="900" creationId="{52A76340-D6B5-02A8-2E26-86424D39BBA1}"/>
          </ac:spMkLst>
        </pc:spChg>
        <pc:spChg chg="add del mod">
          <ac:chgData name="Steiner Andreas 6206 ED" userId="e6377c33-a923-4f14-8587-531c474c7b48" providerId="ADAL" clId="{6ECD27E6-B224-41CD-B4E0-E297462320DD}" dt="2023-11-24T11:39:11.025" v="138379"/>
          <ac:spMkLst>
            <pc:docMk/>
            <pc:sldMk cId="398206320" sldId="2147478580"/>
            <ac:spMk id="901" creationId="{5985C9D1-2AC9-2D6E-7A94-BFE88268AA09}"/>
          </ac:spMkLst>
        </pc:spChg>
        <pc:spChg chg="add del mod">
          <ac:chgData name="Steiner Andreas 6206 ED" userId="e6377c33-a923-4f14-8587-531c474c7b48" providerId="ADAL" clId="{6ECD27E6-B224-41CD-B4E0-E297462320DD}" dt="2023-11-24T11:39:13.477" v="138534"/>
          <ac:spMkLst>
            <pc:docMk/>
            <pc:sldMk cId="398206320" sldId="2147478580"/>
            <ac:spMk id="902" creationId="{B1192310-7406-57AC-A418-6E0825523A92}"/>
          </ac:spMkLst>
        </pc:spChg>
        <pc:spChg chg="add del mod">
          <ac:chgData name="Steiner Andreas 6206 ED" userId="e6377c33-a923-4f14-8587-531c474c7b48" providerId="ADAL" clId="{6ECD27E6-B224-41CD-B4E0-E297462320DD}" dt="2023-11-24T11:39:16.172" v="138689"/>
          <ac:spMkLst>
            <pc:docMk/>
            <pc:sldMk cId="398206320" sldId="2147478580"/>
            <ac:spMk id="903" creationId="{3A077F23-1DAC-AA0B-270F-D844AAF9E62A}"/>
          </ac:spMkLst>
        </pc:spChg>
        <pc:spChg chg="add del mod">
          <ac:chgData name="Steiner Andreas 6206 ED" userId="e6377c33-a923-4f14-8587-531c474c7b48" providerId="ADAL" clId="{6ECD27E6-B224-41CD-B4E0-E297462320DD}" dt="2023-11-24T11:39:19.034" v="138844"/>
          <ac:spMkLst>
            <pc:docMk/>
            <pc:sldMk cId="398206320" sldId="2147478580"/>
            <ac:spMk id="904" creationId="{9041BA68-B608-495B-7170-327014D95DC7}"/>
          </ac:spMkLst>
        </pc:spChg>
        <pc:spChg chg="add del mod">
          <ac:chgData name="Steiner Andreas 6206 ED" userId="e6377c33-a923-4f14-8587-531c474c7b48" providerId="ADAL" clId="{6ECD27E6-B224-41CD-B4E0-E297462320DD}" dt="2023-11-24T11:39:21.671" v="138999"/>
          <ac:spMkLst>
            <pc:docMk/>
            <pc:sldMk cId="398206320" sldId="2147478580"/>
            <ac:spMk id="905" creationId="{F6B658BA-0FE6-7C28-396A-5AFD4355DA27}"/>
          </ac:spMkLst>
        </pc:spChg>
        <pc:spChg chg="add del mod">
          <ac:chgData name="Steiner Andreas 6206 ED" userId="e6377c33-a923-4f14-8587-531c474c7b48" providerId="ADAL" clId="{6ECD27E6-B224-41CD-B4E0-E297462320DD}" dt="2023-11-24T11:39:24.242" v="139154"/>
          <ac:spMkLst>
            <pc:docMk/>
            <pc:sldMk cId="398206320" sldId="2147478580"/>
            <ac:spMk id="906" creationId="{F5730188-C932-6D37-4287-93D06EE1CE95}"/>
          </ac:spMkLst>
        </pc:spChg>
        <pc:spChg chg="add del mod">
          <ac:chgData name="Steiner Andreas 6206 ED" userId="e6377c33-a923-4f14-8587-531c474c7b48" providerId="ADAL" clId="{6ECD27E6-B224-41CD-B4E0-E297462320DD}" dt="2023-11-24T11:39:27.038" v="139309"/>
          <ac:spMkLst>
            <pc:docMk/>
            <pc:sldMk cId="398206320" sldId="2147478580"/>
            <ac:spMk id="907" creationId="{398214EA-8C1E-4F00-1628-EE8EA92B2985}"/>
          </ac:spMkLst>
        </pc:spChg>
        <pc:spChg chg="add del mod">
          <ac:chgData name="Steiner Andreas 6206 ED" userId="e6377c33-a923-4f14-8587-531c474c7b48" providerId="ADAL" clId="{6ECD27E6-B224-41CD-B4E0-E297462320DD}" dt="2023-11-24T11:39:29.663" v="139464"/>
          <ac:spMkLst>
            <pc:docMk/>
            <pc:sldMk cId="398206320" sldId="2147478580"/>
            <ac:spMk id="908" creationId="{C4372FCF-8C35-4C58-FE43-D8D75A8C7583}"/>
          </ac:spMkLst>
        </pc:spChg>
        <pc:spChg chg="add del mod">
          <ac:chgData name="Steiner Andreas 6206 ED" userId="e6377c33-a923-4f14-8587-531c474c7b48" providerId="ADAL" clId="{6ECD27E6-B224-41CD-B4E0-E297462320DD}" dt="2023-11-24T11:39:32.703" v="139619"/>
          <ac:spMkLst>
            <pc:docMk/>
            <pc:sldMk cId="398206320" sldId="2147478580"/>
            <ac:spMk id="909" creationId="{29A101E3-CE00-0EC5-CFBF-83729FEDCEDC}"/>
          </ac:spMkLst>
        </pc:spChg>
        <pc:spChg chg="add del mod">
          <ac:chgData name="Steiner Andreas 6206 ED" userId="e6377c33-a923-4f14-8587-531c474c7b48" providerId="ADAL" clId="{6ECD27E6-B224-41CD-B4E0-E297462320DD}" dt="2023-11-24T11:39:35.404" v="139774"/>
          <ac:spMkLst>
            <pc:docMk/>
            <pc:sldMk cId="398206320" sldId="2147478580"/>
            <ac:spMk id="910" creationId="{9C9D4176-F2B2-90D5-2179-E9D2E135C157}"/>
          </ac:spMkLst>
        </pc:spChg>
        <pc:spChg chg="add del mod">
          <ac:chgData name="Steiner Andreas 6206 ED" userId="e6377c33-a923-4f14-8587-531c474c7b48" providerId="ADAL" clId="{6ECD27E6-B224-41CD-B4E0-E297462320DD}" dt="2023-11-24T11:39:38.317" v="139929"/>
          <ac:spMkLst>
            <pc:docMk/>
            <pc:sldMk cId="398206320" sldId="2147478580"/>
            <ac:spMk id="911" creationId="{42366666-B523-C0DB-562A-DF683BA20A7C}"/>
          </ac:spMkLst>
        </pc:spChg>
        <pc:spChg chg="add del mod">
          <ac:chgData name="Steiner Andreas 6206 ED" userId="e6377c33-a923-4f14-8587-531c474c7b48" providerId="ADAL" clId="{6ECD27E6-B224-41CD-B4E0-E297462320DD}" dt="2023-11-24T11:39:40.985" v="140084"/>
          <ac:spMkLst>
            <pc:docMk/>
            <pc:sldMk cId="398206320" sldId="2147478580"/>
            <ac:spMk id="912" creationId="{C223C54C-3774-4028-815A-2678E712F697}"/>
          </ac:spMkLst>
        </pc:spChg>
        <pc:spChg chg="add del mod">
          <ac:chgData name="Steiner Andreas 6206 ED" userId="e6377c33-a923-4f14-8587-531c474c7b48" providerId="ADAL" clId="{6ECD27E6-B224-41CD-B4E0-E297462320DD}" dt="2023-11-24T11:39:43.615" v="140239"/>
          <ac:spMkLst>
            <pc:docMk/>
            <pc:sldMk cId="398206320" sldId="2147478580"/>
            <ac:spMk id="913" creationId="{F51C582A-118C-FA31-57EE-1AE4D154A328}"/>
          </ac:spMkLst>
        </pc:spChg>
        <pc:spChg chg="add del mod">
          <ac:chgData name="Steiner Andreas 6206 ED" userId="e6377c33-a923-4f14-8587-531c474c7b48" providerId="ADAL" clId="{6ECD27E6-B224-41CD-B4E0-E297462320DD}" dt="2023-11-24T11:39:46.180" v="140394"/>
          <ac:spMkLst>
            <pc:docMk/>
            <pc:sldMk cId="398206320" sldId="2147478580"/>
            <ac:spMk id="914" creationId="{DCC1877D-A847-F857-B551-FC51C93CE7AB}"/>
          </ac:spMkLst>
        </pc:spChg>
        <pc:spChg chg="add del mod">
          <ac:chgData name="Steiner Andreas 6206 ED" userId="e6377c33-a923-4f14-8587-531c474c7b48" providerId="ADAL" clId="{6ECD27E6-B224-41CD-B4E0-E297462320DD}" dt="2023-11-24T11:39:48.610" v="140549"/>
          <ac:spMkLst>
            <pc:docMk/>
            <pc:sldMk cId="398206320" sldId="2147478580"/>
            <ac:spMk id="915" creationId="{A4E8AC6D-D438-821D-1E13-5C4CD6174320}"/>
          </ac:spMkLst>
        </pc:spChg>
        <pc:spChg chg="add del mod">
          <ac:chgData name="Steiner Andreas 6206 ED" userId="e6377c33-a923-4f14-8587-531c474c7b48" providerId="ADAL" clId="{6ECD27E6-B224-41CD-B4E0-E297462320DD}" dt="2023-11-24T11:39:51.614" v="140704"/>
          <ac:spMkLst>
            <pc:docMk/>
            <pc:sldMk cId="398206320" sldId="2147478580"/>
            <ac:spMk id="916" creationId="{9AE134C7-3DA2-CD83-AA34-9520F06BFF10}"/>
          </ac:spMkLst>
        </pc:spChg>
        <pc:spChg chg="add del mod">
          <ac:chgData name="Steiner Andreas 6206 ED" userId="e6377c33-a923-4f14-8587-531c474c7b48" providerId="ADAL" clId="{6ECD27E6-B224-41CD-B4E0-E297462320DD}" dt="2023-11-24T11:39:54.495" v="140859"/>
          <ac:spMkLst>
            <pc:docMk/>
            <pc:sldMk cId="398206320" sldId="2147478580"/>
            <ac:spMk id="917" creationId="{80D866D2-1CC4-4CCD-0129-B66DBF4DBD05}"/>
          </ac:spMkLst>
        </pc:spChg>
        <pc:spChg chg="add del mod">
          <ac:chgData name="Steiner Andreas 6206 ED" userId="e6377c33-a923-4f14-8587-531c474c7b48" providerId="ADAL" clId="{6ECD27E6-B224-41CD-B4E0-E297462320DD}" dt="2023-11-24T11:39:57.006" v="141014"/>
          <ac:spMkLst>
            <pc:docMk/>
            <pc:sldMk cId="398206320" sldId="2147478580"/>
            <ac:spMk id="918" creationId="{1C47E3C4-AD40-2582-22A7-18C8EF1C6349}"/>
          </ac:spMkLst>
        </pc:spChg>
        <pc:spChg chg="add del mod">
          <ac:chgData name="Steiner Andreas 6206 ED" userId="e6377c33-a923-4f14-8587-531c474c7b48" providerId="ADAL" clId="{6ECD27E6-B224-41CD-B4E0-E297462320DD}" dt="2023-11-24T11:39:59.374" v="141169"/>
          <ac:spMkLst>
            <pc:docMk/>
            <pc:sldMk cId="398206320" sldId="2147478580"/>
            <ac:spMk id="919" creationId="{5E393F80-452C-A261-8937-82737B2F101F}"/>
          </ac:spMkLst>
        </pc:spChg>
        <pc:spChg chg="add del mod">
          <ac:chgData name="Steiner Andreas 6206 ED" userId="e6377c33-a923-4f14-8587-531c474c7b48" providerId="ADAL" clId="{6ECD27E6-B224-41CD-B4E0-E297462320DD}" dt="2023-11-24T11:40:02.144" v="141324"/>
          <ac:spMkLst>
            <pc:docMk/>
            <pc:sldMk cId="398206320" sldId="2147478580"/>
            <ac:spMk id="920" creationId="{D96844B6-81AE-8B58-DFA6-FF4563780009}"/>
          </ac:spMkLst>
        </pc:spChg>
        <pc:spChg chg="add del mod">
          <ac:chgData name="Steiner Andreas 6206 ED" userId="e6377c33-a923-4f14-8587-531c474c7b48" providerId="ADAL" clId="{6ECD27E6-B224-41CD-B4E0-E297462320DD}" dt="2023-11-24T11:40:04.977" v="141479"/>
          <ac:spMkLst>
            <pc:docMk/>
            <pc:sldMk cId="398206320" sldId="2147478580"/>
            <ac:spMk id="921" creationId="{CC5CCE8A-DF95-3744-3F92-DEBABDF861EF}"/>
          </ac:spMkLst>
        </pc:spChg>
        <pc:spChg chg="add del mod">
          <ac:chgData name="Steiner Andreas 6206 ED" userId="e6377c33-a923-4f14-8587-531c474c7b48" providerId="ADAL" clId="{6ECD27E6-B224-41CD-B4E0-E297462320DD}" dt="2023-11-24T11:40:07.738" v="141634"/>
          <ac:spMkLst>
            <pc:docMk/>
            <pc:sldMk cId="398206320" sldId="2147478580"/>
            <ac:spMk id="922" creationId="{7EA7C582-3A12-C23D-7A8B-EC40EB98E071}"/>
          </ac:spMkLst>
        </pc:spChg>
        <pc:spChg chg="add del mod">
          <ac:chgData name="Steiner Andreas 6206 ED" userId="e6377c33-a923-4f14-8587-531c474c7b48" providerId="ADAL" clId="{6ECD27E6-B224-41CD-B4E0-E297462320DD}" dt="2023-11-24T11:40:10.164" v="141789"/>
          <ac:spMkLst>
            <pc:docMk/>
            <pc:sldMk cId="398206320" sldId="2147478580"/>
            <ac:spMk id="923" creationId="{CF161948-51DA-9C2D-138E-95DA686DFBB2}"/>
          </ac:spMkLst>
        </pc:spChg>
        <pc:spChg chg="add del mod">
          <ac:chgData name="Steiner Andreas 6206 ED" userId="e6377c33-a923-4f14-8587-531c474c7b48" providerId="ADAL" clId="{6ECD27E6-B224-41CD-B4E0-E297462320DD}" dt="2023-11-24T11:40:12.651" v="141944"/>
          <ac:spMkLst>
            <pc:docMk/>
            <pc:sldMk cId="398206320" sldId="2147478580"/>
            <ac:spMk id="924" creationId="{D9DB53B7-6130-F747-925E-93F4F93ADB63}"/>
          </ac:spMkLst>
        </pc:spChg>
        <pc:spChg chg="add del mod">
          <ac:chgData name="Steiner Andreas 6206 ED" userId="e6377c33-a923-4f14-8587-531c474c7b48" providerId="ADAL" clId="{6ECD27E6-B224-41CD-B4E0-E297462320DD}" dt="2023-11-24T11:40:16.423" v="142099"/>
          <ac:spMkLst>
            <pc:docMk/>
            <pc:sldMk cId="398206320" sldId="2147478580"/>
            <ac:spMk id="925" creationId="{F3C4346B-FE6D-2FCC-FCC1-93BF90BB21BC}"/>
          </ac:spMkLst>
        </pc:spChg>
        <pc:spChg chg="add del mod">
          <ac:chgData name="Steiner Andreas 6206 ED" userId="e6377c33-a923-4f14-8587-531c474c7b48" providerId="ADAL" clId="{6ECD27E6-B224-41CD-B4E0-E297462320DD}" dt="2023-11-24T11:40:19.767" v="142254"/>
          <ac:spMkLst>
            <pc:docMk/>
            <pc:sldMk cId="398206320" sldId="2147478580"/>
            <ac:spMk id="926" creationId="{F4612F43-FFA1-4398-1511-E08978DF0072}"/>
          </ac:spMkLst>
        </pc:spChg>
        <pc:spChg chg="add del mod">
          <ac:chgData name="Steiner Andreas 6206 ED" userId="e6377c33-a923-4f14-8587-531c474c7b48" providerId="ADAL" clId="{6ECD27E6-B224-41CD-B4E0-E297462320DD}" dt="2023-11-24T11:40:22.567" v="142409"/>
          <ac:spMkLst>
            <pc:docMk/>
            <pc:sldMk cId="398206320" sldId="2147478580"/>
            <ac:spMk id="927" creationId="{B827A873-A378-05E0-82BB-E7B87668ABF2}"/>
          </ac:spMkLst>
        </pc:spChg>
        <pc:spChg chg="add del mod">
          <ac:chgData name="Steiner Andreas 6206 ED" userId="e6377c33-a923-4f14-8587-531c474c7b48" providerId="ADAL" clId="{6ECD27E6-B224-41CD-B4E0-E297462320DD}" dt="2023-11-24T11:40:25.253" v="142564"/>
          <ac:spMkLst>
            <pc:docMk/>
            <pc:sldMk cId="398206320" sldId="2147478580"/>
            <ac:spMk id="928" creationId="{92761808-3BEB-E1B1-6A36-51E0F4843694}"/>
          </ac:spMkLst>
        </pc:spChg>
        <pc:spChg chg="add del mod">
          <ac:chgData name="Steiner Andreas 6206 ED" userId="e6377c33-a923-4f14-8587-531c474c7b48" providerId="ADAL" clId="{6ECD27E6-B224-41CD-B4E0-E297462320DD}" dt="2023-11-24T11:40:28.367" v="142719"/>
          <ac:spMkLst>
            <pc:docMk/>
            <pc:sldMk cId="398206320" sldId="2147478580"/>
            <ac:spMk id="929" creationId="{892485E6-806A-F15F-BFA8-42EB53E23C2C}"/>
          </ac:spMkLst>
        </pc:spChg>
        <pc:spChg chg="add del mod">
          <ac:chgData name="Steiner Andreas 6206 ED" userId="e6377c33-a923-4f14-8587-531c474c7b48" providerId="ADAL" clId="{6ECD27E6-B224-41CD-B4E0-E297462320DD}" dt="2023-11-24T11:40:31.024" v="142874"/>
          <ac:spMkLst>
            <pc:docMk/>
            <pc:sldMk cId="398206320" sldId="2147478580"/>
            <ac:spMk id="930" creationId="{FB473A0C-37FC-4828-04E3-E4E150056596}"/>
          </ac:spMkLst>
        </pc:spChg>
        <pc:spChg chg="add del mod">
          <ac:chgData name="Steiner Andreas 6206 ED" userId="e6377c33-a923-4f14-8587-531c474c7b48" providerId="ADAL" clId="{6ECD27E6-B224-41CD-B4E0-E297462320DD}" dt="2023-11-24T11:40:33.590" v="143029"/>
          <ac:spMkLst>
            <pc:docMk/>
            <pc:sldMk cId="398206320" sldId="2147478580"/>
            <ac:spMk id="931" creationId="{FC66112D-0BEE-237D-6CE4-F2EE131F4F5E}"/>
          </ac:spMkLst>
        </pc:spChg>
        <pc:spChg chg="add del mod">
          <ac:chgData name="Steiner Andreas 6206 ED" userId="e6377c33-a923-4f14-8587-531c474c7b48" providerId="ADAL" clId="{6ECD27E6-B224-41CD-B4E0-E297462320DD}" dt="2023-11-24T11:40:36.337" v="143184"/>
          <ac:spMkLst>
            <pc:docMk/>
            <pc:sldMk cId="398206320" sldId="2147478580"/>
            <ac:spMk id="932" creationId="{01C1F88B-5B9D-C706-EC9C-69120C2750DD}"/>
          </ac:spMkLst>
        </pc:spChg>
        <pc:spChg chg="add del mod">
          <ac:chgData name="Steiner Andreas 6206 ED" userId="e6377c33-a923-4f14-8587-531c474c7b48" providerId="ADAL" clId="{6ECD27E6-B224-41CD-B4E0-E297462320DD}" dt="2023-11-24T11:40:39.359" v="143339"/>
          <ac:spMkLst>
            <pc:docMk/>
            <pc:sldMk cId="398206320" sldId="2147478580"/>
            <ac:spMk id="933" creationId="{2CCC4644-5441-6E14-E44A-2D4E9B6CF32F}"/>
          </ac:spMkLst>
        </pc:spChg>
        <pc:spChg chg="add del mod">
          <ac:chgData name="Steiner Andreas 6206 ED" userId="e6377c33-a923-4f14-8587-531c474c7b48" providerId="ADAL" clId="{6ECD27E6-B224-41CD-B4E0-E297462320DD}" dt="2023-11-24T11:40:42.323" v="143494"/>
          <ac:spMkLst>
            <pc:docMk/>
            <pc:sldMk cId="398206320" sldId="2147478580"/>
            <ac:spMk id="934" creationId="{B3BAADD3-98C7-1579-D071-13D85C5C6718}"/>
          </ac:spMkLst>
        </pc:spChg>
        <pc:spChg chg="add del mod">
          <ac:chgData name="Steiner Andreas 6206 ED" userId="e6377c33-a923-4f14-8587-531c474c7b48" providerId="ADAL" clId="{6ECD27E6-B224-41CD-B4E0-E297462320DD}" dt="2023-11-24T11:40:44.991" v="143649"/>
          <ac:spMkLst>
            <pc:docMk/>
            <pc:sldMk cId="398206320" sldId="2147478580"/>
            <ac:spMk id="935" creationId="{97C20995-3610-4E62-5856-F9D0B342F7D2}"/>
          </ac:spMkLst>
        </pc:spChg>
        <pc:spChg chg="add del mod">
          <ac:chgData name="Steiner Andreas 6206 ED" userId="e6377c33-a923-4f14-8587-531c474c7b48" providerId="ADAL" clId="{6ECD27E6-B224-41CD-B4E0-E297462320DD}" dt="2023-11-24T11:40:47.745" v="143804"/>
          <ac:spMkLst>
            <pc:docMk/>
            <pc:sldMk cId="398206320" sldId="2147478580"/>
            <ac:spMk id="936" creationId="{908B0AA4-7CB5-392F-0403-BA1859051CB5}"/>
          </ac:spMkLst>
        </pc:spChg>
        <pc:spChg chg="add del mod">
          <ac:chgData name="Steiner Andreas 6206 ED" userId="e6377c33-a923-4f14-8587-531c474c7b48" providerId="ADAL" clId="{6ECD27E6-B224-41CD-B4E0-E297462320DD}" dt="2023-11-24T11:40:50.509" v="143959"/>
          <ac:spMkLst>
            <pc:docMk/>
            <pc:sldMk cId="398206320" sldId="2147478580"/>
            <ac:spMk id="937" creationId="{CAC32CFB-25F2-DF0A-5480-FB37DE3A7753}"/>
          </ac:spMkLst>
        </pc:spChg>
        <pc:spChg chg="add del mod">
          <ac:chgData name="Steiner Andreas 6206 ED" userId="e6377c33-a923-4f14-8587-531c474c7b48" providerId="ADAL" clId="{6ECD27E6-B224-41CD-B4E0-E297462320DD}" dt="2023-11-24T11:40:53.377" v="144114"/>
          <ac:spMkLst>
            <pc:docMk/>
            <pc:sldMk cId="398206320" sldId="2147478580"/>
            <ac:spMk id="938" creationId="{D4D1774B-ABA3-02BA-7E1D-1AFB1B12C2DD}"/>
          </ac:spMkLst>
        </pc:spChg>
        <pc:spChg chg="add del mod">
          <ac:chgData name="Steiner Andreas 6206 ED" userId="e6377c33-a923-4f14-8587-531c474c7b48" providerId="ADAL" clId="{6ECD27E6-B224-41CD-B4E0-E297462320DD}" dt="2023-11-24T11:40:56.055" v="144269"/>
          <ac:spMkLst>
            <pc:docMk/>
            <pc:sldMk cId="398206320" sldId="2147478580"/>
            <ac:spMk id="939" creationId="{A2DBF38D-D488-F50F-13BB-567EA9EEA58C}"/>
          </ac:spMkLst>
        </pc:spChg>
        <pc:spChg chg="add del mod">
          <ac:chgData name="Steiner Andreas 6206 ED" userId="e6377c33-a923-4f14-8587-531c474c7b48" providerId="ADAL" clId="{6ECD27E6-B224-41CD-B4E0-E297462320DD}" dt="2023-11-24T11:40:58.654" v="144424"/>
          <ac:spMkLst>
            <pc:docMk/>
            <pc:sldMk cId="398206320" sldId="2147478580"/>
            <ac:spMk id="940" creationId="{F75FE248-7C41-DD11-62A8-37972584B19D}"/>
          </ac:spMkLst>
        </pc:spChg>
        <pc:spChg chg="add del mod">
          <ac:chgData name="Steiner Andreas 6206 ED" userId="e6377c33-a923-4f14-8587-531c474c7b48" providerId="ADAL" clId="{6ECD27E6-B224-41CD-B4E0-E297462320DD}" dt="2023-11-24T11:41:01.198" v="144579"/>
          <ac:spMkLst>
            <pc:docMk/>
            <pc:sldMk cId="398206320" sldId="2147478580"/>
            <ac:spMk id="941" creationId="{0E423759-6827-91B4-C919-95663FD8CE1F}"/>
          </ac:spMkLst>
        </pc:spChg>
        <pc:spChg chg="add del mod">
          <ac:chgData name="Steiner Andreas 6206 ED" userId="e6377c33-a923-4f14-8587-531c474c7b48" providerId="ADAL" clId="{6ECD27E6-B224-41CD-B4E0-E297462320DD}" dt="2023-11-24T11:41:03.880" v="144734"/>
          <ac:spMkLst>
            <pc:docMk/>
            <pc:sldMk cId="398206320" sldId="2147478580"/>
            <ac:spMk id="942" creationId="{2935AD91-042C-529F-2978-10D8FD69E125}"/>
          </ac:spMkLst>
        </pc:spChg>
        <pc:spChg chg="add del mod">
          <ac:chgData name="Steiner Andreas 6206 ED" userId="e6377c33-a923-4f14-8587-531c474c7b48" providerId="ADAL" clId="{6ECD27E6-B224-41CD-B4E0-E297462320DD}" dt="2023-11-24T11:41:07.021" v="144889"/>
          <ac:spMkLst>
            <pc:docMk/>
            <pc:sldMk cId="398206320" sldId="2147478580"/>
            <ac:spMk id="943" creationId="{65F368A2-6B97-953C-B4A7-C88DDDFB4C9D}"/>
          </ac:spMkLst>
        </pc:spChg>
        <pc:spChg chg="add del mod">
          <ac:chgData name="Steiner Andreas 6206 ED" userId="e6377c33-a923-4f14-8587-531c474c7b48" providerId="ADAL" clId="{6ECD27E6-B224-41CD-B4E0-E297462320DD}" dt="2023-11-24T11:41:10.145" v="145044"/>
          <ac:spMkLst>
            <pc:docMk/>
            <pc:sldMk cId="398206320" sldId="2147478580"/>
            <ac:spMk id="944" creationId="{A7D457D4-653E-FC2E-AC75-9D95AD78CD0F}"/>
          </ac:spMkLst>
        </pc:spChg>
        <pc:spChg chg="add del mod">
          <ac:chgData name="Steiner Andreas 6206 ED" userId="e6377c33-a923-4f14-8587-531c474c7b48" providerId="ADAL" clId="{6ECD27E6-B224-41CD-B4E0-E297462320DD}" dt="2023-11-24T11:41:12.991" v="145199"/>
          <ac:spMkLst>
            <pc:docMk/>
            <pc:sldMk cId="398206320" sldId="2147478580"/>
            <ac:spMk id="945" creationId="{78E33EB5-452F-2869-E2D0-2EFB325949B4}"/>
          </ac:spMkLst>
        </pc:spChg>
        <pc:spChg chg="add del mod">
          <ac:chgData name="Steiner Andreas 6206 ED" userId="e6377c33-a923-4f14-8587-531c474c7b48" providerId="ADAL" clId="{6ECD27E6-B224-41CD-B4E0-E297462320DD}" dt="2023-11-24T11:41:16.036" v="145354"/>
          <ac:spMkLst>
            <pc:docMk/>
            <pc:sldMk cId="398206320" sldId="2147478580"/>
            <ac:spMk id="946" creationId="{5979DA4A-FDCB-FE7D-AB60-BB2204F2FE45}"/>
          </ac:spMkLst>
        </pc:spChg>
        <pc:spChg chg="add del mod">
          <ac:chgData name="Steiner Andreas 6206 ED" userId="e6377c33-a923-4f14-8587-531c474c7b48" providerId="ADAL" clId="{6ECD27E6-B224-41CD-B4E0-E297462320DD}" dt="2023-11-24T11:41:19.251" v="145509"/>
          <ac:spMkLst>
            <pc:docMk/>
            <pc:sldMk cId="398206320" sldId="2147478580"/>
            <ac:spMk id="947" creationId="{D5CB2487-64A6-0414-C9C3-CB2980DEDBD6}"/>
          </ac:spMkLst>
        </pc:spChg>
        <pc:spChg chg="add del mod">
          <ac:chgData name="Steiner Andreas 6206 ED" userId="e6377c33-a923-4f14-8587-531c474c7b48" providerId="ADAL" clId="{6ECD27E6-B224-41CD-B4E0-E297462320DD}" dt="2023-11-24T11:41:21.799" v="145664"/>
          <ac:spMkLst>
            <pc:docMk/>
            <pc:sldMk cId="398206320" sldId="2147478580"/>
            <ac:spMk id="948" creationId="{3ACF0BB7-47CA-BD72-B427-3173B7957205}"/>
          </ac:spMkLst>
        </pc:spChg>
        <pc:spChg chg="add del mod">
          <ac:chgData name="Steiner Andreas 6206 ED" userId="e6377c33-a923-4f14-8587-531c474c7b48" providerId="ADAL" clId="{6ECD27E6-B224-41CD-B4E0-E297462320DD}" dt="2023-11-24T11:41:25.671" v="145819"/>
          <ac:spMkLst>
            <pc:docMk/>
            <pc:sldMk cId="398206320" sldId="2147478580"/>
            <ac:spMk id="949" creationId="{D983A988-D55C-B4EC-6BA1-B1E14090A9F1}"/>
          </ac:spMkLst>
        </pc:spChg>
        <pc:spChg chg="add del mod">
          <ac:chgData name="Steiner Andreas 6206 ED" userId="e6377c33-a923-4f14-8587-531c474c7b48" providerId="ADAL" clId="{6ECD27E6-B224-41CD-B4E0-E297462320DD}" dt="2023-11-24T11:41:28.674" v="145974"/>
          <ac:spMkLst>
            <pc:docMk/>
            <pc:sldMk cId="398206320" sldId="2147478580"/>
            <ac:spMk id="950" creationId="{EF32EA4B-8765-1E96-5128-857E59350B15}"/>
          </ac:spMkLst>
        </pc:spChg>
        <pc:spChg chg="add del mod">
          <ac:chgData name="Steiner Andreas 6206 ED" userId="e6377c33-a923-4f14-8587-531c474c7b48" providerId="ADAL" clId="{6ECD27E6-B224-41CD-B4E0-E297462320DD}" dt="2023-11-24T11:41:31.363" v="146129"/>
          <ac:spMkLst>
            <pc:docMk/>
            <pc:sldMk cId="398206320" sldId="2147478580"/>
            <ac:spMk id="951" creationId="{224E4136-A491-EE72-6170-E3ADDC2DA18A}"/>
          </ac:spMkLst>
        </pc:spChg>
        <pc:spChg chg="add del mod">
          <ac:chgData name="Steiner Andreas 6206 ED" userId="e6377c33-a923-4f14-8587-531c474c7b48" providerId="ADAL" clId="{6ECD27E6-B224-41CD-B4E0-E297462320DD}" dt="2023-11-24T11:41:33.551" v="146284"/>
          <ac:spMkLst>
            <pc:docMk/>
            <pc:sldMk cId="398206320" sldId="2147478580"/>
            <ac:spMk id="952" creationId="{0C99EDE7-C9B2-7C6C-29B2-D6BAA2A4F42F}"/>
          </ac:spMkLst>
        </pc:spChg>
        <pc:spChg chg="add del mod">
          <ac:chgData name="Steiner Andreas 6206 ED" userId="e6377c33-a923-4f14-8587-531c474c7b48" providerId="ADAL" clId="{6ECD27E6-B224-41CD-B4E0-E297462320DD}" dt="2023-11-24T11:41:35.673" v="146439"/>
          <ac:spMkLst>
            <pc:docMk/>
            <pc:sldMk cId="398206320" sldId="2147478580"/>
            <ac:spMk id="953" creationId="{0C21BC8B-C7F3-25F6-7408-713664432534}"/>
          </ac:spMkLst>
        </pc:spChg>
        <pc:spChg chg="add del mod">
          <ac:chgData name="Steiner Andreas 6206 ED" userId="e6377c33-a923-4f14-8587-531c474c7b48" providerId="ADAL" clId="{6ECD27E6-B224-41CD-B4E0-E297462320DD}" dt="2023-11-24T11:41:37.885" v="146594"/>
          <ac:spMkLst>
            <pc:docMk/>
            <pc:sldMk cId="398206320" sldId="2147478580"/>
            <ac:spMk id="954" creationId="{78EB0E40-2011-68D8-743F-D80DBBA7CED8}"/>
          </ac:spMkLst>
        </pc:spChg>
        <pc:spChg chg="add del mod">
          <ac:chgData name="Steiner Andreas 6206 ED" userId="e6377c33-a923-4f14-8587-531c474c7b48" providerId="ADAL" clId="{6ECD27E6-B224-41CD-B4E0-E297462320DD}" dt="2023-11-24T11:41:40.652" v="146749"/>
          <ac:spMkLst>
            <pc:docMk/>
            <pc:sldMk cId="398206320" sldId="2147478580"/>
            <ac:spMk id="955" creationId="{00F3BB4D-B36F-C513-139F-8CD5067E8BF7}"/>
          </ac:spMkLst>
        </pc:spChg>
        <pc:spChg chg="add del mod">
          <ac:chgData name="Steiner Andreas 6206 ED" userId="e6377c33-a923-4f14-8587-531c474c7b48" providerId="ADAL" clId="{6ECD27E6-B224-41CD-B4E0-E297462320DD}" dt="2023-11-24T11:41:42.794" v="146904"/>
          <ac:spMkLst>
            <pc:docMk/>
            <pc:sldMk cId="398206320" sldId="2147478580"/>
            <ac:spMk id="956" creationId="{B5F6B76A-D3E9-486B-41BB-C7FEAB0B12AD}"/>
          </ac:spMkLst>
        </pc:spChg>
        <pc:spChg chg="add del mod">
          <ac:chgData name="Steiner Andreas 6206 ED" userId="e6377c33-a923-4f14-8587-531c474c7b48" providerId="ADAL" clId="{6ECD27E6-B224-41CD-B4E0-E297462320DD}" dt="2023-11-24T11:41:44.875" v="147059"/>
          <ac:spMkLst>
            <pc:docMk/>
            <pc:sldMk cId="398206320" sldId="2147478580"/>
            <ac:spMk id="957" creationId="{CD5D522E-D3E9-9098-4FF4-66B3F742BDAE}"/>
          </ac:spMkLst>
        </pc:spChg>
        <pc:spChg chg="add del mod">
          <ac:chgData name="Steiner Andreas 6206 ED" userId="e6377c33-a923-4f14-8587-531c474c7b48" providerId="ADAL" clId="{6ECD27E6-B224-41CD-B4E0-E297462320DD}" dt="2023-11-24T11:41:47.383" v="147214"/>
          <ac:spMkLst>
            <pc:docMk/>
            <pc:sldMk cId="398206320" sldId="2147478580"/>
            <ac:spMk id="958" creationId="{503A8C4E-6219-46C3-5BDD-C95DBC8106B6}"/>
          </ac:spMkLst>
        </pc:spChg>
        <pc:spChg chg="add del mod">
          <ac:chgData name="Steiner Andreas 6206 ED" userId="e6377c33-a923-4f14-8587-531c474c7b48" providerId="ADAL" clId="{6ECD27E6-B224-41CD-B4E0-E297462320DD}" dt="2023-11-24T11:41:49.500" v="147369"/>
          <ac:spMkLst>
            <pc:docMk/>
            <pc:sldMk cId="398206320" sldId="2147478580"/>
            <ac:spMk id="959" creationId="{CF32BFDD-3958-C28A-8E60-55EA624FEB00}"/>
          </ac:spMkLst>
        </pc:spChg>
        <pc:spChg chg="add del mod">
          <ac:chgData name="Steiner Andreas 6206 ED" userId="e6377c33-a923-4f14-8587-531c474c7b48" providerId="ADAL" clId="{6ECD27E6-B224-41CD-B4E0-E297462320DD}" dt="2023-11-24T11:41:51.837" v="147524"/>
          <ac:spMkLst>
            <pc:docMk/>
            <pc:sldMk cId="398206320" sldId="2147478580"/>
            <ac:spMk id="960" creationId="{7668669F-5B72-5E6B-EBFB-9DC8AF94D0FC}"/>
          </ac:spMkLst>
        </pc:spChg>
        <pc:spChg chg="add del mod">
          <ac:chgData name="Steiner Andreas 6206 ED" userId="e6377c33-a923-4f14-8587-531c474c7b48" providerId="ADAL" clId="{6ECD27E6-B224-41CD-B4E0-E297462320DD}" dt="2023-11-24T11:41:54.252" v="147679"/>
          <ac:spMkLst>
            <pc:docMk/>
            <pc:sldMk cId="398206320" sldId="2147478580"/>
            <ac:spMk id="961" creationId="{9D932713-1DE3-35D3-0FBF-46B289F50CEC}"/>
          </ac:spMkLst>
        </pc:spChg>
        <pc:spChg chg="add del mod">
          <ac:chgData name="Steiner Andreas 6206 ED" userId="e6377c33-a923-4f14-8587-531c474c7b48" providerId="ADAL" clId="{6ECD27E6-B224-41CD-B4E0-E297462320DD}" dt="2023-11-24T11:41:57.361" v="147834"/>
          <ac:spMkLst>
            <pc:docMk/>
            <pc:sldMk cId="398206320" sldId="2147478580"/>
            <ac:spMk id="962" creationId="{286475F7-74B7-EF76-1F88-A71C32952D1F}"/>
          </ac:spMkLst>
        </pc:spChg>
        <pc:spChg chg="add del mod">
          <ac:chgData name="Steiner Andreas 6206 ED" userId="e6377c33-a923-4f14-8587-531c474c7b48" providerId="ADAL" clId="{6ECD27E6-B224-41CD-B4E0-E297462320DD}" dt="2023-11-24T11:42:00.730" v="147989"/>
          <ac:spMkLst>
            <pc:docMk/>
            <pc:sldMk cId="398206320" sldId="2147478580"/>
            <ac:spMk id="963" creationId="{B4BE1600-0211-8C62-1D2E-35D085E32289}"/>
          </ac:spMkLst>
        </pc:spChg>
        <pc:spChg chg="add del mod">
          <ac:chgData name="Steiner Andreas 6206 ED" userId="e6377c33-a923-4f14-8587-531c474c7b48" providerId="ADAL" clId="{6ECD27E6-B224-41CD-B4E0-E297462320DD}" dt="2023-11-24T11:42:04.041" v="148144"/>
          <ac:spMkLst>
            <pc:docMk/>
            <pc:sldMk cId="398206320" sldId="2147478580"/>
            <ac:spMk id="964" creationId="{738E528D-F28F-AEAB-66FF-073BA4C94442}"/>
          </ac:spMkLst>
        </pc:spChg>
        <pc:spChg chg="add del mod">
          <ac:chgData name="Steiner Andreas 6206 ED" userId="e6377c33-a923-4f14-8587-531c474c7b48" providerId="ADAL" clId="{6ECD27E6-B224-41CD-B4E0-E297462320DD}" dt="2023-11-24T11:42:06.545" v="148299"/>
          <ac:spMkLst>
            <pc:docMk/>
            <pc:sldMk cId="398206320" sldId="2147478580"/>
            <ac:spMk id="965" creationId="{9D059652-56AD-4D43-9071-9B2955CC7B9B}"/>
          </ac:spMkLst>
        </pc:spChg>
        <pc:spChg chg="add del mod">
          <ac:chgData name="Steiner Andreas 6206 ED" userId="e6377c33-a923-4f14-8587-531c474c7b48" providerId="ADAL" clId="{6ECD27E6-B224-41CD-B4E0-E297462320DD}" dt="2023-11-24T11:42:08.792" v="148454"/>
          <ac:spMkLst>
            <pc:docMk/>
            <pc:sldMk cId="398206320" sldId="2147478580"/>
            <ac:spMk id="966" creationId="{62B73275-5646-EC13-1526-9CDC48D8AB6E}"/>
          </ac:spMkLst>
        </pc:spChg>
        <pc:spChg chg="add del mod">
          <ac:chgData name="Steiner Andreas 6206 ED" userId="e6377c33-a923-4f14-8587-531c474c7b48" providerId="ADAL" clId="{6ECD27E6-B224-41CD-B4E0-E297462320DD}" dt="2023-11-24T11:42:11.380" v="148609"/>
          <ac:spMkLst>
            <pc:docMk/>
            <pc:sldMk cId="398206320" sldId="2147478580"/>
            <ac:spMk id="967" creationId="{3E554D5D-D6A3-410F-4B27-1980110217B4}"/>
          </ac:spMkLst>
        </pc:spChg>
        <pc:spChg chg="add del mod">
          <ac:chgData name="Steiner Andreas 6206 ED" userId="e6377c33-a923-4f14-8587-531c474c7b48" providerId="ADAL" clId="{6ECD27E6-B224-41CD-B4E0-E297462320DD}" dt="2023-11-24T11:42:14.005" v="148764"/>
          <ac:spMkLst>
            <pc:docMk/>
            <pc:sldMk cId="398206320" sldId="2147478580"/>
            <ac:spMk id="968" creationId="{B257A72B-FD7C-810E-CEF7-5E71E6475B81}"/>
          </ac:spMkLst>
        </pc:spChg>
        <pc:spChg chg="add del mod">
          <ac:chgData name="Steiner Andreas 6206 ED" userId="e6377c33-a923-4f14-8587-531c474c7b48" providerId="ADAL" clId="{6ECD27E6-B224-41CD-B4E0-E297462320DD}" dt="2023-11-24T11:42:16.294" v="148919"/>
          <ac:spMkLst>
            <pc:docMk/>
            <pc:sldMk cId="398206320" sldId="2147478580"/>
            <ac:spMk id="969" creationId="{4A03409E-6AAB-01FD-C669-92834B13A8F9}"/>
          </ac:spMkLst>
        </pc:spChg>
        <pc:spChg chg="add del mod">
          <ac:chgData name="Steiner Andreas 6206 ED" userId="e6377c33-a923-4f14-8587-531c474c7b48" providerId="ADAL" clId="{6ECD27E6-B224-41CD-B4E0-E297462320DD}" dt="2023-11-24T11:42:18.414" v="149074"/>
          <ac:spMkLst>
            <pc:docMk/>
            <pc:sldMk cId="398206320" sldId="2147478580"/>
            <ac:spMk id="970" creationId="{EEA86D21-565B-B827-8E8A-333001763E0D}"/>
          </ac:spMkLst>
        </pc:spChg>
        <pc:spChg chg="add del mod">
          <ac:chgData name="Steiner Andreas 6206 ED" userId="e6377c33-a923-4f14-8587-531c474c7b48" providerId="ADAL" clId="{6ECD27E6-B224-41CD-B4E0-E297462320DD}" dt="2023-11-24T11:42:20.454" v="149229"/>
          <ac:spMkLst>
            <pc:docMk/>
            <pc:sldMk cId="398206320" sldId="2147478580"/>
            <ac:spMk id="971" creationId="{22B2B27F-805F-30B6-1E77-C78F878A305A}"/>
          </ac:spMkLst>
        </pc:spChg>
        <pc:spChg chg="add del mod">
          <ac:chgData name="Steiner Andreas 6206 ED" userId="e6377c33-a923-4f14-8587-531c474c7b48" providerId="ADAL" clId="{6ECD27E6-B224-41CD-B4E0-E297462320DD}" dt="2023-11-24T11:42:22.530" v="149384"/>
          <ac:spMkLst>
            <pc:docMk/>
            <pc:sldMk cId="398206320" sldId="2147478580"/>
            <ac:spMk id="972" creationId="{75263785-F4B2-1CD8-219C-5B5474F11B30}"/>
          </ac:spMkLst>
        </pc:spChg>
        <pc:spChg chg="add del mod">
          <ac:chgData name="Steiner Andreas 6206 ED" userId="e6377c33-a923-4f14-8587-531c474c7b48" providerId="ADAL" clId="{6ECD27E6-B224-41CD-B4E0-E297462320DD}" dt="2023-11-24T11:42:24.460" v="149539"/>
          <ac:spMkLst>
            <pc:docMk/>
            <pc:sldMk cId="398206320" sldId="2147478580"/>
            <ac:spMk id="973" creationId="{39753F21-B679-593D-251E-0DFEF926AD89}"/>
          </ac:spMkLst>
        </pc:spChg>
        <pc:spChg chg="add del mod">
          <ac:chgData name="Steiner Andreas 6206 ED" userId="e6377c33-a923-4f14-8587-531c474c7b48" providerId="ADAL" clId="{6ECD27E6-B224-41CD-B4E0-E297462320DD}" dt="2023-11-24T11:42:26.400" v="149694"/>
          <ac:spMkLst>
            <pc:docMk/>
            <pc:sldMk cId="398206320" sldId="2147478580"/>
            <ac:spMk id="974" creationId="{669F0542-5FF9-53CE-E198-30D081336ED8}"/>
          </ac:spMkLst>
        </pc:spChg>
        <pc:spChg chg="add del mod">
          <ac:chgData name="Steiner Andreas 6206 ED" userId="e6377c33-a923-4f14-8587-531c474c7b48" providerId="ADAL" clId="{6ECD27E6-B224-41CD-B4E0-E297462320DD}" dt="2023-11-24T11:42:29.533" v="149849"/>
          <ac:spMkLst>
            <pc:docMk/>
            <pc:sldMk cId="398206320" sldId="2147478580"/>
            <ac:spMk id="975" creationId="{7E72FE96-3470-3014-4DA4-B06594A62D44}"/>
          </ac:spMkLst>
        </pc:spChg>
        <pc:spChg chg="add del mod">
          <ac:chgData name="Steiner Andreas 6206 ED" userId="e6377c33-a923-4f14-8587-531c474c7b48" providerId="ADAL" clId="{6ECD27E6-B224-41CD-B4E0-E297462320DD}" dt="2023-11-24T11:42:32.508" v="150004"/>
          <ac:spMkLst>
            <pc:docMk/>
            <pc:sldMk cId="398206320" sldId="2147478580"/>
            <ac:spMk id="976" creationId="{467FF500-40AA-4773-4F55-88333B5A27EA}"/>
          </ac:spMkLst>
        </pc:spChg>
        <pc:spChg chg="add del mod">
          <ac:chgData name="Steiner Andreas 6206 ED" userId="e6377c33-a923-4f14-8587-531c474c7b48" providerId="ADAL" clId="{6ECD27E6-B224-41CD-B4E0-E297462320DD}" dt="2023-11-24T11:42:35.769" v="150159"/>
          <ac:spMkLst>
            <pc:docMk/>
            <pc:sldMk cId="398206320" sldId="2147478580"/>
            <ac:spMk id="977" creationId="{9A183752-12D5-5835-401C-4029B2EEB36E}"/>
          </ac:spMkLst>
        </pc:spChg>
        <pc:spChg chg="add del mod">
          <ac:chgData name="Steiner Andreas 6206 ED" userId="e6377c33-a923-4f14-8587-531c474c7b48" providerId="ADAL" clId="{6ECD27E6-B224-41CD-B4E0-E297462320DD}" dt="2023-11-24T11:42:38.061" v="150314"/>
          <ac:spMkLst>
            <pc:docMk/>
            <pc:sldMk cId="398206320" sldId="2147478580"/>
            <ac:spMk id="978" creationId="{C094F514-3303-610A-25F5-D9A86CA1A485}"/>
          </ac:spMkLst>
        </pc:spChg>
        <pc:spChg chg="add del mod">
          <ac:chgData name="Steiner Andreas 6206 ED" userId="e6377c33-a923-4f14-8587-531c474c7b48" providerId="ADAL" clId="{6ECD27E6-B224-41CD-B4E0-E297462320DD}" dt="2023-11-24T11:42:40.169" v="150469"/>
          <ac:spMkLst>
            <pc:docMk/>
            <pc:sldMk cId="398206320" sldId="2147478580"/>
            <ac:spMk id="979" creationId="{CFCC091F-5A0F-A0E2-A984-F126DAFC38AF}"/>
          </ac:spMkLst>
        </pc:spChg>
        <pc:spChg chg="add del mod">
          <ac:chgData name="Steiner Andreas 6206 ED" userId="e6377c33-a923-4f14-8587-531c474c7b48" providerId="ADAL" clId="{6ECD27E6-B224-41CD-B4E0-E297462320DD}" dt="2023-11-24T11:42:42.221" v="150624"/>
          <ac:spMkLst>
            <pc:docMk/>
            <pc:sldMk cId="398206320" sldId="2147478580"/>
            <ac:spMk id="980" creationId="{8BBA69E9-4D79-C458-12AA-7794B45014F8}"/>
          </ac:spMkLst>
        </pc:spChg>
        <pc:spChg chg="add del mod">
          <ac:chgData name="Steiner Andreas 6206 ED" userId="e6377c33-a923-4f14-8587-531c474c7b48" providerId="ADAL" clId="{6ECD27E6-B224-41CD-B4E0-E297462320DD}" dt="2023-11-24T11:42:44.319" v="150779"/>
          <ac:spMkLst>
            <pc:docMk/>
            <pc:sldMk cId="398206320" sldId="2147478580"/>
            <ac:spMk id="981" creationId="{51A6A941-D709-6F35-9943-907A1C78FFB1}"/>
          </ac:spMkLst>
        </pc:spChg>
        <pc:spChg chg="add del mod">
          <ac:chgData name="Steiner Andreas 6206 ED" userId="e6377c33-a923-4f14-8587-531c474c7b48" providerId="ADAL" clId="{6ECD27E6-B224-41CD-B4E0-E297462320DD}" dt="2023-11-24T11:42:46.574" v="150934"/>
          <ac:spMkLst>
            <pc:docMk/>
            <pc:sldMk cId="398206320" sldId="2147478580"/>
            <ac:spMk id="982" creationId="{42728AD2-0B70-64A0-68FB-4F9AC072416C}"/>
          </ac:spMkLst>
        </pc:spChg>
        <pc:spChg chg="add del mod">
          <ac:chgData name="Steiner Andreas 6206 ED" userId="e6377c33-a923-4f14-8587-531c474c7b48" providerId="ADAL" clId="{6ECD27E6-B224-41CD-B4E0-E297462320DD}" dt="2023-11-24T11:42:48.804" v="151089"/>
          <ac:spMkLst>
            <pc:docMk/>
            <pc:sldMk cId="398206320" sldId="2147478580"/>
            <ac:spMk id="983" creationId="{4C729EEA-4ACC-1A1B-D20D-F2E861EBE547}"/>
          </ac:spMkLst>
        </pc:spChg>
        <pc:spChg chg="add del mod">
          <ac:chgData name="Steiner Andreas 6206 ED" userId="e6377c33-a923-4f14-8587-531c474c7b48" providerId="ADAL" clId="{6ECD27E6-B224-41CD-B4E0-E297462320DD}" dt="2023-11-24T11:42:51.053" v="151244"/>
          <ac:spMkLst>
            <pc:docMk/>
            <pc:sldMk cId="398206320" sldId="2147478580"/>
            <ac:spMk id="984" creationId="{408B82B8-E00D-148F-6529-9F4739FEB756}"/>
          </ac:spMkLst>
        </pc:spChg>
        <pc:spChg chg="add del mod">
          <ac:chgData name="Steiner Andreas 6206 ED" userId="e6377c33-a923-4f14-8587-531c474c7b48" providerId="ADAL" clId="{6ECD27E6-B224-41CD-B4E0-E297462320DD}" dt="2023-11-24T11:42:53.396" v="151399"/>
          <ac:spMkLst>
            <pc:docMk/>
            <pc:sldMk cId="398206320" sldId="2147478580"/>
            <ac:spMk id="985" creationId="{0126227C-1394-5BCB-C0DA-E3CF4E83242D}"/>
          </ac:spMkLst>
        </pc:spChg>
        <pc:spChg chg="add del mod">
          <ac:chgData name="Steiner Andreas 6206 ED" userId="e6377c33-a923-4f14-8587-531c474c7b48" providerId="ADAL" clId="{6ECD27E6-B224-41CD-B4E0-E297462320DD}" dt="2023-11-24T11:42:55.637" v="151554"/>
          <ac:spMkLst>
            <pc:docMk/>
            <pc:sldMk cId="398206320" sldId="2147478580"/>
            <ac:spMk id="986" creationId="{EFEC7717-FE02-E785-FCB4-20F71B59A501}"/>
          </ac:spMkLst>
        </pc:spChg>
        <pc:spChg chg="add del mod">
          <ac:chgData name="Steiner Andreas 6206 ED" userId="e6377c33-a923-4f14-8587-531c474c7b48" providerId="ADAL" clId="{6ECD27E6-B224-41CD-B4E0-E297462320DD}" dt="2023-11-24T11:42:58.092" v="151709"/>
          <ac:spMkLst>
            <pc:docMk/>
            <pc:sldMk cId="398206320" sldId="2147478580"/>
            <ac:spMk id="987" creationId="{2C967725-792B-3BE3-E872-2003C026E584}"/>
          </ac:spMkLst>
        </pc:spChg>
        <pc:spChg chg="add del mod">
          <ac:chgData name="Steiner Andreas 6206 ED" userId="e6377c33-a923-4f14-8587-531c474c7b48" providerId="ADAL" clId="{6ECD27E6-B224-41CD-B4E0-E297462320DD}" dt="2023-11-24T11:43:01.811" v="151864"/>
          <ac:spMkLst>
            <pc:docMk/>
            <pc:sldMk cId="398206320" sldId="2147478580"/>
            <ac:spMk id="988" creationId="{6A8371D5-D5E2-591A-2B71-E1C2DA65CBC1}"/>
          </ac:spMkLst>
        </pc:spChg>
        <pc:spChg chg="add del mod">
          <ac:chgData name="Steiner Andreas 6206 ED" userId="e6377c33-a923-4f14-8587-531c474c7b48" providerId="ADAL" clId="{6ECD27E6-B224-41CD-B4E0-E297462320DD}" dt="2023-11-24T11:43:04.116" v="152019"/>
          <ac:spMkLst>
            <pc:docMk/>
            <pc:sldMk cId="398206320" sldId="2147478580"/>
            <ac:spMk id="989" creationId="{D65F3478-C1BA-2FE1-29B4-3DD430E1C199}"/>
          </ac:spMkLst>
        </pc:spChg>
        <pc:spChg chg="add del mod">
          <ac:chgData name="Steiner Andreas 6206 ED" userId="e6377c33-a923-4f14-8587-531c474c7b48" providerId="ADAL" clId="{6ECD27E6-B224-41CD-B4E0-E297462320DD}" dt="2023-11-24T11:43:06.325" v="152174"/>
          <ac:spMkLst>
            <pc:docMk/>
            <pc:sldMk cId="398206320" sldId="2147478580"/>
            <ac:spMk id="990" creationId="{84DA138F-EC9F-FFFF-755F-8FC35070CB1A}"/>
          </ac:spMkLst>
        </pc:spChg>
        <pc:spChg chg="add del mod">
          <ac:chgData name="Steiner Andreas 6206 ED" userId="e6377c33-a923-4f14-8587-531c474c7b48" providerId="ADAL" clId="{6ECD27E6-B224-41CD-B4E0-E297462320DD}" dt="2023-11-24T11:43:08.444" v="152329"/>
          <ac:spMkLst>
            <pc:docMk/>
            <pc:sldMk cId="398206320" sldId="2147478580"/>
            <ac:spMk id="991" creationId="{9982BFD6-1747-2C26-887E-B91E235CC754}"/>
          </ac:spMkLst>
        </pc:spChg>
        <pc:spChg chg="add del mod">
          <ac:chgData name="Steiner Andreas 6206 ED" userId="e6377c33-a923-4f14-8587-531c474c7b48" providerId="ADAL" clId="{6ECD27E6-B224-41CD-B4E0-E297462320DD}" dt="2023-11-24T11:43:10.603" v="152484"/>
          <ac:spMkLst>
            <pc:docMk/>
            <pc:sldMk cId="398206320" sldId="2147478580"/>
            <ac:spMk id="992" creationId="{96FE4119-ECA4-88F3-836F-2E6420853A85}"/>
          </ac:spMkLst>
        </pc:spChg>
        <pc:spChg chg="add del mod">
          <ac:chgData name="Steiner Andreas 6206 ED" userId="e6377c33-a923-4f14-8587-531c474c7b48" providerId="ADAL" clId="{6ECD27E6-B224-41CD-B4E0-E297462320DD}" dt="2023-11-24T11:43:12.807" v="152639"/>
          <ac:spMkLst>
            <pc:docMk/>
            <pc:sldMk cId="398206320" sldId="2147478580"/>
            <ac:spMk id="993" creationId="{70BCC3CA-2E04-8270-2716-0BFA46D1805C}"/>
          </ac:spMkLst>
        </pc:spChg>
        <pc:spChg chg="add del mod">
          <ac:chgData name="Steiner Andreas 6206 ED" userId="e6377c33-a923-4f14-8587-531c474c7b48" providerId="ADAL" clId="{6ECD27E6-B224-41CD-B4E0-E297462320DD}" dt="2023-11-24T11:43:15.136" v="152794"/>
          <ac:spMkLst>
            <pc:docMk/>
            <pc:sldMk cId="398206320" sldId="2147478580"/>
            <ac:spMk id="994" creationId="{0D92C73B-76CC-A276-9085-43C86E67EA8F}"/>
          </ac:spMkLst>
        </pc:spChg>
        <pc:spChg chg="add del mod">
          <ac:chgData name="Steiner Andreas 6206 ED" userId="e6377c33-a923-4f14-8587-531c474c7b48" providerId="ADAL" clId="{6ECD27E6-B224-41CD-B4E0-E297462320DD}" dt="2023-11-24T11:43:18.226" v="152949"/>
          <ac:spMkLst>
            <pc:docMk/>
            <pc:sldMk cId="398206320" sldId="2147478580"/>
            <ac:spMk id="995" creationId="{86C9BBD1-0346-5566-DF3D-51EF507D2AC8}"/>
          </ac:spMkLst>
        </pc:spChg>
        <pc:spChg chg="add del mod">
          <ac:chgData name="Steiner Andreas 6206 ED" userId="e6377c33-a923-4f14-8587-531c474c7b48" providerId="ADAL" clId="{6ECD27E6-B224-41CD-B4E0-E297462320DD}" dt="2023-11-24T11:43:22.385" v="153104"/>
          <ac:spMkLst>
            <pc:docMk/>
            <pc:sldMk cId="398206320" sldId="2147478580"/>
            <ac:spMk id="996" creationId="{AF55922B-6211-024B-B004-C85DEE83549A}"/>
          </ac:spMkLst>
        </pc:spChg>
        <pc:spChg chg="add del mod">
          <ac:chgData name="Steiner Andreas 6206 ED" userId="e6377c33-a923-4f14-8587-531c474c7b48" providerId="ADAL" clId="{6ECD27E6-B224-41CD-B4E0-E297462320DD}" dt="2023-11-24T11:43:24.858" v="153259"/>
          <ac:spMkLst>
            <pc:docMk/>
            <pc:sldMk cId="398206320" sldId="2147478580"/>
            <ac:spMk id="997" creationId="{A918FB99-FA33-2688-A553-8D059ABC4A78}"/>
          </ac:spMkLst>
        </pc:spChg>
        <pc:spChg chg="add del mod">
          <ac:chgData name="Steiner Andreas 6206 ED" userId="e6377c33-a923-4f14-8587-531c474c7b48" providerId="ADAL" clId="{6ECD27E6-B224-41CD-B4E0-E297462320DD}" dt="2023-11-24T11:43:27.107" v="153414"/>
          <ac:spMkLst>
            <pc:docMk/>
            <pc:sldMk cId="398206320" sldId="2147478580"/>
            <ac:spMk id="998" creationId="{14A13661-3341-7843-A119-3525E8BBE909}"/>
          </ac:spMkLst>
        </pc:spChg>
        <pc:spChg chg="add del mod">
          <ac:chgData name="Steiner Andreas 6206 ED" userId="e6377c33-a923-4f14-8587-531c474c7b48" providerId="ADAL" clId="{6ECD27E6-B224-41CD-B4E0-E297462320DD}" dt="2023-11-24T11:43:29.381" v="153569"/>
          <ac:spMkLst>
            <pc:docMk/>
            <pc:sldMk cId="398206320" sldId="2147478580"/>
            <ac:spMk id="999" creationId="{0B62BBE7-B6B0-8A52-D617-8E7174BAFF4C}"/>
          </ac:spMkLst>
        </pc:spChg>
        <pc:spChg chg="add del mod">
          <ac:chgData name="Steiner Andreas 6206 ED" userId="e6377c33-a923-4f14-8587-531c474c7b48" providerId="ADAL" clId="{6ECD27E6-B224-41CD-B4E0-E297462320DD}" dt="2023-11-24T11:43:31.630" v="153724"/>
          <ac:spMkLst>
            <pc:docMk/>
            <pc:sldMk cId="398206320" sldId="2147478580"/>
            <ac:spMk id="1000" creationId="{F9ED2BBA-E0C2-326D-C6BF-27FB913B5C48}"/>
          </ac:spMkLst>
        </pc:spChg>
        <pc:spChg chg="add del mod">
          <ac:chgData name="Steiner Andreas 6206 ED" userId="e6377c33-a923-4f14-8587-531c474c7b48" providerId="ADAL" clId="{6ECD27E6-B224-41CD-B4E0-E297462320DD}" dt="2023-11-24T11:43:34.345" v="153879"/>
          <ac:spMkLst>
            <pc:docMk/>
            <pc:sldMk cId="398206320" sldId="2147478580"/>
            <ac:spMk id="1001" creationId="{C78AD612-8B00-9154-5EB9-D80E20548BB5}"/>
          </ac:spMkLst>
        </pc:spChg>
        <pc:spChg chg="add del mod">
          <ac:chgData name="Steiner Andreas 6206 ED" userId="e6377c33-a923-4f14-8587-531c474c7b48" providerId="ADAL" clId="{6ECD27E6-B224-41CD-B4E0-E297462320DD}" dt="2023-11-24T11:43:36.501" v="154034"/>
          <ac:spMkLst>
            <pc:docMk/>
            <pc:sldMk cId="398206320" sldId="2147478580"/>
            <ac:spMk id="1002" creationId="{7ABE4607-2F2D-3496-34D6-5044E3A4E842}"/>
          </ac:spMkLst>
        </pc:spChg>
        <pc:spChg chg="add del mod">
          <ac:chgData name="Steiner Andreas 6206 ED" userId="e6377c33-a923-4f14-8587-531c474c7b48" providerId="ADAL" clId="{6ECD27E6-B224-41CD-B4E0-E297462320DD}" dt="2023-11-24T11:43:38.698" v="154189"/>
          <ac:spMkLst>
            <pc:docMk/>
            <pc:sldMk cId="398206320" sldId="2147478580"/>
            <ac:spMk id="1003" creationId="{330BCB02-1EB1-7436-6D30-EB1BC2F6F0AF}"/>
          </ac:spMkLst>
        </pc:spChg>
        <pc:spChg chg="add del mod">
          <ac:chgData name="Steiner Andreas 6206 ED" userId="e6377c33-a923-4f14-8587-531c474c7b48" providerId="ADAL" clId="{6ECD27E6-B224-41CD-B4E0-E297462320DD}" dt="2023-11-24T11:43:41.009" v="154344"/>
          <ac:spMkLst>
            <pc:docMk/>
            <pc:sldMk cId="398206320" sldId="2147478580"/>
            <ac:spMk id="1004" creationId="{67959412-DB99-0124-3CB2-D30CB3899418}"/>
          </ac:spMkLst>
        </pc:spChg>
        <pc:spChg chg="add del mod">
          <ac:chgData name="Steiner Andreas 6206 ED" userId="e6377c33-a923-4f14-8587-531c474c7b48" providerId="ADAL" clId="{6ECD27E6-B224-41CD-B4E0-E297462320DD}" dt="2023-11-24T11:43:43.996" v="154499"/>
          <ac:spMkLst>
            <pc:docMk/>
            <pc:sldMk cId="398206320" sldId="2147478580"/>
            <ac:spMk id="1005" creationId="{F5CEA7F3-330E-E601-FCB1-CDDAEAACB5E9}"/>
          </ac:spMkLst>
        </pc:spChg>
        <pc:spChg chg="add del mod">
          <ac:chgData name="Steiner Andreas 6206 ED" userId="e6377c33-a923-4f14-8587-531c474c7b48" providerId="ADAL" clId="{6ECD27E6-B224-41CD-B4E0-E297462320DD}" dt="2023-11-24T11:43:46.330" v="154654"/>
          <ac:spMkLst>
            <pc:docMk/>
            <pc:sldMk cId="398206320" sldId="2147478580"/>
            <ac:spMk id="1006" creationId="{B309A880-A457-53D7-3D00-55862FBDC863}"/>
          </ac:spMkLst>
        </pc:spChg>
        <pc:spChg chg="add del mod">
          <ac:chgData name="Steiner Andreas 6206 ED" userId="e6377c33-a923-4f14-8587-531c474c7b48" providerId="ADAL" clId="{6ECD27E6-B224-41CD-B4E0-E297462320DD}" dt="2023-11-24T11:43:48.631" v="154809"/>
          <ac:spMkLst>
            <pc:docMk/>
            <pc:sldMk cId="398206320" sldId="2147478580"/>
            <ac:spMk id="1007" creationId="{7DF75E4A-4F16-5040-4034-767019E00EC8}"/>
          </ac:spMkLst>
        </pc:spChg>
        <pc:spChg chg="add del mod">
          <ac:chgData name="Steiner Andreas 6206 ED" userId="e6377c33-a923-4f14-8587-531c474c7b48" providerId="ADAL" clId="{6ECD27E6-B224-41CD-B4E0-E297462320DD}" dt="2023-11-24T11:43:50.689" v="154964"/>
          <ac:spMkLst>
            <pc:docMk/>
            <pc:sldMk cId="398206320" sldId="2147478580"/>
            <ac:spMk id="1008" creationId="{B942D600-C67C-67FB-0DCE-A5CF89DE6F6D}"/>
          </ac:spMkLst>
        </pc:spChg>
        <pc:spChg chg="add del mod">
          <ac:chgData name="Steiner Andreas 6206 ED" userId="e6377c33-a923-4f14-8587-531c474c7b48" providerId="ADAL" clId="{6ECD27E6-B224-41CD-B4E0-E297462320DD}" dt="2023-11-24T11:43:52.879" v="155119"/>
          <ac:spMkLst>
            <pc:docMk/>
            <pc:sldMk cId="398206320" sldId="2147478580"/>
            <ac:spMk id="1009" creationId="{DA0841FC-FBB9-F6B8-0136-A5DC98320D4D}"/>
          </ac:spMkLst>
        </pc:spChg>
        <pc:spChg chg="add del mod">
          <ac:chgData name="Steiner Andreas 6206 ED" userId="e6377c33-a923-4f14-8587-531c474c7b48" providerId="ADAL" clId="{6ECD27E6-B224-41CD-B4E0-E297462320DD}" dt="2023-11-24T11:43:55.892" v="155274"/>
          <ac:spMkLst>
            <pc:docMk/>
            <pc:sldMk cId="398206320" sldId="2147478580"/>
            <ac:spMk id="1010" creationId="{88000AC6-6952-E557-8C2E-3995FD98D542}"/>
          </ac:spMkLst>
        </pc:spChg>
        <pc:spChg chg="add del mod">
          <ac:chgData name="Steiner Andreas 6206 ED" userId="e6377c33-a923-4f14-8587-531c474c7b48" providerId="ADAL" clId="{6ECD27E6-B224-41CD-B4E0-E297462320DD}" dt="2023-11-24T11:43:58.230" v="155429"/>
          <ac:spMkLst>
            <pc:docMk/>
            <pc:sldMk cId="398206320" sldId="2147478580"/>
            <ac:spMk id="1011" creationId="{A5C2BE55-254A-66E1-905E-D063E9DDF982}"/>
          </ac:spMkLst>
        </pc:spChg>
        <pc:spChg chg="add del mod">
          <ac:chgData name="Steiner Andreas 6206 ED" userId="e6377c33-a923-4f14-8587-531c474c7b48" providerId="ADAL" clId="{6ECD27E6-B224-41CD-B4E0-E297462320DD}" dt="2023-11-24T11:44:00.319" v="155584"/>
          <ac:spMkLst>
            <pc:docMk/>
            <pc:sldMk cId="398206320" sldId="2147478580"/>
            <ac:spMk id="1012" creationId="{9610C570-0CE6-B5D5-388C-C18CBAEB8107}"/>
          </ac:spMkLst>
        </pc:spChg>
        <pc:spChg chg="add del mod">
          <ac:chgData name="Steiner Andreas 6206 ED" userId="e6377c33-a923-4f14-8587-531c474c7b48" providerId="ADAL" clId="{6ECD27E6-B224-41CD-B4E0-E297462320DD}" dt="2023-11-24T11:44:02.328" v="155739"/>
          <ac:spMkLst>
            <pc:docMk/>
            <pc:sldMk cId="398206320" sldId="2147478580"/>
            <ac:spMk id="1013" creationId="{946FC6ED-9904-F1BA-BA80-B74E816B13B3}"/>
          </ac:spMkLst>
        </pc:spChg>
        <pc:spChg chg="add del mod">
          <ac:chgData name="Steiner Andreas 6206 ED" userId="e6377c33-a923-4f14-8587-531c474c7b48" providerId="ADAL" clId="{6ECD27E6-B224-41CD-B4E0-E297462320DD}" dt="2023-11-24T11:44:04.382" v="155894"/>
          <ac:spMkLst>
            <pc:docMk/>
            <pc:sldMk cId="398206320" sldId="2147478580"/>
            <ac:spMk id="1014" creationId="{55796224-C4A7-4892-9E1C-D9B99B8AB56F}"/>
          </ac:spMkLst>
        </pc:spChg>
        <pc:spChg chg="add del mod">
          <ac:chgData name="Steiner Andreas 6206 ED" userId="e6377c33-a923-4f14-8587-531c474c7b48" providerId="ADAL" clId="{6ECD27E6-B224-41CD-B4E0-E297462320DD}" dt="2023-11-24T11:44:06.379" v="156049"/>
          <ac:spMkLst>
            <pc:docMk/>
            <pc:sldMk cId="398206320" sldId="2147478580"/>
            <ac:spMk id="1015" creationId="{0A866192-597A-475C-C2E7-4FFEEDAACCD5}"/>
          </ac:spMkLst>
        </pc:spChg>
        <pc:spChg chg="add del mod">
          <ac:chgData name="Steiner Andreas 6206 ED" userId="e6377c33-a923-4f14-8587-531c474c7b48" providerId="ADAL" clId="{6ECD27E6-B224-41CD-B4E0-E297462320DD}" dt="2023-11-24T11:44:08.571" v="156204"/>
          <ac:spMkLst>
            <pc:docMk/>
            <pc:sldMk cId="398206320" sldId="2147478580"/>
            <ac:spMk id="1016" creationId="{0786D904-A75B-323C-90D1-DF6D4D039D15}"/>
          </ac:spMkLst>
        </pc:spChg>
        <pc:spChg chg="add del mod">
          <ac:chgData name="Steiner Andreas 6206 ED" userId="e6377c33-a923-4f14-8587-531c474c7b48" providerId="ADAL" clId="{6ECD27E6-B224-41CD-B4E0-E297462320DD}" dt="2023-11-24T11:44:10.633" v="156359"/>
          <ac:spMkLst>
            <pc:docMk/>
            <pc:sldMk cId="398206320" sldId="2147478580"/>
            <ac:spMk id="1017" creationId="{1E75DC64-CDAD-468D-549E-BE957D7D60A0}"/>
          </ac:spMkLst>
        </pc:spChg>
        <pc:spChg chg="add del mod">
          <ac:chgData name="Steiner Andreas 6206 ED" userId="e6377c33-a923-4f14-8587-531c474c7b48" providerId="ADAL" clId="{6ECD27E6-B224-41CD-B4E0-E297462320DD}" dt="2023-11-24T11:44:12.638" v="156514"/>
          <ac:spMkLst>
            <pc:docMk/>
            <pc:sldMk cId="398206320" sldId="2147478580"/>
            <ac:spMk id="1018" creationId="{A858A304-5639-6AE4-ED4D-372611E9A754}"/>
          </ac:spMkLst>
        </pc:spChg>
        <pc:spChg chg="add del mod">
          <ac:chgData name="Steiner Andreas 6206 ED" userId="e6377c33-a923-4f14-8587-531c474c7b48" providerId="ADAL" clId="{6ECD27E6-B224-41CD-B4E0-E297462320DD}" dt="2023-11-24T11:44:14.628" v="156669"/>
          <ac:spMkLst>
            <pc:docMk/>
            <pc:sldMk cId="398206320" sldId="2147478580"/>
            <ac:spMk id="1019" creationId="{B89DAB19-0AD5-3846-92F8-0229E7149738}"/>
          </ac:spMkLst>
        </pc:spChg>
        <pc:spChg chg="add del mod">
          <ac:chgData name="Steiner Andreas 6206 ED" userId="e6377c33-a923-4f14-8587-531c474c7b48" providerId="ADAL" clId="{6ECD27E6-B224-41CD-B4E0-E297462320DD}" dt="2023-11-24T11:44:16.610" v="156824"/>
          <ac:spMkLst>
            <pc:docMk/>
            <pc:sldMk cId="398206320" sldId="2147478580"/>
            <ac:spMk id="1020" creationId="{A5C26661-F72D-8015-1D81-A99C9D20EC35}"/>
          </ac:spMkLst>
        </pc:spChg>
        <pc:spChg chg="add del mod">
          <ac:chgData name="Steiner Andreas 6206 ED" userId="e6377c33-a923-4f14-8587-531c474c7b48" providerId="ADAL" clId="{6ECD27E6-B224-41CD-B4E0-E297462320DD}" dt="2023-11-24T11:44:18.718" v="156979"/>
          <ac:spMkLst>
            <pc:docMk/>
            <pc:sldMk cId="398206320" sldId="2147478580"/>
            <ac:spMk id="1021" creationId="{796B21AE-F515-D9CE-F205-4DE874409717}"/>
          </ac:spMkLst>
        </pc:spChg>
        <pc:spChg chg="add del mod">
          <ac:chgData name="Steiner Andreas 6206 ED" userId="e6377c33-a923-4f14-8587-531c474c7b48" providerId="ADAL" clId="{6ECD27E6-B224-41CD-B4E0-E297462320DD}" dt="2023-11-24T11:44:20.833" v="157134"/>
          <ac:spMkLst>
            <pc:docMk/>
            <pc:sldMk cId="398206320" sldId="2147478580"/>
            <ac:spMk id="1022" creationId="{F4FF0AAC-BEA3-497E-0B18-104F3163897A}"/>
          </ac:spMkLst>
        </pc:spChg>
        <pc:spChg chg="add del mod">
          <ac:chgData name="Steiner Andreas 6206 ED" userId="e6377c33-a923-4f14-8587-531c474c7b48" providerId="ADAL" clId="{6ECD27E6-B224-41CD-B4E0-E297462320DD}" dt="2023-11-24T11:44:23.165" v="157289"/>
          <ac:spMkLst>
            <pc:docMk/>
            <pc:sldMk cId="398206320" sldId="2147478580"/>
            <ac:spMk id="1023" creationId="{35E56F6D-80EA-2D66-49CC-038DB4F134EF}"/>
          </ac:spMkLst>
        </pc:spChg>
        <pc:spChg chg="add del mod">
          <ac:chgData name="Steiner Andreas 6206 ED" userId="e6377c33-a923-4f14-8587-531c474c7b48" providerId="ADAL" clId="{6ECD27E6-B224-41CD-B4E0-E297462320DD}" dt="2023-11-24T11:44:25.313" v="157444"/>
          <ac:spMkLst>
            <pc:docMk/>
            <pc:sldMk cId="398206320" sldId="2147478580"/>
            <ac:spMk id="1024" creationId="{D1FB9573-939F-7CFB-0EBB-392E44EAC176}"/>
          </ac:spMkLst>
        </pc:spChg>
        <pc:spChg chg="add del mod">
          <ac:chgData name="Steiner Andreas 6206 ED" userId="e6377c33-a923-4f14-8587-531c474c7b48" providerId="ADAL" clId="{6ECD27E6-B224-41CD-B4E0-E297462320DD}" dt="2023-11-24T11:44:30.733" v="157599"/>
          <ac:spMkLst>
            <pc:docMk/>
            <pc:sldMk cId="398206320" sldId="2147478580"/>
            <ac:spMk id="1025" creationId="{76AAC921-FA4A-4218-16EF-3752A5FE0B9C}"/>
          </ac:spMkLst>
        </pc:spChg>
        <pc:spChg chg="add mod">
          <ac:chgData name="Steiner Andreas 6206 ED" userId="e6377c33-a923-4f14-8587-531c474c7b48" providerId="ADAL" clId="{6ECD27E6-B224-41CD-B4E0-E297462320DD}" dt="2023-11-24T11:44:30.735" v="157600"/>
          <ac:spMkLst>
            <pc:docMk/>
            <pc:sldMk cId="398206320" sldId="2147478580"/>
            <ac:spMk id="1026" creationId="{46431077-F0CC-F9CD-0B42-18A6B83EB338}"/>
          </ac:spMkLst>
        </pc:spChg>
      </pc:sldChg>
      <pc:sldMasterChg chg="modSp mod">
        <pc:chgData name="Steiner Andreas 6206 ED" userId="e6377c33-a923-4f14-8587-531c474c7b48" providerId="ADAL" clId="{6ECD27E6-B224-41CD-B4E0-E297462320DD}" dt="2023-11-23T19:49:53.327" v="2" actId="20577"/>
        <pc:sldMasterMkLst>
          <pc:docMk/>
          <pc:sldMasterMk cId="2333788516" sldId="2147483702"/>
        </pc:sldMasterMkLst>
        <pc:spChg chg="mod">
          <ac:chgData name="Steiner Andreas 6206 ED" userId="e6377c33-a923-4f14-8587-531c474c7b48" providerId="ADAL" clId="{6ECD27E6-B224-41CD-B4E0-E297462320DD}" dt="2023-11-23T19:49:53.327" v="2" actId="20577"/>
          <ac:spMkLst>
            <pc:docMk/>
            <pc:sldMasterMk cId="2333788516" sldId="2147483702"/>
            <ac:spMk id="5" creationId="{00000000-0000-0000-0000-000000000000}"/>
          </ac:spMkLst>
        </pc:spChg>
      </pc:sldMasterChg>
    </pc:docChg>
  </pc:docChgLst>
  <pc:docChgLst>
    <pc:chgData name="Merte Christoph 6491 ED" userId="S::shz5a@s-mxs.net::bf166368-ac3a-4b41-be0d-6f420a15feec" providerId="AD" clId="Web-{D029D998-2B56-4946-ACCB-A4571E982D9F}"/>
    <pc:docChg chg="modSld">
      <pc:chgData name="Merte Christoph 6491 ED" userId="S::shz5a@s-mxs.net::bf166368-ac3a-4b41-be0d-6f420a15feec" providerId="AD" clId="Web-{D029D998-2B56-4946-ACCB-A4571E982D9F}" dt="2024-01-26T15:00:26.281" v="2" actId="20577"/>
      <pc:docMkLst>
        <pc:docMk/>
      </pc:docMkLst>
      <pc:sldChg chg="modSp">
        <pc:chgData name="Merte Christoph 6491 ED" userId="S::shz5a@s-mxs.net::bf166368-ac3a-4b41-be0d-6f420a15feec" providerId="AD" clId="Web-{D029D998-2B56-4946-ACCB-A4571E982D9F}" dt="2024-01-26T15:00:26.281" v="2" actId="20577"/>
        <pc:sldMkLst>
          <pc:docMk/>
          <pc:sldMk cId="1226083679" sldId="2147478575"/>
        </pc:sldMkLst>
        <pc:spChg chg="mod">
          <ac:chgData name="Merte Christoph 6491 ED" userId="S::shz5a@s-mxs.net::bf166368-ac3a-4b41-be0d-6f420a15feec" providerId="AD" clId="Web-{D029D998-2B56-4946-ACCB-A4571E982D9F}" dt="2024-01-26T15:00:26.281" v="2" actId="20577"/>
          <ac:spMkLst>
            <pc:docMk/>
            <pc:sldMk cId="1226083679" sldId="2147478575"/>
            <ac:spMk id="11" creationId="{D12F7F67-EE89-9D4A-6DF2-FEFAAF678BA2}"/>
          </ac:spMkLst>
        </pc:spChg>
      </pc:sldChg>
    </pc:docChg>
  </pc:docChgLst>
</pc:chgInfo>
</file>

<file path=ppt/comments/modernComment_7FFFEC22_D6150133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64BC01B9-7E57-4139-B570-AF5C3EE47B42}" authorId="{EBB2E046-A7C2-C473-021E-E38BDC56437E}" created="2023-10-19T12:22:57.218">
    <pc:sldMkLst xmlns:pc="http://schemas.microsoft.com/office/powerpoint/2013/main/command">
      <pc:docMk/>
      <pc:sldMk cId="3591700787" sldId="2147478562"/>
    </pc:sldMkLst>
    <p188:txBody>
      <a:bodyPr/>
      <a:lstStyle/>
      <a:p>
        <a:r>
          <a:rPr lang="de-AT"/>
          <a:t>Slides 6 und 7 sind redundant - eine bessere Darstellung sollte gemacht werden.</a:t>
        </a:r>
      </a:p>
    </p188:txBody>
  </p188:cm>
</p188:cmLst>
</file>

<file path=ppt/comments/modernComment_7FFFEC2C_3D9E16C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93079736-59B9-47A3-9ECB-E5DB05F7078E}" authorId="{8E89F4CB-94DF-E6D5-D337-4633CEA35257}" created="2023-10-30T10:57:42.821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1033770688" sldId="2147478572"/>
      <ac:spMk id="7" creationId="{ADA71BF6-C9CE-16B7-E6B0-EEF12F075AE9}"/>
      <ac:txMk cp="6" len="8">
        <ac:context len="988" hash="38887986"/>
      </ac:txMk>
    </ac:txMkLst>
    <p188:pos x="1122364" y="232229"/>
    <p188:txBody>
      <a:bodyPr/>
      <a:lstStyle/>
      <a:p>
        <a:r>
          <a:rPr lang="en-US"/>
          <a:t>I would say 'request' instead of 'order'</a:t>
        </a:r>
      </a:p>
    </p188:txBody>
    <p188:extLst>
      <p:ext xmlns:p="http://schemas.openxmlformats.org/presentationml/2006/main" uri="{57CB4572-C831-44C2-8A1C-0ADB6CCDFE69}">
        <p223:reactions xmlns:p223="http://schemas.microsoft.com/office/powerpoint/2022/03/main">
          <p223:rxn type="👍">
            <p223:instance time="2023-11-09T07:53:14.272" authorId="{6DBF08C4-3248-DD68-997D-402D364C0928}"/>
          </p223:rxn>
        </p223:reactions>
      </p:ext>
    </p188:extLst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D0C8F56-A16C-4D6B-846C-5556CD97E1D8}" type="datetimeFigureOut">
              <a:rPr lang="en-GB" smtClean="0"/>
              <a:t>26/01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0243E72-02BA-4AC6-ACEA-F6038276D3B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68958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243E72-02BA-4AC6-ACEA-F6038276D3BC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160798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243E72-02BA-4AC6-ACEA-F6038276D3BC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92728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243E72-02BA-4AC6-ACEA-F6038276D3BC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94316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243E72-02BA-4AC6-ACEA-F6038276D3BC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51843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243E72-02BA-4AC6-ACEA-F6038276D3BC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474243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243E72-02BA-4AC6-ACEA-F6038276D3BC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6756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243E72-02BA-4AC6-ACEA-F6038276D3BC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63382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243E72-02BA-4AC6-ACEA-F6038276D3BC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334759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243E72-02BA-4AC6-ACEA-F6038276D3BC}" type="slidenum">
              <a:rPr lang="en-GB" smtClean="0"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86134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8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14.emf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5" Type="http://schemas.openxmlformats.org/officeDocument/2006/relationships/image" Target="../media/image11.png"/><Relationship Id="rId4" Type="http://schemas.openxmlformats.org/officeDocument/2006/relationships/image" Target="../media/image15.emf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8.emf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14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17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14.emf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14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7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3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14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14.emf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14.emf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17.emf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0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22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3.bin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>
            <a:extLst>
              <a:ext uri="{FF2B5EF4-FFF2-40B4-BE49-F238E27FC236}">
                <a16:creationId xmlns:a16="http://schemas.microsoft.com/office/drawing/2014/main" id="{EE613EA3-BC16-E0A5-5957-7A5B2E2A4CC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4E3166E-39E3-09B6-B1B6-3EE77C80490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5500" y="3858008"/>
            <a:ext cx="11160125" cy="1571626"/>
          </a:xfrm>
        </p:spPr>
        <p:txBody>
          <a:bodyPr anchor="t"/>
          <a:lstStyle>
            <a:lvl1pPr algn="l"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GB"/>
              <a:t>Title of presentati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40A2384-9864-74FC-45AD-C2FB6D3EB4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5938" y="3428999"/>
            <a:ext cx="5022713" cy="254727"/>
          </a:xfrm>
        </p:spPr>
        <p:txBody>
          <a:bodyPr wrap="none" anchor="b"/>
          <a:lstStyle>
            <a:lvl1pPr marL="0" indent="0" algn="l">
              <a:spcAft>
                <a:spcPts val="0"/>
              </a:spcAft>
              <a:buNone/>
              <a:defRPr sz="1200" cap="all" spc="50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Optional topline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8011D2C7-9761-D25D-5D65-69F3A9F033E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5936" y="5769829"/>
            <a:ext cx="6948489" cy="254727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</a:defRPr>
            </a:lvl1pPr>
          </a:lstStyle>
          <a:p>
            <a:pPr algn="l"/>
            <a:fld id="{F2552356-5C49-4D04-A011-86F96483F6B9}" type="datetime1">
              <a:rPr lang="de-DE" smtClean="0"/>
              <a:t>26.01.2024</a:t>
            </a:fld>
            <a:endParaRPr lang="en-GB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1AC5B05-E1E7-496A-9493-44909AC3645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6" y="5545998"/>
            <a:ext cx="6948489" cy="211925"/>
          </a:xfrm>
        </p:spPr>
        <p:txBody>
          <a:bodyPr anchor="b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</a:defRPr>
            </a:lvl1pPr>
          </a:lstStyle>
          <a:p>
            <a:pPr lvl="0"/>
            <a:r>
              <a:rPr lang="en-GB"/>
              <a:t>Author Name Surname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4600439B-2E9A-3EE2-56BE-F5FD2E54CE6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25500" y="1171218"/>
            <a:ext cx="1740248" cy="829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30486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on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95437" y="1988840"/>
            <a:ext cx="9001124" cy="2101769"/>
          </a:xfrm>
        </p:spPr>
        <p:txBody>
          <a:bodyPr/>
          <a:lstStyle>
            <a:lvl1pPr algn="ctr">
              <a:lnSpc>
                <a:spcPct val="107000"/>
              </a:lnSpc>
              <a:defRPr sz="24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Quote	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132A5A-B628-4633-87A1-492F18DF4B26}" type="datetime1">
              <a:rPr lang="de-DE" smtClean="0"/>
              <a:t>26.01.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D9A8D9-DADF-55CB-5BF2-41E78D03D3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95438" y="4806838"/>
            <a:ext cx="9001124" cy="380681"/>
          </a:xfrm>
        </p:spPr>
        <p:txBody>
          <a:bodyPr anchor="t"/>
          <a:lstStyle>
            <a:lvl1pPr marL="0" indent="0" algn="ctr">
              <a:spcAft>
                <a:spcPts val="0"/>
              </a:spcAft>
              <a:buNone/>
              <a:defRPr sz="85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Name Surname, Position/functio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206BF775-ED24-3048-F696-1A3CB2FA7A3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0000"/>
          </a:blip>
          <a:stretch>
            <a:fillRect/>
          </a:stretch>
        </p:blipFill>
        <p:spPr>
          <a:xfrm>
            <a:off x="5864077" y="1357963"/>
            <a:ext cx="463841" cy="359103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34B15952-203D-CBAF-0BE4-B2CE187BD26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5787877" y="4221088"/>
            <a:ext cx="463841" cy="353073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698E1F7D-076C-4AC1-808C-E99F729B2D3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8579" y="6423258"/>
            <a:ext cx="562147" cy="267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66101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with image +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>
            <a:extLst>
              <a:ext uri="{FF2B5EF4-FFF2-40B4-BE49-F238E27FC236}">
                <a16:creationId xmlns:a16="http://schemas.microsoft.com/office/drawing/2014/main" id="{DC23CDB2-5A7E-CDB4-7154-06EF2FA70D84}"/>
              </a:ext>
            </a:extLst>
          </p:cNvPr>
          <p:cNvSpPr/>
          <p:nvPr userDrawn="1"/>
        </p:nvSpPr>
        <p:spPr>
          <a:xfrm>
            <a:off x="7680325" y="0"/>
            <a:ext cx="451167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Grafik 4">
            <a:extLst>
              <a:ext uri="{FF2B5EF4-FFF2-40B4-BE49-F238E27FC236}">
                <a16:creationId xmlns:a16="http://schemas.microsoft.com/office/drawing/2014/main" id="{97E0F36E-71AC-5602-E9B3-74D876A78702}"/>
              </a:ext>
            </a:extLst>
          </p:cNvPr>
          <p:cNvSpPr/>
          <p:nvPr userDrawn="1"/>
        </p:nvSpPr>
        <p:spPr>
          <a:xfrm>
            <a:off x="0" y="1"/>
            <a:ext cx="11966894" cy="6246951"/>
          </a:xfrm>
          <a:custGeom>
            <a:avLst/>
            <a:gdLst>
              <a:gd name="connsiteX0" fmla="*/ 10754594 w 11966894"/>
              <a:gd name="connsiteY0" fmla="*/ 6246952 h 6246951"/>
              <a:gd name="connsiteX1" fmla="*/ 0 w 11966894"/>
              <a:gd name="connsiteY1" fmla="*/ 6246952 h 6246951"/>
              <a:gd name="connsiteX2" fmla="*/ 0 w 11966894"/>
              <a:gd name="connsiteY2" fmla="*/ 6208865 h 6246951"/>
              <a:gd name="connsiteX3" fmla="*/ 10754594 w 11966894"/>
              <a:gd name="connsiteY3" fmla="*/ 6208865 h 6246951"/>
              <a:gd name="connsiteX4" fmla="*/ 11928819 w 11966894"/>
              <a:gd name="connsiteY4" fmla="*/ 5033058 h 6246951"/>
              <a:gd name="connsiteX5" fmla="*/ 11928819 w 11966894"/>
              <a:gd name="connsiteY5" fmla="*/ 0 h 6246951"/>
              <a:gd name="connsiteX6" fmla="*/ 11966894 w 11966894"/>
              <a:gd name="connsiteY6" fmla="*/ 0 h 6246951"/>
              <a:gd name="connsiteX7" fmla="*/ 11966894 w 11966894"/>
              <a:gd name="connsiteY7" fmla="*/ 5033058 h 6246951"/>
              <a:gd name="connsiteX8" fmla="*/ 10754594 w 11966894"/>
              <a:gd name="connsiteY8" fmla="*/ 6246952 h 62469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966894" h="6246951">
                <a:moveTo>
                  <a:pt x="10754594" y="6246952"/>
                </a:moveTo>
                <a:lnTo>
                  <a:pt x="0" y="6246952"/>
                </a:lnTo>
                <a:lnTo>
                  <a:pt x="0" y="6208865"/>
                </a:lnTo>
                <a:lnTo>
                  <a:pt x="10754594" y="6208865"/>
                </a:lnTo>
                <a:cubicBezTo>
                  <a:pt x="11402068" y="6208865"/>
                  <a:pt x="11928819" y="5681392"/>
                  <a:pt x="11928819" y="5033058"/>
                </a:cubicBezTo>
                <a:lnTo>
                  <a:pt x="11928819" y="0"/>
                </a:lnTo>
                <a:lnTo>
                  <a:pt x="11966894" y="0"/>
                </a:lnTo>
                <a:lnTo>
                  <a:pt x="11966894" y="5033058"/>
                </a:lnTo>
                <a:cubicBezTo>
                  <a:pt x="11966894" y="5702403"/>
                  <a:pt x="11423059" y="6246952"/>
                  <a:pt x="10754594" y="6246952"/>
                </a:cubicBezTo>
                <a:close/>
              </a:path>
            </a:pathLst>
          </a:custGeom>
          <a:solidFill>
            <a:schemeClr val="bg1"/>
          </a:solidFill>
          <a:ln w="1268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2" name="Bildplatzhalter 18">
            <a:extLst>
              <a:ext uri="{FF2B5EF4-FFF2-40B4-BE49-F238E27FC236}">
                <a16:creationId xmlns:a16="http://schemas.microsoft.com/office/drawing/2014/main" id="{4CC7D508-9A99-DC1C-B9D5-ADCE0FF6E9F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680324" y="0"/>
            <a:ext cx="4511675" cy="6867524"/>
          </a:xfrm>
          <a:custGeom>
            <a:avLst/>
            <a:gdLst>
              <a:gd name="connsiteX0" fmla="*/ 0 w 4511675"/>
              <a:gd name="connsiteY0" fmla="*/ 0 h 6867524"/>
              <a:gd name="connsiteX1" fmla="*/ 4511675 w 4511675"/>
              <a:gd name="connsiteY1" fmla="*/ 0 h 6867524"/>
              <a:gd name="connsiteX2" fmla="*/ 4511675 w 4511675"/>
              <a:gd name="connsiteY2" fmla="*/ 6867524 h 6867524"/>
              <a:gd name="connsiteX3" fmla="*/ 0 w 4511675"/>
              <a:gd name="connsiteY3" fmla="*/ 6867524 h 6867524"/>
              <a:gd name="connsiteX4" fmla="*/ 0 w 4511675"/>
              <a:gd name="connsiteY4" fmla="*/ 6246953 h 6867524"/>
              <a:gd name="connsiteX5" fmla="*/ 3074270 w 4511675"/>
              <a:gd name="connsiteY5" fmla="*/ 6246953 h 6867524"/>
              <a:gd name="connsiteX6" fmla="*/ 4286570 w 4511675"/>
              <a:gd name="connsiteY6" fmla="*/ 5033059 h 6867524"/>
              <a:gd name="connsiteX7" fmla="*/ 4286570 w 4511675"/>
              <a:gd name="connsiteY7" fmla="*/ 1 h 6867524"/>
              <a:gd name="connsiteX8" fmla="*/ 4248495 w 4511675"/>
              <a:gd name="connsiteY8" fmla="*/ 1 h 6867524"/>
              <a:gd name="connsiteX9" fmla="*/ 4248495 w 4511675"/>
              <a:gd name="connsiteY9" fmla="*/ 5033059 h 6867524"/>
              <a:gd name="connsiteX10" fmla="*/ 3074270 w 4511675"/>
              <a:gd name="connsiteY10" fmla="*/ 6208866 h 6867524"/>
              <a:gd name="connsiteX11" fmla="*/ 0 w 4511675"/>
              <a:gd name="connsiteY11" fmla="*/ 6208866 h 68675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511675" h="6867524">
                <a:moveTo>
                  <a:pt x="0" y="0"/>
                </a:moveTo>
                <a:lnTo>
                  <a:pt x="4511675" y="0"/>
                </a:lnTo>
                <a:lnTo>
                  <a:pt x="4511675" y="6867524"/>
                </a:lnTo>
                <a:lnTo>
                  <a:pt x="0" y="6867524"/>
                </a:lnTo>
                <a:lnTo>
                  <a:pt x="0" y="6246953"/>
                </a:lnTo>
                <a:lnTo>
                  <a:pt x="3074270" y="6246953"/>
                </a:lnTo>
                <a:cubicBezTo>
                  <a:pt x="3742735" y="6246953"/>
                  <a:pt x="4286570" y="5702404"/>
                  <a:pt x="4286570" y="5033059"/>
                </a:cubicBezTo>
                <a:lnTo>
                  <a:pt x="4286570" y="1"/>
                </a:lnTo>
                <a:lnTo>
                  <a:pt x="4248495" y="1"/>
                </a:lnTo>
                <a:lnTo>
                  <a:pt x="4248495" y="5033059"/>
                </a:lnTo>
                <a:cubicBezTo>
                  <a:pt x="4248495" y="5681393"/>
                  <a:pt x="3721744" y="6208866"/>
                  <a:pt x="3074270" y="6208866"/>
                </a:cubicBezTo>
                <a:lnTo>
                  <a:pt x="0" y="620886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lIns="72000" tIns="72000" rIns="72000" bIns="72000" anchor="ctr" anchorCtr="0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03265" y="2619375"/>
            <a:ext cx="5521385" cy="3169124"/>
          </a:xfrm>
        </p:spPr>
        <p:txBody>
          <a:bodyPr/>
          <a:lstStyle>
            <a:lvl1pPr>
              <a:lnSpc>
                <a:spcPct val="107000"/>
              </a:lnSpc>
              <a:defRPr sz="24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Quote	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CDF62A8-F63E-4CDC-AD93-D6F9D3B39811}" type="datetime1">
              <a:rPr lang="de-DE" smtClean="0"/>
              <a:t>26.01.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D9A8D9-DADF-55CB-5BF2-41E78D03D3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70042" y="5407818"/>
            <a:ext cx="3512346" cy="380681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85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Name Surname, Position/function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E13DAA37-BAD9-4051-B964-9414B954C1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8579" y="6423258"/>
            <a:ext cx="562147" cy="267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39869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copy text on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3F74D7A-95E4-49EF-87C2-9B60C7059FBC}" type="datetime1">
              <a:rPr lang="de-DE" smtClean="0"/>
              <a:t>26.01.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7" y="2241550"/>
            <a:ext cx="6948487" cy="4103688"/>
          </a:xfrm>
        </p:spPr>
        <p:txBody>
          <a:bodyPr/>
          <a:lstStyle>
            <a:lvl1pPr marL="266700" indent="-266700">
              <a:defRPr sz="2400">
                <a:solidFill>
                  <a:schemeClr val="bg1"/>
                </a:solidFill>
              </a:defRPr>
            </a:lvl1pPr>
            <a:lvl2pPr marL="271463" indent="-271463">
              <a:defRPr sz="2400">
                <a:solidFill>
                  <a:schemeClr val="bg1"/>
                </a:solidFill>
              </a:defRPr>
            </a:lvl2pPr>
            <a:lvl3pPr marL="538163" indent="-273050">
              <a:defRPr sz="2400">
                <a:solidFill>
                  <a:schemeClr val="bg1"/>
                </a:solidFill>
              </a:defRPr>
            </a:lvl3pPr>
            <a:lvl4pPr marL="803275" indent="-263525">
              <a:defRPr sz="2400">
                <a:solidFill>
                  <a:schemeClr val="bg1"/>
                </a:solidFill>
              </a:defRPr>
            </a:lvl4pPr>
            <a:lvl5pPr marL="1076325" indent="-261938"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A3D779F7-680B-40BB-833D-0C922321FFE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8579" y="6423258"/>
            <a:ext cx="562147" cy="267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914877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copy text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037EDA-0155-4F72-A7AC-B49D6DCCE8E6}" type="datetime1">
              <a:rPr lang="de-DE" smtClean="0"/>
              <a:t>26.01.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7" y="2241550"/>
            <a:ext cx="6948487" cy="4103688"/>
          </a:xfrm>
        </p:spPr>
        <p:txBody>
          <a:bodyPr/>
          <a:lstStyle>
            <a:lvl1pPr marL="266700" indent="-266700">
              <a:defRPr sz="2400"/>
            </a:lvl1pPr>
            <a:lvl2pPr marL="271463" indent="-271463">
              <a:defRPr sz="2400"/>
            </a:lvl2pPr>
            <a:lvl3pPr marL="538163" indent="-273050">
              <a:defRPr sz="2400"/>
            </a:lvl3pPr>
            <a:lvl4pPr marL="803275" indent="-263525">
              <a:defRPr sz="2400"/>
            </a:lvl4pPr>
            <a:lvl5pPr marL="1076325" indent="-261938">
              <a:defRPr sz="2400"/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</a:p>
        </p:txBody>
      </p:sp>
    </p:spTree>
    <p:extLst>
      <p:ext uri="{BB962C8B-B14F-4D97-AF65-F5344CB8AC3E}">
        <p14:creationId xmlns:p14="http://schemas.microsoft.com/office/powerpoint/2010/main" val="127157901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text on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357AA65-DD15-4DBC-ABC7-0E29F9DB45AF}" type="datetime1">
              <a:rPr lang="de-DE" smtClean="0"/>
              <a:t>26.01.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2241550"/>
            <a:ext cx="5472110" cy="41036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13" name="Textplatzhalter 11">
            <a:extLst>
              <a:ext uri="{FF2B5EF4-FFF2-40B4-BE49-F238E27FC236}">
                <a16:creationId xmlns:a16="http://schemas.microsoft.com/office/drawing/2014/main" id="{70D8A835-9701-8957-006D-288D1F9303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3953" y="2241550"/>
            <a:ext cx="5472110" cy="41036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8" name="Textplatzhalter 10">
            <a:extLst>
              <a:ext uri="{FF2B5EF4-FFF2-40B4-BE49-F238E27FC236}">
                <a16:creationId xmlns:a16="http://schemas.microsoft.com/office/drawing/2014/main" id="{6395D3D1-537B-C9FB-38E3-DE1A5A73C0C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A73D1AB7-D49B-43EF-94AB-C005810B66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8579" y="6423258"/>
            <a:ext cx="562147" cy="267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66260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text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9B8C9A-C0E3-406A-B3B9-D8BC09D3059E}" type="datetime1">
              <a:rPr lang="de-DE" smtClean="0"/>
              <a:t>26.01.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2241550"/>
            <a:ext cx="5472110" cy="41036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13" name="Textplatzhalter 11">
            <a:extLst>
              <a:ext uri="{FF2B5EF4-FFF2-40B4-BE49-F238E27FC236}">
                <a16:creationId xmlns:a16="http://schemas.microsoft.com/office/drawing/2014/main" id="{70D8A835-9701-8957-006D-288D1F9303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3953" y="2241550"/>
            <a:ext cx="5472110" cy="4103688"/>
          </a:xfrm>
        </p:spPr>
        <p:txBody>
          <a:bodyPr/>
          <a:lstStyle/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</a:p>
        </p:txBody>
      </p:sp>
    </p:spTree>
    <p:extLst>
      <p:ext uri="{BB962C8B-B14F-4D97-AF65-F5344CB8AC3E}">
        <p14:creationId xmlns:p14="http://schemas.microsoft.com/office/powerpoint/2010/main" val="34067051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Right)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14">
            <a:extLst>
              <a:ext uri="{FF2B5EF4-FFF2-40B4-BE49-F238E27FC236}">
                <a16:creationId xmlns:a16="http://schemas.microsoft.com/office/drawing/2014/main" id="{49F1B917-F0D7-F764-ABEA-0C7F235E21E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16780" y="620714"/>
            <a:ext cx="6959283" cy="5724524"/>
          </a:xfrm>
          <a:prstGeom prst="roundRect">
            <a:avLst>
              <a:gd name="adj" fmla="val 2402"/>
            </a:avLst>
          </a:prstGeom>
          <a:solidFill>
            <a:schemeClr val="bg1">
              <a:lumMod val="75000"/>
            </a:schemeClr>
          </a:solidFill>
        </p:spPr>
        <p:txBody>
          <a:bodyPr lIns="72000" tIns="72000" rIns="72000" bIns="72000" anchor="t" anchorCtr="0"/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620714"/>
            <a:ext cx="4084638" cy="755650"/>
          </a:xfrm>
        </p:spPr>
        <p:txBody>
          <a:bodyPr/>
          <a:lstStyle/>
          <a:p>
            <a:r>
              <a:rPr lang="en-GB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7961D5-BC50-4A31-A5C3-69FBA13EDE37}" type="datetime1">
              <a:rPr lang="de-DE" smtClean="0"/>
              <a:t>26.01.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2241550"/>
            <a:ext cx="4084638" cy="41036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</a:p>
        </p:txBody>
      </p:sp>
    </p:spTree>
    <p:extLst>
      <p:ext uri="{BB962C8B-B14F-4D97-AF65-F5344CB8AC3E}">
        <p14:creationId xmlns:p14="http://schemas.microsoft.com/office/powerpoint/2010/main" val="70535058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Right) on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14">
            <a:extLst>
              <a:ext uri="{FF2B5EF4-FFF2-40B4-BE49-F238E27FC236}">
                <a16:creationId xmlns:a16="http://schemas.microsoft.com/office/drawing/2014/main" id="{8C339001-6AB6-F5CB-1054-DEC08653701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16780" y="620714"/>
            <a:ext cx="6959283" cy="5724524"/>
          </a:xfrm>
          <a:prstGeom prst="roundRect">
            <a:avLst>
              <a:gd name="adj" fmla="val 2402"/>
            </a:avLst>
          </a:prstGeom>
          <a:solidFill>
            <a:schemeClr val="bg1">
              <a:lumMod val="75000"/>
            </a:schemeClr>
          </a:solidFill>
        </p:spPr>
        <p:txBody>
          <a:bodyPr lIns="72000" tIns="72000" rIns="72000" bIns="72000" anchor="t" anchorCtr="0"/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620714"/>
            <a:ext cx="4084638" cy="7556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DF3862-1379-47A1-9721-811CA2DAFEDF}" type="datetime1">
              <a:rPr lang="de-DE" smtClean="0"/>
              <a:t>26.01.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2241550"/>
            <a:ext cx="4084638" cy="41036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951D2331-158B-4EC4-ACE5-778CF74CA5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8579" y="6423258"/>
            <a:ext cx="562147" cy="267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766778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Left)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325" y="620714"/>
            <a:ext cx="3995737" cy="755650"/>
          </a:xfrm>
        </p:spPr>
        <p:txBody>
          <a:bodyPr/>
          <a:lstStyle/>
          <a:p>
            <a:r>
              <a:rPr lang="en-GB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7E3C4F-EBF9-4F63-A409-C264EE38E3B6}" type="datetime1">
              <a:rPr lang="de-DE" smtClean="0"/>
              <a:t>26.01.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80325" y="2241550"/>
            <a:ext cx="3995737" cy="41036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80325" y="275183"/>
            <a:ext cx="3995738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61D31E46-3E76-F666-E8F9-02DA97BA62C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15938" y="620714"/>
            <a:ext cx="6948487" cy="5724524"/>
          </a:xfrm>
          <a:prstGeom prst="roundRect">
            <a:avLst>
              <a:gd name="adj" fmla="val 2402"/>
            </a:avLst>
          </a:prstGeom>
          <a:solidFill>
            <a:schemeClr val="bg1">
              <a:lumMod val="75000"/>
            </a:schemeClr>
          </a:solidFill>
        </p:spPr>
        <p:txBody>
          <a:bodyPr lIns="72000" tIns="72000" rIns="72000" bIns="72000" anchor="t" anchorCtr="0"/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</a:p>
        </p:txBody>
      </p:sp>
    </p:spTree>
    <p:extLst>
      <p:ext uri="{BB962C8B-B14F-4D97-AF65-F5344CB8AC3E}">
        <p14:creationId xmlns:p14="http://schemas.microsoft.com/office/powerpoint/2010/main" val="412593319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Left) on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9635" y="620714"/>
            <a:ext cx="3986427" cy="7556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98530F1-4887-43F1-8C06-CDF28A53D1BE}" type="datetime1">
              <a:rPr lang="de-DE" smtClean="0"/>
              <a:t>26.01.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89635" y="2231827"/>
            <a:ext cx="3986427" cy="41134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89635" y="275183"/>
            <a:ext cx="3986427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</a:p>
        </p:txBody>
      </p:sp>
      <p:sp>
        <p:nvSpPr>
          <p:cNvPr id="3" name="Bildplatzhalter 14">
            <a:extLst>
              <a:ext uri="{FF2B5EF4-FFF2-40B4-BE49-F238E27FC236}">
                <a16:creationId xmlns:a16="http://schemas.microsoft.com/office/drawing/2014/main" id="{DC5CE066-1886-D38C-E40C-8359155A9C8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15938" y="620714"/>
            <a:ext cx="6948487" cy="5724524"/>
          </a:xfrm>
          <a:prstGeom prst="roundRect">
            <a:avLst>
              <a:gd name="adj" fmla="val 2402"/>
            </a:avLst>
          </a:prstGeom>
          <a:solidFill>
            <a:schemeClr val="bg1">
              <a:lumMod val="75000"/>
            </a:schemeClr>
          </a:solidFill>
        </p:spPr>
        <p:txBody>
          <a:bodyPr lIns="72000" tIns="72000" rIns="72000" bIns="72000" anchor="t" anchorCtr="0"/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F1D7AF19-9E72-4033-9543-F2C32418FB8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8579" y="6423258"/>
            <a:ext cx="562147" cy="267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02464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 on colo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6">
            <a:extLst>
              <a:ext uri="{FF2B5EF4-FFF2-40B4-BE49-F238E27FC236}">
                <a16:creationId xmlns:a16="http://schemas.microsoft.com/office/drawing/2014/main" id="{A4E384EC-41F8-44FA-8E79-5F0B6524A17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25500" y="1171218"/>
            <a:ext cx="1740248" cy="829417"/>
          </a:xfrm>
          <a:prstGeom prst="rect">
            <a:avLst/>
          </a:prstGeom>
        </p:spPr>
      </p:pic>
      <p:sp>
        <p:nvSpPr>
          <p:cNvPr id="11" name="Untertitel 2">
            <a:extLst>
              <a:ext uri="{FF2B5EF4-FFF2-40B4-BE49-F238E27FC236}">
                <a16:creationId xmlns:a16="http://schemas.microsoft.com/office/drawing/2014/main" id="{C20B7C50-7492-4DC0-AD57-7E482E66F2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5938" y="3428999"/>
            <a:ext cx="11160125" cy="254727"/>
          </a:xfrm>
        </p:spPr>
        <p:txBody>
          <a:bodyPr wrap="square" anchor="b"/>
          <a:lstStyle>
            <a:lvl1pPr marL="0" indent="0" algn="l">
              <a:spcAft>
                <a:spcPts val="0"/>
              </a:spcAft>
              <a:buNone/>
              <a:defRPr sz="1200" cap="all" spc="50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Optional </a:t>
            </a:r>
            <a:r>
              <a:rPr lang="en-GB" err="1"/>
              <a:t>topline</a:t>
            </a:r>
            <a:endParaRPr lang="en-GB"/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CEB2CB41-6029-44F7-8FB9-5E1E6756504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5937" y="3829049"/>
            <a:ext cx="11160125" cy="1571626"/>
          </a:xfrm>
        </p:spPr>
        <p:txBody>
          <a:bodyPr anchor="t"/>
          <a:lstStyle>
            <a:lvl1pPr algn="l">
              <a:defRPr sz="5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Title of presentation</a:t>
            </a:r>
          </a:p>
        </p:txBody>
      </p:sp>
      <p:sp>
        <p:nvSpPr>
          <p:cNvPr id="13" name="Textplatzhalter 11">
            <a:extLst>
              <a:ext uri="{FF2B5EF4-FFF2-40B4-BE49-F238E27FC236}">
                <a16:creationId xmlns:a16="http://schemas.microsoft.com/office/drawing/2014/main" id="{5B125AFB-17DA-40B8-AE1C-753566EB527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6" y="5545998"/>
            <a:ext cx="6948489" cy="211925"/>
          </a:xfrm>
        </p:spPr>
        <p:txBody>
          <a:bodyPr anchor="b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  <a:latin typeface="+mn-lt"/>
                <a:ea typeface="Inter Medium" panose="02000503000000020004" pitchFamily="2" charset="0"/>
              </a:defRPr>
            </a:lvl1pPr>
          </a:lstStyle>
          <a:p>
            <a:pPr lvl="0"/>
            <a:r>
              <a:rPr lang="en-GB"/>
              <a:t>Author Name Surname</a:t>
            </a:r>
          </a:p>
        </p:txBody>
      </p:sp>
      <p:sp>
        <p:nvSpPr>
          <p:cNvPr id="18" name="Datumsplatzhalter 7">
            <a:extLst>
              <a:ext uri="{FF2B5EF4-FFF2-40B4-BE49-F238E27FC236}">
                <a16:creationId xmlns:a16="http://schemas.microsoft.com/office/drawing/2014/main" id="{AE8EAEE9-ED87-41FC-ACA5-D326492F5DB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5936" y="5769829"/>
            <a:ext cx="6948489" cy="254727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  <a:latin typeface="+mn-lt"/>
                <a:ea typeface="Inter Medium" panose="02000503000000020004" pitchFamily="2" charset="0"/>
              </a:defRPr>
            </a:lvl1pPr>
          </a:lstStyle>
          <a:p>
            <a:pPr algn="l"/>
            <a:fld id="{9B3DEC3D-6708-48BA-8367-164A41882AE8}" type="datetime1">
              <a:rPr lang="de-DE" smtClean="0"/>
              <a:t>26.01.2024</a:t>
            </a:fld>
            <a:endParaRPr lang="en-GB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05304C0-9930-48BD-8EBB-73A518361C86}"/>
              </a:ext>
            </a:extLst>
          </p:cNvPr>
          <p:cNvSpPr/>
          <p:nvPr userDrawn="1"/>
        </p:nvSpPr>
        <p:spPr>
          <a:xfrm>
            <a:off x="381000" y="6345238"/>
            <a:ext cx="1295400" cy="43656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</a:pPr>
            <a:endParaRPr lang="en-US" sz="1600" err="1"/>
          </a:p>
        </p:txBody>
      </p:sp>
    </p:spTree>
    <p:extLst>
      <p:ext uri="{BB962C8B-B14F-4D97-AF65-F5344CB8AC3E}">
        <p14:creationId xmlns:p14="http://schemas.microsoft.com/office/powerpoint/2010/main" val="22242026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9DE4A7-3358-4D0A-A006-7C2E5AFB6AEB}" type="datetime1">
              <a:rPr lang="de-DE" smtClean="0"/>
              <a:t>26.01.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4324350"/>
            <a:ext cx="5472042" cy="2020888"/>
          </a:xfrm>
        </p:spPr>
        <p:txBody>
          <a:bodyPr/>
          <a:lstStyle>
            <a:lvl1pPr>
              <a:spcAft>
                <a:spcPts val="200"/>
              </a:spcAft>
              <a:defRPr/>
            </a:lvl1pPr>
            <a:lvl2pPr>
              <a:spcAft>
                <a:spcPts val="200"/>
              </a:spcAft>
              <a:defRPr/>
            </a:lvl2pPr>
            <a:lvl3pPr>
              <a:spcAft>
                <a:spcPts val="200"/>
              </a:spcAft>
              <a:defRPr/>
            </a:lvl3pPr>
            <a:lvl4pPr>
              <a:spcAft>
                <a:spcPts val="200"/>
              </a:spcAft>
              <a:defRPr/>
            </a:lvl4pPr>
            <a:lvl5pPr>
              <a:spcAft>
                <a:spcPts val="200"/>
              </a:spcAft>
              <a:defRPr/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D845AF7A-44DA-5B67-EDB0-A9CC83B0C4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04020" y="4324350"/>
            <a:ext cx="5472042" cy="2020888"/>
          </a:xfrm>
        </p:spPr>
        <p:txBody>
          <a:bodyPr/>
          <a:lstStyle>
            <a:lvl1pPr>
              <a:spcAft>
                <a:spcPts val="200"/>
              </a:spcAft>
              <a:defRPr/>
            </a:lvl1pPr>
            <a:lvl2pPr>
              <a:spcAft>
                <a:spcPts val="200"/>
              </a:spcAft>
              <a:defRPr/>
            </a:lvl2pPr>
            <a:lvl3pPr>
              <a:spcAft>
                <a:spcPts val="200"/>
              </a:spcAft>
              <a:defRPr/>
            </a:lvl3pPr>
            <a:lvl4pPr>
              <a:spcAft>
                <a:spcPts val="200"/>
              </a:spcAft>
              <a:defRPr/>
            </a:lvl4pPr>
            <a:lvl5pPr>
              <a:spcAft>
                <a:spcPts val="200"/>
              </a:spcAft>
              <a:defRPr/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9" name="Bildplatzhalter 6">
            <a:extLst>
              <a:ext uri="{FF2B5EF4-FFF2-40B4-BE49-F238E27FC236}">
                <a16:creationId xmlns:a16="http://schemas.microsoft.com/office/drawing/2014/main" id="{0F7F19B2-9558-5BD7-6F06-3E30B69232F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15938" y="1376362"/>
            <a:ext cx="5472042" cy="2808000"/>
          </a:xfrm>
          <a:prstGeom prst="roundRect">
            <a:avLst>
              <a:gd name="adj" fmla="val 5247"/>
            </a:avLst>
          </a:prstGeom>
          <a:solidFill>
            <a:schemeClr val="bg1">
              <a:lumMod val="75000"/>
            </a:schemeClr>
          </a:solidFill>
        </p:spPr>
        <p:txBody>
          <a:bodyPr wrap="square" lIns="72000" tIns="72000" rIns="72000" bIns="72000" anchor="b" anchorCtr="0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8B3EB307-DE58-7D91-FAC8-9F73C171AE9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04020" y="1376362"/>
            <a:ext cx="5472042" cy="2808000"/>
          </a:xfrm>
          <a:prstGeom prst="roundRect">
            <a:avLst>
              <a:gd name="adj" fmla="val 5247"/>
            </a:avLst>
          </a:prstGeom>
          <a:solidFill>
            <a:schemeClr val="bg1">
              <a:lumMod val="75000"/>
            </a:schemeClr>
          </a:solidFill>
        </p:spPr>
        <p:txBody>
          <a:bodyPr wrap="square" lIns="72000" tIns="72000" rIns="72000" bIns="72000" anchor="b" anchorCtr="0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</a:p>
        </p:txBody>
      </p:sp>
    </p:spTree>
    <p:extLst>
      <p:ext uri="{BB962C8B-B14F-4D97-AF65-F5344CB8AC3E}">
        <p14:creationId xmlns:p14="http://schemas.microsoft.com/office/powerpoint/2010/main" val="45063683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2EF1B9-E763-4B1F-B18C-795014121441}" type="datetime1">
              <a:rPr lang="de-DE" smtClean="0"/>
              <a:t>26.01.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4324350"/>
            <a:ext cx="3564000" cy="2020888"/>
          </a:xfrm>
        </p:spPr>
        <p:txBody>
          <a:bodyPr/>
          <a:lstStyle>
            <a:lvl1pPr>
              <a:spcAft>
                <a:spcPts val="200"/>
              </a:spcAft>
              <a:defRPr/>
            </a:lvl1pPr>
            <a:lvl2pPr>
              <a:spcAft>
                <a:spcPts val="200"/>
              </a:spcAft>
              <a:defRPr/>
            </a:lvl2pPr>
            <a:lvl3pPr>
              <a:spcAft>
                <a:spcPts val="200"/>
              </a:spcAft>
              <a:defRPr/>
            </a:lvl3pPr>
            <a:lvl4pPr>
              <a:spcAft>
                <a:spcPts val="200"/>
              </a:spcAft>
              <a:defRPr/>
            </a:lvl4pPr>
            <a:lvl5pPr>
              <a:spcAft>
                <a:spcPts val="200"/>
              </a:spcAft>
              <a:defRPr/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D59E7B93-87F4-B87D-5BF5-9B6054758A7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15938" y="1376362"/>
            <a:ext cx="3564000" cy="2808000"/>
          </a:xfrm>
          <a:prstGeom prst="roundRect">
            <a:avLst>
              <a:gd name="adj" fmla="val 5247"/>
            </a:avLst>
          </a:prstGeom>
          <a:solidFill>
            <a:schemeClr val="bg1">
              <a:lumMod val="75000"/>
            </a:schemeClr>
          </a:solidFill>
        </p:spPr>
        <p:txBody>
          <a:bodyPr wrap="square" lIns="72000" tIns="72000" rIns="72000" bIns="72000" anchor="b" anchorCtr="0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AF2F75E1-35E2-8732-5F2D-2DE90D1C9D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14001" y="4324350"/>
            <a:ext cx="3564000" cy="2020888"/>
          </a:xfrm>
        </p:spPr>
        <p:txBody>
          <a:bodyPr/>
          <a:lstStyle>
            <a:lvl1pPr>
              <a:spcAft>
                <a:spcPts val="200"/>
              </a:spcAft>
              <a:defRPr/>
            </a:lvl1pPr>
            <a:lvl2pPr>
              <a:spcAft>
                <a:spcPts val="200"/>
              </a:spcAft>
              <a:defRPr/>
            </a:lvl2pPr>
            <a:lvl3pPr>
              <a:spcAft>
                <a:spcPts val="200"/>
              </a:spcAft>
              <a:defRPr/>
            </a:lvl3pPr>
            <a:lvl4pPr>
              <a:spcAft>
                <a:spcPts val="200"/>
              </a:spcAft>
              <a:defRPr/>
            </a:lvl4pPr>
            <a:lvl5pPr>
              <a:spcAft>
                <a:spcPts val="200"/>
              </a:spcAft>
              <a:defRPr/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D845AF7A-44DA-5B67-EDB0-A9CC83B0C4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12064" y="4324350"/>
            <a:ext cx="3564000" cy="2020888"/>
          </a:xfrm>
        </p:spPr>
        <p:txBody>
          <a:bodyPr/>
          <a:lstStyle>
            <a:lvl1pPr>
              <a:spcAft>
                <a:spcPts val="200"/>
              </a:spcAft>
              <a:defRPr/>
            </a:lvl1pPr>
            <a:lvl2pPr>
              <a:spcAft>
                <a:spcPts val="200"/>
              </a:spcAft>
              <a:defRPr/>
            </a:lvl2pPr>
            <a:lvl3pPr>
              <a:spcAft>
                <a:spcPts val="200"/>
              </a:spcAft>
              <a:defRPr/>
            </a:lvl3pPr>
            <a:lvl4pPr>
              <a:spcAft>
                <a:spcPts val="200"/>
              </a:spcAft>
              <a:defRPr/>
            </a:lvl4pPr>
            <a:lvl5pPr>
              <a:spcAft>
                <a:spcPts val="200"/>
              </a:spcAft>
              <a:defRPr/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530AC9F5-EEBE-671C-1159-AB8180EE3B5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14001" y="1376362"/>
            <a:ext cx="3564000" cy="2808000"/>
          </a:xfrm>
          <a:prstGeom prst="roundRect">
            <a:avLst>
              <a:gd name="adj" fmla="val 5247"/>
            </a:avLst>
          </a:prstGeom>
          <a:solidFill>
            <a:schemeClr val="bg1">
              <a:lumMod val="75000"/>
            </a:schemeClr>
          </a:solidFill>
        </p:spPr>
        <p:txBody>
          <a:bodyPr wrap="square" lIns="72000" tIns="72000" rIns="72000" bIns="72000" anchor="b" anchorCtr="0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</a:p>
        </p:txBody>
      </p:sp>
      <p:sp>
        <p:nvSpPr>
          <p:cNvPr id="11" name="Bildplatzhalter 6">
            <a:extLst>
              <a:ext uri="{FF2B5EF4-FFF2-40B4-BE49-F238E27FC236}">
                <a16:creationId xmlns:a16="http://schemas.microsoft.com/office/drawing/2014/main" id="{68D03FEE-AC9C-684A-1B73-61AA20B112A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112064" y="1376362"/>
            <a:ext cx="3564000" cy="2808000"/>
          </a:xfrm>
          <a:prstGeom prst="roundRect">
            <a:avLst>
              <a:gd name="adj" fmla="val 5247"/>
            </a:avLst>
          </a:prstGeom>
          <a:solidFill>
            <a:schemeClr val="bg1">
              <a:lumMod val="75000"/>
            </a:schemeClr>
          </a:solidFill>
        </p:spPr>
        <p:txBody>
          <a:bodyPr wrap="square" lIns="72000" tIns="72000" rIns="72000" bIns="72000" anchor="b" anchorCtr="0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</a:p>
        </p:txBody>
      </p:sp>
    </p:spTree>
    <p:extLst>
      <p:ext uri="{BB962C8B-B14F-4D97-AF65-F5344CB8AC3E}">
        <p14:creationId xmlns:p14="http://schemas.microsoft.com/office/powerpoint/2010/main" val="359508271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8135BE-AA00-4C3D-A3F3-9A229C81CD5C}" type="datetime1">
              <a:rPr lang="de-DE" smtClean="0"/>
              <a:t>26.01.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4324350"/>
            <a:ext cx="2628000" cy="2020888"/>
          </a:xfrm>
        </p:spPr>
        <p:txBody>
          <a:bodyPr/>
          <a:lstStyle>
            <a:lvl1pPr>
              <a:spcAft>
                <a:spcPts val="200"/>
              </a:spcAft>
              <a:defRPr/>
            </a:lvl1pPr>
            <a:lvl2pPr>
              <a:spcAft>
                <a:spcPts val="200"/>
              </a:spcAft>
              <a:defRPr/>
            </a:lvl2pPr>
            <a:lvl3pPr>
              <a:spcAft>
                <a:spcPts val="200"/>
              </a:spcAft>
              <a:defRPr/>
            </a:lvl3pPr>
            <a:lvl4pPr>
              <a:spcAft>
                <a:spcPts val="200"/>
              </a:spcAft>
              <a:defRPr/>
            </a:lvl4pPr>
            <a:lvl5pPr>
              <a:spcAft>
                <a:spcPts val="200"/>
              </a:spcAft>
              <a:defRPr/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AF2F75E1-35E2-8732-5F2D-2DE90D1C9D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59979" y="4324350"/>
            <a:ext cx="2628000" cy="2020888"/>
          </a:xfrm>
        </p:spPr>
        <p:txBody>
          <a:bodyPr/>
          <a:lstStyle>
            <a:lvl1pPr>
              <a:spcAft>
                <a:spcPts val="200"/>
              </a:spcAft>
              <a:defRPr/>
            </a:lvl1pPr>
            <a:lvl2pPr>
              <a:spcAft>
                <a:spcPts val="200"/>
              </a:spcAft>
              <a:defRPr/>
            </a:lvl2pPr>
            <a:lvl3pPr>
              <a:spcAft>
                <a:spcPts val="200"/>
              </a:spcAft>
              <a:defRPr/>
            </a:lvl3pPr>
            <a:lvl4pPr>
              <a:spcAft>
                <a:spcPts val="200"/>
              </a:spcAft>
              <a:defRPr/>
            </a:lvl4pPr>
            <a:lvl5pPr>
              <a:spcAft>
                <a:spcPts val="200"/>
              </a:spcAft>
              <a:defRPr/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D845AF7A-44DA-5B67-EDB0-A9CC83B0C4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04020" y="4324350"/>
            <a:ext cx="2628000" cy="2020888"/>
          </a:xfrm>
        </p:spPr>
        <p:txBody>
          <a:bodyPr/>
          <a:lstStyle>
            <a:lvl1pPr>
              <a:spcAft>
                <a:spcPts val="200"/>
              </a:spcAft>
              <a:defRPr/>
            </a:lvl1pPr>
            <a:lvl2pPr>
              <a:spcAft>
                <a:spcPts val="200"/>
              </a:spcAft>
              <a:defRPr/>
            </a:lvl2pPr>
            <a:lvl3pPr>
              <a:spcAft>
                <a:spcPts val="200"/>
              </a:spcAft>
              <a:defRPr/>
            </a:lvl3pPr>
            <a:lvl4pPr>
              <a:spcAft>
                <a:spcPts val="200"/>
              </a:spcAft>
              <a:defRPr/>
            </a:lvl4pPr>
            <a:lvl5pPr>
              <a:spcAft>
                <a:spcPts val="200"/>
              </a:spcAft>
              <a:defRPr/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A3CFA9BC-806E-F0DF-76E7-A790C5A6D99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48062" y="4324350"/>
            <a:ext cx="2628000" cy="2020888"/>
          </a:xfrm>
        </p:spPr>
        <p:txBody>
          <a:bodyPr/>
          <a:lstStyle>
            <a:lvl1pPr>
              <a:spcAft>
                <a:spcPts val="200"/>
              </a:spcAft>
              <a:defRPr/>
            </a:lvl1pPr>
            <a:lvl2pPr>
              <a:spcAft>
                <a:spcPts val="200"/>
              </a:spcAft>
              <a:defRPr/>
            </a:lvl2pPr>
            <a:lvl3pPr>
              <a:spcAft>
                <a:spcPts val="200"/>
              </a:spcAft>
              <a:defRPr/>
            </a:lvl3pPr>
            <a:lvl4pPr>
              <a:spcAft>
                <a:spcPts val="200"/>
              </a:spcAft>
              <a:defRPr/>
            </a:lvl4pPr>
            <a:lvl5pPr>
              <a:spcAft>
                <a:spcPts val="200"/>
              </a:spcAft>
              <a:defRPr/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13" name="Bildplatzhalter 6">
            <a:extLst>
              <a:ext uri="{FF2B5EF4-FFF2-40B4-BE49-F238E27FC236}">
                <a16:creationId xmlns:a16="http://schemas.microsoft.com/office/drawing/2014/main" id="{1B90849C-0499-DFD6-5B5D-6C7A966E53E5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515938" y="1376362"/>
            <a:ext cx="2627999" cy="2808000"/>
          </a:xfrm>
          <a:prstGeom prst="roundRect">
            <a:avLst>
              <a:gd name="adj" fmla="val 5609"/>
            </a:avLst>
          </a:prstGeom>
          <a:solidFill>
            <a:schemeClr val="bg1">
              <a:lumMod val="75000"/>
            </a:schemeClr>
          </a:solidFill>
        </p:spPr>
        <p:txBody>
          <a:bodyPr wrap="square" lIns="72000" tIns="72000" rIns="72000" bIns="72000" anchor="b" anchorCtr="0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</a:p>
        </p:txBody>
      </p:sp>
      <p:sp>
        <p:nvSpPr>
          <p:cNvPr id="17" name="Bildplatzhalter 6">
            <a:extLst>
              <a:ext uri="{FF2B5EF4-FFF2-40B4-BE49-F238E27FC236}">
                <a16:creationId xmlns:a16="http://schemas.microsoft.com/office/drawing/2014/main" id="{75FCA175-DD53-E408-EC4C-4A46150284DC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359979" y="1376362"/>
            <a:ext cx="2627999" cy="2808000"/>
          </a:xfrm>
          <a:prstGeom prst="roundRect">
            <a:avLst>
              <a:gd name="adj" fmla="val 5609"/>
            </a:avLst>
          </a:prstGeom>
          <a:solidFill>
            <a:schemeClr val="bg1">
              <a:lumMod val="75000"/>
            </a:schemeClr>
          </a:solidFill>
        </p:spPr>
        <p:txBody>
          <a:bodyPr wrap="square" lIns="72000" tIns="72000" rIns="72000" bIns="72000" anchor="b" anchorCtr="0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</a:p>
        </p:txBody>
      </p:sp>
      <p:sp>
        <p:nvSpPr>
          <p:cNvPr id="18" name="Bildplatzhalter 6">
            <a:extLst>
              <a:ext uri="{FF2B5EF4-FFF2-40B4-BE49-F238E27FC236}">
                <a16:creationId xmlns:a16="http://schemas.microsoft.com/office/drawing/2014/main" id="{37012A2C-45E5-F3F0-80D4-0C5A1CA60B5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204020" y="1376362"/>
            <a:ext cx="2627999" cy="2808000"/>
          </a:xfrm>
          <a:prstGeom prst="roundRect">
            <a:avLst>
              <a:gd name="adj" fmla="val 5609"/>
            </a:avLst>
          </a:prstGeom>
          <a:solidFill>
            <a:schemeClr val="bg1">
              <a:lumMod val="75000"/>
            </a:schemeClr>
          </a:solidFill>
        </p:spPr>
        <p:txBody>
          <a:bodyPr wrap="square" lIns="72000" tIns="72000" rIns="72000" bIns="72000" anchor="b" anchorCtr="0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</a:p>
        </p:txBody>
      </p:sp>
      <p:sp>
        <p:nvSpPr>
          <p:cNvPr id="19" name="Bildplatzhalter 6">
            <a:extLst>
              <a:ext uri="{FF2B5EF4-FFF2-40B4-BE49-F238E27FC236}">
                <a16:creationId xmlns:a16="http://schemas.microsoft.com/office/drawing/2014/main" id="{2BAC117D-09E5-9074-DDED-5357FB65A18A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9048064" y="1376362"/>
            <a:ext cx="2627999" cy="2808000"/>
          </a:xfrm>
          <a:prstGeom prst="roundRect">
            <a:avLst>
              <a:gd name="adj" fmla="val 5609"/>
            </a:avLst>
          </a:prstGeom>
          <a:solidFill>
            <a:schemeClr val="bg1">
              <a:lumMod val="75000"/>
            </a:schemeClr>
          </a:solidFill>
        </p:spPr>
        <p:txBody>
          <a:bodyPr wrap="square" lIns="72000" tIns="72000" rIns="72000" bIns="72000" anchor="b" anchorCtr="0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</a:p>
        </p:txBody>
      </p:sp>
    </p:spTree>
    <p:extLst>
      <p:ext uri="{BB962C8B-B14F-4D97-AF65-F5344CB8AC3E}">
        <p14:creationId xmlns:p14="http://schemas.microsoft.com/office/powerpoint/2010/main" val="110408830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DEFD56-659E-4DF1-A1AD-80A78A52524E}" type="datetime1">
              <a:rPr lang="de-DE" smtClean="0"/>
              <a:t>26.01.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2241550"/>
            <a:ext cx="5472110" cy="41036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</a:p>
        </p:txBody>
      </p:sp>
      <p:sp>
        <p:nvSpPr>
          <p:cNvPr id="7" name="Diagrammplatzhalter 6">
            <a:extLst>
              <a:ext uri="{FF2B5EF4-FFF2-40B4-BE49-F238E27FC236}">
                <a16:creationId xmlns:a16="http://schemas.microsoft.com/office/drawing/2014/main" id="{EED96E30-58A9-71CA-8ED9-3B505FD99B2B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6203953" y="2241550"/>
            <a:ext cx="5472109" cy="390779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Add diagram by clicking on symbo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022E179-20CB-DC56-C7B5-1E365ED04F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03949" y="6149340"/>
            <a:ext cx="5472113" cy="210186"/>
          </a:xfrm>
        </p:spPr>
        <p:txBody>
          <a:bodyPr anchor="b"/>
          <a:lstStyle>
            <a:lvl1pPr marL="0" indent="0" algn="ctr">
              <a:spcAft>
                <a:spcPts val="0"/>
              </a:spcAft>
              <a:buNone/>
              <a:defRPr sz="700"/>
            </a:lvl1pPr>
            <a:lvl2pPr>
              <a:spcAft>
                <a:spcPts val="0"/>
              </a:spcAft>
              <a:defRPr sz="1200"/>
            </a:lvl2pPr>
            <a:lvl3pPr>
              <a:spcAft>
                <a:spcPts val="0"/>
              </a:spcAft>
              <a:defRPr sz="1200"/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de-DE"/>
              <a:t>Caption</a:t>
            </a:r>
          </a:p>
        </p:txBody>
      </p:sp>
    </p:spTree>
    <p:extLst>
      <p:ext uri="{BB962C8B-B14F-4D97-AF65-F5344CB8AC3E}">
        <p14:creationId xmlns:p14="http://schemas.microsoft.com/office/powerpoint/2010/main" val="158586600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dia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F28EE-198D-4850-B6E8-A5DD89B981CA}" type="datetime1">
              <a:rPr lang="de-DE" smtClean="0"/>
              <a:t>26.01.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#›</a:t>
            </a:fld>
            <a:endParaRPr lang="en-GB"/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</a:p>
        </p:txBody>
      </p:sp>
      <p:sp>
        <p:nvSpPr>
          <p:cNvPr id="7" name="Diagrammplatzhalter 6">
            <a:extLst>
              <a:ext uri="{FF2B5EF4-FFF2-40B4-BE49-F238E27FC236}">
                <a16:creationId xmlns:a16="http://schemas.microsoft.com/office/drawing/2014/main" id="{EED96E30-58A9-71CA-8ED9-3B505FD99B2B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6203953" y="2241550"/>
            <a:ext cx="5472109" cy="390779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Add diagram by clicking on symbo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022E179-20CB-DC56-C7B5-1E365ED04F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03949" y="6149340"/>
            <a:ext cx="5472113" cy="210186"/>
          </a:xfrm>
        </p:spPr>
        <p:txBody>
          <a:bodyPr anchor="b"/>
          <a:lstStyle>
            <a:lvl1pPr marL="0" indent="0" algn="ctr">
              <a:spcAft>
                <a:spcPts val="0"/>
              </a:spcAft>
              <a:buNone/>
              <a:defRPr sz="700"/>
            </a:lvl1pPr>
            <a:lvl2pPr>
              <a:spcAft>
                <a:spcPts val="0"/>
              </a:spcAft>
              <a:defRPr sz="1200"/>
            </a:lvl2pPr>
            <a:lvl3pPr>
              <a:spcAft>
                <a:spcPts val="0"/>
              </a:spcAft>
              <a:defRPr sz="1200"/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de-DE"/>
              <a:t>Caption</a:t>
            </a:r>
          </a:p>
        </p:txBody>
      </p:sp>
      <p:sp>
        <p:nvSpPr>
          <p:cNvPr id="3" name="Diagrammplatzhalter 6">
            <a:extLst>
              <a:ext uri="{FF2B5EF4-FFF2-40B4-BE49-F238E27FC236}">
                <a16:creationId xmlns:a16="http://schemas.microsoft.com/office/drawing/2014/main" id="{69CE1E29-E132-7375-3C58-1F528CDF3C48}"/>
              </a:ext>
            </a:extLst>
          </p:cNvPr>
          <p:cNvSpPr>
            <a:spLocks noGrp="1"/>
          </p:cNvSpPr>
          <p:nvPr>
            <p:ph type="chart" sz="quarter" idx="18" hasCustomPrompt="1"/>
          </p:nvPr>
        </p:nvSpPr>
        <p:spPr>
          <a:xfrm>
            <a:off x="515942" y="2241550"/>
            <a:ext cx="5472109" cy="390779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Add diagram by clicking on symbol</a:t>
            </a:r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8A72BB8B-F176-96AA-F830-056601A62AA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15938" y="6149340"/>
            <a:ext cx="5472113" cy="210186"/>
          </a:xfrm>
        </p:spPr>
        <p:txBody>
          <a:bodyPr anchor="b"/>
          <a:lstStyle>
            <a:lvl1pPr marL="0" indent="0" algn="ctr">
              <a:spcAft>
                <a:spcPts val="0"/>
              </a:spcAft>
              <a:buNone/>
              <a:defRPr sz="700"/>
            </a:lvl1pPr>
            <a:lvl2pPr>
              <a:spcAft>
                <a:spcPts val="0"/>
              </a:spcAft>
              <a:defRPr sz="1200"/>
            </a:lvl2pPr>
            <a:lvl3pPr>
              <a:spcAft>
                <a:spcPts val="0"/>
              </a:spcAft>
              <a:defRPr sz="1200"/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de-DE"/>
              <a:t>Caption</a:t>
            </a:r>
          </a:p>
        </p:txBody>
      </p:sp>
    </p:spTree>
    <p:extLst>
      <p:ext uri="{BB962C8B-B14F-4D97-AF65-F5344CB8AC3E}">
        <p14:creationId xmlns:p14="http://schemas.microsoft.com/office/powerpoint/2010/main" val="186074211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 text and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CF7D7-8F52-4061-AD9A-1A0C2C017C11}" type="datetime1">
              <a:rPr lang="de-DE" smtClean="0"/>
              <a:t>26.01.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#›</a:t>
            </a:fld>
            <a:endParaRPr lang="en-GB"/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</a:p>
        </p:txBody>
      </p:sp>
      <p:sp>
        <p:nvSpPr>
          <p:cNvPr id="7" name="Diagrammplatzhalter 6">
            <a:extLst>
              <a:ext uri="{FF2B5EF4-FFF2-40B4-BE49-F238E27FC236}">
                <a16:creationId xmlns:a16="http://schemas.microsoft.com/office/drawing/2014/main" id="{EED96E30-58A9-71CA-8ED9-3B505FD99B2B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515937" y="2781300"/>
            <a:ext cx="11160126" cy="336804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Add diagram by clicking on symbo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022E179-20CB-DC56-C7B5-1E365ED04F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29" y="6149340"/>
            <a:ext cx="11160134" cy="210186"/>
          </a:xfrm>
        </p:spPr>
        <p:txBody>
          <a:bodyPr anchor="b"/>
          <a:lstStyle>
            <a:lvl1pPr marL="0" indent="0" algn="ctr">
              <a:spcAft>
                <a:spcPts val="0"/>
              </a:spcAft>
              <a:buNone/>
              <a:defRPr sz="700"/>
            </a:lvl1pPr>
            <a:lvl2pPr>
              <a:spcAft>
                <a:spcPts val="0"/>
              </a:spcAft>
              <a:defRPr sz="1200"/>
            </a:lvl2pPr>
            <a:lvl3pPr>
              <a:spcAft>
                <a:spcPts val="0"/>
              </a:spcAft>
              <a:defRPr sz="1200"/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de-DE"/>
              <a:t>Caption</a:t>
            </a:r>
          </a:p>
        </p:txBody>
      </p:sp>
      <p:sp>
        <p:nvSpPr>
          <p:cNvPr id="3" name="Textplatzhalter 11">
            <a:extLst>
              <a:ext uri="{FF2B5EF4-FFF2-40B4-BE49-F238E27FC236}">
                <a16:creationId xmlns:a16="http://schemas.microsoft.com/office/drawing/2014/main" id="{966390F2-C6C1-B6A7-D976-EBC435E22A0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5937" y="1743076"/>
            <a:ext cx="11160125" cy="85725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416075181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 text and diagram on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F06E089-4F05-43DC-922B-95DFB8ED8F16}" type="datetime1">
              <a:rPr lang="de-DE" smtClean="0"/>
              <a:t>26.01.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</a:p>
        </p:txBody>
      </p:sp>
      <p:sp>
        <p:nvSpPr>
          <p:cNvPr id="7" name="Diagrammplatzhalter 6">
            <a:extLst>
              <a:ext uri="{FF2B5EF4-FFF2-40B4-BE49-F238E27FC236}">
                <a16:creationId xmlns:a16="http://schemas.microsoft.com/office/drawing/2014/main" id="{EED96E30-58A9-71CA-8ED9-3B505FD99B2B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515937" y="2781300"/>
            <a:ext cx="11160126" cy="336804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dd diagram by clicking on symbo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022E179-20CB-DC56-C7B5-1E365ED04F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29" y="6149340"/>
            <a:ext cx="11160134" cy="210186"/>
          </a:xfrm>
        </p:spPr>
        <p:txBody>
          <a:bodyPr anchor="b"/>
          <a:lstStyle>
            <a:lvl1pPr marL="0" indent="0" algn="ctr"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1200"/>
            </a:lvl2pPr>
            <a:lvl3pPr>
              <a:spcAft>
                <a:spcPts val="0"/>
              </a:spcAft>
              <a:defRPr sz="1200"/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de-DE"/>
              <a:t>Caption</a:t>
            </a:r>
          </a:p>
        </p:txBody>
      </p:sp>
      <p:sp>
        <p:nvSpPr>
          <p:cNvPr id="3" name="Textplatzhalter 11">
            <a:extLst>
              <a:ext uri="{FF2B5EF4-FFF2-40B4-BE49-F238E27FC236}">
                <a16:creationId xmlns:a16="http://schemas.microsoft.com/office/drawing/2014/main" id="{966390F2-C6C1-B6A7-D976-EBC435E22A0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5937" y="1743076"/>
            <a:ext cx="11160125" cy="857250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6DE164ED-9A25-4668-B131-052B327752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8579" y="6423258"/>
            <a:ext cx="562147" cy="267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938727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AF92C-9BCF-406F-BDB0-E269A9E791BD}" type="datetime1">
              <a:rPr lang="de-DE" smtClean="0"/>
              <a:t>26.01.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2241550"/>
            <a:ext cx="5472110" cy="41036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</a:p>
        </p:txBody>
      </p:sp>
      <p:sp>
        <p:nvSpPr>
          <p:cNvPr id="8" name="Tabellenplatzhalter 7">
            <a:extLst>
              <a:ext uri="{FF2B5EF4-FFF2-40B4-BE49-F238E27FC236}">
                <a16:creationId xmlns:a16="http://schemas.microsoft.com/office/drawing/2014/main" id="{4377F723-D7D0-EAC4-253E-03A4815F6B68}"/>
              </a:ext>
            </a:extLst>
          </p:cNvPr>
          <p:cNvSpPr>
            <a:spLocks noGrp="1"/>
          </p:cNvSpPr>
          <p:nvPr>
            <p:ph type="tbl" sz="quarter" idx="17" hasCustomPrompt="1"/>
          </p:nvPr>
        </p:nvSpPr>
        <p:spPr>
          <a:xfrm>
            <a:off x="6203950" y="2241550"/>
            <a:ext cx="5472113" cy="410368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table by clicking on symbol</a:t>
            </a:r>
          </a:p>
        </p:txBody>
      </p:sp>
    </p:spTree>
    <p:extLst>
      <p:ext uri="{BB962C8B-B14F-4D97-AF65-F5344CB8AC3E}">
        <p14:creationId xmlns:p14="http://schemas.microsoft.com/office/powerpoint/2010/main" val="251375622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 text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59F31-B88A-4B4B-8F86-090148DD16A7}" type="datetime1">
              <a:rPr lang="de-DE" smtClean="0"/>
              <a:t>26.01.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7" y="1743076"/>
            <a:ext cx="11160125" cy="85725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</a:p>
        </p:txBody>
      </p:sp>
      <p:sp>
        <p:nvSpPr>
          <p:cNvPr id="8" name="Tabellenplatzhalter 7">
            <a:extLst>
              <a:ext uri="{FF2B5EF4-FFF2-40B4-BE49-F238E27FC236}">
                <a16:creationId xmlns:a16="http://schemas.microsoft.com/office/drawing/2014/main" id="{4377F723-D7D0-EAC4-253E-03A4815F6B68}"/>
              </a:ext>
            </a:extLst>
          </p:cNvPr>
          <p:cNvSpPr>
            <a:spLocks noGrp="1"/>
          </p:cNvSpPr>
          <p:nvPr>
            <p:ph type="tbl" sz="quarter" idx="17" hasCustomPrompt="1"/>
          </p:nvPr>
        </p:nvSpPr>
        <p:spPr>
          <a:xfrm>
            <a:off x="515938" y="2781300"/>
            <a:ext cx="11160126" cy="356393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table by clicking on symbol</a:t>
            </a:r>
          </a:p>
        </p:txBody>
      </p:sp>
    </p:spTree>
    <p:extLst>
      <p:ext uri="{BB962C8B-B14F-4D97-AF65-F5344CB8AC3E}">
        <p14:creationId xmlns:p14="http://schemas.microsoft.com/office/powerpoint/2010/main" val="28021308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006EAC-E5DE-9A83-860B-70B865E7B8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Headli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C455C7F-7AC9-2B57-7274-49FAB72317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967A9A-4820-4108-A525-BE15FAAF2D10}" type="datetime1">
              <a:rPr lang="de-DE" smtClean="0"/>
              <a:t>26.01.2024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CB80B6E-01DC-6B1E-79E5-38BB6E5DDD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D9337BC-2D66-80F8-C149-669BBBAEE7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#›</a:t>
            </a:fld>
            <a:endParaRPr lang="en-GB"/>
          </a:p>
        </p:txBody>
      </p:sp>
      <p:sp>
        <p:nvSpPr>
          <p:cNvPr id="6" name="Textplatzhalter 10">
            <a:extLst>
              <a:ext uri="{FF2B5EF4-FFF2-40B4-BE49-F238E27FC236}">
                <a16:creationId xmlns:a16="http://schemas.microsoft.com/office/drawing/2014/main" id="{92DA578A-F131-0318-926B-74765F5F76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</a:p>
        </p:txBody>
      </p:sp>
    </p:spTree>
    <p:extLst>
      <p:ext uri="{BB962C8B-B14F-4D97-AF65-F5344CB8AC3E}">
        <p14:creationId xmlns:p14="http://schemas.microsoft.com/office/powerpoint/2010/main" val="4776843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 with image +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065A178D-08CB-9453-06B7-0C7BC29FA7F7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4E3166E-39E3-09B6-B1B6-3EE77C80490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5938" y="3829049"/>
            <a:ext cx="5022714" cy="1571626"/>
          </a:xfrm>
        </p:spPr>
        <p:txBody>
          <a:bodyPr anchor="t"/>
          <a:lstStyle>
            <a:lvl1pPr algn="l">
              <a:defRPr sz="5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Title of presentati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40A2384-9864-74FC-45AD-C2FB6D3EB4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5938" y="3428999"/>
            <a:ext cx="5022713" cy="254727"/>
          </a:xfrm>
        </p:spPr>
        <p:txBody>
          <a:bodyPr wrap="none" anchor="b"/>
          <a:lstStyle>
            <a:lvl1pPr marL="0" indent="0" algn="l">
              <a:spcAft>
                <a:spcPts val="0"/>
              </a:spcAft>
              <a:buNone/>
              <a:defRPr sz="1200" cap="all" spc="50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Optional topline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8011D2C7-9761-D25D-5D65-69F3A9F033E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5936" y="5769829"/>
            <a:ext cx="5022713" cy="254727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  <a:latin typeface="+mn-lt"/>
                <a:ea typeface="Inter Medium" panose="02000503000000020004" pitchFamily="2" charset="0"/>
              </a:defRPr>
            </a:lvl1pPr>
          </a:lstStyle>
          <a:p>
            <a:pPr algn="l"/>
            <a:fld id="{30EB4750-7208-4491-8129-A9C8E7EA90C9}" type="datetime1">
              <a:rPr lang="de-DE" smtClean="0"/>
              <a:t>26.01.2024</a:t>
            </a:fld>
            <a:endParaRPr lang="en-GB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1AC5B05-E1E7-496A-9493-44909AC3645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6" y="5545998"/>
            <a:ext cx="5022713" cy="211925"/>
          </a:xfrm>
        </p:spPr>
        <p:txBody>
          <a:bodyPr anchor="b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  <a:latin typeface="+mn-lt"/>
                <a:ea typeface="Inter Medium" panose="02000503000000020004" pitchFamily="2" charset="0"/>
              </a:defRPr>
            </a:lvl1pPr>
          </a:lstStyle>
          <a:p>
            <a:pPr lvl="0"/>
            <a:r>
              <a:rPr lang="en-GB"/>
              <a:t>Author Name Surname</a:t>
            </a:r>
          </a:p>
        </p:txBody>
      </p:sp>
      <p:sp>
        <p:nvSpPr>
          <p:cNvPr id="13" name="Grafik 4">
            <a:extLst>
              <a:ext uri="{FF2B5EF4-FFF2-40B4-BE49-F238E27FC236}">
                <a16:creationId xmlns:a16="http://schemas.microsoft.com/office/drawing/2014/main" id="{57CEDD97-4111-11FA-FCA3-D766D00B3219}"/>
              </a:ext>
            </a:extLst>
          </p:cNvPr>
          <p:cNvSpPr/>
          <p:nvPr userDrawn="1"/>
        </p:nvSpPr>
        <p:spPr>
          <a:xfrm>
            <a:off x="0" y="1"/>
            <a:ext cx="11966894" cy="6246951"/>
          </a:xfrm>
          <a:custGeom>
            <a:avLst/>
            <a:gdLst>
              <a:gd name="connsiteX0" fmla="*/ 10754594 w 11966894"/>
              <a:gd name="connsiteY0" fmla="*/ 6246952 h 6246951"/>
              <a:gd name="connsiteX1" fmla="*/ 0 w 11966894"/>
              <a:gd name="connsiteY1" fmla="*/ 6246952 h 6246951"/>
              <a:gd name="connsiteX2" fmla="*/ 0 w 11966894"/>
              <a:gd name="connsiteY2" fmla="*/ 6208865 h 6246951"/>
              <a:gd name="connsiteX3" fmla="*/ 10754594 w 11966894"/>
              <a:gd name="connsiteY3" fmla="*/ 6208865 h 6246951"/>
              <a:gd name="connsiteX4" fmla="*/ 11928819 w 11966894"/>
              <a:gd name="connsiteY4" fmla="*/ 5033058 h 6246951"/>
              <a:gd name="connsiteX5" fmla="*/ 11928819 w 11966894"/>
              <a:gd name="connsiteY5" fmla="*/ 0 h 6246951"/>
              <a:gd name="connsiteX6" fmla="*/ 11966894 w 11966894"/>
              <a:gd name="connsiteY6" fmla="*/ 0 h 6246951"/>
              <a:gd name="connsiteX7" fmla="*/ 11966894 w 11966894"/>
              <a:gd name="connsiteY7" fmla="*/ 5033058 h 6246951"/>
              <a:gd name="connsiteX8" fmla="*/ 10754594 w 11966894"/>
              <a:gd name="connsiteY8" fmla="*/ 6246952 h 62469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966894" h="6246951">
                <a:moveTo>
                  <a:pt x="10754594" y="6246952"/>
                </a:moveTo>
                <a:lnTo>
                  <a:pt x="0" y="6246952"/>
                </a:lnTo>
                <a:lnTo>
                  <a:pt x="0" y="6208865"/>
                </a:lnTo>
                <a:lnTo>
                  <a:pt x="10754594" y="6208865"/>
                </a:lnTo>
                <a:cubicBezTo>
                  <a:pt x="11402068" y="6208865"/>
                  <a:pt x="11928819" y="5681392"/>
                  <a:pt x="11928819" y="5033058"/>
                </a:cubicBezTo>
                <a:lnTo>
                  <a:pt x="11928819" y="0"/>
                </a:lnTo>
                <a:lnTo>
                  <a:pt x="11966894" y="0"/>
                </a:lnTo>
                <a:lnTo>
                  <a:pt x="11966894" y="5033058"/>
                </a:lnTo>
                <a:cubicBezTo>
                  <a:pt x="11966894" y="5702403"/>
                  <a:pt x="11423059" y="6246952"/>
                  <a:pt x="10754594" y="6246952"/>
                </a:cubicBezTo>
                <a:close/>
              </a:path>
            </a:pathLst>
          </a:custGeom>
          <a:solidFill>
            <a:schemeClr val="bg1"/>
          </a:solidFill>
          <a:ln w="1268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4" name="Bildplatzhalter 5">
            <a:extLst>
              <a:ext uri="{FF2B5EF4-FFF2-40B4-BE49-F238E27FC236}">
                <a16:creationId xmlns:a16="http://schemas.microsoft.com/office/drawing/2014/main" id="{30537E7A-CA3C-4559-CCF8-29FAF9E6BF1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096000" y="-1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0 w 6096000"/>
              <a:gd name="connsiteY3" fmla="*/ 6858000 h 6858000"/>
              <a:gd name="connsiteX4" fmla="*/ 0 w 6096000"/>
              <a:gd name="connsiteY4" fmla="*/ 6246953 h 6858000"/>
              <a:gd name="connsiteX5" fmla="*/ 4658594 w 6096000"/>
              <a:gd name="connsiteY5" fmla="*/ 6246953 h 6858000"/>
              <a:gd name="connsiteX6" fmla="*/ 5870894 w 6096000"/>
              <a:gd name="connsiteY6" fmla="*/ 5033059 h 6858000"/>
              <a:gd name="connsiteX7" fmla="*/ 5870894 w 6096000"/>
              <a:gd name="connsiteY7" fmla="*/ 1 h 6858000"/>
              <a:gd name="connsiteX8" fmla="*/ 5832819 w 6096000"/>
              <a:gd name="connsiteY8" fmla="*/ 1 h 6858000"/>
              <a:gd name="connsiteX9" fmla="*/ 5832819 w 6096000"/>
              <a:gd name="connsiteY9" fmla="*/ 5033059 h 6858000"/>
              <a:gd name="connsiteX10" fmla="*/ 4658594 w 6096000"/>
              <a:gd name="connsiteY10" fmla="*/ 6208866 h 6858000"/>
              <a:gd name="connsiteX11" fmla="*/ 0 w 6096000"/>
              <a:gd name="connsiteY11" fmla="*/ 620886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0" y="6858000"/>
                </a:lnTo>
                <a:lnTo>
                  <a:pt x="0" y="6246953"/>
                </a:lnTo>
                <a:lnTo>
                  <a:pt x="4658594" y="6246953"/>
                </a:lnTo>
                <a:cubicBezTo>
                  <a:pt x="5327059" y="6246953"/>
                  <a:pt x="5870894" y="5702404"/>
                  <a:pt x="5870894" y="5033059"/>
                </a:cubicBezTo>
                <a:lnTo>
                  <a:pt x="5870894" y="1"/>
                </a:lnTo>
                <a:lnTo>
                  <a:pt x="5832819" y="1"/>
                </a:lnTo>
                <a:lnTo>
                  <a:pt x="5832819" y="5033059"/>
                </a:lnTo>
                <a:cubicBezTo>
                  <a:pt x="5832819" y="5681393"/>
                  <a:pt x="5306068" y="6208866"/>
                  <a:pt x="4658594" y="6208866"/>
                </a:cubicBezTo>
                <a:lnTo>
                  <a:pt x="0" y="620886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lIns="72000" tIns="72000" rIns="72000" bIns="72000" anchor="ctr" anchorCtr="0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E2FD49D0-5C18-4AB8-80A9-3BF0A3F55C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25500" y="1171218"/>
            <a:ext cx="1740248" cy="829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01194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91D0E66-8657-12F6-BA2C-ACED9AC565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AA820F-A018-4ECE-A766-064E17649808}" type="datetime1">
              <a:rPr lang="de-DE" smtClean="0"/>
              <a:t>26.01.2024</a:t>
            </a:fld>
            <a:endParaRPr lang="en-GB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D0E9382-4E0A-4671-91DD-123712B036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C427CE1-416A-C38F-D0F8-0E3C01513A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883416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tro page on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006EAC-E5DE-9A83-860B-70B865E7B8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7" y="3825240"/>
            <a:ext cx="11160125" cy="1021080"/>
          </a:xfrm>
        </p:spPr>
        <p:txBody>
          <a:bodyPr anchor="t"/>
          <a:lstStyle>
            <a:lvl1pPr>
              <a:defRPr sz="5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Thank you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41FFF01-E3C4-E50B-C56E-6A7ACD6F020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8" y="5463540"/>
            <a:ext cx="11160124" cy="297815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uthor Name Surname</a:t>
            </a:r>
          </a:p>
        </p:txBody>
      </p:sp>
      <p:sp>
        <p:nvSpPr>
          <p:cNvPr id="3" name="Textplatzhalter 9">
            <a:extLst>
              <a:ext uri="{FF2B5EF4-FFF2-40B4-BE49-F238E27FC236}">
                <a16:creationId xmlns:a16="http://schemas.microsoft.com/office/drawing/2014/main" id="{031A04DC-8AA1-DEEF-753E-E93960DD5D1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8" y="5783351"/>
            <a:ext cx="11160124" cy="297815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  <a:latin typeface="+mn-lt"/>
                <a:ea typeface="Inter Medium" panose="02000503000000020004" pitchFamily="2" charset="0"/>
              </a:defRPr>
            </a:lvl1pPr>
          </a:lstStyle>
          <a:p>
            <a:pPr lvl="0"/>
            <a:r>
              <a:rPr lang="en-GB"/>
              <a:t>Contact Details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25C6020C-104C-4E6C-BA8C-B88CB0A59F4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25505" y="1171218"/>
            <a:ext cx="1740248" cy="829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68708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tro page with imag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>
            <a:extLst>
              <a:ext uri="{FF2B5EF4-FFF2-40B4-BE49-F238E27FC236}">
                <a16:creationId xmlns:a16="http://schemas.microsoft.com/office/drawing/2014/main" id="{F1A105E9-3847-68BE-C9E3-1E12D73800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85006EAC-E5DE-9A83-860B-70B865E7B8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7" y="3825240"/>
            <a:ext cx="11160125" cy="1021080"/>
          </a:xfrm>
        </p:spPr>
        <p:txBody>
          <a:bodyPr anchor="t"/>
          <a:lstStyle>
            <a:lvl1pPr>
              <a:defRPr sz="50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/>
              <a:t>Thank you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41FFF01-E3C4-E50B-C56E-6A7ACD6F020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8" y="5463540"/>
            <a:ext cx="11160124" cy="297815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</a:defRPr>
            </a:lvl1pPr>
          </a:lstStyle>
          <a:p>
            <a:pPr lvl="0"/>
            <a:r>
              <a:rPr lang="en-GB"/>
              <a:t>Author Name Surname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9D9A330B-18B0-57E4-83B1-F0D9C5D48C6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25505" y="1171218"/>
            <a:ext cx="1740248" cy="829417"/>
          </a:xfrm>
          <a:prstGeom prst="rect">
            <a:avLst/>
          </a:prstGeom>
        </p:spPr>
      </p:pic>
      <p:sp>
        <p:nvSpPr>
          <p:cNvPr id="6" name="Textplatzhalter 9">
            <a:extLst>
              <a:ext uri="{FF2B5EF4-FFF2-40B4-BE49-F238E27FC236}">
                <a16:creationId xmlns:a16="http://schemas.microsoft.com/office/drawing/2014/main" id="{11CB8862-93EB-4E77-6FBE-92DFF7B0CC4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8" y="5783351"/>
            <a:ext cx="11160124" cy="297815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</a:defRPr>
            </a:lvl1pPr>
          </a:lstStyle>
          <a:p>
            <a:pPr lvl="0"/>
            <a:r>
              <a:rPr lang="en-GB"/>
              <a:t>Contact Details</a:t>
            </a:r>
          </a:p>
        </p:txBody>
      </p:sp>
    </p:spTree>
    <p:extLst>
      <p:ext uri="{BB962C8B-B14F-4D97-AF65-F5344CB8AC3E}">
        <p14:creationId xmlns:p14="http://schemas.microsoft.com/office/powerpoint/2010/main" val="230633096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_Copy text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F1D404-4A4A-4687-A134-39971EBA10AA}" type="datetime1">
              <a:rPr lang="de-DE" smtClean="0"/>
              <a:t>26.01.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#›</a:t>
            </a:fld>
            <a:endParaRPr lang="en-GB"/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BC710AA-4360-506A-3D97-5A8F85A6F0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5938" y="1390651"/>
            <a:ext cx="11160125" cy="49545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45486545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_Copy text on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F1417D-2DCF-4D03-BD2B-BB364257EC66}" type="datetime1">
              <a:rPr lang="de-DE" smtClean="0"/>
              <a:t>26.01.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BC710AA-4360-506A-3D97-5A8F85A6F0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5938" y="1390651"/>
            <a:ext cx="11160125" cy="4954588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3841A4F5-0B52-4E29-A0B0-5C8C74EF95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8579" y="6423258"/>
            <a:ext cx="562147" cy="267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434478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_Copy text on white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5F4E59-4086-40BC-A68C-C8DDDD952D49}" type="datetime1">
              <a:rPr lang="de-DE" smtClean="0"/>
              <a:t>26.01.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1390651"/>
            <a:ext cx="5472110" cy="4954587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13" name="Textplatzhalter 11">
            <a:extLst>
              <a:ext uri="{FF2B5EF4-FFF2-40B4-BE49-F238E27FC236}">
                <a16:creationId xmlns:a16="http://schemas.microsoft.com/office/drawing/2014/main" id="{70D8A835-9701-8957-006D-288D1F9303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3953" y="1390651"/>
            <a:ext cx="5472110" cy="4954587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</a:p>
        </p:txBody>
      </p:sp>
    </p:spTree>
    <p:extLst>
      <p:ext uri="{BB962C8B-B14F-4D97-AF65-F5344CB8AC3E}">
        <p14:creationId xmlns:p14="http://schemas.microsoft.com/office/powerpoint/2010/main" val="238285555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_Copy text on colour (2 columns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DFDF71D-23C1-438E-99A9-072D08BAB6CC}" type="datetime1">
              <a:rPr lang="de-DE" smtClean="0"/>
              <a:t>26.01.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1390651"/>
            <a:ext cx="5472110" cy="4954587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13" name="Textplatzhalter 11">
            <a:extLst>
              <a:ext uri="{FF2B5EF4-FFF2-40B4-BE49-F238E27FC236}">
                <a16:creationId xmlns:a16="http://schemas.microsoft.com/office/drawing/2014/main" id="{70D8A835-9701-8957-006D-288D1F9303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3953" y="1390651"/>
            <a:ext cx="5472110" cy="4954587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8" name="Textplatzhalter 10">
            <a:extLst>
              <a:ext uri="{FF2B5EF4-FFF2-40B4-BE49-F238E27FC236}">
                <a16:creationId xmlns:a16="http://schemas.microsoft.com/office/drawing/2014/main" id="{6395D3D1-537B-C9FB-38E3-DE1A5A73C0C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1CF0981F-7AC3-4901-9522-78DB43A4BD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8579" y="6423258"/>
            <a:ext cx="562147" cy="267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603619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_Text + Image (Right)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14">
            <a:extLst>
              <a:ext uri="{FF2B5EF4-FFF2-40B4-BE49-F238E27FC236}">
                <a16:creationId xmlns:a16="http://schemas.microsoft.com/office/drawing/2014/main" id="{49F1B917-F0D7-F764-ABEA-0C7F235E21E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16780" y="620714"/>
            <a:ext cx="6959283" cy="5724524"/>
          </a:xfrm>
          <a:prstGeom prst="roundRect">
            <a:avLst>
              <a:gd name="adj" fmla="val 2402"/>
            </a:avLst>
          </a:prstGeom>
          <a:solidFill>
            <a:schemeClr val="bg1">
              <a:lumMod val="75000"/>
            </a:schemeClr>
          </a:solidFill>
        </p:spPr>
        <p:txBody>
          <a:bodyPr lIns="72000" tIns="72000" rIns="72000" bIns="72000" anchor="ctr" anchorCtr="0"/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620714"/>
            <a:ext cx="4084638" cy="755650"/>
          </a:xfrm>
        </p:spPr>
        <p:txBody>
          <a:bodyPr/>
          <a:lstStyle/>
          <a:p>
            <a:r>
              <a:rPr lang="en-GB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BD5C10-12DD-4EEE-BAB4-A1C55B3F83CD}" type="datetime1">
              <a:rPr lang="de-DE" smtClean="0"/>
              <a:t>26.01.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1376363"/>
            <a:ext cx="4084638" cy="496887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</a:p>
        </p:txBody>
      </p:sp>
    </p:spTree>
    <p:extLst>
      <p:ext uri="{BB962C8B-B14F-4D97-AF65-F5344CB8AC3E}">
        <p14:creationId xmlns:p14="http://schemas.microsoft.com/office/powerpoint/2010/main" val="367993878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_Text + Image (Right) on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14">
            <a:extLst>
              <a:ext uri="{FF2B5EF4-FFF2-40B4-BE49-F238E27FC236}">
                <a16:creationId xmlns:a16="http://schemas.microsoft.com/office/drawing/2014/main" id="{49F1B917-F0D7-F764-ABEA-0C7F235E21E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16780" y="620714"/>
            <a:ext cx="6959283" cy="5724524"/>
          </a:xfrm>
          <a:prstGeom prst="roundRect">
            <a:avLst>
              <a:gd name="adj" fmla="val 2402"/>
            </a:avLst>
          </a:prstGeom>
          <a:solidFill>
            <a:schemeClr val="bg1">
              <a:lumMod val="75000"/>
            </a:schemeClr>
          </a:solidFill>
        </p:spPr>
        <p:txBody>
          <a:bodyPr lIns="72000" tIns="72000" rIns="72000" bIns="72000" anchor="ctr" anchorCtr="0"/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620714"/>
            <a:ext cx="4084638" cy="7556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E545B6D-E0F2-4FC1-8AE3-840F6FF7A899}" type="datetime1">
              <a:rPr lang="de-DE" smtClean="0"/>
              <a:t>26.01.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1376363"/>
            <a:ext cx="4084638" cy="4968875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CF7B510A-9A7C-4114-B6F5-EAA1E54707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8579" y="6423258"/>
            <a:ext cx="562147" cy="267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103195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_Text + Diagram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086375-19B5-415C-B540-5A2D8C94C145}" type="datetime1">
              <a:rPr lang="de-DE" smtClean="0"/>
              <a:t>26.01.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1376364"/>
            <a:ext cx="5472110" cy="4968874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</a:p>
        </p:txBody>
      </p:sp>
      <p:sp>
        <p:nvSpPr>
          <p:cNvPr id="7" name="Diagrammplatzhalter 6">
            <a:extLst>
              <a:ext uri="{FF2B5EF4-FFF2-40B4-BE49-F238E27FC236}">
                <a16:creationId xmlns:a16="http://schemas.microsoft.com/office/drawing/2014/main" id="{EED96E30-58A9-71CA-8ED9-3B505FD99B2B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6203953" y="1390651"/>
            <a:ext cx="5472109" cy="4758689"/>
          </a:xfrm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/>
              <a:t>Add diagram by clicking on symbo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022E179-20CB-DC56-C7B5-1E365ED04F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03949" y="6149340"/>
            <a:ext cx="5472113" cy="210186"/>
          </a:xfrm>
        </p:spPr>
        <p:txBody>
          <a:bodyPr anchor="b"/>
          <a:lstStyle>
            <a:lvl1pPr marL="0" indent="0" algn="ctr">
              <a:spcAft>
                <a:spcPts val="0"/>
              </a:spcAft>
              <a:buNone/>
              <a:defRPr sz="700"/>
            </a:lvl1pPr>
            <a:lvl2pPr>
              <a:spcAft>
                <a:spcPts val="0"/>
              </a:spcAft>
              <a:defRPr sz="1200"/>
            </a:lvl2pPr>
            <a:lvl3pPr>
              <a:spcAft>
                <a:spcPts val="0"/>
              </a:spcAft>
              <a:defRPr sz="1200"/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de-DE"/>
              <a:t>Caption</a:t>
            </a:r>
          </a:p>
        </p:txBody>
      </p:sp>
    </p:spTree>
    <p:extLst>
      <p:ext uri="{BB962C8B-B14F-4D97-AF65-F5344CB8AC3E}">
        <p14:creationId xmlns:p14="http://schemas.microsoft.com/office/powerpoint/2010/main" val="3067231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D14949-FD87-440E-8DD5-977EDB4FB3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Agenda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947C0AF-E397-49ED-8E73-1FB5BD2AB0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3324C8-A577-44DF-8A1D-63AE6F4EB3DB}" type="datetime1">
              <a:rPr kumimoji="0" lang="de-DE" sz="700" b="0" i="0" u="none" strike="noStrike" kern="1200" cap="none" spc="0" normalizeH="0" baseline="0" noProof="0" smtClean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</a:rPr>
              <a:t>26.01.2024</a:t>
            </a:fld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D19436-203D-4F05-B12A-90522FBEDC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D3DC6EF-FE43-439A-9385-9D6BC576FC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E0597C-028E-473F-BF50-BBB8B8A24EC3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Inter SemiBold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SemiBold"/>
              <a:ea typeface="+mn-ea"/>
              <a:cs typeface="+mn-cs"/>
            </a:endParaRPr>
          </a:p>
        </p:txBody>
      </p:sp>
      <p:sp>
        <p:nvSpPr>
          <p:cNvPr id="8" name="Textplatzhalter 10">
            <a:extLst>
              <a:ext uri="{FF2B5EF4-FFF2-40B4-BE49-F238E27FC236}">
                <a16:creationId xmlns:a16="http://schemas.microsoft.com/office/drawing/2014/main" id="{1C061BB6-4890-4EF1-A551-38E1361EA50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</a:t>
            </a:r>
            <a:r>
              <a:rPr lang="en-GB" err="1"/>
              <a:t>Topline</a:t>
            </a:r>
            <a:endParaRPr lang="en-GB"/>
          </a:p>
        </p:txBody>
      </p:sp>
      <p:sp>
        <p:nvSpPr>
          <p:cNvPr id="9" name="Textplatzhalter 11">
            <a:extLst>
              <a:ext uri="{FF2B5EF4-FFF2-40B4-BE49-F238E27FC236}">
                <a16:creationId xmlns:a16="http://schemas.microsoft.com/office/drawing/2014/main" id="{F3E2EDF8-FFF4-4C62-8314-74FD558874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7" y="2241550"/>
            <a:ext cx="11160126" cy="4103688"/>
          </a:xfrm>
        </p:spPr>
        <p:txBody>
          <a:bodyPr/>
          <a:lstStyle>
            <a:lvl1pPr marL="447675" indent="-447675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2400">
                <a:latin typeface="+mj-lt"/>
              </a:defRPr>
            </a:lvl1pPr>
            <a:lvl2pPr marL="623888" indent="-179388">
              <a:lnSpc>
                <a:spcPct val="120000"/>
              </a:lnSpc>
              <a:spcAft>
                <a:spcPts val="0"/>
              </a:spcAft>
              <a:defRPr sz="1600"/>
            </a:lvl2pPr>
            <a:lvl3pPr marL="809625" indent="-185738">
              <a:lnSpc>
                <a:spcPct val="120000"/>
              </a:lnSpc>
              <a:spcAft>
                <a:spcPts val="0"/>
              </a:spcAft>
              <a:defRPr sz="1600"/>
            </a:lvl3pPr>
            <a:lvl4pPr marL="989013" indent="-179388">
              <a:lnSpc>
                <a:spcPct val="120000"/>
              </a:lnSpc>
              <a:spcAft>
                <a:spcPts val="0"/>
              </a:spcAft>
              <a:defRPr sz="1600"/>
            </a:lvl4pPr>
            <a:lvl5pPr marL="1168400" indent="-179388">
              <a:lnSpc>
                <a:spcPct val="120000"/>
              </a:lnSpc>
              <a:spcAft>
                <a:spcPts val="0"/>
              </a:spcAft>
              <a:defRPr sz="1600"/>
            </a:lvl5pPr>
          </a:lstStyle>
          <a:p>
            <a:pPr lvl="0"/>
            <a:r>
              <a:rPr lang="en-GB"/>
              <a:t>Topic (for sub-topics increase the indent)</a:t>
            </a:r>
          </a:p>
          <a:p>
            <a:pPr lvl="1"/>
            <a:r>
              <a:rPr lang="en-GB"/>
              <a:t>Sub-topic 1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17842923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_Text + Diagram on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8D77C5C-BA30-424D-AF8F-BE8B718C4DA4}" type="datetime1">
              <a:rPr lang="de-DE" smtClean="0"/>
              <a:t>26.01.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1376364"/>
            <a:ext cx="5472110" cy="4968874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</a:p>
        </p:txBody>
      </p:sp>
      <p:sp>
        <p:nvSpPr>
          <p:cNvPr id="7" name="Diagrammplatzhalter 6">
            <a:extLst>
              <a:ext uri="{FF2B5EF4-FFF2-40B4-BE49-F238E27FC236}">
                <a16:creationId xmlns:a16="http://schemas.microsoft.com/office/drawing/2014/main" id="{EED96E30-58A9-71CA-8ED9-3B505FD99B2B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6203953" y="1390651"/>
            <a:ext cx="5472109" cy="4758689"/>
          </a:xfrm>
        </p:spPr>
        <p:txBody>
          <a:bodyPr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/>
              <a:t>Add diagram by clicking on symbo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022E179-20CB-DC56-C7B5-1E365ED04F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03949" y="6149340"/>
            <a:ext cx="5472113" cy="210186"/>
          </a:xfrm>
        </p:spPr>
        <p:txBody>
          <a:bodyPr anchor="b"/>
          <a:lstStyle>
            <a:lvl1pPr marL="0" indent="0" algn="ctr"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1200"/>
            </a:lvl2pPr>
            <a:lvl3pPr>
              <a:spcAft>
                <a:spcPts val="0"/>
              </a:spcAft>
              <a:defRPr sz="1200"/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de-DE"/>
              <a:t>Caption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062F4CE8-1AF8-4367-929D-75A51F2C12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8579" y="6423258"/>
            <a:ext cx="562147" cy="267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117138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_Two dia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D09D57-A010-40B7-9947-4CFADDCCCA52}" type="datetime1">
              <a:rPr lang="de-DE" smtClean="0"/>
              <a:t>26.01.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#›</a:t>
            </a:fld>
            <a:endParaRPr lang="en-GB"/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</a:p>
        </p:txBody>
      </p:sp>
      <p:sp>
        <p:nvSpPr>
          <p:cNvPr id="7" name="Diagrammplatzhalter 6">
            <a:extLst>
              <a:ext uri="{FF2B5EF4-FFF2-40B4-BE49-F238E27FC236}">
                <a16:creationId xmlns:a16="http://schemas.microsoft.com/office/drawing/2014/main" id="{EED96E30-58A9-71CA-8ED9-3B505FD99B2B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6203953" y="1390651"/>
            <a:ext cx="5472109" cy="4758689"/>
          </a:xfrm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/>
              <a:t>Add diagram by clicking on symbo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022E179-20CB-DC56-C7B5-1E365ED04F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03949" y="6149340"/>
            <a:ext cx="5472113" cy="210186"/>
          </a:xfrm>
        </p:spPr>
        <p:txBody>
          <a:bodyPr anchor="b"/>
          <a:lstStyle>
            <a:lvl1pPr marL="0" indent="0" algn="ctr">
              <a:spcAft>
                <a:spcPts val="0"/>
              </a:spcAft>
              <a:buNone/>
              <a:defRPr sz="700"/>
            </a:lvl1pPr>
            <a:lvl2pPr>
              <a:spcAft>
                <a:spcPts val="0"/>
              </a:spcAft>
              <a:defRPr sz="1200"/>
            </a:lvl2pPr>
            <a:lvl3pPr>
              <a:spcAft>
                <a:spcPts val="0"/>
              </a:spcAft>
              <a:defRPr sz="1200"/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de-DE"/>
              <a:t>Caption</a:t>
            </a:r>
          </a:p>
        </p:txBody>
      </p:sp>
      <p:sp>
        <p:nvSpPr>
          <p:cNvPr id="3" name="Diagrammplatzhalter 6">
            <a:extLst>
              <a:ext uri="{FF2B5EF4-FFF2-40B4-BE49-F238E27FC236}">
                <a16:creationId xmlns:a16="http://schemas.microsoft.com/office/drawing/2014/main" id="{69CE1E29-E132-7375-3C58-1F528CDF3C48}"/>
              </a:ext>
            </a:extLst>
          </p:cNvPr>
          <p:cNvSpPr>
            <a:spLocks noGrp="1"/>
          </p:cNvSpPr>
          <p:nvPr>
            <p:ph type="chart" sz="quarter" idx="18" hasCustomPrompt="1"/>
          </p:nvPr>
        </p:nvSpPr>
        <p:spPr>
          <a:xfrm>
            <a:off x="515942" y="1390651"/>
            <a:ext cx="5472109" cy="4758689"/>
          </a:xfrm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en-US"/>
              <a:t>Add diagram by clicking on symbol</a:t>
            </a:r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8A72BB8B-F176-96AA-F830-056601A62AA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15938" y="6149340"/>
            <a:ext cx="5472113" cy="210186"/>
          </a:xfrm>
        </p:spPr>
        <p:txBody>
          <a:bodyPr anchor="b"/>
          <a:lstStyle>
            <a:lvl1pPr marL="0" indent="0" algn="ctr">
              <a:spcAft>
                <a:spcPts val="0"/>
              </a:spcAft>
              <a:buNone/>
              <a:defRPr sz="700"/>
            </a:lvl1pPr>
            <a:lvl2pPr>
              <a:spcAft>
                <a:spcPts val="0"/>
              </a:spcAft>
              <a:defRPr sz="1200"/>
            </a:lvl2pPr>
            <a:lvl3pPr>
              <a:spcAft>
                <a:spcPts val="0"/>
              </a:spcAft>
              <a:defRPr sz="1200"/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de-DE"/>
              <a:t>Caption</a:t>
            </a:r>
          </a:p>
        </p:txBody>
      </p:sp>
    </p:spTree>
    <p:extLst>
      <p:ext uri="{BB962C8B-B14F-4D97-AF65-F5344CB8AC3E}">
        <p14:creationId xmlns:p14="http://schemas.microsoft.com/office/powerpoint/2010/main" val="208957034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200"/>
              </a:spcBef>
              <a:defRPr/>
            </a:lvl1pPr>
            <a:lvl2pPr>
              <a:spcBef>
                <a:spcPts val="1200"/>
              </a:spcBef>
              <a:defRPr/>
            </a:lvl2pPr>
            <a:lvl3pPr>
              <a:spcBef>
                <a:spcPts val="1200"/>
              </a:spcBef>
              <a:defRPr/>
            </a:lvl3pPr>
            <a:lvl4pPr>
              <a:spcBef>
                <a:spcPts val="1200"/>
              </a:spcBef>
              <a:defRPr/>
            </a:lvl4pPr>
            <a:lvl5pPr>
              <a:spcBef>
                <a:spcPts val="12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3849706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Pictur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Bild 2" descr="BG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Grafik 1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692" y="6192000"/>
            <a:ext cx="1142809" cy="4032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 userDrawn="1">
            <p:ph type="ctrTitle"/>
          </p:nvPr>
        </p:nvSpPr>
        <p:spPr>
          <a:xfrm>
            <a:off x="531701" y="1079999"/>
            <a:ext cx="11037046" cy="1800000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AT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531701" y="2880000"/>
            <a:ext cx="11037046" cy="2358000"/>
          </a:xfrm>
        </p:spPr>
        <p:txBody>
          <a:bodyPr>
            <a:no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10" name="Textplatzhalter 9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1454923" y="4509120"/>
            <a:ext cx="10103276" cy="274802"/>
          </a:xfrm>
        </p:spPr>
        <p:txBody>
          <a:bodyPr>
            <a:noAutofit/>
          </a:bodyPr>
          <a:lstStyle>
            <a:lvl1pPr>
              <a:defRPr sz="1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Optional information</a:t>
            </a:r>
            <a:endParaRPr lang="de-AT"/>
          </a:p>
        </p:txBody>
      </p:sp>
      <p:pic>
        <p:nvPicPr>
          <p:cNvPr id="16" name="Bild 1" descr="Smile-large.png"/>
          <p:cNvPicPr>
            <a:picLocks noChangeAspect="1"/>
          </p:cNvPicPr>
          <p:nvPr userDrawn="1"/>
        </p:nvPicPr>
        <p:blipFill>
          <a:blip r:embed="rId4">
            <a:alphaModFix amt="4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433" y="188640"/>
            <a:ext cx="12049323" cy="5544616"/>
          </a:xfrm>
          <a:prstGeom prst="rect">
            <a:avLst/>
          </a:prstGeom>
        </p:spPr>
      </p:pic>
      <p:sp>
        <p:nvSpPr>
          <p:cNvPr id="13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1454923" y="4882390"/>
            <a:ext cx="10103276" cy="274802"/>
          </a:xfrm>
        </p:spPr>
        <p:txBody>
          <a:bodyPr>
            <a:noAutofit/>
          </a:bodyPr>
          <a:lstStyle>
            <a:lvl1pPr>
              <a:defRPr sz="1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Optional information</a:t>
            </a:r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7580423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497B"/>
                </a:solidFill>
              </a:rPr>
              <a:t>20.09.22</a:t>
            </a:r>
            <a:endParaRPr lang="de-AT">
              <a:solidFill>
                <a:srgbClr val="00497B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497B"/>
                </a:solidFill>
              </a:rPr>
              <a:t>Optional information – to delete or change text, open settings of header and footer</a:t>
            </a:r>
            <a:endParaRPr lang="de-AT">
              <a:solidFill>
                <a:srgbClr val="00497B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B2EBC4-1ECC-42E0-B15C-79C76529A1A4}" type="slidenum">
              <a:rPr lang="de-DE" smtClean="0">
                <a:solidFill>
                  <a:srgbClr val="00497B"/>
                </a:solidFill>
              </a:rPr>
              <a:pPr/>
              <a:t>‹#›</a:t>
            </a:fld>
            <a:endParaRPr lang="de-AT">
              <a:solidFill>
                <a:srgbClr val="00497B"/>
              </a:solidFill>
            </a:endParaRPr>
          </a:p>
        </p:txBody>
      </p:sp>
      <p:sp>
        <p:nvSpPr>
          <p:cNvPr id="7" name="Textplatzhalter 21"/>
          <p:cNvSpPr>
            <a:spLocks noGrp="1"/>
          </p:cNvSpPr>
          <p:nvPr>
            <p:ph type="body" sz="quarter" idx="13"/>
          </p:nvPr>
        </p:nvSpPr>
        <p:spPr>
          <a:xfrm>
            <a:off x="526009" y="5661280"/>
            <a:ext cx="11010665" cy="288000"/>
          </a:xfrm>
        </p:spPr>
        <p:txBody>
          <a:bodyPr anchor="b"/>
          <a:lstStyle>
            <a:lvl1pPr algn="l">
              <a:defRPr sz="800" i="1"/>
            </a:lvl1pPr>
            <a:lvl2pPr>
              <a:defRPr i="1"/>
            </a:lvl2pPr>
            <a:lvl3pPr>
              <a:defRPr i="1"/>
            </a:lvl3pPr>
            <a:lvl4pPr>
              <a:defRPr i="1"/>
            </a:lvl4pPr>
            <a:lvl5pPr>
              <a:defRPr i="1"/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70681532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8709672"/>
              </p:ext>
            </p:extLst>
          </p:nvPr>
        </p:nvGraphicFramePr>
        <p:xfrm>
          <a:off x="2015" y="160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5" y="160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2C9E2D43-FD1A-46A4-9A24-A3B6ABEB60C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95385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de-DE" sz="2800" b="1" i="0" baseline="0">
              <a:solidFill>
                <a:schemeClr val="tx2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1700" y="252000"/>
            <a:ext cx="11003817" cy="800736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AT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6011" y="1196979"/>
            <a:ext cx="11009499" cy="4500277"/>
          </a:xfrm>
        </p:spPr>
        <p:txBody>
          <a:bodyPr/>
          <a:lstStyle>
            <a:lvl1pPr marL="0">
              <a:defRPr>
                <a:solidFill>
                  <a:srgbClr val="000000"/>
                </a:solidFill>
              </a:defRPr>
            </a:lvl1pPr>
            <a:lvl2pPr marL="179388" indent="-179388">
              <a:defRPr>
                <a:solidFill>
                  <a:srgbClr val="000000"/>
                </a:solidFill>
              </a:defRPr>
            </a:lvl2pPr>
            <a:lvl3pPr marL="346075" indent="-179388">
              <a:defRPr/>
            </a:lvl3pPr>
            <a:lvl4pPr marL="531813" indent="-179388">
              <a:defRPr/>
            </a:lvl4pPr>
            <a:lvl5pPr marL="719138" indent="-179388"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497B"/>
                </a:solidFill>
              </a:rPr>
              <a:t>20.09.22</a:t>
            </a:r>
            <a:endParaRPr lang="de-AT">
              <a:solidFill>
                <a:srgbClr val="00497B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534E4-5BF1-4CAA-B304-C235E813B3E6}" type="slidenum">
              <a:rPr lang="de-AT" smtClean="0">
                <a:solidFill>
                  <a:srgbClr val="00497B"/>
                </a:solidFill>
              </a:rPr>
              <a:pPr/>
              <a:t>‹#›</a:t>
            </a:fld>
            <a:endParaRPr lang="de-AT">
              <a:solidFill>
                <a:srgbClr val="00497B"/>
              </a:solidFill>
            </a:endParaRPr>
          </a:p>
        </p:txBody>
      </p:sp>
      <p:sp>
        <p:nvSpPr>
          <p:cNvPr id="8" name="Textplatzhalter 21"/>
          <p:cNvSpPr>
            <a:spLocks noGrp="1"/>
          </p:cNvSpPr>
          <p:nvPr>
            <p:ph type="body" sz="quarter" idx="13"/>
          </p:nvPr>
        </p:nvSpPr>
        <p:spPr>
          <a:xfrm>
            <a:off x="526009" y="5661280"/>
            <a:ext cx="11010665" cy="288000"/>
          </a:xfrm>
        </p:spPr>
        <p:txBody>
          <a:bodyPr anchor="b"/>
          <a:lstStyle>
            <a:lvl1pPr algn="l">
              <a:defRPr sz="800" i="1"/>
            </a:lvl1pPr>
            <a:lvl2pPr>
              <a:defRPr i="1"/>
            </a:lvl2pPr>
            <a:lvl3pPr>
              <a:defRPr i="1"/>
            </a:lvl3pPr>
            <a:lvl4pPr>
              <a:defRPr i="1"/>
            </a:lvl4pPr>
            <a:lvl5pPr>
              <a:defRPr i="1"/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1" name="Fußzeilenplatzhalter 3">
            <a:extLst>
              <a:ext uri="{FF2B5EF4-FFF2-40B4-BE49-F238E27FC236}">
                <a16:creationId xmlns:a16="http://schemas.microsoft.com/office/drawing/2014/main" id="{9D1378F6-24C1-44A6-8761-397B446AE5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21031" y="6192000"/>
            <a:ext cx="3922169" cy="270000"/>
          </a:xfrm>
        </p:spPr>
        <p:txBody>
          <a:bodyPr/>
          <a:lstStyle/>
          <a:p>
            <a:r>
              <a:rPr lang="en-US">
                <a:solidFill>
                  <a:srgbClr val="00497B"/>
                </a:solidFill>
              </a:rPr>
              <a:t>Optional information – to delete or change text, open settings of header and footer</a:t>
            </a:r>
            <a:endParaRPr lang="de-AT">
              <a:solidFill>
                <a:srgbClr val="0049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365768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Sub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1697" y="252000"/>
            <a:ext cx="11016048" cy="800736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AT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31692" y="1196752"/>
            <a:ext cx="11028281" cy="4491248"/>
          </a:xfrm>
        </p:spPr>
        <p:txBody>
          <a:bodyPr/>
          <a:lstStyle>
            <a:lvl1pPr>
              <a:defRPr>
                <a:solidFill>
                  <a:srgbClr val="00497B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497B"/>
                </a:solidFill>
              </a:rPr>
              <a:t>20.09.22</a:t>
            </a:r>
            <a:endParaRPr lang="de-AT">
              <a:solidFill>
                <a:srgbClr val="00497B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534E4-5BF1-4CAA-B304-C235E813B3E6}" type="slidenum">
              <a:rPr lang="de-AT" smtClean="0">
                <a:solidFill>
                  <a:srgbClr val="00497B"/>
                </a:solidFill>
              </a:rPr>
              <a:pPr/>
              <a:t>‹#›</a:t>
            </a:fld>
            <a:endParaRPr lang="de-AT">
              <a:solidFill>
                <a:srgbClr val="00497B"/>
              </a:solidFill>
            </a:endParaRPr>
          </a:p>
        </p:txBody>
      </p:sp>
      <p:sp>
        <p:nvSpPr>
          <p:cNvPr id="9" name="Textplatzhalter 21"/>
          <p:cNvSpPr>
            <a:spLocks noGrp="1"/>
          </p:cNvSpPr>
          <p:nvPr>
            <p:ph type="body" sz="quarter" idx="13"/>
          </p:nvPr>
        </p:nvSpPr>
        <p:spPr>
          <a:xfrm>
            <a:off x="526019" y="5661280"/>
            <a:ext cx="11033963" cy="288000"/>
          </a:xfrm>
        </p:spPr>
        <p:txBody>
          <a:bodyPr anchor="b"/>
          <a:lstStyle>
            <a:lvl1pPr algn="l">
              <a:defRPr sz="800" i="1"/>
            </a:lvl1pPr>
            <a:lvl2pPr>
              <a:defRPr i="1"/>
            </a:lvl2pPr>
            <a:lvl3pPr>
              <a:defRPr i="1"/>
            </a:lvl3pPr>
            <a:lvl4pPr>
              <a:defRPr i="1"/>
            </a:lvl4pPr>
            <a:lvl5pPr>
              <a:defRPr i="1"/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8" name="Fußzeilenplatzhalter 3">
            <a:extLst>
              <a:ext uri="{FF2B5EF4-FFF2-40B4-BE49-F238E27FC236}">
                <a16:creationId xmlns:a16="http://schemas.microsoft.com/office/drawing/2014/main" id="{9DA891F4-4EE5-4A86-A947-C51BBA985E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21031" y="6192000"/>
            <a:ext cx="3922169" cy="270000"/>
          </a:xfrm>
        </p:spPr>
        <p:txBody>
          <a:bodyPr/>
          <a:lstStyle/>
          <a:p>
            <a:r>
              <a:rPr lang="en-US">
                <a:solidFill>
                  <a:srgbClr val="00497B"/>
                </a:solidFill>
              </a:rPr>
              <a:t>Optional information – to delete or change text, open settings of header and footer</a:t>
            </a:r>
            <a:endParaRPr lang="de-AT">
              <a:solidFill>
                <a:srgbClr val="0049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463532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two contents,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26065" y="1196980"/>
            <a:ext cx="5347071" cy="4491025"/>
          </a:xfrm>
          <a:ln w="6350">
            <a:solidFill>
              <a:srgbClr val="000000"/>
            </a:solidFill>
          </a:ln>
        </p:spPr>
        <p:txBody>
          <a:bodyPr/>
          <a:lstStyle>
            <a:lvl1pPr>
              <a:defRPr sz="2400"/>
            </a:lvl1pPr>
            <a:lvl2pPr>
              <a:buClrTx/>
              <a:defRPr sz="2000"/>
            </a:lvl2pPr>
            <a:lvl3pPr>
              <a:buClrTx/>
              <a:defRPr sz="1800"/>
            </a:lvl3pPr>
            <a:lvl4pPr>
              <a:buClrTx/>
              <a:defRPr sz="1600"/>
            </a:lvl4pPr>
            <a:lvl5pPr>
              <a:buClrTx/>
              <a:defRPr sz="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46254" y="1196980"/>
            <a:ext cx="5325952" cy="4491025"/>
          </a:xfrm>
          <a:ln w="6350">
            <a:solidFill>
              <a:srgbClr val="000000"/>
            </a:solidFill>
          </a:ln>
        </p:spPr>
        <p:txBody>
          <a:bodyPr/>
          <a:lstStyle>
            <a:lvl1pPr>
              <a:defRPr sz="2400"/>
            </a:lvl1pPr>
            <a:lvl2pPr>
              <a:buClrTx/>
              <a:defRPr sz="2000"/>
            </a:lvl2pPr>
            <a:lvl3pPr>
              <a:buClrTx/>
              <a:defRPr sz="1800"/>
            </a:lvl3pPr>
            <a:lvl4pPr>
              <a:buClrTx/>
              <a:defRPr sz="1600"/>
            </a:lvl4pPr>
            <a:lvl5pPr>
              <a:buClrTx/>
              <a:defRPr sz="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497B"/>
                </a:solidFill>
              </a:rPr>
              <a:t>20.09.22</a:t>
            </a:r>
            <a:endParaRPr lang="de-AT">
              <a:solidFill>
                <a:srgbClr val="00497B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534E4-5BF1-4CAA-B304-C235E813B3E6}" type="slidenum">
              <a:rPr lang="de-AT" smtClean="0">
                <a:solidFill>
                  <a:srgbClr val="00497B"/>
                </a:solidFill>
              </a:rPr>
              <a:pPr/>
              <a:t>‹#›</a:t>
            </a:fld>
            <a:endParaRPr lang="de-AT">
              <a:solidFill>
                <a:srgbClr val="00497B"/>
              </a:solidFill>
            </a:endParaRPr>
          </a:p>
        </p:txBody>
      </p:sp>
      <p:sp>
        <p:nvSpPr>
          <p:cNvPr id="10" name="Textplatzhalter 21"/>
          <p:cNvSpPr>
            <a:spLocks noGrp="1"/>
          </p:cNvSpPr>
          <p:nvPr>
            <p:ph type="body" sz="quarter" idx="13"/>
          </p:nvPr>
        </p:nvSpPr>
        <p:spPr>
          <a:xfrm>
            <a:off x="526010" y="5661280"/>
            <a:ext cx="11021730" cy="288000"/>
          </a:xfrm>
        </p:spPr>
        <p:txBody>
          <a:bodyPr anchor="b"/>
          <a:lstStyle>
            <a:lvl1pPr algn="l">
              <a:defRPr sz="800" i="1"/>
            </a:lvl1pPr>
            <a:lvl2pPr>
              <a:defRPr i="1"/>
            </a:lvl2pPr>
            <a:lvl3pPr>
              <a:defRPr i="1"/>
            </a:lvl3pPr>
            <a:lvl4pPr>
              <a:defRPr i="1"/>
            </a:lvl4pPr>
            <a:lvl5pPr>
              <a:defRPr i="1"/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531700" y="252000"/>
            <a:ext cx="11003817" cy="800736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AT"/>
          </a:p>
        </p:txBody>
      </p:sp>
      <p:sp>
        <p:nvSpPr>
          <p:cNvPr id="9" name="Fußzeilenplatzhalter 3">
            <a:extLst>
              <a:ext uri="{FF2B5EF4-FFF2-40B4-BE49-F238E27FC236}">
                <a16:creationId xmlns:a16="http://schemas.microsoft.com/office/drawing/2014/main" id="{9210310C-B5CB-469D-ADE1-67B0AD9BCC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21031" y="6192000"/>
            <a:ext cx="3922169" cy="270000"/>
          </a:xfrm>
        </p:spPr>
        <p:txBody>
          <a:bodyPr/>
          <a:lstStyle/>
          <a:p>
            <a:r>
              <a:rPr lang="en-US">
                <a:solidFill>
                  <a:srgbClr val="00497B"/>
                </a:solidFill>
              </a:rPr>
              <a:t>Optional information – to delete or change text, open settings of header and footer</a:t>
            </a:r>
            <a:endParaRPr lang="de-AT">
              <a:solidFill>
                <a:srgbClr val="0049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727897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62708" y="1196752"/>
            <a:ext cx="5298139" cy="720000"/>
          </a:xfrm>
          <a:solidFill>
            <a:schemeClr val="accent2"/>
          </a:solidFill>
        </p:spPr>
        <p:txBody>
          <a:bodyPr lIns="36000" rIns="36000" anchor="t" anchorCtr="0"/>
          <a:lstStyle>
            <a:lvl1pPr marL="0" indent="0">
              <a:buNone/>
              <a:defRPr sz="2400" b="0">
                <a:solidFill>
                  <a:srgbClr val="00497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62716" y="1916832"/>
            <a:ext cx="5291882" cy="3663168"/>
          </a:xfrm>
          <a:gradFill>
            <a:gsLst>
              <a:gs pos="0">
                <a:srgbClr val="DFF2FD"/>
              </a:gs>
              <a:gs pos="100000">
                <a:schemeClr val="accent2">
                  <a:alpha val="40000"/>
                </a:schemeClr>
              </a:gs>
            </a:gsLst>
            <a:lin ang="5400000" scaled="0"/>
          </a:gradFill>
        </p:spPr>
        <p:txBody>
          <a:bodyPr lIns="36000" rIns="36000"/>
          <a:lstStyle>
            <a:lvl1pPr>
              <a:defRPr sz="2000" b="1">
                <a:solidFill>
                  <a:srgbClr val="000000"/>
                </a:solidFill>
              </a:defRPr>
            </a:lvl1pPr>
            <a:lvl2pPr>
              <a:buClrTx/>
              <a:defRPr sz="1800">
                <a:solidFill>
                  <a:srgbClr val="000000"/>
                </a:solidFill>
              </a:defRPr>
            </a:lvl2pPr>
            <a:lvl3pPr>
              <a:buClrTx/>
              <a:defRPr sz="1600"/>
            </a:lvl3pPr>
            <a:lvl4pPr>
              <a:buClrTx/>
              <a:defRPr sz="1400"/>
            </a:lvl4pPr>
            <a:lvl5pPr>
              <a:buClrTx/>
              <a:defRPr sz="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251818" y="1196752"/>
            <a:ext cx="5308158" cy="720000"/>
          </a:xfrm>
          <a:solidFill>
            <a:schemeClr val="accent2"/>
          </a:solidFill>
        </p:spPr>
        <p:txBody>
          <a:bodyPr lIns="36000" rIns="36000" anchor="t" anchorCtr="0"/>
          <a:lstStyle>
            <a:lvl1pPr marL="0" indent="0">
              <a:buNone/>
              <a:defRPr sz="2400" b="0">
                <a:solidFill>
                  <a:srgbClr val="00497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251960" y="1916832"/>
            <a:ext cx="5308159" cy="3663168"/>
          </a:xfrm>
          <a:gradFill>
            <a:gsLst>
              <a:gs pos="0">
                <a:srgbClr val="DFF2FD"/>
              </a:gs>
              <a:gs pos="100000">
                <a:schemeClr val="accent2">
                  <a:alpha val="40000"/>
                </a:schemeClr>
              </a:gs>
            </a:gsLst>
            <a:lin ang="5400000" scaled="0"/>
          </a:gradFill>
        </p:spPr>
        <p:txBody>
          <a:bodyPr lIns="36000" rIns="36000"/>
          <a:lstStyle>
            <a:lvl1pPr>
              <a:defRPr sz="2000" b="1">
                <a:solidFill>
                  <a:srgbClr val="000000"/>
                </a:solidFill>
              </a:defRPr>
            </a:lvl1pPr>
            <a:lvl2pPr>
              <a:defRPr sz="1800">
                <a:solidFill>
                  <a:srgbClr val="000000"/>
                </a:solidFill>
              </a:defRPr>
            </a:lvl2pPr>
            <a:lvl3pPr>
              <a:defRPr sz="1600"/>
            </a:lvl3pPr>
            <a:lvl4pPr>
              <a:defRPr sz="1400"/>
            </a:lvl4pPr>
            <a:lvl5pPr>
              <a:defRPr sz="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497B"/>
                </a:solidFill>
              </a:rPr>
              <a:t>20.09.22</a:t>
            </a:r>
            <a:endParaRPr lang="de-AT">
              <a:solidFill>
                <a:srgbClr val="00497B"/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534E4-5BF1-4CAA-B304-C235E813B3E6}" type="slidenum">
              <a:rPr lang="de-AT" smtClean="0">
                <a:solidFill>
                  <a:srgbClr val="00497B"/>
                </a:solidFill>
              </a:rPr>
              <a:pPr/>
              <a:t>‹#›</a:t>
            </a:fld>
            <a:endParaRPr lang="de-AT">
              <a:solidFill>
                <a:srgbClr val="00497B"/>
              </a:solidFill>
            </a:endParaRPr>
          </a:p>
        </p:txBody>
      </p:sp>
      <p:sp>
        <p:nvSpPr>
          <p:cNvPr id="17" name="Textplatzhalter 21"/>
          <p:cNvSpPr>
            <a:spLocks noGrp="1"/>
          </p:cNvSpPr>
          <p:nvPr>
            <p:ph type="body" sz="quarter" idx="13"/>
          </p:nvPr>
        </p:nvSpPr>
        <p:spPr>
          <a:xfrm>
            <a:off x="550515" y="5661280"/>
            <a:ext cx="11009498" cy="288000"/>
          </a:xfrm>
        </p:spPr>
        <p:txBody>
          <a:bodyPr anchor="b"/>
          <a:lstStyle>
            <a:lvl1pPr algn="l">
              <a:defRPr sz="800" i="1"/>
            </a:lvl1pPr>
            <a:lvl2pPr>
              <a:defRPr i="1"/>
            </a:lvl2pPr>
            <a:lvl3pPr>
              <a:defRPr i="1"/>
            </a:lvl3pPr>
            <a:lvl4pPr>
              <a:defRPr i="1"/>
            </a:lvl4pPr>
            <a:lvl5pPr>
              <a:defRPr i="1"/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/>
          </p:nvPr>
        </p:nvSpPr>
        <p:spPr>
          <a:xfrm>
            <a:off x="531700" y="252000"/>
            <a:ext cx="11003817" cy="800736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AT"/>
          </a:p>
        </p:txBody>
      </p:sp>
      <p:sp>
        <p:nvSpPr>
          <p:cNvPr id="11" name="Fußzeilenplatzhalter 3">
            <a:extLst>
              <a:ext uri="{FF2B5EF4-FFF2-40B4-BE49-F238E27FC236}">
                <a16:creationId xmlns:a16="http://schemas.microsoft.com/office/drawing/2014/main" id="{44F48BA0-0D19-4E2A-AC68-9CA3DEBE93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21031" y="6192000"/>
            <a:ext cx="3922169" cy="270000"/>
          </a:xfrm>
        </p:spPr>
        <p:txBody>
          <a:bodyPr/>
          <a:lstStyle/>
          <a:p>
            <a:r>
              <a:rPr lang="en-US">
                <a:solidFill>
                  <a:srgbClr val="00497B"/>
                </a:solidFill>
              </a:rPr>
              <a:t>Optional information – to delete or change text, open settings of header and footer</a:t>
            </a:r>
            <a:endParaRPr lang="de-AT">
              <a:solidFill>
                <a:srgbClr val="0049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3534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two contents, below ea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55860" y="1196752"/>
            <a:ext cx="11012965" cy="2160000"/>
          </a:xfrm>
          <a:ln w="6350">
            <a:solidFill>
              <a:srgbClr val="000000"/>
            </a:solidFill>
          </a:ln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55907" y="3501008"/>
            <a:ext cx="11016346" cy="2160000"/>
          </a:xfrm>
          <a:ln w="6350">
            <a:solidFill>
              <a:srgbClr val="000000"/>
            </a:solidFill>
          </a:ln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497B"/>
                </a:solidFill>
              </a:rPr>
              <a:t>20.09.22</a:t>
            </a:r>
            <a:endParaRPr lang="de-AT">
              <a:solidFill>
                <a:srgbClr val="00497B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534E4-5BF1-4CAA-B304-C235E813B3E6}" type="slidenum">
              <a:rPr lang="de-AT" smtClean="0">
                <a:solidFill>
                  <a:srgbClr val="00497B"/>
                </a:solidFill>
              </a:rPr>
              <a:pPr/>
              <a:t>‹#›</a:t>
            </a:fld>
            <a:endParaRPr lang="de-AT">
              <a:solidFill>
                <a:srgbClr val="00497B"/>
              </a:solidFill>
            </a:endParaRPr>
          </a:p>
        </p:txBody>
      </p:sp>
      <p:sp>
        <p:nvSpPr>
          <p:cNvPr id="11" name="Textplatzhalter 21"/>
          <p:cNvSpPr>
            <a:spLocks noGrp="1"/>
          </p:cNvSpPr>
          <p:nvPr>
            <p:ph type="body" sz="quarter" idx="13"/>
          </p:nvPr>
        </p:nvSpPr>
        <p:spPr>
          <a:xfrm>
            <a:off x="550515" y="5661280"/>
            <a:ext cx="11009498" cy="288000"/>
          </a:xfrm>
        </p:spPr>
        <p:txBody>
          <a:bodyPr anchor="b"/>
          <a:lstStyle>
            <a:lvl1pPr algn="l">
              <a:defRPr sz="800" i="1"/>
            </a:lvl1pPr>
            <a:lvl2pPr>
              <a:defRPr i="1"/>
            </a:lvl2pPr>
            <a:lvl3pPr>
              <a:defRPr i="1"/>
            </a:lvl3pPr>
            <a:lvl4pPr>
              <a:defRPr i="1"/>
            </a:lvl4pPr>
            <a:lvl5pPr>
              <a:defRPr i="1"/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>
          <a:xfrm>
            <a:off x="531700" y="252000"/>
            <a:ext cx="11003817" cy="800736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AT"/>
          </a:p>
        </p:txBody>
      </p:sp>
      <p:sp>
        <p:nvSpPr>
          <p:cNvPr id="9" name="Fußzeilenplatzhalter 3">
            <a:extLst>
              <a:ext uri="{FF2B5EF4-FFF2-40B4-BE49-F238E27FC236}">
                <a16:creationId xmlns:a16="http://schemas.microsoft.com/office/drawing/2014/main" id="{01F5B46C-371A-4BA4-8862-97BF936C2C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21031" y="6192000"/>
            <a:ext cx="3922169" cy="270000"/>
          </a:xfrm>
        </p:spPr>
        <p:txBody>
          <a:bodyPr/>
          <a:lstStyle/>
          <a:p>
            <a:r>
              <a:rPr lang="en-US">
                <a:solidFill>
                  <a:srgbClr val="00497B"/>
                </a:solidFill>
              </a:rPr>
              <a:t>Optional information – to delete or change text, open settings of header and footer</a:t>
            </a:r>
            <a:endParaRPr lang="de-AT">
              <a:solidFill>
                <a:srgbClr val="0049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97675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im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4">
            <a:extLst>
              <a:ext uri="{FF2B5EF4-FFF2-40B4-BE49-F238E27FC236}">
                <a16:creationId xmlns:a16="http://schemas.microsoft.com/office/drawing/2014/main" id="{6E04E5A4-2D50-D8BC-4A1F-08BD4CB7844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345238"/>
          </a:xfrm>
          <a:solidFill>
            <a:schemeClr val="bg1">
              <a:lumMod val="75000"/>
            </a:schemeClr>
          </a:solidFill>
        </p:spPr>
        <p:txBody>
          <a:bodyPr lIns="72000" tIns="72000" rIns="72000" bIns="72000" anchor="ctr" anchorCtr="0"/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To insert a background image: Please click on the image placeholder and then select an image by clicking on the "Insert“ tab and choosing the “Pictures“ command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7" y="3830639"/>
            <a:ext cx="11160125" cy="2491220"/>
          </a:xfrm>
        </p:spPr>
        <p:txBody>
          <a:bodyPr/>
          <a:lstStyle>
            <a:lvl1pPr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GB"/>
              <a:t>Divider 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6C44A89-EE89-4253-9308-87927804F255}" type="datetime1">
              <a:rPr lang="de-DE" smtClean="0"/>
              <a:t>26.01.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F871C89F-DEE0-3BEE-38F7-BC449E34161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9" y="3362325"/>
            <a:ext cx="5265736" cy="321401"/>
          </a:xfrm>
        </p:spPr>
        <p:txBody>
          <a:bodyPr vert="horz" wrap="none" lIns="0" tIns="0" rIns="0" bIns="0" rtlCol="0" anchor="b" anchorCtr="0">
            <a:noAutofit/>
          </a:bodyPr>
          <a:lstStyle>
            <a:lvl1pPr marL="0" indent="0">
              <a:buNone/>
              <a:defRPr lang="de-DE" sz="1200" cap="all" spc="5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B6811DF-E32A-5291-FCEF-489063EEFA0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8579" y="6423258"/>
            <a:ext cx="562147" cy="267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937871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three contents,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56158" y="1196389"/>
            <a:ext cx="3323077" cy="4458389"/>
          </a:xfrm>
          <a:ln w="6350">
            <a:solidFill>
              <a:srgbClr val="000000"/>
            </a:solidFill>
          </a:ln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230990" y="1196389"/>
            <a:ext cx="3323077" cy="4458389"/>
          </a:xfrm>
          <a:ln w="6350">
            <a:solidFill>
              <a:srgbClr val="000000"/>
            </a:solidFill>
          </a:ln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497B"/>
                </a:solidFill>
              </a:rPr>
              <a:t>20.09.22</a:t>
            </a:r>
            <a:endParaRPr lang="de-AT">
              <a:solidFill>
                <a:srgbClr val="00497B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534E4-5BF1-4CAA-B304-C235E813B3E6}" type="slidenum">
              <a:rPr lang="de-AT" smtClean="0">
                <a:solidFill>
                  <a:srgbClr val="00497B"/>
                </a:solidFill>
              </a:rPr>
              <a:pPr/>
              <a:t>‹#›</a:t>
            </a:fld>
            <a:endParaRPr lang="de-AT">
              <a:solidFill>
                <a:srgbClr val="00497B"/>
              </a:solidFill>
            </a:endParaRPr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4436586" y="1196984"/>
            <a:ext cx="3323077" cy="4458389"/>
          </a:xfrm>
          <a:ln w="6350">
            <a:solidFill>
              <a:srgbClr val="000000"/>
            </a:solidFill>
          </a:ln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12" name="Textplatzhalter 21"/>
          <p:cNvSpPr>
            <a:spLocks noGrp="1"/>
          </p:cNvSpPr>
          <p:nvPr>
            <p:ph type="body" sz="quarter" idx="14"/>
          </p:nvPr>
        </p:nvSpPr>
        <p:spPr>
          <a:xfrm>
            <a:off x="550515" y="5661280"/>
            <a:ext cx="11009498" cy="288000"/>
          </a:xfrm>
        </p:spPr>
        <p:txBody>
          <a:bodyPr anchor="b"/>
          <a:lstStyle>
            <a:lvl1pPr algn="l">
              <a:defRPr sz="800" i="1"/>
            </a:lvl1pPr>
            <a:lvl2pPr>
              <a:defRPr i="1"/>
            </a:lvl2pPr>
            <a:lvl3pPr>
              <a:defRPr i="1"/>
            </a:lvl3pPr>
            <a:lvl4pPr>
              <a:defRPr i="1"/>
            </a:lvl4pPr>
            <a:lvl5pPr>
              <a:defRPr i="1"/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8" name="Titel 1"/>
          <p:cNvSpPr>
            <a:spLocks noGrp="1"/>
          </p:cNvSpPr>
          <p:nvPr>
            <p:ph type="title"/>
          </p:nvPr>
        </p:nvSpPr>
        <p:spPr>
          <a:xfrm>
            <a:off x="531700" y="252000"/>
            <a:ext cx="11003817" cy="800736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AT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5356A259-94BB-4443-81C3-F4140C45EB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21031" y="6192000"/>
            <a:ext cx="3922169" cy="270000"/>
          </a:xfrm>
        </p:spPr>
        <p:txBody>
          <a:bodyPr/>
          <a:lstStyle/>
          <a:p>
            <a:r>
              <a:rPr lang="en-US">
                <a:solidFill>
                  <a:srgbClr val="00497B"/>
                </a:solidFill>
              </a:rPr>
              <a:t>Optional information – to delete or change text, open settings of header and footer</a:t>
            </a:r>
            <a:endParaRPr lang="de-AT">
              <a:solidFill>
                <a:srgbClr val="0049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234139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four contents, below ea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68693" y="1196752"/>
            <a:ext cx="5267689" cy="2160000"/>
          </a:xfrm>
          <a:ln w="6350">
            <a:solidFill>
              <a:srgbClr val="000000"/>
            </a:solidFill>
          </a:ln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9611" y="3501008"/>
            <a:ext cx="5267689" cy="2160000"/>
          </a:xfrm>
          <a:ln w="6350">
            <a:solidFill>
              <a:srgbClr val="000000"/>
            </a:solidFill>
          </a:ln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497B"/>
                </a:solidFill>
              </a:rPr>
              <a:t>20.09.22</a:t>
            </a:r>
            <a:endParaRPr lang="de-AT">
              <a:solidFill>
                <a:srgbClr val="00497B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534E4-5BF1-4CAA-B304-C235E813B3E6}" type="slidenum">
              <a:rPr lang="de-AT" smtClean="0">
                <a:solidFill>
                  <a:srgbClr val="00497B"/>
                </a:solidFill>
              </a:rPr>
              <a:pPr/>
              <a:t>‹#›</a:t>
            </a:fld>
            <a:endParaRPr lang="de-AT">
              <a:solidFill>
                <a:srgbClr val="00497B"/>
              </a:solidFill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sz="half" idx="13"/>
          </p:nvPr>
        </p:nvSpPr>
        <p:spPr>
          <a:xfrm>
            <a:off x="6292332" y="1197348"/>
            <a:ext cx="5267641" cy="2160000"/>
          </a:xfrm>
          <a:ln w="6350">
            <a:solidFill>
              <a:srgbClr val="000000"/>
            </a:solidFill>
          </a:ln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9" name="Inhaltsplatzhalter 3"/>
          <p:cNvSpPr>
            <a:spLocks noGrp="1"/>
          </p:cNvSpPr>
          <p:nvPr>
            <p:ph sz="half" idx="14"/>
          </p:nvPr>
        </p:nvSpPr>
        <p:spPr>
          <a:xfrm>
            <a:off x="6273251" y="3501604"/>
            <a:ext cx="5292107" cy="2160000"/>
          </a:xfrm>
          <a:ln w="6350">
            <a:solidFill>
              <a:srgbClr val="000000"/>
            </a:solidFill>
          </a:ln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13" name="Textplatzhalter 21"/>
          <p:cNvSpPr>
            <a:spLocks noGrp="1"/>
          </p:cNvSpPr>
          <p:nvPr>
            <p:ph type="body" sz="quarter" idx="15"/>
          </p:nvPr>
        </p:nvSpPr>
        <p:spPr>
          <a:xfrm>
            <a:off x="550515" y="5661280"/>
            <a:ext cx="11009498" cy="288000"/>
          </a:xfrm>
        </p:spPr>
        <p:txBody>
          <a:bodyPr anchor="b"/>
          <a:lstStyle>
            <a:lvl1pPr algn="l">
              <a:defRPr sz="800" i="1"/>
            </a:lvl1pPr>
            <a:lvl2pPr>
              <a:defRPr i="1"/>
            </a:lvl2pPr>
            <a:lvl3pPr>
              <a:defRPr i="1"/>
            </a:lvl3pPr>
            <a:lvl4pPr>
              <a:defRPr i="1"/>
            </a:lvl4pPr>
            <a:lvl5pPr>
              <a:defRPr i="1"/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/>
          </p:nvPr>
        </p:nvSpPr>
        <p:spPr>
          <a:xfrm>
            <a:off x="531700" y="252000"/>
            <a:ext cx="11003817" cy="800736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AT"/>
          </a:p>
        </p:txBody>
      </p:sp>
      <p:sp>
        <p:nvSpPr>
          <p:cNvPr id="11" name="Fußzeilenplatzhalter 3">
            <a:extLst>
              <a:ext uri="{FF2B5EF4-FFF2-40B4-BE49-F238E27FC236}">
                <a16:creationId xmlns:a16="http://schemas.microsoft.com/office/drawing/2014/main" id="{501F50CD-4E03-4530-8B41-BBBAF38625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21031" y="6192000"/>
            <a:ext cx="3922169" cy="270000"/>
          </a:xfrm>
        </p:spPr>
        <p:txBody>
          <a:bodyPr/>
          <a:lstStyle/>
          <a:p>
            <a:r>
              <a:rPr lang="en-US">
                <a:solidFill>
                  <a:srgbClr val="00497B"/>
                </a:solidFill>
              </a:rPr>
              <a:t>Optional information – to delete or change text, open settings of header and footer</a:t>
            </a:r>
            <a:endParaRPr lang="de-AT">
              <a:solidFill>
                <a:srgbClr val="0049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283754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four contents,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62733" y="1196387"/>
            <a:ext cx="2508038" cy="4464867"/>
          </a:xfrm>
          <a:ln w="6350">
            <a:solidFill>
              <a:srgbClr val="000000"/>
            </a:solidFill>
          </a:ln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16045" y="1196387"/>
            <a:ext cx="2508038" cy="4464867"/>
          </a:xfrm>
          <a:ln w="6350">
            <a:solidFill>
              <a:srgbClr val="000000"/>
            </a:solidFill>
          </a:ln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497B"/>
                </a:solidFill>
              </a:rPr>
              <a:t>20.09.22</a:t>
            </a:r>
            <a:endParaRPr lang="de-AT">
              <a:solidFill>
                <a:srgbClr val="00497B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534E4-5BF1-4CAA-B304-C235E813B3E6}" type="slidenum">
              <a:rPr lang="de-AT" smtClean="0">
                <a:solidFill>
                  <a:srgbClr val="00497B"/>
                </a:solidFill>
              </a:rPr>
              <a:pPr/>
              <a:t>‹#›</a:t>
            </a:fld>
            <a:endParaRPr lang="de-AT">
              <a:solidFill>
                <a:srgbClr val="00497B"/>
              </a:solidFill>
            </a:endParaRPr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3379779" y="1196982"/>
            <a:ext cx="2508038" cy="4464867"/>
          </a:xfrm>
          <a:ln w="6350">
            <a:solidFill>
              <a:srgbClr val="000000"/>
            </a:solidFill>
          </a:ln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9" name="Inhaltsplatzhalter 3"/>
          <p:cNvSpPr>
            <a:spLocks noGrp="1"/>
          </p:cNvSpPr>
          <p:nvPr>
            <p:ph sz="half" idx="14"/>
          </p:nvPr>
        </p:nvSpPr>
        <p:spPr>
          <a:xfrm>
            <a:off x="9052079" y="1196982"/>
            <a:ext cx="2508038" cy="4464867"/>
          </a:xfrm>
          <a:ln w="6350">
            <a:solidFill>
              <a:srgbClr val="000000"/>
            </a:solidFill>
          </a:ln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13" name="Textplatzhalter 21"/>
          <p:cNvSpPr>
            <a:spLocks noGrp="1"/>
          </p:cNvSpPr>
          <p:nvPr>
            <p:ph type="body" sz="quarter" idx="15"/>
          </p:nvPr>
        </p:nvSpPr>
        <p:spPr>
          <a:xfrm>
            <a:off x="550515" y="5661280"/>
            <a:ext cx="11009498" cy="288000"/>
          </a:xfrm>
        </p:spPr>
        <p:txBody>
          <a:bodyPr anchor="b"/>
          <a:lstStyle>
            <a:lvl1pPr algn="l">
              <a:defRPr sz="800" i="1"/>
            </a:lvl1pPr>
            <a:lvl2pPr>
              <a:defRPr i="1"/>
            </a:lvl2pPr>
            <a:lvl3pPr>
              <a:defRPr i="1"/>
            </a:lvl3pPr>
            <a:lvl4pPr>
              <a:defRPr i="1"/>
            </a:lvl4pPr>
            <a:lvl5pPr>
              <a:defRPr i="1"/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/>
          </p:nvPr>
        </p:nvSpPr>
        <p:spPr>
          <a:xfrm>
            <a:off x="531700" y="252000"/>
            <a:ext cx="11003817" cy="800736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AT"/>
          </a:p>
        </p:txBody>
      </p:sp>
      <p:sp>
        <p:nvSpPr>
          <p:cNvPr id="11" name="Fußzeilenplatzhalter 3">
            <a:extLst>
              <a:ext uri="{FF2B5EF4-FFF2-40B4-BE49-F238E27FC236}">
                <a16:creationId xmlns:a16="http://schemas.microsoft.com/office/drawing/2014/main" id="{C60348B3-85D3-43EC-A0B3-3723BA13EC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21031" y="6192000"/>
            <a:ext cx="3922169" cy="270000"/>
          </a:xfrm>
        </p:spPr>
        <p:txBody>
          <a:bodyPr/>
          <a:lstStyle/>
          <a:p>
            <a:r>
              <a:rPr lang="en-US">
                <a:solidFill>
                  <a:srgbClr val="00497B"/>
                </a:solidFill>
              </a:rPr>
              <a:t>Optional information – to delete or change text, open settings of header and footer</a:t>
            </a:r>
            <a:endParaRPr lang="de-AT">
              <a:solidFill>
                <a:srgbClr val="0049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107763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three contents, below ea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50476" y="1196752"/>
            <a:ext cx="11009497" cy="1440000"/>
          </a:xfrm>
          <a:ln w="6350">
            <a:solidFill>
              <a:srgbClr val="000000"/>
            </a:solidFill>
          </a:ln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497B"/>
                </a:solidFill>
              </a:rPr>
              <a:t>20.09.22</a:t>
            </a:r>
            <a:endParaRPr lang="de-AT">
              <a:solidFill>
                <a:srgbClr val="00497B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534E4-5BF1-4CAA-B304-C235E813B3E6}" type="slidenum">
              <a:rPr lang="de-AT" smtClean="0">
                <a:solidFill>
                  <a:srgbClr val="00497B"/>
                </a:solidFill>
              </a:rPr>
              <a:pPr/>
              <a:t>‹#›</a:t>
            </a:fld>
            <a:endParaRPr lang="de-AT">
              <a:solidFill>
                <a:srgbClr val="00497B"/>
              </a:solidFill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sz="half" idx="13"/>
          </p:nvPr>
        </p:nvSpPr>
        <p:spPr>
          <a:xfrm>
            <a:off x="555946" y="2710138"/>
            <a:ext cx="11004030" cy="1440000"/>
          </a:xfrm>
          <a:ln w="6350">
            <a:solidFill>
              <a:srgbClr val="000000"/>
            </a:solidFill>
          </a:ln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9" name="Inhaltsplatzhalter 2"/>
          <p:cNvSpPr>
            <a:spLocks noGrp="1"/>
          </p:cNvSpPr>
          <p:nvPr>
            <p:ph sz="half" idx="14"/>
          </p:nvPr>
        </p:nvSpPr>
        <p:spPr>
          <a:xfrm>
            <a:off x="555946" y="4223523"/>
            <a:ext cx="11004030" cy="1440000"/>
          </a:xfrm>
          <a:ln w="6350">
            <a:solidFill>
              <a:srgbClr val="000000"/>
            </a:solidFill>
          </a:ln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12" name="Textplatzhalter 21"/>
          <p:cNvSpPr>
            <a:spLocks noGrp="1"/>
          </p:cNvSpPr>
          <p:nvPr>
            <p:ph type="body" sz="quarter" idx="15"/>
          </p:nvPr>
        </p:nvSpPr>
        <p:spPr>
          <a:xfrm>
            <a:off x="550515" y="5661280"/>
            <a:ext cx="11009498" cy="288000"/>
          </a:xfrm>
        </p:spPr>
        <p:txBody>
          <a:bodyPr anchor="b"/>
          <a:lstStyle>
            <a:lvl1pPr algn="l">
              <a:defRPr sz="800" i="1"/>
            </a:lvl1pPr>
            <a:lvl2pPr>
              <a:defRPr i="1"/>
            </a:lvl2pPr>
            <a:lvl3pPr>
              <a:defRPr i="1"/>
            </a:lvl3pPr>
            <a:lvl4pPr>
              <a:defRPr i="1"/>
            </a:lvl4pPr>
            <a:lvl5pPr>
              <a:defRPr i="1"/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/>
          </p:nvPr>
        </p:nvSpPr>
        <p:spPr>
          <a:xfrm>
            <a:off x="531700" y="252000"/>
            <a:ext cx="11003817" cy="800736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AT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8EC2BDFA-B36A-4621-8E74-516B137087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21031" y="6192000"/>
            <a:ext cx="3922169" cy="270000"/>
          </a:xfrm>
        </p:spPr>
        <p:txBody>
          <a:bodyPr/>
          <a:lstStyle/>
          <a:p>
            <a:r>
              <a:rPr lang="en-US">
                <a:solidFill>
                  <a:srgbClr val="00497B"/>
                </a:solidFill>
              </a:rPr>
              <a:t>Optional information – to delete or change text, open settings of header and footer</a:t>
            </a:r>
            <a:endParaRPr lang="de-AT">
              <a:solidFill>
                <a:srgbClr val="0049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865082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two contents, below each,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50475" y="1196752"/>
            <a:ext cx="11031522" cy="1872000"/>
          </a:xfrm>
          <a:ln w="6350">
            <a:solidFill>
              <a:srgbClr val="000000"/>
            </a:solidFill>
          </a:ln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50475" y="3791475"/>
            <a:ext cx="11009499" cy="1872000"/>
          </a:xfrm>
          <a:ln w="6350">
            <a:solidFill>
              <a:srgbClr val="000000"/>
            </a:solidFill>
          </a:ln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497B"/>
                </a:solidFill>
              </a:rPr>
              <a:t>20.09.22</a:t>
            </a:r>
            <a:endParaRPr lang="de-AT">
              <a:solidFill>
                <a:srgbClr val="00497B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534E4-5BF1-4CAA-B304-C235E813B3E6}" type="slidenum">
              <a:rPr lang="de-AT" smtClean="0">
                <a:solidFill>
                  <a:srgbClr val="00497B"/>
                </a:solidFill>
              </a:rPr>
              <a:pPr/>
              <a:t>‹#›</a:t>
            </a:fld>
            <a:endParaRPr lang="de-AT">
              <a:solidFill>
                <a:srgbClr val="00497B"/>
              </a:solidFill>
            </a:endParaRPr>
          </a:p>
        </p:txBody>
      </p:sp>
      <p:sp>
        <p:nvSpPr>
          <p:cNvPr id="8" name="SmartArt Placeholder 13"/>
          <p:cNvSpPr>
            <a:spLocks noGrp="1"/>
          </p:cNvSpPr>
          <p:nvPr>
            <p:ph type="dgm" sz="quarter" idx="15"/>
          </p:nvPr>
        </p:nvSpPr>
        <p:spPr>
          <a:xfrm flipV="1">
            <a:off x="569634" y="3284984"/>
            <a:ext cx="11030204" cy="395287"/>
          </a:xfrm>
          <a:prstGeom prst="triangle">
            <a:avLst>
              <a:gd name="adj" fmla="val 49704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SmartArt graphic</a:t>
            </a:r>
            <a:endParaRPr lang="de-AT"/>
          </a:p>
        </p:txBody>
      </p:sp>
      <p:sp>
        <p:nvSpPr>
          <p:cNvPr id="12" name="Textplatzhalter 21"/>
          <p:cNvSpPr>
            <a:spLocks noGrp="1"/>
          </p:cNvSpPr>
          <p:nvPr>
            <p:ph type="body" sz="quarter" idx="13"/>
          </p:nvPr>
        </p:nvSpPr>
        <p:spPr>
          <a:xfrm>
            <a:off x="550515" y="5661280"/>
            <a:ext cx="11009498" cy="288000"/>
          </a:xfrm>
        </p:spPr>
        <p:txBody>
          <a:bodyPr anchor="b"/>
          <a:lstStyle>
            <a:lvl1pPr algn="l">
              <a:defRPr sz="800" i="1"/>
            </a:lvl1pPr>
            <a:lvl2pPr>
              <a:defRPr i="1"/>
            </a:lvl2pPr>
            <a:lvl3pPr>
              <a:defRPr i="1"/>
            </a:lvl3pPr>
            <a:lvl4pPr>
              <a:defRPr i="1"/>
            </a:lvl4pPr>
            <a:lvl5pPr>
              <a:defRPr i="1"/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/>
          </p:nvPr>
        </p:nvSpPr>
        <p:spPr>
          <a:xfrm>
            <a:off x="531700" y="252000"/>
            <a:ext cx="11003817" cy="800736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AT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A346B27D-9A0C-473C-B04A-4665C18B51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21031" y="6192000"/>
            <a:ext cx="3922169" cy="270000"/>
          </a:xfrm>
        </p:spPr>
        <p:txBody>
          <a:bodyPr/>
          <a:lstStyle/>
          <a:p>
            <a:r>
              <a:rPr lang="en-US">
                <a:solidFill>
                  <a:srgbClr val="00497B"/>
                </a:solidFill>
              </a:rPr>
              <a:t>Optional information – to delete or change text, open settings of header and footer</a:t>
            </a:r>
            <a:endParaRPr lang="de-AT">
              <a:solidFill>
                <a:srgbClr val="0049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581213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four contents, below each,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69635" y="1196752"/>
            <a:ext cx="5248858" cy="1980000"/>
          </a:xfrm>
          <a:ln w="6350">
            <a:solidFill>
              <a:srgbClr val="000000"/>
            </a:solidFill>
          </a:ln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50499" y="3686859"/>
            <a:ext cx="5248858" cy="1980000"/>
          </a:xfrm>
          <a:ln w="6350">
            <a:solidFill>
              <a:srgbClr val="000000"/>
            </a:solidFill>
          </a:ln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497B"/>
                </a:solidFill>
              </a:rPr>
              <a:t>20.09.22</a:t>
            </a:r>
            <a:endParaRPr lang="de-AT">
              <a:solidFill>
                <a:srgbClr val="00497B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534E4-5BF1-4CAA-B304-C235E813B3E6}" type="slidenum">
              <a:rPr lang="de-AT" smtClean="0">
                <a:solidFill>
                  <a:srgbClr val="00497B"/>
                </a:solidFill>
              </a:rPr>
              <a:pPr/>
              <a:t>‹#›</a:t>
            </a:fld>
            <a:endParaRPr lang="de-AT">
              <a:solidFill>
                <a:srgbClr val="00497B"/>
              </a:solidFill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sz="half" idx="13"/>
          </p:nvPr>
        </p:nvSpPr>
        <p:spPr>
          <a:xfrm>
            <a:off x="6330201" y="1197348"/>
            <a:ext cx="5229777" cy="1980000"/>
          </a:xfrm>
          <a:ln w="6350">
            <a:solidFill>
              <a:srgbClr val="000000"/>
            </a:solidFill>
          </a:ln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9" name="Inhaltsplatzhalter 3"/>
          <p:cNvSpPr>
            <a:spLocks noGrp="1"/>
          </p:cNvSpPr>
          <p:nvPr>
            <p:ph sz="half" idx="14"/>
          </p:nvPr>
        </p:nvSpPr>
        <p:spPr>
          <a:xfrm>
            <a:off x="6311260" y="3687455"/>
            <a:ext cx="5248858" cy="1980000"/>
          </a:xfrm>
          <a:ln w="6350">
            <a:solidFill>
              <a:srgbClr val="000000"/>
            </a:solidFill>
          </a:ln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10" name="SmartArt Placeholder 13"/>
          <p:cNvSpPr>
            <a:spLocks noGrp="1"/>
          </p:cNvSpPr>
          <p:nvPr>
            <p:ph type="dgm" sz="quarter" idx="19"/>
          </p:nvPr>
        </p:nvSpPr>
        <p:spPr>
          <a:xfrm flipV="1">
            <a:off x="986343" y="3284986"/>
            <a:ext cx="4242827" cy="291005"/>
          </a:xfrm>
          <a:prstGeom prst="triangle">
            <a:avLst>
              <a:gd name="adj" fmla="val 49704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/>
          <a:lstStyle>
            <a:lvl1pPr>
              <a:defRPr sz="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SmartArt graphic</a:t>
            </a:r>
            <a:endParaRPr lang="de-AT"/>
          </a:p>
        </p:txBody>
      </p:sp>
      <p:sp>
        <p:nvSpPr>
          <p:cNvPr id="11" name="SmartArt Placeholder 13"/>
          <p:cNvSpPr>
            <a:spLocks noGrp="1"/>
          </p:cNvSpPr>
          <p:nvPr>
            <p:ph type="dgm" sz="quarter" idx="20"/>
          </p:nvPr>
        </p:nvSpPr>
        <p:spPr>
          <a:xfrm flipV="1">
            <a:off x="6791299" y="3284986"/>
            <a:ext cx="4242827" cy="291005"/>
          </a:xfrm>
          <a:prstGeom prst="triangle">
            <a:avLst>
              <a:gd name="adj" fmla="val 49704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/>
          <a:lstStyle>
            <a:lvl1pPr>
              <a:defRPr sz="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SmartArt graphic</a:t>
            </a:r>
            <a:endParaRPr lang="de-AT"/>
          </a:p>
        </p:txBody>
      </p:sp>
      <p:sp>
        <p:nvSpPr>
          <p:cNvPr id="15" name="Textplatzhalter 21"/>
          <p:cNvSpPr>
            <a:spLocks noGrp="1"/>
          </p:cNvSpPr>
          <p:nvPr>
            <p:ph type="body" sz="quarter" idx="21"/>
          </p:nvPr>
        </p:nvSpPr>
        <p:spPr>
          <a:xfrm>
            <a:off x="550515" y="5661280"/>
            <a:ext cx="11009498" cy="288000"/>
          </a:xfrm>
        </p:spPr>
        <p:txBody>
          <a:bodyPr anchor="b"/>
          <a:lstStyle>
            <a:lvl1pPr algn="l">
              <a:defRPr sz="800" i="1"/>
            </a:lvl1pPr>
            <a:lvl2pPr>
              <a:defRPr i="1"/>
            </a:lvl2pPr>
            <a:lvl3pPr>
              <a:defRPr i="1"/>
            </a:lvl3pPr>
            <a:lvl4pPr>
              <a:defRPr i="1"/>
            </a:lvl4pPr>
            <a:lvl5pPr>
              <a:defRPr i="1"/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/>
          </p:nvPr>
        </p:nvSpPr>
        <p:spPr>
          <a:xfrm>
            <a:off x="531700" y="252000"/>
            <a:ext cx="11003817" cy="800736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AT"/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29D44D83-BD6A-43DC-9EBB-C0181CA2AD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21031" y="6192000"/>
            <a:ext cx="3922169" cy="270000"/>
          </a:xfrm>
        </p:spPr>
        <p:txBody>
          <a:bodyPr/>
          <a:lstStyle/>
          <a:p>
            <a:r>
              <a:rPr lang="en-US">
                <a:solidFill>
                  <a:srgbClr val="00497B"/>
                </a:solidFill>
              </a:rPr>
              <a:t>Optional information – to delete or change text, open settings of header and footer</a:t>
            </a:r>
            <a:endParaRPr lang="de-AT">
              <a:solidFill>
                <a:srgbClr val="0049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438244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497B"/>
                </a:solidFill>
              </a:rPr>
              <a:t>20.09.22</a:t>
            </a:r>
            <a:endParaRPr lang="de-AT">
              <a:solidFill>
                <a:srgbClr val="00497B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534E4-5BF1-4CAA-B304-C235E813B3E6}" type="slidenum">
              <a:rPr lang="de-AT" smtClean="0">
                <a:solidFill>
                  <a:srgbClr val="00497B"/>
                </a:solidFill>
              </a:rPr>
              <a:pPr/>
              <a:t>‹#›</a:t>
            </a:fld>
            <a:endParaRPr lang="de-AT">
              <a:solidFill>
                <a:srgbClr val="00497B"/>
              </a:solidFill>
            </a:endParaRPr>
          </a:p>
        </p:txBody>
      </p:sp>
      <p:sp>
        <p:nvSpPr>
          <p:cNvPr id="5" name="Fußzeilenplatzhalter 3">
            <a:extLst>
              <a:ext uri="{FF2B5EF4-FFF2-40B4-BE49-F238E27FC236}">
                <a16:creationId xmlns:a16="http://schemas.microsoft.com/office/drawing/2014/main" id="{001A27D2-5D2D-4AAD-AD0D-B45DD578BD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21031" y="6192000"/>
            <a:ext cx="3922169" cy="270000"/>
          </a:xfrm>
        </p:spPr>
        <p:txBody>
          <a:bodyPr/>
          <a:lstStyle/>
          <a:p>
            <a:r>
              <a:rPr lang="en-US">
                <a:solidFill>
                  <a:srgbClr val="00497B"/>
                </a:solidFill>
              </a:rPr>
              <a:t>Optional information – to delete or change text, open settings of header and footer</a:t>
            </a:r>
            <a:endParaRPr lang="de-AT">
              <a:solidFill>
                <a:srgbClr val="0049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344157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and Illustra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pieren 5"/>
          <p:cNvGrpSpPr/>
          <p:nvPr userDrawn="1"/>
        </p:nvGrpSpPr>
        <p:grpSpPr>
          <a:xfrm>
            <a:off x="0" y="0"/>
            <a:ext cx="12192000" cy="6858000"/>
            <a:chOff x="0" y="0"/>
            <a:chExt cx="9906000" cy="6858000"/>
          </a:xfrm>
        </p:grpSpPr>
        <p:pic>
          <p:nvPicPr>
            <p:cNvPr id="5" name="Grafik 4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0"/>
              <a:ext cx="9906000" cy="6858000"/>
            </a:xfrm>
            <a:prstGeom prst="rect">
              <a:avLst/>
            </a:prstGeom>
          </p:spPr>
        </p:pic>
        <p:pic>
          <p:nvPicPr>
            <p:cNvPr id="4" name="Grafik 3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2000" y="6192000"/>
              <a:ext cx="928532" cy="403200"/>
            </a:xfrm>
            <a:prstGeom prst="rect">
              <a:avLst/>
            </a:prstGeom>
          </p:spPr>
        </p:pic>
      </p:grpSp>
      <p:sp>
        <p:nvSpPr>
          <p:cNvPr id="7" name="Titel 1"/>
          <p:cNvSpPr>
            <a:spLocks noGrp="1"/>
          </p:cNvSpPr>
          <p:nvPr userDrawn="1">
            <p:ph type="ctrTitle"/>
          </p:nvPr>
        </p:nvSpPr>
        <p:spPr>
          <a:xfrm>
            <a:off x="531692" y="1079999"/>
            <a:ext cx="11037046" cy="1800000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err="1"/>
              <a:t>Titelmasterformat</a:t>
            </a:r>
            <a:r>
              <a:rPr lang="en-US"/>
              <a:t> </a:t>
            </a:r>
            <a:r>
              <a:rPr lang="en-US" err="1"/>
              <a:t>durch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8" name="Untertitel 2"/>
          <p:cNvSpPr>
            <a:spLocks noGrp="1"/>
          </p:cNvSpPr>
          <p:nvPr userDrawn="1">
            <p:ph type="subTitle" idx="1"/>
          </p:nvPr>
        </p:nvSpPr>
        <p:spPr>
          <a:xfrm>
            <a:off x="531692" y="2880000"/>
            <a:ext cx="11037046" cy="2358000"/>
          </a:xfrm>
        </p:spPr>
        <p:txBody>
          <a:bodyPr>
            <a:no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err="1"/>
              <a:t>Formatvorlage</a:t>
            </a:r>
            <a:r>
              <a:rPr lang="en-US"/>
              <a:t> des </a:t>
            </a:r>
            <a:r>
              <a:rPr lang="en-US" err="1"/>
              <a:t>Untertitelmasters</a:t>
            </a:r>
            <a:r>
              <a:rPr lang="en-US"/>
              <a:t> </a:t>
            </a:r>
            <a:r>
              <a:rPr lang="en-US" err="1"/>
              <a:t>durch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10" name="Textplatzhalter 9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31692" y="4509120"/>
            <a:ext cx="11037278" cy="720154"/>
          </a:xfrm>
        </p:spPr>
        <p:txBody>
          <a:bodyPr>
            <a:noAutofit/>
          </a:bodyPr>
          <a:lstStyle>
            <a:lvl1pPr>
              <a:defRPr sz="1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ptional information</a:t>
            </a:r>
          </a:p>
        </p:txBody>
      </p:sp>
      <p:sp>
        <p:nvSpPr>
          <p:cNvPr id="25" name="Datumsplatzhalter 3"/>
          <p:cNvSpPr>
            <a:spLocks noGrp="1"/>
          </p:cNvSpPr>
          <p:nvPr userDrawn="1">
            <p:ph type="dt" sz="half" idx="2"/>
          </p:nvPr>
        </p:nvSpPr>
        <p:spPr>
          <a:xfrm>
            <a:off x="9264742" y="6192000"/>
            <a:ext cx="1417846" cy="27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1000">
                <a:solidFill>
                  <a:srgbClr val="00497B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20.09.22</a:t>
            </a:r>
          </a:p>
        </p:txBody>
      </p:sp>
      <p:sp>
        <p:nvSpPr>
          <p:cNvPr id="26" name="Fußzeilenplatzhalter 4"/>
          <p:cNvSpPr>
            <a:spLocks noGrp="1"/>
          </p:cNvSpPr>
          <p:nvPr userDrawn="1">
            <p:ph type="ftr" sz="quarter" idx="3"/>
          </p:nvPr>
        </p:nvSpPr>
        <p:spPr>
          <a:xfrm>
            <a:off x="2206523" y="6192000"/>
            <a:ext cx="6836677" cy="27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1000">
                <a:solidFill>
                  <a:srgbClr val="00497B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Optional information – to delete or change text, open settings of header and footer</a:t>
            </a:r>
          </a:p>
        </p:txBody>
      </p:sp>
      <p:sp>
        <p:nvSpPr>
          <p:cNvPr id="27" name="Foliennummernplatzhalter 5"/>
          <p:cNvSpPr>
            <a:spLocks noGrp="1"/>
          </p:cNvSpPr>
          <p:nvPr userDrawn="1">
            <p:ph type="sldNum" sz="quarter" idx="4"/>
          </p:nvPr>
        </p:nvSpPr>
        <p:spPr>
          <a:xfrm>
            <a:off x="10904122" y="6192000"/>
            <a:ext cx="664617" cy="27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1000">
                <a:solidFill>
                  <a:srgbClr val="00497B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24B2EBC4-1ECC-42E0-B15C-79C76529A1A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reeform 11"/>
          <p:cNvSpPr>
            <a:spLocks noEditPoints="1"/>
          </p:cNvSpPr>
          <p:nvPr userDrawn="1"/>
        </p:nvSpPr>
        <p:spPr bwMode="auto">
          <a:xfrm>
            <a:off x="2640035" y="1412783"/>
            <a:ext cx="12141306" cy="6419699"/>
          </a:xfrm>
          <a:custGeom>
            <a:avLst/>
            <a:gdLst/>
            <a:ahLst/>
            <a:cxnLst>
              <a:cxn ang="0">
                <a:pos x="2712" y="593"/>
              </a:cxn>
              <a:cxn ang="0">
                <a:pos x="2237" y="571"/>
              </a:cxn>
              <a:cxn ang="0">
                <a:pos x="1822" y="0"/>
              </a:cxn>
              <a:cxn ang="0">
                <a:pos x="1420" y="229"/>
              </a:cxn>
              <a:cxn ang="0">
                <a:pos x="931" y="323"/>
              </a:cxn>
              <a:cxn ang="0">
                <a:pos x="0" y="1374"/>
              </a:cxn>
              <a:cxn ang="0">
                <a:pos x="529" y="1722"/>
              </a:cxn>
              <a:cxn ang="0">
                <a:pos x="1822" y="1811"/>
              </a:cxn>
              <a:cxn ang="0">
                <a:pos x="3123" y="1719"/>
              </a:cxn>
              <a:cxn ang="0">
                <a:pos x="3648" y="1367"/>
              </a:cxn>
              <a:cxn ang="0">
                <a:pos x="2374" y="637"/>
              </a:cxn>
              <a:cxn ang="0">
                <a:pos x="2655" y="1235"/>
              </a:cxn>
              <a:cxn ang="0">
                <a:pos x="2374" y="637"/>
              </a:cxn>
              <a:cxn ang="0">
                <a:pos x="2166" y="182"/>
              </a:cxn>
              <a:cxn ang="0">
                <a:pos x="1826" y="590"/>
              </a:cxn>
              <a:cxn ang="0">
                <a:pos x="1826" y="952"/>
              </a:cxn>
              <a:cxn ang="0">
                <a:pos x="2360" y="637"/>
              </a:cxn>
              <a:cxn ang="0">
                <a:pos x="2360" y="1393"/>
              </a:cxn>
              <a:cxn ang="0">
                <a:pos x="1831" y="1169"/>
              </a:cxn>
              <a:cxn ang="0">
                <a:pos x="1826" y="952"/>
              </a:cxn>
              <a:cxn ang="0">
                <a:pos x="1486" y="182"/>
              </a:cxn>
              <a:cxn ang="0">
                <a:pos x="1814" y="300"/>
              </a:cxn>
              <a:cxn ang="0">
                <a:pos x="1486" y="182"/>
              </a:cxn>
              <a:cxn ang="0">
                <a:pos x="1278" y="276"/>
              </a:cxn>
              <a:cxn ang="0">
                <a:pos x="1814" y="952"/>
              </a:cxn>
              <a:cxn ang="0">
                <a:pos x="1812" y="1169"/>
              </a:cxn>
              <a:cxn ang="0">
                <a:pos x="1276" y="1396"/>
              </a:cxn>
              <a:cxn ang="0">
                <a:pos x="978" y="366"/>
              </a:cxn>
              <a:cxn ang="0">
                <a:pos x="1262" y="1389"/>
              </a:cxn>
              <a:cxn ang="0">
                <a:pos x="978" y="366"/>
              </a:cxn>
              <a:cxn ang="0">
                <a:pos x="78" y="1448"/>
              </a:cxn>
              <a:cxn ang="0">
                <a:pos x="1259" y="1408"/>
              </a:cxn>
              <a:cxn ang="0">
                <a:pos x="2724" y="2211"/>
              </a:cxn>
              <a:cxn ang="0">
                <a:pos x="926" y="2211"/>
              </a:cxn>
              <a:cxn ang="0">
                <a:pos x="1276" y="1419"/>
              </a:cxn>
              <a:cxn ang="0">
                <a:pos x="2360" y="1417"/>
              </a:cxn>
              <a:cxn ang="0">
                <a:pos x="2724" y="2211"/>
              </a:cxn>
              <a:cxn ang="0">
                <a:pos x="2381" y="1405"/>
              </a:cxn>
              <a:cxn ang="0">
                <a:pos x="3570" y="1445"/>
              </a:cxn>
            </a:cxnLst>
            <a:rect l="0" t="0" r="r" b="b"/>
            <a:pathLst>
              <a:path w="3648" h="2374">
                <a:moveTo>
                  <a:pt x="2712" y="1202"/>
                </a:moveTo>
                <a:lnTo>
                  <a:pt x="2712" y="593"/>
                </a:lnTo>
                <a:lnTo>
                  <a:pt x="2377" y="564"/>
                </a:lnTo>
                <a:lnTo>
                  <a:pt x="2237" y="571"/>
                </a:lnTo>
                <a:lnTo>
                  <a:pt x="2237" y="144"/>
                </a:lnTo>
                <a:lnTo>
                  <a:pt x="1822" y="0"/>
                </a:lnTo>
                <a:lnTo>
                  <a:pt x="1420" y="146"/>
                </a:lnTo>
                <a:lnTo>
                  <a:pt x="1420" y="229"/>
                </a:lnTo>
                <a:lnTo>
                  <a:pt x="1278" y="200"/>
                </a:lnTo>
                <a:lnTo>
                  <a:pt x="931" y="323"/>
                </a:lnTo>
                <a:lnTo>
                  <a:pt x="931" y="1197"/>
                </a:lnTo>
                <a:lnTo>
                  <a:pt x="0" y="1374"/>
                </a:lnTo>
                <a:lnTo>
                  <a:pt x="47" y="1880"/>
                </a:lnTo>
                <a:lnTo>
                  <a:pt x="529" y="1722"/>
                </a:lnTo>
                <a:lnTo>
                  <a:pt x="903" y="2374"/>
                </a:lnTo>
                <a:lnTo>
                  <a:pt x="1822" y="1811"/>
                </a:lnTo>
                <a:lnTo>
                  <a:pt x="2766" y="2364"/>
                </a:lnTo>
                <a:lnTo>
                  <a:pt x="3123" y="1719"/>
                </a:lnTo>
                <a:lnTo>
                  <a:pt x="3605" y="1875"/>
                </a:lnTo>
                <a:lnTo>
                  <a:pt x="3648" y="1367"/>
                </a:lnTo>
                <a:lnTo>
                  <a:pt x="2712" y="1202"/>
                </a:lnTo>
                <a:close/>
                <a:moveTo>
                  <a:pt x="2374" y="637"/>
                </a:moveTo>
                <a:lnTo>
                  <a:pt x="2655" y="645"/>
                </a:lnTo>
                <a:lnTo>
                  <a:pt x="2655" y="1235"/>
                </a:lnTo>
                <a:lnTo>
                  <a:pt x="2374" y="1386"/>
                </a:lnTo>
                <a:lnTo>
                  <a:pt x="2374" y="637"/>
                </a:lnTo>
                <a:close/>
                <a:moveTo>
                  <a:pt x="1826" y="75"/>
                </a:moveTo>
                <a:lnTo>
                  <a:pt x="2166" y="182"/>
                </a:lnTo>
                <a:lnTo>
                  <a:pt x="2166" y="574"/>
                </a:lnTo>
                <a:lnTo>
                  <a:pt x="1826" y="590"/>
                </a:lnTo>
                <a:lnTo>
                  <a:pt x="1826" y="75"/>
                </a:lnTo>
                <a:close/>
                <a:moveTo>
                  <a:pt x="1826" y="952"/>
                </a:moveTo>
                <a:lnTo>
                  <a:pt x="1826" y="647"/>
                </a:lnTo>
                <a:lnTo>
                  <a:pt x="2360" y="637"/>
                </a:lnTo>
                <a:lnTo>
                  <a:pt x="2360" y="1030"/>
                </a:lnTo>
                <a:lnTo>
                  <a:pt x="2360" y="1393"/>
                </a:lnTo>
                <a:lnTo>
                  <a:pt x="1831" y="1679"/>
                </a:lnTo>
                <a:lnTo>
                  <a:pt x="1831" y="1169"/>
                </a:lnTo>
                <a:lnTo>
                  <a:pt x="2360" y="1030"/>
                </a:lnTo>
                <a:lnTo>
                  <a:pt x="1826" y="952"/>
                </a:lnTo>
                <a:lnTo>
                  <a:pt x="1826" y="952"/>
                </a:lnTo>
                <a:close/>
                <a:moveTo>
                  <a:pt x="1486" y="182"/>
                </a:moveTo>
                <a:lnTo>
                  <a:pt x="1814" y="75"/>
                </a:lnTo>
                <a:lnTo>
                  <a:pt x="1814" y="300"/>
                </a:lnTo>
                <a:lnTo>
                  <a:pt x="1486" y="243"/>
                </a:lnTo>
                <a:lnTo>
                  <a:pt x="1486" y="182"/>
                </a:lnTo>
                <a:close/>
                <a:moveTo>
                  <a:pt x="1278" y="1030"/>
                </a:moveTo>
                <a:lnTo>
                  <a:pt x="1278" y="276"/>
                </a:lnTo>
                <a:lnTo>
                  <a:pt x="1814" y="363"/>
                </a:lnTo>
                <a:lnTo>
                  <a:pt x="1814" y="952"/>
                </a:lnTo>
                <a:lnTo>
                  <a:pt x="1278" y="1030"/>
                </a:lnTo>
                <a:lnTo>
                  <a:pt x="1812" y="1169"/>
                </a:lnTo>
                <a:lnTo>
                  <a:pt x="1812" y="1679"/>
                </a:lnTo>
                <a:lnTo>
                  <a:pt x="1276" y="1396"/>
                </a:lnTo>
                <a:lnTo>
                  <a:pt x="1278" y="1030"/>
                </a:lnTo>
                <a:close/>
                <a:moveTo>
                  <a:pt x="978" y="366"/>
                </a:moveTo>
                <a:lnTo>
                  <a:pt x="1262" y="281"/>
                </a:lnTo>
                <a:lnTo>
                  <a:pt x="1262" y="1389"/>
                </a:lnTo>
                <a:lnTo>
                  <a:pt x="978" y="1237"/>
                </a:lnTo>
                <a:lnTo>
                  <a:pt x="978" y="366"/>
                </a:lnTo>
                <a:close/>
                <a:moveTo>
                  <a:pt x="135" y="1748"/>
                </a:moveTo>
                <a:lnTo>
                  <a:pt x="78" y="1448"/>
                </a:lnTo>
                <a:lnTo>
                  <a:pt x="978" y="1254"/>
                </a:lnTo>
                <a:lnTo>
                  <a:pt x="1259" y="1408"/>
                </a:lnTo>
                <a:lnTo>
                  <a:pt x="135" y="1748"/>
                </a:lnTo>
                <a:close/>
                <a:moveTo>
                  <a:pt x="2724" y="2211"/>
                </a:moveTo>
                <a:lnTo>
                  <a:pt x="1822" y="1717"/>
                </a:lnTo>
                <a:lnTo>
                  <a:pt x="926" y="2211"/>
                </a:lnTo>
                <a:lnTo>
                  <a:pt x="555" y="1641"/>
                </a:lnTo>
                <a:lnTo>
                  <a:pt x="1276" y="1419"/>
                </a:lnTo>
                <a:lnTo>
                  <a:pt x="1822" y="1717"/>
                </a:lnTo>
                <a:lnTo>
                  <a:pt x="2360" y="1417"/>
                </a:lnTo>
                <a:lnTo>
                  <a:pt x="3088" y="1639"/>
                </a:lnTo>
                <a:lnTo>
                  <a:pt x="2724" y="2211"/>
                </a:lnTo>
                <a:close/>
                <a:moveTo>
                  <a:pt x="3518" y="1741"/>
                </a:moveTo>
                <a:lnTo>
                  <a:pt x="2381" y="1405"/>
                </a:lnTo>
                <a:lnTo>
                  <a:pt x="2655" y="1254"/>
                </a:lnTo>
                <a:lnTo>
                  <a:pt x="3570" y="1445"/>
                </a:lnTo>
                <a:lnTo>
                  <a:pt x="3518" y="1741"/>
                </a:lnTo>
                <a:close/>
              </a:path>
            </a:pathLst>
          </a:custGeom>
          <a:solidFill>
            <a:sysClr val="window" lastClr="FFFFFF">
              <a:alpha val="43000"/>
            </a:sys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 kern="0">
              <a:solidFill>
                <a:srgbClr val="0049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107141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ly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2482337"/>
              </p:ext>
            </p:extLst>
          </p:nvPr>
        </p:nvGraphicFramePr>
        <p:xfrm>
          <a:off x="2015" y="1593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015" y="1593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1692" y="252000"/>
            <a:ext cx="11037046" cy="1044000"/>
          </a:xfrm>
        </p:spPr>
        <p:txBody>
          <a:bodyPr/>
          <a:lstStyle/>
          <a:p>
            <a:r>
              <a:rPr lang="en-US" err="1"/>
              <a:t>Titelmasterformat</a:t>
            </a:r>
            <a:r>
              <a:rPr lang="en-US"/>
              <a:t> </a:t>
            </a:r>
            <a:r>
              <a:rPr lang="en-US" err="1"/>
              <a:t>durch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497B"/>
                </a:solidFill>
              </a:rPr>
              <a:t>20.09.22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497B"/>
                </a:solidFill>
              </a:rPr>
              <a:t>Optional information – to delete or change text, open settings of header and footer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E76F1F-475F-482A-A2C6-CD2E081FF2E5}" type="slidenum">
              <a:rPr lang="en-US" smtClean="0">
                <a:solidFill>
                  <a:srgbClr val="00497B"/>
                </a:solidFill>
              </a:rPr>
              <a:pPr/>
              <a:t>‹#›</a:t>
            </a:fld>
            <a:endParaRPr lang="en-US">
              <a:solidFill>
                <a:srgbClr val="0049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863773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Headline, Sub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3147264"/>
              </p:ext>
            </p:extLst>
          </p:nvPr>
        </p:nvGraphicFramePr>
        <p:xfrm>
          <a:off x="2015" y="1593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015" y="1593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31692" y="252001"/>
            <a:ext cx="11037046" cy="57218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err="1"/>
              <a:t>Titelmasterformat</a:t>
            </a:r>
            <a:r>
              <a:rPr lang="en-US"/>
              <a:t> </a:t>
            </a:r>
            <a:r>
              <a:rPr lang="en-US" err="1"/>
              <a:t>durch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bearbeiten</a:t>
            </a: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534E4-5BF1-4CAA-B304-C235E813B3E6}" type="slidenum">
              <a:rPr lang="en-US" smtClean="0">
                <a:solidFill>
                  <a:srgbClr val="00497B"/>
                </a:solidFill>
              </a:rPr>
              <a:pPr/>
              <a:t>‹#›</a:t>
            </a:fld>
            <a:endParaRPr lang="en-US">
              <a:solidFill>
                <a:srgbClr val="00497B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31446" y="864426"/>
            <a:ext cx="11037046" cy="358775"/>
          </a:xfrm>
        </p:spPr>
        <p:txBody>
          <a:bodyPr/>
          <a:lstStyle>
            <a:lvl1pPr>
              <a:defRPr lang="en-US" sz="1800" b="0" kern="1200">
                <a:solidFill>
                  <a:srgbClr val="00497B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6584747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age on colo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DE4236B-487D-432A-A1E6-2BD3C321DB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914400"/>
            <a:fld id="{13303B95-7D4A-484B-AA44-A43BEDDFB2AC}" type="datetime1">
              <a:rPr lang="de-DE" smtClean="0"/>
              <a:t>26.01.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005CFE8-2785-425F-A37F-D36C3BC390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914400"/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8DB7100-0C60-47ED-B49F-ACA52227E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914400"/>
            <a:fld id="{BBE0597C-028E-473F-BF50-BBB8B8A24EC3}" type="slidenum">
              <a:rPr lang="en-GB" smtClean="0"/>
              <a:pPr defTabSz="914400"/>
              <a:t>‹#›</a:t>
            </a:fld>
            <a:endParaRPr lang="en-GB"/>
          </a:p>
        </p:txBody>
      </p:sp>
      <p:sp>
        <p:nvSpPr>
          <p:cNvPr id="6" name="Textplatzhalter 10">
            <a:extLst>
              <a:ext uri="{FF2B5EF4-FFF2-40B4-BE49-F238E27FC236}">
                <a16:creationId xmlns:a16="http://schemas.microsoft.com/office/drawing/2014/main" id="{DBA80579-8F38-4CA4-B85E-0A73B959AA8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3362325"/>
            <a:ext cx="11160123" cy="321401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1200" cap="all" spc="50" baseline="0" dirty="0">
                <a:solidFill>
                  <a:schemeClr val="bg1"/>
                </a:solidFill>
                <a:latin typeface="+mn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</a:t>
            </a:r>
            <a:r>
              <a:rPr lang="en-GB" err="1"/>
              <a:t>Topline</a:t>
            </a:r>
            <a:endParaRPr lang="en-GB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79F8E431-9E41-4DEB-8984-FA8B2FCDD5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7" y="3830639"/>
            <a:ext cx="11160125" cy="2491220"/>
          </a:xfrm>
        </p:spPr>
        <p:txBody>
          <a:bodyPr/>
          <a:lstStyle>
            <a:lvl1pPr>
              <a:defRPr sz="5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Divider headlin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A65A4E4-4351-49B5-B782-E82663AFE49B}"/>
              </a:ext>
            </a:extLst>
          </p:cNvPr>
          <p:cNvSpPr/>
          <p:nvPr userDrawn="1"/>
        </p:nvSpPr>
        <p:spPr>
          <a:xfrm>
            <a:off x="304800" y="6404987"/>
            <a:ext cx="1066800" cy="3985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</a:pPr>
            <a:endParaRPr lang="en-US" sz="1600" err="1"/>
          </a:p>
        </p:txBody>
      </p:sp>
      <p:pic>
        <p:nvPicPr>
          <p:cNvPr id="9" name="Grafik 9">
            <a:extLst>
              <a:ext uri="{FF2B5EF4-FFF2-40B4-BE49-F238E27FC236}">
                <a16:creationId xmlns:a16="http://schemas.microsoft.com/office/drawing/2014/main" id="{4413D840-9B25-4072-A5DE-93035BB605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8579" y="6423258"/>
            <a:ext cx="562147" cy="267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88129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1692" y="252000"/>
            <a:ext cx="11037046" cy="1044000"/>
          </a:xfrm>
        </p:spPr>
        <p:txBody>
          <a:bodyPr/>
          <a:lstStyle/>
          <a:p>
            <a:r>
              <a:rPr lang="en-US" err="1"/>
              <a:t>Titelmasterformat</a:t>
            </a:r>
            <a:r>
              <a:rPr lang="en-US"/>
              <a:t> </a:t>
            </a:r>
            <a:r>
              <a:rPr lang="en-US" err="1"/>
              <a:t>durch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>
              <a:defRPr sz="2000">
                <a:solidFill>
                  <a:srgbClr val="000000"/>
                </a:solidFill>
              </a:defRPr>
            </a:lvl1pPr>
            <a:lvl2pPr marL="0">
              <a:defRPr sz="1800">
                <a:solidFill>
                  <a:srgbClr val="000000"/>
                </a:solidFill>
              </a:defRPr>
            </a:lvl2pPr>
            <a:lvl3pPr marL="0">
              <a:defRPr sz="1600">
                <a:solidFill>
                  <a:srgbClr val="000000"/>
                </a:solidFill>
              </a:defRPr>
            </a:lvl3pPr>
            <a:lvl4pPr marL="0">
              <a:defRPr sz="1400">
                <a:solidFill>
                  <a:srgbClr val="000000"/>
                </a:solidFill>
              </a:defRPr>
            </a:lvl4pPr>
            <a:lvl5pPr marL="0">
              <a:defRPr sz="8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err="1"/>
              <a:t>Textmaster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497B"/>
                </a:solidFill>
              </a:rPr>
              <a:t>20.09.22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en-US">
                <a:solidFill>
                  <a:srgbClr val="00497B"/>
                </a:solidFill>
              </a:rPr>
              <a:t>Optional information – to delete or change text, open settings of header and footer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534E4-5BF1-4CAA-B304-C235E813B3E6}" type="slidenum">
              <a:rPr lang="en-US" smtClean="0">
                <a:solidFill>
                  <a:srgbClr val="00497B"/>
                </a:solidFill>
              </a:rPr>
              <a:pPr/>
              <a:t>‹#›</a:t>
            </a:fld>
            <a:endParaRPr lang="en-US">
              <a:solidFill>
                <a:srgbClr val="0049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784446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line, Sub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1692" y="252000"/>
            <a:ext cx="11037046" cy="1044000"/>
          </a:xfrm>
        </p:spPr>
        <p:txBody>
          <a:bodyPr/>
          <a:lstStyle/>
          <a:p>
            <a:r>
              <a:rPr lang="en-US" err="1"/>
              <a:t>Titelmasterformat</a:t>
            </a:r>
            <a:r>
              <a:rPr lang="en-US"/>
              <a:t> </a:t>
            </a:r>
            <a:r>
              <a:rPr lang="en-US" err="1"/>
              <a:t>durch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000">
                <a:solidFill>
                  <a:srgbClr val="000000"/>
                </a:solidFill>
              </a:defRPr>
            </a:lvl1pPr>
            <a:lvl2pPr>
              <a:defRPr sz="1800">
                <a:solidFill>
                  <a:srgbClr val="000000"/>
                </a:solidFill>
              </a:defRPr>
            </a:lvl2pPr>
            <a:lvl3pPr>
              <a:defRPr sz="1600">
                <a:solidFill>
                  <a:srgbClr val="000000"/>
                </a:solidFill>
              </a:defRPr>
            </a:lvl3pPr>
            <a:lvl4pPr>
              <a:defRPr sz="1400">
                <a:solidFill>
                  <a:srgbClr val="000000"/>
                </a:solidFill>
              </a:defRPr>
            </a:lvl4pPr>
            <a:lvl5pPr>
              <a:defRPr sz="8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err="1"/>
              <a:t>Textmaster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497B"/>
                </a:solidFill>
              </a:rPr>
              <a:t>20.09.22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en-US">
                <a:solidFill>
                  <a:srgbClr val="00497B"/>
                </a:solidFill>
              </a:rPr>
              <a:t>Optional information – to delete or change text, open settings of header and footer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534E4-5BF1-4CAA-B304-C235E813B3E6}" type="slidenum">
              <a:rPr lang="en-US" smtClean="0">
                <a:solidFill>
                  <a:srgbClr val="00497B"/>
                </a:solidFill>
              </a:rPr>
              <a:pPr/>
              <a:t>‹#›</a:t>
            </a:fld>
            <a:endParaRPr lang="en-US">
              <a:solidFill>
                <a:srgbClr val="00497B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31446" y="1328381"/>
            <a:ext cx="11037046" cy="358775"/>
          </a:xfrm>
        </p:spPr>
        <p:txBody>
          <a:bodyPr/>
          <a:lstStyle>
            <a:lvl1pPr>
              <a:defRPr lang="en-US" sz="2400" b="0" kern="1200">
                <a:solidFill>
                  <a:srgbClr val="00497B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add </a:t>
            </a:r>
            <a:r>
              <a:rPr lang="en-US" err="1"/>
              <a:t>subtit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36493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ür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58" y="160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8" y="160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527064" y="-9549"/>
            <a:ext cx="11521611" cy="1062000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0" name="Gerade Verbindung 5"/>
          <p:cNvCxnSpPr/>
          <p:nvPr userDrawn="1"/>
        </p:nvCxnSpPr>
        <p:spPr>
          <a:xfrm>
            <a:off x="527051" y="5994000"/>
            <a:ext cx="11137900" cy="0"/>
          </a:xfrm>
          <a:prstGeom prst="line">
            <a:avLst/>
          </a:prstGeom>
          <a:noFill/>
          <a:ln w="12700" cap="flat" cmpd="sng" algn="ctr">
            <a:solidFill>
              <a:srgbClr val="00497B"/>
            </a:solidFill>
            <a:prstDash val="solid"/>
          </a:ln>
          <a:effectLst/>
        </p:spPr>
      </p:cxnSp>
      <p:pic>
        <p:nvPicPr>
          <p:cNvPr id="11" name="Grafik 6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692" y="6192000"/>
            <a:ext cx="1142809" cy="403200"/>
          </a:xfrm>
          <a:prstGeom prst="rect">
            <a:avLst/>
          </a:prstGeom>
        </p:spPr>
      </p:pic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184565" y="6192000"/>
            <a:ext cx="384174" cy="27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24B2EBC4-1ECC-42E0-B15C-79C76529A1A4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Fußzeilenplatzhalter 4"/>
          <p:cNvSpPr txBox="1">
            <a:spLocks/>
          </p:cNvSpPr>
          <p:nvPr userDrawn="1"/>
        </p:nvSpPr>
        <p:spPr>
          <a:xfrm>
            <a:off x="537217" y="6525344"/>
            <a:ext cx="3628800" cy="270000"/>
          </a:xfrm>
          <a:prstGeom prst="rect">
            <a:avLst/>
          </a:prstGeom>
          <a:noFill/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l">
              <a:defRPr/>
            </a:pPr>
            <a:r>
              <a:rPr lang="en-US" sz="1000" kern="0">
                <a:solidFill>
                  <a:sysClr val="windowText" lastClr="000000"/>
                </a:solidFill>
              </a:rPr>
              <a:t>Enterprise Architecture, 1743 EH 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083113" y="6040660"/>
            <a:ext cx="6852465" cy="123111"/>
          </a:xfrm>
        </p:spPr>
        <p:txBody>
          <a:bodyPr wrap="square">
            <a:spAutoFit/>
          </a:bodyPr>
          <a:lstStyle>
            <a:lvl1pPr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Note / Source</a:t>
            </a:r>
          </a:p>
        </p:txBody>
      </p:sp>
    </p:spTree>
    <p:extLst>
      <p:ext uri="{BB962C8B-B14F-4D97-AF65-F5344CB8AC3E}">
        <p14:creationId xmlns:p14="http://schemas.microsoft.com/office/powerpoint/2010/main" val="252412943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083113" y="6040660"/>
            <a:ext cx="6852465" cy="123111"/>
          </a:xfrm>
        </p:spPr>
        <p:txBody>
          <a:bodyPr wrap="square">
            <a:spAutoFit/>
          </a:bodyPr>
          <a:lstStyle>
            <a:lvl1pPr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Note / Sourc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527538" y="1476274"/>
            <a:ext cx="11037278" cy="1532727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5" name="Gerade Verbindung 5"/>
          <p:cNvCxnSpPr/>
          <p:nvPr userDrawn="1"/>
        </p:nvCxnSpPr>
        <p:spPr>
          <a:xfrm>
            <a:off x="527051" y="5994000"/>
            <a:ext cx="11137900" cy="0"/>
          </a:xfrm>
          <a:prstGeom prst="line">
            <a:avLst/>
          </a:prstGeom>
          <a:noFill/>
          <a:ln w="12700" cap="flat" cmpd="sng" algn="ctr">
            <a:solidFill>
              <a:srgbClr val="00497B"/>
            </a:solidFill>
            <a:prstDash val="solid"/>
          </a:ln>
          <a:effectLst/>
        </p:spPr>
      </p:cxn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692" y="6192000"/>
            <a:ext cx="1142809" cy="403200"/>
          </a:xfrm>
          <a:prstGeom prst="rect">
            <a:avLst/>
          </a:prstGeom>
        </p:spPr>
      </p:pic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184565" y="6192000"/>
            <a:ext cx="384174" cy="27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24B2EBC4-1ECC-42E0-B15C-79C76529A1A4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1" name="Fußzeilenplatzhalter 4"/>
          <p:cNvSpPr txBox="1">
            <a:spLocks/>
          </p:cNvSpPr>
          <p:nvPr userDrawn="1"/>
        </p:nvSpPr>
        <p:spPr>
          <a:xfrm>
            <a:off x="537217" y="6525344"/>
            <a:ext cx="3628800" cy="270000"/>
          </a:xfrm>
          <a:prstGeom prst="rect">
            <a:avLst/>
          </a:prstGeom>
          <a:noFill/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l">
              <a:defRPr/>
            </a:pPr>
            <a:r>
              <a:rPr lang="en-US" sz="1000" kern="0">
                <a:solidFill>
                  <a:sysClr val="windowText" lastClr="000000"/>
                </a:solidFill>
              </a:rPr>
              <a:t>Enterprise Architecture, 1743</a:t>
            </a:r>
          </a:p>
        </p:txBody>
      </p:sp>
    </p:spTree>
    <p:extLst>
      <p:ext uri="{BB962C8B-B14F-4D97-AF65-F5344CB8AC3E}">
        <p14:creationId xmlns:p14="http://schemas.microsoft.com/office/powerpoint/2010/main" val="267962132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Headline, Sub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1692" y="252000"/>
            <a:ext cx="11037046" cy="1044000"/>
          </a:xfrm>
        </p:spPr>
        <p:txBody>
          <a:bodyPr/>
          <a:lstStyle/>
          <a:p>
            <a:r>
              <a:rPr lang="en-US" err="1"/>
              <a:t>Titelmasterformat</a:t>
            </a:r>
            <a:r>
              <a:rPr lang="en-US"/>
              <a:t> </a:t>
            </a:r>
            <a:r>
              <a:rPr lang="en-US" err="1"/>
              <a:t>durch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000">
                <a:solidFill>
                  <a:srgbClr val="000000"/>
                </a:solidFill>
              </a:defRPr>
            </a:lvl1pPr>
            <a:lvl2pPr>
              <a:defRPr sz="1800">
                <a:solidFill>
                  <a:srgbClr val="000000"/>
                </a:solidFill>
              </a:defRPr>
            </a:lvl2pPr>
            <a:lvl3pPr>
              <a:defRPr sz="1600">
                <a:solidFill>
                  <a:srgbClr val="000000"/>
                </a:solidFill>
              </a:defRPr>
            </a:lvl3pPr>
            <a:lvl4pPr>
              <a:defRPr sz="1400">
                <a:solidFill>
                  <a:srgbClr val="000000"/>
                </a:solidFill>
              </a:defRPr>
            </a:lvl4pPr>
            <a:lvl5pPr>
              <a:defRPr sz="8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err="1"/>
              <a:t>Textmaster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497B"/>
                </a:solidFill>
              </a:rPr>
              <a:t>20.09.22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534E4-5BF1-4CAA-B304-C235E813B3E6}" type="slidenum">
              <a:rPr lang="en-US" smtClean="0">
                <a:solidFill>
                  <a:srgbClr val="00497B"/>
                </a:solidFill>
              </a:rPr>
              <a:pPr/>
              <a:t>‹#›</a:t>
            </a:fld>
            <a:endParaRPr lang="en-US">
              <a:solidFill>
                <a:srgbClr val="00497B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31446" y="1328381"/>
            <a:ext cx="11037046" cy="358775"/>
          </a:xfrm>
        </p:spPr>
        <p:txBody>
          <a:bodyPr/>
          <a:lstStyle>
            <a:lvl1pPr>
              <a:defRPr lang="en-US" sz="2400" b="0" kern="1200">
                <a:solidFill>
                  <a:srgbClr val="00497B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add </a:t>
            </a:r>
            <a:r>
              <a:rPr lang="en-US" err="1"/>
              <a:t>subtit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249446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Headline, Sub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Titelmasterformat</a:t>
            </a:r>
            <a:r>
              <a:rPr lang="en-US"/>
              <a:t> </a:t>
            </a:r>
            <a:r>
              <a:rPr lang="en-US" err="1"/>
              <a:t>durch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rgbClr val="00497B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</a:lstStyle>
          <a:p>
            <a:pPr lvl="0"/>
            <a:r>
              <a:rPr lang="en-US" err="1"/>
              <a:t>Textmaster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497B"/>
                </a:solidFill>
              </a:rPr>
              <a:t>20.09.22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497B"/>
                </a:solidFill>
              </a:rPr>
              <a:t>Optional information – to delete or change text, open settings of header and footer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534E4-5BF1-4CAA-B304-C235E813B3E6}" type="slidenum">
              <a:rPr lang="en-US" smtClean="0">
                <a:solidFill>
                  <a:srgbClr val="00497B"/>
                </a:solidFill>
              </a:rPr>
              <a:pPr/>
              <a:t>‹#›</a:t>
            </a:fld>
            <a:endParaRPr lang="en-US">
              <a:solidFill>
                <a:srgbClr val="0049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468393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Headline, Sub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Titelmasterformat</a:t>
            </a:r>
            <a:r>
              <a:rPr lang="en-US"/>
              <a:t> </a:t>
            </a:r>
            <a:r>
              <a:rPr lang="en-US" err="1"/>
              <a:t>durch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rgbClr val="00497B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</a:lstStyle>
          <a:p>
            <a:pPr lvl="0"/>
            <a:r>
              <a:rPr lang="en-US" err="1"/>
              <a:t>Textmaster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497B"/>
                </a:solidFill>
              </a:rPr>
              <a:t>20.09.22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534E4-5BF1-4CAA-B304-C235E813B3E6}" type="slidenum">
              <a:rPr lang="en-US" smtClean="0">
                <a:solidFill>
                  <a:srgbClr val="00497B"/>
                </a:solidFill>
              </a:rPr>
              <a:pPr/>
              <a:t>‹#›</a:t>
            </a:fld>
            <a:endParaRPr lang="en-US">
              <a:solidFill>
                <a:srgbClr val="00497B"/>
              </a:solidFill>
            </a:endParaRPr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196123" y="6192000"/>
            <a:ext cx="6847077" cy="270000"/>
          </a:xfrm>
          <a:prstGeom prst="rect">
            <a:avLst/>
          </a:prstGeom>
        </p:spPr>
        <p:txBody>
          <a:bodyPr/>
          <a:lstStyle>
            <a:lvl1pPr algn="ctr">
              <a:defRPr sz="1000"/>
            </a:lvl1pPr>
          </a:lstStyle>
          <a:p>
            <a:r>
              <a:rPr lang="en-US">
                <a:solidFill>
                  <a:srgbClr val="00497B"/>
                </a:solidFill>
              </a:rPr>
              <a:t>Optional information – to delete or change text, open settings of header and footer</a:t>
            </a:r>
          </a:p>
        </p:txBody>
      </p:sp>
    </p:spTree>
    <p:extLst>
      <p:ext uri="{BB962C8B-B14F-4D97-AF65-F5344CB8AC3E}">
        <p14:creationId xmlns:p14="http://schemas.microsoft.com/office/powerpoint/2010/main" val="231975743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err="1"/>
              <a:t>Textmaster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534E4-5BF1-4CAA-B304-C235E813B3E6}" type="slidenum">
              <a:rPr lang="en-US" smtClean="0">
                <a:solidFill>
                  <a:srgbClr val="00497B"/>
                </a:solidFill>
              </a:rPr>
              <a:pPr/>
              <a:t>‹#›</a:t>
            </a:fld>
            <a:endParaRPr lang="en-US">
              <a:solidFill>
                <a:srgbClr val="00497B"/>
              </a:solidFill>
            </a:endParaRPr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196490" y="6192000"/>
            <a:ext cx="3628800" cy="27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rgbClr val="00497B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l"/>
            <a:r>
              <a:rPr lang="en-US"/>
              <a:t>Optional information – to delete or change text, open settings of header and footer</a:t>
            </a:r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531692" y="252000"/>
            <a:ext cx="11037046" cy="1016760"/>
          </a:xfrm>
        </p:spPr>
        <p:txBody>
          <a:bodyPr/>
          <a:lstStyle/>
          <a:p>
            <a:r>
              <a:rPr lang="en-US" err="1"/>
              <a:t>Titelmasterformat</a:t>
            </a:r>
            <a:r>
              <a:rPr lang="en-US"/>
              <a:t> </a:t>
            </a:r>
            <a:r>
              <a:rPr lang="en-US" err="1"/>
              <a:t>durch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846928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Titelmasterformat</a:t>
            </a:r>
            <a:r>
              <a:rPr lang="en-US"/>
              <a:t> </a:t>
            </a:r>
            <a:r>
              <a:rPr lang="en-US" err="1"/>
              <a:t>durch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497B"/>
                </a:solidFill>
              </a:rPr>
              <a:t>20.09.22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497B"/>
                </a:solidFill>
              </a:rPr>
              <a:t>Optional information – to delete or change text, open settings of header and footer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B2EBC4-1ECC-42E0-B15C-79C76529A1A4}" type="slidenum">
              <a:rPr lang="en-US" smtClean="0">
                <a:solidFill>
                  <a:srgbClr val="00497B"/>
                </a:solidFill>
              </a:rPr>
              <a:pPr/>
              <a:t>‹#›</a:t>
            </a:fld>
            <a:endParaRPr lang="en-US">
              <a:solidFill>
                <a:srgbClr val="0049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955453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Headline, Sub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015" y="1593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015" y="1593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31692" y="252001"/>
            <a:ext cx="11037046" cy="57218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err="1"/>
              <a:t>Titelmasterformat</a:t>
            </a:r>
            <a:r>
              <a:rPr lang="en-US"/>
              <a:t> </a:t>
            </a:r>
            <a:r>
              <a:rPr lang="en-US" err="1"/>
              <a:t>durch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bearbeiten</a:t>
            </a: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534E4-5BF1-4CAA-B304-C235E813B3E6}" type="slidenum">
              <a:rPr lang="en-US" smtClean="0">
                <a:solidFill>
                  <a:srgbClr val="00497B"/>
                </a:solidFill>
              </a:rPr>
              <a:pPr/>
              <a:t>‹#›</a:t>
            </a:fld>
            <a:endParaRPr lang="en-US">
              <a:solidFill>
                <a:srgbClr val="00497B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31446" y="864426"/>
            <a:ext cx="11037046" cy="358775"/>
          </a:xfrm>
        </p:spPr>
        <p:txBody>
          <a:bodyPr/>
          <a:lstStyle>
            <a:lvl1pPr>
              <a:defRPr lang="en-US" sz="1800" b="0" kern="1200">
                <a:solidFill>
                  <a:srgbClr val="00497B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8358214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age with image +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>
            <a:extLst>
              <a:ext uri="{FF2B5EF4-FFF2-40B4-BE49-F238E27FC236}">
                <a16:creationId xmlns:a16="http://schemas.microsoft.com/office/drawing/2014/main" id="{DC23CDB2-5A7E-CDB4-7154-06EF2FA70D84}"/>
              </a:ext>
            </a:extLst>
          </p:cNvPr>
          <p:cNvSpPr/>
          <p:nvPr userDrawn="1"/>
        </p:nvSpPr>
        <p:spPr>
          <a:xfrm>
            <a:off x="7680325" y="0"/>
            <a:ext cx="451167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1628775"/>
            <a:ext cx="6948488" cy="2046242"/>
          </a:xfrm>
        </p:spPr>
        <p:txBody>
          <a:bodyPr/>
          <a:lstStyle>
            <a:lvl1pPr>
              <a:defRPr sz="45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Divider 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16063E-9058-4E68-B701-BE62958ECB00}" type="datetime1">
              <a:rPr lang="de-DE" smtClean="0"/>
              <a:t>26.01.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F871C89F-DEE0-3BEE-38F7-BC449E34161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1106807"/>
            <a:ext cx="6948487" cy="321401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1200" cap="all" spc="50" baseline="0" dirty="0">
                <a:solidFill>
                  <a:schemeClr val="bg1"/>
                </a:solidFill>
                <a:latin typeface="+mn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7F51E4F7-DAF3-D00A-9242-D342563ED1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3849732"/>
            <a:ext cx="6948487" cy="249550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16" name="Freihandform: Form 12">
            <a:extLst>
              <a:ext uri="{FF2B5EF4-FFF2-40B4-BE49-F238E27FC236}">
                <a16:creationId xmlns:a16="http://schemas.microsoft.com/office/drawing/2014/main" id="{C5483085-6581-778E-8E4E-0A231D28274D}"/>
              </a:ext>
            </a:extLst>
          </p:cNvPr>
          <p:cNvSpPr/>
          <p:nvPr userDrawn="1"/>
        </p:nvSpPr>
        <p:spPr>
          <a:xfrm flipV="1">
            <a:off x="0" y="620572"/>
            <a:ext cx="11871644" cy="6246952"/>
          </a:xfrm>
          <a:custGeom>
            <a:avLst/>
            <a:gdLst>
              <a:gd name="connsiteX0" fmla="*/ 0 w 11871644"/>
              <a:gd name="connsiteY0" fmla="*/ 6246952 h 6246952"/>
              <a:gd name="connsiteX1" fmla="*/ 10659344 w 11871644"/>
              <a:gd name="connsiteY1" fmla="*/ 6246952 h 6246952"/>
              <a:gd name="connsiteX2" fmla="*/ 11871644 w 11871644"/>
              <a:gd name="connsiteY2" fmla="*/ 5033058 h 6246952"/>
              <a:gd name="connsiteX3" fmla="*/ 11871644 w 11871644"/>
              <a:gd name="connsiteY3" fmla="*/ 0 h 6246952"/>
              <a:gd name="connsiteX4" fmla="*/ 11833569 w 11871644"/>
              <a:gd name="connsiteY4" fmla="*/ 0 h 6246952"/>
              <a:gd name="connsiteX5" fmla="*/ 11833569 w 11871644"/>
              <a:gd name="connsiteY5" fmla="*/ 5033058 h 6246952"/>
              <a:gd name="connsiteX6" fmla="*/ 10659344 w 11871644"/>
              <a:gd name="connsiteY6" fmla="*/ 6208865 h 6246952"/>
              <a:gd name="connsiteX7" fmla="*/ 0 w 11871644"/>
              <a:gd name="connsiteY7" fmla="*/ 6208865 h 62469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71644" h="6246952">
                <a:moveTo>
                  <a:pt x="0" y="6246952"/>
                </a:moveTo>
                <a:lnTo>
                  <a:pt x="10659344" y="6246952"/>
                </a:lnTo>
                <a:cubicBezTo>
                  <a:pt x="11327809" y="6246952"/>
                  <a:pt x="11871644" y="5702403"/>
                  <a:pt x="11871644" y="5033058"/>
                </a:cubicBezTo>
                <a:lnTo>
                  <a:pt x="11871644" y="0"/>
                </a:lnTo>
                <a:lnTo>
                  <a:pt x="11833569" y="0"/>
                </a:lnTo>
                <a:lnTo>
                  <a:pt x="11833569" y="5033058"/>
                </a:lnTo>
                <a:cubicBezTo>
                  <a:pt x="11833569" y="5681392"/>
                  <a:pt x="11306818" y="6208865"/>
                  <a:pt x="10659344" y="6208865"/>
                </a:cubicBezTo>
                <a:lnTo>
                  <a:pt x="0" y="6208865"/>
                </a:lnTo>
                <a:close/>
              </a:path>
            </a:pathLst>
          </a:custGeom>
          <a:solidFill>
            <a:schemeClr val="bg1"/>
          </a:solidFill>
          <a:ln w="1268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9" name="Bildplatzhalter 16">
            <a:extLst>
              <a:ext uri="{FF2B5EF4-FFF2-40B4-BE49-F238E27FC236}">
                <a16:creationId xmlns:a16="http://schemas.microsoft.com/office/drawing/2014/main" id="{4706A0B1-1B43-0235-B8FD-C3CC35628A9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680324" y="0"/>
            <a:ext cx="4511675" cy="6867524"/>
          </a:xfrm>
          <a:custGeom>
            <a:avLst/>
            <a:gdLst>
              <a:gd name="connsiteX0" fmla="*/ 0 w 4511675"/>
              <a:gd name="connsiteY0" fmla="*/ 658659 h 6858000"/>
              <a:gd name="connsiteX1" fmla="*/ 2979020 w 4511675"/>
              <a:gd name="connsiteY1" fmla="*/ 658659 h 6858000"/>
              <a:gd name="connsiteX2" fmla="*/ 4153245 w 4511675"/>
              <a:gd name="connsiteY2" fmla="*/ 1834466 h 6858000"/>
              <a:gd name="connsiteX3" fmla="*/ 4153245 w 4511675"/>
              <a:gd name="connsiteY3" fmla="*/ 6858000 h 6858000"/>
              <a:gd name="connsiteX4" fmla="*/ 0 w 4511675"/>
              <a:gd name="connsiteY4" fmla="*/ 6858000 h 6858000"/>
              <a:gd name="connsiteX5" fmla="*/ 0 w 4511675"/>
              <a:gd name="connsiteY5" fmla="*/ 0 h 6858000"/>
              <a:gd name="connsiteX6" fmla="*/ 4511675 w 4511675"/>
              <a:gd name="connsiteY6" fmla="*/ 0 h 6858000"/>
              <a:gd name="connsiteX7" fmla="*/ 4511675 w 4511675"/>
              <a:gd name="connsiteY7" fmla="*/ 6858000 h 6858000"/>
              <a:gd name="connsiteX8" fmla="*/ 4191320 w 4511675"/>
              <a:gd name="connsiteY8" fmla="*/ 6858000 h 6858000"/>
              <a:gd name="connsiteX9" fmla="*/ 4191320 w 4511675"/>
              <a:gd name="connsiteY9" fmla="*/ 1834466 h 6858000"/>
              <a:gd name="connsiteX10" fmla="*/ 2979020 w 4511675"/>
              <a:gd name="connsiteY10" fmla="*/ 620572 h 6858000"/>
              <a:gd name="connsiteX11" fmla="*/ 0 w 4511675"/>
              <a:gd name="connsiteY11" fmla="*/ 62057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511675" h="6858000">
                <a:moveTo>
                  <a:pt x="0" y="658659"/>
                </a:moveTo>
                <a:lnTo>
                  <a:pt x="2979020" y="658659"/>
                </a:lnTo>
                <a:cubicBezTo>
                  <a:pt x="3626494" y="658659"/>
                  <a:pt x="4153245" y="1186132"/>
                  <a:pt x="4153245" y="1834466"/>
                </a:cubicBezTo>
                <a:lnTo>
                  <a:pt x="4153245" y="6858000"/>
                </a:lnTo>
                <a:lnTo>
                  <a:pt x="0" y="6858000"/>
                </a:lnTo>
                <a:close/>
                <a:moveTo>
                  <a:pt x="0" y="0"/>
                </a:moveTo>
                <a:lnTo>
                  <a:pt x="4511675" y="0"/>
                </a:lnTo>
                <a:lnTo>
                  <a:pt x="4511675" y="6858000"/>
                </a:lnTo>
                <a:lnTo>
                  <a:pt x="4191320" y="6858000"/>
                </a:lnTo>
                <a:lnTo>
                  <a:pt x="4191320" y="1834466"/>
                </a:lnTo>
                <a:cubicBezTo>
                  <a:pt x="4191320" y="1165121"/>
                  <a:pt x="3647485" y="620572"/>
                  <a:pt x="2979020" y="620572"/>
                </a:cubicBezTo>
                <a:lnTo>
                  <a:pt x="0" y="62057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lIns="72000" tIns="72000" rIns="72000" bIns="72000" anchor="ctr" anchorCtr="0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EF84007-DF8C-42BB-98B0-E33C7F4E9DBD}"/>
              </a:ext>
            </a:extLst>
          </p:cNvPr>
          <p:cNvSpPr/>
          <p:nvPr userDrawn="1"/>
        </p:nvSpPr>
        <p:spPr>
          <a:xfrm>
            <a:off x="509152" y="6379986"/>
            <a:ext cx="663658" cy="40566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</a:pPr>
            <a:endParaRPr lang="en-US" sz="1600" err="1"/>
          </a:p>
        </p:txBody>
      </p:sp>
      <p:pic>
        <p:nvPicPr>
          <p:cNvPr id="15" name="Grafik 2">
            <a:extLst>
              <a:ext uri="{FF2B5EF4-FFF2-40B4-BE49-F238E27FC236}">
                <a16:creationId xmlns:a16="http://schemas.microsoft.com/office/drawing/2014/main" id="{9271334C-F635-4DF4-8C45-8721DFC855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22424" y="6424700"/>
            <a:ext cx="562147" cy="267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9147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ark Pictur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723" y="-27384"/>
            <a:ext cx="12209723" cy="6885384"/>
          </a:xfrm>
          <a:prstGeom prst="rect">
            <a:avLst/>
          </a:prstGeom>
        </p:spPr>
      </p:pic>
      <p:grpSp>
        <p:nvGrpSpPr>
          <p:cNvPr id="5" name="Gruppieren 4"/>
          <p:cNvGrpSpPr/>
          <p:nvPr userDrawn="1"/>
        </p:nvGrpSpPr>
        <p:grpSpPr>
          <a:xfrm>
            <a:off x="-19141" y="5238000"/>
            <a:ext cx="12211141" cy="1620000"/>
            <a:chOff x="-15552" y="5238000"/>
            <a:chExt cx="9921552" cy="1620000"/>
          </a:xfrm>
        </p:grpSpPr>
        <p:sp>
          <p:nvSpPr>
            <p:cNvPr id="16" name="Rechteck 15"/>
            <p:cNvSpPr/>
            <p:nvPr userDrawn="1"/>
          </p:nvSpPr>
          <p:spPr>
            <a:xfrm>
              <a:off x="-15552" y="5238000"/>
              <a:ext cx="9921552" cy="1620000"/>
            </a:xfrm>
            <a:prstGeom prst="rect">
              <a:avLst/>
            </a:prstGeom>
            <a:gradFill flip="none" rotWithShape="1">
              <a:gsLst>
                <a:gs pos="50000">
                  <a:srgbClr val="7DB5DA">
                    <a:alpha val="80000"/>
                  </a:srgbClr>
                </a:gs>
                <a:gs pos="0">
                  <a:srgbClr val="BCE4FA">
                    <a:alpha val="80000"/>
                  </a:srgbClr>
                </a:gs>
                <a:gs pos="100000">
                  <a:srgbClr val="00497B">
                    <a:alpha val="80000"/>
                  </a:srgb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>
                <a:solidFill>
                  <a:srgbClr val="FFFFFF"/>
                </a:solidFill>
              </a:endParaRPr>
            </a:p>
          </p:txBody>
        </p:sp>
        <p:pic>
          <p:nvPicPr>
            <p:cNvPr id="18" name="Grafik 17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2000" y="6192000"/>
              <a:ext cx="928532" cy="403200"/>
            </a:xfrm>
            <a:prstGeom prst="rect">
              <a:avLst/>
            </a:prstGeom>
          </p:spPr>
        </p:pic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31692" y="1079999"/>
            <a:ext cx="11037046" cy="1800000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err="1"/>
              <a:t>Titelmasterformat</a:t>
            </a:r>
            <a:r>
              <a:rPr lang="en-US"/>
              <a:t> </a:t>
            </a:r>
            <a:r>
              <a:rPr lang="en-US" err="1"/>
              <a:t>durch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31692" y="2880000"/>
            <a:ext cx="11037046" cy="2358000"/>
          </a:xfrm>
        </p:spPr>
        <p:txBody>
          <a:bodyPr>
            <a:no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err="1"/>
              <a:t>Formatvorlage</a:t>
            </a:r>
            <a:r>
              <a:rPr lang="en-US"/>
              <a:t> des </a:t>
            </a:r>
            <a:r>
              <a:rPr lang="en-US" err="1"/>
              <a:t>Untertitelmasters</a:t>
            </a:r>
            <a:r>
              <a:rPr lang="en-US"/>
              <a:t> </a:t>
            </a:r>
            <a:r>
              <a:rPr lang="en-US" err="1"/>
              <a:t>durch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31692" y="4509120"/>
            <a:ext cx="11037278" cy="720154"/>
          </a:xfrm>
        </p:spPr>
        <p:txBody>
          <a:bodyPr>
            <a:noAutofit/>
          </a:bodyPr>
          <a:lstStyle>
            <a:lvl1pPr>
              <a:defRPr sz="1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ptional information</a:t>
            </a:r>
          </a:p>
        </p:txBody>
      </p:sp>
      <p:sp>
        <p:nvSpPr>
          <p:cNvPr id="23" name="Datumsplatzhalter 3"/>
          <p:cNvSpPr>
            <a:spLocks noGrp="1"/>
          </p:cNvSpPr>
          <p:nvPr>
            <p:ph type="dt" sz="half" idx="2"/>
          </p:nvPr>
        </p:nvSpPr>
        <p:spPr>
          <a:xfrm>
            <a:off x="9264742" y="6192000"/>
            <a:ext cx="1417846" cy="27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>
                <a:solidFill>
                  <a:srgbClr val="FFFFFF"/>
                </a:solidFill>
              </a:rPr>
              <a:t>20.09.22</a:t>
            </a:r>
          </a:p>
        </p:txBody>
      </p:sp>
      <p:sp>
        <p:nvSpPr>
          <p:cNvPr id="2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206523" y="6192000"/>
            <a:ext cx="6836677" cy="27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>
                <a:solidFill>
                  <a:srgbClr val="FFFFFF"/>
                </a:solidFill>
              </a:rPr>
              <a:t>Optional information – to delete or change text, open settings of header and footer</a:t>
            </a:r>
          </a:p>
        </p:txBody>
      </p:sp>
      <p:sp>
        <p:nvSpPr>
          <p:cNvPr id="2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904122" y="6192000"/>
            <a:ext cx="664617" cy="27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24B2EBC4-1ECC-42E0-B15C-79C76529A1A4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350855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Headline, Sub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5493077"/>
              </p:ext>
            </p:extLst>
          </p:nvPr>
        </p:nvGraphicFramePr>
        <p:xfrm>
          <a:off x="2015" y="1593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015" y="1593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31692" y="252001"/>
            <a:ext cx="11037046" cy="572186"/>
          </a:xfrm>
          <a:prstGeom prst="rect">
            <a:avLst/>
          </a:prstGeom>
        </p:spPr>
        <p:txBody>
          <a:bodyPr anchor="b"/>
          <a:lstStyle>
            <a:lvl1pPr>
              <a:defRPr sz="2000"/>
            </a:lvl1pPr>
          </a:lstStyle>
          <a:p>
            <a:r>
              <a:rPr lang="en-GB" err="1"/>
              <a:t>Titelmasterformat</a:t>
            </a:r>
            <a:r>
              <a:rPr lang="en-GB"/>
              <a:t> </a:t>
            </a:r>
            <a:r>
              <a:rPr lang="en-GB" err="1"/>
              <a:t>durch</a:t>
            </a:r>
            <a:r>
              <a:rPr lang="en-GB"/>
              <a:t> </a:t>
            </a:r>
            <a:r>
              <a:rPr lang="en-GB" err="1"/>
              <a:t>Klicken</a:t>
            </a:r>
            <a:r>
              <a:rPr lang="en-GB"/>
              <a:t> </a:t>
            </a:r>
            <a:br>
              <a:rPr lang="en-GB"/>
            </a:br>
            <a:r>
              <a:rPr lang="en-GB" err="1"/>
              <a:t>bearbeiten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369274" y="6399360"/>
            <a:ext cx="664617" cy="27000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768534E4-5BF1-4CAA-B304-C235E813B3E6}" type="slidenum">
              <a:rPr lang="en-GB" smtClean="0">
                <a:solidFill>
                  <a:srgbClr val="00497B"/>
                </a:solidFill>
              </a:rPr>
              <a:pPr/>
              <a:t>‹#›</a:t>
            </a:fld>
            <a:endParaRPr lang="en-GB">
              <a:solidFill>
                <a:srgbClr val="00497B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31446" y="864426"/>
            <a:ext cx="11037046" cy="358775"/>
          </a:xfrm>
          <a:prstGeom prst="rect">
            <a:avLst/>
          </a:prstGeom>
        </p:spPr>
        <p:txBody>
          <a:bodyPr/>
          <a:lstStyle>
            <a:lvl1pPr>
              <a:defRPr lang="en-US" sz="1800" b="0" kern="1200">
                <a:solidFill>
                  <a:srgbClr val="00497B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15984859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Only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015" y="1593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5" imgH="476" progId="TCLayout.ActiveDocument.1">
                  <p:embed/>
                </p:oleObj>
              </mc:Choice>
              <mc:Fallback>
                <p:oleObj name="think-cell Folie" r:id="rId3" imgW="475" imgH="47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015" y="1593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497B"/>
                </a:solidFill>
              </a:rPr>
              <a:t>20.09.22</a:t>
            </a:r>
            <a:endParaRPr lang="de-AT">
              <a:solidFill>
                <a:srgbClr val="00497B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>
                <a:solidFill>
                  <a:srgbClr val="00497B"/>
                </a:solidFill>
              </a:rPr>
              <a:t>Optional information – to delete or change text, open settings of header and footer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B2EBC4-1ECC-42E0-B15C-79C76529A1A4}" type="slidenum">
              <a:rPr lang="de-DE" smtClean="0">
                <a:solidFill>
                  <a:srgbClr val="00497B"/>
                </a:solidFill>
              </a:rPr>
              <a:pPr/>
              <a:t>‹#›</a:t>
            </a:fld>
            <a:endParaRPr lang="de-AT">
              <a:solidFill>
                <a:srgbClr val="00497B"/>
              </a:solidFill>
            </a:endParaRPr>
          </a:p>
        </p:txBody>
      </p:sp>
      <p:sp>
        <p:nvSpPr>
          <p:cNvPr id="7" name="Textplatzhalter 21"/>
          <p:cNvSpPr>
            <a:spLocks noGrp="1"/>
          </p:cNvSpPr>
          <p:nvPr>
            <p:ph type="body" sz="quarter" idx="13"/>
          </p:nvPr>
        </p:nvSpPr>
        <p:spPr>
          <a:xfrm>
            <a:off x="526009" y="5661280"/>
            <a:ext cx="11010665" cy="288000"/>
          </a:xfrm>
        </p:spPr>
        <p:txBody>
          <a:bodyPr anchor="b"/>
          <a:lstStyle>
            <a:lvl1pPr algn="l">
              <a:defRPr sz="800" i="1"/>
            </a:lvl1pPr>
            <a:lvl2pPr>
              <a:defRPr i="1"/>
            </a:lvl2pPr>
            <a:lvl3pPr>
              <a:defRPr i="1"/>
            </a:lvl3pPr>
            <a:lvl4pPr>
              <a:defRPr i="1"/>
            </a:lvl4pPr>
            <a:lvl5pPr>
              <a:defRPr i="1"/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77408138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Only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015" y="1593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015" y="1593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800"/>
            </a:lvl1pPr>
          </a:lstStyle>
          <a:p>
            <a:r>
              <a:rPr lang="en-US" err="1"/>
              <a:t>Titelmasterformat</a:t>
            </a:r>
            <a:r>
              <a:rPr lang="en-US"/>
              <a:t> </a:t>
            </a:r>
            <a:r>
              <a:rPr lang="en-US" err="1"/>
              <a:t>durch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497B"/>
                </a:solidFill>
              </a:rPr>
              <a:t>20.09.22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B2EBC4-1ECC-42E0-B15C-79C76529A1A4}" type="slidenum">
              <a:rPr lang="en-US" smtClean="0">
                <a:solidFill>
                  <a:srgbClr val="00497B"/>
                </a:solidFill>
              </a:rPr>
              <a:pPr/>
              <a:t>‹#›</a:t>
            </a:fld>
            <a:endParaRPr lang="en-US">
              <a:solidFill>
                <a:srgbClr val="0049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586468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Only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497B"/>
                </a:solidFill>
              </a:rPr>
              <a:t>20.09.22</a:t>
            </a:r>
            <a:endParaRPr lang="de-AT">
              <a:solidFill>
                <a:srgbClr val="00497B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>
                <a:solidFill>
                  <a:srgbClr val="00497B"/>
                </a:solidFill>
              </a:rPr>
              <a:t>Optional information – to delete or change text, open settings of header and footer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B2EBC4-1ECC-42E0-B15C-79C76529A1A4}" type="slidenum">
              <a:rPr lang="de-DE" smtClean="0">
                <a:solidFill>
                  <a:srgbClr val="00497B"/>
                </a:solidFill>
              </a:rPr>
              <a:pPr/>
              <a:t>‹#›</a:t>
            </a:fld>
            <a:endParaRPr lang="de-AT">
              <a:solidFill>
                <a:srgbClr val="00497B"/>
              </a:solidFill>
            </a:endParaRPr>
          </a:p>
        </p:txBody>
      </p:sp>
      <p:sp>
        <p:nvSpPr>
          <p:cNvPr id="7" name="Textplatzhalter 21"/>
          <p:cNvSpPr>
            <a:spLocks noGrp="1"/>
          </p:cNvSpPr>
          <p:nvPr>
            <p:ph type="body" sz="quarter" idx="13"/>
          </p:nvPr>
        </p:nvSpPr>
        <p:spPr>
          <a:xfrm>
            <a:off x="526009" y="5661280"/>
            <a:ext cx="11010665" cy="288000"/>
          </a:xfrm>
        </p:spPr>
        <p:txBody>
          <a:bodyPr anchor="b"/>
          <a:lstStyle>
            <a:lvl1pPr algn="l">
              <a:defRPr sz="800" i="1"/>
            </a:lvl1pPr>
            <a:lvl2pPr>
              <a:defRPr i="1"/>
            </a:lvl2pPr>
            <a:lvl3pPr>
              <a:defRPr i="1"/>
            </a:lvl3pPr>
            <a:lvl4pPr>
              <a:defRPr i="1"/>
            </a:lvl4pPr>
            <a:lvl5pPr>
              <a:defRPr i="1"/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55664997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Only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015" y="1593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015" y="1593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497B"/>
                </a:solidFill>
              </a:rPr>
              <a:t>20.09.22</a:t>
            </a:r>
            <a:endParaRPr lang="de-AT">
              <a:solidFill>
                <a:srgbClr val="00497B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>
                <a:solidFill>
                  <a:srgbClr val="00497B">
                    <a:tint val="75000"/>
                  </a:srgbClr>
                </a:solidFill>
              </a:rPr>
              <a:t>Optional information – to delete or change text, open settings of header and footer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B2EBC4-1ECC-42E0-B15C-79C76529A1A4}" type="slidenum">
              <a:rPr lang="de-DE" smtClean="0">
                <a:solidFill>
                  <a:srgbClr val="00497B"/>
                </a:solidFill>
              </a:rPr>
              <a:pPr/>
              <a:t>‹#›</a:t>
            </a:fld>
            <a:endParaRPr lang="de-AT">
              <a:solidFill>
                <a:srgbClr val="00497B"/>
              </a:solidFill>
            </a:endParaRPr>
          </a:p>
        </p:txBody>
      </p:sp>
      <p:sp>
        <p:nvSpPr>
          <p:cNvPr id="7" name="Textplatzhalter 21"/>
          <p:cNvSpPr>
            <a:spLocks noGrp="1"/>
          </p:cNvSpPr>
          <p:nvPr>
            <p:ph type="body" sz="quarter" idx="13"/>
          </p:nvPr>
        </p:nvSpPr>
        <p:spPr>
          <a:xfrm>
            <a:off x="526009" y="5661280"/>
            <a:ext cx="11010665" cy="288000"/>
          </a:xfrm>
        </p:spPr>
        <p:txBody>
          <a:bodyPr anchor="b"/>
          <a:lstStyle>
            <a:lvl1pPr algn="l">
              <a:defRPr sz="800" i="1"/>
            </a:lvl1pPr>
            <a:lvl2pPr>
              <a:defRPr i="1"/>
            </a:lvl2pPr>
            <a:lvl3pPr>
              <a:defRPr i="1"/>
            </a:lvl3pPr>
            <a:lvl4pPr>
              <a:defRPr i="1"/>
            </a:lvl4pPr>
            <a:lvl5pPr>
              <a:defRPr i="1"/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7942114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hree vertical contents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9404432"/>
              </p:ext>
            </p:extLst>
          </p:nvPr>
        </p:nvGraphicFramePr>
        <p:xfrm>
          <a:off x="2015" y="1593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5" imgH="476" progId="TCLayout.ActiveDocument.1">
                  <p:embed/>
                </p:oleObj>
              </mc:Choice>
              <mc:Fallback>
                <p:oleObj name="think-cell Folie" r:id="rId3" imgW="475" imgH="47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015" y="1593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31692" y="1296000"/>
            <a:ext cx="3456384" cy="50375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en-US" sz="1138" b="1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31692" y="1872000"/>
            <a:ext cx="3456384" cy="428400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vert="horz" lIns="36000" tIns="36000" rIns="36000" bIns="36000" rtlCol="0">
            <a:normAutofit/>
          </a:bodyPr>
          <a:lstStyle>
            <a:lvl1pPr marL="140397" indent="-140397">
              <a:spcBef>
                <a:spcPts val="20"/>
              </a:spcBef>
              <a:buFont typeface="Arial" panose="020B0604020202020204" pitchFamily="34" charset="0"/>
              <a:buChar char="•"/>
              <a:defRPr lang="en-US" sz="975" smtClean="0">
                <a:solidFill>
                  <a:schemeClr val="tx1"/>
                </a:solidFill>
              </a:defRPr>
            </a:lvl1pPr>
            <a:lvl2pPr marL="140397" indent="-140397">
              <a:spcBef>
                <a:spcPts val="20"/>
              </a:spcBef>
              <a:defRPr lang="en-US" sz="975" smtClean="0">
                <a:solidFill>
                  <a:schemeClr val="tx1"/>
                </a:solidFill>
              </a:defRPr>
            </a:lvl2pPr>
            <a:lvl3pPr marL="290207" indent="0">
              <a:buNone/>
              <a:defRPr lang="en-US" sz="975" smtClean="0">
                <a:solidFill>
                  <a:schemeClr val="tx1"/>
                </a:solidFill>
              </a:defRPr>
            </a:lvl3pPr>
            <a:lvl4pPr>
              <a:defRPr lang="en-US" sz="975" smtClean="0">
                <a:solidFill>
                  <a:schemeClr val="tx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353538" y="1296000"/>
            <a:ext cx="3456384" cy="50375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en-US" sz="1138" b="1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341963" y="1872000"/>
            <a:ext cx="3456384" cy="428400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vert="horz" lIns="36000" tIns="36000" rIns="36000" bIns="36000" rtlCol="0">
            <a:normAutofit/>
          </a:bodyPr>
          <a:lstStyle>
            <a:lvl1pPr marL="140397" indent="-140397">
              <a:spcBef>
                <a:spcPts val="20"/>
              </a:spcBef>
              <a:buFont typeface="Arial" panose="020B0604020202020204" pitchFamily="34" charset="0"/>
              <a:buChar char="•"/>
              <a:defRPr lang="en-US" sz="975" dirty="0" smtClean="0">
                <a:solidFill>
                  <a:schemeClr val="tx1"/>
                </a:solidFill>
              </a:defRPr>
            </a:lvl1pPr>
            <a:lvl2pPr marL="140397" indent="-140397">
              <a:spcBef>
                <a:spcPts val="20"/>
              </a:spcBef>
              <a:defRPr lang="en-US" sz="975" dirty="0" smtClean="0">
                <a:solidFill>
                  <a:schemeClr val="tx1"/>
                </a:solidFill>
              </a:defRPr>
            </a:lvl2pPr>
            <a:lvl3pPr marL="290207" indent="0">
              <a:buNone/>
              <a:defRPr lang="en-US" sz="975" dirty="0" smtClean="0">
                <a:solidFill>
                  <a:schemeClr val="tx1"/>
                </a:solidFill>
              </a:defRPr>
            </a:lvl3pPr>
            <a:lvl4pPr>
              <a:defRPr lang="en-US" sz="975" dirty="0" smtClean="0">
                <a:solidFill>
                  <a:schemeClr val="tx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8152233" y="1296000"/>
            <a:ext cx="3456384" cy="50375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en-US" sz="1138" b="1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Inhaltsplatzhalter 5"/>
          <p:cNvSpPr>
            <a:spLocks noGrp="1"/>
          </p:cNvSpPr>
          <p:nvPr>
            <p:ph sz="quarter" idx="14"/>
          </p:nvPr>
        </p:nvSpPr>
        <p:spPr>
          <a:xfrm>
            <a:off x="8152233" y="1872000"/>
            <a:ext cx="3456384" cy="428400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vert="horz" lIns="36000" tIns="36000" rIns="36000" bIns="36000" rtlCol="0">
            <a:normAutofit/>
          </a:bodyPr>
          <a:lstStyle>
            <a:lvl1pPr marL="140397" indent="-140397">
              <a:spcBef>
                <a:spcPts val="20"/>
              </a:spcBef>
              <a:buFont typeface="Arial" panose="020B0604020202020204" pitchFamily="34" charset="0"/>
              <a:buChar char="•"/>
              <a:defRPr lang="en-US" sz="975" smtClean="0">
                <a:solidFill>
                  <a:schemeClr val="tx1"/>
                </a:solidFill>
              </a:defRPr>
            </a:lvl1pPr>
            <a:lvl2pPr marL="140397" indent="-140397">
              <a:spcBef>
                <a:spcPts val="20"/>
              </a:spcBef>
              <a:defRPr lang="en-US" sz="975" smtClean="0">
                <a:solidFill>
                  <a:schemeClr val="tx1"/>
                </a:solidFill>
              </a:defRPr>
            </a:lvl2pPr>
            <a:lvl3pPr>
              <a:defRPr lang="en-US" sz="975" smtClean="0">
                <a:solidFill>
                  <a:schemeClr val="tx1"/>
                </a:solidFill>
              </a:defRPr>
            </a:lvl3pPr>
            <a:lvl4pPr>
              <a:defRPr lang="en-US" sz="975" smtClean="0">
                <a:solidFill>
                  <a:schemeClr val="tx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531692" y="504000"/>
            <a:ext cx="11076923" cy="5040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1300" b="1" baseline="0">
                <a:solidFill>
                  <a:srgbClr val="00497B"/>
                </a:solidFill>
              </a:defRPr>
            </a:lvl1pPr>
          </a:lstStyle>
          <a:p>
            <a:r>
              <a:rPr lang="en-GB" noProof="0"/>
              <a:t>Title</a:t>
            </a:r>
            <a:br>
              <a:rPr lang="en-GB" noProof="0"/>
            </a:br>
            <a:r>
              <a:rPr lang="en-GB" noProof="0"/>
              <a:t>Subtitle</a:t>
            </a:r>
          </a:p>
        </p:txBody>
      </p:sp>
      <p:sp>
        <p:nvSpPr>
          <p:cNvPr id="14" name="Datumsplatzhalter 1"/>
          <p:cNvSpPr>
            <a:spLocks noGrp="1"/>
          </p:cNvSpPr>
          <p:nvPr>
            <p:ph type="dt" sz="half" idx="10"/>
          </p:nvPr>
        </p:nvSpPr>
        <p:spPr>
          <a:xfrm>
            <a:off x="9264742" y="6192000"/>
            <a:ext cx="1417846" cy="270000"/>
          </a:xfrm>
        </p:spPr>
        <p:txBody>
          <a:bodyPr/>
          <a:lstStyle/>
          <a:p>
            <a:r>
              <a:rPr lang="en-US">
                <a:solidFill>
                  <a:srgbClr val="00497B"/>
                </a:solidFill>
              </a:rPr>
              <a:t>20.09.22</a:t>
            </a:r>
            <a:endParaRPr lang="de-AT">
              <a:solidFill>
                <a:srgbClr val="00497B"/>
              </a:solidFill>
            </a:endParaRPr>
          </a:p>
        </p:txBody>
      </p:sp>
      <p:sp>
        <p:nvSpPr>
          <p:cNvPr id="15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5121031" y="6192000"/>
            <a:ext cx="3922169" cy="270000"/>
          </a:xfrm>
        </p:spPr>
        <p:txBody>
          <a:bodyPr/>
          <a:lstStyle/>
          <a:p>
            <a:r>
              <a:rPr lang="de-AT">
                <a:solidFill>
                  <a:srgbClr val="00497B"/>
                </a:solidFill>
              </a:rPr>
              <a:t>Optional information – to delete or change text, open settings of header and footer</a:t>
            </a:r>
          </a:p>
        </p:txBody>
      </p:sp>
      <p:sp>
        <p:nvSpPr>
          <p:cNvPr id="16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10904122" y="6192000"/>
            <a:ext cx="664617" cy="270000"/>
          </a:xfrm>
        </p:spPr>
        <p:txBody>
          <a:bodyPr/>
          <a:lstStyle/>
          <a:p>
            <a:fld id="{768534E4-5BF1-4CAA-B304-C235E813B3E6}" type="slidenum">
              <a:rPr lang="de-AT" smtClean="0">
                <a:solidFill>
                  <a:srgbClr val="00497B"/>
                </a:solidFill>
              </a:rPr>
              <a:pPr/>
              <a:t>‹#›</a:t>
            </a:fld>
            <a:endParaRPr lang="de-AT">
              <a:solidFill>
                <a:srgbClr val="0049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423441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nly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4573431"/>
              </p:ext>
            </p:extLst>
          </p:nvPr>
        </p:nvGraphicFramePr>
        <p:xfrm>
          <a:off x="2015" y="1593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5" y="1593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CFE0FCE-F9EB-4C82-9DC9-1738FD57E8A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95385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1" i="0" baseline="0">
              <a:solidFill>
                <a:schemeClr val="tx2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1692" y="252000"/>
            <a:ext cx="11037046" cy="1044000"/>
          </a:xfrm>
        </p:spPr>
        <p:txBody>
          <a:bodyPr/>
          <a:lstStyle/>
          <a:p>
            <a:r>
              <a:rPr lang="en-US" err="1"/>
              <a:t>Titelmasterformat</a:t>
            </a:r>
            <a:r>
              <a:rPr lang="en-US"/>
              <a:t> </a:t>
            </a:r>
            <a:r>
              <a:rPr lang="en-US" err="1"/>
              <a:t>durch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497B"/>
                </a:solidFill>
              </a:rPr>
              <a:t>20.09.22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497B"/>
                </a:solidFill>
              </a:rPr>
              <a:t>Optional information – to delete or change text, open settings of header and footer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E76F1F-475F-482A-A2C6-CD2E081FF2E5}" type="slidenum">
              <a:rPr lang="en-US" smtClean="0">
                <a:solidFill>
                  <a:srgbClr val="00497B"/>
                </a:solidFill>
              </a:rPr>
              <a:pPr/>
              <a:t>‹#›</a:t>
            </a:fld>
            <a:endParaRPr lang="en-US">
              <a:solidFill>
                <a:srgbClr val="0049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363653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Headline, Sub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0292425"/>
              </p:ext>
            </p:extLst>
          </p:nvPr>
        </p:nvGraphicFramePr>
        <p:xfrm>
          <a:off x="2015" y="1593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015" y="1593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31692" y="252001"/>
            <a:ext cx="11037046" cy="57218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err="1"/>
              <a:t>Titelmasterformat</a:t>
            </a:r>
            <a:r>
              <a:rPr lang="en-US"/>
              <a:t> </a:t>
            </a:r>
            <a:r>
              <a:rPr lang="en-US" err="1"/>
              <a:t>durch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bearbeiten</a:t>
            </a: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534E4-5BF1-4CAA-B304-C235E813B3E6}" type="slidenum">
              <a:rPr lang="en-US" smtClean="0">
                <a:solidFill>
                  <a:srgbClr val="00497B"/>
                </a:solidFill>
              </a:rPr>
              <a:pPr/>
              <a:t>‹#›</a:t>
            </a:fld>
            <a:endParaRPr lang="en-US">
              <a:solidFill>
                <a:srgbClr val="00497B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31446" y="864426"/>
            <a:ext cx="11037046" cy="358775"/>
          </a:xfrm>
        </p:spPr>
        <p:txBody>
          <a:bodyPr/>
          <a:lstStyle>
            <a:lvl1pPr>
              <a:defRPr lang="en-US" sz="1800" b="0" kern="1200">
                <a:solidFill>
                  <a:srgbClr val="00497B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14030525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Headline, Sub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8585410"/>
              </p:ext>
            </p:extLst>
          </p:nvPr>
        </p:nvGraphicFramePr>
        <p:xfrm>
          <a:off x="2015" y="1593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015" y="1593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31692" y="252001"/>
            <a:ext cx="11037046" cy="572186"/>
          </a:xfrm>
          <a:prstGeom prst="rect">
            <a:avLst/>
          </a:prstGeom>
        </p:spPr>
        <p:txBody>
          <a:bodyPr anchor="b"/>
          <a:lstStyle>
            <a:lvl1pPr>
              <a:defRPr sz="2000"/>
            </a:lvl1pPr>
          </a:lstStyle>
          <a:p>
            <a:r>
              <a:rPr lang="en-GB" err="1"/>
              <a:t>Titelmasterformat</a:t>
            </a:r>
            <a:r>
              <a:rPr lang="en-GB"/>
              <a:t> </a:t>
            </a:r>
            <a:r>
              <a:rPr lang="en-GB" err="1"/>
              <a:t>durch</a:t>
            </a:r>
            <a:r>
              <a:rPr lang="en-GB"/>
              <a:t> </a:t>
            </a:r>
            <a:r>
              <a:rPr lang="en-GB" err="1"/>
              <a:t>Klicken</a:t>
            </a:r>
            <a:r>
              <a:rPr lang="en-GB"/>
              <a:t> </a:t>
            </a:r>
            <a:br>
              <a:rPr lang="en-GB"/>
            </a:br>
            <a:r>
              <a:rPr lang="en-GB" err="1"/>
              <a:t>bearbeiten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369274" y="6399360"/>
            <a:ext cx="664617" cy="27000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768534E4-5BF1-4CAA-B304-C235E813B3E6}" type="slidenum">
              <a:rPr lang="en-GB" smtClean="0">
                <a:solidFill>
                  <a:srgbClr val="00497B"/>
                </a:solidFill>
              </a:rPr>
              <a:pPr/>
              <a:t>‹#›</a:t>
            </a:fld>
            <a:endParaRPr lang="en-GB">
              <a:solidFill>
                <a:srgbClr val="00497B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31446" y="864426"/>
            <a:ext cx="11037046" cy="358775"/>
          </a:xfrm>
          <a:prstGeom prst="rect">
            <a:avLst/>
          </a:prstGeom>
        </p:spPr>
        <p:txBody>
          <a:bodyPr/>
          <a:lstStyle>
            <a:lvl1pPr>
              <a:defRPr lang="en-US" sz="1800" b="0" kern="1200">
                <a:solidFill>
                  <a:srgbClr val="00497B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3477841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im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70D3CB88-3AF9-F4F2-F20B-8E4E118F6DD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345238"/>
          </a:xfrm>
          <a:solidFill>
            <a:schemeClr val="bg1">
              <a:lumMod val="75000"/>
            </a:schemeClr>
          </a:solidFill>
        </p:spPr>
        <p:txBody>
          <a:bodyPr lIns="72000" tIns="72000" rIns="72000" bIns="72000" anchor="ctr" anchorCtr="0"/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To insert a background image: Please click on the image placeholder and then select an image by clicking on the "Insert“ tab and choosing the “Pictures“ command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5006EAC-E5DE-9A83-860B-70B865E7B8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7" y="1563688"/>
            <a:ext cx="11160125" cy="4781550"/>
          </a:xfrm>
        </p:spPr>
        <p:txBody>
          <a:bodyPr/>
          <a:lstStyle>
            <a:lvl1pPr>
              <a:defRPr sz="9500">
                <a:solidFill>
                  <a:schemeClr val="bg1"/>
                </a:solidFill>
              </a:defRPr>
            </a:lvl1pPr>
          </a:lstStyle>
          <a:p>
            <a:r>
              <a:rPr lang="en-GB"/>
              <a:t>Statemen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C455C7F-7AC9-2B57-7274-49FAB72317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E055C68-F6E5-4D3E-A50F-6A6516427F9D}" type="datetime1">
              <a:rPr lang="de-DE" smtClean="0"/>
              <a:t>26.01.2024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CB80B6E-01DC-6B1E-79E5-38BB6E5DDD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D9337BC-2D66-80F8-C149-669BBBAEE7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C923423A-C12B-43B9-8D12-9718033841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8579" y="6423258"/>
            <a:ext cx="562147" cy="267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224370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3496903"/>
              </p:ext>
            </p:extLst>
          </p:nvPr>
        </p:nvGraphicFramePr>
        <p:xfrm>
          <a:off x="2015" y="1593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015" y="1593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31691" y="504000"/>
            <a:ext cx="11076923" cy="5040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1600" b="1" baseline="0">
                <a:solidFill>
                  <a:srgbClr val="00497B"/>
                </a:solidFill>
              </a:defRPr>
            </a:lvl1pPr>
          </a:lstStyle>
          <a:p>
            <a:r>
              <a:rPr lang="en-GB" noProof="0"/>
              <a:t>Title</a:t>
            </a:r>
            <a:br>
              <a:rPr lang="en-GB" noProof="0"/>
            </a:br>
            <a:r>
              <a:rPr lang="en-GB" noProof="0"/>
              <a:t>Subtit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437243" y="6336000"/>
            <a:ext cx="5715545" cy="468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sz="9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Legend text holder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381965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1700" y="252000"/>
            <a:ext cx="11003817" cy="800736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AT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6011" y="1196978"/>
            <a:ext cx="11009499" cy="4500277"/>
          </a:xfrm>
        </p:spPr>
        <p:txBody>
          <a:bodyPr/>
          <a:lstStyle>
            <a:lvl1pPr marL="0">
              <a:defRPr>
                <a:solidFill>
                  <a:srgbClr val="000000"/>
                </a:solidFill>
              </a:defRPr>
            </a:lvl1pPr>
            <a:lvl2pPr marL="179388" indent="-179388">
              <a:defRPr>
                <a:solidFill>
                  <a:srgbClr val="000000"/>
                </a:solidFill>
              </a:defRPr>
            </a:lvl2pPr>
            <a:lvl3pPr marL="346075" indent="-179388">
              <a:defRPr/>
            </a:lvl3pPr>
            <a:lvl4pPr marL="531813" indent="-179388">
              <a:defRPr/>
            </a:lvl4pPr>
            <a:lvl5pPr marL="719138" indent="-179388"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497B"/>
                </a:solidFill>
              </a:rPr>
              <a:t>20.09.22</a:t>
            </a:r>
            <a:endParaRPr lang="de-AT">
              <a:solidFill>
                <a:srgbClr val="00497B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>
                <a:solidFill>
                  <a:srgbClr val="00497B"/>
                </a:solidFill>
              </a:rPr>
              <a:t>Optional information – to delete or change text, open settings of header and footer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534E4-5BF1-4CAA-B304-C235E813B3E6}" type="slidenum">
              <a:rPr lang="de-AT" smtClean="0">
                <a:solidFill>
                  <a:srgbClr val="00497B"/>
                </a:solidFill>
              </a:rPr>
              <a:pPr/>
              <a:t>‹#›</a:t>
            </a:fld>
            <a:endParaRPr lang="de-AT">
              <a:solidFill>
                <a:srgbClr val="00497B"/>
              </a:solidFill>
            </a:endParaRPr>
          </a:p>
        </p:txBody>
      </p:sp>
      <p:sp>
        <p:nvSpPr>
          <p:cNvPr id="8" name="Textplatzhalter 21"/>
          <p:cNvSpPr>
            <a:spLocks noGrp="1"/>
          </p:cNvSpPr>
          <p:nvPr>
            <p:ph type="body" sz="quarter" idx="13"/>
          </p:nvPr>
        </p:nvSpPr>
        <p:spPr>
          <a:xfrm>
            <a:off x="526009" y="5661280"/>
            <a:ext cx="11010665" cy="288000"/>
          </a:xfrm>
        </p:spPr>
        <p:txBody>
          <a:bodyPr anchor="b"/>
          <a:lstStyle>
            <a:lvl1pPr algn="l">
              <a:defRPr sz="800" i="1"/>
            </a:lvl1pPr>
            <a:lvl2pPr>
              <a:defRPr i="1"/>
            </a:lvl2pPr>
            <a:lvl3pPr>
              <a:defRPr i="1"/>
            </a:lvl3pPr>
            <a:lvl4pPr>
              <a:defRPr i="1"/>
            </a:lvl4pPr>
            <a:lvl5pPr>
              <a:defRPr i="1"/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3968394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hree vertical contents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28679"/>
              </p:ext>
            </p:extLst>
          </p:nvPr>
        </p:nvGraphicFramePr>
        <p:xfrm>
          <a:off x="2015" y="1593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5" imgH="476" progId="TCLayout.ActiveDocument.1">
                  <p:embed/>
                </p:oleObj>
              </mc:Choice>
              <mc:Fallback>
                <p:oleObj name="think-cell Folie" r:id="rId3" imgW="475" imgH="47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015" y="1593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31692" y="1296000"/>
            <a:ext cx="3456384" cy="50375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en-US" sz="1138" b="1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31692" y="1872000"/>
            <a:ext cx="3456384" cy="428400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vert="horz" lIns="36000" tIns="36000" rIns="36000" bIns="36000" rtlCol="0">
            <a:normAutofit/>
          </a:bodyPr>
          <a:lstStyle>
            <a:lvl1pPr marL="140397" indent="-140397">
              <a:spcBef>
                <a:spcPts val="20"/>
              </a:spcBef>
              <a:buFont typeface="Arial" panose="020B0604020202020204" pitchFamily="34" charset="0"/>
              <a:buChar char="•"/>
              <a:defRPr lang="en-US" sz="975" smtClean="0">
                <a:solidFill>
                  <a:schemeClr val="tx1"/>
                </a:solidFill>
              </a:defRPr>
            </a:lvl1pPr>
            <a:lvl2pPr marL="140397" indent="-140397">
              <a:spcBef>
                <a:spcPts val="20"/>
              </a:spcBef>
              <a:defRPr lang="en-US" sz="975" smtClean="0">
                <a:solidFill>
                  <a:schemeClr val="tx1"/>
                </a:solidFill>
              </a:defRPr>
            </a:lvl2pPr>
            <a:lvl3pPr marL="290207" indent="0">
              <a:buNone/>
              <a:defRPr lang="en-US" sz="975" smtClean="0">
                <a:solidFill>
                  <a:schemeClr val="tx1"/>
                </a:solidFill>
              </a:defRPr>
            </a:lvl3pPr>
            <a:lvl4pPr>
              <a:defRPr lang="en-US" sz="975" smtClean="0">
                <a:solidFill>
                  <a:schemeClr val="tx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353538" y="1296000"/>
            <a:ext cx="3456384" cy="50375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en-US" sz="1138" b="1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341963" y="1872000"/>
            <a:ext cx="3456384" cy="428400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vert="horz" lIns="36000" tIns="36000" rIns="36000" bIns="36000" rtlCol="0">
            <a:normAutofit/>
          </a:bodyPr>
          <a:lstStyle>
            <a:lvl1pPr marL="140397" indent="-140397">
              <a:spcBef>
                <a:spcPts val="20"/>
              </a:spcBef>
              <a:buFont typeface="Arial" panose="020B0604020202020204" pitchFamily="34" charset="0"/>
              <a:buChar char="•"/>
              <a:defRPr lang="en-US" sz="975" dirty="0" smtClean="0">
                <a:solidFill>
                  <a:schemeClr val="tx1"/>
                </a:solidFill>
              </a:defRPr>
            </a:lvl1pPr>
            <a:lvl2pPr marL="140397" indent="-140397">
              <a:spcBef>
                <a:spcPts val="20"/>
              </a:spcBef>
              <a:defRPr lang="en-US" sz="975" dirty="0" smtClean="0">
                <a:solidFill>
                  <a:schemeClr val="tx1"/>
                </a:solidFill>
              </a:defRPr>
            </a:lvl2pPr>
            <a:lvl3pPr marL="290207" indent="0">
              <a:buNone/>
              <a:defRPr lang="en-US" sz="975" dirty="0" smtClean="0">
                <a:solidFill>
                  <a:schemeClr val="tx1"/>
                </a:solidFill>
              </a:defRPr>
            </a:lvl3pPr>
            <a:lvl4pPr>
              <a:defRPr lang="en-US" sz="975" dirty="0" smtClean="0">
                <a:solidFill>
                  <a:schemeClr val="tx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8152233" y="1296000"/>
            <a:ext cx="3456384" cy="50375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en-US" sz="1138" b="1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Inhaltsplatzhalter 5"/>
          <p:cNvSpPr>
            <a:spLocks noGrp="1"/>
          </p:cNvSpPr>
          <p:nvPr>
            <p:ph sz="quarter" idx="14"/>
          </p:nvPr>
        </p:nvSpPr>
        <p:spPr>
          <a:xfrm>
            <a:off x="8152233" y="1872000"/>
            <a:ext cx="3456384" cy="428400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vert="horz" lIns="36000" tIns="36000" rIns="36000" bIns="36000" rtlCol="0">
            <a:normAutofit/>
          </a:bodyPr>
          <a:lstStyle>
            <a:lvl1pPr marL="140397" indent="-140397">
              <a:spcBef>
                <a:spcPts val="20"/>
              </a:spcBef>
              <a:buFont typeface="Arial" panose="020B0604020202020204" pitchFamily="34" charset="0"/>
              <a:buChar char="•"/>
              <a:defRPr lang="en-US" sz="975" smtClean="0">
                <a:solidFill>
                  <a:schemeClr val="tx1"/>
                </a:solidFill>
              </a:defRPr>
            </a:lvl1pPr>
            <a:lvl2pPr marL="140397" indent="-140397">
              <a:spcBef>
                <a:spcPts val="20"/>
              </a:spcBef>
              <a:defRPr lang="en-US" sz="975" smtClean="0">
                <a:solidFill>
                  <a:schemeClr val="tx1"/>
                </a:solidFill>
              </a:defRPr>
            </a:lvl2pPr>
            <a:lvl3pPr>
              <a:defRPr lang="en-US" sz="975" smtClean="0">
                <a:solidFill>
                  <a:schemeClr val="tx1"/>
                </a:solidFill>
              </a:defRPr>
            </a:lvl3pPr>
            <a:lvl4pPr>
              <a:defRPr lang="en-US" sz="975" smtClean="0">
                <a:solidFill>
                  <a:schemeClr val="tx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531692" y="504000"/>
            <a:ext cx="11076923" cy="5040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1300" b="1" baseline="0">
                <a:solidFill>
                  <a:srgbClr val="00497B"/>
                </a:solidFill>
              </a:defRPr>
            </a:lvl1pPr>
          </a:lstStyle>
          <a:p>
            <a:r>
              <a:rPr lang="en-GB" noProof="0"/>
              <a:t>Title</a:t>
            </a:r>
            <a:br>
              <a:rPr lang="en-GB" noProof="0"/>
            </a:br>
            <a:r>
              <a:rPr lang="en-GB" noProof="0"/>
              <a:t>Subtitle</a:t>
            </a:r>
          </a:p>
        </p:txBody>
      </p:sp>
      <p:sp>
        <p:nvSpPr>
          <p:cNvPr id="14" name="Datumsplatzhalter 1"/>
          <p:cNvSpPr>
            <a:spLocks noGrp="1"/>
          </p:cNvSpPr>
          <p:nvPr>
            <p:ph type="dt" sz="half" idx="10"/>
          </p:nvPr>
        </p:nvSpPr>
        <p:spPr>
          <a:xfrm>
            <a:off x="9264742" y="6192000"/>
            <a:ext cx="1417846" cy="270000"/>
          </a:xfrm>
        </p:spPr>
        <p:txBody>
          <a:bodyPr/>
          <a:lstStyle/>
          <a:p>
            <a:r>
              <a:rPr lang="en-US">
                <a:solidFill>
                  <a:srgbClr val="00497B"/>
                </a:solidFill>
              </a:rPr>
              <a:t>20.09.22</a:t>
            </a:r>
            <a:endParaRPr lang="de-AT">
              <a:solidFill>
                <a:srgbClr val="00497B"/>
              </a:solidFill>
            </a:endParaRPr>
          </a:p>
        </p:txBody>
      </p:sp>
      <p:sp>
        <p:nvSpPr>
          <p:cNvPr id="15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5121031" y="6192000"/>
            <a:ext cx="3922169" cy="270000"/>
          </a:xfrm>
        </p:spPr>
        <p:txBody>
          <a:bodyPr/>
          <a:lstStyle/>
          <a:p>
            <a:r>
              <a:rPr lang="de-AT">
                <a:solidFill>
                  <a:srgbClr val="00497B"/>
                </a:solidFill>
              </a:rPr>
              <a:t>Optional information – to delete or change text, open settings of header and footer</a:t>
            </a:r>
          </a:p>
        </p:txBody>
      </p:sp>
      <p:sp>
        <p:nvSpPr>
          <p:cNvPr id="16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10904122" y="6192000"/>
            <a:ext cx="664617" cy="270000"/>
          </a:xfrm>
        </p:spPr>
        <p:txBody>
          <a:bodyPr/>
          <a:lstStyle/>
          <a:p>
            <a:fld id="{768534E4-5BF1-4CAA-B304-C235E813B3E6}" type="slidenum">
              <a:rPr lang="de-AT" smtClean="0">
                <a:solidFill>
                  <a:srgbClr val="00497B"/>
                </a:solidFill>
              </a:rPr>
              <a:pPr/>
              <a:t>‹#›</a:t>
            </a:fld>
            <a:endParaRPr lang="de-AT">
              <a:solidFill>
                <a:srgbClr val="0049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94811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YP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B0A5894-841F-4E2E-9A36-4F3763B2F5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4171035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B0A5894-841F-4E2E-9A36-4F3763B2F5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8C80B-C712-4A65-99B3-6D69AEB559A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2999" b="0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1058038" y="435988"/>
            <a:ext cx="3792785" cy="86868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rgbClr val="2E2E38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1069291" y="1780465"/>
            <a:ext cx="3792785" cy="30764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rgbClr val="2E2E38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342" name="Rectangle 341">
            <a:extLst>
              <a:ext uri="{FF2B5EF4-FFF2-40B4-BE49-F238E27FC236}">
                <a16:creationId xmlns:a16="http://schemas.microsoft.com/office/drawing/2014/main" id="{BFBC66B5-2475-4F1B-8CD3-426699968443}"/>
              </a:ext>
            </a:extLst>
          </p:cNvPr>
          <p:cNvSpPr/>
          <p:nvPr userDrawn="1"/>
        </p:nvSpPr>
        <p:spPr>
          <a:xfrm>
            <a:off x="5314540" y="460564"/>
            <a:ext cx="155367" cy="3429000"/>
          </a:xfrm>
          <a:prstGeom prst="rect">
            <a:avLst/>
          </a:prstGeom>
          <a:solidFill>
            <a:srgbClr val="1A9AF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3" name="Rectangle 342">
            <a:extLst>
              <a:ext uri="{FF2B5EF4-FFF2-40B4-BE49-F238E27FC236}">
                <a16:creationId xmlns:a16="http://schemas.microsoft.com/office/drawing/2014/main" id="{E08BCAC7-5BAB-4F88-B96A-3B750E11019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612445" y="460564"/>
            <a:ext cx="155367" cy="3429000"/>
          </a:xfrm>
          <a:prstGeom prst="rect">
            <a:avLst/>
          </a:prstGeom>
          <a:solidFill>
            <a:srgbClr val="1A9AF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0DD0AB-B389-4838-A777-D9AD125B3126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069418" y="3750852"/>
            <a:ext cx="3808017" cy="169277"/>
          </a:xfrm>
        </p:spPr>
        <p:txBody>
          <a:bodyPr anchor="b"/>
          <a:lstStyle>
            <a:lvl1pPr marL="0" indent="0" algn="l">
              <a:buFontTx/>
              <a:buNone/>
              <a:defRPr>
                <a:solidFill>
                  <a:srgbClr val="2E2E38"/>
                </a:solidFill>
              </a:defRPr>
            </a:lvl1pPr>
            <a:lvl2pPr marL="171364" indent="0" algn="l">
              <a:buFontTx/>
              <a:buNone/>
              <a:defRPr/>
            </a:lvl2pPr>
            <a:lvl3pPr marL="342729" indent="0" algn="l">
              <a:buFontTx/>
              <a:buNone/>
              <a:defRPr/>
            </a:lvl3pPr>
            <a:lvl4pPr marL="514093" indent="0" algn="l">
              <a:buFontTx/>
              <a:buNone/>
              <a:defRPr/>
            </a:lvl4pPr>
            <a:lvl5pPr marL="685457" indent="0" algn="l">
              <a:buFontTx/>
              <a:buNone/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8352778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2448">
          <p15:clr>
            <a:srgbClr val="5ACBF0"/>
          </p15:clr>
        </p15:guide>
        <p15:guide id="3" pos="674">
          <p15:clr>
            <a:srgbClr val="5ACBF0"/>
          </p15:clr>
        </p15:guide>
        <p15:guide id="4" pos="3438">
          <p15:clr>
            <a:srgbClr val="5ACBF0"/>
          </p15:clr>
        </p15:guide>
        <p15:guide id="5" pos="3072">
          <p15:clr>
            <a:srgbClr val="5ACBF0"/>
          </p15:clr>
        </p15:guide>
        <p15:guide id="6" pos="386">
          <p15:clr>
            <a:srgbClr val="5ACBF0"/>
          </p15:clr>
        </p15:guide>
        <p15:guide id="7" orient="horz" pos="3680">
          <p15:clr>
            <a:srgbClr val="5ACBF0"/>
          </p15:clr>
        </p15:guide>
        <p15:guide id="8" orient="horz" pos="3992">
          <p15:clr>
            <a:srgbClr val="5ACBF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P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8A2F35C-CCC5-4796-8DA9-F5D8192CB2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8809991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8A2F35C-CCC5-4796-8DA9-F5D8192CB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AA3264E-CB34-4429-9275-D4DC18E9B1E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2199" b="0" i="0" u="none" cap="none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 cap="flat" cmpd="sng" algn="ctr">
            <a:solidFill>
              <a:srgbClr val="1A9AF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A343A82-E9F8-4308-B804-1ABAAE8F49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69600"/>
            <a:ext cx="10974283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rgbClr val="2E2E38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7870586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P Title only with tra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8A2F35C-CCC5-4796-8DA9-F5D8192CB2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8663249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8A2F35C-CCC5-4796-8DA9-F5D8192CB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AA3264E-CB34-4429-9275-D4DC18E9B1E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2199" b="0" i="0" u="none" cap="none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 cap="flat" cmpd="sng" algn="ctr">
            <a:solidFill>
              <a:srgbClr val="1A9AF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280EE2A-EFA5-4EAC-AE92-2E0D2BA02C40}"/>
              </a:ext>
            </a:extLst>
          </p:cNvPr>
          <p:cNvCxnSpPr/>
          <p:nvPr userDrawn="1"/>
        </p:nvCxnSpPr>
        <p:spPr>
          <a:xfrm>
            <a:off x="9520244" y="124522"/>
            <a:ext cx="0" cy="777240"/>
          </a:xfrm>
          <a:prstGeom prst="line">
            <a:avLst/>
          </a:prstGeom>
          <a:noFill/>
          <a:ln w="19050" cap="flat" cmpd="sng" algn="ctr">
            <a:solidFill>
              <a:srgbClr val="1A9AFA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A343A82-E9F8-4308-B804-1ABAAE8F49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269600"/>
            <a:ext cx="8843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rgbClr val="2E2E38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EYP-Draft">
            <a:extLst>
              <a:ext uri="{FF2B5EF4-FFF2-40B4-BE49-F238E27FC236}">
                <a16:creationId xmlns:a16="http://schemas.microsoft.com/office/drawing/2014/main" id="{365B0263-6523-4E93-B163-6EAD1D82BBD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6032500" y="0"/>
            <a:ext cx="127000" cy="130797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50800" rIns="0" bIns="35941" rtlCol="0" anchor="ctr" anchorCtr="0"/>
          <a:lstStyle/>
          <a:p>
            <a:pPr algn="ctr"/>
            <a:r>
              <a:rPr lang="en-US" sz="1000" b="1">
                <a:solidFill>
                  <a:srgbClr val="F04C3E"/>
                </a:solidFill>
                <a:latin typeface="Arial" panose="020B0604020202020204" pitchFamily="34" charset="0"/>
              </a:rPr>
              <a:t>Working draft</a:t>
            </a:r>
          </a:p>
        </p:txBody>
      </p:sp>
    </p:spTree>
    <p:extLst>
      <p:ext uri="{BB962C8B-B14F-4D97-AF65-F5344CB8AC3E}">
        <p14:creationId xmlns:p14="http://schemas.microsoft.com/office/powerpoint/2010/main" val="173472088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P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C62C99B-78B4-4BA5-9FF3-35A1CA77E1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5944652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0" imgH="300" progId="TCLayout.ActiveDocument.1">
                  <p:embed/>
                </p:oleObj>
              </mc:Choice>
              <mc:Fallback>
                <p:oleObj name="think-cell Folie" r:id="rId4" imgW="300" imgH="3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C62C99B-78B4-4BA5-9FF3-35A1CA77E1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YP-Draft">
            <a:extLst>
              <a:ext uri="{FF2B5EF4-FFF2-40B4-BE49-F238E27FC236}">
                <a16:creationId xmlns:a16="http://schemas.microsoft.com/office/drawing/2014/main" id="{810D99FD-E80E-41AF-8A68-A52647C76FF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6032500" y="0"/>
            <a:ext cx="127000" cy="130797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50800" rIns="0" bIns="35941" rtlCol="0" anchor="ctr" anchorCtr="0"/>
          <a:lstStyle/>
          <a:p>
            <a:pPr algn="ctr"/>
            <a:r>
              <a:rPr lang="en-US" sz="1000" b="1">
                <a:solidFill>
                  <a:srgbClr val="F04C3E"/>
                </a:solidFill>
                <a:latin typeface="Arial" panose="020B0604020202020204" pitchFamily="34" charset="0"/>
              </a:rPr>
              <a:t>Working draft</a:t>
            </a:r>
          </a:p>
        </p:txBody>
      </p:sp>
    </p:spTree>
    <p:extLst>
      <p:ext uri="{BB962C8B-B14F-4D97-AF65-F5344CB8AC3E}">
        <p14:creationId xmlns:p14="http://schemas.microsoft.com/office/powerpoint/2010/main" val="100282917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EYP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B0A5894-841F-4E2E-9A36-4F3763B2F5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936644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B0A5894-841F-4E2E-9A36-4F3763B2F5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1058038" y="435988"/>
            <a:ext cx="3792785" cy="86868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rgbClr val="2E2E38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1069291" y="1780465"/>
            <a:ext cx="3792785" cy="30764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rgbClr val="2E2E38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42" name="Rectangle 341">
            <a:extLst>
              <a:ext uri="{FF2B5EF4-FFF2-40B4-BE49-F238E27FC236}">
                <a16:creationId xmlns:a16="http://schemas.microsoft.com/office/drawing/2014/main" id="{BFBC66B5-2475-4F1B-8CD3-426699968443}"/>
              </a:ext>
            </a:extLst>
          </p:cNvPr>
          <p:cNvSpPr/>
          <p:nvPr userDrawn="1"/>
        </p:nvSpPr>
        <p:spPr>
          <a:xfrm>
            <a:off x="5314540" y="460564"/>
            <a:ext cx="155367" cy="3429000"/>
          </a:xfrm>
          <a:prstGeom prst="rect">
            <a:avLst/>
          </a:prstGeom>
          <a:solidFill>
            <a:srgbClr val="703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3" name="Rectangle 342">
            <a:extLst>
              <a:ext uri="{FF2B5EF4-FFF2-40B4-BE49-F238E27FC236}">
                <a16:creationId xmlns:a16="http://schemas.microsoft.com/office/drawing/2014/main" id="{E08BCAC7-5BAB-4F88-B96A-3B750E11019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612445" y="460564"/>
            <a:ext cx="155367" cy="3429000"/>
          </a:xfrm>
          <a:prstGeom prst="rect">
            <a:avLst/>
          </a:prstGeom>
          <a:solidFill>
            <a:srgbClr val="703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52" name="Text Placeholder 16">
            <a:extLst>
              <a:ext uri="{FF2B5EF4-FFF2-40B4-BE49-F238E27FC236}">
                <a16:creationId xmlns:a16="http://schemas.microsoft.com/office/drawing/2014/main" id="{C0C18077-3829-4A1D-B973-869FA6D6A01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1549397" y="5862356"/>
            <a:ext cx="3087667" cy="1845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99">
                <a:solidFill>
                  <a:srgbClr val="3D108A"/>
                </a:solidFill>
              </a:defRPr>
            </a:lvl1pPr>
          </a:lstStyle>
          <a:p>
            <a:pPr lvl="0"/>
            <a:r>
              <a:rPr lang="en-US"/>
              <a:t>Client name</a:t>
            </a:r>
            <a:endParaRPr lang="en-GB"/>
          </a:p>
        </p:txBody>
      </p:sp>
      <p:sp>
        <p:nvSpPr>
          <p:cNvPr id="353" name="Text Placeholder 16">
            <a:extLst>
              <a:ext uri="{FF2B5EF4-FFF2-40B4-BE49-F238E27FC236}">
                <a16:creationId xmlns:a16="http://schemas.microsoft.com/office/drawing/2014/main" id="{0E56CFA0-D3C6-452E-8DFA-FE75B6A8F668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1549397" y="6104999"/>
            <a:ext cx="3087667" cy="1845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99">
                <a:solidFill>
                  <a:srgbClr val="2E2E38"/>
                </a:solidFill>
              </a:defRPr>
            </a:lvl1pPr>
          </a:lstStyle>
          <a:p>
            <a:pPr lvl="0"/>
            <a:r>
              <a:rPr lang="en-US"/>
              <a:t>Additional text if needed</a:t>
            </a:r>
            <a:endParaRPr lang="en-GB"/>
          </a:p>
        </p:txBody>
      </p:sp>
      <p:cxnSp>
        <p:nvCxnSpPr>
          <p:cNvPr id="354" name="Straight Connector 353">
            <a:extLst>
              <a:ext uri="{FF2B5EF4-FFF2-40B4-BE49-F238E27FC236}">
                <a16:creationId xmlns:a16="http://schemas.microsoft.com/office/drawing/2014/main" id="{CF2BAD60-3442-4E35-A513-743463E51DDA}"/>
              </a:ext>
            </a:extLst>
          </p:cNvPr>
          <p:cNvCxnSpPr>
            <a:cxnSpLocks/>
          </p:cNvCxnSpPr>
          <p:nvPr userDrawn="1"/>
        </p:nvCxnSpPr>
        <p:spPr>
          <a:xfrm>
            <a:off x="1552122" y="5743608"/>
            <a:ext cx="7474055" cy="0"/>
          </a:xfrm>
          <a:prstGeom prst="line">
            <a:avLst/>
          </a:prstGeom>
          <a:ln w="9525" cap="flat" cmpd="sng" algn="ctr">
            <a:solidFill>
              <a:srgbClr val="82829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5" name="TextBox 354">
            <a:extLst>
              <a:ext uri="{FF2B5EF4-FFF2-40B4-BE49-F238E27FC236}">
                <a16:creationId xmlns:a16="http://schemas.microsoft.com/office/drawing/2014/main" id="{8A893E32-F4C1-4B32-AA48-800A2306B6CA}"/>
              </a:ext>
            </a:extLst>
          </p:cNvPr>
          <p:cNvSpPr txBox="1"/>
          <p:nvPr userDrawn="1"/>
        </p:nvSpPr>
        <p:spPr>
          <a:xfrm>
            <a:off x="610962" y="5630224"/>
            <a:ext cx="1044529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199">
                <a:solidFill>
                  <a:srgbClr val="828290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Prepared fo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0DD0AB-B389-4838-A777-D9AD125B3126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069418" y="3750852"/>
            <a:ext cx="3808017" cy="169277"/>
          </a:xfrm>
        </p:spPr>
        <p:txBody>
          <a:bodyPr anchor="b"/>
          <a:lstStyle>
            <a:lvl1pPr marL="0" indent="0" algn="l">
              <a:buFontTx/>
              <a:buNone/>
              <a:defRPr>
                <a:solidFill>
                  <a:srgbClr val="2E2E38"/>
                </a:solidFill>
              </a:defRPr>
            </a:lvl1pPr>
            <a:lvl2pPr marL="171364" indent="0" algn="l">
              <a:buFontTx/>
              <a:buNone/>
              <a:defRPr/>
            </a:lvl2pPr>
            <a:lvl3pPr marL="342729" indent="0" algn="l">
              <a:buFontTx/>
              <a:buNone/>
              <a:defRPr/>
            </a:lvl3pPr>
            <a:lvl4pPr marL="514093" indent="0" algn="l">
              <a:buFontTx/>
              <a:buNone/>
              <a:defRPr/>
            </a:lvl4pPr>
            <a:lvl5pPr marL="685457" indent="0" algn="l">
              <a:buFontTx/>
              <a:buNone/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4153253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2448">
          <p15:clr>
            <a:srgbClr val="5ACBF0"/>
          </p15:clr>
        </p15:guide>
        <p15:guide id="3" pos="674">
          <p15:clr>
            <a:srgbClr val="5ACBF0"/>
          </p15:clr>
        </p15:guide>
        <p15:guide id="4" pos="3438">
          <p15:clr>
            <a:srgbClr val="5ACBF0"/>
          </p15:clr>
        </p15:guide>
        <p15:guide id="5" pos="3072">
          <p15:clr>
            <a:srgbClr val="5ACBF0"/>
          </p15:clr>
        </p15:guide>
        <p15:guide id="6" pos="386">
          <p15:clr>
            <a:srgbClr val="5ACBF0"/>
          </p15:clr>
        </p15:guide>
        <p15:guide id="7" orient="horz" pos="3680">
          <p15:clr>
            <a:srgbClr val="5ACBF0"/>
          </p15:clr>
        </p15:guide>
        <p15:guide id="8" orient="horz" pos="3992">
          <p15:clr>
            <a:srgbClr val="5ACBF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 b="1">
                <a:solidFill>
                  <a:srgbClr val="6F868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5" name="Google Shape;25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cs" smtClean="0"/>
              <a:pPr algn="r"/>
              <a:t>‹#›</a:t>
            </a:fld>
            <a:endParaRPr lang="cs"/>
          </a:p>
        </p:txBody>
      </p:sp>
    </p:spTree>
    <p:extLst>
      <p:ext uri="{BB962C8B-B14F-4D97-AF65-F5344CB8AC3E}">
        <p14:creationId xmlns:p14="http://schemas.microsoft.com/office/powerpoint/2010/main" val="243612367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590182" y="6603594"/>
            <a:ext cx="212798" cy="210635"/>
          </a:xfrm>
          <a:prstGeom prst="rect">
            <a:avLst/>
          </a:prstGeom>
        </p:spPr>
        <p:txBody>
          <a:bodyPr/>
          <a:lstStyle>
            <a:lvl1pPr>
              <a:defRPr sz="900">
                <a:solidFill>
                  <a:srgbClr val="AEC9DF"/>
                </a:solidFill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86712784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on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006EAC-E5DE-9A83-860B-70B865E7B8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7" y="1563688"/>
            <a:ext cx="11160125" cy="4781550"/>
          </a:xfrm>
        </p:spPr>
        <p:txBody>
          <a:bodyPr/>
          <a:lstStyle>
            <a:lvl1pPr>
              <a:defRPr sz="95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Statemen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C455C7F-7AC9-2B57-7274-49FAB72317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F03EA74-7E80-42BF-AC3F-78F56E3655C1}" type="datetime1">
              <a:rPr lang="de-DE" smtClean="0"/>
              <a:t>26.01.2024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CB80B6E-01DC-6B1E-79E5-38BB6E5DDD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D9337BC-2D66-80F8-C149-669BBBAEE7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1E9DC3A8-308F-4D4A-AF4A-ECB4451B79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8579" y="6423258"/>
            <a:ext cx="562147" cy="267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621145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g copy text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Vienna, August 2023</a:t>
            </a:r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eorge Chatbot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7" y="2241550"/>
            <a:ext cx="6948487" cy="4103688"/>
          </a:xfrm>
        </p:spPr>
        <p:txBody>
          <a:bodyPr/>
          <a:lstStyle>
            <a:lvl1pPr marL="266700" indent="-266700">
              <a:defRPr sz="2400"/>
            </a:lvl1pPr>
            <a:lvl2pPr marL="271463" indent="-271463">
              <a:defRPr sz="2400"/>
            </a:lvl2pPr>
            <a:lvl3pPr marL="538163" indent="-273050">
              <a:defRPr sz="2400"/>
            </a:lvl3pPr>
            <a:lvl4pPr marL="803275" indent="-263525">
              <a:defRPr sz="2400"/>
            </a:lvl4pPr>
            <a:lvl5pPr marL="1076325" indent="-261938">
              <a:defRPr sz="2400"/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</a:p>
        </p:txBody>
      </p:sp>
    </p:spTree>
    <p:extLst>
      <p:ext uri="{BB962C8B-B14F-4D97-AF65-F5344CB8AC3E}">
        <p14:creationId xmlns:p14="http://schemas.microsoft.com/office/powerpoint/2010/main" val="15861518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5.xml"/><Relationship Id="rId18" Type="http://schemas.openxmlformats.org/officeDocument/2006/relationships/slideLayout" Target="../slideLayouts/slideLayout60.xml"/><Relationship Id="rId26" Type="http://schemas.openxmlformats.org/officeDocument/2006/relationships/slideLayout" Target="../slideLayouts/slideLayout68.xml"/><Relationship Id="rId39" Type="http://schemas.openxmlformats.org/officeDocument/2006/relationships/slideLayout" Target="../slideLayouts/slideLayout81.xml"/><Relationship Id="rId21" Type="http://schemas.openxmlformats.org/officeDocument/2006/relationships/slideLayout" Target="../slideLayouts/slideLayout63.xml"/><Relationship Id="rId34" Type="http://schemas.openxmlformats.org/officeDocument/2006/relationships/slideLayout" Target="../slideLayouts/slideLayout76.xml"/><Relationship Id="rId42" Type="http://schemas.openxmlformats.org/officeDocument/2006/relationships/tags" Target="../tags/tag3.xml"/><Relationship Id="rId7" Type="http://schemas.openxmlformats.org/officeDocument/2006/relationships/slideLayout" Target="../slideLayouts/slideLayout49.xml"/><Relationship Id="rId2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58.xml"/><Relationship Id="rId29" Type="http://schemas.openxmlformats.org/officeDocument/2006/relationships/slideLayout" Target="../slideLayouts/slideLayout71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24" Type="http://schemas.openxmlformats.org/officeDocument/2006/relationships/slideLayout" Target="../slideLayouts/slideLayout66.xml"/><Relationship Id="rId32" Type="http://schemas.openxmlformats.org/officeDocument/2006/relationships/slideLayout" Target="../slideLayouts/slideLayout74.xml"/><Relationship Id="rId37" Type="http://schemas.openxmlformats.org/officeDocument/2006/relationships/slideLayout" Target="../slideLayouts/slideLayout79.xml"/><Relationship Id="rId40" Type="http://schemas.openxmlformats.org/officeDocument/2006/relationships/slideLayout" Target="../slideLayouts/slideLayout82.xml"/><Relationship Id="rId45" Type="http://schemas.openxmlformats.org/officeDocument/2006/relationships/image" Target="../media/image8.emf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23" Type="http://schemas.openxmlformats.org/officeDocument/2006/relationships/slideLayout" Target="../slideLayouts/slideLayout65.xml"/><Relationship Id="rId28" Type="http://schemas.openxmlformats.org/officeDocument/2006/relationships/slideLayout" Target="../slideLayouts/slideLayout70.xml"/><Relationship Id="rId36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52.xml"/><Relationship Id="rId19" Type="http://schemas.openxmlformats.org/officeDocument/2006/relationships/slideLayout" Target="../slideLayouts/slideLayout61.xml"/><Relationship Id="rId31" Type="http://schemas.openxmlformats.org/officeDocument/2006/relationships/slideLayout" Target="../slideLayouts/slideLayout73.xml"/><Relationship Id="rId44" Type="http://schemas.openxmlformats.org/officeDocument/2006/relationships/oleObject" Target="../embeddings/oleObject2.bin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Relationship Id="rId22" Type="http://schemas.openxmlformats.org/officeDocument/2006/relationships/slideLayout" Target="../slideLayouts/slideLayout64.xml"/><Relationship Id="rId27" Type="http://schemas.openxmlformats.org/officeDocument/2006/relationships/slideLayout" Target="../slideLayouts/slideLayout69.xml"/><Relationship Id="rId30" Type="http://schemas.openxmlformats.org/officeDocument/2006/relationships/slideLayout" Target="../slideLayouts/slideLayout72.xml"/><Relationship Id="rId35" Type="http://schemas.openxmlformats.org/officeDocument/2006/relationships/slideLayout" Target="../slideLayouts/slideLayout77.xml"/><Relationship Id="rId43" Type="http://schemas.openxmlformats.org/officeDocument/2006/relationships/tags" Target="../tags/tag4.xml"/><Relationship Id="rId8" Type="http://schemas.openxmlformats.org/officeDocument/2006/relationships/slideLayout" Target="../slideLayouts/slideLayout50.xml"/><Relationship Id="rId3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4.xml"/><Relationship Id="rId17" Type="http://schemas.openxmlformats.org/officeDocument/2006/relationships/slideLayout" Target="../slideLayouts/slideLayout59.xml"/><Relationship Id="rId25" Type="http://schemas.openxmlformats.org/officeDocument/2006/relationships/slideLayout" Target="../slideLayouts/slideLayout67.xml"/><Relationship Id="rId33" Type="http://schemas.openxmlformats.org/officeDocument/2006/relationships/slideLayout" Target="../slideLayouts/slideLayout75.xml"/><Relationship Id="rId38" Type="http://schemas.openxmlformats.org/officeDocument/2006/relationships/slideLayout" Target="../slideLayouts/slideLayout80.xml"/><Relationship Id="rId46" Type="http://schemas.openxmlformats.org/officeDocument/2006/relationships/image" Target="../media/image9.png"/><Relationship Id="rId20" Type="http://schemas.openxmlformats.org/officeDocument/2006/relationships/slideLayout" Target="../slideLayouts/slideLayout62.xml"/><Relationship Id="rId41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13" Type="http://schemas.openxmlformats.org/officeDocument/2006/relationships/image" Target="../media/image18.emf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12" Type="http://schemas.openxmlformats.org/officeDocument/2006/relationships/oleObject" Target="../embeddings/oleObject18.bin"/><Relationship Id="rId2" Type="http://schemas.openxmlformats.org/officeDocument/2006/relationships/slideLayout" Target="../slideLayouts/slideLayout84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tags" Target="../tags/tag23.xml"/><Relationship Id="rId5" Type="http://schemas.openxmlformats.org/officeDocument/2006/relationships/slideLayout" Target="../slideLayouts/slideLayout87.xml"/><Relationship Id="rId10" Type="http://schemas.openxmlformats.org/officeDocument/2006/relationships/tags" Target="../tags/tag22.xml"/><Relationship Id="rId4" Type="http://schemas.openxmlformats.org/officeDocument/2006/relationships/slideLayout" Target="../slideLayouts/slideLayout86.xml"/><Relationship Id="rId9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EF7D6237-4BEC-4A0A-B0C5-7603ACB10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24021595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5" imgW="425" imgH="424" progId="TCLayout.ActiveDocument.1">
                  <p:embed/>
                </p:oleObj>
              </mc:Choice>
              <mc:Fallback>
                <p:oleObj name="think-cell Folie" r:id="rId45" imgW="425" imgH="424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EF7D6237-4BEC-4A0A-B0C5-7603ACB10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87F66D4-56CF-E65D-EF54-A107BB0EE40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096000" y="6604247"/>
            <a:ext cx="4246564" cy="130479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algn="r">
              <a:defRPr sz="700">
                <a:solidFill>
                  <a:schemeClr val="tx1"/>
                </a:solidFill>
                <a:latin typeface="Inter Medium" panose="02000503000000020004" pitchFamily="2" charset="0"/>
                <a:ea typeface="Inter Medium" panose="02000503000000020004" pitchFamily="2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973655-1612-482A-BAE1-9E356E882B84}" type="datetime1">
              <a:rPr kumimoji="0" lang="de-DE" sz="700" b="0" i="0" u="none" strike="noStrike" kern="1200" cap="none" spc="0" normalizeH="0" baseline="0" noProof="0" smtClean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</a:rPr>
              <a:t>26.01.2024</a:t>
            </a:fld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cs typeface="+mn-cs"/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17A9DC3-B5BE-6DA6-08A7-96CC6F56BB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0" y="6459481"/>
            <a:ext cx="4246565" cy="130479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algn="r">
              <a:defRPr sz="700">
                <a:solidFill>
                  <a:schemeClr val="tx1"/>
                </a:solidFill>
                <a:latin typeface="Inter Medium" panose="02000503000000020004" pitchFamily="2" charset="0"/>
                <a:ea typeface="Inter Medium" panose="02000503000000020004" pitchFamily="2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cs typeface="+mn-cs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D9237A6-A30E-BAF9-E634-5A3457BD2B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7" y="620714"/>
            <a:ext cx="11160125" cy="7556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err="1"/>
              <a:t>Titelmasterformat</a:t>
            </a:r>
            <a:r>
              <a:rPr lang="en-US"/>
              <a:t> </a:t>
            </a:r>
            <a:r>
              <a:rPr lang="en-US" err="1"/>
              <a:t>durch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</a:t>
            </a:r>
            <a:r>
              <a:rPr lang="en-US" err="1"/>
              <a:t>bearbeiten</a:t>
            </a:r>
            <a:endParaRPr lang="en-GB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BDE46C2-FD1F-6925-3447-1FEED288303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8" y="2241549"/>
            <a:ext cx="6948488" cy="41036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err="1"/>
              <a:t>Textmaster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Ebene</a:t>
            </a:r>
          </a:p>
          <a:p>
            <a:pPr lvl="2"/>
            <a:r>
              <a:rPr lang="en-US" err="1"/>
              <a:t>Dritte</a:t>
            </a:r>
            <a:r>
              <a:rPr lang="en-US"/>
              <a:t> Ebene</a:t>
            </a:r>
          </a:p>
          <a:p>
            <a:pPr lvl="3"/>
            <a:r>
              <a:rPr lang="en-US" err="1"/>
              <a:t>Vierte</a:t>
            </a:r>
            <a:r>
              <a:rPr lang="en-US"/>
              <a:t> Ebene</a:t>
            </a:r>
          </a:p>
          <a:p>
            <a:pPr lvl="4">
              <a:buClr>
                <a:schemeClr val="tx1"/>
              </a:buClr>
            </a:pPr>
            <a:r>
              <a:rPr lang="en-US" err="1"/>
              <a:t>Fünfte</a:t>
            </a:r>
            <a:r>
              <a:rPr lang="en-US"/>
              <a:t> Ebe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C76DDDF-AAC4-2A06-25C0-0D0CABAFC4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4588" y="6452338"/>
            <a:ext cx="371475" cy="13047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700">
                <a:solidFill>
                  <a:schemeClr val="tx1"/>
                </a:solidFill>
                <a:latin typeface="+mj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E0597C-028E-473F-BF50-BBB8B8A24EC3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Inter SemiBold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SemiBold"/>
              <a:ea typeface="+mn-ea"/>
              <a:cs typeface="+mn-cs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77909A7-4A0E-6241-EA52-95DDC45AEA87}"/>
              </a:ext>
            </a:extLst>
          </p:cNvPr>
          <p:cNvPicPr>
            <a:picLocks noChangeAspect="1"/>
          </p:cNvPicPr>
          <p:nvPr userDrawn="1"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7716" y="6422438"/>
            <a:ext cx="563867" cy="268744"/>
          </a:xfrm>
          <a:prstGeom prst="rect">
            <a:avLst/>
          </a:prstGeom>
        </p:spPr>
      </p:pic>
      <p:cxnSp>
        <p:nvCxnSpPr>
          <p:cNvPr id="9" name="Straight Connector 29">
            <a:extLst>
              <a:ext uri="{FF2B5EF4-FFF2-40B4-BE49-F238E27FC236}">
                <a16:creationId xmlns:a16="http://schemas.microsoft.com/office/drawing/2014/main" id="{483348CD-D2E1-4A2E-AC30-C809218685E4}"/>
              </a:ext>
            </a:extLst>
          </p:cNvPr>
          <p:cNvCxnSpPr/>
          <p:nvPr userDrawn="1"/>
        </p:nvCxnSpPr>
        <p:spPr>
          <a:xfrm>
            <a:off x="-388653" y="6506932"/>
            <a:ext cx="295385" cy="0"/>
          </a:xfrm>
          <a:prstGeom prst="line">
            <a:avLst/>
          </a:prstGeom>
          <a:noFill/>
          <a:ln w="3175" cap="flat" cmpd="sng" algn="ctr">
            <a:solidFill>
              <a:srgbClr val="303030">
                <a:lumMod val="75000"/>
                <a:lumOff val="25000"/>
              </a:srgbClr>
            </a:solidFill>
            <a:prstDash val="solid"/>
            <a:tailEnd type="none" w="sm" len="sm"/>
          </a:ln>
          <a:effectLst/>
        </p:spPr>
      </p:cxnSp>
      <p:cxnSp>
        <p:nvCxnSpPr>
          <p:cNvPr id="10" name="Straight Connector 32">
            <a:extLst>
              <a:ext uri="{FF2B5EF4-FFF2-40B4-BE49-F238E27FC236}">
                <a16:creationId xmlns:a16="http://schemas.microsoft.com/office/drawing/2014/main" id="{A27D8A7C-F956-4495-9995-CBF1971548B0}"/>
              </a:ext>
            </a:extLst>
          </p:cNvPr>
          <p:cNvCxnSpPr/>
          <p:nvPr userDrawn="1"/>
        </p:nvCxnSpPr>
        <p:spPr>
          <a:xfrm>
            <a:off x="-390130" y="2251936"/>
            <a:ext cx="296862" cy="0"/>
          </a:xfrm>
          <a:prstGeom prst="line">
            <a:avLst/>
          </a:prstGeom>
          <a:noFill/>
          <a:ln w="3175" cap="flat" cmpd="sng" algn="ctr">
            <a:solidFill>
              <a:srgbClr val="303030">
                <a:lumMod val="75000"/>
                <a:lumOff val="25000"/>
              </a:srgbClr>
            </a:solidFill>
            <a:prstDash val="solid"/>
            <a:tailEnd type="none" w="sm" len="sm"/>
          </a:ln>
          <a:effectLst/>
        </p:spPr>
      </p:cxnSp>
      <p:cxnSp>
        <p:nvCxnSpPr>
          <p:cNvPr id="11" name="Straight Connector 48">
            <a:extLst>
              <a:ext uri="{FF2B5EF4-FFF2-40B4-BE49-F238E27FC236}">
                <a16:creationId xmlns:a16="http://schemas.microsoft.com/office/drawing/2014/main" id="{FC36BCDE-CEF8-47E8-823C-E3EA986B5294}"/>
              </a:ext>
            </a:extLst>
          </p:cNvPr>
          <p:cNvCxnSpPr/>
          <p:nvPr userDrawn="1"/>
        </p:nvCxnSpPr>
        <p:spPr>
          <a:xfrm>
            <a:off x="-399655" y="6769001"/>
            <a:ext cx="295385" cy="0"/>
          </a:xfrm>
          <a:prstGeom prst="line">
            <a:avLst/>
          </a:prstGeom>
          <a:noFill/>
          <a:ln w="3175" cap="flat" cmpd="sng" algn="ctr">
            <a:solidFill>
              <a:srgbClr val="303030">
                <a:lumMod val="75000"/>
                <a:lumOff val="25000"/>
              </a:srgbClr>
            </a:solidFill>
            <a:prstDash val="solid"/>
            <a:tailEnd type="none" w="sm" len="sm"/>
          </a:ln>
          <a:effectLst/>
        </p:spPr>
      </p:cxnSp>
      <p:cxnSp>
        <p:nvCxnSpPr>
          <p:cNvPr id="12" name="Straight Connector 50">
            <a:extLst>
              <a:ext uri="{FF2B5EF4-FFF2-40B4-BE49-F238E27FC236}">
                <a16:creationId xmlns:a16="http://schemas.microsoft.com/office/drawing/2014/main" id="{848B1D12-A075-4DB1-9ABD-FE1AD517B12A}"/>
              </a:ext>
            </a:extLst>
          </p:cNvPr>
          <p:cNvCxnSpPr/>
          <p:nvPr userDrawn="1"/>
        </p:nvCxnSpPr>
        <p:spPr>
          <a:xfrm>
            <a:off x="-388653" y="1376364"/>
            <a:ext cx="295385" cy="0"/>
          </a:xfrm>
          <a:prstGeom prst="line">
            <a:avLst/>
          </a:prstGeom>
          <a:noFill/>
          <a:ln w="3175" cap="flat" cmpd="sng" algn="ctr">
            <a:solidFill>
              <a:srgbClr val="303030">
                <a:lumMod val="75000"/>
                <a:lumOff val="25000"/>
              </a:srgbClr>
            </a:solidFill>
            <a:prstDash val="solid"/>
            <a:tailEnd type="none" w="sm" len="sm"/>
          </a:ln>
          <a:effectLst/>
        </p:spPr>
      </p:cxnSp>
      <p:sp>
        <p:nvSpPr>
          <p:cNvPr id="13" name="Rectangle 57">
            <a:extLst>
              <a:ext uri="{FF2B5EF4-FFF2-40B4-BE49-F238E27FC236}">
                <a16:creationId xmlns:a16="http://schemas.microsoft.com/office/drawing/2014/main" id="{1E1C04DF-B961-4AC0-A69D-E5708C273F98}"/>
              </a:ext>
            </a:extLst>
          </p:cNvPr>
          <p:cNvSpPr/>
          <p:nvPr userDrawn="1"/>
        </p:nvSpPr>
        <p:spPr bwMode="gray">
          <a:xfrm>
            <a:off x="-390130" y="3923467"/>
            <a:ext cx="221538" cy="180000"/>
          </a:xfrm>
          <a:prstGeom prst="rect">
            <a:avLst/>
          </a:prstGeom>
          <a:solidFill>
            <a:srgbClr val="721C7A"/>
          </a:solidFill>
          <a:ln w="6350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9" algn="l"/>
              </a:tabLst>
              <a:defRPr/>
            </a:pPr>
            <a:endParaRPr kumimoji="0" lang="en-US" sz="98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14" name="Rectangle 59">
            <a:extLst>
              <a:ext uri="{FF2B5EF4-FFF2-40B4-BE49-F238E27FC236}">
                <a16:creationId xmlns:a16="http://schemas.microsoft.com/office/drawing/2014/main" id="{477B8752-BC56-48C6-B847-A6B547B88C72}"/>
              </a:ext>
            </a:extLst>
          </p:cNvPr>
          <p:cNvSpPr/>
          <p:nvPr userDrawn="1"/>
        </p:nvSpPr>
        <p:spPr bwMode="gray">
          <a:xfrm>
            <a:off x="-390130" y="3257815"/>
            <a:ext cx="221538" cy="180000"/>
          </a:xfrm>
          <a:prstGeom prst="rect">
            <a:avLst/>
          </a:prstGeom>
          <a:solidFill>
            <a:srgbClr val="245375"/>
          </a:solidFill>
          <a:ln w="6350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9" algn="l"/>
              </a:tabLst>
              <a:defRPr/>
            </a:pPr>
            <a:endParaRPr kumimoji="0" lang="en-US" sz="98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15" name="Rectangle 61">
            <a:extLst>
              <a:ext uri="{FF2B5EF4-FFF2-40B4-BE49-F238E27FC236}">
                <a16:creationId xmlns:a16="http://schemas.microsoft.com/office/drawing/2014/main" id="{2E7B013B-393B-4DC5-9221-41F0ECACE6ED}"/>
              </a:ext>
            </a:extLst>
          </p:cNvPr>
          <p:cNvSpPr/>
          <p:nvPr userDrawn="1"/>
        </p:nvSpPr>
        <p:spPr bwMode="gray">
          <a:xfrm>
            <a:off x="-390130" y="2814047"/>
            <a:ext cx="221538" cy="180000"/>
          </a:xfrm>
          <a:prstGeom prst="rect">
            <a:avLst/>
          </a:prstGeom>
          <a:solidFill>
            <a:srgbClr val="0CB43F"/>
          </a:solidFill>
          <a:ln w="6350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9" algn="l"/>
              </a:tabLst>
              <a:defRPr/>
            </a:pPr>
            <a:endParaRPr kumimoji="0" lang="en-US" sz="98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16" name="Rectangle 62">
            <a:extLst>
              <a:ext uri="{FF2B5EF4-FFF2-40B4-BE49-F238E27FC236}">
                <a16:creationId xmlns:a16="http://schemas.microsoft.com/office/drawing/2014/main" id="{BE26BC51-17EA-4C0B-82AB-CF9B050DFA35}"/>
              </a:ext>
            </a:extLst>
          </p:cNvPr>
          <p:cNvSpPr/>
          <p:nvPr userDrawn="1"/>
        </p:nvSpPr>
        <p:spPr bwMode="gray">
          <a:xfrm>
            <a:off x="-390130" y="3035931"/>
            <a:ext cx="221538" cy="180000"/>
          </a:xfrm>
          <a:prstGeom prst="rect">
            <a:avLst/>
          </a:prstGeom>
          <a:solidFill>
            <a:srgbClr val="EB4C79"/>
          </a:solidFill>
          <a:ln w="6350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9" algn="l"/>
              </a:tabLst>
              <a:defRPr/>
            </a:pPr>
            <a:endParaRPr kumimoji="0" lang="en-US" sz="98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17" name="Rectangle 63">
            <a:extLst>
              <a:ext uri="{FF2B5EF4-FFF2-40B4-BE49-F238E27FC236}">
                <a16:creationId xmlns:a16="http://schemas.microsoft.com/office/drawing/2014/main" id="{E0540505-732E-4C68-8B64-C2E972393F0B}"/>
              </a:ext>
            </a:extLst>
          </p:cNvPr>
          <p:cNvSpPr/>
          <p:nvPr userDrawn="1"/>
        </p:nvSpPr>
        <p:spPr bwMode="gray">
          <a:xfrm>
            <a:off x="-390130" y="3479699"/>
            <a:ext cx="221538" cy="180000"/>
          </a:xfrm>
          <a:prstGeom prst="rect">
            <a:avLst/>
          </a:prstGeom>
          <a:solidFill>
            <a:srgbClr val="FF6130"/>
          </a:solidFill>
          <a:ln w="6350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9" algn="l"/>
              </a:tabLst>
              <a:defRPr/>
            </a:pPr>
            <a:endParaRPr kumimoji="0" lang="en-US" sz="98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18" name="Rectangle 64">
            <a:extLst>
              <a:ext uri="{FF2B5EF4-FFF2-40B4-BE49-F238E27FC236}">
                <a16:creationId xmlns:a16="http://schemas.microsoft.com/office/drawing/2014/main" id="{61A49F87-37F1-4B7E-B9E4-9B3B5BFE047A}"/>
              </a:ext>
            </a:extLst>
          </p:cNvPr>
          <p:cNvSpPr/>
          <p:nvPr userDrawn="1"/>
        </p:nvSpPr>
        <p:spPr bwMode="gray">
          <a:xfrm>
            <a:off x="-390130" y="3701583"/>
            <a:ext cx="221538" cy="180000"/>
          </a:xfrm>
          <a:prstGeom prst="rect">
            <a:avLst/>
          </a:prstGeom>
          <a:solidFill>
            <a:srgbClr val="02A3A4"/>
          </a:solidFill>
          <a:ln w="6350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9" algn="l"/>
              </a:tabLst>
              <a:defRPr/>
            </a:pPr>
            <a:endParaRPr kumimoji="0" lang="en-US" sz="98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19" name="Rectangle 51">
            <a:extLst>
              <a:ext uri="{FF2B5EF4-FFF2-40B4-BE49-F238E27FC236}">
                <a16:creationId xmlns:a16="http://schemas.microsoft.com/office/drawing/2014/main" id="{BE6E54C4-7C9D-462A-B298-254CA8E4EB64}"/>
              </a:ext>
            </a:extLst>
          </p:cNvPr>
          <p:cNvSpPr/>
          <p:nvPr userDrawn="1"/>
        </p:nvSpPr>
        <p:spPr bwMode="gray">
          <a:xfrm>
            <a:off x="-399655" y="4750064"/>
            <a:ext cx="221538" cy="180000"/>
          </a:xfrm>
          <a:prstGeom prst="rect">
            <a:avLst/>
          </a:prstGeom>
          <a:solidFill>
            <a:srgbClr val="303030"/>
          </a:solidFill>
          <a:ln w="6350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9" algn="l"/>
              </a:tabLst>
              <a:defRPr/>
            </a:pPr>
            <a:endParaRPr kumimoji="0" lang="en-US" sz="98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 Regular" panose="020B0503030202060203" pitchFamily="34" charset="0"/>
            </a:endParaRPr>
          </a:p>
        </p:txBody>
      </p:sp>
      <p:sp>
        <p:nvSpPr>
          <p:cNvPr id="20" name="Rectangle 52">
            <a:extLst>
              <a:ext uri="{FF2B5EF4-FFF2-40B4-BE49-F238E27FC236}">
                <a16:creationId xmlns:a16="http://schemas.microsoft.com/office/drawing/2014/main" id="{580F8C10-E75C-4277-8713-6B63A97EB9B2}"/>
              </a:ext>
            </a:extLst>
          </p:cNvPr>
          <p:cNvSpPr/>
          <p:nvPr userDrawn="1"/>
        </p:nvSpPr>
        <p:spPr bwMode="gray">
          <a:xfrm>
            <a:off x="-399655" y="4971948"/>
            <a:ext cx="221538" cy="180000"/>
          </a:xfrm>
          <a:prstGeom prst="rect">
            <a:avLst/>
          </a:prstGeom>
          <a:solidFill>
            <a:srgbClr val="028661"/>
          </a:solidFill>
          <a:ln w="6350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9" algn="l"/>
              </a:tabLst>
              <a:defRPr/>
            </a:pPr>
            <a:endParaRPr kumimoji="0" lang="en-US" sz="98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 Regular" panose="020B0503030202060203" pitchFamily="34" charset="0"/>
            </a:endParaRPr>
          </a:p>
        </p:txBody>
      </p:sp>
      <p:sp>
        <p:nvSpPr>
          <p:cNvPr id="21" name="TextBox 49">
            <a:extLst>
              <a:ext uri="{FF2B5EF4-FFF2-40B4-BE49-F238E27FC236}">
                <a16:creationId xmlns:a16="http://schemas.microsoft.com/office/drawing/2014/main" id="{F41C376E-3BCD-4351-AFB3-515360BACB46}"/>
              </a:ext>
            </a:extLst>
          </p:cNvPr>
          <p:cNvSpPr txBox="1"/>
          <p:nvPr userDrawn="1"/>
        </p:nvSpPr>
        <p:spPr>
          <a:xfrm>
            <a:off x="-2279114" y="1195100"/>
            <a:ext cx="2185846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000">
                <a:solidFill>
                  <a:prstClr val="black"/>
                </a:solidFill>
                <a:latin typeface="Arial" panose="020B0604020202020204"/>
              </a:rPr>
              <a:t>Action Title = 6,80</a:t>
            </a:r>
          </a:p>
        </p:txBody>
      </p:sp>
      <p:sp>
        <p:nvSpPr>
          <p:cNvPr id="22" name="TextBox 28">
            <a:extLst>
              <a:ext uri="{FF2B5EF4-FFF2-40B4-BE49-F238E27FC236}">
                <a16:creationId xmlns:a16="http://schemas.microsoft.com/office/drawing/2014/main" id="{A47AB477-35E1-4ECA-986A-7A209F3009B8}"/>
              </a:ext>
            </a:extLst>
          </p:cNvPr>
          <p:cNvSpPr txBox="1"/>
          <p:nvPr userDrawn="1"/>
        </p:nvSpPr>
        <p:spPr>
          <a:xfrm>
            <a:off x="-2290117" y="2107936"/>
            <a:ext cx="2185846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000">
                <a:solidFill>
                  <a:prstClr val="black"/>
                </a:solidFill>
              </a:rPr>
              <a:t>Upper border Content = 5,8</a:t>
            </a:r>
          </a:p>
        </p:txBody>
      </p:sp>
      <p:sp>
        <p:nvSpPr>
          <p:cNvPr id="24" name="TextBox 60">
            <a:extLst>
              <a:ext uri="{FF2B5EF4-FFF2-40B4-BE49-F238E27FC236}">
                <a16:creationId xmlns:a16="http://schemas.microsoft.com/office/drawing/2014/main" id="{E654C441-E1D3-4144-B745-DA710773A1BD}"/>
              </a:ext>
            </a:extLst>
          </p:cNvPr>
          <p:cNvSpPr txBox="1"/>
          <p:nvPr userDrawn="1"/>
        </p:nvSpPr>
        <p:spPr>
          <a:xfrm>
            <a:off x="-2280592" y="2814047"/>
            <a:ext cx="1890462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algn="r"/>
            <a:r>
              <a:rPr lang="en-US" sz="1000">
                <a:solidFill>
                  <a:prstClr val="black"/>
                </a:solidFill>
                <a:latin typeface="Arial" panose="020B0604020202020204"/>
              </a:rPr>
              <a:t>Accent 1</a:t>
            </a:r>
          </a:p>
        </p:txBody>
      </p:sp>
      <p:sp>
        <p:nvSpPr>
          <p:cNvPr id="27" name="TextBox 60">
            <a:extLst>
              <a:ext uri="{FF2B5EF4-FFF2-40B4-BE49-F238E27FC236}">
                <a16:creationId xmlns:a16="http://schemas.microsoft.com/office/drawing/2014/main" id="{449652CB-7C41-4C76-AB2F-49D496ADB072}"/>
              </a:ext>
            </a:extLst>
          </p:cNvPr>
          <p:cNvSpPr txBox="1"/>
          <p:nvPr userDrawn="1"/>
        </p:nvSpPr>
        <p:spPr>
          <a:xfrm>
            <a:off x="-2280592" y="3032391"/>
            <a:ext cx="1890462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algn="r"/>
            <a:r>
              <a:rPr lang="en-US" sz="1000" kern="1200">
                <a:solidFill>
                  <a:prstClr val="black"/>
                </a:solidFill>
                <a:latin typeface="Arial" panose="020B0604020202020204"/>
                <a:ea typeface="+mn-ea"/>
                <a:cs typeface="+mn-cs"/>
              </a:rPr>
              <a:t>Accent</a:t>
            </a:r>
            <a:r>
              <a:rPr lang="en-US" sz="1000">
                <a:solidFill>
                  <a:prstClr val="black"/>
                </a:solidFill>
                <a:latin typeface="Arial" panose="020B0604020202020204"/>
              </a:rPr>
              <a:t> 2</a:t>
            </a:r>
          </a:p>
        </p:txBody>
      </p:sp>
      <p:sp>
        <p:nvSpPr>
          <p:cNvPr id="28" name="TextBox 58">
            <a:extLst>
              <a:ext uri="{FF2B5EF4-FFF2-40B4-BE49-F238E27FC236}">
                <a16:creationId xmlns:a16="http://schemas.microsoft.com/office/drawing/2014/main" id="{8E19A1D7-1467-436B-BB44-0F1B49748EC1}"/>
              </a:ext>
            </a:extLst>
          </p:cNvPr>
          <p:cNvSpPr txBox="1"/>
          <p:nvPr userDrawn="1"/>
        </p:nvSpPr>
        <p:spPr>
          <a:xfrm>
            <a:off x="-2280592" y="3257815"/>
            <a:ext cx="1890462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algn="r"/>
            <a:r>
              <a:rPr lang="en-US" sz="1000">
                <a:solidFill>
                  <a:prstClr val="black"/>
                </a:solidFill>
                <a:latin typeface="Arial" panose="020B0604020202020204"/>
              </a:rPr>
              <a:t>Accent 3</a:t>
            </a:r>
          </a:p>
        </p:txBody>
      </p:sp>
      <p:sp>
        <p:nvSpPr>
          <p:cNvPr id="29" name="TextBox 66">
            <a:extLst>
              <a:ext uri="{FF2B5EF4-FFF2-40B4-BE49-F238E27FC236}">
                <a16:creationId xmlns:a16="http://schemas.microsoft.com/office/drawing/2014/main" id="{1CB0CEC4-8D40-4803-B075-6EDCF8854377}"/>
              </a:ext>
            </a:extLst>
          </p:cNvPr>
          <p:cNvSpPr txBox="1"/>
          <p:nvPr userDrawn="1"/>
        </p:nvSpPr>
        <p:spPr>
          <a:xfrm>
            <a:off x="-2280592" y="3479699"/>
            <a:ext cx="1890462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algn="r"/>
            <a:r>
              <a:rPr lang="en-US" sz="1000">
                <a:solidFill>
                  <a:prstClr val="black"/>
                </a:solidFill>
                <a:latin typeface="Arial" panose="020B0604020202020204"/>
              </a:rPr>
              <a:t>Accent 4</a:t>
            </a:r>
          </a:p>
        </p:txBody>
      </p:sp>
      <p:sp>
        <p:nvSpPr>
          <p:cNvPr id="30" name="TextBox 67">
            <a:extLst>
              <a:ext uri="{FF2B5EF4-FFF2-40B4-BE49-F238E27FC236}">
                <a16:creationId xmlns:a16="http://schemas.microsoft.com/office/drawing/2014/main" id="{8DF2F132-DC19-406F-847C-FBCEA0110F19}"/>
              </a:ext>
            </a:extLst>
          </p:cNvPr>
          <p:cNvSpPr txBox="1"/>
          <p:nvPr userDrawn="1"/>
        </p:nvSpPr>
        <p:spPr>
          <a:xfrm>
            <a:off x="-2280592" y="3701583"/>
            <a:ext cx="1890462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algn="r"/>
            <a:r>
              <a:rPr lang="en-US" sz="1000">
                <a:solidFill>
                  <a:prstClr val="black"/>
                </a:solidFill>
                <a:latin typeface="Arial" panose="020B0604020202020204"/>
              </a:rPr>
              <a:t>Accent 5</a:t>
            </a:r>
          </a:p>
        </p:txBody>
      </p:sp>
      <p:sp>
        <p:nvSpPr>
          <p:cNvPr id="31" name="TextBox 68">
            <a:extLst>
              <a:ext uri="{FF2B5EF4-FFF2-40B4-BE49-F238E27FC236}">
                <a16:creationId xmlns:a16="http://schemas.microsoft.com/office/drawing/2014/main" id="{3124BA37-A3C2-4014-A62B-27FBD1A36093}"/>
              </a:ext>
            </a:extLst>
          </p:cNvPr>
          <p:cNvSpPr txBox="1"/>
          <p:nvPr userDrawn="1"/>
        </p:nvSpPr>
        <p:spPr>
          <a:xfrm>
            <a:off x="-2280592" y="3923467"/>
            <a:ext cx="1890462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algn="r"/>
            <a:r>
              <a:rPr lang="en-US" sz="1000">
                <a:solidFill>
                  <a:prstClr val="black"/>
                </a:solidFill>
                <a:latin typeface="Arial" panose="020B0604020202020204"/>
              </a:rPr>
              <a:t>Accent 6</a:t>
            </a:r>
          </a:p>
        </p:txBody>
      </p:sp>
      <p:sp>
        <p:nvSpPr>
          <p:cNvPr id="32" name="TextBox 53">
            <a:extLst>
              <a:ext uri="{FF2B5EF4-FFF2-40B4-BE49-F238E27FC236}">
                <a16:creationId xmlns:a16="http://schemas.microsoft.com/office/drawing/2014/main" id="{DF835A17-BD48-4B21-B9E3-51D55AF85991}"/>
              </a:ext>
            </a:extLst>
          </p:cNvPr>
          <p:cNvSpPr txBox="1"/>
          <p:nvPr userDrawn="1"/>
        </p:nvSpPr>
        <p:spPr>
          <a:xfrm>
            <a:off x="-2290117" y="4750064"/>
            <a:ext cx="1890462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algn="r"/>
            <a:r>
              <a:rPr lang="en-US" sz="1000">
                <a:solidFill>
                  <a:prstClr val="black"/>
                </a:solidFill>
              </a:rPr>
              <a:t>Text 1 - black</a:t>
            </a:r>
          </a:p>
        </p:txBody>
      </p:sp>
      <p:sp>
        <p:nvSpPr>
          <p:cNvPr id="33" name="TextBox 54">
            <a:extLst>
              <a:ext uri="{FF2B5EF4-FFF2-40B4-BE49-F238E27FC236}">
                <a16:creationId xmlns:a16="http://schemas.microsoft.com/office/drawing/2014/main" id="{8E52B7F4-61AF-4C98-84A7-9D837F505CFC}"/>
              </a:ext>
            </a:extLst>
          </p:cNvPr>
          <p:cNvSpPr txBox="1"/>
          <p:nvPr userDrawn="1"/>
        </p:nvSpPr>
        <p:spPr>
          <a:xfrm>
            <a:off x="-2290117" y="4971948"/>
            <a:ext cx="1890462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algn="r"/>
            <a:r>
              <a:rPr lang="en-US" sz="1000">
                <a:solidFill>
                  <a:prstClr val="black"/>
                </a:solidFill>
              </a:rPr>
              <a:t>Text 2</a:t>
            </a:r>
            <a:r>
              <a:rPr lang="en-US" sz="1000" baseline="0">
                <a:solidFill>
                  <a:prstClr val="black"/>
                </a:solidFill>
              </a:rPr>
              <a:t> – dark green</a:t>
            </a:r>
            <a:endParaRPr lang="en-US" sz="1000">
              <a:solidFill>
                <a:prstClr val="black"/>
              </a:solidFill>
            </a:endParaRPr>
          </a:p>
        </p:txBody>
      </p:sp>
      <p:sp>
        <p:nvSpPr>
          <p:cNvPr id="34" name="TextBox 8">
            <a:extLst>
              <a:ext uri="{FF2B5EF4-FFF2-40B4-BE49-F238E27FC236}">
                <a16:creationId xmlns:a16="http://schemas.microsoft.com/office/drawing/2014/main" id="{BD5897FF-B689-4B2A-A522-9C63A99FF1B3}"/>
              </a:ext>
            </a:extLst>
          </p:cNvPr>
          <p:cNvSpPr txBox="1"/>
          <p:nvPr userDrawn="1"/>
        </p:nvSpPr>
        <p:spPr>
          <a:xfrm>
            <a:off x="-2279114" y="6365932"/>
            <a:ext cx="2185846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000">
                <a:solidFill>
                  <a:prstClr val="black"/>
                </a:solidFill>
                <a:latin typeface="Arial" panose="020B0604020202020204"/>
              </a:rPr>
              <a:t>Notes = 7,40</a:t>
            </a:r>
          </a:p>
        </p:txBody>
      </p:sp>
      <p:sp>
        <p:nvSpPr>
          <p:cNvPr id="35" name="TextBox 47">
            <a:extLst>
              <a:ext uri="{FF2B5EF4-FFF2-40B4-BE49-F238E27FC236}">
                <a16:creationId xmlns:a16="http://schemas.microsoft.com/office/drawing/2014/main" id="{1C1877F2-B864-493E-A3CD-9AB940B7B267}"/>
              </a:ext>
            </a:extLst>
          </p:cNvPr>
          <p:cNvSpPr txBox="1"/>
          <p:nvPr userDrawn="1"/>
        </p:nvSpPr>
        <p:spPr>
          <a:xfrm>
            <a:off x="-2279114" y="6609866"/>
            <a:ext cx="2185846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000">
                <a:solidFill>
                  <a:prstClr val="black"/>
                </a:solidFill>
              </a:rPr>
              <a:t>Footnote = 8,80</a:t>
            </a:r>
          </a:p>
        </p:txBody>
      </p:sp>
      <p:sp>
        <p:nvSpPr>
          <p:cNvPr id="36" name="TextBox 38">
            <a:extLst>
              <a:ext uri="{FF2B5EF4-FFF2-40B4-BE49-F238E27FC236}">
                <a16:creationId xmlns:a16="http://schemas.microsoft.com/office/drawing/2014/main" id="{DC2A932F-3552-4365-853B-CB595ABBE6B2}"/>
              </a:ext>
            </a:extLst>
          </p:cNvPr>
          <p:cNvSpPr txBox="1"/>
          <p:nvPr userDrawn="1"/>
        </p:nvSpPr>
        <p:spPr>
          <a:xfrm>
            <a:off x="6096002" y="-402232"/>
            <a:ext cx="2248946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r>
              <a:rPr lang="en-US" sz="1000">
                <a:solidFill>
                  <a:prstClr val="black"/>
                </a:solidFill>
                <a:latin typeface="Arial" panose="020B0604020202020204"/>
              </a:rPr>
              <a:t>Center </a:t>
            </a:r>
            <a:r>
              <a:rPr lang="en-US" sz="1000" err="1">
                <a:solidFill>
                  <a:prstClr val="black"/>
                </a:solidFill>
                <a:latin typeface="Arial" panose="020B0604020202020204"/>
              </a:rPr>
              <a:t>Center</a:t>
            </a:r>
            <a:r>
              <a:rPr lang="en-US" sz="1000">
                <a:solidFill>
                  <a:prstClr val="black"/>
                </a:solidFill>
                <a:latin typeface="Arial" panose="020B0604020202020204"/>
              </a:rPr>
              <a:t> = 0,00</a:t>
            </a:r>
          </a:p>
        </p:txBody>
      </p:sp>
      <p:cxnSp>
        <p:nvCxnSpPr>
          <p:cNvPr id="37" name="Straight Connector 35">
            <a:extLst>
              <a:ext uri="{FF2B5EF4-FFF2-40B4-BE49-F238E27FC236}">
                <a16:creationId xmlns:a16="http://schemas.microsoft.com/office/drawing/2014/main" id="{455F90D5-B616-49E8-BC97-BD810011074E}"/>
              </a:ext>
            </a:extLst>
          </p:cNvPr>
          <p:cNvCxnSpPr/>
          <p:nvPr userDrawn="1"/>
        </p:nvCxnSpPr>
        <p:spPr>
          <a:xfrm>
            <a:off x="11661046" y="-222232"/>
            <a:ext cx="0" cy="180000"/>
          </a:xfrm>
          <a:prstGeom prst="line">
            <a:avLst/>
          </a:prstGeom>
          <a:noFill/>
          <a:ln w="3175" cap="flat" cmpd="sng" algn="ctr">
            <a:solidFill>
              <a:srgbClr val="303030">
                <a:lumMod val="75000"/>
                <a:lumOff val="25000"/>
              </a:srgbClr>
            </a:solidFill>
            <a:prstDash val="solid"/>
            <a:tailEnd type="none" w="sm" len="sm"/>
          </a:ln>
          <a:effectLst/>
        </p:spPr>
      </p:cxnSp>
      <p:sp>
        <p:nvSpPr>
          <p:cNvPr id="38" name="TextBox 36">
            <a:extLst>
              <a:ext uri="{FF2B5EF4-FFF2-40B4-BE49-F238E27FC236}">
                <a16:creationId xmlns:a16="http://schemas.microsoft.com/office/drawing/2014/main" id="{93B15F25-B62F-4B0E-887F-CD0AF58CBDD2}"/>
              </a:ext>
            </a:extLst>
          </p:cNvPr>
          <p:cNvSpPr txBox="1"/>
          <p:nvPr userDrawn="1"/>
        </p:nvSpPr>
        <p:spPr>
          <a:xfrm>
            <a:off x="9341820" y="-222232"/>
            <a:ext cx="2248946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algn="r"/>
            <a:r>
              <a:rPr lang="en-US" sz="1000">
                <a:solidFill>
                  <a:prstClr val="black"/>
                </a:solidFill>
                <a:latin typeface="Arial" panose="020B0604020202020204"/>
              </a:rPr>
              <a:t>End Content = 15,5</a:t>
            </a:r>
          </a:p>
        </p:txBody>
      </p:sp>
      <p:sp>
        <p:nvSpPr>
          <p:cNvPr id="39" name="TextBox 34">
            <a:extLst>
              <a:ext uri="{FF2B5EF4-FFF2-40B4-BE49-F238E27FC236}">
                <a16:creationId xmlns:a16="http://schemas.microsoft.com/office/drawing/2014/main" id="{7DB831EC-DB4D-42C6-9B7B-6370E8A60766}"/>
              </a:ext>
            </a:extLst>
          </p:cNvPr>
          <p:cNvSpPr txBox="1"/>
          <p:nvPr userDrawn="1"/>
        </p:nvSpPr>
        <p:spPr>
          <a:xfrm>
            <a:off x="601238" y="-184084"/>
            <a:ext cx="2248946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r>
              <a:rPr lang="en-US" sz="1000">
                <a:solidFill>
                  <a:prstClr val="black"/>
                </a:solidFill>
                <a:latin typeface="Arial" panose="020B0604020202020204"/>
              </a:rPr>
              <a:t>Begin Content = 15,50</a:t>
            </a:r>
          </a:p>
        </p:txBody>
      </p:sp>
      <p:cxnSp>
        <p:nvCxnSpPr>
          <p:cNvPr id="40" name="Straight Connector 33">
            <a:extLst>
              <a:ext uri="{FF2B5EF4-FFF2-40B4-BE49-F238E27FC236}">
                <a16:creationId xmlns:a16="http://schemas.microsoft.com/office/drawing/2014/main" id="{680F64E7-6D08-46D6-B1F8-5AD071D51F84}"/>
              </a:ext>
            </a:extLst>
          </p:cNvPr>
          <p:cNvCxnSpPr/>
          <p:nvPr userDrawn="1"/>
        </p:nvCxnSpPr>
        <p:spPr>
          <a:xfrm>
            <a:off x="531692" y="-222232"/>
            <a:ext cx="0" cy="180000"/>
          </a:xfrm>
          <a:prstGeom prst="line">
            <a:avLst/>
          </a:prstGeom>
          <a:noFill/>
          <a:ln w="3175" cap="flat" cmpd="sng" algn="ctr">
            <a:solidFill>
              <a:srgbClr val="303030">
                <a:lumMod val="75000"/>
                <a:lumOff val="25000"/>
              </a:srgbClr>
            </a:solidFill>
            <a:prstDash val="solid"/>
            <a:tailEnd type="none" w="sm" len="sm"/>
          </a:ln>
          <a:effectLst/>
        </p:spPr>
      </p:cxnSp>
    </p:spTree>
    <p:extLst>
      <p:ext uri="{BB962C8B-B14F-4D97-AF65-F5344CB8AC3E}">
        <p14:creationId xmlns:p14="http://schemas.microsoft.com/office/powerpoint/2010/main" val="3448390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52" r:id="rId42"/>
  </p:sldLayoutIdLst>
  <p:hf hdr="0"/>
  <p:txStyles>
    <p:titleStyle>
      <a:lvl1pPr algn="l" defTabSz="914400" rtl="0" eaLnBrk="1" latinLnBrk="0" hangingPunct="1">
        <a:lnSpc>
          <a:spcPct val="92000"/>
        </a:lnSpc>
        <a:spcBef>
          <a:spcPct val="0"/>
        </a:spcBef>
        <a:buNone/>
        <a:defRPr sz="3000" b="1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7000"/>
        </a:lnSpc>
        <a:spcBef>
          <a:spcPts val="0"/>
        </a:spcBef>
        <a:spcAft>
          <a:spcPts val="1200"/>
        </a:spcAft>
        <a:buFont typeface="Symbol" panose="05050102010706020507" pitchFamily="18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defTabSz="914400" rtl="0" eaLnBrk="1" latinLnBrk="0" hangingPunct="1">
        <a:lnSpc>
          <a:spcPct val="107000"/>
        </a:lnSpc>
        <a:spcBef>
          <a:spcPts val="0"/>
        </a:spcBef>
        <a:spcAft>
          <a:spcPts val="12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1950" indent="-187325" algn="l" defTabSz="914400" rtl="0" eaLnBrk="1" latinLnBrk="0" hangingPunct="1">
        <a:lnSpc>
          <a:spcPct val="107000"/>
        </a:lnSpc>
        <a:spcBef>
          <a:spcPts val="0"/>
        </a:spcBef>
        <a:spcAft>
          <a:spcPts val="12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defTabSz="914400" rtl="0" eaLnBrk="1" latinLnBrk="0" hangingPunct="1">
        <a:lnSpc>
          <a:spcPct val="107000"/>
        </a:lnSpc>
        <a:spcBef>
          <a:spcPts val="0"/>
        </a:spcBef>
        <a:spcAft>
          <a:spcPts val="12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15963" indent="-176213" algn="l" defTabSz="914400" rtl="0" eaLnBrk="1" latinLnBrk="0" hangingPunct="1">
        <a:lnSpc>
          <a:spcPct val="107000"/>
        </a:lnSpc>
        <a:spcBef>
          <a:spcPts val="0"/>
        </a:spcBef>
        <a:spcAft>
          <a:spcPts val="12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">
          <p15:clr>
            <a:srgbClr val="F26B43"/>
          </p15:clr>
        </p15:guide>
        <p15:guide id="2" pos="7355">
          <p15:clr>
            <a:srgbClr val="F26B43"/>
          </p15:clr>
        </p15:guide>
        <p15:guide id="3" orient="horz" pos="1412">
          <p15:clr>
            <a:srgbClr val="F26B43"/>
          </p15:clr>
        </p15:guide>
        <p15:guide id="4" orient="horz" pos="3997">
          <p15:clr>
            <a:srgbClr val="F26B43"/>
          </p15:clr>
        </p15:guide>
        <p15:guide id="5" orient="horz" pos="867">
          <p15:clr>
            <a:srgbClr val="F26B43"/>
          </p15:clr>
        </p15:guide>
        <p15:guide id="6" orient="horz" pos="391">
          <p15:clr>
            <a:srgbClr val="F26B43"/>
          </p15:clr>
        </p15:guide>
        <p15:guide id="7" pos="4838">
          <p15:clr>
            <a:srgbClr val="F26B43"/>
          </p15:clr>
        </p15:guide>
        <p15:guide id="8" pos="4702">
          <p15:clr>
            <a:srgbClr val="F26B43"/>
          </p15:clr>
        </p15:guide>
        <p15:guide id="9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42"/>
            </p:custDataLst>
            <p:extLst>
              <p:ext uri="{D42A27DB-BD31-4B8C-83A1-F6EECF244321}">
                <p14:modId xmlns:p14="http://schemas.microsoft.com/office/powerpoint/2010/main" val="1636342984"/>
              </p:ext>
            </p:extLst>
          </p:nvPr>
        </p:nvGraphicFramePr>
        <p:xfrm>
          <a:off x="2015" y="160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4" imgW="270" imgH="270" progId="TCLayout.ActiveDocument.1">
                  <p:embed/>
                </p:oleObj>
              </mc:Choice>
              <mc:Fallback>
                <p:oleObj name="think-cell Folie" r:id="rId4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2015" y="160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82555E36-9474-414B-961A-811FDE30300E}"/>
              </a:ext>
            </a:extLst>
          </p:cNvPr>
          <p:cNvSpPr/>
          <p:nvPr userDrawn="1">
            <p:custDataLst>
              <p:tags r:id="rId43"/>
            </p:custDataLst>
          </p:nvPr>
        </p:nvSpPr>
        <p:spPr>
          <a:xfrm>
            <a:off x="0" y="0"/>
            <a:ext cx="195385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de-DE" sz="2800" b="1" i="0" baseline="0">
              <a:solidFill>
                <a:schemeClr val="tx2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" y="283"/>
            <a:ext cx="12190993" cy="6857434"/>
          </a:xfrm>
          <a:prstGeom prst="rect">
            <a:avLst/>
          </a:prstGeom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31701" y="252000"/>
            <a:ext cx="11037046" cy="80073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AT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31701" y="1196752"/>
            <a:ext cx="11037046" cy="44912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264742" y="6192000"/>
            <a:ext cx="1417846" cy="27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>
                <a:solidFill>
                  <a:srgbClr val="00497B"/>
                </a:solidFill>
              </a:rPr>
              <a:t>20.09.22</a:t>
            </a:r>
            <a:endParaRPr lang="de-AT">
              <a:solidFill>
                <a:srgbClr val="00497B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5121031" y="6192000"/>
            <a:ext cx="3922169" cy="27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de-AT">
              <a:solidFill>
                <a:srgbClr val="00497B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904122" y="6192000"/>
            <a:ext cx="664617" cy="27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26E76F1F-475F-482A-A2C6-CD2E081FF2E5}" type="slidenum">
              <a:rPr lang="de-DE" smtClean="0">
                <a:solidFill>
                  <a:srgbClr val="00497B"/>
                </a:solidFill>
              </a:rPr>
              <a:pPr/>
              <a:t>‹#›</a:t>
            </a:fld>
            <a:endParaRPr lang="de-AT">
              <a:solidFill>
                <a:srgbClr val="0049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37885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4" r:id="rId12"/>
    <p:sldLayoutId id="2147483715" r:id="rId13"/>
    <p:sldLayoutId id="2147483716" r:id="rId14"/>
    <p:sldLayoutId id="2147483717" r:id="rId15"/>
    <p:sldLayoutId id="2147483718" r:id="rId16"/>
    <p:sldLayoutId id="2147483719" r:id="rId17"/>
    <p:sldLayoutId id="2147483720" r:id="rId18"/>
    <p:sldLayoutId id="2147483721" r:id="rId19"/>
    <p:sldLayoutId id="2147483722" r:id="rId20"/>
    <p:sldLayoutId id="2147483723" r:id="rId21"/>
    <p:sldLayoutId id="2147483724" r:id="rId22"/>
    <p:sldLayoutId id="2147483725" r:id="rId23"/>
    <p:sldLayoutId id="2147483726" r:id="rId24"/>
    <p:sldLayoutId id="2147483727" r:id="rId25"/>
    <p:sldLayoutId id="2147483728" r:id="rId26"/>
    <p:sldLayoutId id="2147483729" r:id="rId27"/>
    <p:sldLayoutId id="2147483730" r:id="rId28"/>
    <p:sldLayoutId id="2147483731" r:id="rId29"/>
    <p:sldLayoutId id="2147483732" r:id="rId30"/>
    <p:sldLayoutId id="2147483733" r:id="rId31"/>
    <p:sldLayoutId id="2147483734" r:id="rId32"/>
    <p:sldLayoutId id="2147483735" r:id="rId33"/>
    <p:sldLayoutId id="2147483736" r:id="rId34"/>
    <p:sldLayoutId id="2147483737" r:id="rId35"/>
    <p:sldLayoutId id="2147483738" r:id="rId36"/>
    <p:sldLayoutId id="2147483739" r:id="rId37"/>
    <p:sldLayoutId id="2147483740" r:id="rId38"/>
    <p:sldLayoutId id="2147483741" r:id="rId39"/>
    <p:sldLayoutId id="2147483742" r:id="rId40"/>
  </p:sldLayoutIdLst>
  <p:hf hdr="0" ftr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rgbClr val="00497B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sz="2400" kern="120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1pPr>
      <a:lvl2pPr marL="179388" indent="-179388" algn="l" defTabSz="914400" rtl="0" eaLnBrk="1" latinLnBrk="0" hangingPunct="1">
        <a:spcBef>
          <a:spcPct val="20000"/>
        </a:spcBef>
        <a:buClrTx/>
        <a:buFont typeface="Arial" pitchFamily="34" charset="0"/>
        <a:buChar char="•"/>
        <a:defRPr sz="2000" kern="120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2pPr>
      <a:lvl3pPr marL="346075" indent="-179388" algn="l" defTabSz="914400" rtl="0" eaLnBrk="1" latinLnBrk="0" hangingPunct="1">
        <a:spcBef>
          <a:spcPct val="20000"/>
        </a:spcBef>
        <a:buClrTx/>
        <a:buFont typeface="Arial" pitchFamily="34" charset="0"/>
        <a:buChar char="•"/>
        <a:defRPr sz="1800" kern="120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3pPr>
      <a:lvl4pPr marL="531813" indent="-179388" algn="l" defTabSz="914400" rtl="0" eaLnBrk="1" latinLnBrk="0" hangingPunct="1">
        <a:spcBef>
          <a:spcPct val="20000"/>
        </a:spcBef>
        <a:buClrTx/>
        <a:buFont typeface="Arial" pitchFamily="34" charset="0"/>
        <a:buChar char="•"/>
        <a:defRPr sz="1600" kern="120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4pPr>
      <a:lvl5pPr marL="719138" indent="-179388" algn="l" defTabSz="914400" rtl="0" eaLnBrk="1" latinLnBrk="0" hangingPunct="1">
        <a:spcBef>
          <a:spcPct val="20000"/>
        </a:spcBef>
        <a:buClrTx/>
        <a:buFont typeface="Arial" pitchFamily="34" charset="0"/>
        <a:buChar char="•"/>
        <a:defRPr sz="900" kern="120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0A7638E-A83A-4BAD-8DA4-A8AEDDEE13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581975327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306" imgH="306" progId="TCLayout.ActiveDocument.1">
                  <p:embed/>
                </p:oleObj>
              </mc:Choice>
              <mc:Fallback>
                <p:oleObj name="think-cell Folie" r:id="rId12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0A7638E-A83A-4BAD-8DA4-A8AEDDEE13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EF8F37F-E738-4C14-B7B6-CAB9C13BEEEC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2199" b="0" i="0" u="none" cap="none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69600"/>
            <a:ext cx="10972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4F0543D-5895-4F15-9AD6-423DC79B212B}"/>
              </a:ext>
            </a:extLst>
          </p:cNvPr>
          <p:cNvSpPr txBox="1"/>
          <p:nvPr userDrawn="1"/>
        </p:nvSpPr>
        <p:spPr>
          <a:xfrm>
            <a:off x="9836099" y="6565113"/>
            <a:ext cx="395736" cy="123111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n-lt"/>
                <a:sym typeface="Arial" panose="020B0604020202020204" pitchFamily="34" charset="0"/>
              </a:rPr>
              <a:t>Page </a:t>
            </a:r>
            <a:fld id="{9AE4D82F-B047-469B-AC52-A46321747EAF}" type="slidenum">
              <a:rPr lang="en-US" sz="800" smtClean="0">
                <a:solidFill>
                  <a:schemeClr val="bg1"/>
                </a:solidFill>
                <a:latin typeface="+mn-lt"/>
                <a:sym typeface="Arial" panose="020B0604020202020204" pitchFamily="34" charset="0"/>
              </a:rPr>
              <a:pPr marL="0" marR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>
              <a:solidFill>
                <a:schemeClr val="bg1"/>
              </a:solidFill>
              <a:latin typeface="+mn-lt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327149"/>
            <a:ext cx="10972800" cy="9811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OuterGrid" hidden="1">
            <a:extLst>
              <a:ext uri="{FF2B5EF4-FFF2-40B4-BE49-F238E27FC236}">
                <a16:creationId xmlns:a16="http://schemas.microsoft.com/office/drawing/2014/main" id="{497C0834-4F27-4726-9D1B-7289BEDDACB5}"/>
              </a:ext>
            </a:extLst>
          </p:cNvPr>
          <p:cNvSpPr/>
          <p:nvPr userDrawn="1"/>
        </p:nvSpPr>
        <p:spPr>
          <a:xfrm>
            <a:off x="609918" y="1327149"/>
            <a:ext cx="10980000" cy="4797425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l"/>
            <a:endParaRPr lang="en-US" sz="11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26997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  <p:sldLayoutId id="2147483749" r:id="rId6"/>
    <p:sldLayoutId id="2147483750" r:id="rId7"/>
    <p:sldLayoutId id="2147483751" r:id="rId8"/>
  </p:sldLayoutIdLst>
  <p:hf hdr="0"/>
  <p:txStyles>
    <p:titleStyle>
      <a:lvl1pPr algn="l" defTabSz="913943" rtl="0" eaLnBrk="1" latinLnBrk="0" hangingPunct="1">
        <a:lnSpc>
          <a:spcPct val="90000"/>
        </a:lnSpc>
        <a:spcBef>
          <a:spcPct val="0"/>
        </a:spcBef>
        <a:buNone/>
        <a:defRPr sz="2199" b="0" kern="1200">
          <a:solidFill>
            <a:schemeClr val="bg1"/>
          </a:solidFill>
          <a:latin typeface="+mn-lt"/>
          <a:ea typeface="+mj-ea"/>
          <a:cs typeface="Arial" pitchFamily="34" charset="0"/>
          <a:sym typeface="Arial" panose="020B0604020202020204" pitchFamily="34" charset="0"/>
        </a:defRPr>
      </a:lvl1pPr>
    </p:titleStyle>
    <p:bodyStyle>
      <a:lvl1pPr marL="171364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1pPr>
      <a:lvl2pPr marL="342729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2pPr>
      <a:lvl3pPr marL="514093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3pPr>
      <a:lvl4pPr marL="685457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4pPr>
      <a:lvl5pPr marL="856821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6">
          <p15:clr>
            <a:srgbClr val="F26B43"/>
          </p15:clr>
        </p15:guide>
        <p15:guide id="2" pos="7294">
          <p15:clr>
            <a:srgbClr val="F26B43"/>
          </p15:clr>
        </p15:guide>
        <p15:guide id="3" orient="horz" pos="711">
          <p15:clr>
            <a:srgbClr val="F26B43"/>
          </p15:clr>
        </p15:guide>
        <p15:guide id="4" orient="horz" pos="383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6.xml"/><Relationship Id="rId6" Type="http://schemas.openxmlformats.org/officeDocument/2006/relationships/image" Target="../media/image21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4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7.xml"/><Relationship Id="rId5" Type="http://schemas.openxmlformats.org/officeDocument/2006/relationships/image" Target="../media/image42.jpeg"/><Relationship Id="rId4" Type="http://schemas.openxmlformats.org/officeDocument/2006/relationships/image" Target="../media/image41.emf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erstegroup-my.sharepoint.com/:x:/g/personal/a98ifoa_s-mxs_net/EWu4HXv_2XdApnxa59dh2nUBuhcgc30tyzwSqkpzPg4ADA?e=fqMnVC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hyperlink" Target="https://cawemo.com/diagrams/0a6bd9a3-737c-4517-84a4-51955a25198f--mainjourney?v=840,392,1" TargetMode="Externa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conf.s-mxs.net/display/MISOL/Machine+Intelligence+Solution+Home" TargetMode="External"/><Relationship Id="rId2" Type="http://schemas.microsoft.com/office/2018/10/relationships/comments" Target="../comments/modernComment_7FFFEC2C_3D9E16C0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2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25.png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31.png"/><Relationship Id="rId11" Type="http://schemas.openxmlformats.org/officeDocument/2006/relationships/image" Target="../media/image35.png"/><Relationship Id="rId5" Type="http://schemas.openxmlformats.org/officeDocument/2006/relationships/image" Target="../media/image30.png"/><Relationship Id="rId10" Type="http://schemas.openxmlformats.org/officeDocument/2006/relationships/image" Target="../media/image22.png"/><Relationship Id="rId4" Type="http://schemas.openxmlformats.org/officeDocument/2006/relationships/image" Target="../media/image26.svg"/><Relationship Id="rId9" Type="http://schemas.openxmlformats.org/officeDocument/2006/relationships/image" Target="../media/image3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hyperlink" Target="https://erstegroup.sharepoint.com/:p:/r/sites/BoA-AgilityandInnovation/_layouts/15/Doc.aspx?sourcedoc=%7BE056FAAB-724F-45FB-8EFF-51BDFA26BE71%7D&amp;file=GenAI_TOM%20Approach.pptx&amp;wdLOR=c1D844653-939B-4A0F-B6C5-619BE62CC471&amp;action=edit&amp;mobileredirect=true" TargetMode="External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2" Type="http://schemas.microsoft.com/office/2018/10/relationships/comments" Target="../comments/modernComment_7FFFEC22_D6150133.xml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s://erstegroup.sharepoint.com/:p:/r/sites/ATsITINNOCommunications/Freigegebene%20Dokumente/Chatbots/2023%20Chatbot%20Challenge/Chatbot%20Challenge%20Pr%C3%A4sentationen/20231011_ChatbotChallenge_Steering.pptx?d=w59c647a78f1344beb609d9f63857dfe6&amp;csf=1&amp;web=1&amp;e=p986Hy" TargetMode="Externa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hyperlink" Target="https://erstegroup.sharepoint.com/:p:/r/sites/BoA/Freigegebene%20Dokumente/EA%20-%20Chapter%20Customer,%20Accounts%20and%203rd%20Party/Channels/George/George%20Retail/George%20Chatbots/Hey,%20George!%20POC%20introduction.pptx?d=wc0d3085bb1194aadbfa94af6db4ce726&amp;csf=1&amp;web=1&amp;e=pdgkkN" TargetMode="External"/><Relationship Id="rId7" Type="http://schemas.openxmlformats.org/officeDocument/2006/relationships/image" Target="../media/image26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5.png"/><Relationship Id="rId5" Type="http://schemas.openxmlformats.org/officeDocument/2006/relationships/image" Target="../media/image24.svg"/><Relationship Id="rId4" Type="http://schemas.openxmlformats.org/officeDocument/2006/relationships/image" Target="../media/image23.png"/><Relationship Id="rId9" Type="http://schemas.openxmlformats.org/officeDocument/2006/relationships/image" Target="../media/image28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25.png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31.png"/><Relationship Id="rId11" Type="http://schemas.openxmlformats.org/officeDocument/2006/relationships/image" Target="../media/image35.png"/><Relationship Id="rId5" Type="http://schemas.openxmlformats.org/officeDocument/2006/relationships/image" Target="../media/image30.png"/><Relationship Id="rId10" Type="http://schemas.openxmlformats.org/officeDocument/2006/relationships/image" Target="../media/image22.png"/><Relationship Id="rId4" Type="http://schemas.openxmlformats.org/officeDocument/2006/relationships/image" Target="../media/image26.svg"/><Relationship Id="rId9" Type="http://schemas.openxmlformats.org/officeDocument/2006/relationships/image" Target="../media/image34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A4FD44E-5326-CB55-8940-0EDA28CA58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523825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A4FD44E-5326-CB55-8940-0EDA28CA58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5">
            <a:extLst>
              <a:ext uri="{FF2B5EF4-FFF2-40B4-BE49-F238E27FC236}">
                <a16:creationId xmlns:a16="http://schemas.microsoft.com/office/drawing/2014/main" id="{317AC371-2070-9765-8BF8-C5F65154666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5935" y="2378419"/>
            <a:ext cx="5383420" cy="1571626"/>
          </a:xfrm>
        </p:spPr>
        <p:txBody>
          <a:bodyPr vert="horz"/>
          <a:lstStyle/>
          <a:p>
            <a:r>
              <a:rPr lang="en-US"/>
              <a:t>Architecture proposal for chatbot interaction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55B493B-0248-22F1-EF7A-7BBF54986FA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5935" y="5874345"/>
            <a:ext cx="5022713" cy="211925"/>
          </a:xfrm>
        </p:spPr>
        <p:txBody>
          <a:bodyPr/>
          <a:lstStyle/>
          <a:p>
            <a:r>
              <a:rPr lang="en-US" sz="3200"/>
              <a:t>Strategy &amp; Architecture</a:t>
            </a:r>
          </a:p>
          <a:p>
            <a:r>
              <a:rPr lang="en-US" sz="3200"/>
              <a:t>Retail Sales &amp; Distributio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58E87C59-8461-556E-8B57-5482BE88B0C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  <p:txBody>
          <a:bodyPr/>
          <a:lstStyle/>
          <a:p>
            <a:endParaRPr lang="en-AT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5BE7371B-EAE6-B9E5-5FDE-68A9FF48FBF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96000" y="-1"/>
            <a:ext cx="5633413" cy="53634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39886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58F33B-9B70-FB13-9149-41656A6505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takeholders, roles and responsibilities in ED and EB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E8CC9C0-365F-2AE2-45F2-482F3CE5F5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</a:rPr>
              <a:t>23.11.2023</a:t>
            </a: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B57D73A-7920-829D-2672-881F1D2612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cs typeface="+mn-cs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19B37FC-C3CD-023B-D639-4E6FEB9AD8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4E211D1-FE55-4D0D-01F3-2179C55388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1459" y="1176404"/>
            <a:ext cx="4596838" cy="2602816"/>
          </a:xfrm>
        </p:spPr>
        <p:txBody>
          <a:bodyPr/>
          <a:lstStyle/>
          <a:p>
            <a:pPr marL="0" indent="0">
              <a:buNone/>
            </a:pPr>
            <a:r>
              <a:rPr lang="en-US" sz="1600" b="1" err="1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MiSOL</a:t>
            </a:r>
            <a:r>
              <a:rPr lang="en-US" sz="1600" b="1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 (E. </a:t>
            </a:r>
            <a:r>
              <a:rPr lang="en-US" sz="1600" b="1" err="1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Preis</a:t>
            </a:r>
            <a:r>
              <a:rPr lang="en-US" sz="1600" b="1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)</a:t>
            </a:r>
          </a:p>
          <a:p>
            <a:pPr marL="0" indent="0">
              <a:buNone/>
            </a:pPr>
            <a:r>
              <a:rPr lang="en-US" sz="14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Provides conversational interfaces and ”Chatbots” for end us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Orchestrates services (implementation of actual logic and </a:t>
            </a:r>
            <a:r>
              <a:rPr lang="en-US" sz="1400" err="1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usecases</a:t>
            </a:r>
            <a:r>
              <a:rPr lang="en-US" sz="14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 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Operations</a:t>
            </a:r>
          </a:p>
          <a:p>
            <a:pPr marL="461963" lvl="1" indent="-285750"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Provides service lifecycle management</a:t>
            </a:r>
          </a:p>
          <a:p>
            <a:pPr marL="461963" lvl="1" indent="-285750"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Makes solution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Resource management – external resources on dema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Development resources</a:t>
            </a:r>
            <a:endParaRPr lang="en-US" sz="1400">
              <a:solidFill>
                <a:srgbClr val="000000"/>
              </a:solidFill>
              <a:latin typeface="Calibri" panose="020F0502020204030204" pitchFamily="34" charset="0"/>
              <a:ea typeface="Calibri"/>
              <a:cs typeface="Calibri"/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06DA4062-671A-BDE3-FF9C-0A8B777B2B42}"/>
              </a:ext>
            </a:extLst>
          </p:cNvPr>
          <p:cNvSpPr txBox="1">
            <a:spLocks/>
          </p:cNvSpPr>
          <p:nvPr/>
        </p:nvSpPr>
        <p:spPr>
          <a:xfrm>
            <a:off x="5745726" y="3919775"/>
            <a:ext cx="4596838" cy="25431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447675" indent="-4476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23888" indent="-17938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9625" indent="-18573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9013" indent="-17938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68400" indent="-17938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b="1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Business (EB)</a:t>
            </a:r>
            <a:endParaRPr lang="en-US" sz="1600" b="1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Product owner (SPOC)</a:t>
            </a:r>
          </a:p>
          <a:p>
            <a:pPr marL="461645" lvl="1" indent="-285750">
              <a:buFont typeface="Arial" panose="020B0604020202020204" pitchFamily="34" charset="0"/>
              <a:buChar char="•"/>
            </a:pPr>
            <a:r>
              <a:rPr lang="en-US" sz="8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Marc Gyarmaty – customer facing (retail)</a:t>
            </a:r>
          </a:p>
          <a:p>
            <a:pPr marL="461645" lvl="1" indent="-285750">
              <a:buFont typeface="Arial" panose="020B0604020202020204" pitchFamily="34" charset="0"/>
              <a:buChar char="•"/>
            </a:pPr>
            <a:r>
              <a:rPr lang="en-US" sz="8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Hannes Theisl – employee facing.</a:t>
            </a:r>
          </a:p>
          <a:p>
            <a:pPr marL="461645" lvl="1" indent="-285750">
              <a:buFont typeface="Arial" panose="020B0604020202020204" pitchFamily="34" charset="0"/>
              <a:buChar char="•"/>
            </a:pPr>
            <a:r>
              <a:rPr lang="en-US" sz="8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Retail / Corporates split?</a:t>
            </a:r>
          </a:p>
          <a:p>
            <a:pPr marL="461645" lvl="1" indent="-285750">
              <a:buFont typeface="Arial" panose="020B0604020202020204" pitchFamily="34" charset="0"/>
              <a:buChar char="•"/>
            </a:pPr>
            <a:r>
              <a:rPr lang="en-US" sz="8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Tasks</a:t>
            </a:r>
          </a:p>
          <a:p>
            <a:pPr marL="647700" lvl="2" indent="-185420">
              <a:buFont typeface="Arial" panose="020B0604020202020204" pitchFamily="34" charset="0"/>
              <a:buChar char="•"/>
            </a:pPr>
            <a:r>
              <a:rPr lang="en-US" sz="8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Defining requirements.</a:t>
            </a:r>
          </a:p>
          <a:p>
            <a:pPr marL="647700" lvl="2" indent="-185420">
              <a:buFont typeface="Arial" panose="020B0604020202020204" pitchFamily="34" charset="0"/>
              <a:buChar char="•"/>
            </a:pPr>
            <a:r>
              <a:rPr lang="en-US" sz="8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Collecting ideas.</a:t>
            </a:r>
          </a:p>
          <a:p>
            <a:pPr marL="647700" lvl="2" indent="-185420">
              <a:buFont typeface="Arial" panose="020B0604020202020204" pitchFamily="34" charset="0"/>
              <a:buChar char="•"/>
            </a:pPr>
            <a:r>
              <a:rPr lang="en-US" sz="8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Managing backlogs.</a:t>
            </a:r>
          </a:p>
          <a:p>
            <a:pPr marL="647700" lvl="2" indent="-185420">
              <a:buFont typeface="Arial" panose="020B0604020202020204" pitchFamily="34" charset="0"/>
              <a:buChar char="•"/>
            </a:pPr>
            <a:r>
              <a:rPr lang="en-US" sz="8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Test the solutions (UAT).</a:t>
            </a:r>
          </a:p>
          <a:p>
            <a:pPr marL="461645" lvl="1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Business owner</a:t>
            </a:r>
            <a:endParaRPr lang="en-US" sz="80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647700" lvl="2" indent="-185420">
              <a:buFont typeface="Arial" panose="020B0604020202020204" pitchFamily="34" charset="0"/>
              <a:buChar char="•"/>
            </a:pPr>
            <a:r>
              <a:rPr lang="en-US" sz="8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Has demand – business need.</a:t>
            </a:r>
            <a:endParaRPr lang="en-US" sz="140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647700" lvl="2" indent="-185420">
              <a:buFont typeface="Arial" panose="020B0604020202020204" pitchFamily="34" charset="0"/>
              <a:buChar char="•"/>
            </a:pPr>
            <a:r>
              <a:rPr lang="en-US" sz="8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Has budget.</a:t>
            </a:r>
            <a:endParaRPr lang="en-US" sz="80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647700" lvl="2" indent="-185420">
              <a:buFont typeface="Arial" panose="020B0604020202020204" pitchFamily="34" charset="0"/>
              <a:buChar char="•"/>
            </a:pPr>
            <a:r>
              <a:rPr lang="en-US" sz="8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Budget / Fundi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en-US" sz="140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C679D92-F6A1-13FD-81D1-A2BB25ECB99D}"/>
              </a:ext>
            </a:extLst>
          </p:cNvPr>
          <p:cNvSpPr txBox="1">
            <a:spLocks/>
          </p:cNvSpPr>
          <p:nvPr/>
        </p:nvSpPr>
        <p:spPr>
          <a:xfrm>
            <a:off x="511459" y="4039701"/>
            <a:ext cx="4596838" cy="17373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447675" indent="-4476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23888" indent="-17938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9625" indent="-18573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9013" indent="-17938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68400" indent="-17938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>
                <a:solidFill>
                  <a:srgbClr val="000000"/>
                </a:solidFill>
                <a:latin typeface="Calibri"/>
                <a:cs typeface="Calibri"/>
              </a:rPr>
              <a:t>George team (George AT/G-LABS)</a:t>
            </a:r>
          </a:p>
          <a:p>
            <a:pPr marL="285750" indent="0"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latin typeface="Calibri"/>
                <a:cs typeface="Calibri"/>
              </a:rPr>
              <a:t>UX Integration</a:t>
            </a:r>
          </a:p>
          <a:p>
            <a:pPr marL="285750" indent="0"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latin typeface="Inter SemiBold"/>
                <a:cs typeface="Calibri"/>
              </a:rPr>
              <a:t>George </a:t>
            </a:r>
            <a:r>
              <a:rPr lang="en-US" sz="1400" err="1">
                <a:solidFill>
                  <a:srgbClr val="000000"/>
                </a:solidFill>
                <a:latin typeface="Inter SemiBold"/>
                <a:cs typeface="Calibri"/>
              </a:rPr>
              <a:t>Masterbot</a:t>
            </a:r>
            <a:r>
              <a:rPr lang="en-US" sz="1400">
                <a:solidFill>
                  <a:srgbClr val="000000"/>
                </a:solidFill>
                <a:latin typeface="Inter SemiBold"/>
                <a:cs typeface="Calibri"/>
              </a:rPr>
              <a:t> (incl. </a:t>
            </a:r>
            <a:r>
              <a:rPr lang="en-US" sz="1400" err="1">
                <a:solidFill>
                  <a:srgbClr val="000000"/>
                </a:solidFill>
                <a:latin typeface="Inter SemiBold"/>
                <a:cs typeface="Calibri"/>
              </a:rPr>
              <a:t>FeatureSearch</a:t>
            </a:r>
            <a:r>
              <a:rPr lang="en-US" sz="1400">
                <a:solidFill>
                  <a:srgbClr val="000000"/>
                </a:solidFill>
                <a:latin typeface="Inter SemiBold"/>
                <a:cs typeface="Calibri"/>
              </a:rPr>
              <a:t>, </a:t>
            </a:r>
            <a:r>
              <a:rPr lang="en-US" sz="1400" err="1">
                <a:solidFill>
                  <a:srgbClr val="000000"/>
                </a:solidFill>
                <a:latin typeface="Inter SemiBold"/>
                <a:cs typeface="Calibri"/>
              </a:rPr>
              <a:t>ChitChat</a:t>
            </a:r>
            <a:r>
              <a:rPr lang="en-US" sz="1400">
                <a:solidFill>
                  <a:srgbClr val="000000"/>
                </a:solidFill>
                <a:latin typeface="Inter SemiBold"/>
                <a:cs typeface="Calibri"/>
              </a:rPr>
              <a:t>, Call Local Bots, …)</a:t>
            </a:r>
          </a:p>
          <a:p>
            <a:pPr marL="285750" indent="0"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latin typeface="Inter SemiBold"/>
                <a:cs typeface="Calibri"/>
              </a:rPr>
              <a:t>Operation with ED George Retail/Business</a:t>
            </a:r>
          </a:p>
          <a:p>
            <a:pPr marL="285750" indent="0"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latin typeface="Inter SemiBold"/>
                <a:cs typeface="Calibri"/>
              </a:rPr>
              <a:t>Product Owner: Peter Koller</a:t>
            </a: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971AD4A4-72B1-03A5-2034-0BFE4304B894}"/>
              </a:ext>
            </a:extLst>
          </p:cNvPr>
          <p:cNvSpPr txBox="1">
            <a:spLocks/>
          </p:cNvSpPr>
          <p:nvPr/>
        </p:nvSpPr>
        <p:spPr>
          <a:xfrm>
            <a:off x="1941543" y="6514265"/>
            <a:ext cx="4709727" cy="68746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447675" indent="-4476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23888" indent="-17938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9625" indent="-18573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9013" indent="-17938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68400" indent="-17938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+mj-lt"/>
              <a:buNone/>
            </a:pPr>
            <a:r>
              <a:rPr lang="en-US" sz="2000" b="1">
                <a:solidFill>
                  <a:srgbClr val="000000"/>
                </a:solidFill>
                <a:latin typeface="Calibri" panose="020F0502020204030204" pitchFamily="34" charset="0"/>
              </a:rPr>
              <a:t>Currently still to be defined, just ideas.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3050CE50-6260-BC3C-25A8-362BB151EFDC}"/>
              </a:ext>
            </a:extLst>
          </p:cNvPr>
          <p:cNvSpPr txBox="1">
            <a:spLocks/>
          </p:cNvSpPr>
          <p:nvPr/>
        </p:nvSpPr>
        <p:spPr>
          <a:xfrm>
            <a:off x="5837504" y="996563"/>
            <a:ext cx="4596838" cy="291950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447675" indent="-4476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23888" indent="-17938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9625" indent="-18573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9013" indent="-17938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68400" indent="-17938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+mj-lt"/>
              <a:buNone/>
            </a:pPr>
            <a:r>
              <a:rPr lang="en-US" sz="1400" b="1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AI Solution (C. Helm)</a:t>
            </a:r>
            <a:endParaRPr lang="en-US" sz="1400" b="1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0" indent="0">
              <a:buNone/>
            </a:pPr>
            <a:r>
              <a:rPr lang="en-US" sz="12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Provides API Services </a:t>
            </a:r>
          </a:p>
          <a:p>
            <a:pPr marL="461963" lvl="1" indent="-285750">
              <a:buFont typeface="Arial" panose="020B0604020202020204" pitchFamily="34" charset="0"/>
              <a:buChar char="•"/>
            </a:pPr>
            <a:r>
              <a:rPr lang="en-US" sz="11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LLM Endpoints (GPT, </a:t>
            </a:r>
            <a:r>
              <a:rPr lang="en-US" sz="1100" err="1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PaLM</a:t>
            </a:r>
            <a:r>
              <a:rPr lang="en-US" sz="11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, LLAMA)</a:t>
            </a:r>
          </a:p>
          <a:p>
            <a:pPr marL="461963" lvl="1" indent="-285750">
              <a:buFont typeface="Arial" panose="020B0604020202020204" pitchFamily="34" charset="0"/>
              <a:buChar char="•"/>
            </a:pPr>
            <a:r>
              <a:rPr lang="en-US" sz="11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Vector Database</a:t>
            </a:r>
          </a:p>
          <a:p>
            <a:pPr marL="461963" lvl="1" indent="-285750">
              <a:buFont typeface="Arial" panose="020B0604020202020204" pitchFamily="34" charset="0"/>
              <a:buChar char="•"/>
            </a:pPr>
            <a:r>
              <a:rPr lang="en-US" sz="11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Vector Sear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Operations</a:t>
            </a:r>
          </a:p>
          <a:p>
            <a:pPr marL="461963" lvl="1" indent="-285750">
              <a:buFont typeface="Arial" panose="020B0604020202020204" pitchFamily="34" charset="0"/>
              <a:buChar char="•"/>
            </a:pPr>
            <a:r>
              <a:rPr lang="en-US" sz="11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Billing</a:t>
            </a:r>
          </a:p>
          <a:p>
            <a:pPr marL="461963" lvl="1" indent="-285750">
              <a:buFont typeface="Arial" panose="020B0604020202020204" pitchFamily="34" charset="0"/>
              <a:buChar char="•"/>
            </a:pPr>
            <a:r>
              <a:rPr lang="en-US" sz="11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Monitor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Resource management – external resources on deman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Development resourc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 u="sng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Remark:</a:t>
            </a:r>
            <a:r>
              <a:rPr lang="en-US" sz="12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 TOM for AI Solution is still under construction.</a:t>
            </a:r>
            <a:endParaRPr lang="en-US" sz="1200">
              <a:solidFill>
                <a:srgbClr val="000000"/>
              </a:solidFill>
              <a:latin typeface="Calibri" panose="020F0502020204030204" pitchFamily="34" charset="0"/>
              <a:ea typeface="Calibri"/>
              <a:cs typeface="Calibri"/>
            </a:endParaRPr>
          </a:p>
        </p:txBody>
      </p:sp>
      <p:sp>
        <p:nvSpPr>
          <p:cNvPr id="1029" name="Foliennummernplatzhalter 1028">
            <a:extLst>
              <a:ext uri="{FF2B5EF4-FFF2-40B4-BE49-F238E27FC236}">
                <a16:creationId xmlns:a16="http://schemas.microsoft.com/office/drawing/2014/main" id="{467D0BF6-DB3E-932F-A7EF-91409702FF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E0597C-028E-473F-BF50-BBB8B8A24EC3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Inter SemiBold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SemiBold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596475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58F33B-9B70-FB13-9149-41656A6505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arget operation model (TOM) for integration George chatbot - local chatbot solution (</a:t>
            </a:r>
            <a:r>
              <a:rPr lang="en-US" err="1"/>
              <a:t>MiSOL</a:t>
            </a:r>
            <a:r>
              <a:rPr lang="en-US"/>
              <a:t>)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E8CC9C0-365F-2AE2-45F2-482F3CE5F5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</a:rPr>
              <a:t>23.11.2023</a:t>
            </a: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B57D73A-7920-829D-2672-881F1D2612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cs typeface="+mn-cs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19B37FC-C3CD-023B-D639-4E6FEB9AD8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C679D92-F6A1-13FD-81D1-A2BB25ECB99D}"/>
              </a:ext>
            </a:extLst>
          </p:cNvPr>
          <p:cNvSpPr txBox="1">
            <a:spLocks/>
          </p:cNvSpPr>
          <p:nvPr/>
        </p:nvSpPr>
        <p:spPr>
          <a:xfrm>
            <a:off x="575710" y="1188269"/>
            <a:ext cx="11138688" cy="17373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447675" indent="-4476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23888" indent="-17938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9625" indent="-18573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9013" indent="-17938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68400" indent="-17938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spcBef>
                <a:spcPts val="0"/>
              </a:spcBef>
              <a:spcAft>
                <a:spcPts val="0"/>
              </a:spcAft>
              <a:buNone/>
            </a:pPr>
            <a:endParaRPr lang="en-US" sz="2000" b="1">
              <a:solidFill>
                <a:schemeClr val="accent2">
                  <a:lumMod val="10000"/>
                </a:schemeClr>
              </a:solidFill>
              <a:latin typeface="Inter"/>
            </a:endParaRPr>
          </a:p>
          <a:p>
            <a:pPr marL="0" indent="0" algn="just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>
                <a:solidFill>
                  <a:schemeClr val="accent2">
                    <a:lumMod val="10000"/>
                  </a:schemeClr>
                </a:solidFill>
                <a:latin typeface="Inter"/>
              </a:rPr>
              <a:t>Work is currently in progress (Peter Koller is the responsible person)</a:t>
            </a:r>
          </a:p>
          <a:p>
            <a:pPr marL="0" indent="0" algn="just">
              <a:spcBef>
                <a:spcPts val="0"/>
              </a:spcBef>
              <a:spcAft>
                <a:spcPts val="0"/>
              </a:spcAft>
              <a:buNone/>
            </a:pPr>
            <a:endParaRPr lang="en-US" sz="1400" b="1">
              <a:solidFill>
                <a:schemeClr val="accent2">
                  <a:lumMod val="10000"/>
                </a:schemeClr>
              </a:solidFill>
              <a:latin typeface="Inter"/>
            </a:endParaRPr>
          </a:p>
          <a:p>
            <a:pPr marL="0" indent="0" algn="just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>
                <a:solidFill>
                  <a:schemeClr val="accent2">
                    <a:lumMod val="10000"/>
                  </a:schemeClr>
                </a:solidFill>
                <a:latin typeface="Inter"/>
              </a:rPr>
              <a:t>Scope</a:t>
            </a:r>
          </a:p>
          <a:p>
            <a:pPr marL="285750" indent="-285750" algn="jus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accent2">
                    <a:lumMod val="10000"/>
                  </a:schemeClr>
                </a:solidFill>
                <a:latin typeface="Inter"/>
              </a:rPr>
              <a:t>Enhancing central </a:t>
            </a:r>
            <a:r>
              <a:rPr lang="en-US" sz="1400" err="1">
                <a:solidFill>
                  <a:schemeClr val="accent2">
                    <a:lumMod val="10000"/>
                  </a:schemeClr>
                </a:solidFill>
                <a:latin typeface="Inter"/>
              </a:rPr>
              <a:t>Hey!George</a:t>
            </a:r>
            <a:r>
              <a:rPr lang="en-US" sz="1400">
                <a:solidFill>
                  <a:schemeClr val="accent2">
                    <a:lumMod val="10000"/>
                  </a:schemeClr>
                </a:solidFill>
                <a:latin typeface="Inter"/>
              </a:rPr>
              <a:t> chatbot capabilities by integrating local chatbots.</a:t>
            </a:r>
          </a:p>
          <a:p>
            <a:pPr marL="0" indent="0" algn="just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>
                <a:solidFill>
                  <a:schemeClr val="accent2">
                    <a:lumMod val="10000"/>
                  </a:schemeClr>
                </a:solidFill>
                <a:latin typeface="Inter"/>
              </a:rPr>
              <a:t>Change process</a:t>
            </a:r>
            <a:endParaRPr lang="en-US" sz="1400">
              <a:solidFill>
                <a:schemeClr val="accent2">
                  <a:lumMod val="10000"/>
                </a:schemeClr>
              </a:solidFill>
              <a:latin typeface="Inter"/>
            </a:endParaRPr>
          </a:p>
          <a:p>
            <a:pPr marL="285750" indent="-285750" algn="just">
              <a:spcBef>
                <a:spcPts val="0"/>
              </a:spcBef>
              <a:spcAft>
                <a:spcPts val="0"/>
              </a:spcAft>
              <a:buFont typeface="Arial,Sans-Serif"/>
              <a:buChar char="•"/>
            </a:pPr>
            <a:r>
              <a:rPr lang="en-US" sz="1400">
                <a:solidFill>
                  <a:schemeClr val="accent2">
                    <a:lumMod val="10000"/>
                  </a:schemeClr>
                </a:solidFill>
                <a:latin typeface="Inter"/>
              </a:rPr>
              <a:t>Is the same as for any other George component.</a:t>
            </a:r>
          </a:p>
          <a:p>
            <a:pPr marL="285750" indent="-285750" algn="just">
              <a:spcBef>
                <a:spcPts val="0"/>
              </a:spcBef>
              <a:spcAft>
                <a:spcPts val="0"/>
              </a:spcAft>
              <a:buFont typeface="Arial,Sans-Serif"/>
              <a:buChar char="•"/>
            </a:pPr>
            <a:endParaRPr lang="en-US" sz="1400">
              <a:solidFill>
                <a:srgbClr val="031D2D"/>
              </a:solidFill>
              <a:latin typeface="Inter"/>
            </a:endParaRPr>
          </a:p>
          <a:p>
            <a:pPr marL="0" indent="0" algn="just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>
                <a:solidFill>
                  <a:schemeClr val="accent2">
                    <a:lumMod val="10000"/>
                  </a:schemeClr>
                </a:solidFill>
                <a:latin typeface="Inter"/>
              </a:rPr>
              <a:t>Operational processes</a:t>
            </a:r>
            <a:endParaRPr lang="en-US" sz="1400">
              <a:solidFill>
                <a:schemeClr val="accent2">
                  <a:lumMod val="10000"/>
                </a:schemeClr>
              </a:solidFill>
              <a:latin typeface="Inter"/>
            </a:endParaRPr>
          </a:p>
          <a:p>
            <a:pPr marL="285750" indent="-285750" algn="just">
              <a:spcBef>
                <a:spcPts val="0"/>
              </a:spcBef>
              <a:spcAft>
                <a:spcPts val="0"/>
              </a:spcAft>
              <a:buFont typeface="Arial,Sans-Serif"/>
              <a:buChar char="•"/>
            </a:pPr>
            <a:r>
              <a:rPr lang="en-US" sz="1400">
                <a:solidFill>
                  <a:schemeClr val="accent2">
                    <a:lumMod val="10000"/>
                  </a:schemeClr>
                </a:solidFill>
                <a:latin typeface="Inter"/>
              </a:rPr>
              <a:t>Roles, handling of requirements, interaction George with Local BOT.</a:t>
            </a:r>
          </a:p>
          <a:p>
            <a:pPr marL="285750" indent="-285750" algn="just">
              <a:spcBef>
                <a:spcPts val="0"/>
              </a:spcBef>
              <a:spcAft>
                <a:spcPts val="0"/>
              </a:spcAft>
              <a:buFont typeface="Arial,Sans-Serif"/>
              <a:buChar char="•"/>
            </a:pPr>
            <a:r>
              <a:rPr lang="en-US" sz="1400">
                <a:solidFill>
                  <a:schemeClr val="accent2">
                    <a:lumMod val="10000"/>
                  </a:schemeClr>
                </a:solidFill>
                <a:latin typeface="Inter"/>
              </a:rPr>
              <a:t>Lanes concept.</a:t>
            </a:r>
          </a:p>
          <a:p>
            <a:pPr marL="285750" indent="-285750" algn="just">
              <a:spcBef>
                <a:spcPts val="0"/>
              </a:spcBef>
              <a:spcAft>
                <a:spcPts val="0"/>
              </a:spcAft>
              <a:buFont typeface="Arial,Sans-Serif"/>
              <a:buChar char="•"/>
            </a:pPr>
            <a:r>
              <a:rPr lang="en-US" sz="1400">
                <a:solidFill>
                  <a:schemeClr val="accent2">
                    <a:lumMod val="10000"/>
                  </a:schemeClr>
                </a:solidFill>
                <a:latin typeface="Inter"/>
              </a:rPr>
              <a:t>Turning BOTs on and off on demand.</a:t>
            </a:r>
          </a:p>
          <a:p>
            <a:pPr marL="285750" indent="-285750" algn="just">
              <a:spcBef>
                <a:spcPts val="0"/>
              </a:spcBef>
              <a:spcAft>
                <a:spcPts val="0"/>
              </a:spcAft>
              <a:buFont typeface="Arial,Sans-Serif"/>
              <a:buChar char="•"/>
            </a:pPr>
            <a:r>
              <a:rPr lang="en-US" sz="1400">
                <a:solidFill>
                  <a:schemeClr val="accent2">
                    <a:lumMod val="10000"/>
                  </a:schemeClr>
                </a:solidFill>
                <a:latin typeface="Inter"/>
              </a:rPr>
              <a:t>Monitoring.</a:t>
            </a:r>
          </a:p>
          <a:p>
            <a:pPr marL="285750" indent="-285750" algn="just">
              <a:spcBef>
                <a:spcPts val="0"/>
              </a:spcBef>
              <a:spcAft>
                <a:spcPts val="0"/>
              </a:spcAft>
              <a:buFont typeface="Arial,Sans-Serif"/>
              <a:buChar char="•"/>
            </a:pPr>
            <a:r>
              <a:rPr lang="en-US" sz="1400">
                <a:solidFill>
                  <a:schemeClr val="accent2">
                    <a:lumMod val="10000"/>
                  </a:schemeClr>
                </a:solidFill>
                <a:latin typeface="Inter"/>
              </a:rPr>
              <a:t>All those aspects are to be specified in detail until mid of November 2023.</a:t>
            </a:r>
          </a:p>
          <a:p>
            <a:pPr marL="285750" indent="-285750" algn="just">
              <a:spcBef>
                <a:spcPts val="0"/>
              </a:spcBef>
              <a:spcAft>
                <a:spcPts val="0"/>
              </a:spcAft>
              <a:buFont typeface="Arial,Sans-Serif"/>
              <a:buChar char="•"/>
            </a:pPr>
            <a:r>
              <a:rPr lang="en-US" sz="1400">
                <a:solidFill>
                  <a:schemeClr val="accent2">
                    <a:lumMod val="10000"/>
                  </a:schemeClr>
                </a:solidFill>
                <a:latin typeface="Inter"/>
              </a:rPr>
              <a:t>To be presented soon by Peter Koller.</a:t>
            </a:r>
          </a:p>
        </p:txBody>
      </p:sp>
      <p:pic>
        <p:nvPicPr>
          <p:cNvPr id="7" name="pasted-image.pdf" descr="pasted-image.pdf">
            <a:extLst>
              <a:ext uri="{FF2B5EF4-FFF2-40B4-BE49-F238E27FC236}">
                <a16:creationId xmlns:a16="http://schemas.microsoft.com/office/drawing/2014/main" id="{AB1C2CBC-81D5-B1F7-9DD7-665A19B5BE86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accent3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1582836" y="616981"/>
            <a:ext cx="263123" cy="441116"/>
          </a:xfrm>
          <a:prstGeom prst="rect">
            <a:avLst/>
          </a:prstGeom>
          <a:ln w="3175">
            <a:miter lim="400000"/>
          </a:ln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59C25D75-818E-C8D7-D85E-BD6CC169E8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35900" y="3287958"/>
            <a:ext cx="3238500" cy="1856740"/>
          </a:xfrm>
          <a:prstGeom prst="rect">
            <a:avLst/>
          </a:prstGeom>
        </p:spPr>
      </p:pic>
      <p:sp>
        <p:nvSpPr>
          <p:cNvPr id="1027" name="Foliennummernplatzhalter 1026">
            <a:extLst>
              <a:ext uri="{FF2B5EF4-FFF2-40B4-BE49-F238E27FC236}">
                <a16:creationId xmlns:a16="http://schemas.microsoft.com/office/drawing/2014/main" id="{32D0D115-5392-3A1D-3B5F-159AF381B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E0597C-028E-473F-BF50-BBB8B8A24EC3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Inter SemiBold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SemiBold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605226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ck of people's heads and raised hands at corporate presentation with speaker and whiteboard out of focus in background">
            <a:extLst>
              <a:ext uri="{FF2B5EF4-FFF2-40B4-BE49-F238E27FC236}">
                <a16:creationId xmlns:a16="http://schemas.microsoft.com/office/drawing/2014/main" id="{445A1BE5-1E39-B199-5D98-6BA45F7F9AE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413"/>
          <a:stretch/>
        </p:blipFill>
        <p:spPr>
          <a:xfrm>
            <a:off x="20" y="10"/>
            <a:ext cx="12191980" cy="6857990"/>
          </a:xfrm>
          <a:prstGeom prst="rect">
            <a:avLst/>
          </a:prstGeom>
          <a:noFill/>
        </p:spPr>
      </p:pic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D6478157-28B3-0594-385C-43A4110021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de-DE"/>
              <a:t>23.11.2023</a:t>
            </a:r>
            <a:endParaRPr lang="en-GB"/>
          </a:p>
        </p:txBody>
      </p:sp>
      <p:sp>
        <p:nvSpPr>
          <p:cNvPr id="1021" name="Foliennummernplatzhalter 1020">
            <a:extLst>
              <a:ext uri="{FF2B5EF4-FFF2-40B4-BE49-F238E27FC236}">
                <a16:creationId xmlns:a16="http://schemas.microsoft.com/office/drawing/2014/main" id="{05B66FB7-E4A7-3574-9F40-4406BCF685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pPr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574534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D847794-46BF-0FEA-6430-EFBA23345F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4" progId="TCLayout.ActiveDocument.1">
                  <p:embed/>
                </p:oleObj>
              </mc:Choice>
              <mc:Fallback>
                <p:oleObj name="think-cell Folie" r:id="rId3" imgW="425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847794-46BF-0FEA-6430-EFBA23345F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Inside the clock">
            <a:extLst>
              <a:ext uri="{FF2B5EF4-FFF2-40B4-BE49-F238E27FC236}">
                <a16:creationId xmlns:a16="http://schemas.microsoft.com/office/drawing/2014/main" id="{101F6E22-BADA-9A7A-8A13-F26B52BEC1E0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730"/>
          <a:stretch/>
        </p:blipFill>
        <p:spPr>
          <a:xfrm>
            <a:off x="20" y="10"/>
            <a:ext cx="12191980" cy="6857990"/>
          </a:xfrm>
          <a:prstGeom prst="rect">
            <a:avLst/>
          </a:prstGeom>
          <a:noFill/>
        </p:spPr>
      </p:pic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4951125A-E376-418B-96EC-CCCCD8D2A9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de-DE"/>
              <a:t>23.11.2023</a:t>
            </a:r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3523D82-6274-E920-4434-488B2DBBD921}"/>
              </a:ext>
            </a:extLst>
          </p:cNvPr>
          <p:cNvSpPr txBox="1"/>
          <p:nvPr/>
        </p:nvSpPr>
        <p:spPr>
          <a:xfrm>
            <a:off x="81482" y="5710947"/>
            <a:ext cx="5875699" cy="6474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107000"/>
              </a:lnSpc>
            </a:pPr>
            <a:r>
              <a:rPr lang="en-GB" sz="3600" b="1">
                <a:solidFill>
                  <a:schemeClr val="bg1"/>
                </a:solidFill>
              </a:rPr>
              <a:t>Let us work together…</a:t>
            </a:r>
          </a:p>
        </p:txBody>
      </p:sp>
      <p:sp>
        <p:nvSpPr>
          <p:cNvPr id="1023" name="Foliennummernplatzhalter 1022">
            <a:extLst>
              <a:ext uri="{FF2B5EF4-FFF2-40B4-BE49-F238E27FC236}">
                <a16:creationId xmlns:a16="http://schemas.microsoft.com/office/drawing/2014/main" id="{2EEAC156-6DF0-1401-D23A-FF105C262C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pPr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575916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4988848-A6D8-91B3-C36E-AB1B86743E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3.11.2023</a:t>
            </a:r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20FFD3D-32FA-2B5D-A7BF-AFA559D40A25}"/>
              </a:ext>
            </a:extLst>
          </p:cNvPr>
          <p:cNvSpPr txBox="1"/>
          <p:nvPr/>
        </p:nvSpPr>
        <p:spPr>
          <a:xfrm>
            <a:off x="3620654" y="2844800"/>
            <a:ext cx="4128655" cy="7090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7000"/>
              </a:lnSpc>
            </a:pPr>
            <a:r>
              <a:rPr lang="en-GB" sz="4000"/>
              <a:t>Thank you !!</a:t>
            </a:r>
          </a:p>
        </p:txBody>
      </p:sp>
      <p:sp>
        <p:nvSpPr>
          <p:cNvPr id="1021" name="Foliennummernplatzhalter 1020">
            <a:extLst>
              <a:ext uri="{FF2B5EF4-FFF2-40B4-BE49-F238E27FC236}">
                <a16:creationId xmlns:a16="http://schemas.microsoft.com/office/drawing/2014/main" id="{47578CDA-25CB-D9A6-0B56-701D754C7D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698074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44A27D-C3EE-AE62-9F24-F70DD02E1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he </a:t>
            </a:r>
            <a:r>
              <a:rPr lang="de-DE" err="1"/>
              <a:t>core</a:t>
            </a:r>
            <a:r>
              <a:rPr lang="de-DE"/>
              <a:t> </a:t>
            </a:r>
            <a:r>
              <a:rPr lang="de-DE" err="1"/>
              <a:t>team</a:t>
            </a:r>
            <a:endParaRPr lang="en-SK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5DC4DF-F772-E3DD-09E2-FAC2C1156D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</a:rPr>
              <a:t>23.11.2023</a:t>
            </a: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67E5A6-4B9A-A564-F6E8-AC614C1E4F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cs typeface="+mn-cs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5D6A95A-7AD0-3019-3BD0-A3BC4A41C91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SK"/>
          </a:p>
        </p:txBody>
      </p:sp>
      <p:pic>
        <p:nvPicPr>
          <p:cNvPr id="9" name="pasted-image.pdf" descr="pasted-image.pdf">
            <a:extLst>
              <a:ext uri="{FF2B5EF4-FFF2-40B4-BE49-F238E27FC236}">
                <a16:creationId xmlns:a16="http://schemas.microsoft.com/office/drawing/2014/main" id="{D2DCA2D3-3EC1-E3C4-BAF0-F92BD2837BC0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accent3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1304588" y="3705565"/>
            <a:ext cx="263123" cy="441116"/>
          </a:xfrm>
          <a:prstGeom prst="rect">
            <a:avLst/>
          </a:prstGeom>
          <a:ln w="3175">
            <a:miter lim="400000"/>
          </a:ln>
        </p:spPr>
      </p:pic>
      <p:graphicFrame>
        <p:nvGraphicFramePr>
          <p:cNvPr id="11" name="Tabelle 10">
            <a:extLst>
              <a:ext uri="{FF2B5EF4-FFF2-40B4-BE49-F238E27FC236}">
                <a16:creationId xmlns:a16="http://schemas.microsoft.com/office/drawing/2014/main" id="{C523DB4B-49FB-BB06-34F7-BF1715AD54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8342181"/>
              </p:ext>
            </p:extLst>
          </p:nvPr>
        </p:nvGraphicFramePr>
        <p:xfrm>
          <a:off x="524669" y="1390651"/>
          <a:ext cx="7694613" cy="4896009"/>
        </p:xfrm>
        <a:graphic>
          <a:graphicData uri="http://schemas.openxmlformats.org/drawingml/2006/table">
            <a:tbl>
              <a:tblPr/>
              <a:tblGrid>
                <a:gridCol w="3189660">
                  <a:extLst>
                    <a:ext uri="{9D8B030D-6E8A-4147-A177-3AD203B41FA5}">
                      <a16:colId xmlns:a16="http://schemas.microsoft.com/office/drawing/2014/main" val="1941082472"/>
                    </a:ext>
                  </a:extLst>
                </a:gridCol>
                <a:gridCol w="2138883">
                  <a:extLst>
                    <a:ext uri="{9D8B030D-6E8A-4147-A177-3AD203B41FA5}">
                      <a16:colId xmlns:a16="http://schemas.microsoft.com/office/drawing/2014/main" val="3032953550"/>
                    </a:ext>
                  </a:extLst>
                </a:gridCol>
                <a:gridCol w="2366070">
                  <a:extLst>
                    <a:ext uri="{9D8B030D-6E8A-4147-A177-3AD203B41FA5}">
                      <a16:colId xmlns:a16="http://schemas.microsoft.com/office/drawing/2014/main" val="717823549"/>
                    </a:ext>
                  </a:extLst>
                </a:gridCol>
              </a:tblGrid>
              <a:tr h="544001">
                <a:tc>
                  <a:txBody>
                    <a:bodyPr/>
                    <a:lstStyle/>
                    <a:p>
                      <a:pPr algn="l" fontAlgn="b"/>
                      <a:r>
                        <a:rPr lang="de-AT" sz="2000" b="1" i="0" u="none" strike="noStrike">
                          <a:solidFill>
                            <a:srgbClr val="000000"/>
                          </a:solidFill>
                          <a:effectLst/>
                          <a:latin typeface="Inter"/>
                        </a:rPr>
                        <a:t>Name (alphabetic order)</a:t>
                      </a:r>
                    </a:p>
                  </a:txBody>
                  <a:tcPr marL="6639" marR="6639" marT="6639" marB="3186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2000" b="1" i="0" u="none" strike="noStrike">
                          <a:solidFill>
                            <a:srgbClr val="000000"/>
                          </a:solidFill>
                          <a:effectLst/>
                          <a:latin typeface="Inter"/>
                        </a:rPr>
                        <a:t>OU</a:t>
                      </a:r>
                      <a:endParaRPr lang="de-AT" sz="2000" b="1" i="0" u="none" strike="noStrike">
                        <a:solidFill>
                          <a:srgbClr val="000000"/>
                        </a:solidFill>
                        <a:effectLst/>
                        <a:latin typeface="Inter"/>
                      </a:endParaRPr>
                    </a:p>
                  </a:txBody>
                  <a:tcPr marL="6639" marR="6639" marT="6639" marB="3186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AT" sz="2000" b="1" i="0" u="none" strike="noStrike" err="1">
                          <a:solidFill>
                            <a:srgbClr val="000000"/>
                          </a:solidFill>
                          <a:effectLst/>
                          <a:latin typeface="Inter" panose="02000503000000020004" pitchFamily="2" charset="0"/>
                        </a:rPr>
                        <a:t>Role</a:t>
                      </a:r>
                      <a:endParaRPr lang="de-AT" sz="2000" b="1" i="0" u="none" strike="noStrike">
                        <a:solidFill>
                          <a:srgbClr val="000000"/>
                        </a:solidFill>
                        <a:effectLst/>
                        <a:latin typeface="Inter" panose="02000503000000020004" pitchFamily="2" charset="0"/>
                      </a:endParaRPr>
                    </a:p>
                  </a:txBody>
                  <a:tcPr marL="6639" marR="6639" marT="6639" marB="3186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7878660"/>
                  </a:ext>
                </a:extLst>
              </a:tr>
              <a:tr h="544001">
                <a:tc>
                  <a:txBody>
                    <a:bodyPr/>
                    <a:lstStyle/>
                    <a:p>
                      <a:pPr algn="l" fontAlgn="b"/>
                      <a:r>
                        <a:rPr lang="de-DE" sz="1050" b="0" i="0" u="none" strike="noStrike">
                          <a:solidFill>
                            <a:srgbClr val="000000"/>
                          </a:solidFill>
                          <a:effectLst/>
                          <a:latin typeface="Inter"/>
                        </a:rPr>
                        <a:t>Gyarmaty Marc (EB)</a:t>
                      </a:r>
                      <a:endParaRPr lang="de-AT" sz="1050" b="0" i="0" u="none" strike="noStrike">
                        <a:solidFill>
                          <a:srgbClr val="000000"/>
                        </a:solidFill>
                        <a:effectLst/>
                        <a:latin typeface="Inter"/>
                      </a:endParaRPr>
                    </a:p>
                  </a:txBody>
                  <a:tcPr marL="6639" marR="6639" marT="6639" marB="3186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Inter"/>
                        </a:rPr>
                        <a:t>0443 - Vertrieb Digital</a:t>
                      </a:r>
                    </a:p>
                  </a:txBody>
                  <a:tcPr marL="6639" marR="6639" marT="6639" marB="3186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Inter"/>
                        </a:rPr>
                        <a:t>Product owner for MiSOL</a:t>
                      </a:r>
                      <a:b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Inter"/>
                        </a:rPr>
                      </a:br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Inter"/>
                        </a:rPr>
                        <a:t>SPOC for customer facing retail.</a:t>
                      </a:r>
                    </a:p>
                  </a:txBody>
                  <a:tcPr marL="6639" marR="6639" marT="6639" marB="3186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1312034"/>
                  </a:ext>
                </a:extLst>
              </a:tr>
              <a:tr h="544001">
                <a:tc>
                  <a:txBody>
                    <a:bodyPr/>
                    <a:lstStyle/>
                    <a:p>
                      <a:pPr algn="l" fontAlgn="b"/>
                      <a:r>
                        <a:rPr lang="de-AT" sz="1050" b="0" i="0" u="none" strike="noStrike">
                          <a:solidFill>
                            <a:srgbClr val="000000"/>
                          </a:solidFill>
                          <a:effectLst/>
                          <a:latin typeface="Inter"/>
                        </a:rPr>
                        <a:t>Koller Peter (EB)</a:t>
                      </a:r>
                    </a:p>
                  </a:txBody>
                  <a:tcPr marL="6639" marR="6639" marT="6639" marB="3186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Inter"/>
                        </a:rPr>
                        <a:t>0442 - George Retail</a:t>
                      </a:r>
                    </a:p>
                  </a:txBody>
                  <a:tcPr marL="6639" marR="6639" marT="6639" marB="3186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Inter"/>
                        </a:rPr>
                        <a:t>George Product Owner – Retail</a:t>
                      </a:r>
                    </a:p>
                  </a:txBody>
                  <a:tcPr marL="6639" marR="6639" marT="6639" marB="3186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5638962"/>
                  </a:ext>
                </a:extLst>
              </a:tr>
              <a:tr h="544001">
                <a:tc>
                  <a:txBody>
                    <a:bodyPr/>
                    <a:lstStyle/>
                    <a:p>
                      <a:pPr algn="l" fontAlgn="b"/>
                      <a:r>
                        <a:rPr lang="de-AT" sz="1050" b="0" i="0" u="none" strike="noStrike">
                          <a:solidFill>
                            <a:srgbClr val="000000"/>
                          </a:solidFill>
                          <a:effectLst/>
                          <a:latin typeface="Inter"/>
                        </a:rPr>
                        <a:t>Makovicka Walter (ED)</a:t>
                      </a:r>
                    </a:p>
                  </a:txBody>
                  <a:tcPr marL="6639" marR="6639" marT="6639" marB="3186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Inter"/>
                        </a:rPr>
                        <a:t>6488 - Enterprise Architecture</a:t>
                      </a:r>
                    </a:p>
                  </a:txBody>
                  <a:tcPr marL="6639" marR="6639" marT="6639" marB="3186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Inter"/>
                        </a:rPr>
                        <a:t>Enterprise Architecture chapter lead “Customer Engagement”</a:t>
                      </a:r>
                    </a:p>
                  </a:txBody>
                  <a:tcPr marL="6639" marR="6639" marT="6639" marB="3186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5164392"/>
                  </a:ext>
                </a:extLst>
              </a:tr>
              <a:tr h="544001">
                <a:tc>
                  <a:txBody>
                    <a:bodyPr/>
                    <a:lstStyle/>
                    <a:p>
                      <a:pPr algn="l" fontAlgn="b"/>
                      <a:r>
                        <a:rPr lang="de-AT" sz="1050" b="0" i="0" u="none" strike="noStrike">
                          <a:solidFill>
                            <a:srgbClr val="000000"/>
                          </a:solidFill>
                          <a:effectLst/>
                          <a:latin typeface="Inter"/>
                        </a:rPr>
                        <a:t>Mayerhofer Reinhard (ED)</a:t>
                      </a:r>
                    </a:p>
                  </a:txBody>
                  <a:tcPr marL="6639" marR="6639" marT="6639" marB="3186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Inter"/>
                        </a:rPr>
                        <a:t>6367 - Customer Journey &amp; Leasing</a:t>
                      </a:r>
                    </a:p>
                  </a:txBody>
                  <a:tcPr marL="6639" marR="6639" marT="6639" marB="3186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Inter"/>
                        </a:rPr>
                        <a:t>Head of Department</a:t>
                      </a:r>
                    </a:p>
                  </a:txBody>
                  <a:tcPr marL="6639" marR="6639" marT="6639" marB="3186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87965812"/>
                  </a:ext>
                </a:extLst>
              </a:tr>
              <a:tr h="544001">
                <a:tc>
                  <a:txBody>
                    <a:bodyPr/>
                    <a:lstStyle/>
                    <a:p>
                      <a:pPr algn="l" fontAlgn="b"/>
                      <a:r>
                        <a:rPr lang="de-AT" sz="1050" b="0" i="0" u="none" strike="noStrike">
                          <a:solidFill>
                            <a:srgbClr val="000000"/>
                          </a:solidFill>
                          <a:effectLst/>
                          <a:latin typeface="Inter"/>
                        </a:rPr>
                        <a:t>Neulinger Juergen (ED)</a:t>
                      </a:r>
                    </a:p>
                  </a:txBody>
                  <a:tcPr marL="6639" marR="6639" marT="6639" marB="3186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Inter"/>
                        </a:rPr>
                        <a:t>6045 - Group Statutory Reporting Services</a:t>
                      </a:r>
                    </a:p>
                  </a:txBody>
                  <a:tcPr marL="6639" marR="6639" marT="6639" marB="3186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Inter"/>
                        </a:rPr>
                        <a:t>Solution manager for “AI Solution”</a:t>
                      </a:r>
                    </a:p>
                  </a:txBody>
                  <a:tcPr marL="6639" marR="6639" marT="6639" marB="3186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2520241"/>
                  </a:ext>
                </a:extLst>
              </a:tr>
              <a:tr h="544001">
                <a:tc>
                  <a:txBody>
                    <a:bodyPr/>
                    <a:lstStyle/>
                    <a:p>
                      <a:pPr algn="l" fontAlgn="b"/>
                      <a:r>
                        <a:rPr lang="de-AT" sz="1050" b="0" i="0" u="none" strike="noStrike">
                          <a:solidFill>
                            <a:srgbClr val="000000"/>
                          </a:solidFill>
                          <a:effectLst/>
                          <a:latin typeface="Inter"/>
                        </a:rPr>
                        <a:t>Pfandl Max Anton (ED)</a:t>
                      </a:r>
                    </a:p>
                  </a:txBody>
                  <a:tcPr marL="6639" marR="6639" marT="6639" marB="3186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Inter"/>
                        </a:rPr>
                        <a:t>6488 - Enterprise Architecture</a:t>
                      </a:r>
                    </a:p>
                  </a:txBody>
                  <a:tcPr marL="6639" marR="6639" marT="6639" marB="3186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Inter"/>
                        </a:rPr>
                        <a:t>Architect expert for integration in IT landscape and UX</a:t>
                      </a:r>
                    </a:p>
                  </a:txBody>
                  <a:tcPr marL="6639" marR="6639" marT="6639" marB="3186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4112124"/>
                  </a:ext>
                </a:extLst>
              </a:tr>
              <a:tr h="544001">
                <a:tc>
                  <a:txBody>
                    <a:bodyPr/>
                    <a:lstStyle/>
                    <a:p>
                      <a:pPr algn="l" fontAlgn="b"/>
                      <a:r>
                        <a:rPr lang="de-AT" sz="1050" b="0" i="0" u="none" strike="noStrike">
                          <a:solidFill>
                            <a:srgbClr val="000000"/>
                          </a:solidFill>
                          <a:effectLst/>
                          <a:latin typeface="Inter"/>
                        </a:rPr>
                        <a:t>Stabentheiner Erik (ED)</a:t>
                      </a:r>
                    </a:p>
                  </a:txBody>
                  <a:tcPr marL="6639" marR="6639" marT="6639" marB="3186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Inter"/>
                        </a:rPr>
                        <a:t>6491 - Agility &amp; Innovation</a:t>
                      </a:r>
                    </a:p>
                  </a:txBody>
                  <a:tcPr marL="6639" marR="6639" marT="6639" marB="3186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Inter"/>
                        </a:rPr>
                        <a:t>Business Analyst Expert for machine learning and data science</a:t>
                      </a:r>
                    </a:p>
                  </a:txBody>
                  <a:tcPr marL="6639" marR="6639" marT="6639" marB="3186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2448719"/>
                  </a:ext>
                </a:extLst>
              </a:tr>
              <a:tr h="544001">
                <a:tc>
                  <a:txBody>
                    <a:bodyPr/>
                    <a:lstStyle/>
                    <a:p>
                      <a:pPr algn="l" fontAlgn="b"/>
                      <a:r>
                        <a:rPr lang="de-AT" sz="1050" b="0" i="0" u="none" strike="noStrike">
                          <a:solidFill>
                            <a:srgbClr val="000000"/>
                          </a:solidFill>
                          <a:effectLst/>
                          <a:latin typeface="Inter"/>
                        </a:rPr>
                        <a:t>Strimitzer Albert (ED)</a:t>
                      </a:r>
                    </a:p>
                  </a:txBody>
                  <a:tcPr marL="6639" marR="6639" marT="6639" marB="3186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Inter"/>
                        </a:rPr>
                        <a:t>6488 - Enterprise Architecture</a:t>
                      </a:r>
                    </a:p>
                  </a:txBody>
                  <a:tcPr marL="6639" marR="6639" marT="6639" marB="3186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Inter"/>
                        </a:rPr>
                        <a:t>Architect Expert for cloud topics and UX</a:t>
                      </a:r>
                    </a:p>
                  </a:txBody>
                  <a:tcPr marL="6639" marR="6639" marT="6639" marB="3186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0120986"/>
                  </a:ext>
                </a:extLst>
              </a:tr>
            </a:tbl>
          </a:graphicData>
        </a:graphic>
      </p:graphicFrame>
      <p:sp>
        <p:nvSpPr>
          <p:cNvPr id="1026" name="Foliennummernplatzhalter 1025">
            <a:extLst>
              <a:ext uri="{FF2B5EF4-FFF2-40B4-BE49-F238E27FC236}">
                <a16:creationId xmlns:a16="http://schemas.microsoft.com/office/drawing/2014/main" id="{B9BE9F40-4BA0-5CEF-5945-3DA506BFA1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E0597C-028E-473F-BF50-BBB8B8A24EC3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Inter SemiBold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SemiBold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9999903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72B349-157A-2661-A209-C6EDA01AEC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2 high priority use cases</a:t>
            </a:r>
            <a:br>
              <a:rPr lang="en-GB"/>
            </a:br>
            <a:br>
              <a:rPr lang="en-GB"/>
            </a:br>
            <a:r>
              <a:rPr lang="en-GB" sz="1200" b="0"/>
              <a:t>Source: </a:t>
            </a:r>
            <a:r>
              <a:rPr lang="en-GB" sz="1200" b="0">
                <a:hlinkClick r:id="rId3"/>
              </a:rPr>
              <a:t>INNO AT Use cases</a:t>
            </a:r>
            <a:endParaRPr lang="en-SK" b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4625422-E791-16A2-58EC-31B35811A7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</a:rPr>
              <a:t>23.11.2023</a:t>
            </a: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193C53-6331-2A7F-26D8-277E60DB13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cs typeface="+mn-cs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E866CEF-649A-BC9C-17C1-A4A117E5045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SK"/>
          </a:p>
        </p:txBody>
      </p:sp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8DA58D4E-2397-F175-B94F-D9D6A216E6B2}"/>
              </a:ext>
            </a:extLst>
          </p:cNvPr>
          <p:cNvGraphicFramePr>
            <a:graphicFrameLocks noGrp="1"/>
          </p:cNvGraphicFramePr>
          <p:nvPr/>
        </p:nvGraphicFramePr>
        <p:xfrm>
          <a:off x="515938" y="1876425"/>
          <a:ext cx="6544826" cy="1632003"/>
        </p:xfrm>
        <a:graphic>
          <a:graphicData uri="http://schemas.openxmlformats.org/drawingml/2006/table">
            <a:tbl>
              <a:tblPr/>
              <a:tblGrid>
                <a:gridCol w="2152409">
                  <a:extLst>
                    <a:ext uri="{9D8B030D-6E8A-4147-A177-3AD203B41FA5}">
                      <a16:colId xmlns:a16="http://schemas.microsoft.com/office/drawing/2014/main" val="3740659685"/>
                    </a:ext>
                  </a:extLst>
                </a:gridCol>
                <a:gridCol w="4392417">
                  <a:extLst>
                    <a:ext uri="{9D8B030D-6E8A-4147-A177-3AD203B41FA5}">
                      <a16:colId xmlns:a16="http://schemas.microsoft.com/office/drawing/2014/main" val="3816249540"/>
                    </a:ext>
                  </a:extLst>
                </a:gridCol>
              </a:tblGrid>
              <a:tr h="544001">
                <a:tc>
                  <a:txBody>
                    <a:bodyPr/>
                    <a:lstStyle/>
                    <a:p>
                      <a:pPr algn="l" fontAlgn="b"/>
                      <a:r>
                        <a:rPr lang="de-AT" sz="2000" b="1" i="0" u="none" strike="noStrike">
                          <a:solidFill>
                            <a:srgbClr val="000000"/>
                          </a:solidFill>
                          <a:effectLst/>
                          <a:latin typeface="Inter"/>
                        </a:rPr>
                        <a:t>Name</a:t>
                      </a:r>
                    </a:p>
                  </a:txBody>
                  <a:tcPr marL="6639" marR="6639" marT="6639" marB="3186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AT" sz="2000" b="1" i="0" u="none" strike="noStrike">
                          <a:solidFill>
                            <a:srgbClr val="000000"/>
                          </a:solidFill>
                          <a:effectLst/>
                          <a:latin typeface="Inter"/>
                        </a:rPr>
                        <a:t>Description</a:t>
                      </a:r>
                    </a:p>
                  </a:txBody>
                  <a:tcPr marL="6639" marR="6639" marT="6639" marB="3186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66392476"/>
                  </a:ext>
                </a:extLst>
              </a:tr>
              <a:tr h="544001">
                <a:tc>
                  <a:txBody>
                    <a:bodyPr/>
                    <a:lstStyle/>
                    <a:p>
                      <a:pPr algn="l" fontAlgn="b"/>
                      <a:r>
                        <a:rPr lang="de-DE" sz="1050" b="0" i="0" u="none" strike="noStrike">
                          <a:solidFill>
                            <a:srgbClr val="000000"/>
                          </a:solidFill>
                          <a:effectLst/>
                          <a:latin typeface="Inter"/>
                        </a:rPr>
                        <a:t>Integration George masterbot </a:t>
                      </a:r>
                      <a:r>
                        <a:rPr lang="de-DE" sz="1050" b="0" i="0" u="none" strike="noStrike" err="1">
                          <a:solidFill>
                            <a:srgbClr val="000000"/>
                          </a:solidFill>
                          <a:effectLst/>
                          <a:latin typeface="Inter"/>
                        </a:rPr>
                        <a:t>to</a:t>
                      </a:r>
                      <a:r>
                        <a:rPr lang="de-DE" sz="1050" b="0" i="0" u="none" strike="noStrike">
                          <a:solidFill>
                            <a:srgbClr val="000000"/>
                          </a:solidFill>
                          <a:effectLst/>
                          <a:latin typeface="Inter"/>
                        </a:rPr>
                        <a:t> MISOL</a:t>
                      </a:r>
                      <a:endParaRPr lang="de-AT" sz="1050" b="0" i="0" u="none" strike="noStrike">
                        <a:solidFill>
                          <a:srgbClr val="000000"/>
                        </a:solidFill>
                        <a:effectLst/>
                        <a:latin typeface="Inter"/>
                      </a:endParaRPr>
                    </a:p>
                  </a:txBody>
                  <a:tcPr marL="6639" marR="6639" marT="6639" marB="3186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Inter"/>
                        </a:rPr>
                        <a:t>Demonstrate Bot integration</a:t>
                      </a:r>
                    </a:p>
                  </a:txBody>
                  <a:tcPr marL="6639" marR="6639" marT="6639" marB="3186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65238504"/>
                  </a:ext>
                </a:extLst>
              </a:tr>
              <a:tr h="544001">
                <a:tc>
                  <a:txBody>
                    <a:bodyPr/>
                    <a:lstStyle/>
                    <a:p>
                      <a:pPr algn="l" fontAlgn="b"/>
                      <a:r>
                        <a:rPr lang="de-AT" sz="1050" b="0" i="0" u="none" strike="noStrike">
                          <a:solidFill>
                            <a:srgbClr val="000000"/>
                          </a:solidFill>
                          <a:effectLst/>
                          <a:latin typeface="Inter" panose="02000503000000020004" pitchFamily="2" charset="0"/>
                        </a:rPr>
                        <a:t>George Login / FAQ Bot</a:t>
                      </a:r>
                    </a:p>
                  </a:txBody>
                  <a:tcPr marL="6639" marR="6639" marT="6639" marB="3186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Inter"/>
                        </a:rPr>
                        <a:t>Supportive chatbot on FED Login Page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Inter" panose="02000503000000020004" pitchFamily="2" charset="0"/>
                      </a:endParaRPr>
                    </a:p>
                  </a:txBody>
                  <a:tcPr marL="6639" marR="6639" marT="6639" marB="3186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88261949"/>
                  </a:ext>
                </a:extLst>
              </a:tr>
            </a:tbl>
          </a:graphicData>
        </a:graphic>
      </p:graphicFrame>
      <p:sp>
        <p:nvSpPr>
          <p:cNvPr id="1025" name="Foliennummernplatzhalter 1024">
            <a:extLst>
              <a:ext uri="{FF2B5EF4-FFF2-40B4-BE49-F238E27FC236}">
                <a16:creationId xmlns:a16="http://schemas.microsoft.com/office/drawing/2014/main" id="{939DAAE7-F9CD-474A-3848-646F246E6B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E0597C-028E-473F-BF50-BBB8B8A24EC3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Inter SemiBold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SemiBold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716922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72B349-157A-2661-A209-C6EDA01AEC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George and </a:t>
            </a:r>
            <a:r>
              <a:rPr lang="en-GB" err="1"/>
              <a:t>MiSOL</a:t>
            </a:r>
            <a:r>
              <a:rPr lang="en-GB"/>
              <a:t> communication details</a:t>
            </a:r>
            <a:endParaRPr lang="en-SK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4625422-E791-16A2-58EC-31B35811A7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</a:rPr>
              <a:t>23.11.2023</a:t>
            </a: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193C53-6331-2A7F-26D8-277E60DB13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cs typeface="+mn-cs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E866CEF-649A-BC9C-17C1-A4A117E5045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SK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594D120-CD02-03C1-7404-9661D9435F6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872" r="186" b="-361"/>
          <a:stretch/>
        </p:blipFill>
        <p:spPr>
          <a:xfrm>
            <a:off x="328878" y="1069676"/>
            <a:ext cx="7681137" cy="5371046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9FFDC33F-C9E3-3D68-851F-E89BC069106C}"/>
              </a:ext>
            </a:extLst>
          </p:cNvPr>
          <p:cNvSpPr txBox="1"/>
          <p:nvPr/>
        </p:nvSpPr>
        <p:spPr>
          <a:xfrm>
            <a:off x="8468264" y="3551207"/>
            <a:ext cx="1797169" cy="130833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>
              <a:lnSpc>
                <a:spcPct val="107000"/>
              </a:lnSpc>
            </a:pPr>
            <a:endParaRPr lang="en-US" sz="1600" err="1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5523E5B0-A217-BD0A-A753-D420CAD4DE8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30730" y="986646"/>
            <a:ext cx="3979294" cy="3331953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6F145FEA-CF25-CAD4-5086-0D68F4861925}"/>
              </a:ext>
            </a:extLst>
          </p:cNvPr>
          <p:cNvSpPr txBox="1"/>
          <p:nvPr/>
        </p:nvSpPr>
        <p:spPr>
          <a:xfrm>
            <a:off x="8065698" y="4629509"/>
            <a:ext cx="2301784" cy="60753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07000"/>
              </a:lnSpc>
            </a:pPr>
            <a:r>
              <a:rPr lang="en-US" sz="1600"/>
              <a:t>ProductOwner GeorgeAT:</a:t>
            </a:r>
            <a:br>
              <a:rPr lang="en-US" sz="1600"/>
            </a:br>
            <a:r>
              <a:rPr lang="en-US" sz="1600"/>
              <a:t>Peter Koller</a:t>
            </a:r>
          </a:p>
        </p:txBody>
      </p:sp>
      <p:sp>
        <p:nvSpPr>
          <p:cNvPr id="1028" name="Foliennummernplatzhalter 1027">
            <a:extLst>
              <a:ext uri="{FF2B5EF4-FFF2-40B4-BE49-F238E27FC236}">
                <a16:creationId xmlns:a16="http://schemas.microsoft.com/office/drawing/2014/main" id="{D76B3A67-2DB9-7B77-8FDE-C906F2DBAE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E0597C-028E-473F-BF50-BBB8B8A24EC3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Inter SemiBold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SemiBold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118383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72B349-157A-2661-A209-C6EDA01AEC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Hey George architecture in detail</a:t>
            </a:r>
            <a:endParaRPr lang="en-SK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4625422-E791-16A2-58EC-31B35811A7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</a:rPr>
              <a:t>23.11.2023</a:t>
            </a: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193C53-6331-2A7F-26D8-277E60DB13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cs typeface="+mn-cs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E866CEF-649A-BC9C-17C1-A4A117E5045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SK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FFDC33F-C9E3-3D68-851F-E89BC069106C}"/>
              </a:ext>
            </a:extLst>
          </p:cNvPr>
          <p:cNvSpPr txBox="1"/>
          <p:nvPr/>
        </p:nvSpPr>
        <p:spPr>
          <a:xfrm>
            <a:off x="8468264" y="3551207"/>
            <a:ext cx="1797169" cy="130833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>
              <a:lnSpc>
                <a:spcPct val="107000"/>
              </a:lnSpc>
            </a:pPr>
            <a:endParaRPr lang="en-US" sz="1600" err="1"/>
          </a:p>
        </p:txBody>
      </p:sp>
      <p:pic>
        <p:nvPicPr>
          <p:cNvPr id="8" name="Grafik 7" descr="Ein Bild, das Text, Diagramm, Plan, parallel enthält.&#10;&#10;Automatisch generierte Beschreibung">
            <a:extLst>
              <a:ext uri="{FF2B5EF4-FFF2-40B4-BE49-F238E27FC236}">
                <a16:creationId xmlns:a16="http://schemas.microsoft.com/office/drawing/2014/main" id="{E56656B8-CD1A-E248-9D0D-7A2BE08FD86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6561" y="1035941"/>
            <a:ext cx="6647124" cy="5481636"/>
          </a:xfrm>
          <a:prstGeom prst="rect">
            <a:avLst/>
          </a:prstGeom>
        </p:spPr>
      </p:pic>
      <p:sp>
        <p:nvSpPr>
          <p:cNvPr id="1026" name="Foliennummernplatzhalter 1025">
            <a:extLst>
              <a:ext uri="{FF2B5EF4-FFF2-40B4-BE49-F238E27FC236}">
                <a16:creationId xmlns:a16="http://schemas.microsoft.com/office/drawing/2014/main" id="{46431077-F0CC-F9CD-0B42-18A6B83EB3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E0597C-028E-473F-BF50-BBB8B8A24EC3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Inter SemiBold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SemiBold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20632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D3E9EE-8221-616A-7DD4-0F8F9AC5DC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7" y="73355"/>
            <a:ext cx="7153851" cy="469570"/>
          </a:xfrm>
        </p:spPr>
        <p:txBody>
          <a:bodyPr/>
          <a:lstStyle/>
          <a:p>
            <a:r>
              <a:rPr lang="en-GB"/>
              <a:t>Chatbot flow in George context for AT</a:t>
            </a:r>
            <a:endParaRPr lang="en-SK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8594FB8-47AD-5AC7-74B0-1044E8F11B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</a:rPr>
              <a:t>23.11.2023</a:t>
            </a: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AB8CDEA-CD26-B6F0-5AD0-8CF424C0C6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cs typeface="+mn-cs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283E08E7-F511-316C-29F2-7D2F26D5B945}"/>
              </a:ext>
            </a:extLst>
          </p:cNvPr>
          <p:cNvSpPr txBox="1"/>
          <p:nvPr/>
        </p:nvSpPr>
        <p:spPr>
          <a:xfrm>
            <a:off x="7669788" y="123274"/>
            <a:ext cx="3710631" cy="3390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07000"/>
              </a:lnSpc>
            </a:pPr>
            <a:r>
              <a:rPr lang="de-DE" sz="1600"/>
              <a:t>Source: </a:t>
            </a:r>
            <a:r>
              <a:rPr lang="de-AT" sz="1600" err="1">
                <a:hlinkClick r:id="rId2"/>
              </a:rPr>
              <a:t>MainJourney</a:t>
            </a:r>
            <a:r>
              <a:rPr lang="de-AT" sz="1600">
                <a:hlinkClick r:id="rId2"/>
              </a:rPr>
              <a:t> (cawemo.com)</a:t>
            </a:r>
            <a:endParaRPr lang="de-AT" sz="1600"/>
          </a:p>
        </p:txBody>
      </p:sp>
      <p:pic>
        <p:nvPicPr>
          <p:cNvPr id="8" name="Grafik 7" descr="Ein Bild, das Text, Screenshot, Diagramm, Plan enthält.&#10;&#10;Automatisch generierte Beschreibung">
            <a:extLst>
              <a:ext uri="{FF2B5EF4-FFF2-40B4-BE49-F238E27FC236}">
                <a16:creationId xmlns:a16="http://schemas.microsoft.com/office/drawing/2014/main" id="{57A4DC1A-6440-BC9B-53FE-E347A352966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212" y="476627"/>
            <a:ext cx="11071851" cy="5952201"/>
          </a:xfrm>
          <a:prstGeom prst="rect">
            <a:avLst/>
          </a:prstGeom>
        </p:spPr>
      </p:pic>
      <p:sp>
        <p:nvSpPr>
          <p:cNvPr id="1025" name="Foliennummernplatzhalter 1024">
            <a:extLst>
              <a:ext uri="{FF2B5EF4-FFF2-40B4-BE49-F238E27FC236}">
                <a16:creationId xmlns:a16="http://schemas.microsoft.com/office/drawing/2014/main" id="{9C5DC5BA-D782-0706-4623-5806E5DFC6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E0597C-028E-473F-BF50-BBB8B8A24EC3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Inter SemiBold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SemiBold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520459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44A27D-C3EE-AE62-9F24-F70DD02E1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err="1"/>
              <a:t>History</a:t>
            </a:r>
            <a:r>
              <a:rPr lang="de-DE"/>
              <a:t> and </a:t>
            </a:r>
            <a:r>
              <a:rPr lang="de-DE" err="1"/>
              <a:t>motivation</a:t>
            </a:r>
            <a:endParaRPr lang="en-SK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5DC4DF-F772-E3DD-09E2-FAC2C1156D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</a:rPr>
              <a:t>23.11.2023</a:t>
            </a: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67E5A6-4B9A-A564-F6E8-AC614C1E4F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cs typeface="+mn-cs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5D6A95A-7AD0-3019-3BD0-A3BC4A41C91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SK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A71BF6-C9CE-16B7-E6B0-EEF12F075A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6" y="1653721"/>
            <a:ext cx="11160126" cy="4356554"/>
          </a:xfrm>
        </p:spPr>
        <p:txBody>
          <a:bodyPr/>
          <a:lstStyle/>
          <a:p>
            <a:pPr marL="0" indent="0">
              <a:buNone/>
            </a:pPr>
            <a:r>
              <a:rPr lang="de-AT" sz="1800">
                <a:solidFill>
                  <a:srgbClr val="172B4D"/>
                </a:solidFill>
                <a:latin typeface="-apple-system"/>
              </a:rPr>
              <a:t>Clear </a:t>
            </a:r>
            <a:r>
              <a:rPr lang="de-AT" sz="1800" err="1">
                <a:solidFill>
                  <a:srgbClr val="172B4D"/>
                </a:solidFill>
                <a:latin typeface="-apple-system"/>
              </a:rPr>
              <a:t>request</a:t>
            </a:r>
            <a:r>
              <a:rPr lang="de-AT" sz="1800">
                <a:solidFill>
                  <a:srgbClr val="172B4D"/>
                </a:solidFill>
                <a:latin typeface="-apple-system"/>
              </a:rPr>
              <a:t> </a:t>
            </a:r>
            <a:r>
              <a:rPr lang="de-AT" sz="1800" err="1">
                <a:solidFill>
                  <a:srgbClr val="172B4D"/>
                </a:solidFill>
                <a:latin typeface="-apple-system"/>
              </a:rPr>
              <a:t>from</a:t>
            </a:r>
            <a:r>
              <a:rPr lang="de-AT" sz="1800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sz="1800" err="1">
                <a:solidFill>
                  <a:srgbClr val="172B4D"/>
                </a:solidFill>
                <a:latin typeface="-apple-system"/>
              </a:rPr>
              <a:t>our</a:t>
            </a:r>
            <a:r>
              <a:rPr lang="de-AT" sz="1800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sz="1800" err="1">
                <a:solidFill>
                  <a:srgbClr val="172B4D"/>
                </a:solidFill>
                <a:latin typeface="-apple-system"/>
              </a:rPr>
              <a:t>management</a:t>
            </a:r>
            <a:r>
              <a:rPr lang="de-AT" sz="1800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sz="1800" err="1">
                <a:solidFill>
                  <a:srgbClr val="172B4D"/>
                </a:solidFill>
                <a:latin typeface="-apple-system"/>
              </a:rPr>
              <a:t>directors</a:t>
            </a:r>
            <a:r>
              <a:rPr lang="de-AT" sz="1800">
                <a:solidFill>
                  <a:srgbClr val="172B4D"/>
                </a:solidFill>
                <a:latin typeface="-apple-system"/>
              </a:rPr>
              <a:t>: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de-AT" sz="1800" b="0" i="0">
                <a:solidFill>
                  <a:srgbClr val="172B4D"/>
                </a:solidFill>
                <a:effectLst/>
                <a:latin typeface="-apple-system"/>
              </a:rPr>
              <a:t>After </a:t>
            </a:r>
            <a:r>
              <a:rPr lang="de-AT" sz="1800" b="0" i="0" err="1">
                <a:solidFill>
                  <a:srgbClr val="172B4D"/>
                </a:solidFill>
                <a:effectLst/>
                <a:latin typeface="-apple-system"/>
              </a:rPr>
              <a:t>the</a:t>
            </a:r>
            <a:r>
              <a:rPr lang="de-AT" sz="1800" b="0" i="0">
                <a:solidFill>
                  <a:srgbClr val="172B4D"/>
                </a:solidFill>
                <a:effectLst/>
                <a:latin typeface="-apple-system"/>
              </a:rPr>
              <a:t> last MIM </a:t>
            </a:r>
            <a:r>
              <a:rPr lang="de-AT" sz="1800" b="0" i="0" err="1">
                <a:solidFill>
                  <a:srgbClr val="172B4D"/>
                </a:solidFill>
                <a:effectLst/>
                <a:latin typeface="-apple-system"/>
              </a:rPr>
              <a:t>division</a:t>
            </a:r>
            <a:r>
              <a:rPr lang="de-AT" sz="1800" b="0" i="0">
                <a:solidFill>
                  <a:srgbClr val="172B4D"/>
                </a:solidFill>
                <a:effectLst/>
                <a:latin typeface="-apple-system"/>
              </a:rPr>
              <a:t> „</a:t>
            </a:r>
            <a:r>
              <a:rPr lang="de-AT" sz="1800" b="0" i="0" err="1">
                <a:solidFill>
                  <a:srgbClr val="172B4D"/>
                </a:solidFill>
                <a:effectLst/>
                <a:latin typeface="-apple-system"/>
              </a:rPr>
              <a:t>Strategy</a:t>
            </a:r>
            <a:r>
              <a:rPr lang="de-AT" sz="1800" b="0" i="0">
                <a:solidFill>
                  <a:srgbClr val="172B4D"/>
                </a:solidFill>
                <a:effectLst/>
                <a:latin typeface="-apple-system"/>
              </a:rPr>
              <a:t> &amp; Architecture“ </a:t>
            </a:r>
            <a:r>
              <a:rPr lang="de-AT" sz="1800">
                <a:solidFill>
                  <a:srgbClr val="172B4D"/>
                </a:solidFill>
                <a:latin typeface="-apple-system"/>
              </a:rPr>
              <a:t>was </a:t>
            </a:r>
            <a:r>
              <a:rPr lang="de-AT" sz="1800" err="1">
                <a:solidFill>
                  <a:srgbClr val="172B4D"/>
                </a:solidFill>
                <a:latin typeface="-apple-system"/>
              </a:rPr>
              <a:t>approached</a:t>
            </a:r>
            <a:r>
              <a:rPr lang="de-AT" sz="1800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sz="1800" err="1">
                <a:solidFill>
                  <a:srgbClr val="172B4D"/>
                </a:solidFill>
                <a:latin typeface="-apple-system"/>
              </a:rPr>
              <a:t>to</a:t>
            </a:r>
            <a:r>
              <a:rPr lang="de-AT" sz="1800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sz="1800" err="1">
                <a:solidFill>
                  <a:srgbClr val="172B4D"/>
                </a:solidFill>
                <a:latin typeface="-apple-system"/>
              </a:rPr>
              <a:t>develop</a:t>
            </a:r>
            <a:r>
              <a:rPr lang="de-AT" sz="1800">
                <a:solidFill>
                  <a:srgbClr val="172B4D"/>
                </a:solidFill>
                <a:latin typeface="-apple-system"/>
              </a:rPr>
              <a:t> a </a:t>
            </a:r>
            <a:r>
              <a:rPr lang="de-AT" sz="1800" err="1">
                <a:solidFill>
                  <a:srgbClr val="172B4D"/>
                </a:solidFill>
                <a:latin typeface="-apple-system"/>
              </a:rPr>
              <a:t>concept</a:t>
            </a:r>
            <a:r>
              <a:rPr lang="de-AT" sz="1800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sz="1800" err="1">
                <a:solidFill>
                  <a:srgbClr val="172B4D"/>
                </a:solidFill>
                <a:latin typeface="-apple-system"/>
              </a:rPr>
              <a:t>for</a:t>
            </a:r>
            <a:r>
              <a:rPr lang="de-AT" sz="1800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sz="1800" err="1">
                <a:solidFill>
                  <a:srgbClr val="172B4D"/>
                </a:solidFill>
                <a:latin typeface="-apple-system"/>
              </a:rPr>
              <a:t>implementing</a:t>
            </a:r>
            <a:r>
              <a:rPr lang="de-AT" sz="1800">
                <a:solidFill>
                  <a:srgbClr val="172B4D"/>
                </a:solidFill>
                <a:latin typeface="-apple-system"/>
              </a:rPr>
              <a:t> a </a:t>
            </a:r>
            <a:r>
              <a:rPr lang="de-AT" sz="1800" err="1">
                <a:solidFill>
                  <a:srgbClr val="172B4D"/>
                </a:solidFill>
                <a:latin typeface="-apple-system"/>
              </a:rPr>
              <a:t>chatbot</a:t>
            </a:r>
            <a:r>
              <a:rPr lang="de-AT" sz="1800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sz="1800" err="1">
                <a:solidFill>
                  <a:srgbClr val="172B4D"/>
                </a:solidFill>
                <a:latin typeface="-apple-system"/>
              </a:rPr>
              <a:t>solution</a:t>
            </a:r>
            <a:r>
              <a:rPr lang="de-AT" sz="1800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sz="1800" err="1">
                <a:solidFill>
                  <a:srgbClr val="172B4D"/>
                </a:solidFill>
                <a:latin typeface="-apple-system"/>
              </a:rPr>
              <a:t>for</a:t>
            </a:r>
            <a:r>
              <a:rPr lang="de-AT" sz="1800">
                <a:solidFill>
                  <a:srgbClr val="172B4D"/>
                </a:solidFill>
                <a:latin typeface="-apple-system"/>
              </a:rPr>
              <a:t> AT</a:t>
            </a:r>
            <a:endParaRPr lang="de-AT" sz="1800"/>
          </a:p>
          <a:p>
            <a:pPr>
              <a:buFont typeface="Arial" panose="020B0604020202020204" pitchFamily="34" charset="0"/>
              <a:buChar char="•"/>
            </a:pPr>
            <a:r>
              <a:rPr lang="de-AT" sz="1800">
                <a:solidFill>
                  <a:srgbClr val="172B4D"/>
                </a:solidFill>
                <a:latin typeface="-apple-system"/>
              </a:rPr>
              <a:t>ED MD </a:t>
            </a:r>
            <a:r>
              <a:rPr lang="de-AT" sz="1800" b="0" i="0">
                <a:solidFill>
                  <a:srgbClr val="172B4D"/>
                </a:solidFill>
                <a:effectLst/>
                <a:latin typeface="-apple-system"/>
              </a:rPr>
              <a:t>Ekkehard Preis</a:t>
            </a:r>
            <a:r>
              <a:rPr lang="de-AT" sz="1800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sz="1800" err="1">
                <a:solidFill>
                  <a:srgbClr val="172B4D"/>
                </a:solidFill>
                <a:latin typeface="-apple-system"/>
              </a:rPr>
              <a:t>asked</a:t>
            </a:r>
            <a:r>
              <a:rPr lang="de-AT" sz="1800">
                <a:solidFill>
                  <a:srgbClr val="172B4D"/>
                </a:solidFill>
                <a:latin typeface="-apple-system"/>
              </a:rPr>
              <a:t> Christoph Merte </a:t>
            </a:r>
            <a:r>
              <a:rPr lang="de-AT" sz="1800" err="1">
                <a:solidFill>
                  <a:srgbClr val="172B4D"/>
                </a:solidFill>
                <a:latin typeface="-apple-system"/>
              </a:rPr>
              <a:t>to</a:t>
            </a:r>
            <a:r>
              <a:rPr lang="de-AT" sz="1800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sz="1800" err="1">
                <a:solidFill>
                  <a:srgbClr val="172B4D"/>
                </a:solidFill>
                <a:latin typeface="-apple-system"/>
              </a:rPr>
              <a:t>develop</a:t>
            </a:r>
            <a:r>
              <a:rPr lang="de-AT" sz="1800">
                <a:solidFill>
                  <a:srgbClr val="172B4D"/>
                </a:solidFill>
                <a:latin typeface="-apple-system"/>
              </a:rPr>
              <a:t> a </a:t>
            </a:r>
            <a:r>
              <a:rPr lang="de-AT" sz="1800" err="1">
                <a:solidFill>
                  <a:srgbClr val="172B4D"/>
                </a:solidFill>
                <a:latin typeface="-apple-system"/>
              </a:rPr>
              <a:t>sound</a:t>
            </a:r>
            <a:r>
              <a:rPr lang="de-AT" sz="1800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sz="1800" err="1">
                <a:solidFill>
                  <a:srgbClr val="172B4D"/>
                </a:solidFill>
                <a:latin typeface="-apple-system"/>
              </a:rPr>
              <a:t>chatbot</a:t>
            </a:r>
            <a:r>
              <a:rPr lang="de-AT" sz="1800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sz="1800" err="1">
                <a:solidFill>
                  <a:srgbClr val="172B4D"/>
                </a:solidFill>
                <a:latin typeface="-apple-system"/>
              </a:rPr>
              <a:t>architecture</a:t>
            </a:r>
            <a:r>
              <a:rPr lang="de-AT" sz="1800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sz="1800" err="1">
                <a:solidFill>
                  <a:srgbClr val="172B4D"/>
                </a:solidFill>
                <a:latin typeface="-apple-system"/>
              </a:rPr>
              <a:t>including</a:t>
            </a:r>
            <a:r>
              <a:rPr lang="de-AT" sz="1800">
                <a:solidFill>
                  <a:srgbClr val="172B4D"/>
                </a:solidFill>
                <a:latin typeface="-apple-system"/>
              </a:rPr>
              <a:t> George Masterbot and </a:t>
            </a:r>
            <a:r>
              <a:rPr lang="de-AT" sz="1800" err="1">
                <a:solidFill>
                  <a:srgbClr val="172B4D"/>
                </a:solidFill>
                <a:latin typeface="-apple-system"/>
              </a:rPr>
              <a:t>stated</a:t>
            </a:r>
            <a:r>
              <a:rPr lang="de-AT" sz="1800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sz="1800" err="1">
                <a:solidFill>
                  <a:srgbClr val="172B4D"/>
                </a:solidFill>
                <a:latin typeface="-apple-system"/>
              </a:rPr>
              <a:t>the</a:t>
            </a:r>
            <a:r>
              <a:rPr lang="de-AT" sz="1800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sz="1800" err="1">
                <a:solidFill>
                  <a:srgbClr val="172B4D"/>
                </a:solidFill>
                <a:latin typeface="-apple-system"/>
              </a:rPr>
              <a:t>very</a:t>
            </a:r>
            <a:r>
              <a:rPr lang="de-AT" sz="1800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sz="1800" err="1">
                <a:solidFill>
                  <a:srgbClr val="172B4D"/>
                </a:solidFill>
                <a:latin typeface="-apple-system"/>
              </a:rPr>
              <a:t>clear</a:t>
            </a:r>
            <a:r>
              <a:rPr lang="de-AT" sz="1800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sz="1800" err="1">
                <a:solidFill>
                  <a:srgbClr val="172B4D"/>
                </a:solidFill>
                <a:latin typeface="-apple-system"/>
              </a:rPr>
              <a:t>expectation</a:t>
            </a:r>
            <a:r>
              <a:rPr lang="de-AT" sz="1800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sz="1800" err="1">
                <a:solidFill>
                  <a:srgbClr val="172B4D"/>
                </a:solidFill>
                <a:latin typeface="-apple-system"/>
              </a:rPr>
              <a:t>that</a:t>
            </a:r>
            <a:r>
              <a:rPr lang="de-AT" sz="1800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sz="1800" err="1">
                <a:solidFill>
                  <a:srgbClr val="172B4D"/>
                </a:solidFill>
                <a:latin typeface="-apple-system"/>
              </a:rPr>
              <a:t>we</a:t>
            </a:r>
            <a:r>
              <a:rPr lang="de-AT" sz="1800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sz="1800" err="1">
                <a:solidFill>
                  <a:srgbClr val="172B4D"/>
                </a:solidFill>
                <a:latin typeface="-apple-system"/>
              </a:rPr>
              <a:t>implement</a:t>
            </a:r>
            <a:r>
              <a:rPr lang="de-AT" sz="1800">
                <a:solidFill>
                  <a:srgbClr val="172B4D"/>
                </a:solidFill>
                <a:latin typeface="-apple-system"/>
              </a:rPr>
              <a:t> </a:t>
            </a:r>
            <a:r>
              <a:rPr lang="de-AT" sz="1800" err="1">
                <a:solidFill>
                  <a:srgbClr val="172B4D"/>
                </a:solidFill>
                <a:latin typeface="-apple-system"/>
              </a:rPr>
              <a:t>the</a:t>
            </a:r>
            <a:r>
              <a:rPr lang="de-AT" sz="1800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sz="1800" err="1">
                <a:solidFill>
                  <a:srgbClr val="172B4D"/>
                </a:solidFill>
                <a:latin typeface="-apple-system"/>
              </a:rPr>
              <a:t>best</a:t>
            </a:r>
            <a:r>
              <a:rPr lang="de-AT" sz="1800">
                <a:solidFill>
                  <a:srgbClr val="172B4D"/>
                </a:solidFill>
                <a:latin typeface="-apple-system"/>
              </a:rPr>
              <a:t> possible </a:t>
            </a:r>
            <a:r>
              <a:rPr lang="de-AT" sz="1800" err="1">
                <a:solidFill>
                  <a:srgbClr val="172B4D"/>
                </a:solidFill>
                <a:latin typeface="-apple-system"/>
              </a:rPr>
              <a:t>integration</a:t>
            </a:r>
            <a:r>
              <a:rPr lang="de-AT" sz="1800">
                <a:solidFill>
                  <a:srgbClr val="172B4D"/>
                </a:solidFill>
                <a:latin typeface="-apple-system"/>
              </a:rPr>
              <a:t> George Masterbot </a:t>
            </a:r>
            <a:r>
              <a:rPr lang="de-AT" sz="1800" err="1">
                <a:solidFill>
                  <a:srgbClr val="172B4D"/>
                </a:solidFill>
                <a:latin typeface="-apple-system"/>
              </a:rPr>
              <a:t>to</a:t>
            </a:r>
            <a:r>
              <a:rPr lang="de-AT" sz="1800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sz="1800" err="1">
                <a:solidFill>
                  <a:srgbClr val="172B4D"/>
                </a:solidFill>
                <a:latin typeface="-apple-system"/>
              </a:rPr>
              <a:t>Local</a:t>
            </a:r>
            <a:r>
              <a:rPr lang="de-AT" sz="1800">
                <a:solidFill>
                  <a:srgbClr val="172B4D"/>
                </a:solidFill>
                <a:latin typeface="-apple-system"/>
              </a:rPr>
              <a:t> AT Chatbot Solution</a:t>
            </a:r>
            <a:endParaRPr lang="de-AT" sz="1800" b="0" i="0">
              <a:solidFill>
                <a:srgbClr val="172B4D"/>
              </a:solidFill>
              <a:effectLst/>
              <a:latin typeface="-apple-system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de-AT" sz="1800" err="1">
                <a:solidFill>
                  <a:srgbClr val="172B4D"/>
                </a:solidFill>
                <a:latin typeface="-apple-system"/>
              </a:rPr>
              <a:t>Scope</a:t>
            </a:r>
            <a:r>
              <a:rPr lang="de-AT" sz="1800">
                <a:solidFill>
                  <a:srgbClr val="172B4D"/>
                </a:solidFill>
                <a:latin typeface="-apple-system"/>
              </a:rPr>
              <a:t> and </a:t>
            </a:r>
            <a:r>
              <a:rPr lang="de-AT" sz="1800" err="1">
                <a:solidFill>
                  <a:srgbClr val="172B4D"/>
                </a:solidFill>
                <a:latin typeface="-apple-system"/>
              </a:rPr>
              <a:t>challenge</a:t>
            </a:r>
            <a:endParaRPr lang="de-AT" sz="1800" b="0" i="0">
              <a:solidFill>
                <a:srgbClr val="172B4D"/>
              </a:solidFill>
              <a:effectLst/>
              <a:latin typeface="-apple-system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AT" sz="1400" b="1">
                <a:solidFill>
                  <a:srgbClr val="172B4D"/>
                </a:solidFill>
                <a:latin typeface="-apple-system"/>
              </a:rPr>
              <a:t>Initial </a:t>
            </a:r>
            <a:r>
              <a:rPr lang="de-AT" sz="1400" b="1" err="1">
                <a:solidFill>
                  <a:srgbClr val="172B4D"/>
                </a:solidFill>
                <a:latin typeface="-apple-system"/>
              </a:rPr>
              <a:t>scope</a:t>
            </a:r>
            <a:r>
              <a:rPr lang="de-AT" sz="1400" b="1">
                <a:solidFill>
                  <a:srgbClr val="172B4D"/>
                </a:solidFill>
                <a:latin typeface="-apple-system"/>
              </a:rPr>
              <a:t>:</a:t>
            </a:r>
            <a:r>
              <a:rPr lang="de-AT" sz="1400">
                <a:solidFill>
                  <a:srgbClr val="172B4D"/>
                </a:solidFill>
                <a:latin typeface="-apple-system"/>
              </a:rPr>
              <a:t> Chatbot </a:t>
            </a:r>
            <a:r>
              <a:rPr lang="de-AT" sz="1400" err="1">
                <a:solidFill>
                  <a:srgbClr val="172B4D"/>
                </a:solidFill>
                <a:latin typeface="-apple-system"/>
              </a:rPr>
              <a:t>architecture</a:t>
            </a:r>
            <a:r>
              <a:rPr lang="de-AT" sz="1400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sz="1400" err="1">
                <a:solidFill>
                  <a:srgbClr val="172B4D"/>
                </a:solidFill>
                <a:latin typeface="-apple-system"/>
              </a:rPr>
              <a:t>with</a:t>
            </a:r>
            <a:r>
              <a:rPr lang="de-AT" sz="1400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sz="1400" err="1">
                <a:solidFill>
                  <a:srgbClr val="172B4D"/>
                </a:solidFill>
                <a:latin typeface="-apple-system"/>
              </a:rPr>
              <a:t>special</a:t>
            </a:r>
            <a:r>
              <a:rPr lang="de-AT" sz="1400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sz="1400" err="1">
                <a:solidFill>
                  <a:srgbClr val="172B4D"/>
                </a:solidFill>
                <a:latin typeface="-apple-system"/>
              </a:rPr>
              <a:t>focus</a:t>
            </a:r>
            <a:r>
              <a:rPr lang="de-AT" sz="1400">
                <a:solidFill>
                  <a:srgbClr val="172B4D"/>
                </a:solidFill>
                <a:latin typeface="-apple-system"/>
              </a:rPr>
              <a:t> on George </a:t>
            </a:r>
            <a:r>
              <a:rPr lang="de-AT" sz="1400" err="1">
                <a:solidFill>
                  <a:srgbClr val="172B4D"/>
                </a:solidFill>
                <a:latin typeface="-apple-system"/>
              </a:rPr>
              <a:t>integration</a:t>
            </a:r>
            <a:r>
              <a:rPr lang="de-AT" sz="1400">
                <a:solidFill>
                  <a:srgbClr val="172B4D"/>
                </a:solidFill>
                <a:latin typeface="-apple-system"/>
              </a:rPr>
              <a:t>, </a:t>
            </a:r>
            <a:r>
              <a:rPr lang="de-AT" sz="1400" err="1">
                <a:solidFill>
                  <a:srgbClr val="172B4D"/>
                </a:solidFill>
                <a:latin typeface="-apple-system"/>
              </a:rPr>
              <a:t>interaction</a:t>
            </a:r>
            <a:r>
              <a:rPr lang="de-AT" sz="1400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sz="1400" err="1">
                <a:solidFill>
                  <a:srgbClr val="172B4D"/>
                </a:solidFill>
                <a:latin typeface="-apple-system"/>
              </a:rPr>
              <a:t>flow</a:t>
            </a:r>
            <a:r>
              <a:rPr lang="de-AT" sz="1400">
                <a:solidFill>
                  <a:srgbClr val="172B4D"/>
                </a:solidFill>
                <a:latin typeface="-apple-system"/>
              </a:rPr>
              <a:t> and </a:t>
            </a:r>
            <a:r>
              <a:rPr lang="de-AT" sz="1400" err="1">
                <a:solidFill>
                  <a:srgbClr val="172B4D"/>
                </a:solidFill>
                <a:latin typeface="-apple-system"/>
              </a:rPr>
              <a:t>components</a:t>
            </a:r>
            <a:r>
              <a:rPr lang="de-AT" sz="1400">
                <a:solidFill>
                  <a:srgbClr val="172B4D"/>
                </a:solidFill>
                <a:latin typeface="-apple-system"/>
              </a:rPr>
              <a:t>/</a:t>
            </a:r>
            <a:r>
              <a:rPr lang="de-AT" sz="1400" err="1">
                <a:solidFill>
                  <a:srgbClr val="172B4D"/>
                </a:solidFill>
                <a:latin typeface="-apple-system"/>
              </a:rPr>
              <a:t>services</a:t>
            </a:r>
            <a:r>
              <a:rPr lang="de-AT" sz="1400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sz="1400" err="1">
                <a:solidFill>
                  <a:srgbClr val="172B4D"/>
                </a:solidFill>
                <a:latin typeface="-apple-system"/>
              </a:rPr>
              <a:t>needed</a:t>
            </a:r>
            <a:r>
              <a:rPr lang="de-AT" sz="1400">
                <a:solidFill>
                  <a:srgbClr val="172B4D"/>
                </a:solidFill>
                <a:latin typeface="-apple-system"/>
              </a:rPr>
              <a:t>.</a:t>
            </a:r>
            <a:endParaRPr lang="de-AT" sz="1400" b="0" i="0">
              <a:solidFill>
                <a:srgbClr val="172B4D"/>
              </a:solidFill>
              <a:effectLst/>
              <a:latin typeface="-apple-system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AT" sz="1400" b="1" i="0">
                <a:solidFill>
                  <a:srgbClr val="172B4D"/>
                </a:solidFill>
                <a:effectLst/>
                <a:latin typeface="-apple-system"/>
              </a:rPr>
              <a:t>Wider </a:t>
            </a:r>
            <a:r>
              <a:rPr lang="de-AT" sz="1400" b="1" err="1">
                <a:solidFill>
                  <a:srgbClr val="172B4D"/>
                </a:solidFill>
                <a:latin typeface="-apple-system"/>
              </a:rPr>
              <a:t>s</a:t>
            </a:r>
            <a:r>
              <a:rPr lang="de-AT" sz="1400" b="1" i="0" err="1">
                <a:solidFill>
                  <a:srgbClr val="172B4D"/>
                </a:solidFill>
                <a:effectLst/>
                <a:latin typeface="-apple-system"/>
              </a:rPr>
              <a:t>cope</a:t>
            </a:r>
            <a:r>
              <a:rPr lang="de-AT" sz="1400" b="1" i="0">
                <a:solidFill>
                  <a:srgbClr val="172B4D"/>
                </a:solidFill>
                <a:effectLst/>
                <a:latin typeface="-apple-system"/>
              </a:rPr>
              <a:t>: </a:t>
            </a:r>
            <a:r>
              <a:rPr lang="de-AT" sz="1400">
                <a:solidFill>
                  <a:srgbClr val="172B4D"/>
                </a:solidFill>
                <a:latin typeface="-apple-system"/>
              </a:rPr>
              <a:t>Elaboration </a:t>
            </a:r>
            <a:r>
              <a:rPr lang="de-AT" sz="1400" err="1">
                <a:solidFill>
                  <a:srgbClr val="172B4D"/>
                </a:solidFill>
                <a:latin typeface="-apple-system"/>
              </a:rPr>
              <a:t>of</a:t>
            </a:r>
            <a:r>
              <a:rPr lang="de-AT" sz="1400">
                <a:solidFill>
                  <a:srgbClr val="172B4D"/>
                </a:solidFill>
                <a:latin typeface="-apple-system"/>
              </a:rPr>
              <a:t> a </a:t>
            </a:r>
            <a:r>
              <a:rPr lang="de-AT" sz="1400" err="1">
                <a:solidFill>
                  <a:srgbClr val="172B4D"/>
                </a:solidFill>
                <a:latin typeface="-apple-system"/>
              </a:rPr>
              <a:t>bullet</a:t>
            </a:r>
            <a:r>
              <a:rPr lang="de-AT" sz="1400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sz="1400" err="1">
                <a:solidFill>
                  <a:srgbClr val="172B4D"/>
                </a:solidFill>
                <a:latin typeface="-apple-system"/>
              </a:rPr>
              <a:t>proof</a:t>
            </a:r>
            <a:r>
              <a:rPr lang="de-AT" sz="1400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sz="1400" err="1">
                <a:solidFill>
                  <a:srgbClr val="172B4D"/>
                </a:solidFill>
                <a:latin typeface="-apple-system"/>
              </a:rPr>
              <a:t>cooperation</a:t>
            </a:r>
            <a:r>
              <a:rPr lang="de-AT" sz="1400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sz="1400" err="1">
                <a:solidFill>
                  <a:srgbClr val="172B4D"/>
                </a:solidFill>
                <a:latin typeface="-apple-system"/>
              </a:rPr>
              <a:t>model</a:t>
            </a:r>
            <a:r>
              <a:rPr lang="de-AT" sz="1400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sz="1400" err="1">
                <a:solidFill>
                  <a:srgbClr val="172B4D"/>
                </a:solidFill>
                <a:latin typeface="-apple-system"/>
              </a:rPr>
              <a:t>between</a:t>
            </a:r>
            <a:r>
              <a:rPr lang="de-AT" sz="1400">
                <a:solidFill>
                  <a:srgbClr val="172B4D"/>
                </a:solidFill>
                <a:latin typeface="-apple-system"/>
              </a:rPr>
              <a:t> George and ED </a:t>
            </a:r>
            <a:r>
              <a:rPr lang="de-AT" sz="1400" err="1">
                <a:solidFill>
                  <a:srgbClr val="172B4D"/>
                </a:solidFill>
                <a:latin typeface="-apple-system"/>
              </a:rPr>
              <a:t>platforms</a:t>
            </a:r>
            <a:r>
              <a:rPr lang="de-AT" sz="1400">
                <a:solidFill>
                  <a:srgbClr val="172B4D"/>
                </a:solidFill>
                <a:latin typeface="-apple-system"/>
              </a:rPr>
              <a:t> AI Solution and </a:t>
            </a:r>
            <a:r>
              <a:rPr lang="de-AT" sz="1400" err="1">
                <a:solidFill>
                  <a:srgbClr val="172B4D"/>
                </a:solidFill>
                <a:latin typeface="-apple-system"/>
              </a:rPr>
              <a:t>MiSOL</a:t>
            </a:r>
            <a:r>
              <a:rPr lang="de-AT" sz="1400">
                <a:solidFill>
                  <a:srgbClr val="172B4D"/>
                </a:solidFill>
                <a:latin typeface="-apple-system"/>
              </a:rPr>
              <a:t> (</a:t>
            </a:r>
            <a:r>
              <a:rPr lang="de-AT" sz="1400" err="1">
                <a:solidFill>
                  <a:srgbClr val="172B4D"/>
                </a:solidFill>
                <a:latin typeface="-apple-system"/>
              </a:rPr>
              <a:t>definition</a:t>
            </a:r>
            <a:r>
              <a:rPr lang="de-AT" sz="1400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sz="1400" err="1">
                <a:solidFill>
                  <a:srgbClr val="172B4D"/>
                </a:solidFill>
                <a:latin typeface="-apple-system"/>
              </a:rPr>
              <a:t>who</a:t>
            </a:r>
            <a:r>
              <a:rPr lang="de-AT" sz="1400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sz="1400" err="1">
                <a:solidFill>
                  <a:srgbClr val="172B4D"/>
                </a:solidFill>
                <a:latin typeface="-apple-system"/>
              </a:rPr>
              <a:t>is</a:t>
            </a:r>
            <a:r>
              <a:rPr lang="de-AT" sz="1400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sz="1400" err="1">
                <a:solidFill>
                  <a:srgbClr val="172B4D"/>
                </a:solidFill>
                <a:latin typeface="-apple-system"/>
              </a:rPr>
              <a:t>expected</a:t>
            </a:r>
            <a:r>
              <a:rPr lang="de-AT" sz="1400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sz="1400" err="1">
                <a:solidFill>
                  <a:srgbClr val="172B4D"/>
                </a:solidFill>
                <a:latin typeface="-apple-system"/>
              </a:rPr>
              <a:t>to</a:t>
            </a:r>
            <a:r>
              <a:rPr lang="de-AT" sz="1400">
                <a:solidFill>
                  <a:srgbClr val="172B4D"/>
                </a:solidFill>
                <a:latin typeface="-apple-system"/>
              </a:rPr>
              <a:t> perform </a:t>
            </a:r>
            <a:r>
              <a:rPr lang="de-AT" sz="1400" err="1">
                <a:solidFill>
                  <a:srgbClr val="172B4D"/>
                </a:solidFill>
                <a:latin typeface="-apple-system"/>
              </a:rPr>
              <a:t>which</a:t>
            </a:r>
            <a:r>
              <a:rPr lang="de-AT" sz="1400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sz="1400" err="1">
                <a:solidFill>
                  <a:srgbClr val="172B4D"/>
                </a:solidFill>
                <a:latin typeface="-apple-system"/>
              </a:rPr>
              <a:t>tasks</a:t>
            </a:r>
            <a:r>
              <a:rPr lang="de-AT" sz="1400">
                <a:solidFill>
                  <a:srgbClr val="172B4D"/>
                </a:solidFill>
                <a:latin typeface="-apple-system"/>
              </a:rPr>
              <a:t>). </a:t>
            </a:r>
          </a:p>
          <a:p>
            <a:pPr marL="928687" lvl="2" indent="-285750">
              <a:buFont typeface="Arial" panose="020B0604020202020204" pitchFamily="34" charset="0"/>
              <a:buChar char="•"/>
            </a:pPr>
            <a:r>
              <a:rPr lang="de-AT" sz="1400">
                <a:solidFill>
                  <a:srgbClr val="172B4D"/>
                </a:solidFill>
                <a:latin typeface="-apple-system"/>
              </a:rPr>
              <a:t>George AT: </a:t>
            </a:r>
            <a:r>
              <a:rPr lang="de-AT" sz="1400" err="1">
                <a:solidFill>
                  <a:srgbClr val="172B4D"/>
                </a:solidFill>
                <a:latin typeface="-apple-system"/>
              </a:rPr>
              <a:t>M.Krajinovic</a:t>
            </a:r>
            <a:r>
              <a:rPr lang="de-AT" sz="1400">
                <a:solidFill>
                  <a:srgbClr val="172B4D"/>
                </a:solidFill>
                <a:latin typeface="-apple-system"/>
              </a:rPr>
              <a:t>, </a:t>
            </a:r>
            <a:r>
              <a:rPr lang="de-AT" sz="1400" err="1">
                <a:solidFill>
                  <a:srgbClr val="172B4D"/>
                </a:solidFill>
                <a:latin typeface="-apple-system"/>
              </a:rPr>
              <a:t>P.Koller</a:t>
            </a:r>
            <a:endParaRPr lang="de-AT" sz="1400">
              <a:solidFill>
                <a:srgbClr val="172B4D"/>
              </a:solidFill>
              <a:latin typeface="-apple-system"/>
            </a:endParaRPr>
          </a:p>
          <a:p>
            <a:pPr marL="928687" lvl="2" indent="-285750">
              <a:buFont typeface="Arial" panose="020B0604020202020204" pitchFamily="34" charset="0"/>
              <a:buChar char="•"/>
            </a:pPr>
            <a:r>
              <a:rPr lang="de-AT" sz="1400">
                <a:solidFill>
                  <a:srgbClr val="172B4D"/>
                </a:solidFill>
                <a:latin typeface="-apple-system"/>
              </a:rPr>
              <a:t>AI Solution: </a:t>
            </a:r>
            <a:r>
              <a:rPr lang="de-AT" sz="1400" err="1">
                <a:solidFill>
                  <a:srgbClr val="172B4D"/>
                </a:solidFill>
                <a:latin typeface="-apple-system"/>
              </a:rPr>
              <a:t>F.Mayer</a:t>
            </a:r>
            <a:endParaRPr lang="de-AT" sz="1400">
              <a:solidFill>
                <a:srgbClr val="172B4D"/>
              </a:solidFill>
              <a:latin typeface="-apple-system"/>
            </a:endParaRPr>
          </a:p>
          <a:p>
            <a:pPr marL="928687" lvl="2" indent="-285750">
              <a:buFont typeface="Arial" panose="020B0604020202020204" pitchFamily="34" charset="0"/>
              <a:buChar char="•"/>
            </a:pPr>
            <a:r>
              <a:rPr lang="de-AT" sz="1400" err="1">
                <a:solidFill>
                  <a:srgbClr val="172B4D"/>
                </a:solidFill>
                <a:latin typeface="-apple-system"/>
              </a:rPr>
              <a:t>Product</a:t>
            </a:r>
            <a:r>
              <a:rPr lang="de-AT" sz="1400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sz="1400" err="1">
                <a:solidFill>
                  <a:srgbClr val="172B4D"/>
                </a:solidFill>
                <a:latin typeface="-apple-system"/>
              </a:rPr>
              <a:t>Owners</a:t>
            </a:r>
            <a:r>
              <a:rPr lang="de-AT" sz="1400">
                <a:solidFill>
                  <a:srgbClr val="172B4D"/>
                </a:solidFill>
                <a:latin typeface="-apple-system"/>
              </a:rPr>
              <a:t> </a:t>
            </a:r>
            <a:r>
              <a:rPr lang="de-AT" sz="1400" err="1">
                <a:solidFill>
                  <a:srgbClr val="172B4D"/>
                </a:solidFill>
                <a:latin typeface="-apple-system"/>
              </a:rPr>
              <a:t>within</a:t>
            </a:r>
            <a:r>
              <a:rPr lang="de-AT" sz="1400">
                <a:solidFill>
                  <a:srgbClr val="172B4D"/>
                </a:solidFill>
                <a:latin typeface="-apple-system"/>
              </a:rPr>
              <a:t> Business </a:t>
            </a:r>
            <a:r>
              <a:rPr lang="de-AT" sz="1400" err="1">
                <a:solidFill>
                  <a:srgbClr val="172B4D"/>
                </a:solidFill>
                <a:latin typeface="-apple-system"/>
              </a:rPr>
              <a:t>for</a:t>
            </a:r>
            <a:r>
              <a:rPr lang="de-AT" sz="1400">
                <a:solidFill>
                  <a:srgbClr val="172B4D"/>
                </a:solidFill>
                <a:latin typeface="-apple-system"/>
              </a:rPr>
              <a:t> Chatbot Solution (</a:t>
            </a:r>
            <a:r>
              <a:rPr lang="de-AT" sz="1400" err="1">
                <a:solidFill>
                  <a:srgbClr val="172B4D"/>
                </a:solidFill>
                <a:latin typeface="-apple-system"/>
                <a:hlinkClick r:id="rId3"/>
              </a:rPr>
              <a:t>MiSOL</a:t>
            </a:r>
            <a:r>
              <a:rPr lang="de-AT" sz="1400">
                <a:solidFill>
                  <a:srgbClr val="172B4D"/>
                </a:solidFill>
                <a:latin typeface="-apple-system"/>
              </a:rPr>
              <a:t>): </a:t>
            </a:r>
            <a:r>
              <a:rPr lang="de-AT" sz="1400" err="1">
                <a:solidFill>
                  <a:srgbClr val="172B4D"/>
                </a:solidFill>
                <a:latin typeface="-apple-system"/>
              </a:rPr>
              <a:t>M.Gyarmaty</a:t>
            </a:r>
            <a:r>
              <a:rPr lang="de-AT" sz="1400">
                <a:solidFill>
                  <a:srgbClr val="172B4D"/>
                </a:solidFill>
                <a:latin typeface="-apple-system"/>
              </a:rPr>
              <a:t> (</a:t>
            </a:r>
            <a:r>
              <a:rPr lang="de-AT" sz="1400" err="1">
                <a:solidFill>
                  <a:srgbClr val="172B4D"/>
                </a:solidFill>
                <a:latin typeface="-apple-system"/>
              </a:rPr>
              <a:t>customer</a:t>
            </a:r>
            <a:r>
              <a:rPr lang="de-AT" sz="1400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sz="1400" err="1">
                <a:solidFill>
                  <a:srgbClr val="172B4D"/>
                </a:solidFill>
                <a:latin typeface="-apple-system"/>
              </a:rPr>
              <a:t>facing</a:t>
            </a:r>
            <a:r>
              <a:rPr lang="de-AT" sz="1400">
                <a:solidFill>
                  <a:srgbClr val="172B4D"/>
                </a:solidFill>
                <a:latin typeface="-apple-system"/>
              </a:rPr>
              <a:t>), </a:t>
            </a:r>
            <a:r>
              <a:rPr lang="de-AT" sz="1400" err="1">
                <a:solidFill>
                  <a:srgbClr val="172B4D"/>
                </a:solidFill>
                <a:latin typeface="-apple-system"/>
              </a:rPr>
              <a:t>H.Theisl</a:t>
            </a:r>
            <a:r>
              <a:rPr lang="de-AT" sz="1400">
                <a:solidFill>
                  <a:srgbClr val="172B4D"/>
                </a:solidFill>
                <a:latin typeface="-apple-system"/>
              </a:rPr>
              <a:t> (</a:t>
            </a:r>
            <a:r>
              <a:rPr lang="de-AT" sz="1400" err="1">
                <a:solidFill>
                  <a:srgbClr val="172B4D"/>
                </a:solidFill>
                <a:latin typeface="-apple-system"/>
              </a:rPr>
              <a:t>employee</a:t>
            </a:r>
            <a:r>
              <a:rPr lang="de-AT" sz="1400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sz="1400" err="1">
                <a:solidFill>
                  <a:srgbClr val="172B4D"/>
                </a:solidFill>
                <a:latin typeface="-apple-system"/>
              </a:rPr>
              <a:t>facing</a:t>
            </a:r>
            <a:r>
              <a:rPr lang="de-AT" sz="1400">
                <a:solidFill>
                  <a:srgbClr val="172B4D"/>
                </a:solidFill>
                <a:latin typeface="-apple-system"/>
              </a:rPr>
              <a:t>)</a:t>
            </a:r>
            <a:endParaRPr lang="de-AT" sz="1400" b="0" i="0">
              <a:solidFill>
                <a:srgbClr val="172B4D"/>
              </a:solidFill>
              <a:effectLst/>
              <a:latin typeface="-apple-system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AT" sz="1400" b="1">
                <a:solidFill>
                  <a:srgbClr val="172B4D"/>
                </a:solidFill>
                <a:latin typeface="-apple-system"/>
              </a:rPr>
              <a:t>Out </a:t>
            </a:r>
            <a:r>
              <a:rPr lang="de-AT" sz="1400" b="1" err="1">
                <a:solidFill>
                  <a:srgbClr val="172B4D"/>
                </a:solidFill>
                <a:latin typeface="-apple-system"/>
              </a:rPr>
              <a:t>of</a:t>
            </a:r>
            <a:r>
              <a:rPr lang="de-AT" sz="1400" b="1">
                <a:solidFill>
                  <a:srgbClr val="172B4D"/>
                </a:solidFill>
                <a:latin typeface="-apple-system"/>
              </a:rPr>
              <a:t> </a:t>
            </a:r>
            <a:r>
              <a:rPr lang="de-AT" sz="1400" b="1" err="1">
                <a:solidFill>
                  <a:srgbClr val="172B4D"/>
                </a:solidFill>
                <a:latin typeface="-apple-system"/>
              </a:rPr>
              <a:t>scope</a:t>
            </a:r>
            <a:r>
              <a:rPr lang="de-AT" sz="1400">
                <a:solidFill>
                  <a:srgbClr val="172B4D"/>
                </a:solidFill>
                <a:latin typeface="-apple-system"/>
              </a:rPr>
              <a:t>: </a:t>
            </a:r>
            <a:r>
              <a:rPr lang="de-AT" sz="1400" err="1">
                <a:solidFill>
                  <a:srgbClr val="172B4D"/>
                </a:solidFill>
                <a:latin typeface="-apple-system"/>
              </a:rPr>
              <a:t>Comprehensive</a:t>
            </a:r>
            <a:r>
              <a:rPr lang="de-AT" sz="1400">
                <a:solidFill>
                  <a:srgbClr val="172B4D"/>
                </a:solidFill>
                <a:latin typeface="-apple-system"/>
              </a:rPr>
              <a:t> AI TOM (Target Operating Model) and AI </a:t>
            </a:r>
            <a:r>
              <a:rPr lang="de-AT" sz="1400" err="1">
                <a:solidFill>
                  <a:srgbClr val="172B4D"/>
                </a:solidFill>
                <a:latin typeface="-apple-system"/>
              </a:rPr>
              <a:t>Governance</a:t>
            </a:r>
            <a:r>
              <a:rPr lang="de-AT" sz="1400">
                <a:solidFill>
                  <a:srgbClr val="172B4D"/>
                </a:solidFill>
                <a:latin typeface="-apple-system"/>
              </a:rPr>
              <a:t>.</a:t>
            </a:r>
            <a:endParaRPr lang="de-AT" sz="1400" b="0" i="0">
              <a:solidFill>
                <a:srgbClr val="172B4D"/>
              </a:solidFill>
              <a:effectLst/>
              <a:latin typeface="-apple-system"/>
            </a:endParaRPr>
          </a:p>
        </p:txBody>
      </p:sp>
      <p:pic>
        <p:nvPicPr>
          <p:cNvPr id="9" name="pasted-image.pdf" descr="pasted-image.pdf">
            <a:extLst>
              <a:ext uri="{FF2B5EF4-FFF2-40B4-BE49-F238E27FC236}">
                <a16:creationId xmlns:a16="http://schemas.microsoft.com/office/drawing/2014/main" id="{D2DCA2D3-3EC1-E3C4-BAF0-F92BD2837BC0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3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1304588" y="3705565"/>
            <a:ext cx="263123" cy="441116"/>
          </a:xfrm>
          <a:prstGeom prst="rect">
            <a:avLst/>
          </a:prstGeom>
          <a:ln w="3175">
            <a:miter lim="400000"/>
          </a:ln>
        </p:spPr>
      </p:pic>
      <p:sp>
        <p:nvSpPr>
          <p:cNvPr id="1026" name="Foliennummernplatzhalter 1025">
            <a:extLst>
              <a:ext uri="{FF2B5EF4-FFF2-40B4-BE49-F238E27FC236}">
                <a16:creationId xmlns:a16="http://schemas.microsoft.com/office/drawing/2014/main" id="{1D99AED9-C234-36DE-F83A-072318E61F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E0597C-028E-473F-BF50-BBB8B8A24EC3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Inter SemiBold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SemiBold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3770688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4988848-A6D8-91B3-C36E-AB1B86743E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3.11.2023</a:t>
            </a:r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20FFD3D-32FA-2B5D-A7BF-AFA559D40A25}"/>
              </a:ext>
            </a:extLst>
          </p:cNvPr>
          <p:cNvSpPr txBox="1"/>
          <p:nvPr/>
        </p:nvSpPr>
        <p:spPr>
          <a:xfrm>
            <a:off x="3620654" y="2844800"/>
            <a:ext cx="4128655" cy="7090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7000"/>
              </a:lnSpc>
            </a:pPr>
            <a:r>
              <a:rPr lang="en-GB" sz="4000"/>
              <a:t>Backup slides</a:t>
            </a:r>
          </a:p>
        </p:txBody>
      </p:sp>
      <p:sp>
        <p:nvSpPr>
          <p:cNvPr id="1021" name="Foliennummernplatzhalter 1020">
            <a:extLst>
              <a:ext uri="{FF2B5EF4-FFF2-40B4-BE49-F238E27FC236}">
                <a16:creationId xmlns:a16="http://schemas.microsoft.com/office/drawing/2014/main" id="{C1E73499-295A-094A-904C-A662DF5752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587147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Freihandform: Form 324">
            <a:extLst>
              <a:ext uri="{FF2B5EF4-FFF2-40B4-BE49-F238E27FC236}">
                <a16:creationId xmlns:a16="http://schemas.microsoft.com/office/drawing/2014/main" id="{ABAFE742-00EA-E867-33CB-F2C8921E4809}"/>
              </a:ext>
            </a:extLst>
          </p:cNvPr>
          <p:cNvSpPr/>
          <p:nvPr/>
        </p:nvSpPr>
        <p:spPr>
          <a:xfrm>
            <a:off x="652100" y="5141630"/>
            <a:ext cx="10034182" cy="1299758"/>
          </a:xfrm>
          <a:custGeom>
            <a:avLst/>
            <a:gdLst>
              <a:gd name="connsiteX0" fmla="*/ -78 w 1336430"/>
              <a:gd name="connsiteY0" fmla="*/ -74 h 2325437"/>
              <a:gd name="connsiteX1" fmla="*/ 1336353 w 1336430"/>
              <a:gd name="connsiteY1" fmla="*/ -74 h 2325437"/>
              <a:gd name="connsiteX2" fmla="*/ 1336353 w 1336430"/>
              <a:gd name="connsiteY2" fmla="*/ 2325363 h 2325437"/>
              <a:gd name="connsiteX3" fmla="*/ -78 w 1336430"/>
              <a:gd name="connsiteY3" fmla="*/ 2325363 h 2325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36430" h="2325437">
                <a:moveTo>
                  <a:pt x="-78" y="-74"/>
                </a:moveTo>
                <a:lnTo>
                  <a:pt x="1336353" y="-74"/>
                </a:lnTo>
                <a:lnTo>
                  <a:pt x="1336353" y="2325363"/>
                </a:lnTo>
                <a:lnTo>
                  <a:pt x="-78" y="2325363"/>
                </a:lnTo>
                <a:close/>
              </a:path>
            </a:pathLst>
          </a:custGeom>
          <a:solidFill>
            <a:srgbClr val="FF0000">
              <a:alpha val="26531"/>
            </a:srgbClr>
          </a:solidFill>
          <a:ln w="11723" cap="flat">
            <a:noFill/>
            <a:prstDash val="solid"/>
            <a:round/>
          </a:ln>
        </p:spPr>
        <p:txBody>
          <a:bodyPr rtlCol="0" anchor="ctr"/>
          <a:lstStyle/>
          <a:p>
            <a:endParaRPr lang="de-AT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7A2F686-235F-859F-0DF1-E02DBF910C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476" y="319338"/>
            <a:ext cx="11037047" cy="872744"/>
          </a:xfrm>
        </p:spPr>
        <p:txBody>
          <a:bodyPr/>
          <a:lstStyle/>
          <a:p>
            <a:r>
              <a:rPr lang="en-US"/>
              <a:t>Integration of central and local (AT) components (</a:t>
            </a:r>
            <a:r>
              <a:rPr lang="en-US" err="1"/>
              <a:t>MiSOL</a:t>
            </a:r>
            <a:r>
              <a:rPr lang="en-US"/>
              <a:t>)</a:t>
            </a:r>
          </a:p>
        </p:txBody>
      </p:sp>
      <p:grpSp>
        <p:nvGrpSpPr>
          <p:cNvPr id="190" name="Gruppieren 189">
            <a:extLst>
              <a:ext uri="{FF2B5EF4-FFF2-40B4-BE49-F238E27FC236}">
                <a16:creationId xmlns:a16="http://schemas.microsoft.com/office/drawing/2014/main" id="{1768E9A0-14C4-0855-5ED9-3666BE5F0BDD}"/>
              </a:ext>
            </a:extLst>
          </p:cNvPr>
          <p:cNvGrpSpPr/>
          <p:nvPr/>
        </p:nvGrpSpPr>
        <p:grpSpPr>
          <a:xfrm>
            <a:off x="968643" y="2632668"/>
            <a:ext cx="1662635" cy="566245"/>
            <a:chOff x="1076978" y="2522260"/>
            <a:chExt cx="1662635" cy="566245"/>
          </a:xfrm>
        </p:grpSpPr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B3DF6D82-31AF-A7DE-0B48-7CE2FF7CA27B}"/>
                </a:ext>
              </a:extLst>
            </p:cNvPr>
            <p:cNvSpPr/>
            <p:nvPr/>
          </p:nvSpPr>
          <p:spPr>
            <a:xfrm>
              <a:off x="1130104" y="2544551"/>
              <a:ext cx="1336430" cy="468946"/>
            </a:xfrm>
            <a:custGeom>
              <a:avLst/>
              <a:gdLst>
                <a:gd name="connsiteX0" fmla="*/ -78 w 1336430"/>
                <a:gd name="connsiteY0" fmla="*/ -74 h 2325437"/>
                <a:gd name="connsiteX1" fmla="*/ 1336353 w 1336430"/>
                <a:gd name="connsiteY1" fmla="*/ -74 h 2325437"/>
                <a:gd name="connsiteX2" fmla="*/ 1336353 w 1336430"/>
                <a:gd name="connsiteY2" fmla="*/ 2325363 h 2325437"/>
                <a:gd name="connsiteX3" fmla="*/ -78 w 1336430"/>
                <a:gd name="connsiteY3" fmla="*/ 2325363 h 2325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36430" h="2325437">
                  <a:moveTo>
                    <a:pt x="-78" y="-74"/>
                  </a:moveTo>
                  <a:lnTo>
                    <a:pt x="1336353" y="-74"/>
                  </a:lnTo>
                  <a:lnTo>
                    <a:pt x="1336353" y="2325363"/>
                  </a:lnTo>
                  <a:lnTo>
                    <a:pt x="-78" y="2325363"/>
                  </a:lnTo>
                  <a:close/>
                </a:path>
              </a:pathLst>
            </a:custGeom>
            <a:solidFill>
              <a:srgbClr val="239CCE"/>
            </a:solidFill>
            <a:ln w="11723" cap="flat">
              <a:solidFill>
                <a:srgbClr val="00497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AT"/>
            </a:p>
          </p:txBody>
        </p:sp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DEA0B15A-AEAE-CD19-AABF-AD008EC0130F}"/>
                </a:ext>
              </a:extLst>
            </p:cNvPr>
            <p:cNvSpPr txBox="1"/>
            <p:nvPr/>
          </p:nvSpPr>
          <p:spPr>
            <a:xfrm>
              <a:off x="1076978" y="2522260"/>
              <a:ext cx="1662635" cy="566245"/>
            </a:xfrm>
            <a:prstGeom prst="rect">
              <a:avLst/>
            </a:prstGeom>
            <a:solidFill>
              <a:srgbClr val="FFC000"/>
            </a:solidFill>
          </p:spPr>
          <p:txBody>
            <a:bodyPr wrap="none" rtlCol="0">
              <a:spAutoFit/>
            </a:bodyPr>
            <a:lstStyle/>
            <a:p>
              <a:pPr>
                <a:lnSpc>
                  <a:spcPct val="107000"/>
                </a:lnSpc>
              </a:pPr>
              <a:r>
                <a:rPr lang="de-DE" sz="1000"/>
                <a:t>Bot Designer</a:t>
              </a:r>
            </a:p>
            <a:p>
              <a:pPr>
                <a:lnSpc>
                  <a:spcPct val="107000"/>
                </a:lnSpc>
              </a:pPr>
              <a:r>
                <a:rPr lang="de-DE" sz="1000"/>
                <a:t>Bot-Fabrik / </a:t>
              </a:r>
              <a:r>
                <a:rPr lang="de-DE" sz="1000" err="1"/>
                <a:t>DialogFlow</a:t>
              </a:r>
              <a:endParaRPr lang="de-DE" sz="1000"/>
            </a:p>
            <a:p>
              <a:pPr algn="l">
                <a:lnSpc>
                  <a:spcPct val="107000"/>
                </a:lnSpc>
              </a:pPr>
              <a:endParaRPr lang="de-AT" sz="923" spc="0" baseline="0" err="1">
                <a:ln/>
                <a:solidFill>
                  <a:schemeClr val="bg1"/>
                </a:solidFill>
                <a:latin typeface="Open Sans Light"/>
                <a:ea typeface="Open Sans Light"/>
                <a:cs typeface="Open Sans Light"/>
                <a:sym typeface="Open Sans Light"/>
                <a:rtl val="0"/>
              </a:endParaRPr>
            </a:p>
          </p:txBody>
        </p:sp>
      </p:grpSp>
      <p:grpSp>
        <p:nvGrpSpPr>
          <p:cNvPr id="194" name="Gruppieren 193">
            <a:extLst>
              <a:ext uri="{FF2B5EF4-FFF2-40B4-BE49-F238E27FC236}">
                <a16:creationId xmlns:a16="http://schemas.microsoft.com/office/drawing/2014/main" id="{BBE24580-529C-D5CA-CF37-1102AA4A4B63}"/>
              </a:ext>
            </a:extLst>
          </p:cNvPr>
          <p:cNvGrpSpPr/>
          <p:nvPr/>
        </p:nvGrpSpPr>
        <p:grpSpPr>
          <a:xfrm>
            <a:off x="7614222" y="5462797"/>
            <a:ext cx="1389556" cy="729755"/>
            <a:chOff x="1076978" y="2522260"/>
            <a:chExt cx="1389556" cy="491237"/>
          </a:xfrm>
        </p:grpSpPr>
        <p:sp>
          <p:nvSpPr>
            <p:cNvPr id="195" name="Freihandform: Form 194">
              <a:extLst>
                <a:ext uri="{FF2B5EF4-FFF2-40B4-BE49-F238E27FC236}">
                  <a16:creationId xmlns:a16="http://schemas.microsoft.com/office/drawing/2014/main" id="{B8245B23-6734-1FC2-161C-808844EAD3CE}"/>
                </a:ext>
              </a:extLst>
            </p:cNvPr>
            <p:cNvSpPr/>
            <p:nvPr/>
          </p:nvSpPr>
          <p:spPr>
            <a:xfrm>
              <a:off x="1130104" y="2544551"/>
              <a:ext cx="1336430" cy="468946"/>
            </a:xfrm>
            <a:custGeom>
              <a:avLst/>
              <a:gdLst>
                <a:gd name="connsiteX0" fmla="*/ -78 w 1336430"/>
                <a:gd name="connsiteY0" fmla="*/ -74 h 2325437"/>
                <a:gd name="connsiteX1" fmla="*/ 1336353 w 1336430"/>
                <a:gd name="connsiteY1" fmla="*/ -74 h 2325437"/>
                <a:gd name="connsiteX2" fmla="*/ 1336353 w 1336430"/>
                <a:gd name="connsiteY2" fmla="*/ 2325363 h 2325437"/>
                <a:gd name="connsiteX3" fmla="*/ -78 w 1336430"/>
                <a:gd name="connsiteY3" fmla="*/ 2325363 h 2325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36430" h="2325437">
                  <a:moveTo>
                    <a:pt x="-78" y="-74"/>
                  </a:moveTo>
                  <a:lnTo>
                    <a:pt x="1336353" y="-74"/>
                  </a:lnTo>
                  <a:lnTo>
                    <a:pt x="1336353" y="2325363"/>
                  </a:lnTo>
                  <a:lnTo>
                    <a:pt x="-78" y="2325363"/>
                  </a:lnTo>
                  <a:close/>
                </a:path>
              </a:pathLst>
            </a:custGeom>
            <a:solidFill>
              <a:srgbClr val="FF0000"/>
            </a:solidFill>
            <a:ln w="11723" cap="flat">
              <a:solidFill>
                <a:srgbClr val="00497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AT"/>
            </a:p>
          </p:txBody>
        </p:sp>
        <p:sp>
          <p:nvSpPr>
            <p:cNvPr id="196" name="Textfeld 195">
              <a:extLst>
                <a:ext uri="{FF2B5EF4-FFF2-40B4-BE49-F238E27FC236}">
                  <a16:creationId xmlns:a16="http://schemas.microsoft.com/office/drawing/2014/main" id="{C48DD7BD-92C6-5AB4-C2B6-902A1816E771}"/>
                </a:ext>
              </a:extLst>
            </p:cNvPr>
            <p:cNvSpPr txBox="1"/>
            <p:nvPr/>
          </p:nvSpPr>
          <p:spPr>
            <a:xfrm>
              <a:off x="1076978" y="2522260"/>
              <a:ext cx="1034257" cy="27878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07000"/>
                </a:lnSpc>
              </a:pPr>
              <a:r>
                <a:rPr lang="de-DE" sz="1000">
                  <a:solidFill>
                    <a:schemeClr val="bg1"/>
                  </a:solidFill>
                </a:rPr>
                <a:t>Vector </a:t>
              </a:r>
              <a:r>
                <a:rPr lang="de-DE" sz="1000" err="1">
                  <a:solidFill>
                    <a:schemeClr val="bg1"/>
                  </a:solidFill>
                </a:rPr>
                <a:t>database</a:t>
              </a:r>
              <a:endParaRPr lang="de-DE" sz="1000">
                <a:solidFill>
                  <a:schemeClr val="bg1"/>
                </a:solidFill>
              </a:endParaRPr>
            </a:p>
            <a:p>
              <a:pPr>
                <a:lnSpc>
                  <a:spcPct val="107000"/>
                </a:lnSpc>
              </a:pPr>
              <a:endParaRPr lang="de-AT" sz="923" spc="0" baseline="0">
                <a:ln/>
                <a:solidFill>
                  <a:schemeClr val="bg1"/>
                </a:solidFill>
                <a:latin typeface="Open Sans Light"/>
                <a:ea typeface="Open Sans Light"/>
                <a:cs typeface="Open Sans Light"/>
                <a:sym typeface="Open Sans Light"/>
                <a:rtl val="0"/>
              </a:endParaRPr>
            </a:p>
          </p:txBody>
        </p:sp>
      </p:grpSp>
      <p:cxnSp>
        <p:nvCxnSpPr>
          <p:cNvPr id="208" name="Gerade Verbindung mit Pfeil 207">
            <a:extLst>
              <a:ext uri="{FF2B5EF4-FFF2-40B4-BE49-F238E27FC236}">
                <a16:creationId xmlns:a16="http://schemas.microsoft.com/office/drawing/2014/main" id="{53356694-38D9-57A4-27EF-CD874CF78FC2}"/>
              </a:ext>
            </a:extLst>
          </p:cNvPr>
          <p:cNvCxnSpPr>
            <a:cxnSpLocks/>
          </p:cNvCxnSpPr>
          <p:nvPr/>
        </p:nvCxnSpPr>
        <p:spPr>
          <a:xfrm>
            <a:off x="5414148" y="1959405"/>
            <a:ext cx="0" cy="538816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1" name="Gerade Verbindung mit Pfeil 210">
            <a:extLst>
              <a:ext uri="{FF2B5EF4-FFF2-40B4-BE49-F238E27FC236}">
                <a16:creationId xmlns:a16="http://schemas.microsoft.com/office/drawing/2014/main" id="{23FBFAF6-7A75-E20E-621A-5FABB56F4D51}"/>
              </a:ext>
            </a:extLst>
          </p:cNvPr>
          <p:cNvCxnSpPr>
            <a:cxnSpLocks/>
          </p:cNvCxnSpPr>
          <p:nvPr/>
        </p:nvCxnSpPr>
        <p:spPr>
          <a:xfrm>
            <a:off x="7217664" y="1903260"/>
            <a:ext cx="0" cy="360233"/>
          </a:xfrm>
          <a:prstGeom prst="straightConnector1">
            <a:avLst/>
          </a:prstGeom>
          <a:ln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Gerade Verbindung mit Pfeil 221">
            <a:extLst>
              <a:ext uri="{FF2B5EF4-FFF2-40B4-BE49-F238E27FC236}">
                <a16:creationId xmlns:a16="http://schemas.microsoft.com/office/drawing/2014/main" id="{C75A1AC0-AECD-33E6-98B1-C61BA8EE2E7D}"/>
              </a:ext>
            </a:extLst>
          </p:cNvPr>
          <p:cNvCxnSpPr>
            <a:cxnSpLocks/>
          </p:cNvCxnSpPr>
          <p:nvPr/>
        </p:nvCxnSpPr>
        <p:spPr>
          <a:xfrm>
            <a:off x="9636772" y="1902313"/>
            <a:ext cx="0" cy="370056"/>
          </a:xfrm>
          <a:prstGeom prst="straightConnector1">
            <a:avLst/>
          </a:prstGeom>
          <a:ln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7" name="Gerade Verbindung mit Pfeil 246">
            <a:extLst>
              <a:ext uri="{FF2B5EF4-FFF2-40B4-BE49-F238E27FC236}">
                <a16:creationId xmlns:a16="http://schemas.microsoft.com/office/drawing/2014/main" id="{3645D171-36D5-114F-FE7E-A76EE430A291}"/>
              </a:ext>
            </a:extLst>
          </p:cNvPr>
          <p:cNvCxnSpPr>
            <a:cxnSpLocks/>
          </p:cNvCxnSpPr>
          <p:nvPr/>
        </p:nvCxnSpPr>
        <p:spPr>
          <a:xfrm>
            <a:off x="4073798" y="3287681"/>
            <a:ext cx="0" cy="796062"/>
          </a:xfrm>
          <a:prstGeom prst="straightConnector1">
            <a:avLst/>
          </a:prstGeom>
          <a:ln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9" name="Gruppieren 298">
            <a:extLst>
              <a:ext uri="{FF2B5EF4-FFF2-40B4-BE49-F238E27FC236}">
                <a16:creationId xmlns:a16="http://schemas.microsoft.com/office/drawing/2014/main" id="{9CAD595C-9974-8258-54C3-AF46C63F6A29}"/>
              </a:ext>
            </a:extLst>
          </p:cNvPr>
          <p:cNvGrpSpPr/>
          <p:nvPr/>
        </p:nvGrpSpPr>
        <p:grpSpPr>
          <a:xfrm>
            <a:off x="10729800" y="4191001"/>
            <a:ext cx="1037293" cy="208134"/>
            <a:chOff x="10688405" y="5098840"/>
            <a:chExt cx="1037293" cy="208134"/>
          </a:xfrm>
        </p:grpSpPr>
        <p:sp>
          <p:nvSpPr>
            <p:cNvPr id="151" name="Textfeld 150">
              <a:extLst>
                <a:ext uri="{FF2B5EF4-FFF2-40B4-BE49-F238E27FC236}">
                  <a16:creationId xmlns:a16="http://schemas.microsoft.com/office/drawing/2014/main" id="{4EF00366-5375-27FC-BD05-89650B811EC5}"/>
                </a:ext>
              </a:extLst>
            </p:cNvPr>
            <p:cNvSpPr txBox="1"/>
            <p:nvPr/>
          </p:nvSpPr>
          <p:spPr>
            <a:xfrm>
              <a:off x="11077764" y="5098840"/>
              <a:ext cx="647934" cy="20813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>
                <a:lnSpc>
                  <a:spcPct val="107000"/>
                </a:lnSpc>
              </a:pPr>
              <a:r>
                <a:rPr lang="de-AT" sz="739" spc="0" baseline="0">
                  <a:ln/>
                  <a:solidFill>
                    <a:srgbClr val="57565A"/>
                  </a:solidFill>
                  <a:latin typeface="Open Sans Light"/>
                  <a:ea typeface="Open Sans Light"/>
                  <a:cs typeface="Open Sans Light"/>
                  <a:sym typeface="Open Sans Light"/>
                  <a:rtl val="0"/>
                </a:rPr>
                <a:t>Dialog </a:t>
              </a:r>
              <a:r>
                <a:rPr lang="de-AT" sz="739" spc="0" baseline="0" err="1">
                  <a:ln/>
                  <a:solidFill>
                    <a:srgbClr val="57565A"/>
                  </a:solidFill>
                  <a:latin typeface="Open Sans Light"/>
                  <a:ea typeface="Open Sans Light"/>
                  <a:cs typeface="Open Sans Light"/>
                  <a:sym typeface="Open Sans Light"/>
                  <a:rtl val="0"/>
                </a:rPr>
                <a:t>flow</a:t>
              </a:r>
              <a:endParaRPr lang="de-AT" sz="739" spc="0" baseline="0">
                <a:ln/>
                <a:solidFill>
                  <a:srgbClr val="57565A"/>
                </a:solidFill>
                <a:latin typeface="Open Sans Light"/>
                <a:ea typeface="Open Sans Light"/>
                <a:cs typeface="Open Sans Light"/>
                <a:sym typeface="Open Sans Light"/>
                <a:rtl val="0"/>
              </a:endParaRPr>
            </a:p>
          </p:txBody>
        </p:sp>
        <p:cxnSp>
          <p:nvCxnSpPr>
            <p:cNvPr id="358" name="Gerade Verbindung mit Pfeil 357">
              <a:extLst>
                <a:ext uri="{FF2B5EF4-FFF2-40B4-BE49-F238E27FC236}">
                  <a16:creationId xmlns:a16="http://schemas.microsoft.com/office/drawing/2014/main" id="{7037C07D-4AD0-D9EF-DA68-32E667BED0AB}"/>
                </a:ext>
              </a:extLst>
            </p:cNvPr>
            <p:cNvCxnSpPr>
              <a:cxnSpLocks/>
            </p:cNvCxnSpPr>
            <p:nvPr/>
          </p:nvCxnSpPr>
          <p:spPr>
            <a:xfrm>
              <a:off x="10688405" y="5187976"/>
              <a:ext cx="328884" cy="6850"/>
            </a:xfrm>
            <a:prstGeom prst="straightConnector1">
              <a:avLst/>
            </a:prstGeom>
            <a:ln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0" name="Gruppieren 299">
            <a:extLst>
              <a:ext uri="{FF2B5EF4-FFF2-40B4-BE49-F238E27FC236}">
                <a16:creationId xmlns:a16="http://schemas.microsoft.com/office/drawing/2014/main" id="{ABC6C508-D9E8-F369-1287-A52AF74FF30A}"/>
              </a:ext>
            </a:extLst>
          </p:cNvPr>
          <p:cNvGrpSpPr/>
          <p:nvPr/>
        </p:nvGrpSpPr>
        <p:grpSpPr>
          <a:xfrm>
            <a:off x="10750005" y="4379022"/>
            <a:ext cx="858899" cy="208134"/>
            <a:chOff x="10708610" y="5286861"/>
            <a:chExt cx="858899" cy="208134"/>
          </a:xfrm>
        </p:grpSpPr>
        <p:sp>
          <p:nvSpPr>
            <p:cNvPr id="153" name="Textfeld 152">
              <a:extLst>
                <a:ext uri="{FF2B5EF4-FFF2-40B4-BE49-F238E27FC236}">
                  <a16:creationId xmlns:a16="http://schemas.microsoft.com/office/drawing/2014/main" id="{5061AD7E-13F6-7AE7-EE40-B5090DC18207}"/>
                </a:ext>
              </a:extLst>
            </p:cNvPr>
            <p:cNvSpPr txBox="1"/>
            <p:nvPr/>
          </p:nvSpPr>
          <p:spPr>
            <a:xfrm>
              <a:off x="11086287" y="5286861"/>
              <a:ext cx="481222" cy="20813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>
                <a:lnSpc>
                  <a:spcPct val="107000"/>
                </a:lnSpc>
              </a:pPr>
              <a:r>
                <a:rPr lang="de-AT" sz="739" spc="0" baseline="0">
                  <a:ln/>
                  <a:solidFill>
                    <a:srgbClr val="57565A"/>
                  </a:solidFill>
                  <a:latin typeface="Open Sans Light"/>
                  <a:ea typeface="Open Sans Light"/>
                  <a:cs typeface="Open Sans Light"/>
                  <a:sym typeface="Open Sans Light"/>
                  <a:rtl val="0"/>
                </a:rPr>
                <a:t>API </a:t>
              </a:r>
              <a:r>
                <a:rPr lang="de-AT" sz="739" spc="0" baseline="0" err="1">
                  <a:ln/>
                  <a:solidFill>
                    <a:srgbClr val="57565A"/>
                  </a:solidFill>
                  <a:latin typeface="Open Sans Light"/>
                  <a:ea typeface="Open Sans Light"/>
                  <a:cs typeface="Open Sans Light"/>
                  <a:sym typeface="Open Sans Light"/>
                  <a:rtl val="0"/>
                </a:rPr>
                <a:t>call</a:t>
              </a:r>
              <a:endParaRPr lang="de-AT" sz="739" spc="0" baseline="0">
                <a:ln/>
                <a:solidFill>
                  <a:srgbClr val="57565A"/>
                </a:solidFill>
                <a:latin typeface="Open Sans Light"/>
                <a:ea typeface="Open Sans Light"/>
                <a:cs typeface="Open Sans Light"/>
                <a:sym typeface="Open Sans Light"/>
                <a:rtl val="0"/>
              </a:endParaRPr>
            </a:p>
          </p:txBody>
        </p:sp>
        <p:cxnSp>
          <p:nvCxnSpPr>
            <p:cNvPr id="360" name="Gerade Verbindung mit Pfeil 359">
              <a:extLst>
                <a:ext uri="{FF2B5EF4-FFF2-40B4-BE49-F238E27FC236}">
                  <a16:creationId xmlns:a16="http://schemas.microsoft.com/office/drawing/2014/main" id="{DFAADFAF-DB9C-54BE-EE23-C467736F797A}"/>
                </a:ext>
              </a:extLst>
            </p:cNvPr>
            <p:cNvCxnSpPr>
              <a:cxnSpLocks/>
            </p:cNvCxnSpPr>
            <p:nvPr/>
          </p:nvCxnSpPr>
          <p:spPr>
            <a:xfrm>
              <a:off x="10708610" y="5405148"/>
              <a:ext cx="288473" cy="0"/>
            </a:xfrm>
            <a:prstGeom prst="straightConnector1">
              <a:avLst/>
            </a:prstGeom>
            <a:ln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1" name="Gruppieren 300">
            <a:extLst>
              <a:ext uri="{FF2B5EF4-FFF2-40B4-BE49-F238E27FC236}">
                <a16:creationId xmlns:a16="http://schemas.microsoft.com/office/drawing/2014/main" id="{B9E65B74-EC4C-82F3-801A-0195B7065036}"/>
              </a:ext>
            </a:extLst>
          </p:cNvPr>
          <p:cNvGrpSpPr/>
          <p:nvPr/>
        </p:nvGrpSpPr>
        <p:grpSpPr>
          <a:xfrm>
            <a:off x="10753900" y="4657493"/>
            <a:ext cx="1356008" cy="208134"/>
            <a:chOff x="10712505" y="5565332"/>
            <a:chExt cx="1356008" cy="208134"/>
          </a:xfrm>
        </p:grpSpPr>
        <p:sp>
          <p:nvSpPr>
            <p:cNvPr id="159" name="Textfeld 158">
              <a:extLst>
                <a:ext uri="{FF2B5EF4-FFF2-40B4-BE49-F238E27FC236}">
                  <a16:creationId xmlns:a16="http://schemas.microsoft.com/office/drawing/2014/main" id="{2F445AFA-6347-F70F-FBA1-4D939FE868E9}"/>
                </a:ext>
              </a:extLst>
            </p:cNvPr>
            <p:cNvSpPr txBox="1"/>
            <p:nvPr/>
          </p:nvSpPr>
          <p:spPr>
            <a:xfrm>
              <a:off x="11087154" y="5565332"/>
              <a:ext cx="981359" cy="20813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>
                <a:lnSpc>
                  <a:spcPct val="107000"/>
                </a:lnSpc>
              </a:pPr>
              <a:r>
                <a:rPr lang="de-AT" sz="739" spc="0" baseline="0">
                  <a:ln/>
                  <a:solidFill>
                    <a:srgbClr val="57565A"/>
                  </a:solidFill>
                  <a:latin typeface="Open Sans Light"/>
                  <a:ea typeface="Open Sans Light"/>
                  <a:cs typeface="Open Sans Light"/>
                  <a:sym typeface="Open Sans Light"/>
                  <a:rtl val="0"/>
                </a:rPr>
                <a:t>Model </a:t>
              </a:r>
              <a:r>
                <a:rPr lang="de-AT" sz="739" spc="0" baseline="0" err="1">
                  <a:ln/>
                  <a:solidFill>
                    <a:srgbClr val="57565A"/>
                  </a:solidFill>
                  <a:latin typeface="Open Sans Light"/>
                  <a:ea typeface="Open Sans Light"/>
                  <a:cs typeface="Open Sans Light"/>
                  <a:sym typeface="Open Sans Light"/>
                  <a:rtl val="0"/>
                </a:rPr>
                <a:t>deployment</a:t>
              </a:r>
              <a:endParaRPr lang="de-AT" sz="739" spc="0" baseline="0">
                <a:ln/>
                <a:solidFill>
                  <a:srgbClr val="57565A"/>
                </a:solidFill>
                <a:latin typeface="Open Sans Light"/>
                <a:ea typeface="Open Sans Light"/>
                <a:cs typeface="Open Sans Light"/>
                <a:sym typeface="Open Sans Light"/>
                <a:rtl val="0"/>
              </a:endParaRPr>
            </a:p>
          </p:txBody>
        </p:sp>
        <p:cxnSp>
          <p:nvCxnSpPr>
            <p:cNvPr id="362" name="Gerade Verbindung mit Pfeil 361">
              <a:extLst>
                <a:ext uri="{FF2B5EF4-FFF2-40B4-BE49-F238E27FC236}">
                  <a16:creationId xmlns:a16="http://schemas.microsoft.com/office/drawing/2014/main" id="{7BD9342C-F238-8736-2AC0-AED90C145A8F}"/>
                </a:ext>
              </a:extLst>
            </p:cNvPr>
            <p:cNvCxnSpPr>
              <a:cxnSpLocks/>
            </p:cNvCxnSpPr>
            <p:nvPr/>
          </p:nvCxnSpPr>
          <p:spPr>
            <a:xfrm>
              <a:off x="10712505" y="5642894"/>
              <a:ext cx="284578" cy="0"/>
            </a:xfrm>
            <a:prstGeom prst="straightConnector1">
              <a:avLst/>
            </a:prstGeom>
            <a:ln>
              <a:solidFill>
                <a:srgbClr val="FFC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6" name="Textfeld 375">
            <a:extLst>
              <a:ext uri="{FF2B5EF4-FFF2-40B4-BE49-F238E27FC236}">
                <a16:creationId xmlns:a16="http://schemas.microsoft.com/office/drawing/2014/main" id="{207C24DB-892B-BD7D-4E88-27C16983D528}"/>
              </a:ext>
            </a:extLst>
          </p:cNvPr>
          <p:cNvSpPr txBox="1"/>
          <p:nvPr/>
        </p:nvSpPr>
        <p:spPr>
          <a:xfrm>
            <a:off x="10611134" y="3802121"/>
            <a:ext cx="745204" cy="3390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07000"/>
              </a:lnSpc>
            </a:pPr>
            <a:r>
              <a:rPr lang="de-DE" sz="1600" err="1"/>
              <a:t>Flows</a:t>
            </a:r>
            <a:endParaRPr lang="de-AT" sz="1600" err="1"/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CE66A3A6-BBC7-3347-6C01-4003C50C9D9D}"/>
              </a:ext>
            </a:extLst>
          </p:cNvPr>
          <p:cNvCxnSpPr>
            <a:cxnSpLocks/>
          </p:cNvCxnSpPr>
          <p:nvPr/>
        </p:nvCxnSpPr>
        <p:spPr>
          <a:xfrm>
            <a:off x="5752501" y="3287681"/>
            <a:ext cx="0" cy="303261"/>
          </a:xfrm>
          <a:prstGeom prst="straightConnector1">
            <a:avLst/>
          </a:prstGeom>
          <a:ln>
            <a:solidFill>
              <a:schemeClr val="accent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3" name="Verbinder: gewinkelt 292">
            <a:extLst>
              <a:ext uri="{FF2B5EF4-FFF2-40B4-BE49-F238E27FC236}">
                <a16:creationId xmlns:a16="http://schemas.microsoft.com/office/drawing/2014/main" id="{1D24E320-0F79-8292-272B-B12E06ABA9D0}"/>
              </a:ext>
            </a:extLst>
          </p:cNvPr>
          <p:cNvCxnSpPr>
            <a:cxnSpLocks/>
          </p:cNvCxnSpPr>
          <p:nvPr/>
        </p:nvCxnSpPr>
        <p:spPr>
          <a:xfrm>
            <a:off x="1854244" y="3417538"/>
            <a:ext cx="4794197" cy="6478"/>
          </a:xfrm>
          <a:prstGeom prst="bentConnector3">
            <a:avLst>
              <a:gd name="adj1" fmla="val 50000"/>
            </a:avLst>
          </a:prstGeom>
          <a:ln>
            <a:solidFill>
              <a:srgbClr val="FFC000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5" name="Gerade Verbindung mit Pfeil 344">
            <a:extLst>
              <a:ext uri="{FF2B5EF4-FFF2-40B4-BE49-F238E27FC236}">
                <a16:creationId xmlns:a16="http://schemas.microsoft.com/office/drawing/2014/main" id="{ED30DEEC-8DCC-DD0F-2767-43CB7305C14B}"/>
              </a:ext>
            </a:extLst>
          </p:cNvPr>
          <p:cNvCxnSpPr/>
          <p:nvPr/>
        </p:nvCxnSpPr>
        <p:spPr>
          <a:xfrm flipV="1">
            <a:off x="1854244" y="3189318"/>
            <a:ext cx="0" cy="228220"/>
          </a:xfrm>
          <a:prstGeom prst="straightConnector1">
            <a:avLst/>
          </a:prstGeom>
          <a:ln>
            <a:solidFill>
              <a:srgbClr val="FFC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50" name="Gruppieren 349">
            <a:extLst>
              <a:ext uri="{FF2B5EF4-FFF2-40B4-BE49-F238E27FC236}">
                <a16:creationId xmlns:a16="http://schemas.microsoft.com/office/drawing/2014/main" id="{32F98A31-FC5D-730D-2BB1-AA566B6671E9}"/>
              </a:ext>
            </a:extLst>
          </p:cNvPr>
          <p:cNvGrpSpPr/>
          <p:nvPr/>
        </p:nvGrpSpPr>
        <p:grpSpPr>
          <a:xfrm>
            <a:off x="3120763" y="2502808"/>
            <a:ext cx="5007817" cy="775269"/>
            <a:chOff x="2585198" y="2477147"/>
            <a:chExt cx="4636053" cy="775269"/>
          </a:xfrm>
          <a:solidFill>
            <a:schemeClr val="accent6">
              <a:lumMod val="40000"/>
              <a:lumOff val="60000"/>
            </a:schemeClr>
          </a:solidFill>
        </p:grpSpPr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40BD78B8-95E9-4AC0-4C09-BB6040DA9A13}"/>
                </a:ext>
              </a:extLst>
            </p:cNvPr>
            <p:cNvSpPr/>
            <p:nvPr/>
          </p:nvSpPr>
          <p:spPr>
            <a:xfrm>
              <a:off x="2585198" y="2477147"/>
              <a:ext cx="4636053" cy="775269"/>
            </a:xfrm>
            <a:custGeom>
              <a:avLst/>
              <a:gdLst>
                <a:gd name="connsiteX0" fmla="*/ -78 w 8270630"/>
                <a:gd name="connsiteY0" fmla="*/ -74 h 468601"/>
                <a:gd name="connsiteX1" fmla="*/ 8270553 w 8270630"/>
                <a:gd name="connsiteY1" fmla="*/ -74 h 468601"/>
                <a:gd name="connsiteX2" fmla="*/ 8270553 w 8270630"/>
                <a:gd name="connsiteY2" fmla="*/ 468528 h 468601"/>
                <a:gd name="connsiteX3" fmla="*/ -78 w 8270630"/>
                <a:gd name="connsiteY3" fmla="*/ 468528 h 468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70630" h="468601">
                  <a:moveTo>
                    <a:pt x="-78" y="-74"/>
                  </a:moveTo>
                  <a:lnTo>
                    <a:pt x="8270553" y="-74"/>
                  </a:lnTo>
                  <a:lnTo>
                    <a:pt x="8270553" y="468528"/>
                  </a:lnTo>
                  <a:lnTo>
                    <a:pt x="-78" y="468528"/>
                  </a:lnTo>
                  <a:close/>
                </a:path>
              </a:pathLst>
            </a:custGeom>
            <a:grpFill/>
            <a:ln w="11723" cap="flat">
              <a:solidFill>
                <a:srgbClr val="00497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AT"/>
            </a:p>
          </p:txBody>
        </p:sp>
        <p:sp>
          <p:nvSpPr>
            <p:cNvPr id="27" name="Textfeld 26">
              <a:extLst>
                <a:ext uri="{FF2B5EF4-FFF2-40B4-BE49-F238E27FC236}">
                  <a16:creationId xmlns:a16="http://schemas.microsoft.com/office/drawing/2014/main" id="{E9465B17-25A9-0081-6768-4FB8827C4083}"/>
                </a:ext>
              </a:extLst>
            </p:cNvPr>
            <p:cNvSpPr txBox="1"/>
            <p:nvPr/>
          </p:nvSpPr>
          <p:spPr>
            <a:xfrm>
              <a:off x="3488229" y="2706459"/>
              <a:ext cx="3070696" cy="264624"/>
            </a:xfrm>
            <a:prstGeom prst="rect">
              <a:avLst/>
            </a:prstGeom>
            <a:grpFill/>
          </p:spPr>
          <p:txBody>
            <a:bodyPr wrap="none" lIns="91440" tIns="45720" rIns="91440" bIns="45720" rtlCol="0" anchor="t">
              <a:spAutoFit/>
            </a:bodyPr>
            <a:lstStyle/>
            <a:p>
              <a:pPr>
                <a:lnSpc>
                  <a:spcPct val="107000"/>
                </a:lnSpc>
              </a:pPr>
              <a:r>
                <a:rPr lang="de-AT" sz="1100" b="1">
                  <a:ln/>
                  <a:solidFill>
                    <a:schemeClr val="bg1"/>
                  </a:solidFill>
                  <a:latin typeface="Open Sans Light"/>
                  <a:ea typeface="Open Sans Light"/>
                  <a:cs typeface="Open Sans Light"/>
                  <a:sym typeface="Open Sans Light"/>
                </a:rPr>
                <a:t>Bot</a:t>
              </a:r>
              <a:r>
                <a:rPr lang="de-AT" sz="1100" b="1" spc="0" baseline="0">
                  <a:ln/>
                  <a:solidFill>
                    <a:schemeClr val="bg1"/>
                  </a:solidFill>
                  <a:latin typeface="Open Sans Light"/>
                  <a:ea typeface="Open Sans Light"/>
                  <a:cs typeface="Open Sans Light"/>
                  <a:sym typeface="Open Sans Light"/>
                </a:rPr>
                <a:t> </a:t>
              </a:r>
              <a:r>
                <a:rPr lang="de-AT" sz="1100" b="1">
                  <a:ln/>
                  <a:solidFill>
                    <a:schemeClr val="bg1"/>
                  </a:solidFill>
                  <a:latin typeface="Open Sans Light"/>
                  <a:ea typeface="Open Sans Light"/>
                  <a:cs typeface="Open Sans Light"/>
                  <a:sym typeface="Open Sans Light"/>
                </a:rPr>
                <a:t>Orchestration</a:t>
              </a:r>
              <a:r>
                <a:rPr lang="de-AT" sz="1100" b="1" spc="0" baseline="0">
                  <a:ln/>
                  <a:solidFill>
                    <a:schemeClr val="bg1"/>
                  </a:solidFill>
                  <a:latin typeface="Open Sans Light"/>
                  <a:ea typeface="Open Sans Light"/>
                  <a:cs typeface="Open Sans Light"/>
                  <a:sym typeface="Open Sans Light"/>
                </a:rPr>
                <a:t> </a:t>
              </a:r>
              <a:r>
                <a:rPr lang="de-AT" sz="1100" b="1">
                  <a:ln/>
                  <a:solidFill>
                    <a:schemeClr val="bg1"/>
                  </a:solidFill>
                  <a:latin typeface="Open Sans Light"/>
                  <a:ea typeface="Open Sans Light"/>
                  <a:cs typeface="Open Sans Light"/>
                  <a:sym typeface="Open Sans Light"/>
                </a:rPr>
                <a:t>Layer and Middleware </a:t>
              </a:r>
              <a:r>
                <a:rPr lang="de-AT" sz="1100" b="1" spc="0" baseline="0">
                  <a:ln/>
                  <a:solidFill>
                    <a:schemeClr val="bg1"/>
                  </a:solidFill>
                  <a:latin typeface="Open Sans Light"/>
                  <a:ea typeface="Open Sans Light"/>
                  <a:cs typeface="Open Sans Light"/>
                  <a:sym typeface="Open Sans Light"/>
                </a:rPr>
                <a:t> (</a:t>
              </a:r>
              <a:r>
                <a:rPr lang="de-AT" sz="1100" b="1" spc="0" baseline="0" err="1">
                  <a:ln/>
                  <a:solidFill>
                    <a:schemeClr val="bg1"/>
                  </a:solidFill>
                  <a:latin typeface="Open Sans Light"/>
                  <a:ea typeface="Open Sans Light"/>
                  <a:cs typeface="Open Sans Light"/>
                  <a:sym typeface="Open Sans Light"/>
                </a:rPr>
                <a:t>MiSOL</a:t>
              </a:r>
              <a:r>
                <a:rPr lang="de-AT" sz="1100" b="1" spc="0" baseline="0">
                  <a:ln/>
                  <a:solidFill>
                    <a:schemeClr val="bg1"/>
                  </a:solidFill>
                  <a:latin typeface="Open Sans Light"/>
                  <a:ea typeface="Open Sans Light"/>
                  <a:cs typeface="Open Sans Light"/>
                  <a:sym typeface="Open Sans Light"/>
                </a:rPr>
                <a:t>)</a:t>
              </a:r>
              <a:endParaRPr lang="de-AT" sz="1100" b="1" spc="0" baseline="0">
                <a:ln/>
                <a:solidFill>
                  <a:schemeClr val="bg1"/>
                </a:solidFill>
                <a:latin typeface="Open Sans Light"/>
                <a:ea typeface="Open Sans Light"/>
                <a:cs typeface="Open Sans Light"/>
              </a:endParaRPr>
            </a:p>
          </p:txBody>
        </p:sp>
      </p:grpSp>
      <p:cxnSp>
        <p:nvCxnSpPr>
          <p:cNvPr id="138" name="Gerader Verbinder 137">
            <a:extLst>
              <a:ext uri="{FF2B5EF4-FFF2-40B4-BE49-F238E27FC236}">
                <a16:creationId xmlns:a16="http://schemas.microsoft.com/office/drawing/2014/main" id="{082F5704-4C93-29E3-4850-6FDFB766F1C2}"/>
              </a:ext>
            </a:extLst>
          </p:cNvPr>
          <p:cNvCxnSpPr>
            <a:cxnSpLocks/>
          </p:cNvCxnSpPr>
          <p:nvPr/>
        </p:nvCxnSpPr>
        <p:spPr>
          <a:xfrm>
            <a:off x="5590593" y="2263493"/>
            <a:ext cx="4046179" cy="861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2" name="Gerade Verbindung mit Pfeil 351">
            <a:extLst>
              <a:ext uri="{FF2B5EF4-FFF2-40B4-BE49-F238E27FC236}">
                <a16:creationId xmlns:a16="http://schemas.microsoft.com/office/drawing/2014/main" id="{BA06A220-C713-1095-6A00-E08120F22056}"/>
              </a:ext>
            </a:extLst>
          </p:cNvPr>
          <p:cNvCxnSpPr>
            <a:cxnSpLocks/>
          </p:cNvCxnSpPr>
          <p:nvPr/>
        </p:nvCxnSpPr>
        <p:spPr>
          <a:xfrm>
            <a:off x="5590593" y="2263493"/>
            <a:ext cx="0" cy="23931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11E58136-8E2B-F8BA-4BD4-1F4CDFBE56AD}"/>
              </a:ext>
            </a:extLst>
          </p:cNvPr>
          <p:cNvGrpSpPr/>
          <p:nvPr/>
        </p:nvGrpSpPr>
        <p:grpSpPr>
          <a:xfrm>
            <a:off x="3106415" y="4049192"/>
            <a:ext cx="1814400" cy="849600"/>
            <a:chOff x="2412553" y="4042216"/>
            <a:chExt cx="1814400" cy="849600"/>
          </a:xfrm>
        </p:grpSpPr>
        <p:grpSp>
          <p:nvGrpSpPr>
            <p:cNvPr id="262" name="Gruppieren 261">
              <a:extLst>
                <a:ext uri="{FF2B5EF4-FFF2-40B4-BE49-F238E27FC236}">
                  <a16:creationId xmlns:a16="http://schemas.microsoft.com/office/drawing/2014/main" id="{36FF9179-0B7D-F416-755A-BBA1BE250E6A}"/>
                </a:ext>
              </a:extLst>
            </p:cNvPr>
            <p:cNvGrpSpPr/>
            <p:nvPr/>
          </p:nvGrpSpPr>
          <p:grpSpPr>
            <a:xfrm>
              <a:off x="2412553" y="4042216"/>
              <a:ext cx="1814400" cy="849600"/>
              <a:chOff x="2571714" y="4099386"/>
              <a:chExt cx="1814400" cy="849600"/>
            </a:xfrm>
          </p:grpSpPr>
          <p:grpSp>
            <p:nvGrpSpPr>
              <p:cNvPr id="197" name="Gruppieren 196">
                <a:extLst>
                  <a:ext uri="{FF2B5EF4-FFF2-40B4-BE49-F238E27FC236}">
                    <a16:creationId xmlns:a16="http://schemas.microsoft.com/office/drawing/2014/main" id="{B5C68E54-BEAC-1CD2-61A0-8A2E9BBB0A6A}"/>
                  </a:ext>
                </a:extLst>
              </p:cNvPr>
              <p:cNvGrpSpPr/>
              <p:nvPr/>
            </p:nvGrpSpPr>
            <p:grpSpPr>
              <a:xfrm>
                <a:off x="2571714" y="4099386"/>
                <a:ext cx="1814400" cy="849600"/>
                <a:chOff x="1076978" y="2522260"/>
                <a:chExt cx="1389556" cy="491237"/>
              </a:xfrm>
            </p:grpSpPr>
            <p:sp>
              <p:nvSpPr>
                <p:cNvPr id="198" name="Freihandform: Form 197">
                  <a:extLst>
                    <a:ext uri="{FF2B5EF4-FFF2-40B4-BE49-F238E27FC236}">
                      <a16:creationId xmlns:a16="http://schemas.microsoft.com/office/drawing/2014/main" id="{A2CC2FB5-B338-3397-7F4C-2009E0E81565}"/>
                    </a:ext>
                  </a:extLst>
                </p:cNvPr>
                <p:cNvSpPr/>
                <p:nvPr/>
              </p:nvSpPr>
              <p:spPr>
                <a:xfrm>
                  <a:off x="1130104" y="2544551"/>
                  <a:ext cx="1336430" cy="468946"/>
                </a:xfrm>
                <a:custGeom>
                  <a:avLst/>
                  <a:gdLst>
                    <a:gd name="connsiteX0" fmla="*/ -78 w 1336430"/>
                    <a:gd name="connsiteY0" fmla="*/ -74 h 2325437"/>
                    <a:gd name="connsiteX1" fmla="*/ 1336353 w 1336430"/>
                    <a:gd name="connsiteY1" fmla="*/ -74 h 2325437"/>
                    <a:gd name="connsiteX2" fmla="*/ 1336353 w 1336430"/>
                    <a:gd name="connsiteY2" fmla="*/ 2325363 h 2325437"/>
                    <a:gd name="connsiteX3" fmla="*/ -78 w 1336430"/>
                    <a:gd name="connsiteY3" fmla="*/ 2325363 h 23254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36430" h="2325437">
                      <a:moveTo>
                        <a:pt x="-78" y="-74"/>
                      </a:moveTo>
                      <a:lnTo>
                        <a:pt x="1336353" y="-74"/>
                      </a:lnTo>
                      <a:lnTo>
                        <a:pt x="1336353" y="2325363"/>
                      </a:lnTo>
                      <a:lnTo>
                        <a:pt x="-78" y="2325363"/>
                      </a:lnTo>
                      <a:close/>
                    </a:path>
                  </a:pathLst>
                </a:custGeom>
                <a:solidFill>
                  <a:schemeClr val="accent6">
                    <a:lumMod val="40000"/>
                    <a:lumOff val="60000"/>
                  </a:schemeClr>
                </a:solidFill>
                <a:ln w="11723" cap="flat">
                  <a:solidFill>
                    <a:srgbClr val="00497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AT"/>
                </a:p>
              </p:txBody>
            </p:sp>
            <p:sp>
              <p:nvSpPr>
                <p:cNvPr id="199" name="Textfeld 198">
                  <a:extLst>
                    <a:ext uri="{FF2B5EF4-FFF2-40B4-BE49-F238E27FC236}">
                      <a16:creationId xmlns:a16="http://schemas.microsoft.com/office/drawing/2014/main" id="{EB28776A-ABB7-D0CA-CE01-1B62DA6F866C}"/>
                    </a:ext>
                  </a:extLst>
                </p:cNvPr>
                <p:cNvSpPr txBox="1"/>
                <p:nvPr/>
              </p:nvSpPr>
              <p:spPr>
                <a:xfrm>
                  <a:off x="1076978" y="2522260"/>
                  <a:ext cx="928459" cy="40158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>
                    <a:lnSpc>
                      <a:spcPct val="107000"/>
                    </a:lnSpc>
                  </a:pPr>
                  <a:r>
                    <a:rPr lang="de-DE" sz="1000" err="1">
                      <a:solidFill>
                        <a:schemeClr val="bg1"/>
                      </a:solidFill>
                    </a:rPr>
                    <a:t>Local</a:t>
                  </a:r>
                  <a:r>
                    <a:rPr lang="de-DE" sz="1000">
                      <a:solidFill>
                        <a:schemeClr val="bg1"/>
                      </a:solidFill>
                    </a:rPr>
                    <a:t> BOT 1</a:t>
                  </a:r>
                </a:p>
                <a:p>
                  <a:pPr algn="l">
                    <a:lnSpc>
                      <a:spcPct val="107000"/>
                    </a:lnSpc>
                  </a:pPr>
                  <a:endParaRPr lang="de-AT" sz="923" spc="0" baseline="0">
                    <a:ln/>
                    <a:solidFill>
                      <a:schemeClr val="bg1"/>
                    </a:solidFill>
                    <a:latin typeface="Open Sans Light"/>
                    <a:ea typeface="Open Sans Light"/>
                    <a:cs typeface="Open Sans Light"/>
                    <a:sym typeface="Open Sans Light"/>
                    <a:rtl val="0"/>
                  </a:endParaRPr>
                </a:p>
              </p:txBody>
            </p:sp>
          </p:grpSp>
          <p:sp>
            <p:nvSpPr>
              <p:cNvPr id="261" name="Ellipse 260">
                <a:extLst>
                  <a:ext uri="{FF2B5EF4-FFF2-40B4-BE49-F238E27FC236}">
                    <a16:creationId xmlns:a16="http://schemas.microsoft.com/office/drawing/2014/main" id="{33BFF8C6-9661-4369-D5AC-68E6F2FCF06A}"/>
                  </a:ext>
                </a:extLst>
              </p:cNvPr>
              <p:cNvSpPr/>
              <p:nvPr/>
            </p:nvSpPr>
            <p:spPr>
              <a:xfrm>
                <a:off x="3649783" y="4197688"/>
                <a:ext cx="647237" cy="664455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7000"/>
                  </a:lnSpc>
                </a:pPr>
                <a:r>
                  <a:rPr lang="de-DE" sz="700">
                    <a:solidFill>
                      <a:schemeClr val="tx1"/>
                    </a:solidFill>
                  </a:rPr>
                  <a:t>Agent Model</a:t>
                </a:r>
                <a:endParaRPr lang="de-AT" sz="700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9" name="Graphic 4" descr="Robot outline">
              <a:extLst>
                <a:ext uri="{FF2B5EF4-FFF2-40B4-BE49-F238E27FC236}">
                  <a16:creationId xmlns:a16="http://schemas.microsoft.com/office/drawing/2014/main" id="{63C81A7E-495E-E5D9-8843-5FCD39BE38C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flipH="1">
              <a:off x="2511008" y="4258547"/>
              <a:ext cx="387818" cy="387818"/>
            </a:xfrm>
            <a:prstGeom prst="rect">
              <a:avLst/>
            </a:prstGeom>
          </p:spPr>
        </p:pic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61DA11CB-38B5-7CE2-8788-002A211FD1E9}"/>
              </a:ext>
            </a:extLst>
          </p:cNvPr>
          <p:cNvGrpSpPr/>
          <p:nvPr/>
        </p:nvGrpSpPr>
        <p:grpSpPr>
          <a:xfrm>
            <a:off x="5193713" y="3563268"/>
            <a:ext cx="1848423" cy="863293"/>
            <a:chOff x="4499851" y="3556292"/>
            <a:chExt cx="1848423" cy="863293"/>
          </a:xfrm>
        </p:grpSpPr>
        <p:grpSp>
          <p:nvGrpSpPr>
            <p:cNvPr id="259" name="Gruppieren 258">
              <a:extLst>
                <a:ext uri="{FF2B5EF4-FFF2-40B4-BE49-F238E27FC236}">
                  <a16:creationId xmlns:a16="http://schemas.microsoft.com/office/drawing/2014/main" id="{34F267D1-0D66-07D9-0C2F-F07D88DF68B4}"/>
                </a:ext>
              </a:extLst>
            </p:cNvPr>
            <p:cNvGrpSpPr/>
            <p:nvPr/>
          </p:nvGrpSpPr>
          <p:grpSpPr>
            <a:xfrm>
              <a:off x="4499851" y="3556292"/>
              <a:ext cx="1848423" cy="863293"/>
              <a:chOff x="4512462" y="3545973"/>
              <a:chExt cx="1848423" cy="863293"/>
            </a:xfrm>
          </p:grpSpPr>
          <p:grpSp>
            <p:nvGrpSpPr>
              <p:cNvPr id="267" name="Gruppieren 266">
                <a:extLst>
                  <a:ext uri="{FF2B5EF4-FFF2-40B4-BE49-F238E27FC236}">
                    <a16:creationId xmlns:a16="http://schemas.microsoft.com/office/drawing/2014/main" id="{DB1D80A4-F713-AAB9-2493-86E48C8702D3}"/>
                  </a:ext>
                </a:extLst>
              </p:cNvPr>
              <p:cNvGrpSpPr/>
              <p:nvPr/>
            </p:nvGrpSpPr>
            <p:grpSpPr>
              <a:xfrm>
                <a:off x="4512462" y="3545973"/>
                <a:ext cx="1848423" cy="863293"/>
                <a:chOff x="1105044" y="2536993"/>
                <a:chExt cx="1361490" cy="476504"/>
              </a:xfrm>
            </p:grpSpPr>
            <p:sp>
              <p:nvSpPr>
                <p:cNvPr id="268" name="Freihandform: Form 267">
                  <a:extLst>
                    <a:ext uri="{FF2B5EF4-FFF2-40B4-BE49-F238E27FC236}">
                      <a16:creationId xmlns:a16="http://schemas.microsoft.com/office/drawing/2014/main" id="{6088038C-4280-6D03-0DF7-4DBEDD6C604E}"/>
                    </a:ext>
                  </a:extLst>
                </p:cNvPr>
                <p:cNvSpPr/>
                <p:nvPr/>
              </p:nvSpPr>
              <p:spPr>
                <a:xfrm>
                  <a:off x="1130104" y="2544551"/>
                  <a:ext cx="1336430" cy="468946"/>
                </a:xfrm>
                <a:custGeom>
                  <a:avLst/>
                  <a:gdLst>
                    <a:gd name="connsiteX0" fmla="*/ -78 w 1336430"/>
                    <a:gd name="connsiteY0" fmla="*/ -74 h 2325437"/>
                    <a:gd name="connsiteX1" fmla="*/ 1336353 w 1336430"/>
                    <a:gd name="connsiteY1" fmla="*/ -74 h 2325437"/>
                    <a:gd name="connsiteX2" fmla="*/ 1336353 w 1336430"/>
                    <a:gd name="connsiteY2" fmla="*/ 2325363 h 2325437"/>
                    <a:gd name="connsiteX3" fmla="*/ -78 w 1336430"/>
                    <a:gd name="connsiteY3" fmla="*/ 2325363 h 23254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36430" h="2325437">
                      <a:moveTo>
                        <a:pt x="-78" y="-74"/>
                      </a:moveTo>
                      <a:lnTo>
                        <a:pt x="1336353" y="-74"/>
                      </a:lnTo>
                      <a:lnTo>
                        <a:pt x="1336353" y="2325363"/>
                      </a:lnTo>
                      <a:lnTo>
                        <a:pt x="-78" y="2325363"/>
                      </a:lnTo>
                      <a:close/>
                    </a:path>
                  </a:pathLst>
                </a:custGeom>
                <a:solidFill>
                  <a:schemeClr val="accent6">
                    <a:lumMod val="40000"/>
                    <a:lumOff val="60000"/>
                  </a:schemeClr>
                </a:solidFill>
                <a:ln w="11723" cap="flat">
                  <a:solidFill>
                    <a:srgbClr val="00497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AT"/>
                </a:p>
              </p:txBody>
            </p:sp>
            <p:sp>
              <p:nvSpPr>
                <p:cNvPr id="269" name="Textfeld 268">
                  <a:extLst>
                    <a:ext uri="{FF2B5EF4-FFF2-40B4-BE49-F238E27FC236}">
                      <a16:creationId xmlns:a16="http://schemas.microsoft.com/office/drawing/2014/main" id="{153607FF-9723-BDA2-4BB9-971D78FA2FF5}"/>
                    </a:ext>
                  </a:extLst>
                </p:cNvPr>
                <p:cNvSpPr txBox="1"/>
                <p:nvPr/>
              </p:nvSpPr>
              <p:spPr>
                <a:xfrm>
                  <a:off x="1105044" y="2536993"/>
                  <a:ext cx="683874" cy="13710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>
                    <a:lnSpc>
                      <a:spcPct val="107000"/>
                    </a:lnSpc>
                  </a:pPr>
                  <a:r>
                    <a:rPr lang="de-DE" sz="1000" err="1">
                      <a:solidFill>
                        <a:schemeClr val="bg1"/>
                      </a:solidFill>
                    </a:rPr>
                    <a:t>Local</a:t>
                  </a:r>
                  <a:r>
                    <a:rPr lang="de-DE" sz="1000">
                      <a:solidFill>
                        <a:schemeClr val="bg1"/>
                      </a:solidFill>
                    </a:rPr>
                    <a:t> BOT 2</a:t>
                  </a:r>
                  <a:endParaRPr lang="de-AT" sz="923" spc="0" baseline="0">
                    <a:ln/>
                    <a:solidFill>
                      <a:schemeClr val="bg1"/>
                    </a:solidFill>
                    <a:latin typeface="Open Sans Light"/>
                    <a:ea typeface="Open Sans Light"/>
                    <a:cs typeface="Open Sans Light"/>
                    <a:sym typeface="Open Sans Light"/>
                    <a:rtl val="0"/>
                  </a:endParaRPr>
                </a:p>
              </p:txBody>
            </p:sp>
          </p:grpSp>
          <p:sp>
            <p:nvSpPr>
              <p:cNvPr id="257" name="Ellipse 256">
                <a:extLst>
                  <a:ext uri="{FF2B5EF4-FFF2-40B4-BE49-F238E27FC236}">
                    <a16:creationId xmlns:a16="http://schemas.microsoft.com/office/drawing/2014/main" id="{CC6ADCAC-D832-5B31-6286-899060A8F913}"/>
                  </a:ext>
                </a:extLst>
              </p:cNvPr>
              <p:cNvSpPr/>
              <p:nvPr/>
            </p:nvSpPr>
            <p:spPr>
              <a:xfrm>
                <a:off x="5643572" y="3650874"/>
                <a:ext cx="647237" cy="664455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7000"/>
                  </a:lnSpc>
                </a:pPr>
                <a:r>
                  <a:rPr lang="de-DE" sz="700">
                    <a:solidFill>
                      <a:schemeClr val="tx1"/>
                    </a:solidFill>
                  </a:rPr>
                  <a:t>Agent Model</a:t>
                </a:r>
                <a:endParaRPr lang="de-AT" sz="700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10" name="Graphic 4" descr="Robot outline">
              <a:extLst>
                <a:ext uri="{FF2B5EF4-FFF2-40B4-BE49-F238E27FC236}">
                  <a16:creationId xmlns:a16="http://schemas.microsoft.com/office/drawing/2014/main" id="{9DF9EE8B-B991-E7BC-E76D-8FD96558CF2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flipH="1">
              <a:off x="4551019" y="3849156"/>
              <a:ext cx="387818" cy="387818"/>
            </a:xfrm>
            <a:prstGeom prst="rect">
              <a:avLst/>
            </a:prstGeom>
          </p:spPr>
        </p:pic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F941B370-B34E-D6F9-8F8F-9C8675C8F3C0}"/>
              </a:ext>
            </a:extLst>
          </p:cNvPr>
          <p:cNvGrpSpPr/>
          <p:nvPr/>
        </p:nvGrpSpPr>
        <p:grpSpPr>
          <a:xfrm>
            <a:off x="7185314" y="4027818"/>
            <a:ext cx="1814764" cy="850755"/>
            <a:chOff x="6491452" y="4020842"/>
            <a:chExt cx="1814764" cy="850755"/>
          </a:xfrm>
        </p:grpSpPr>
        <p:grpSp>
          <p:nvGrpSpPr>
            <p:cNvPr id="260" name="Gruppieren 259">
              <a:extLst>
                <a:ext uri="{FF2B5EF4-FFF2-40B4-BE49-F238E27FC236}">
                  <a16:creationId xmlns:a16="http://schemas.microsoft.com/office/drawing/2014/main" id="{55370964-3123-AD26-EBFC-781E4B2B4FEA}"/>
                </a:ext>
              </a:extLst>
            </p:cNvPr>
            <p:cNvGrpSpPr/>
            <p:nvPr/>
          </p:nvGrpSpPr>
          <p:grpSpPr>
            <a:xfrm>
              <a:off x="6491452" y="4020842"/>
              <a:ext cx="1814764" cy="850755"/>
              <a:chOff x="6401870" y="4020842"/>
              <a:chExt cx="1814764" cy="850755"/>
            </a:xfrm>
          </p:grpSpPr>
          <p:grpSp>
            <p:nvGrpSpPr>
              <p:cNvPr id="200" name="Gruppieren 199">
                <a:extLst>
                  <a:ext uri="{FF2B5EF4-FFF2-40B4-BE49-F238E27FC236}">
                    <a16:creationId xmlns:a16="http://schemas.microsoft.com/office/drawing/2014/main" id="{CC94607D-621C-C71F-650A-89106CAA555A}"/>
                  </a:ext>
                </a:extLst>
              </p:cNvPr>
              <p:cNvGrpSpPr/>
              <p:nvPr/>
            </p:nvGrpSpPr>
            <p:grpSpPr>
              <a:xfrm>
                <a:off x="6401870" y="4020842"/>
                <a:ext cx="1814764" cy="850755"/>
                <a:chOff x="1076978" y="2522260"/>
                <a:chExt cx="1389556" cy="491237"/>
              </a:xfrm>
            </p:grpSpPr>
            <p:sp>
              <p:nvSpPr>
                <p:cNvPr id="201" name="Freihandform: Form 200">
                  <a:extLst>
                    <a:ext uri="{FF2B5EF4-FFF2-40B4-BE49-F238E27FC236}">
                      <a16:creationId xmlns:a16="http://schemas.microsoft.com/office/drawing/2014/main" id="{C3392ACD-DB8E-0617-59E5-1A5D7A8DAC42}"/>
                    </a:ext>
                  </a:extLst>
                </p:cNvPr>
                <p:cNvSpPr/>
                <p:nvPr/>
              </p:nvSpPr>
              <p:spPr>
                <a:xfrm>
                  <a:off x="1130104" y="2544551"/>
                  <a:ext cx="1336430" cy="468946"/>
                </a:xfrm>
                <a:custGeom>
                  <a:avLst/>
                  <a:gdLst>
                    <a:gd name="connsiteX0" fmla="*/ -78 w 1336430"/>
                    <a:gd name="connsiteY0" fmla="*/ -74 h 2325437"/>
                    <a:gd name="connsiteX1" fmla="*/ 1336353 w 1336430"/>
                    <a:gd name="connsiteY1" fmla="*/ -74 h 2325437"/>
                    <a:gd name="connsiteX2" fmla="*/ 1336353 w 1336430"/>
                    <a:gd name="connsiteY2" fmla="*/ 2325363 h 2325437"/>
                    <a:gd name="connsiteX3" fmla="*/ -78 w 1336430"/>
                    <a:gd name="connsiteY3" fmla="*/ 2325363 h 23254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36430" h="2325437">
                      <a:moveTo>
                        <a:pt x="-78" y="-74"/>
                      </a:moveTo>
                      <a:lnTo>
                        <a:pt x="1336353" y="-74"/>
                      </a:lnTo>
                      <a:lnTo>
                        <a:pt x="1336353" y="2325363"/>
                      </a:lnTo>
                      <a:lnTo>
                        <a:pt x="-78" y="2325363"/>
                      </a:lnTo>
                      <a:close/>
                    </a:path>
                  </a:pathLst>
                </a:custGeom>
                <a:solidFill>
                  <a:schemeClr val="accent6">
                    <a:lumMod val="40000"/>
                    <a:lumOff val="60000"/>
                  </a:schemeClr>
                </a:solidFill>
                <a:ln w="11723" cap="flat">
                  <a:solidFill>
                    <a:srgbClr val="00497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AT"/>
                </a:p>
              </p:txBody>
            </p:sp>
            <p:sp>
              <p:nvSpPr>
                <p:cNvPr id="202" name="Textfeld 201">
                  <a:extLst>
                    <a:ext uri="{FF2B5EF4-FFF2-40B4-BE49-F238E27FC236}">
                      <a16:creationId xmlns:a16="http://schemas.microsoft.com/office/drawing/2014/main" id="{A6300148-F2C4-F001-0A49-9B2E034F36B8}"/>
                    </a:ext>
                  </a:extLst>
                </p:cNvPr>
                <p:cNvSpPr txBox="1"/>
                <p:nvPr/>
              </p:nvSpPr>
              <p:spPr>
                <a:xfrm>
                  <a:off x="1076978" y="2522260"/>
                  <a:ext cx="920445" cy="24840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>
                    <a:lnSpc>
                      <a:spcPct val="107000"/>
                    </a:lnSpc>
                  </a:pPr>
                  <a:r>
                    <a:rPr lang="de-DE" sz="1000" err="1">
                      <a:solidFill>
                        <a:schemeClr val="bg1"/>
                      </a:solidFill>
                    </a:rPr>
                    <a:t>Local</a:t>
                  </a:r>
                  <a:r>
                    <a:rPr lang="de-DE" sz="1000">
                      <a:solidFill>
                        <a:schemeClr val="bg1"/>
                      </a:solidFill>
                    </a:rPr>
                    <a:t> BOT n</a:t>
                  </a:r>
                  <a:endParaRPr lang="de-AT" sz="923" spc="0" baseline="0" err="1">
                    <a:ln/>
                    <a:solidFill>
                      <a:schemeClr val="bg1"/>
                    </a:solidFill>
                    <a:latin typeface="Open Sans Light"/>
                    <a:ea typeface="Open Sans Light"/>
                    <a:cs typeface="Open Sans Light"/>
                    <a:sym typeface="Open Sans Light"/>
                    <a:rtl val="0"/>
                  </a:endParaRPr>
                </a:p>
              </p:txBody>
            </p:sp>
          </p:grpSp>
          <p:sp>
            <p:nvSpPr>
              <p:cNvPr id="204" name="Ellipse 203">
                <a:extLst>
                  <a:ext uri="{FF2B5EF4-FFF2-40B4-BE49-F238E27FC236}">
                    <a16:creationId xmlns:a16="http://schemas.microsoft.com/office/drawing/2014/main" id="{CC0A1B91-AC31-7E79-8DF6-41B4DFDD463D}"/>
                  </a:ext>
                </a:extLst>
              </p:cNvPr>
              <p:cNvSpPr/>
              <p:nvPr/>
            </p:nvSpPr>
            <p:spPr>
              <a:xfrm>
                <a:off x="7522978" y="4129485"/>
                <a:ext cx="647237" cy="664455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7000"/>
                  </a:lnSpc>
                </a:pPr>
                <a:r>
                  <a:rPr lang="de-DE" sz="700" err="1">
                    <a:solidFill>
                      <a:schemeClr val="tx1"/>
                    </a:solidFill>
                  </a:rPr>
                  <a:t>Pyhton</a:t>
                </a:r>
                <a:r>
                  <a:rPr lang="de-DE" sz="700">
                    <a:solidFill>
                      <a:schemeClr val="tx1"/>
                    </a:solidFill>
                  </a:rPr>
                  <a:t> </a:t>
                </a:r>
                <a:r>
                  <a:rPr lang="de-DE" sz="700" err="1">
                    <a:solidFill>
                      <a:schemeClr val="tx1"/>
                    </a:solidFill>
                  </a:rPr>
                  <a:t>Script</a:t>
                </a:r>
                <a:endParaRPr lang="de-AT" sz="700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11" name="Graphic 4" descr="Robot outline">
              <a:extLst>
                <a:ext uri="{FF2B5EF4-FFF2-40B4-BE49-F238E27FC236}">
                  <a16:creationId xmlns:a16="http://schemas.microsoft.com/office/drawing/2014/main" id="{771821B8-F21C-A3D1-7FDF-3FBBA362F56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flipH="1">
              <a:off x="6629458" y="4315407"/>
              <a:ext cx="387818" cy="387818"/>
            </a:xfrm>
            <a:prstGeom prst="rect">
              <a:avLst/>
            </a:prstGeom>
          </p:spPr>
        </p:pic>
      </p:grp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423F4469-08C1-48A1-26D3-B773FA2C01CF}"/>
              </a:ext>
            </a:extLst>
          </p:cNvPr>
          <p:cNvGrpSpPr/>
          <p:nvPr/>
        </p:nvGrpSpPr>
        <p:grpSpPr>
          <a:xfrm>
            <a:off x="5960130" y="917345"/>
            <a:ext cx="2217518" cy="1001049"/>
            <a:chOff x="6899371" y="669715"/>
            <a:chExt cx="2217518" cy="1001049"/>
          </a:xfrm>
        </p:grpSpPr>
        <p:grpSp>
          <p:nvGrpSpPr>
            <p:cNvPr id="41" name="Gruppieren 40">
              <a:extLst>
                <a:ext uri="{FF2B5EF4-FFF2-40B4-BE49-F238E27FC236}">
                  <a16:creationId xmlns:a16="http://schemas.microsoft.com/office/drawing/2014/main" id="{5675D285-49F6-A74F-2C9B-1947B127D72D}"/>
                </a:ext>
              </a:extLst>
            </p:cNvPr>
            <p:cNvGrpSpPr/>
            <p:nvPr/>
          </p:nvGrpSpPr>
          <p:grpSpPr>
            <a:xfrm>
              <a:off x="6899371" y="669715"/>
              <a:ext cx="2217518" cy="1001049"/>
              <a:chOff x="5485327" y="1108766"/>
              <a:chExt cx="3773470" cy="1001049"/>
            </a:xfrm>
          </p:grpSpPr>
          <p:sp>
            <p:nvSpPr>
              <p:cNvPr id="230" name="Rectangle 7">
                <a:extLst>
                  <a:ext uri="{FF2B5EF4-FFF2-40B4-BE49-F238E27FC236}">
                    <a16:creationId xmlns:a16="http://schemas.microsoft.com/office/drawing/2014/main" id="{11A96FDA-696A-E1C0-900E-0101072DC0EE}"/>
                  </a:ext>
                </a:extLst>
              </p:cNvPr>
              <p:cNvSpPr/>
              <p:nvPr/>
            </p:nvSpPr>
            <p:spPr>
              <a:xfrm>
                <a:off x="5485327" y="1144694"/>
                <a:ext cx="3773470" cy="96512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7000"/>
                  </a:lnSpc>
                </a:pPr>
                <a:endParaRPr lang="en-GB" sz="1600" err="1"/>
              </a:p>
            </p:txBody>
          </p:sp>
          <p:sp>
            <p:nvSpPr>
              <p:cNvPr id="238" name="TextBox 31">
                <a:extLst>
                  <a:ext uri="{FF2B5EF4-FFF2-40B4-BE49-F238E27FC236}">
                    <a16:creationId xmlns:a16="http://schemas.microsoft.com/office/drawing/2014/main" id="{79294EB7-324B-CB06-4369-C9D03BA6E9FC}"/>
                  </a:ext>
                </a:extLst>
              </p:cNvPr>
              <p:cNvSpPr txBox="1"/>
              <p:nvPr/>
            </p:nvSpPr>
            <p:spPr>
              <a:xfrm>
                <a:off x="6164755" y="1108766"/>
                <a:ext cx="1952758" cy="28123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>
                  <a:lnSpc>
                    <a:spcPct val="107000"/>
                  </a:lnSpc>
                </a:pPr>
                <a:r>
                  <a:rPr lang="en-GB" sz="1200">
                    <a:solidFill>
                      <a:schemeClr val="bg1"/>
                    </a:solidFill>
                  </a:rPr>
                  <a:t>Erste Web Sites</a:t>
                </a:r>
              </a:p>
            </p:txBody>
          </p:sp>
        </p:grpSp>
        <p:sp>
          <p:nvSpPr>
            <p:cNvPr id="20" name="Textfeld 19">
              <a:extLst>
                <a:ext uri="{FF2B5EF4-FFF2-40B4-BE49-F238E27FC236}">
                  <a16:creationId xmlns:a16="http://schemas.microsoft.com/office/drawing/2014/main" id="{F93ED344-1968-E1A3-3A61-F33A78D83076}"/>
                </a:ext>
              </a:extLst>
            </p:cNvPr>
            <p:cNvSpPr txBox="1"/>
            <p:nvPr/>
          </p:nvSpPr>
          <p:spPr>
            <a:xfrm>
              <a:off x="7097530" y="973301"/>
              <a:ext cx="777777" cy="201978"/>
            </a:xfrm>
            <a:prstGeom prst="rect">
              <a:avLst/>
            </a:prstGeom>
            <a:solidFill>
              <a:srgbClr val="92D050"/>
            </a:solidFill>
            <a:ln>
              <a:solidFill>
                <a:schemeClr val="accent1"/>
              </a:solidFill>
            </a:ln>
          </p:spPr>
          <p:txBody>
            <a:bodyPr wrap="none" rtlCol="0">
              <a:spAutoFit/>
            </a:bodyPr>
            <a:lstStyle/>
            <a:p>
              <a:pPr algn="l">
                <a:lnSpc>
                  <a:spcPct val="107000"/>
                </a:lnSpc>
              </a:pPr>
              <a:r>
                <a:rPr lang="de-AT" sz="700">
                  <a:ln/>
                  <a:latin typeface="Open Sans Light"/>
                  <a:ea typeface="Open Sans Light"/>
                  <a:cs typeface="Open Sans Light"/>
                  <a:sym typeface="Open Sans Light"/>
                  <a:rtl val="0"/>
                </a:rPr>
                <a:t>Public Website</a:t>
              </a:r>
              <a:endParaRPr lang="de-AT" sz="700" spc="0" baseline="0">
                <a:ln/>
                <a:latin typeface="Open Sans Light"/>
                <a:ea typeface="Open Sans Light"/>
                <a:cs typeface="Open Sans Light"/>
                <a:sym typeface="Open Sans Light"/>
                <a:rtl val="0"/>
              </a:endParaRPr>
            </a:p>
          </p:txBody>
        </p:sp>
        <p:sp>
          <p:nvSpPr>
            <p:cNvPr id="193" name="Textfeld 192">
              <a:extLst>
                <a:ext uri="{FF2B5EF4-FFF2-40B4-BE49-F238E27FC236}">
                  <a16:creationId xmlns:a16="http://schemas.microsoft.com/office/drawing/2014/main" id="{5C2F7CA3-3FCB-A2BE-3FB5-147699376ECD}"/>
                </a:ext>
              </a:extLst>
            </p:cNvPr>
            <p:cNvSpPr txBox="1"/>
            <p:nvPr/>
          </p:nvSpPr>
          <p:spPr>
            <a:xfrm>
              <a:off x="8156905" y="967157"/>
              <a:ext cx="769048" cy="201978"/>
            </a:xfrm>
            <a:prstGeom prst="rect">
              <a:avLst/>
            </a:prstGeom>
            <a:solidFill>
              <a:srgbClr val="92D050"/>
            </a:solidFill>
            <a:ln>
              <a:solidFill>
                <a:schemeClr val="accent1"/>
              </a:solidFill>
            </a:ln>
          </p:spPr>
          <p:txBody>
            <a:bodyPr wrap="square" rtlCol="0">
              <a:spAutoFit/>
            </a:bodyPr>
            <a:lstStyle/>
            <a:p>
              <a:pPr algn="l">
                <a:lnSpc>
                  <a:spcPct val="107000"/>
                </a:lnSpc>
              </a:pPr>
              <a:r>
                <a:rPr lang="de-DE" sz="700">
                  <a:ln/>
                  <a:latin typeface="Open Sans Light"/>
                  <a:ea typeface="Open Sans Light"/>
                  <a:cs typeface="Open Sans Light"/>
                  <a:sym typeface="Open Sans Light"/>
                  <a:rtl val="0"/>
                </a:rPr>
                <a:t>I</a:t>
              </a:r>
              <a:r>
                <a:rPr lang="de-AT" sz="700" err="1">
                  <a:ln/>
                  <a:latin typeface="Open Sans Light"/>
                  <a:ea typeface="Open Sans Light"/>
                  <a:cs typeface="Open Sans Light"/>
                  <a:sym typeface="Open Sans Light"/>
                  <a:rtl val="0"/>
                </a:rPr>
                <a:t>ntranet</a:t>
              </a:r>
              <a:r>
                <a:rPr lang="de-AT" sz="700">
                  <a:ln/>
                  <a:latin typeface="Open Sans Light"/>
                  <a:ea typeface="Open Sans Light"/>
                  <a:cs typeface="Open Sans Light"/>
                  <a:sym typeface="Open Sans Light"/>
                  <a:rtl val="0"/>
                </a:rPr>
                <a:t> (EON)</a:t>
              </a:r>
              <a:endParaRPr lang="de-AT" sz="700" spc="0" baseline="0">
                <a:ln/>
                <a:latin typeface="Open Sans Light"/>
                <a:ea typeface="Open Sans Light"/>
                <a:cs typeface="Open Sans Light"/>
                <a:sym typeface="Open Sans Light"/>
                <a:rtl val="0"/>
              </a:endParaRPr>
            </a:p>
          </p:txBody>
        </p:sp>
        <p:pic>
          <p:nvPicPr>
            <p:cNvPr id="243" name="Grafik 242">
              <a:extLst>
                <a:ext uri="{FF2B5EF4-FFF2-40B4-BE49-F238E27FC236}">
                  <a16:creationId xmlns:a16="http://schemas.microsoft.com/office/drawing/2014/main" id="{95D58AF2-5C8B-246A-2038-720B88FC292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099354" y="1211581"/>
              <a:ext cx="171919" cy="216000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  <p:pic>
          <p:nvPicPr>
            <p:cNvPr id="253" name="Grafik 252">
              <a:extLst>
                <a:ext uri="{FF2B5EF4-FFF2-40B4-BE49-F238E27FC236}">
                  <a16:creationId xmlns:a16="http://schemas.microsoft.com/office/drawing/2014/main" id="{542D28D7-D0D3-F59D-9387-5BFF4B5314D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156905" y="1238619"/>
              <a:ext cx="216000" cy="216000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</p:grpSp>
      <p:grpSp>
        <p:nvGrpSpPr>
          <p:cNvPr id="324" name="Gruppieren 323">
            <a:extLst>
              <a:ext uri="{FF2B5EF4-FFF2-40B4-BE49-F238E27FC236}">
                <a16:creationId xmlns:a16="http://schemas.microsoft.com/office/drawing/2014/main" id="{37496AB3-889D-F6FE-7AE9-0EAF94D415D1}"/>
              </a:ext>
            </a:extLst>
          </p:cNvPr>
          <p:cNvGrpSpPr/>
          <p:nvPr/>
        </p:nvGrpSpPr>
        <p:grpSpPr>
          <a:xfrm>
            <a:off x="1041264" y="5468958"/>
            <a:ext cx="1389556" cy="720000"/>
            <a:chOff x="1076978" y="2522260"/>
            <a:chExt cx="1389556" cy="491237"/>
          </a:xfrm>
        </p:grpSpPr>
        <p:sp>
          <p:nvSpPr>
            <p:cNvPr id="325" name="Freihandform: Form 324">
              <a:extLst>
                <a:ext uri="{FF2B5EF4-FFF2-40B4-BE49-F238E27FC236}">
                  <a16:creationId xmlns:a16="http://schemas.microsoft.com/office/drawing/2014/main" id="{48D4BD4F-C5CC-07C3-6980-8EA543672B55}"/>
                </a:ext>
              </a:extLst>
            </p:cNvPr>
            <p:cNvSpPr/>
            <p:nvPr/>
          </p:nvSpPr>
          <p:spPr>
            <a:xfrm>
              <a:off x="1130104" y="2544551"/>
              <a:ext cx="1336430" cy="468946"/>
            </a:xfrm>
            <a:custGeom>
              <a:avLst/>
              <a:gdLst>
                <a:gd name="connsiteX0" fmla="*/ -78 w 1336430"/>
                <a:gd name="connsiteY0" fmla="*/ -74 h 2325437"/>
                <a:gd name="connsiteX1" fmla="*/ 1336353 w 1336430"/>
                <a:gd name="connsiteY1" fmla="*/ -74 h 2325437"/>
                <a:gd name="connsiteX2" fmla="*/ 1336353 w 1336430"/>
                <a:gd name="connsiteY2" fmla="*/ 2325363 h 2325437"/>
                <a:gd name="connsiteX3" fmla="*/ -78 w 1336430"/>
                <a:gd name="connsiteY3" fmla="*/ 2325363 h 2325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36430" h="2325437">
                  <a:moveTo>
                    <a:pt x="-78" y="-74"/>
                  </a:moveTo>
                  <a:lnTo>
                    <a:pt x="1336353" y="-74"/>
                  </a:lnTo>
                  <a:lnTo>
                    <a:pt x="1336353" y="2325363"/>
                  </a:lnTo>
                  <a:lnTo>
                    <a:pt x="-78" y="2325363"/>
                  </a:lnTo>
                  <a:close/>
                </a:path>
              </a:pathLst>
            </a:custGeom>
            <a:solidFill>
              <a:srgbClr val="FF0000"/>
            </a:solidFill>
            <a:ln w="11723" cap="flat">
              <a:solidFill>
                <a:srgbClr val="00497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AT"/>
            </a:p>
          </p:txBody>
        </p:sp>
        <p:sp>
          <p:nvSpPr>
            <p:cNvPr id="326" name="Textfeld 325">
              <a:extLst>
                <a:ext uri="{FF2B5EF4-FFF2-40B4-BE49-F238E27FC236}">
                  <a16:creationId xmlns:a16="http://schemas.microsoft.com/office/drawing/2014/main" id="{4B1960B5-4AB4-8DDC-EFC7-356BE11C287E}"/>
                </a:ext>
              </a:extLst>
            </p:cNvPr>
            <p:cNvSpPr txBox="1"/>
            <p:nvPr/>
          </p:nvSpPr>
          <p:spPr>
            <a:xfrm>
              <a:off x="1076978" y="2522260"/>
              <a:ext cx="1263487" cy="1703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07000"/>
                </a:lnSpc>
              </a:pPr>
              <a:r>
                <a:rPr lang="de-DE" sz="1000">
                  <a:solidFill>
                    <a:schemeClr val="bg1"/>
                  </a:solidFill>
                </a:rPr>
                <a:t>Internal API  (Presto)</a:t>
              </a:r>
            </a:p>
          </p:txBody>
        </p:sp>
      </p:grpSp>
      <p:grpSp>
        <p:nvGrpSpPr>
          <p:cNvPr id="327" name="Gruppieren 326">
            <a:extLst>
              <a:ext uri="{FF2B5EF4-FFF2-40B4-BE49-F238E27FC236}">
                <a16:creationId xmlns:a16="http://schemas.microsoft.com/office/drawing/2014/main" id="{E6D4734F-B4A9-08EF-EC3A-AF0A2BA9D8F0}"/>
              </a:ext>
            </a:extLst>
          </p:cNvPr>
          <p:cNvGrpSpPr/>
          <p:nvPr/>
        </p:nvGrpSpPr>
        <p:grpSpPr>
          <a:xfrm>
            <a:off x="2495837" y="5458642"/>
            <a:ext cx="1389556" cy="720000"/>
            <a:chOff x="1076978" y="2522260"/>
            <a:chExt cx="1389556" cy="491237"/>
          </a:xfrm>
        </p:grpSpPr>
        <p:sp>
          <p:nvSpPr>
            <p:cNvPr id="328" name="Freihandform: Form 327">
              <a:extLst>
                <a:ext uri="{FF2B5EF4-FFF2-40B4-BE49-F238E27FC236}">
                  <a16:creationId xmlns:a16="http://schemas.microsoft.com/office/drawing/2014/main" id="{4112CE9C-3B8C-CC7E-3A08-F31DC0C1AF90}"/>
                </a:ext>
              </a:extLst>
            </p:cNvPr>
            <p:cNvSpPr/>
            <p:nvPr/>
          </p:nvSpPr>
          <p:spPr>
            <a:xfrm>
              <a:off x="1130104" y="2544551"/>
              <a:ext cx="1336430" cy="468946"/>
            </a:xfrm>
            <a:custGeom>
              <a:avLst/>
              <a:gdLst>
                <a:gd name="connsiteX0" fmla="*/ -78 w 1336430"/>
                <a:gd name="connsiteY0" fmla="*/ -74 h 2325437"/>
                <a:gd name="connsiteX1" fmla="*/ 1336353 w 1336430"/>
                <a:gd name="connsiteY1" fmla="*/ -74 h 2325437"/>
                <a:gd name="connsiteX2" fmla="*/ 1336353 w 1336430"/>
                <a:gd name="connsiteY2" fmla="*/ 2325363 h 2325437"/>
                <a:gd name="connsiteX3" fmla="*/ -78 w 1336430"/>
                <a:gd name="connsiteY3" fmla="*/ 2325363 h 2325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36430" h="2325437">
                  <a:moveTo>
                    <a:pt x="-78" y="-74"/>
                  </a:moveTo>
                  <a:lnTo>
                    <a:pt x="1336353" y="-74"/>
                  </a:lnTo>
                  <a:lnTo>
                    <a:pt x="1336353" y="2325363"/>
                  </a:lnTo>
                  <a:lnTo>
                    <a:pt x="-78" y="2325363"/>
                  </a:lnTo>
                  <a:close/>
                </a:path>
              </a:pathLst>
            </a:custGeom>
            <a:solidFill>
              <a:srgbClr val="FF0000"/>
            </a:solidFill>
            <a:ln w="11723" cap="flat">
              <a:solidFill>
                <a:srgbClr val="00497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AT"/>
            </a:p>
          </p:txBody>
        </p:sp>
        <p:sp>
          <p:nvSpPr>
            <p:cNvPr id="329" name="Textfeld 328">
              <a:extLst>
                <a:ext uri="{FF2B5EF4-FFF2-40B4-BE49-F238E27FC236}">
                  <a16:creationId xmlns:a16="http://schemas.microsoft.com/office/drawing/2014/main" id="{B722E17D-D56E-F907-62FE-C2A3B7A8704F}"/>
                </a:ext>
              </a:extLst>
            </p:cNvPr>
            <p:cNvSpPr txBox="1"/>
            <p:nvPr/>
          </p:nvSpPr>
          <p:spPr>
            <a:xfrm>
              <a:off x="1076978" y="2522260"/>
              <a:ext cx="1308371" cy="24840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07000"/>
                </a:lnSpc>
              </a:pPr>
              <a:r>
                <a:rPr lang="de-DE" sz="1000">
                  <a:solidFill>
                    <a:schemeClr val="bg1"/>
                  </a:solidFill>
                </a:rPr>
                <a:t>AI Solution </a:t>
              </a:r>
              <a:r>
                <a:rPr lang="de-DE" sz="1000" err="1">
                  <a:solidFill>
                    <a:schemeClr val="bg1"/>
                  </a:solidFill>
                </a:rPr>
                <a:t>service</a:t>
              </a:r>
              <a:endParaRPr lang="de-AT" sz="923" spc="0" baseline="0" err="1">
                <a:ln/>
                <a:solidFill>
                  <a:schemeClr val="bg1"/>
                </a:solidFill>
                <a:latin typeface="Open Sans Light"/>
                <a:ea typeface="Open Sans Light"/>
                <a:cs typeface="Open Sans Light"/>
                <a:sym typeface="Open Sans Light"/>
                <a:rtl val="0"/>
              </a:endParaRPr>
            </a:p>
          </p:txBody>
        </p:sp>
      </p:grpSp>
      <p:grpSp>
        <p:nvGrpSpPr>
          <p:cNvPr id="333" name="Gruppieren 332">
            <a:extLst>
              <a:ext uri="{FF2B5EF4-FFF2-40B4-BE49-F238E27FC236}">
                <a16:creationId xmlns:a16="http://schemas.microsoft.com/office/drawing/2014/main" id="{B3E0A8BA-D607-40D8-6A93-052D6BE1653D}"/>
              </a:ext>
            </a:extLst>
          </p:cNvPr>
          <p:cNvGrpSpPr/>
          <p:nvPr/>
        </p:nvGrpSpPr>
        <p:grpSpPr>
          <a:xfrm>
            <a:off x="5842736" y="5480692"/>
            <a:ext cx="2031325" cy="720000"/>
            <a:chOff x="1076978" y="2522260"/>
            <a:chExt cx="2194458" cy="491237"/>
          </a:xfrm>
        </p:grpSpPr>
        <p:sp>
          <p:nvSpPr>
            <p:cNvPr id="334" name="Freihandform: Form 333">
              <a:extLst>
                <a:ext uri="{FF2B5EF4-FFF2-40B4-BE49-F238E27FC236}">
                  <a16:creationId xmlns:a16="http://schemas.microsoft.com/office/drawing/2014/main" id="{E1754484-A08F-84EE-FEC6-25AB375F3F50}"/>
                </a:ext>
              </a:extLst>
            </p:cNvPr>
            <p:cNvSpPr/>
            <p:nvPr/>
          </p:nvSpPr>
          <p:spPr>
            <a:xfrm>
              <a:off x="1130104" y="2544551"/>
              <a:ext cx="1790580" cy="468946"/>
            </a:xfrm>
            <a:custGeom>
              <a:avLst/>
              <a:gdLst>
                <a:gd name="connsiteX0" fmla="*/ -78 w 1336430"/>
                <a:gd name="connsiteY0" fmla="*/ -74 h 2325437"/>
                <a:gd name="connsiteX1" fmla="*/ 1336353 w 1336430"/>
                <a:gd name="connsiteY1" fmla="*/ -74 h 2325437"/>
                <a:gd name="connsiteX2" fmla="*/ 1336353 w 1336430"/>
                <a:gd name="connsiteY2" fmla="*/ 2325363 h 2325437"/>
                <a:gd name="connsiteX3" fmla="*/ -78 w 1336430"/>
                <a:gd name="connsiteY3" fmla="*/ 2325363 h 2325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36430" h="2325437">
                  <a:moveTo>
                    <a:pt x="-78" y="-74"/>
                  </a:moveTo>
                  <a:lnTo>
                    <a:pt x="1336353" y="-74"/>
                  </a:lnTo>
                  <a:lnTo>
                    <a:pt x="1336353" y="2325363"/>
                  </a:lnTo>
                  <a:lnTo>
                    <a:pt x="-78" y="2325363"/>
                  </a:lnTo>
                  <a:close/>
                </a:path>
              </a:pathLst>
            </a:custGeom>
            <a:solidFill>
              <a:srgbClr val="FF0000"/>
            </a:solidFill>
            <a:ln w="11723" cap="flat">
              <a:solidFill>
                <a:srgbClr val="00497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AT"/>
            </a:p>
          </p:txBody>
        </p:sp>
        <p:sp>
          <p:nvSpPr>
            <p:cNvPr id="335" name="Textfeld 334">
              <a:extLst>
                <a:ext uri="{FF2B5EF4-FFF2-40B4-BE49-F238E27FC236}">
                  <a16:creationId xmlns:a16="http://schemas.microsoft.com/office/drawing/2014/main" id="{C5AC8F68-2DA7-6F9A-A1CD-EE9F45FE21AB}"/>
                </a:ext>
              </a:extLst>
            </p:cNvPr>
            <p:cNvSpPr txBox="1"/>
            <p:nvPr/>
          </p:nvSpPr>
          <p:spPr>
            <a:xfrm>
              <a:off x="1076978" y="2522260"/>
              <a:ext cx="2194458" cy="1703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07000"/>
                </a:lnSpc>
              </a:pPr>
              <a:r>
                <a:rPr lang="de-DE" sz="1000" spc="0" baseline="0">
                  <a:ln/>
                  <a:solidFill>
                    <a:schemeClr val="bg1"/>
                  </a:solidFill>
                  <a:ea typeface="Open Sans Light"/>
                  <a:cs typeface="Open Sans Light"/>
                  <a:sym typeface="Open Sans Light"/>
                  <a:rtl val="0"/>
                </a:rPr>
                <a:t>External API (</a:t>
              </a:r>
              <a:r>
                <a:rPr lang="de-DE" sz="1000" spc="0" baseline="0" err="1">
                  <a:ln/>
                  <a:solidFill>
                    <a:schemeClr val="bg1"/>
                  </a:solidFill>
                  <a:ea typeface="Open Sans Light"/>
                  <a:cs typeface="Open Sans Light"/>
                  <a:sym typeface="Open Sans Light"/>
                  <a:rtl val="0"/>
                </a:rPr>
                <a:t>Weather</a:t>
              </a:r>
              <a:r>
                <a:rPr lang="de-DE" sz="1000" spc="0" baseline="0">
                  <a:ln/>
                  <a:solidFill>
                    <a:schemeClr val="bg1"/>
                  </a:solidFill>
                  <a:ea typeface="Open Sans Light"/>
                  <a:cs typeface="Open Sans Light"/>
                  <a:sym typeface="Open Sans Light"/>
                  <a:rtl val="0"/>
                </a:rPr>
                <a:t>, etc.)	</a:t>
              </a:r>
              <a:endParaRPr lang="de-AT" sz="923" spc="0" baseline="0">
                <a:ln/>
                <a:solidFill>
                  <a:schemeClr val="bg1"/>
                </a:solidFill>
                <a:ea typeface="Open Sans Light"/>
                <a:cs typeface="Open Sans Light"/>
                <a:sym typeface="Open Sans Light"/>
                <a:rtl val="0"/>
              </a:endParaRPr>
            </a:p>
          </p:txBody>
        </p:sp>
      </p:grpSp>
      <p:grpSp>
        <p:nvGrpSpPr>
          <p:cNvPr id="330" name="Gruppieren 329">
            <a:extLst>
              <a:ext uri="{FF2B5EF4-FFF2-40B4-BE49-F238E27FC236}">
                <a16:creationId xmlns:a16="http://schemas.microsoft.com/office/drawing/2014/main" id="{0946E24C-85C3-6878-4974-814F1B6296A5}"/>
              </a:ext>
            </a:extLst>
          </p:cNvPr>
          <p:cNvGrpSpPr/>
          <p:nvPr/>
        </p:nvGrpSpPr>
        <p:grpSpPr>
          <a:xfrm>
            <a:off x="4179260" y="5491404"/>
            <a:ext cx="2031325" cy="697345"/>
            <a:chOff x="1105090" y="2541182"/>
            <a:chExt cx="1754754" cy="472315"/>
          </a:xfrm>
        </p:grpSpPr>
        <p:sp>
          <p:nvSpPr>
            <p:cNvPr id="331" name="Freihandform: Form 330">
              <a:extLst>
                <a:ext uri="{FF2B5EF4-FFF2-40B4-BE49-F238E27FC236}">
                  <a16:creationId xmlns:a16="http://schemas.microsoft.com/office/drawing/2014/main" id="{BDC09F0A-6F36-527D-65E8-BF90BAAF1B17}"/>
                </a:ext>
              </a:extLst>
            </p:cNvPr>
            <p:cNvSpPr/>
            <p:nvPr/>
          </p:nvSpPr>
          <p:spPr>
            <a:xfrm>
              <a:off x="1130104" y="2544551"/>
              <a:ext cx="1336430" cy="468946"/>
            </a:xfrm>
            <a:custGeom>
              <a:avLst/>
              <a:gdLst>
                <a:gd name="connsiteX0" fmla="*/ -78 w 1336430"/>
                <a:gd name="connsiteY0" fmla="*/ -74 h 2325437"/>
                <a:gd name="connsiteX1" fmla="*/ 1336353 w 1336430"/>
                <a:gd name="connsiteY1" fmla="*/ -74 h 2325437"/>
                <a:gd name="connsiteX2" fmla="*/ 1336353 w 1336430"/>
                <a:gd name="connsiteY2" fmla="*/ 2325363 h 2325437"/>
                <a:gd name="connsiteX3" fmla="*/ -78 w 1336430"/>
                <a:gd name="connsiteY3" fmla="*/ 2325363 h 2325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36430" h="2325437">
                  <a:moveTo>
                    <a:pt x="-78" y="-74"/>
                  </a:moveTo>
                  <a:lnTo>
                    <a:pt x="1336353" y="-74"/>
                  </a:lnTo>
                  <a:lnTo>
                    <a:pt x="1336353" y="2325363"/>
                  </a:lnTo>
                  <a:lnTo>
                    <a:pt x="-78" y="2325363"/>
                  </a:lnTo>
                  <a:close/>
                </a:path>
              </a:pathLst>
            </a:custGeom>
            <a:solidFill>
              <a:srgbClr val="FF0000"/>
            </a:solidFill>
            <a:ln w="11723" cap="flat">
              <a:solidFill>
                <a:srgbClr val="00497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AT"/>
            </a:p>
          </p:txBody>
        </p:sp>
        <p:sp>
          <p:nvSpPr>
            <p:cNvPr id="332" name="Textfeld 331">
              <a:extLst>
                <a:ext uri="{FF2B5EF4-FFF2-40B4-BE49-F238E27FC236}">
                  <a16:creationId xmlns:a16="http://schemas.microsoft.com/office/drawing/2014/main" id="{56894BF0-5D85-8FAD-6C5C-6B4FD1598BD7}"/>
                </a:ext>
              </a:extLst>
            </p:cNvPr>
            <p:cNvSpPr txBox="1"/>
            <p:nvPr/>
          </p:nvSpPr>
          <p:spPr>
            <a:xfrm>
              <a:off x="1105090" y="2541182"/>
              <a:ext cx="1754754" cy="1702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07000"/>
                </a:lnSpc>
              </a:pPr>
              <a:r>
                <a:rPr lang="de-DE" sz="1000">
                  <a:solidFill>
                    <a:schemeClr val="bg1"/>
                  </a:solidFill>
                </a:rPr>
                <a:t>LLM API (GPT, </a:t>
              </a:r>
              <a:r>
                <a:rPr lang="de-DE" sz="1000" err="1">
                  <a:solidFill>
                    <a:schemeClr val="bg1"/>
                  </a:solidFill>
                </a:rPr>
                <a:t>PaLM</a:t>
              </a:r>
              <a:r>
                <a:rPr lang="de-DE" sz="1000">
                  <a:solidFill>
                    <a:schemeClr val="bg1"/>
                  </a:solidFill>
                </a:rPr>
                <a:t>, ..)	</a:t>
              </a:r>
              <a:endParaRPr lang="de-AT" sz="923" spc="0" baseline="0">
                <a:ln/>
                <a:solidFill>
                  <a:schemeClr val="bg1"/>
                </a:solidFill>
                <a:latin typeface="Open Sans Light"/>
                <a:ea typeface="Open Sans Light"/>
                <a:cs typeface="Open Sans Light"/>
                <a:sym typeface="Open Sans Light"/>
                <a:rtl val="0"/>
              </a:endParaRPr>
            </a:p>
          </p:txBody>
        </p: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1C3C37AB-D14F-7EB3-C4E0-7CB0253C84CA}"/>
              </a:ext>
            </a:extLst>
          </p:cNvPr>
          <p:cNvGrpSpPr/>
          <p:nvPr/>
        </p:nvGrpSpPr>
        <p:grpSpPr>
          <a:xfrm>
            <a:off x="9234709" y="935209"/>
            <a:ext cx="2688571" cy="975981"/>
            <a:chOff x="9216714" y="687534"/>
            <a:chExt cx="2688571" cy="975981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2DAF3017-ABE5-3E4C-D09D-C52748728E72}"/>
                </a:ext>
              </a:extLst>
            </p:cNvPr>
            <p:cNvSpPr/>
            <p:nvPr/>
          </p:nvSpPr>
          <p:spPr>
            <a:xfrm>
              <a:off x="9216714" y="698394"/>
              <a:ext cx="2688571" cy="965121"/>
            </a:xfrm>
            <a:prstGeom prst="rect">
              <a:avLst/>
            </a:prstGeom>
            <a:solidFill>
              <a:srgbClr val="A3B5C9"/>
            </a:solidFill>
            <a:ln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7000"/>
                </a:lnSpc>
              </a:pPr>
              <a:endParaRPr lang="en-GB" sz="1600" err="1"/>
            </a:p>
          </p:txBody>
        </p:sp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A8A1F2B8-E60E-BB77-8AB5-86BDEA51AAE4}"/>
                </a:ext>
              </a:extLst>
            </p:cNvPr>
            <p:cNvSpPr txBox="1"/>
            <p:nvPr/>
          </p:nvSpPr>
          <p:spPr>
            <a:xfrm>
              <a:off x="9348846" y="955680"/>
              <a:ext cx="740909" cy="201978"/>
            </a:xfrm>
            <a:prstGeom prst="rect">
              <a:avLst/>
            </a:prstGeom>
            <a:solidFill>
              <a:srgbClr val="92D050"/>
            </a:solidFill>
            <a:ln>
              <a:solidFill>
                <a:schemeClr val="tx1"/>
              </a:solidFill>
              <a:prstDash val="dash"/>
            </a:ln>
          </p:spPr>
          <p:txBody>
            <a:bodyPr wrap="none" rtlCol="0">
              <a:spAutoFit/>
            </a:bodyPr>
            <a:lstStyle/>
            <a:p>
              <a:pPr algn="l">
                <a:lnSpc>
                  <a:spcPct val="107000"/>
                </a:lnSpc>
              </a:pPr>
              <a:r>
                <a:rPr lang="de-AT" sz="700" spc="0" baseline="0">
                  <a:ln/>
                  <a:latin typeface="Open Sans Light"/>
                  <a:ea typeface="Open Sans Light"/>
                  <a:cs typeface="Open Sans Light"/>
                  <a:sym typeface="Open Sans Light"/>
                  <a:rtl val="0"/>
                </a:rPr>
                <a:t>Google Home</a:t>
              </a:r>
            </a:p>
          </p:txBody>
        </p:sp>
        <p:sp>
          <p:nvSpPr>
            <p:cNvPr id="181" name="Textfeld 180">
              <a:extLst>
                <a:ext uri="{FF2B5EF4-FFF2-40B4-BE49-F238E27FC236}">
                  <a16:creationId xmlns:a16="http://schemas.microsoft.com/office/drawing/2014/main" id="{B291C9DA-6A07-3C87-97A1-A7FF458ED65F}"/>
                </a:ext>
              </a:extLst>
            </p:cNvPr>
            <p:cNvSpPr txBox="1"/>
            <p:nvPr/>
          </p:nvSpPr>
          <p:spPr>
            <a:xfrm>
              <a:off x="10194708" y="955566"/>
              <a:ext cx="752354" cy="201978"/>
            </a:xfrm>
            <a:prstGeom prst="rect">
              <a:avLst/>
            </a:prstGeom>
            <a:solidFill>
              <a:srgbClr val="92D050"/>
            </a:solidFill>
            <a:ln>
              <a:solidFill>
                <a:schemeClr val="tx1"/>
              </a:solidFill>
              <a:prstDash val="dash"/>
            </a:ln>
          </p:spPr>
          <p:txBody>
            <a:bodyPr wrap="square" rtlCol="0">
              <a:spAutoFit/>
            </a:bodyPr>
            <a:lstStyle/>
            <a:p>
              <a:pPr algn="l">
                <a:lnSpc>
                  <a:spcPct val="107000"/>
                </a:lnSpc>
              </a:pPr>
              <a:r>
                <a:rPr lang="de-AT" sz="700" spc="0" baseline="0">
                  <a:ln/>
                  <a:latin typeface="Open Sans Light"/>
                  <a:ea typeface="Open Sans Light"/>
                  <a:cs typeface="Open Sans Light"/>
                  <a:sym typeface="Open Sans Light"/>
                  <a:rtl val="0"/>
                </a:rPr>
                <a:t>Amazon Alexa</a:t>
              </a:r>
            </a:p>
          </p:txBody>
        </p:sp>
        <p:sp>
          <p:nvSpPr>
            <p:cNvPr id="183" name="Textfeld 182">
              <a:extLst>
                <a:ext uri="{FF2B5EF4-FFF2-40B4-BE49-F238E27FC236}">
                  <a16:creationId xmlns:a16="http://schemas.microsoft.com/office/drawing/2014/main" id="{50EBC1A2-739C-68C4-694B-D215C5624FB8}"/>
                </a:ext>
              </a:extLst>
            </p:cNvPr>
            <p:cNvSpPr txBox="1"/>
            <p:nvPr/>
          </p:nvSpPr>
          <p:spPr>
            <a:xfrm>
              <a:off x="11049997" y="942671"/>
              <a:ext cx="752354" cy="217625"/>
            </a:xfrm>
            <a:prstGeom prst="rect">
              <a:avLst/>
            </a:prstGeom>
            <a:solidFill>
              <a:srgbClr val="92D050"/>
            </a:solidFill>
            <a:ln>
              <a:solidFill>
                <a:schemeClr val="tx1"/>
              </a:solidFill>
              <a:prstDash val="dash"/>
            </a:ln>
          </p:spPr>
          <p:txBody>
            <a:bodyPr wrap="square" rtlCol="0">
              <a:spAutoFit/>
            </a:bodyPr>
            <a:lstStyle/>
            <a:p>
              <a:pPr algn="l">
                <a:lnSpc>
                  <a:spcPct val="107000"/>
                </a:lnSpc>
              </a:pPr>
              <a:r>
                <a:rPr lang="de-AT" sz="800" spc="0" baseline="0" err="1">
                  <a:ln/>
                  <a:latin typeface="Open Sans Light"/>
                  <a:ea typeface="Open Sans Light"/>
                  <a:cs typeface="Open Sans Light"/>
                  <a:sym typeface="Open Sans Light"/>
                  <a:rtl val="0"/>
                </a:rPr>
                <a:t>Meta</a:t>
              </a:r>
              <a:r>
                <a:rPr lang="de-AT" sz="800" spc="0" baseline="0">
                  <a:ln/>
                  <a:latin typeface="Open Sans Light"/>
                  <a:ea typeface="Open Sans Light"/>
                  <a:cs typeface="Open Sans Light"/>
                  <a:sym typeface="Open Sans Light"/>
                  <a:rtl val="0"/>
                </a:rPr>
                <a:t> </a:t>
              </a:r>
              <a:r>
                <a:rPr lang="de-AT" sz="800" spc="0" baseline="0" err="1">
                  <a:ln/>
                  <a:latin typeface="Open Sans Light"/>
                  <a:ea typeface="Open Sans Light"/>
                  <a:cs typeface="Open Sans Light"/>
                  <a:sym typeface="Open Sans Light"/>
                  <a:rtl val="0"/>
                </a:rPr>
                <a:t>client</a:t>
              </a:r>
              <a:endParaRPr lang="de-AT" sz="800" spc="0" baseline="0">
                <a:ln/>
                <a:latin typeface="Open Sans Light"/>
                <a:ea typeface="Open Sans Light"/>
                <a:cs typeface="Open Sans Light"/>
                <a:sym typeface="Open Sans Light"/>
                <a:rtl val="0"/>
              </a:endParaRPr>
            </a:p>
          </p:txBody>
        </p:sp>
        <p:pic>
          <p:nvPicPr>
            <p:cNvPr id="245" name="Grafik 244">
              <a:extLst>
                <a:ext uri="{FF2B5EF4-FFF2-40B4-BE49-F238E27FC236}">
                  <a16:creationId xmlns:a16="http://schemas.microsoft.com/office/drawing/2014/main" id="{99A9C6BF-FBC3-3614-418D-7CABEB58005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352948" y="1238039"/>
              <a:ext cx="216000" cy="230400"/>
            </a:xfrm>
            <a:prstGeom prst="rect">
              <a:avLst/>
            </a:prstGeom>
            <a:ln>
              <a:solidFill>
                <a:schemeClr val="tx1"/>
              </a:solidFill>
              <a:prstDash val="dash"/>
            </a:ln>
          </p:spPr>
        </p:pic>
        <p:pic>
          <p:nvPicPr>
            <p:cNvPr id="248" name="Grafik 247">
              <a:extLst>
                <a:ext uri="{FF2B5EF4-FFF2-40B4-BE49-F238E27FC236}">
                  <a16:creationId xmlns:a16="http://schemas.microsoft.com/office/drawing/2014/main" id="{FC9A366C-21F0-6266-C271-2ED6CA5B031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0208357" y="1207692"/>
              <a:ext cx="225310" cy="216000"/>
            </a:xfrm>
            <a:prstGeom prst="rect">
              <a:avLst/>
            </a:prstGeom>
            <a:ln>
              <a:solidFill>
                <a:schemeClr val="tx1"/>
              </a:solidFill>
              <a:prstDash val="dash"/>
            </a:ln>
          </p:spPr>
        </p:pic>
        <p:pic>
          <p:nvPicPr>
            <p:cNvPr id="250" name="Grafik 249">
              <a:extLst>
                <a:ext uri="{FF2B5EF4-FFF2-40B4-BE49-F238E27FC236}">
                  <a16:creationId xmlns:a16="http://schemas.microsoft.com/office/drawing/2014/main" id="{EC960151-5E71-F7DD-1276-765D3CE31F8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1043907" y="1236694"/>
              <a:ext cx="216000" cy="168658"/>
            </a:xfrm>
            <a:prstGeom prst="rect">
              <a:avLst/>
            </a:prstGeom>
            <a:ln>
              <a:solidFill>
                <a:schemeClr val="tx1"/>
              </a:solidFill>
              <a:prstDash val="dash"/>
            </a:ln>
          </p:spPr>
        </p:pic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6A3442C3-07A5-357A-3DCA-67C9B2AA2B12}"/>
                </a:ext>
              </a:extLst>
            </p:cNvPr>
            <p:cNvSpPr txBox="1"/>
            <p:nvPr/>
          </p:nvSpPr>
          <p:spPr>
            <a:xfrm>
              <a:off x="9829560" y="687534"/>
              <a:ext cx="1489510" cy="261995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dash"/>
            </a:ln>
          </p:spPr>
          <p:txBody>
  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>
                <a:lnSpc>
                  <a:spcPct val="107000"/>
                </a:lnSpc>
              </a:pPr>
              <a:r>
                <a:rPr lang="en-GB" sz="1100">
                  <a:solidFill>
                    <a:schemeClr val="bg1"/>
                  </a:solidFill>
                </a:rPr>
                <a:t>3rd Party Platforms</a:t>
              </a:r>
            </a:p>
          </p:txBody>
        </p:sp>
      </p:grp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6D806155-3D4F-2FFD-5F99-32FD1C7ACBA5}"/>
              </a:ext>
            </a:extLst>
          </p:cNvPr>
          <p:cNvGrpSpPr/>
          <p:nvPr/>
        </p:nvGrpSpPr>
        <p:grpSpPr>
          <a:xfrm>
            <a:off x="277578" y="785094"/>
            <a:ext cx="367200" cy="1452130"/>
            <a:chOff x="277578" y="785094"/>
            <a:chExt cx="367200" cy="1452130"/>
          </a:xfrm>
        </p:grpSpPr>
        <p:sp>
          <p:nvSpPr>
            <p:cNvPr id="36" name="Freihandform: Form 29">
              <a:extLst>
                <a:ext uri="{FF2B5EF4-FFF2-40B4-BE49-F238E27FC236}">
                  <a16:creationId xmlns:a16="http://schemas.microsoft.com/office/drawing/2014/main" id="{114A26A5-25A2-7DE3-62A9-2D43CA39956F}"/>
                </a:ext>
              </a:extLst>
            </p:cNvPr>
            <p:cNvSpPr/>
            <p:nvPr/>
          </p:nvSpPr>
          <p:spPr>
            <a:xfrm>
              <a:off x="277578" y="785094"/>
              <a:ext cx="367200" cy="1452130"/>
            </a:xfrm>
            <a:custGeom>
              <a:avLst/>
              <a:gdLst>
                <a:gd name="connsiteX0" fmla="*/ -78 w 4794738"/>
                <a:gd name="connsiteY0" fmla="*/ -74 h 369024"/>
                <a:gd name="connsiteX1" fmla="*/ 4794661 w 4794738"/>
                <a:gd name="connsiteY1" fmla="*/ -74 h 369024"/>
                <a:gd name="connsiteX2" fmla="*/ 4794661 w 4794738"/>
                <a:gd name="connsiteY2" fmla="*/ 368950 h 369024"/>
                <a:gd name="connsiteX3" fmla="*/ -78 w 4794738"/>
                <a:gd name="connsiteY3" fmla="*/ 368950 h 369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94738" h="369024">
                  <a:moveTo>
                    <a:pt x="-78" y="-74"/>
                  </a:moveTo>
                  <a:lnTo>
                    <a:pt x="4794661" y="-74"/>
                  </a:lnTo>
                  <a:lnTo>
                    <a:pt x="4794661" y="368950"/>
                  </a:lnTo>
                  <a:lnTo>
                    <a:pt x="-78" y="368950"/>
                  </a:lnTo>
                  <a:close/>
                </a:path>
              </a:pathLst>
            </a:custGeom>
            <a:solidFill>
              <a:srgbClr val="92D050"/>
            </a:solidFill>
            <a:ln w="11723" cap="flat">
              <a:solidFill>
                <a:srgbClr val="00497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AT"/>
            </a:p>
          </p:txBody>
        </p:sp>
        <p:sp>
          <p:nvSpPr>
            <p:cNvPr id="37" name="Textfeld 30">
              <a:extLst>
                <a:ext uri="{FF2B5EF4-FFF2-40B4-BE49-F238E27FC236}">
                  <a16:creationId xmlns:a16="http://schemas.microsoft.com/office/drawing/2014/main" id="{B107625A-9C15-4AB8-D0F5-92A957DA9858}"/>
                </a:ext>
              </a:extLst>
            </p:cNvPr>
            <p:cNvSpPr txBox="1"/>
            <p:nvPr/>
          </p:nvSpPr>
          <p:spPr>
            <a:xfrm rot="16200000">
              <a:off x="69169" y="1413427"/>
              <a:ext cx="760931" cy="249492"/>
            </a:xfrm>
            <a:prstGeom prst="rect">
              <a:avLst/>
            </a:prstGeom>
            <a:solidFill>
              <a:srgbClr val="92D050"/>
            </a:solidFill>
          </p:spPr>
          <p:txBody>
            <a:bodyPr wrap="square" lIns="91440" tIns="45720" rIns="91440" bIns="45720" rtlCol="0" anchor="t">
              <a:spAutoFit/>
            </a:bodyPr>
            <a:lstStyle/>
            <a:p>
              <a:pPr algn="l">
                <a:lnSpc>
                  <a:spcPct val="107000"/>
                </a:lnSpc>
              </a:pPr>
              <a:r>
                <a:rPr lang="de-AT" sz="1000">
                  <a:ln/>
                  <a:latin typeface="Open Sans Light"/>
                  <a:ea typeface="Open Sans Light"/>
                  <a:cs typeface="Open Sans Light"/>
                  <a:sym typeface="Open Sans Light"/>
                </a:rPr>
                <a:t>Frontend</a:t>
              </a:r>
              <a:endParaRPr lang="en-US"/>
            </a:p>
          </p:txBody>
        </p:sp>
      </p:grpSp>
      <p:sp>
        <p:nvSpPr>
          <p:cNvPr id="42" name="Freihandform: Form 25">
            <a:extLst>
              <a:ext uri="{FF2B5EF4-FFF2-40B4-BE49-F238E27FC236}">
                <a16:creationId xmlns:a16="http://schemas.microsoft.com/office/drawing/2014/main" id="{8F23674E-811D-C4B3-B841-BD1B2E54B860}"/>
              </a:ext>
            </a:extLst>
          </p:cNvPr>
          <p:cNvSpPr/>
          <p:nvPr/>
        </p:nvSpPr>
        <p:spPr>
          <a:xfrm>
            <a:off x="268805" y="2237223"/>
            <a:ext cx="368393" cy="2904407"/>
          </a:xfrm>
          <a:custGeom>
            <a:avLst/>
            <a:gdLst>
              <a:gd name="connsiteX0" fmla="*/ -78 w 8270630"/>
              <a:gd name="connsiteY0" fmla="*/ -74 h 468601"/>
              <a:gd name="connsiteX1" fmla="*/ 8270553 w 8270630"/>
              <a:gd name="connsiteY1" fmla="*/ -74 h 468601"/>
              <a:gd name="connsiteX2" fmla="*/ 8270553 w 8270630"/>
              <a:gd name="connsiteY2" fmla="*/ 468528 h 468601"/>
              <a:gd name="connsiteX3" fmla="*/ -78 w 8270630"/>
              <a:gd name="connsiteY3" fmla="*/ 468528 h 468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70630" h="468601">
                <a:moveTo>
                  <a:pt x="-78" y="-74"/>
                </a:moveTo>
                <a:lnTo>
                  <a:pt x="8270553" y="-74"/>
                </a:lnTo>
                <a:lnTo>
                  <a:pt x="8270553" y="468528"/>
                </a:lnTo>
                <a:lnTo>
                  <a:pt x="-78" y="468528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11723" cap="flat">
            <a:solidFill>
              <a:srgbClr val="00497B"/>
            </a:solidFill>
            <a:prstDash val="solid"/>
            <a:round/>
          </a:ln>
        </p:spPr>
        <p:txBody>
          <a:bodyPr rtlCol="0" anchor="ctr"/>
          <a:lstStyle/>
          <a:p>
            <a:endParaRPr lang="de-AT"/>
          </a:p>
        </p:txBody>
      </p:sp>
      <p:sp>
        <p:nvSpPr>
          <p:cNvPr id="43" name="Textfeld 26">
            <a:extLst>
              <a:ext uri="{FF2B5EF4-FFF2-40B4-BE49-F238E27FC236}">
                <a16:creationId xmlns:a16="http://schemas.microsoft.com/office/drawing/2014/main" id="{60FC7A78-B2FA-5B7B-DF15-631C7E9D83A2}"/>
              </a:ext>
            </a:extLst>
          </p:cNvPr>
          <p:cNvSpPr txBox="1"/>
          <p:nvPr/>
        </p:nvSpPr>
        <p:spPr>
          <a:xfrm rot="16200000">
            <a:off x="-186640" y="3504641"/>
            <a:ext cx="1271502" cy="249492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>
              <a:lnSpc>
                <a:spcPct val="107000"/>
              </a:lnSpc>
            </a:pPr>
            <a:r>
              <a:rPr lang="de-AT" sz="1000" b="1">
                <a:ln/>
                <a:solidFill>
                  <a:schemeClr val="bg1"/>
                </a:solidFill>
                <a:latin typeface="Open Sans Light"/>
                <a:ea typeface="Open Sans Light"/>
                <a:cs typeface="Open Sans Light"/>
                <a:sym typeface="Open Sans Light"/>
              </a:rPr>
              <a:t>Backend and Tools</a:t>
            </a:r>
            <a:endParaRPr lang="en-US"/>
          </a:p>
        </p:txBody>
      </p:sp>
      <p:sp>
        <p:nvSpPr>
          <p:cNvPr id="47" name="Freihandform: Form 324">
            <a:extLst>
              <a:ext uri="{FF2B5EF4-FFF2-40B4-BE49-F238E27FC236}">
                <a16:creationId xmlns:a16="http://schemas.microsoft.com/office/drawing/2014/main" id="{AFA00347-6384-8E6F-2FCB-CE0E6B8805CE}"/>
              </a:ext>
            </a:extLst>
          </p:cNvPr>
          <p:cNvSpPr/>
          <p:nvPr/>
        </p:nvSpPr>
        <p:spPr>
          <a:xfrm>
            <a:off x="268805" y="5141630"/>
            <a:ext cx="368393" cy="1299758"/>
          </a:xfrm>
          <a:custGeom>
            <a:avLst/>
            <a:gdLst>
              <a:gd name="connsiteX0" fmla="*/ -78 w 1336430"/>
              <a:gd name="connsiteY0" fmla="*/ -74 h 2325437"/>
              <a:gd name="connsiteX1" fmla="*/ 1336353 w 1336430"/>
              <a:gd name="connsiteY1" fmla="*/ -74 h 2325437"/>
              <a:gd name="connsiteX2" fmla="*/ 1336353 w 1336430"/>
              <a:gd name="connsiteY2" fmla="*/ 2325363 h 2325437"/>
              <a:gd name="connsiteX3" fmla="*/ -78 w 1336430"/>
              <a:gd name="connsiteY3" fmla="*/ 2325363 h 2325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36430" h="2325437">
                <a:moveTo>
                  <a:pt x="-78" y="-74"/>
                </a:moveTo>
                <a:lnTo>
                  <a:pt x="1336353" y="-74"/>
                </a:lnTo>
                <a:lnTo>
                  <a:pt x="1336353" y="2325363"/>
                </a:lnTo>
                <a:lnTo>
                  <a:pt x="-78" y="2325363"/>
                </a:lnTo>
                <a:close/>
              </a:path>
            </a:pathLst>
          </a:custGeom>
          <a:solidFill>
            <a:srgbClr val="FF0000"/>
          </a:solidFill>
          <a:ln w="11723" cap="flat">
            <a:solidFill>
              <a:srgbClr val="00497B"/>
            </a:solidFill>
            <a:prstDash val="solid"/>
            <a:round/>
          </a:ln>
        </p:spPr>
        <p:txBody>
          <a:bodyPr rtlCol="0" anchor="ctr"/>
          <a:lstStyle/>
          <a:p>
            <a:endParaRPr lang="de-AT"/>
          </a:p>
        </p:txBody>
      </p:sp>
      <p:sp>
        <p:nvSpPr>
          <p:cNvPr id="49" name="Textfeld 325">
            <a:extLst>
              <a:ext uri="{FF2B5EF4-FFF2-40B4-BE49-F238E27FC236}">
                <a16:creationId xmlns:a16="http://schemas.microsoft.com/office/drawing/2014/main" id="{80956F1C-0143-8DFE-A4A9-FB3C3E3F7FC6}"/>
              </a:ext>
            </a:extLst>
          </p:cNvPr>
          <p:cNvSpPr txBox="1"/>
          <p:nvPr/>
        </p:nvSpPr>
        <p:spPr>
          <a:xfrm rot="16200000">
            <a:off x="33605" y="5673159"/>
            <a:ext cx="841897" cy="257506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>
              <a:lnSpc>
                <a:spcPct val="107000"/>
              </a:lnSpc>
            </a:pPr>
            <a:r>
              <a:rPr lang="de-DE" sz="1050">
                <a:solidFill>
                  <a:schemeClr val="bg1"/>
                </a:solidFill>
              </a:rPr>
              <a:t>API Services</a:t>
            </a:r>
          </a:p>
        </p:txBody>
      </p:sp>
      <p:cxnSp>
        <p:nvCxnSpPr>
          <p:cNvPr id="57" name="Gerade Verbindung mit Pfeil 371">
            <a:extLst>
              <a:ext uri="{FF2B5EF4-FFF2-40B4-BE49-F238E27FC236}">
                <a16:creationId xmlns:a16="http://schemas.microsoft.com/office/drawing/2014/main" id="{EF5B762D-C9A6-136A-A975-EEAFDF0E95E9}"/>
              </a:ext>
            </a:extLst>
          </p:cNvPr>
          <p:cNvCxnSpPr>
            <a:cxnSpLocks/>
          </p:cNvCxnSpPr>
          <p:nvPr/>
        </p:nvCxnSpPr>
        <p:spPr>
          <a:xfrm>
            <a:off x="3888325" y="5845486"/>
            <a:ext cx="320028" cy="494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1" name="Gruppieren 193">
            <a:extLst>
              <a:ext uri="{FF2B5EF4-FFF2-40B4-BE49-F238E27FC236}">
                <a16:creationId xmlns:a16="http://schemas.microsoft.com/office/drawing/2014/main" id="{7CBDE1F3-6F1C-0C4E-0EA8-48F1352A0826}"/>
              </a:ext>
            </a:extLst>
          </p:cNvPr>
          <p:cNvGrpSpPr/>
          <p:nvPr/>
        </p:nvGrpSpPr>
        <p:grpSpPr>
          <a:xfrm>
            <a:off x="9084953" y="5460818"/>
            <a:ext cx="1389556" cy="729755"/>
            <a:chOff x="1076978" y="2522260"/>
            <a:chExt cx="1389556" cy="491237"/>
          </a:xfrm>
        </p:grpSpPr>
        <p:sp>
          <p:nvSpPr>
            <p:cNvPr id="62" name="Freihandform: Form 194">
              <a:extLst>
                <a:ext uri="{FF2B5EF4-FFF2-40B4-BE49-F238E27FC236}">
                  <a16:creationId xmlns:a16="http://schemas.microsoft.com/office/drawing/2014/main" id="{2CCAED84-EAB4-63AD-FE7D-25589321129C}"/>
                </a:ext>
              </a:extLst>
            </p:cNvPr>
            <p:cNvSpPr/>
            <p:nvPr/>
          </p:nvSpPr>
          <p:spPr>
            <a:xfrm>
              <a:off x="1130104" y="2544551"/>
              <a:ext cx="1336430" cy="468946"/>
            </a:xfrm>
            <a:custGeom>
              <a:avLst/>
              <a:gdLst>
                <a:gd name="connsiteX0" fmla="*/ -78 w 1336430"/>
                <a:gd name="connsiteY0" fmla="*/ -74 h 2325437"/>
                <a:gd name="connsiteX1" fmla="*/ 1336353 w 1336430"/>
                <a:gd name="connsiteY1" fmla="*/ -74 h 2325437"/>
                <a:gd name="connsiteX2" fmla="*/ 1336353 w 1336430"/>
                <a:gd name="connsiteY2" fmla="*/ 2325363 h 2325437"/>
                <a:gd name="connsiteX3" fmla="*/ -78 w 1336430"/>
                <a:gd name="connsiteY3" fmla="*/ 2325363 h 2325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36430" h="2325437">
                  <a:moveTo>
                    <a:pt x="-78" y="-74"/>
                  </a:moveTo>
                  <a:lnTo>
                    <a:pt x="1336353" y="-74"/>
                  </a:lnTo>
                  <a:lnTo>
                    <a:pt x="1336353" y="2325363"/>
                  </a:lnTo>
                  <a:lnTo>
                    <a:pt x="-78" y="2325363"/>
                  </a:lnTo>
                  <a:close/>
                </a:path>
              </a:pathLst>
            </a:custGeom>
            <a:solidFill>
              <a:srgbClr val="FF0000"/>
            </a:solidFill>
            <a:ln w="11723" cap="flat">
              <a:solidFill>
                <a:srgbClr val="00497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AT"/>
            </a:p>
          </p:txBody>
        </p:sp>
        <p:sp>
          <p:nvSpPr>
            <p:cNvPr id="63" name="Textfeld 195">
              <a:extLst>
                <a:ext uri="{FF2B5EF4-FFF2-40B4-BE49-F238E27FC236}">
                  <a16:creationId xmlns:a16="http://schemas.microsoft.com/office/drawing/2014/main" id="{B81295AB-3D66-464F-D407-64C3AB6AE957}"/>
                </a:ext>
              </a:extLst>
            </p:cNvPr>
            <p:cNvSpPr txBox="1"/>
            <p:nvPr/>
          </p:nvSpPr>
          <p:spPr>
            <a:xfrm>
              <a:off x="1076978" y="2522260"/>
              <a:ext cx="910827" cy="38117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07000"/>
                </a:lnSpc>
              </a:pPr>
              <a:r>
                <a:rPr lang="de-DE" sz="1000">
                  <a:solidFill>
                    <a:schemeClr val="bg1"/>
                  </a:solidFill>
                </a:rPr>
                <a:t>Vector Search</a:t>
              </a:r>
            </a:p>
            <a:p>
              <a:pPr>
                <a:lnSpc>
                  <a:spcPct val="107000"/>
                </a:lnSpc>
              </a:pPr>
              <a:endParaRPr lang="de-DE" sz="1000">
                <a:solidFill>
                  <a:schemeClr val="bg1"/>
                </a:solidFill>
              </a:endParaRPr>
            </a:p>
            <a:p>
              <a:pPr algn="l">
                <a:lnSpc>
                  <a:spcPct val="107000"/>
                </a:lnSpc>
              </a:pPr>
              <a:endParaRPr lang="de-AT" sz="923" spc="0" baseline="0">
                <a:ln/>
                <a:solidFill>
                  <a:schemeClr val="bg1"/>
                </a:solidFill>
                <a:latin typeface="Open Sans Light"/>
                <a:ea typeface="Open Sans Light"/>
                <a:cs typeface="Open Sans Light"/>
                <a:sym typeface="Open Sans Light"/>
                <a:rtl val="0"/>
              </a:endParaRPr>
            </a:p>
          </p:txBody>
        </p:sp>
      </p:grpSp>
      <p:grpSp>
        <p:nvGrpSpPr>
          <p:cNvPr id="133" name="Gruppieren 266">
            <a:extLst>
              <a:ext uri="{FF2B5EF4-FFF2-40B4-BE49-F238E27FC236}">
                <a16:creationId xmlns:a16="http://schemas.microsoft.com/office/drawing/2014/main" id="{68EBD87E-2F85-BE83-B416-0AB6B4FEB61B}"/>
              </a:ext>
            </a:extLst>
          </p:cNvPr>
          <p:cNvGrpSpPr/>
          <p:nvPr/>
        </p:nvGrpSpPr>
        <p:grpSpPr>
          <a:xfrm>
            <a:off x="5175666" y="4462181"/>
            <a:ext cx="1859181" cy="281558"/>
            <a:chOff x="1104455" y="2561285"/>
            <a:chExt cx="1369413" cy="363275"/>
          </a:xfrm>
        </p:grpSpPr>
        <p:sp>
          <p:nvSpPr>
            <p:cNvPr id="135" name="Freihandform: Form 267">
              <a:extLst>
                <a:ext uri="{FF2B5EF4-FFF2-40B4-BE49-F238E27FC236}">
                  <a16:creationId xmlns:a16="http://schemas.microsoft.com/office/drawing/2014/main" id="{518DB0E9-F53A-D96F-9C6E-4DD8F28FA011}"/>
                </a:ext>
              </a:extLst>
            </p:cNvPr>
            <p:cNvSpPr/>
            <p:nvPr/>
          </p:nvSpPr>
          <p:spPr>
            <a:xfrm>
              <a:off x="1137438" y="2564942"/>
              <a:ext cx="1336430" cy="359618"/>
            </a:xfrm>
            <a:custGeom>
              <a:avLst/>
              <a:gdLst>
                <a:gd name="connsiteX0" fmla="*/ -78 w 1336430"/>
                <a:gd name="connsiteY0" fmla="*/ -74 h 2325437"/>
                <a:gd name="connsiteX1" fmla="*/ 1336353 w 1336430"/>
                <a:gd name="connsiteY1" fmla="*/ -74 h 2325437"/>
                <a:gd name="connsiteX2" fmla="*/ 1336353 w 1336430"/>
                <a:gd name="connsiteY2" fmla="*/ 2325363 h 2325437"/>
                <a:gd name="connsiteX3" fmla="*/ -78 w 1336430"/>
                <a:gd name="connsiteY3" fmla="*/ 2325363 h 2325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36430" h="2325437">
                  <a:moveTo>
                    <a:pt x="-78" y="-74"/>
                  </a:moveTo>
                  <a:lnTo>
                    <a:pt x="1336353" y="-74"/>
                  </a:lnTo>
                  <a:lnTo>
                    <a:pt x="1336353" y="2325363"/>
                  </a:lnTo>
                  <a:lnTo>
                    <a:pt x="-78" y="2325363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1723" cap="flat">
              <a:solidFill>
                <a:srgbClr val="00497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AT"/>
            </a:p>
          </p:txBody>
        </p:sp>
        <p:sp>
          <p:nvSpPr>
            <p:cNvPr id="136" name="Textfeld 268">
              <a:extLst>
                <a:ext uri="{FF2B5EF4-FFF2-40B4-BE49-F238E27FC236}">
                  <a16:creationId xmlns:a16="http://schemas.microsoft.com/office/drawing/2014/main" id="{335F24C8-011C-3B6D-7128-A69E5835A971}"/>
                </a:ext>
              </a:extLst>
            </p:cNvPr>
            <p:cNvSpPr txBox="1"/>
            <p:nvPr/>
          </p:nvSpPr>
          <p:spPr>
            <a:xfrm>
              <a:off x="1104455" y="2561285"/>
              <a:ext cx="636644" cy="2370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07000"/>
                </a:lnSpc>
              </a:pPr>
              <a:r>
                <a:rPr lang="de-DE" sz="1000">
                  <a:solidFill>
                    <a:schemeClr val="bg1"/>
                  </a:solidFill>
                </a:rPr>
                <a:t>Sub Bot Flow</a:t>
              </a:r>
              <a:endParaRPr lang="de-AT" sz="923" spc="0" baseline="0">
                <a:ln/>
                <a:solidFill>
                  <a:schemeClr val="bg1"/>
                </a:solidFill>
                <a:latin typeface="Open Sans Light"/>
                <a:ea typeface="Open Sans Light"/>
                <a:cs typeface="Open Sans Light"/>
                <a:sym typeface="Open Sans Light"/>
                <a:rtl val="0"/>
              </a:endParaRPr>
            </a:p>
          </p:txBody>
        </p:sp>
      </p:grpSp>
      <p:grpSp>
        <p:nvGrpSpPr>
          <p:cNvPr id="137" name="Gruppieren 266">
            <a:extLst>
              <a:ext uri="{FF2B5EF4-FFF2-40B4-BE49-F238E27FC236}">
                <a16:creationId xmlns:a16="http://schemas.microsoft.com/office/drawing/2014/main" id="{79CB5FF3-B37D-1D10-E223-BD9C4BD2EC8C}"/>
              </a:ext>
            </a:extLst>
          </p:cNvPr>
          <p:cNvGrpSpPr/>
          <p:nvPr/>
        </p:nvGrpSpPr>
        <p:grpSpPr>
          <a:xfrm>
            <a:off x="5173719" y="4772870"/>
            <a:ext cx="1861128" cy="281558"/>
            <a:chOff x="1104455" y="2561285"/>
            <a:chExt cx="1369413" cy="363275"/>
          </a:xfrm>
        </p:grpSpPr>
        <p:sp>
          <p:nvSpPr>
            <p:cNvPr id="139" name="Freihandform: Form 267">
              <a:extLst>
                <a:ext uri="{FF2B5EF4-FFF2-40B4-BE49-F238E27FC236}">
                  <a16:creationId xmlns:a16="http://schemas.microsoft.com/office/drawing/2014/main" id="{298EA1AC-1FA5-E7FC-804C-CBECDDD19C31}"/>
                </a:ext>
              </a:extLst>
            </p:cNvPr>
            <p:cNvSpPr/>
            <p:nvPr/>
          </p:nvSpPr>
          <p:spPr>
            <a:xfrm>
              <a:off x="1137438" y="2564942"/>
              <a:ext cx="1336430" cy="359618"/>
            </a:xfrm>
            <a:custGeom>
              <a:avLst/>
              <a:gdLst>
                <a:gd name="connsiteX0" fmla="*/ -78 w 1336430"/>
                <a:gd name="connsiteY0" fmla="*/ -74 h 2325437"/>
                <a:gd name="connsiteX1" fmla="*/ 1336353 w 1336430"/>
                <a:gd name="connsiteY1" fmla="*/ -74 h 2325437"/>
                <a:gd name="connsiteX2" fmla="*/ 1336353 w 1336430"/>
                <a:gd name="connsiteY2" fmla="*/ 2325363 h 2325437"/>
                <a:gd name="connsiteX3" fmla="*/ -78 w 1336430"/>
                <a:gd name="connsiteY3" fmla="*/ 2325363 h 2325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36430" h="2325437">
                  <a:moveTo>
                    <a:pt x="-78" y="-74"/>
                  </a:moveTo>
                  <a:lnTo>
                    <a:pt x="1336353" y="-74"/>
                  </a:lnTo>
                  <a:lnTo>
                    <a:pt x="1336353" y="2325363"/>
                  </a:lnTo>
                  <a:lnTo>
                    <a:pt x="-78" y="2325363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1723" cap="flat">
              <a:solidFill>
                <a:srgbClr val="00497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AT"/>
            </a:p>
          </p:txBody>
        </p:sp>
        <p:sp>
          <p:nvSpPr>
            <p:cNvPr id="140" name="Textfeld 268">
              <a:extLst>
                <a:ext uri="{FF2B5EF4-FFF2-40B4-BE49-F238E27FC236}">
                  <a16:creationId xmlns:a16="http://schemas.microsoft.com/office/drawing/2014/main" id="{64F73020-2A0D-5C80-D414-0803119F4063}"/>
                </a:ext>
              </a:extLst>
            </p:cNvPr>
            <p:cNvSpPr txBox="1"/>
            <p:nvPr/>
          </p:nvSpPr>
          <p:spPr>
            <a:xfrm>
              <a:off x="1104455" y="2561285"/>
              <a:ext cx="636644" cy="2370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07000"/>
                </a:lnSpc>
              </a:pPr>
              <a:r>
                <a:rPr lang="de-DE" sz="1000">
                  <a:solidFill>
                    <a:schemeClr val="bg1"/>
                  </a:solidFill>
                </a:rPr>
                <a:t>Sub Bot Flow</a:t>
              </a:r>
              <a:endParaRPr lang="de-AT" sz="923" spc="0" baseline="0">
                <a:ln/>
                <a:solidFill>
                  <a:schemeClr val="bg1"/>
                </a:solidFill>
                <a:latin typeface="Open Sans Light"/>
                <a:ea typeface="Open Sans Light"/>
                <a:cs typeface="Open Sans Light"/>
                <a:sym typeface="Open Sans Light"/>
                <a:rtl val="0"/>
              </a:endParaRPr>
            </a:p>
          </p:txBody>
        </p:sp>
      </p:grpSp>
      <p:cxnSp>
        <p:nvCxnSpPr>
          <p:cNvPr id="142" name="Gerade Verbindung mit Pfeil 246">
            <a:extLst>
              <a:ext uri="{FF2B5EF4-FFF2-40B4-BE49-F238E27FC236}">
                <a16:creationId xmlns:a16="http://schemas.microsoft.com/office/drawing/2014/main" id="{5FB82D60-C147-9B18-F7ED-56646B0993EF}"/>
              </a:ext>
            </a:extLst>
          </p:cNvPr>
          <p:cNvCxnSpPr>
            <a:cxnSpLocks/>
          </p:cNvCxnSpPr>
          <p:nvPr/>
        </p:nvCxnSpPr>
        <p:spPr>
          <a:xfrm>
            <a:off x="7539289" y="3296886"/>
            <a:ext cx="0" cy="752306"/>
          </a:xfrm>
          <a:prstGeom prst="straightConnector1">
            <a:avLst/>
          </a:prstGeom>
          <a:ln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Gerade Verbindung mit Pfeil 246">
            <a:extLst>
              <a:ext uri="{FF2B5EF4-FFF2-40B4-BE49-F238E27FC236}">
                <a16:creationId xmlns:a16="http://schemas.microsoft.com/office/drawing/2014/main" id="{78C2F90F-66D8-390F-A72E-10A57C622EBD}"/>
              </a:ext>
            </a:extLst>
          </p:cNvPr>
          <p:cNvCxnSpPr>
            <a:cxnSpLocks/>
            <a:endCxn id="22" idx="3"/>
          </p:cNvCxnSpPr>
          <p:nvPr/>
        </p:nvCxnSpPr>
        <p:spPr>
          <a:xfrm flipH="1">
            <a:off x="2631278" y="2905771"/>
            <a:ext cx="467657" cy="10020"/>
          </a:xfrm>
          <a:prstGeom prst="straightConnector1">
            <a:avLst/>
          </a:prstGeom>
          <a:ln>
            <a:solidFill>
              <a:srgbClr val="FFC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Elbow Connector 163">
            <a:extLst>
              <a:ext uri="{FF2B5EF4-FFF2-40B4-BE49-F238E27FC236}">
                <a16:creationId xmlns:a16="http://schemas.microsoft.com/office/drawing/2014/main" id="{C4AD9D16-A084-C185-F2B7-98A668DFF2AF}"/>
              </a:ext>
            </a:extLst>
          </p:cNvPr>
          <p:cNvCxnSpPr>
            <a:cxnSpLocks/>
          </p:cNvCxnSpPr>
          <p:nvPr/>
        </p:nvCxnSpPr>
        <p:spPr>
          <a:xfrm rot="16200000" flipH="1">
            <a:off x="7655407" y="3299806"/>
            <a:ext cx="1853948" cy="1829699"/>
          </a:xfrm>
          <a:prstGeom prst="bentConnector3">
            <a:avLst>
              <a:gd name="adj1" fmla="val 26756"/>
            </a:avLst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6" name="Textfeld 245">
            <a:extLst>
              <a:ext uri="{FF2B5EF4-FFF2-40B4-BE49-F238E27FC236}">
                <a16:creationId xmlns:a16="http://schemas.microsoft.com/office/drawing/2014/main" id="{8E14E54D-CCAE-B40B-49FF-F12E24C523E5}"/>
              </a:ext>
            </a:extLst>
          </p:cNvPr>
          <p:cNvSpPr txBox="1"/>
          <p:nvPr/>
        </p:nvSpPr>
        <p:spPr>
          <a:xfrm>
            <a:off x="8562884" y="2434030"/>
            <a:ext cx="1708443" cy="1060227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</p:spPr>
        <p:txBody>
          <a:bodyPr wrap="square" rtlCol="0">
            <a:spAutoFit/>
          </a:bodyPr>
          <a:lstStyle/>
          <a:p>
            <a:pPr>
              <a:lnSpc>
                <a:spcPct val="107000"/>
              </a:lnSpc>
            </a:pPr>
            <a:r>
              <a:rPr lang="de-DE" sz="1000" err="1"/>
              <a:t>Operations</a:t>
            </a:r>
            <a:r>
              <a:rPr lang="de-DE" sz="1000"/>
              <a:t> Dashboard (e.g. </a:t>
            </a:r>
            <a:r>
              <a:rPr lang="de-DE" sz="1000" err="1"/>
              <a:t>turning</a:t>
            </a:r>
            <a:r>
              <a:rPr lang="de-DE" sz="1000"/>
              <a:t> BOTs on and off)</a:t>
            </a:r>
          </a:p>
          <a:p>
            <a:pPr>
              <a:lnSpc>
                <a:spcPct val="107000"/>
              </a:lnSpc>
            </a:pPr>
            <a:r>
              <a:rPr lang="de-DE" sz="1000"/>
              <a:t>Monitoring and </a:t>
            </a:r>
            <a:r>
              <a:rPr lang="de-DE" sz="1000" err="1"/>
              <a:t>Logging</a:t>
            </a:r>
            <a:r>
              <a:rPr lang="de-DE" sz="1000"/>
              <a:t> (CLJ, LUX,…)</a:t>
            </a:r>
          </a:p>
          <a:p>
            <a:pPr algn="l">
              <a:lnSpc>
                <a:spcPct val="107000"/>
              </a:lnSpc>
            </a:pPr>
            <a:endParaRPr lang="de-AT" sz="923" spc="0" baseline="0">
              <a:ln/>
              <a:solidFill>
                <a:schemeClr val="bg1"/>
              </a:solidFill>
              <a:latin typeface="Open Sans Light"/>
              <a:ea typeface="Open Sans Light"/>
              <a:cs typeface="Open Sans Light"/>
              <a:sym typeface="Open Sans Light"/>
              <a:rtl val="0"/>
            </a:endParaRPr>
          </a:p>
        </p:txBody>
      </p:sp>
      <p:grpSp>
        <p:nvGrpSpPr>
          <p:cNvPr id="225" name="Gruppieren 224">
            <a:extLst>
              <a:ext uri="{FF2B5EF4-FFF2-40B4-BE49-F238E27FC236}">
                <a16:creationId xmlns:a16="http://schemas.microsoft.com/office/drawing/2014/main" id="{B7DB12BD-D581-41F7-07C1-2B36DF83D13E}"/>
              </a:ext>
            </a:extLst>
          </p:cNvPr>
          <p:cNvGrpSpPr/>
          <p:nvPr/>
        </p:nvGrpSpPr>
        <p:grpSpPr>
          <a:xfrm>
            <a:off x="10581058" y="2128812"/>
            <a:ext cx="1619903" cy="1495361"/>
            <a:chOff x="10611134" y="1921465"/>
            <a:chExt cx="1619903" cy="1495361"/>
          </a:xfrm>
        </p:grpSpPr>
        <p:grpSp>
          <p:nvGrpSpPr>
            <p:cNvPr id="7" name="Gruppieren 6">
              <a:extLst>
                <a:ext uri="{FF2B5EF4-FFF2-40B4-BE49-F238E27FC236}">
                  <a16:creationId xmlns:a16="http://schemas.microsoft.com/office/drawing/2014/main" id="{F5773F06-433C-0385-1420-D036E0D98D88}"/>
                </a:ext>
              </a:extLst>
            </p:cNvPr>
            <p:cNvGrpSpPr/>
            <p:nvPr/>
          </p:nvGrpSpPr>
          <p:grpSpPr>
            <a:xfrm>
              <a:off x="10730035" y="2256086"/>
              <a:ext cx="878858" cy="201978"/>
              <a:chOff x="10688640" y="3468725"/>
              <a:chExt cx="878858" cy="201978"/>
            </a:xfrm>
          </p:grpSpPr>
          <p:sp>
            <p:nvSpPr>
              <p:cNvPr id="148" name="Freihandform: Form 147">
                <a:extLst>
                  <a:ext uri="{FF2B5EF4-FFF2-40B4-BE49-F238E27FC236}">
                    <a16:creationId xmlns:a16="http://schemas.microsoft.com/office/drawing/2014/main" id="{E63B3634-32F7-9F73-FBC3-E26837A0C5E5}"/>
                  </a:ext>
                </a:extLst>
              </p:cNvPr>
              <p:cNvSpPr/>
              <p:nvPr/>
            </p:nvSpPr>
            <p:spPr>
              <a:xfrm>
                <a:off x="10688640" y="3479300"/>
                <a:ext cx="140676" cy="164010"/>
              </a:xfrm>
              <a:custGeom>
                <a:avLst/>
                <a:gdLst>
                  <a:gd name="connsiteX0" fmla="*/ -78 w 140676"/>
                  <a:gd name="connsiteY0" fmla="*/ -74 h 164010"/>
                  <a:gd name="connsiteX1" fmla="*/ 140599 w 140676"/>
                  <a:gd name="connsiteY1" fmla="*/ -74 h 164010"/>
                  <a:gd name="connsiteX2" fmla="*/ 140599 w 140676"/>
                  <a:gd name="connsiteY2" fmla="*/ 163937 h 164010"/>
                  <a:gd name="connsiteX3" fmla="*/ -78 w 140676"/>
                  <a:gd name="connsiteY3" fmla="*/ 163937 h 164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0676" h="164010">
                    <a:moveTo>
                      <a:pt x="-78" y="-74"/>
                    </a:moveTo>
                    <a:lnTo>
                      <a:pt x="140599" y="-74"/>
                    </a:lnTo>
                    <a:lnTo>
                      <a:pt x="140599" y="163937"/>
                    </a:lnTo>
                    <a:lnTo>
                      <a:pt x="-78" y="163937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11723" cap="flat">
                <a:solidFill>
                  <a:srgbClr val="00497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AT"/>
              </a:p>
            </p:txBody>
          </p:sp>
          <p:sp>
            <p:nvSpPr>
              <p:cNvPr id="149" name="Textfeld 148">
                <a:extLst>
                  <a:ext uri="{FF2B5EF4-FFF2-40B4-BE49-F238E27FC236}">
                    <a16:creationId xmlns:a16="http://schemas.microsoft.com/office/drawing/2014/main" id="{F5A1F929-1907-5697-AFD3-FBEBAAA520D3}"/>
                  </a:ext>
                </a:extLst>
              </p:cNvPr>
              <p:cNvSpPr txBox="1"/>
              <p:nvPr/>
            </p:nvSpPr>
            <p:spPr>
              <a:xfrm>
                <a:off x="10863337" y="3468725"/>
                <a:ext cx="704161" cy="201978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>
                <a:spAutoFit/>
              </a:bodyPr>
              <a:lstStyle/>
              <a:p>
                <a:pPr algn="l">
                  <a:lnSpc>
                    <a:spcPct val="107000"/>
                  </a:lnSpc>
                </a:pPr>
                <a:r>
                  <a:rPr lang="de-AT" sz="700">
                    <a:ln/>
                    <a:solidFill>
                      <a:srgbClr val="57565A"/>
                    </a:solidFill>
                    <a:latin typeface="Open Sans Light"/>
                    <a:ea typeface="Open Sans Light"/>
                    <a:cs typeface="Open Sans Light"/>
                    <a:sym typeface="Open Sans Light"/>
                  </a:rPr>
                  <a:t>Chat</a:t>
                </a:r>
                <a:r>
                  <a:rPr lang="de-AT" sz="700" spc="0" baseline="0">
                    <a:ln/>
                    <a:solidFill>
                      <a:srgbClr val="57565A"/>
                    </a:solidFill>
                    <a:latin typeface="Open Sans Light"/>
                    <a:ea typeface="Open Sans Light"/>
                    <a:cs typeface="Open Sans Light"/>
                    <a:sym typeface="Open Sans Light"/>
                  </a:rPr>
                  <a:t> </a:t>
                </a:r>
                <a:r>
                  <a:rPr lang="de-AT" sz="700">
                    <a:ln/>
                    <a:solidFill>
                      <a:srgbClr val="57565A"/>
                    </a:solidFill>
                    <a:latin typeface="Open Sans Light"/>
                    <a:ea typeface="Open Sans Light"/>
                    <a:cs typeface="Open Sans Light"/>
                    <a:sym typeface="Open Sans Light"/>
                  </a:rPr>
                  <a:t>Cl</a:t>
                </a:r>
                <a:r>
                  <a:rPr lang="de-AT" sz="700" spc="0" baseline="0">
                    <a:ln/>
                    <a:solidFill>
                      <a:srgbClr val="57565A"/>
                    </a:solidFill>
                    <a:latin typeface="Open Sans Light"/>
                    <a:ea typeface="Open Sans Light"/>
                    <a:cs typeface="Open Sans Light"/>
                    <a:sym typeface="Open Sans Light"/>
                  </a:rPr>
                  <a:t>ient</a:t>
                </a:r>
              </a:p>
            </p:txBody>
          </p:sp>
        </p:grpSp>
        <p:grpSp>
          <p:nvGrpSpPr>
            <p:cNvPr id="4" name="Gruppieren 3">
              <a:extLst>
                <a:ext uri="{FF2B5EF4-FFF2-40B4-BE49-F238E27FC236}">
                  <a16:creationId xmlns:a16="http://schemas.microsoft.com/office/drawing/2014/main" id="{20D4840D-73C4-EE0F-D0AE-243A3D6031D6}"/>
                </a:ext>
              </a:extLst>
            </p:cNvPr>
            <p:cNvGrpSpPr/>
            <p:nvPr/>
          </p:nvGrpSpPr>
          <p:grpSpPr>
            <a:xfrm>
              <a:off x="10730035" y="3208692"/>
              <a:ext cx="1236805" cy="208134"/>
              <a:chOff x="10698019" y="4107195"/>
              <a:chExt cx="1236805" cy="208134"/>
            </a:xfrm>
          </p:grpSpPr>
          <p:sp>
            <p:nvSpPr>
              <p:cNvPr id="154" name="Freihandform: Form 153">
                <a:extLst>
                  <a:ext uri="{FF2B5EF4-FFF2-40B4-BE49-F238E27FC236}">
                    <a16:creationId xmlns:a16="http://schemas.microsoft.com/office/drawing/2014/main" id="{EA1ECCA6-3EAA-ABD3-4ED6-1F16B700AD35}"/>
                  </a:ext>
                </a:extLst>
              </p:cNvPr>
              <p:cNvSpPr/>
              <p:nvPr/>
            </p:nvSpPr>
            <p:spPr>
              <a:xfrm>
                <a:off x="10698019" y="4129485"/>
                <a:ext cx="146538" cy="164010"/>
              </a:xfrm>
              <a:custGeom>
                <a:avLst/>
                <a:gdLst>
                  <a:gd name="connsiteX0" fmla="*/ -78 w 146538"/>
                  <a:gd name="connsiteY0" fmla="*/ -74 h 164010"/>
                  <a:gd name="connsiteX1" fmla="*/ 146460 w 146538"/>
                  <a:gd name="connsiteY1" fmla="*/ -74 h 164010"/>
                  <a:gd name="connsiteX2" fmla="*/ 146460 w 146538"/>
                  <a:gd name="connsiteY2" fmla="*/ 163937 h 164010"/>
                  <a:gd name="connsiteX3" fmla="*/ -78 w 146538"/>
                  <a:gd name="connsiteY3" fmla="*/ 163937 h 164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6538" h="164010">
                    <a:moveTo>
                      <a:pt x="-78" y="-74"/>
                    </a:moveTo>
                    <a:lnTo>
                      <a:pt x="146460" y="-74"/>
                    </a:lnTo>
                    <a:lnTo>
                      <a:pt x="146460" y="163937"/>
                    </a:lnTo>
                    <a:lnTo>
                      <a:pt x="-78" y="163937"/>
                    </a:lnTo>
                    <a:close/>
                  </a:path>
                </a:pathLst>
              </a:custGeom>
              <a:solidFill>
                <a:srgbClr val="FF0000"/>
              </a:solidFill>
              <a:ln w="11723" cap="flat">
                <a:solidFill>
                  <a:srgbClr val="00497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AT"/>
              </a:p>
            </p:txBody>
          </p:sp>
          <p:sp>
            <p:nvSpPr>
              <p:cNvPr id="155" name="Textfeld 154">
                <a:extLst>
                  <a:ext uri="{FF2B5EF4-FFF2-40B4-BE49-F238E27FC236}">
                    <a16:creationId xmlns:a16="http://schemas.microsoft.com/office/drawing/2014/main" id="{9C64EEE5-0C83-459E-9B89-A0AF67C24663}"/>
                  </a:ext>
                </a:extLst>
              </p:cNvPr>
              <p:cNvSpPr txBox="1"/>
              <p:nvPr/>
            </p:nvSpPr>
            <p:spPr>
              <a:xfrm>
                <a:off x="10863337" y="4107195"/>
                <a:ext cx="1071487" cy="20813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>
                  <a:lnSpc>
                    <a:spcPct val="107000"/>
                  </a:lnSpc>
                </a:pPr>
                <a:r>
                  <a:rPr lang="de-AT" sz="739" spc="0" baseline="0">
                    <a:ln/>
                    <a:solidFill>
                      <a:srgbClr val="57565A"/>
                    </a:solidFill>
                    <a:latin typeface="Open Sans Light"/>
                    <a:ea typeface="Open Sans Light"/>
                    <a:cs typeface="Open Sans Light"/>
                    <a:sym typeface="Open Sans Light"/>
                    <a:rtl val="0"/>
                  </a:rPr>
                  <a:t>Service / API</a:t>
                </a:r>
              </a:p>
            </p:txBody>
          </p:sp>
        </p:grpSp>
        <p:grpSp>
          <p:nvGrpSpPr>
            <p:cNvPr id="3" name="Gruppieren 2">
              <a:extLst>
                <a:ext uri="{FF2B5EF4-FFF2-40B4-BE49-F238E27FC236}">
                  <a16:creationId xmlns:a16="http://schemas.microsoft.com/office/drawing/2014/main" id="{C7CC922F-102F-59E8-8303-2CB037B1B581}"/>
                </a:ext>
              </a:extLst>
            </p:cNvPr>
            <p:cNvGrpSpPr/>
            <p:nvPr/>
          </p:nvGrpSpPr>
          <p:grpSpPr>
            <a:xfrm>
              <a:off x="10730035" y="2648761"/>
              <a:ext cx="1262443" cy="329834"/>
              <a:chOff x="10692863" y="4261361"/>
              <a:chExt cx="1262443" cy="329834"/>
            </a:xfrm>
          </p:grpSpPr>
          <p:sp>
            <p:nvSpPr>
              <p:cNvPr id="156" name="Freihandform: Form 155">
                <a:extLst>
                  <a:ext uri="{FF2B5EF4-FFF2-40B4-BE49-F238E27FC236}">
                    <a16:creationId xmlns:a16="http://schemas.microsoft.com/office/drawing/2014/main" id="{DF6919FA-3873-EBBE-CCB8-82100EDF3115}"/>
                  </a:ext>
                </a:extLst>
              </p:cNvPr>
              <p:cNvSpPr/>
              <p:nvPr/>
            </p:nvSpPr>
            <p:spPr>
              <a:xfrm>
                <a:off x="10692863" y="4357929"/>
                <a:ext cx="140676" cy="164010"/>
              </a:xfrm>
              <a:custGeom>
                <a:avLst/>
                <a:gdLst>
                  <a:gd name="connsiteX0" fmla="*/ -78 w 140676"/>
                  <a:gd name="connsiteY0" fmla="*/ -74 h 164010"/>
                  <a:gd name="connsiteX1" fmla="*/ 140599 w 140676"/>
                  <a:gd name="connsiteY1" fmla="*/ -74 h 164010"/>
                  <a:gd name="connsiteX2" fmla="*/ 140599 w 140676"/>
                  <a:gd name="connsiteY2" fmla="*/ 163937 h 164010"/>
                  <a:gd name="connsiteX3" fmla="*/ -78 w 140676"/>
                  <a:gd name="connsiteY3" fmla="*/ 163937 h 164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0676" h="164010">
                    <a:moveTo>
                      <a:pt x="-78" y="-74"/>
                    </a:moveTo>
                    <a:lnTo>
                      <a:pt x="140599" y="-74"/>
                    </a:lnTo>
                    <a:lnTo>
                      <a:pt x="140599" y="163937"/>
                    </a:lnTo>
                    <a:lnTo>
                      <a:pt x="-78" y="163937"/>
                    </a:lnTo>
                    <a:close/>
                  </a:path>
                </a:pathLst>
              </a:custGeom>
              <a:solidFill>
                <a:schemeClr val="accent6">
                  <a:lumMod val="40000"/>
                  <a:lumOff val="60000"/>
                </a:schemeClr>
              </a:solidFill>
              <a:ln w="11723" cap="flat">
                <a:solidFill>
                  <a:srgbClr val="00497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AT"/>
              </a:p>
            </p:txBody>
          </p:sp>
          <p:sp>
            <p:nvSpPr>
              <p:cNvPr id="157" name="Textfeld 156">
                <a:extLst>
                  <a:ext uri="{FF2B5EF4-FFF2-40B4-BE49-F238E27FC236}">
                    <a16:creationId xmlns:a16="http://schemas.microsoft.com/office/drawing/2014/main" id="{D5A2F1A9-B49F-03EC-855B-A819EEEF23E3}"/>
                  </a:ext>
                </a:extLst>
              </p:cNvPr>
              <p:cNvSpPr txBox="1"/>
              <p:nvPr/>
            </p:nvSpPr>
            <p:spPr>
              <a:xfrm>
                <a:off x="10883820" y="4261361"/>
                <a:ext cx="1071486" cy="32983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>
                  <a:lnSpc>
                    <a:spcPct val="107000"/>
                  </a:lnSpc>
                </a:pPr>
                <a:r>
                  <a:rPr lang="de-AT" sz="739" spc="0" baseline="0" err="1">
                    <a:ln/>
                    <a:solidFill>
                      <a:srgbClr val="57565A"/>
                    </a:solidFill>
                    <a:latin typeface="Open Sans Light"/>
                    <a:ea typeface="Open Sans Light"/>
                    <a:cs typeface="Open Sans Light"/>
                    <a:sym typeface="Open Sans Light"/>
                    <a:rtl val="0"/>
                  </a:rPr>
                  <a:t>Local</a:t>
                </a:r>
                <a:r>
                  <a:rPr lang="de-AT" sz="739" spc="0" baseline="0">
                    <a:ln/>
                    <a:solidFill>
                      <a:srgbClr val="57565A"/>
                    </a:solidFill>
                    <a:latin typeface="Open Sans Light"/>
                    <a:ea typeface="Open Sans Light"/>
                    <a:cs typeface="Open Sans Light"/>
                    <a:sym typeface="Open Sans Light"/>
                    <a:rtl val="0"/>
                  </a:rPr>
                  <a:t> BOT </a:t>
                </a:r>
                <a:r>
                  <a:rPr lang="de-AT" sz="739" spc="0" baseline="0" err="1">
                    <a:ln/>
                    <a:solidFill>
                      <a:srgbClr val="57565A"/>
                    </a:solidFill>
                    <a:latin typeface="Open Sans Light"/>
                    <a:ea typeface="Open Sans Light"/>
                    <a:cs typeface="Open Sans Light"/>
                    <a:sym typeface="Open Sans Light"/>
                    <a:rtl val="0"/>
                  </a:rPr>
                  <a:t>Execution</a:t>
                </a:r>
                <a:r>
                  <a:rPr lang="de-AT" sz="739" spc="0" baseline="0">
                    <a:ln/>
                    <a:solidFill>
                      <a:srgbClr val="57565A"/>
                    </a:solidFill>
                    <a:latin typeface="Open Sans Light"/>
                    <a:ea typeface="Open Sans Light"/>
                    <a:cs typeface="Open Sans Light"/>
                    <a:sym typeface="Open Sans Light"/>
                    <a:rtl val="0"/>
                  </a:rPr>
                  <a:t> and </a:t>
                </a:r>
                <a:r>
                  <a:rPr lang="de-AT" sz="739" spc="0" baseline="0" err="1">
                    <a:ln/>
                    <a:solidFill>
                      <a:srgbClr val="57565A"/>
                    </a:solidFill>
                    <a:latin typeface="Open Sans Light"/>
                    <a:ea typeface="Open Sans Light"/>
                    <a:cs typeface="Open Sans Light"/>
                    <a:sym typeface="Open Sans Light"/>
                    <a:rtl val="0"/>
                  </a:rPr>
                  <a:t>orchestration</a:t>
                </a:r>
                <a:r>
                  <a:rPr lang="de-AT" sz="739" spc="0" baseline="0">
                    <a:ln/>
                    <a:solidFill>
                      <a:srgbClr val="57565A"/>
                    </a:solidFill>
                    <a:latin typeface="Open Sans Light"/>
                    <a:ea typeface="Open Sans Light"/>
                    <a:cs typeface="Open Sans Light"/>
                    <a:sym typeface="Open Sans Light"/>
                    <a:rtl val="0"/>
                  </a:rPr>
                  <a:t> </a:t>
                </a:r>
              </a:p>
            </p:txBody>
          </p:sp>
        </p:grpSp>
        <p:grpSp>
          <p:nvGrpSpPr>
            <p:cNvPr id="5" name="Gruppieren 4">
              <a:extLst>
                <a:ext uri="{FF2B5EF4-FFF2-40B4-BE49-F238E27FC236}">
                  <a16:creationId xmlns:a16="http://schemas.microsoft.com/office/drawing/2014/main" id="{CFD90F0F-ECCE-8068-4212-34D5278021DB}"/>
                </a:ext>
              </a:extLst>
            </p:cNvPr>
            <p:cNvGrpSpPr/>
            <p:nvPr/>
          </p:nvGrpSpPr>
          <p:grpSpPr>
            <a:xfrm>
              <a:off x="10727677" y="2952627"/>
              <a:ext cx="1503360" cy="208134"/>
              <a:chOff x="10688640" y="3884609"/>
              <a:chExt cx="1503360" cy="208134"/>
            </a:xfrm>
          </p:grpSpPr>
          <p:sp>
            <p:nvSpPr>
              <p:cNvPr id="162" name="Freihandform: Form 161">
                <a:extLst>
                  <a:ext uri="{FF2B5EF4-FFF2-40B4-BE49-F238E27FC236}">
                    <a16:creationId xmlns:a16="http://schemas.microsoft.com/office/drawing/2014/main" id="{E64C3A07-4373-1DFA-EA90-60471FC32948}"/>
                  </a:ext>
                </a:extLst>
              </p:cNvPr>
              <p:cNvSpPr/>
              <p:nvPr/>
            </p:nvSpPr>
            <p:spPr>
              <a:xfrm>
                <a:off x="10688640" y="3906899"/>
                <a:ext cx="146538" cy="169868"/>
              </a:xfrm>
              <a:custGeom>
                <a:avLst/>
                <a:gdLst>
                  <a:gd name="connsiteX0" fmla="*/ -78 w 146538"/>
                  <a:gd name="connsiteY0" fmla="*/ -74 h 169868"/>
                  <a:gd name="connsiteX1" fmla="*/ 146460 w 146538"/>
                  <a:gd name="connsiteY1" fmla="*/ -74 h 169868"/>
                  <a:gd name="connsiteX2" fmla="*/ 146460 w 146538"/>
                  <a:gd name="connsiteY2" fmla="*/ 169794 h 169868"/>
                  <a:gd name="connsiteX3" fmla="*/ -78 w 146538"/>
                  <a:gd name="connsiteY3" fmla="*/ 169794 h 1698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6538" h="169868">
                    <a:moveTo>
                      <a:pt x="-78" y="-74"/>
                    </a:moveTo>
                    <a:lnTo>
                      <a:pt x="146460" y="-74"/>
                    </a:lnTo>
                    <a:lnTo>
                      <a:pt x="146460" y="169794"/>
                    </a:lnTo>
                    <a:lnTo>
                      <a:pt x="-78" y="169794"/>
                    </a:lnTo>
                    <a:close/>
                  </a:path>
                </a:pathLst>
              </a:custGeom>
              <a:solidFill>
                <a:srgbClr val="FFC000"/>
              </a:solidFill>
              <a:ln w="11723" cap="flat">
                <a:solidFill>
                  <a:srgbClr val="00497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AT"/>
              </a:p>
            </p:txBody>
          </p:sp>
          <p:sp>
            <p:nvSpPr>
              <p:cNvPr id="163" name="Textfeld 162">
                <a:extLst>
                  <a:ext uri="{FF2B5EF4-FFF2-40B4-BE49-F238E27FC236}">
                    <a16:creationId xmlns:a16="http://schemas.microsoft.com/office/drawing/2014/main" id="{8D1A9B3F-6ABD-B644-2DCD-6CB938B9D027}"/>
                  </a:ext>
                </a:extLst>
              </p:cNvPr>
              <p:cNvSpPr txBox="1"/>
              <p:nvPr/>
            </p:nvSpPr>
            <p:spPr>
              <a:xfrm>
                <a:off x="10871877" y="3884609"/>
                <a:ext cx="1320123" cy="20813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>
                  <a:lnSpc>
                    <a:spcPct val="107000"/>
                  </a:lnSpc>
                </a:pPr>
                <a:r>
                  <a:rPr lang="de-AT" sz="739" spc="0" baseline="0">
                    <a:ln/>
                    <a:solidFill>
                      <a:srgbClr val="57565A"/>
                    </a:solidFill>
                    <a:latin typeface="Open Sans Light"/>
                    <a:ea typeface="Open Sans Light"/>
                    <a:cs typeface="Open Sans Light"/>
                    <a:sym typeface="Open Sans Light"/>
                    <a:rtl val="0"/>
                  </a:rPr>
                  <a:t>BOT Model</a:t>
                </a:r>
              </a:p>
            </p:txBody>
          </p:sp>
        </p:grpSp>
        <p:sp>
          <p:nvSpPr>
            <p:cNvPr id="375" name="Textfeld 374">
              <a:extLst>
                <a:ext uri="{FF2B5EF4-FFF2-40B4-BE49-F238E27FC236}">
                  <a16:creationId xmlns:a16="http://schemas.microsoft.com/office/drawing/2014/main" id="{FC514A6E-639E-A322-1A45-16F9201414DB}"/>
                </a:ext>
              </a:extLst>
            </p:cNvPr>
            <p:cNvSpPr txBox="1"/>
            <p:nvPr/>
          </p:nvSpPr>
          <p:spPr>
            <a:xfrm>
              <a:off x="10611134" y="1921465"/>
              <a:ext cx="1420197" cy="33906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>
                <a:lnSpc>
                  <a:spcPct val="107000"/>
                </a:lnSpc>
              </a:pPr>
              <a:r>
                <a:rPr lang="de-DE" sz="1600"/>
                <a:t>Components</a:t>
              </a:r>
              <a:endParaRPr lang="de-AT" sz="1600"/>
            </a:p>
          </p:txBody>
        </p:sp>
        <p:grpSp>
          <p:nvGrpSpPr>
            <p:cNvPr id="249" name="Gruppieren 248">
              <a:extLst>
                <a:ext uri="{FF2B5EF4-FFF2-40B4-BE49-F238E27FC236}">
                  <a16:creationId xmlns:a16="http://schemas.microsoft.com/office/drawing/2014/main" id="{12EFAC61-E9B4-3729-EB0A-BD5D8E8036B8}"/>
                </a:ext>
              </a:extLst>
            </p:cNvPr>
            <p:cNvGrpSpPr/>
            <p:nvPr/>
          </p:nvGrpSpPr>
          <p:grpSpPr>
            <a:xfrm>
              <a:off x="10727130" y="2490457"/>
              <a:ext cx="1071484" cy="329834"/>
              <a:chOff x="10688640" y="3468725"/>
              <a:chExt cx="878858" cy="329834"/>
            </a:xfrm>
          </p:grpSpPr>
          <p:sp>
            <p:nvSpPr>
              <p:cNvPr id="251" name="Freihandform: Form 250">
                <a:extLst>
                  <a:ext uri="{FF2B5EF4-FFF2-40B4-BE49-F238E27FC236}">
                    <a16:creationId xmlns:a16="http://schemas.microsoft.com/office/drawing/2014/main" id="{6E8879F2-363B-5DF4-AAEE-9AD409708373}"/>
                  </a:ext>
                </a:extLst>
              </p:cNvPr>
              <p:cNvSpPr/>
              <p:nvPr/>
            </p:nvSpPr>
            <p:spPr>
              <a:xfrm>
                <a:off x="10688640" y="3479300"/>
                <a:ext cx="120633" cy="150571"/>
              </a:xfrm>
              <a:custGeom>
                <a:avLst/>
                <a:gdLst>
                  <a:gd name="connsiteX0" fmla="*/ -78 w 140676"/>
                  <a:gd name="connsiteY0" fmla="*/ -74 h 164010"/>
                  <a:gd name="connsiteX1" fmla="*/ 140599 w 140676"/>
                  <a:gd name="connsiteY1" fmla="*/ -74 h 164010"/>
                  <a:gd name="connsiteX2" fmla="*/ 140599 w 140676"/>
                  <a:gd name="connsiteY2" fmla="*/ 163937 h 164010"/>
                  <a:gd name="connsiteX3" fmla="*/ -78 w 140676"/>
                  <a:gd name="connsiteY3" fmla="*/ 163937 h 164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0676" h="164010">
                    <a:moveTo>
                      <a:pt x="-78" y="-74"/>
                    </a:moveTo>
                    <a:lnTo>
                      <a:pt x="140599" y="-74"/>
                    </a:lnTo>
                    <a:lnTo>
                      <a:pt x="140599" y="163937"/>
                    </a:lnTo>
                    <a:lnTo>
                      <a:pt x="-78" y="163937"/>
                    </a:lnTo>
                    <a:close/>
                  </a:path>
                </a:pathLst>
              </a:custGeom>
              <a:solidFill>
                <a:schemeClr val="tx1">
                  <a:lumMod val="25000"/>
                  <a:lumOff val="75000"/>
                </a:schemeClr>
              </a:solidFill>
              <a:ln w="11723" cap="flat">
                <a:solidFill>
                  <a:srgbClr val="00497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AT"/>
              </a:p>
            </p:txBody>
          </p:sp>
          <p:sp>
            <p:nvSpPr>
              <p:cNvPr id="252" name="Textfeld 251">
                <a:extLst>
                  <a:ext uri="{FF2B5EF4-FFF2-40B4-BE49-F238E27FC236}">
                    <a16:creationId xmlns:a16="http://schemas.microsoft.com/office/drawing/2014/main" id="{4036D796-9508-9AB1-65B1-E9219D25F4FB}"/>
                  </a:ext>
                </a:extLst>
              </p:cNvPr>
              <p:cNvSpPr txBox="1"/>
              <p:nvPr/>
            </p:nvSpPr>
            <p:spPr>
              <a:xfrm>
                <a:off x="10863337" y="3468725"/>
                <a:ext cx="704161" cy="32983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>
                  <a:lnSpc>
                    <a:spcPct val="107000"/>
                  </a:lnSpc>
                </a:pPr>
                <a:r>
                  <a:rPr lang="de-AT" sz="739" spc="0" baseline="0">
                    <a:ln/>
                    <a:solidFill>
                      <a:srgbClr val="57565A"/>
                    </a:solidFill>
                    <a:latin typeface="Open Sans Light"/>
                    <a:ea typeface="Open Sans Light"/>
                    <a:cs typeface="Open Sans Light"/>
                    <a:sym typeface="Open Sans Light"/>
                    <a:rtl val="0"/>
                  </a:rPr>
                  <a:t>IT </a:t>
                </a:r>
                <a:r>
                  <a:rPr lang="de-AT" sz="739" spc="0" baseline="0" err="1">
                    <a:ln/>
                    <a:solidFill>
                      <a:srgbClr val="57565A"/>
                    </a:solidFill>
                    <a:latin typeface="Open Sans Light"/>
                    <a:ea typeface="Open Sans Light"/>
                    <a:cs typeface="Open Sans Light"/>
                    <a:sym typeface="Open Sans Light"/>
                    <a:rtl val="0"/>
                  </a:rPr>
                  <a:t>Operations</a:t>
                </a:r>
                <a:endParaRPr lang="de-AT" sz="739" spc="0" baseline="0">
                  <a:ln/>
                  <a:solidFill>
                    <a:srgbClr val="57565A"/>
                  </a:solidFill>
                  <a:latin typeface="Open Sans Light"/>
                  <a:ea typeface="Open Sans Light"/>
                  <a:cs typeface="Open Sans Light"/>
                  <a:sym typeface="Open Sans Light"/>
                  <a:rtl val="0"/>
                </a:endParaRPr>
              </a:p>
            </p:txBody>
          </p:sp>
        </p:grpSp>
      </p:grpSp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669DB751-5560-1E65-FBAA-F943221CF048}"/>
              </a:ext>
            </a:extLst>
          </p:cNvPr>
          <p:cNvCxnSpPr>
            <a:cxnSpLocks/>
            <a:endCxn id="246" idx="1"/>
          </p:cNvCxnSpPr>
          <p:nvPr/>
        </p:nvCxnSpPr>
        <p:spPr>
          <a:xfrm flipV="1">
            <a:off x="8128580" y="2964144"/>
            <a:ext cx="434304" cy="755"/>
          </a:xfrm>
          <a:prstGeom prst="straightConnector1">
            <a:avLst/>
          </a:prstGeom>
          <a:ln>
            <a:solidFill>
              <a:schemeClr val="tx1">
                <a:lumMod val="25000"/>
                <a:lumOff val="75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Freihandform: Form 29">
            <a:extLst>
              <a:ext uri="{FF2B5EF4-FFF2-40B4-BE49-F238E27FC236}">
                <a16:creationId xmlns:a16="http://schemas.microsoft.com/office/drawing/2014/main" id="{1B50B62F-8820-8A54-F919-882D6A462670}"/>
              </a:ext>
            </a:extLst>
          </p:cNvPr>
          <p:cNvSpPr/>
          <p:nvPr/>
        </p:nvSpPr>
        <p:spPr>
          <a:xfrm>
            <a:off x="968643" y="785095"/>
            <a:ext cx="4302861" cy="1535631"/>
          </a:xfrm>
          <a:custGeom>
            <a:avLst/>
            <a:gdLst>
              <a:gd name="connsiteX0" fmla="*/ -78 w 4794738"/>
              <a:gd name="connsiteY0" fmla="*/ -74 h 369024"/>
              <a:gd name="connsiteX1" fmla="*/ 4794661 w 4794738"/>
              <a:gd name="connsiteY1" fmla="*/ -74 h 369024"/>
              <a:gd name="connsiteX2" fmla="*/ 4794661 w 4794738"/>
              <a:gd name="connsiteY2" fmla="*/ 368950 h 369024"/>
              <a:gd name="connsiteX3" fmla="*/ -78 w 4794738"/>
              <a:gd name="connsiteY3" fmla="*/ 368950 h 3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94738" h="369024">
                <a:moveTo>
                  <a:pt x="-78" y="-74"/>
                </a:moveTo>
                <a:lnTo>
                  <a:pt x="4794661" y="-74"/>
                </a:lnTo>
                <a:lnTo>
                  <a:pt x="4794661" y="368950"/>
                </a:lnTo>
                <a:lnTo>
                  <a:pt x="-78" y="368950"/>
                </a:lnTo>
                <a:close/>
              </a:path>
            </a:pathLst>
          </a:custGeom>
          <a:solidFill>
            <a:schemeClr val="bg2"/>
          </a:solidFill>
          <a:ln w="11723" cap="flat">
            <a:solidFill>
              <a:schemeClr val="tx1"/>
            </a:solidFill>
            <a:prstDash val="solid"/>
            <a:round/>
          </a:ln>
        </p:spPr>
        <p:txBody>
          <a:bodyPr rtlCol="0" anchor="ctr"/>
          <a:lstStyle/>
          <a:p>
            <a:endParaRPr lang="de-AT"/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07499D0D-E404-73B9-8220-F75A8E488806}"/>
              </a:ext>
            </a:extLst>
          </p:cNvPr>
          <p:cNvSpPr txBox="1"/>
          <p:nvPr/>
        </p:nvSpPr>
        <p:spPr>
          <a:xfrm>
            <a:off x="1790095" y="1130606"/>
            <a:ext cx="1808768" cy="251351"/>
          </a:xfrm>
          <a:prstGeom prst="rect">
            <a:avLst/>
          </a:prstGeom>
          <a:solidFill>
            <a:srgbClr val="92D050"/>
          </a:solidFill>
          <a:ln>
            <a:solidFill>
              <a:schemeClr val="bg2"/>
            </a:solidFill>
          </a:ln>
        </p:spPr>
        <p:txBody>
          <a:bodyPr wrap="square" rtlCol="0">
            <a:spAutoFit/>
          </a:bodyPr>
          <a:lstStyle/>
          <a:p>
            <a:pPr algn="l">
              <a:lnSpc>
                <a:spcPct val="107000"/>
              </a:lnSpc>
            </a:pPr>
            <a:r>
              <a:rPr lang="de-AT" sz="1015">
                <a:ln/>
                <a:latin typeface="Open Sans Light"/>
                <a:ea typeface="Open Sans Light"/>
                <a:cs typeface="Open Sans Light"/>
                <a:sym typeface="Open Sans Light"/>
                <a:rtl val="0"/>
              </a:rPr>
              <a:t>George Client (Hey George)</a:t>
            </a:r>
            <a:endParaRPr lang="de-AT" sz="1015" spc="0" baseline="0">
              <a:ln/>
              <a:latin typeface="Open Sans Light"/>
              <a:ea typeface="Open Sans Light"/>
              <a:cs typeface="Open Sans Light"/>
              <a:sym typeface="Open Sans Light"/>
              <a:rtl val="0"/>
            </a:endParaRPr>
          </a:p>
        </p:txBody>
      </p:sp>
      <p:pic>
        <p:nvPicPr>
          <p:cNvPr id="239" name="pasted-image.pdf" descr="pasted-image.pdf">
            <a:extLst>
              <a:ext uri="{FF2B5EF4-FFF2-40B4-BE49-F238E27FC236}">
                <a16:creationId xmlns:a16="http://schemas.microsoft.com/office/drawing/2014/main" id="{AD299B20-70DF-DC07-9F12-20A39B3B4C3C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prstClr val="black"/>
              <a:schemeClr val="accent3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4210019" y="1278566"/>
            <a:ext cx="332669" cy="557707"/>
          </a:xfrm>
          <a:prstGeom prst="rect">
            <a:avLst/>
          </a:prstGeom>
          <a:ln w="3175">
            <a:miter lim="400000"/>
          </a:ln>
        </p:spPr>
      </p:pic>
      <p:sp>
        <p:nvSpPr>
          <p:cNvPr id="242" name="Textfeld 241">
            <a:extLst>
              <a:ext uri="{FF2B5EF4-FFF2-40B4-BE49-F238E27FC236}">
                <a16:creationId xmlns:a16="http://schemas.microsoft.com/office/drawing/2014/main" id="{C40B1BD5-AA31-5CA8-C02B-1F554492A993}"/>
              </a:ext>
            </a:extLst>
          </p:cNvPr>
          <p:cNvSpPr txBox="1"/>
          <p:nvPr/>
        </p:nvSpPr>
        <p:spPr>
          <a:xfrm>
            <a:off x="2467610" y="729024"/>
            <a:ext cx="1074910" cy="4006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07000"/>
              </a:lnSpc>
            </a:pPr>
            <a:r>
              <a:rPr lang="de-DE" sz="2000">
                <a:solidFill>
                  <a:schemeClr val="bg1"/>
                </a:solidFill>
              </a:rPr>
              <a:t>George</a:t>
            </a:r>
            <a:endParaRPr lang="de-AT" sz="1600" err="1">
              <a:solidFill>
                <a:schemeClr val="bg1"/>
              </a:solidFill>
            </a:endParaRPr>
          </a:p>
        </p:txBody>
      </p:sp>
      <p:cxnSp>
        <p:nvCxnSpPr>
          <p:cNvPr id="50" name="Gerade Verbindung mit Pfeil 49">
            <a:extLst>
              <a:ext uri="{FF2B5EF4-FFF2-40B4-BE49-F238E27FC236}">
                <a16:creationId xmlns:a16="http://schemas.microsoft.com/office/drawing/2014/main" id="{91485BF6-F913-B55A-FE76-07E1DAEF7881}"/>
              </a:ext>
            </a:extLst>
          </p:cNvPr>
          <p:cNvCxnSpPr>
            <a:cxnSpLocks/>
          </p:cNvCxnSpPr>
          <p:nvPr/>
        </p:nvCxnSpPr>
        <p:spPr>
          <a:xfrm>
            <a:off x="2673446" y="1370601"/>
            <a:ext cx="0" cy="303261"/>
          </a:xfrm>
          <a:prstGeom prst="straightConnector1">
            <a:avLst/>
          </a:prstGeom>
          <a:ln>
            <a:solidFill>
              <a:schemeClr val="accent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Gerade Verbindung mit Pfeil 205">
            <a:extLst>
              <a:ext uri="{FF2B5EF4-FFF2-40B4-BE49-F238E27FC236}">
                <a16:creationId xmlns:a16="http://schemas.microsoft.com/office/drawing/2014/main" id="{7883AF3E-A413-A69F-44C0-8C4FBC4F7097}"/>
              </a:ext>
            </a:extLst>
          </p:cNvPr>
          <p:cNvCxnSpPr>
            <a:cxnSpLocks/>
          </p:cNvCxnSpPr>
          <p:nvPr/>
        </p:nvCxnSpPr>
        <p:spPr>
          <a:xfrm>
            <a:off x="3592688" y="1918394"/>
            <a:ext cx="1823981" cy="37483"/>
          </a:xfrm>
          <a:prstGeom prst="straightConnector1">
            <a:avLst/>
          </a:prstGeom>
          <a:ln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5" name="Gruppieren 264">
            <a:extLst>
              <a:ext uri="{FF2B5EF4-FFF2-40B4-BE49-F238E27FC236}">
                <a16:creationId xmlns:a16="http://schemas.microsoft.com/office/drawing/2014/main" id="{5AC7DCD8-2114-1EC3-7584-17EE8C8DD45D}"/>
              </a:ext>
            </a:extLst>
          </p:cNvPr>
          <p:cNvGrpSpPr/>
          <p:nvPr/>
        </p:nvGrpSpPr>
        <p:grpSpPr>
          <a:xfrm>
            <a:off x="1762605" y="1640230"/>
            <a:ext cx="1814399" cy="608402"/>
            <a:chOff x="1060979" y="4442409"/>
            <a:chExt cx="1814399" cy="608402"/>
          </a:xfrm>
        </p:grpSpPr>
        <p:grpSp>
          <p:nvGrpSpPr>
            <p:cNvPr id="60" name="Gruppieren 59">
              <a:extLst>
                <a:ext uri="{FF2B5EF4-FFF2-40B4-BE49-F238E27FC236}">
                  <a16:creationId xmlns:a16="http://schemas.microsoft.com/office/drawing/2014/main" id="{31ABAF7E-CD22-DC87-2C40-5676E652A7FF}"/>
                </a:ext>
              </a:extLst>
            </p:cNvPr>
            <p:cNvGrpSpPr/>
            <p:nvPr/>
          </p:nvGrpSpPr>
          <p:grpSpPr>
            <a:xfrm>
              <a:off x="1060979" y="4442409"/>
              <a:ext cx="1814399" cy="608402"/>
              <a:chOff x="1076978" y="2522260"/>
              <a:chExt cx="1389556" cy="351777"/>
            </a:xfrm>
          </p:grpSpPr>
          <p:sp>
            <p:nvSpPr>
              <p:cNvPr id="263" name="Freihandform: Form 262">
                <a:extLst>
                  <a:ext uri="{FF2B5EF4-FFF2-40B4-BE49-F238E27FC236}">
                    <a16:creationId xmlns:a16="http://schemas.microsoft.com/office/drawing/2014/main" id="{2C032A74-71BF-342A-85EB-9ED9F374B877}"/>
                  </a:ext>
                </a:extLst>
              </p:cNvPr>
              <p:cNvSpPr/>
              <p:nvPr/>
            </p:nvSpPr>
            <p:spPr>
              <a:xfrm>
                <a:off x="1130104" y="2544552"/>
                <a:ext cx="1336430" cy="329485"/>
              </a:xfrm>
              <a:custGeom>
                <a:avLst/>
                <a:gdLst>
                  <a:gd name="connsiteX0" fmla="*/ -78 w 1336430"/>
                  <a:gd name="connsiteY0" fmla="*/ -74 h 2325437"/>
                  <a:gd name="connsiteX1" fmla="*/ 1336353 w 1336430"/>
                  <a:gd name="connsiteY1" fmla="*/ -74 h 2325437"/>
                  <a:gd name="connsiteX2" fmla="*/ 1336353 w 1336430"/>
                  <a:gd name="connsiteY2" fmla="*/ 2325363 h 2325437"/>
                  <a:gd name="connsiteX3" fmla="*/ -78 w 1336430"/>
                  <a:gd name="connsiteY3" fmla="*/ 2325363 h 2325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36430" h="2325437">
                    <a:moveTo>
                      <a:pt x="-78" y="-74"/>
                    </a:moveTo>
                    <a:lnTo>
                      <a:pt x="1336353" y="-74"/>
                    </a:lnTo>
                    <a:lnTo>
                      <a:pt x="1336353" y="2325363"/>
                    </a:lnTo>
                    <a:lnTo>
                      <a:pt x="-78" y="2325363"/>
                    </a:lnTo>
                    <a:close/>
                  </a:path>
                </a:pathLst>
              </a:custGeom>
              <a:solidFill>
                <a:srgbClr val="92D050"/>
              </a:solidFill>
              <a:ln w="11723" cap="flat">
                <a:solidFill>
                  <a:srgbClr val="00497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AT"/>
              </a:p>
            </p:txBody>
          </p:sp>
          <p:sp>
            <p:nvSpPr>
              <p:cNvPr id="264" name="Textfeld 263">
                <a:extLst>
                  <a:ext uri="{FF2B5EF4-FFF2-40B4-BE49-F238E27FC236}">
                    <a16:creationId xmlns:a16="http://schemas.microsoft.com/office/drawing/2014/main" id="{11B6AD2A-5DE4-95D5-4C0A-66E9690DD3F3}"/>
                  </a:ext>
                </a:extLst>
              </p:cNvPr>
              <p:cNvSpPr txBox="1"/>
              <p:nvPr/>
            </p:nvSpPr>
            <p:spPr>
              <a:xfrm>
                <a:off x="1076978" y="2522260"/>
                <a:ext cx="1014292" cy="1439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lnSpc>
                    <a:spcPct val="107000"/>
                  </a:lnSpc>
                </a:pPr>
                <a:r>
                  <a:rPr lang="de-DE" sz="1000">
                    <a:latin typeface="Open Sans Light" panose="020B0306030504020204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George Master BOT</a:t>
                </a:r>
                <a:endParaRPr lang="de-AT" sz="923" spc="0" baseline="0">
                  <a:ln/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  <a:sym typeface="Open Sans Light"/>
                  <a:rtl val="0"/>
                </a:endParaRPr>
              </a:p>
            </p:txBody>
          </p:sp>
        </p:grpSp>
        <p:pic>
          <p:nvPicPr>
            <p:cNvPr id="59" name="Graphic 4" descr="Robot outline">
              <a:extLst>
                <a:ext uri="{FF2B5EF4-FFF2-40B4-BE49-F238E27FC236}">
                  <a16:creationId xmlns:a16="http://schemas.microsoft.com/office/drawing/2014/main" id="{53C66768-54A1-14D9-832F-CAA6A6203ED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flipH="1">
              <a:off x="1159434" y="4658742"/>
              <a:ext cx="387818" cy="387818"/>
            </a:xfrm>
            <a:prstGeom prst="rect">
              <a:avLst/>
            </a:prstGeom>
          </p:spPr>
        </p:pic>
      </p:grpSp>
      <p:pic>
        <p:nvPicPr>
          <p:cNvPr id="1026" name="Picture 2">
            <a:extLst>
              <a:ext uri="{FF2B5EF4-FFF2-40B4-BE49-F238E27FC236}">
                <a16:creationId xmlns:a16="http://schemas.microsoft.com/office/drawing/2014/main" id="{9B2488DB-97F9-E1EA-BFDD-78F34FD700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5482" y="2666237"/>
            <a:ext cx="388800" cy="388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02" name="Verbinder: gewinkelt 301">
            <a:extLst>
              <a:ext uri="{FF2B5EF4-FFF2-40B4-BE49-F238E27FC236}">
                <a16:creationId xmlns:a16="http://schemas.microsoft.com/office/drawing/2014/main" id="{1BA358C7-A5CD-8DB4-B7FC-343DDEC98BC1}"/>
              </a:ext>
            </a:extLst>
          </p:cNvPr>
          <p:cNvCxnSpPr>
            <a:cxnSpLocks/>
            <a:endCxn id="261" idx="0"/>
          </p:cNvCxnSpPr>
          <p:nvPr/>
        </p:nvCxnSpPr>
        <p:spPr>
          <a:xfrm rot="5400000">
            <a:off x="4143126" y="3782516"/>
            <a:ext cx="729956" cy="1"/>
          </a:xfrm>
          <a:prstGeom prst="bentConnector3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8" name="Gerade Verbindung mit Pfeil 307">
            <a:extLst>
              <a:ext uri="{FF2B5EF4-FFF2-40B4-BE49-F238E27FC236}">
                <a16:creationId xmlns:a16="http://schemas.microsoft.com/office/drawing/2014/main" id="{7D2207AE-62E0-AB78-0094-6F2A42A68C95}"/>
              </a:ext>
            </a:extLst>
          </p:cNvPr>
          <p:cNvCxnSpPr>
            <a:cxnSpLocks/>
            <a:endCxn id="257" idx="0"/>
          </p:cNvCxnSpPr>
          <p:nvPr/>
        </p:nvCxnSpPr>
        <p:spPr>
          <a:xfrm>
            <a:off x="6648442" y="3417538"/>
            <a:ext cx="0" cy="250631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558788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58F33B-9B70-FB13-9149-41656A6505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arget operation model (TOM) high level activitie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E8CC9C0-365F-2AE2-45F2-482F3CE5F5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</a:rPr>
              <a:t>23.11.2023</a:t>
            </a: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B57D73A-7920-829D-2672-881F1D2612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cs typeface="+mn-cs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19B37FC-C3CD-023B-D639-4E6FEB9AD8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4E211D1-FE55-4D0D-01F3-2179C55388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7" y="2152410"/>
            <a:ext cx="4596838" cy="4182401"/>
          </a:xfrm>
        </p:spPr>
        <p:txBody>
          <a:bodyPr/>
          <a:lstStyle/>
          <a:p>
            <a:pPr marL="0" indent="0" algn="l">
              <a:buNone/>
            </a:pPr>
            <a:r>
              <a:rPr lang="en-US" sz="1800" b="1">
                <a:solidFill>
                  <a:srgbClr val="000000"/>
                </a:solidFill>
                <a:latin typeface="Calibri" panose="020F0502020204030204" pitchFamily="34" charset="0"/>
              </a:rPr>
              <a:t>New service (partly iterative)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Calibri" panose="020F0502020204030204" pitchFamily="34" charset="0"/>
              </a:rPr>
              <a:t>Creating a new idea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Calibri" panose="020F0502020204030204" pitchFamily="34" charset="0"/>
              </a:rPr>
              <a:t>Assessing business benefits and funding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Calibri" panose="020F0502020204030204" pitchFamily="34" charset="0"/>
              </a:rPr>
              <a:t>Designing the model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Calibri" panose="020F0502020204030204" pitchFamily="34" charset="0"/>
              </a:rPr>
              <a:t>Assessing dependencies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Calibri" panose="020F0502020204030204" pitchFamily="34" charset="0"/>
              </a:rPr>
              <a:t>Creating new services if needed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Calibri" panose="020F0502020204030204" pitchFamily="34" charset="0"/>
              </a:rPr>
              <a:t>Implementing the new model including ISD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Calibri" panose="020F0502020204030204" pitchFamily="34" charset="0"/>
              </a:rPr>
              <a:t>Clarification of Service Level Agreements (SLA)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Calibri" panose="020F0502020204030204" pitchFamily="34" charset="0"/>
              </a:rPr>
              <a:t>Testing the model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Calibri" panose="020F0502020204030204" pitchFamily="34" charset="0"/>
              </a:rPr>
              <a:t>Rolling out the model to production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Calibri" panose="020F0502020204030204" pitchFamily="34" charset="0"/>
              </a:rPr>
              <a:t>Operating the model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160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160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160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160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0" indent="0" algn="l">
              <a:buNone/>
            </a:pPr>
            <a:endParaRPr lang="en-US" sz="160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06DA4062-671A-BDE3-FF9C-0A8B777B2B42}"/>
              </a:ext>
            </a:extLst>
          </p:cNvPr>
          <p:cNvSpPr txBox="1">
            <a:spLocks/>
          </p:cNvSpPr>
          <p:nvPr/>
        </p:nvSpPr>
        <p:spPr>
          <a:xfrm>
            <a:off x="6095999" y="2152411"/>
            <a:ext cx="4596838" cy="4182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447675" indent="-4476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23888" indent="-17938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9625" indent="-18573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9013" indent="-17938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68400" indent="-17938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+mj-lt"/>
              <a:buNone/>
            </a:pPr>
            <a:r>
              <a:rPr lang="en-US" sz="1800" b="1">
                <a:solidFill>
                  <a:srgbClr val="000000"/>
                </a:solidFill>
                <a:latin typeface="Calibri" panose="020F0502020204030204" pitchFamily="34" charset="0"/>
              </a:rPr>
              <a:t>Change management (partly iterativ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Calibri" panose="020F0502020204030204" pitchFamily="34" charset="0"/>
              </a:rPr>
              <a:t>Requesting a chang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Calibri" panose="020F0502020204030204" pitchFamily="34" charset="0"/>
              </a:rPr>
              <a:t>Assessing business benefits and fundi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Calibri" panose="020F0502020204030204" pitchFamily="34" charset="0"/>
              </a:rPr>
              <a:t>Approving or denying the chang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Calibri" panose="020F0502020204030204" pitchFamily="34" charset="0"/>
              </a:rPr>
              <a:t>Changing the mode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Calibri" panose="020F0502020204030204" pitchFamily="34" charset="0"/>
              </a:rPr>
              <a:t>Assessing dependenci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Calibri" panose="020F0502020204030204" pitchFamily="34" charset="0"/>
              </a:rPr>
              <a:t>Creating new services if neede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Calibri" panose="020F0502020204030204" pitchFamily="34" charset="0"/>
              </a:rPr>
              <a:t>Implementing the changed model including IS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Calibri" panose="020F0502020204030204" pitchFamily="34" charset="0"/>
              </a:rPr>
              <a:t>Testing the mode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Calibri" panose="020F0502020204030204" pitchFamily="34" charset="0"/>
              </a:rPr>
              <a:t>Rolling out the model to produc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Calibri" panose="020F0502020204030204" pitchFamily="34" charset="0"/>
              </a:rPr>
              <a:t>Operating the mode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0" indent="0">
              <a:buFont typeface="+mj-lt"/>
              <a:buNone/>
            </a:pPr>
            <a:endParaRPr lang="en-US" sz="160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F486EA9D-0064-66AD-061C-6CF9E2352142}"/>
              </a:ext>
            </a:extLst>
          </p:cNvPr>
          <p:cNvSpPr txBox="1">
            <a:spLocks/>
          </p:cNvSpPr>
          <p:nvPr/>
        </p:nvSpPr>
        <p:spPr>
          <a:xfrm>
            <a:off x="515937" y="1376364"/>
            <a:ext cx="1109663" cy="3183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447675" indent="-4476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23888" indent="-17938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9625" indent="-18573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9013" indent="-17938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68400" indent="-17938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+mj-lt"/>
              <a:buNone/>
            </a:pPr>
            <a:r>
              <a:rPr lang="en-US" sz="2000" b="1">
                <a:solidFill>
                  <a:srgbClr val="000000"/>
                </a:solidFill>
                <a:latin typeface="Calibri" panose="020F0502020204030204" pitchFamily="34" charset="0"/>
              </a:rPr>
              <a:t>From idea</a:t>
            </a:r>
            <a:endParaRPr lang="en-US" sz="180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0" indent="0">
              <a:buFont typeface="+mj-lt"/>
              <a:buNone/>
            </a:pPr>
            <a:endParaRPr lang="en-US" sz="180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A015DD29-EC14-ACED-8995-64186CEFE6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76928" y="1214404"/>
            <a:ext cx="593581" cy="642235"/>
          </a:xfrm>
          <a:prstGeom prst="rect">
            <a:avLst/>
          </a:prstGeom>
        </p:spPr>
      </p:pic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61010CD-8035-A77C-5EDA-783573A8675A}"/>
              </a:ext>
            </a:extLst>
          </p:cNvPr>
          <p:cNvSpPr txBox="1">
            <a:spLocks/>
          </p:cNvSpPr>
          <p:nvPr/>
        </p:nvSpPr>
        <p:spPr>
          <a:xfrm>
            <a:off x="2721837" y="1376364"/>
            <a:ext cx="1502209" cy="3183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447675" indent="-4476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23888" indent="-17938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9625" indent="-18573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9013" indent="-17938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68400" indent="-17938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+mj-lt"/>
              <a:buNone/>
            </a:pPr>
            <a:r>
              <a:rPr lang="en-US" sz="2000" b="1">
                <a:solidFill>
                  <a:srgbClr val="000000"/>
                </a:solidFill>
                <a:latin typeface="Calibri" panose="020F0502020204030204" pitchFamily="34" charset="0"/>
              </a:rPr>
              <a:t>to production</a:t>
            </a: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0" indent="0">
              <a:buFont typeface="+mj-lt"/>
              <a:buNone/>
            </a:pPr>
            <a:endParaRPr lang="en-US" sz="180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D03ADF61-2F05-B263-CAF6-EA0E0FD81A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8001" y="1103693"/>
            <a:ext cx="1730375" cy="900832"/>
          </a:xfrm>
          <a:prstGeom prst="rect">
            <a:avLst/>
          </a:prstGeom>
        </p:spPr>
      </p:pic>
      <p:sp>
        <p:nvSpPr>
          <p:cNvPr id="1030" name="Foliennummernplatzhalter 1029">
            <a:extLst>
              <a:ext uri="{FF2B5EF4-FFF2-40B4-BE49-F238E27FC236}">
                <a16:creationId xmlns:a16="http://schemas.microsoft.com/office/drawing/2014/main" id="{7BC98E23-5E8A-D528-0BAE-CC76301C95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E0597C-028E-473F-BF50-BBB8B8A24EC3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Inter SemiBold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SemiBold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826432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44A27D-C3EE-AE62-9F24-F70DD02E1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err="1"/>
              <a:t>History</a:t>
            </a:r>
            <a:r>
              <a:rPr lang="de-DE"/>
              <a:t> and </a:t>
            </a:r>
            <a:r>
              <a:rPr lang="de-DE" err="1"/>
              <a:t>motivation</a:t>
            </a:r>
            <a:r>
              <a:rPr lang="de-DE"/>
              <a:t> – initial </a:t>
            </a:r>
            <a:r>
              <a:rPr lang="de-DE" err="1"/>
              <a:t>slide</a:t>
            </a:r>
            <a:endParaRPr lang="en-SK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5DC4DF-F772-E3DD-09E2-FAC2C1156D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</a:rPr>
              <a:t>23.11.2023</a:t>
            </a: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67E5A6-4B9A-A564-F6E8-AC614C1E4F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cs typeface="+mn-cs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5D6A95A-7AD0-3019-3BD0-A3BC4A41C91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SK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A71BF6-C9CE-16B7-E6B0-EEF12F075A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6" y="1653721"/>
            <a:ext cx="11160126" cy="4103688"/>
          </a:xfrm>
        </p:spPr>
        <p:txBody>
          <a:bodyPr/>
          <a:lstStyle/>
          <a:p>
            <a:pPr algn="l">
              <a:buFont typeface="Arial" panose="020B0604020202020204" pitchFamily="34" charset="0"/>
              <a:buChar char="•"/>
            </a:pPr>
            <a:r>
              <a:rPr lang="de-AT" b="0" i="0">
                <a:solidFill>
                  <a:srgbClr val="172B4D"/>
                </a:solidFill>
                <a:effectLst/>
                <a:latin typeface="-apple-system"/>
              </a:rPr>
              <a:t>After </a:t>
            </a:r>
            <a:r>
              <a:rPr lang="de-AT" b="0" i="0" err="1">
                <a:solidFill>
                  <a:srgbClr val="172B4D"/>
                </a:solidFill>
                <a:effectLst/>
                <a:latin typeface="-apple-system"/>
              </a:rPr>
              <a:t>the</a:t>
            </a:r>
            <a:r>
              <a:rPr lang="de-AT" b="0" i="0">
                <a:solidFill>
                  <a:srgbClr val="172B4D"/>
                </a:solidFill>
                <a:effectLst/>
                <a:latin typeface="-apple-system"/>
              </a:rPr>
              <a:t> last MIM </a:t>
            </a:r>
            <a:r>
              <a:rPr lang="de-AT" b="0" i="0" err="1">
                <a:solidFill>
                  <a:srgbClr val="172B4D"/>
                </a:solidFill>
                <a:effectLst/>
                <a:latin typeface="-apple-system"/>
              </a:rPr>
              <a:t>division</a:t>
            </a:r>
            <a:r>
              <a:rPr lang="de-AT" b="0" i="0">
                <a:solidFill>
                  <a:srgbClr val="172B4D"/>
                </a:solidFill>
                <a:effectLst/>
                <a:latin typeface="-apple-system"/>
              </a:rPr>
              <a:t> „</a:t>
            </a:r>
            <a:r>
              <a:rPr lang="de-AT" b="0" i="0" err="1">
                <a:solidFill>
                  <a:srgbClr val="172B4D"/>
                </a:solidFill>
                <a:effectLst/>
                <a:latin typeface="-apple-system"/>
              </a:rPr>
              <a:t>Strategy</a:t>
            </a:r>
            <a:r>
              <a:rPr lang="de-AT" b="0" i="0">
                <a:solidFill>
                  <a:srgbClr val="172B4D"/>
                </a:solidFill>
                <a:effectLst/>
                <a:latin typeface="-apple-system"/>
              </a:rPr>
              <a:t> &amp; Architecture“ </a:t>
            </a:r>
            <a:r>
              <a:rPr lang="de-AT">
                <a:solidFill>
                  <a:srgbClr val="172B4D"/>
                </a:solidFill>
                <a:latin typeface="-apple-system"/>
              </a:rPr>
              <a:t>was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asked</a:t>
            </a:r>
            <a:r>
              <a:rPr lang="de-AT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to</a:t>
            </a:r>
            <a:r>
              <a:rPr lang="de-AT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develop</a:t>
            </a:r>
            <a:r>
              <a:rPr lang="de-AT">
                <a:solidFill>
                  <a:srgbClr val="172B4D"/>
                </a:solidFill>
                <a:latin typeface="-apple-system"/>
              </a:rPr>
              <a:t> a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concept</a:t>
            </a:r>
            <a:r>
              <a:rPr lang="de-AT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for</a:t>
            </a:r>
            <a:r>
              <a:rPr lang="de-AT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implementing</a:t>
            </a:r>
            <a:r>
              <a:rPr lang="de-AT">
                <a:solidFill>
                  <a:srgbClr val="172B4D"/>
                </a:solidFill>
                <a:latin typeface="-apple-system"/>
              </a:rPr>
              <a:t> a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chatbot</a:t>
            </a:r>
            <a:r>
              <a:rPr lang="de-AT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solution</a:t>
            </a:r>
            <a:r>
              <a:rPr lang="de-AT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for</a:t>
            </a:r>
            <a:r>
              <a:rPr lang="de-AT">
                <a:solidFill>
                  <a:srgbClr val="172B4D"/>
                </a:solidFill>
                <a:latin typeface="-apple-system"/>
              </a:rPr>
              <a:t> AT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AT" b="0" i="0">
                <a:solidFill>
                  <a:srgbClr val="172B4D"/>
                </a:solidFill>
                <a:effectLst/>
                <a:latin typeface="-apple-system"/>
              </a:rPr>
              <a:t>Main </a:t>
            </a:r>
            <a:r>
              <a:rPr lang="de-AT" b="0" i="0" err="1">
                <a:solidFill>
                  <a:srgbClr val="172B4D"/>
                </a:solidFill>
                <a:effectLst/>
                <a:latin typeface="-apple-system"/>
              </a:rPr>
              <a:t>stakeholders</a:t>
            </a:r>
            <a:r>
              <a:rPr lang="de-AT" b="0" i="0">
                <a:solidFill>
                  <a:srgbClr val="172B4D"/>
                </a:solidFill>
                <a:effectLst/>
                <a:latin typeface="-apple-system"/>
              </a:rPr>
              <a:t> </a:t>
            </a:r>
            <a:r>
              <a:rPr lang="de-AT" b="0" i="0" err="1">
                <a:solidFill>
                  <a:srgbClr val="172B4D"/>
                </a:solidFill>
                <a:effectLst/>
                <a:latin typeface="-apple-system"/>
              </a:rPr>
              <a:t>are</a:t>
            </a:r>
            <a:r>
              <a:rPr lang="de-AT" b="0" i="0">
                <a:solidFill>
                  <a:srgbClr val="172B4D"/>
                </a:solidFill>
                <a:effectLst/>
                <a:latin typeface="-apple-system"/>
              </a:rPr>
              <a:t> </a:t>
            </a:r>
            <a:r>
              <a:rPr lang="de-AT" b="0" i="0" err="1">
                <a:solidFill>
                  <a:srgbClr val="172B4D"/>
                </a:solidFill>
                <a:effectLst/>
                <a:latin typeface="-apple-system"/>
              </a:rPr>
              <a:t>managing</a:t>
            </a:r>
            <a:r>
              <a:rPr lang="de-AT" b="0" i="0">
                <a:solidFill>
                  <a:srgbClr val="172B4D"/>
                </a:solidFill>
                <a:effectLst/>
                <a:latin typeface="-apple-system"/>
              </a:rPr>
              <a:t> </a:t>
            </a:r>
            <a:r>
              <a:rPr lang="de-AT" b="0" i="0" err="1">
                <a:solidFill>
                  <a:srgbClr val="172B4D"/>
                </a:solidFill>
                <a:effectLst/>
                <a:latin typeface="-apple-system"/>
              </a:rPr>
              <a:t>directors</a:t>
            </a:r>
            <a:r>
              <a:rPr lang="de-AT" b="0" i="0">
                <a:solidFill>
                  <a:srgbClr val="172B4D"/>
                </a:solidFill>
                <a:effectLst/>
                <a:latin typeface="-apple-system"/>
              </a:rPr>
              <a:t> Christoph Helm and Ekkehard Preis.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de-AT">
                <a:solidFill>
                  <a:srgbClr val="172B4D"/>
                </a:solidFill>
                <a:latin typeface="-apple-system"/>
              </a:rPr>
              <a:t>Both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see</a:t>
            </a:r>
            <a:r>
              <a:rPr lang="de-AT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chatbots</a:t>
            </a:r>
            <a:r>
              <a:rPr lang="de-AT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as</a:t>
            </a:r>
            <a:r>
              <a:rPr lang="de-AT">
                <a:solidFill>
                  <a:srgbClr val="172B4D"/>
                </a:solidFill>
                <a:latin typeface="-apple-system"/>
              </a:rPr>
              <a:t> a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business</a:t>
            </a:r>
            <a:r>
              <a:rPr lang="de-AT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critical</a:t>
            </a:r>
            <a:r>
              <a:rPr lang="de-AT">
                <a:solidFill>
                  <a:srgbClr val="172B4D"/>
                </a:solidFill>
                <a:latin typeface="-apple-system"/>
              </a:rPr>
              <a:t> feature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AT" err="1">
                <a:solidFill>
                  <a:srgbClr val="172B4D"/>
                </a:solidFill>
                <a:latin typeface="-apple-system"/>
              </a:rPr>
              <a:t>Scope</a:t>
            </a:r>
            <a:r>
              <a:rPr lang="de-AT">
                <a:solidFill>
                  <a:srgbClr val="172B4D"/>
                </a:solidFill>
                <a:latin typeface="-apple-system"/>
              </a:rPr>
              <a:t> and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challenge</a:t>
            </a:r>
            <a:endParaRPr lang="de-AT" b="0" i="0">
              <a:solidFill>
                <a:srgbClr val="172B4D"/>
              </a:solidFill>
              <a:effectLst/>
              <a:latin typeface="-apple-system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AT" b="1">
                <a:solidFill>
                  <a:srgbClr val="172B4D"/>
                </a:solidFill>
                <a:latin typeface="-apple-system"/>
              </a:rPr>
              <a:t>Initial </a:t>
            </a:r>
            <a:r>
              <a:rPr lang="de-AT" b="1" err="1">
                <a:solidFill>
                  <a:srgbClr val="172B4D"/>
                </a:solidFill>
                <a:latin typeface="-apple-system"/>
              </a:rPr>
              <a:t>scope</a:t>
            </a:r>
            <a:r>
              <a:rPr lang="de-AT" b="1">
                <a:solidFill>
                  <a:srgbClr val="172B4D"/>
                </a:solidFill>
                <a:latin typeface="-apple-system"/>
              </a:rPr>
              <a:t>:</a:t>
            </a:r>
            <a:r>
              <a:rPr lang="de-AT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b="0" i="0">
                <a:solidFill>
                  <a:srgbClr val="172B4D"/>
                </a:solidFill>
                <a:effectLst/>
                <a:latin typeface="-apple-system"/>
              </a:rPr>
              <a:t>"Hey George!" </a:t>
            </a:r>
            <a:r>
              <a:rPr lang="de-AT" b="0" i="0" err="1">
                <a:solidFill>
                  <a:srgbClr val="172B4D"/>
                </a:solidFill>
                <a:effectLst/>
                <a:latin typeface="-apple-system"/>
              </a:rPr>
              <a:t>chatbots</a:t>
            </a:r>
            <a:r>
              <a:rPr lang="de-AT" b="0" i="0">
                <a:solidFill>
                  <a:srgbClr val="172B4D"/>
                </a:solidFill>
                <a:effectLst/>
                <a:latin typeface="-apple-system"/>
              </a:rPr>
              <a:t> </a:t>
            </a:r>
            <a:r>
              <a:rPr lang="de-AT" b="0" i="0" err="1">
                <a:solidFill>
                  <a:srgbClr val="172B4D"/>
                </a:solidFill>
                <a:effectLst/>
                <a:latin typeface="-apple-system"/>
              </a:rPr>
              <a:t>for</a:t>
            </a:r>
            <a:r>
              <a:rPr lang="de-AT" b="0" i="0">
                <a:solidFill>
                  <a:srgbClr val="172B4D"/>
                </a:solidFill>
                <a:effectLst/>
                <a:latin typeface="-apple-system"/>
              </a:rPr>
              <a:t> George Retail AT. A </a:t>
            </a:r>
            <a:r>
              <a:rPr lang="de-AT" b="0" i="0" err="1">
                <a:solidFill>
                  <a:srgbClr val="172B4D"/>
                </a:solidFill>
                <a:effectLst/>
                <a:latin typeface="-apple-system"/>
              </a:rPr>
              <a:t>central</a:t>
            </a:r>
            <a:r>
              <a:rPr lang="de-AT" b="0" i="0">
                <a:solidFill>
                  <a:srgbClr val="172B4D"/>
                </a:solidFill>
                <a:effectLst/>
                <a:latin typeface="-apple-system"/>
              </a:rPr>
              <a:t> </a:t>
            </a:r>
            <a:r>
              <a:rPr lang="de-AT" b="0" i="0" err="1">
                <a:solidFill>
                  <a:srgbClr val="172B4D"/>
                </a:solidFill>
                <a:effectLst/>
                <a:latin typeface="-apple-system"/>
              </a:rPr>
              <a:t>chatbot</a:t>
            </a:r>
            <a:r>
              <a:rPr lang="de-AT" b="0" i="0">
                <a:solidFill>
                  <a:srgbClr val="172B4D"/>
                </a:solidFill>
                <a:effectLst/>
                <a:latin typeface="-apple-system"/>
              </a:rPr>
              <a:t> </a:t>
            </a:r>
            <a:r>
              <a:rPr lang="de-AT" b="0" i="0" err="1">
                <a:solidFill>
                  <a:srgbClr val="172B4D"/>
                </a:solidFill>
                <a:effectLst/>
                <a:latin typeface="-apple-system"/>
              </a:rPr>
              <a:t>leads</a:t>
            </a:r>
            <a:r>
              <a:rPr lang="de-AT" b="0" i="0">
                <a:solidFill>
                  <a:srgbClr val="172B4D"/>
                </a:solidFill>
                <a:effectLst/>
                <a:latin typeface="-apple-system"/>
              </a:rPr>
              <a:t> </a:t>
            </a:r>
            <a:r>
              <a:rPr lang="de-AT" b="0" i="0" err="1">
                <a:solidFill>
                  <a:srgbClr val="172B4D"/>
                </a:solidFill>
                <a:effectLst/>
                <a:latin typeface="-apple-system"/>
              </a:rPr>
              <a:t>the</a:t>
            </a:r>
            <a:r>
              <a:rPr lang="de-AT" b="0" i="0">
                <a:solidFill>
                  <a:srgbClr val="172B4D"/>
                </a:solidFill>
                <a:effectLst/>
                <a:latin typeface="-apple-system"/>
              </a:rPr>
              <a:t> </a:t>
            </a:r>
            <a:r>
              <a:rPr lang="de-AT" b="0" i="0" err="1">
                <a:solidFill>
                  <a:srgbClr val="172B4D"/>
                </a:solidFill>
                <a:effectLst/>
                <a:latin typeface="-apple-system"/>
              </a:rPr>
              <a:t>conversation</a:t>
            </a:r>
            <a:r>
              <a:rPr lang="de-AT" b="0" i="0">
                <a:solidFill>
                  <a:srgbClr val="172B4D"/>
                </a:solidFill>
                <a:effectLst/>
                <a:latin typeface="-apple-system"/>
              </a:rPr>
              <a:t> and </a:t>
            </a:r>
            <a:r>
              <a:rPr lang="de-AT" b="0" i="0" err="1">
                <a:solidFill>
                  <a:srgbClr val="172B4D"/>
                </a:solidFill>
                <a:effectLst/>
                <a:latin typeface="-apple-system"/>
              </a:rPr>
              <a:t>calls</a:t>
            </a:r>
            <a:r>
              <a:rPr lang="de-AT" b="0" i="0">
                <a:solidFill>
                  <a:srgbClr val="172B4D"/>
                </a:solidFill>
                <a:effectLst/>
                <a:latin typeface="-apple-system"/>
              </a:rPr>
              <a:t> out </a:t>
            </a:r>
            <a:r>
              <a:rPr lang="de-AT" b="0" i="0" err="1">
                <a:solidFill>
                  <a:srgbClr val="172B4D"/>
                </a:solidFill>
                <a:effectLst/>
                <a:latin typeface="-apple-system"/>
              </a:rPr>
              <a:t>to</a:t>
            </a:r>
            <a:r>
              <a:rPr lang="de-AT" b="0" i="0">
                <a:solidFill>
                  <a:srgbClr val="172B4D"/>
                </a:solidFill>
                <a:effectLst/>
                <a:latin typeface="-apple-system"/>
              </a:rPr>
              <a:t> </a:t>
            </a:r>
            <a:r>
              <a:rPr lang="de-AT" b="0" i="0" err="1">
                <a:solidFill>
                  <a:srgbClr val="172B4D"/>
                </a:solidFill>
                <a:effectLst/>
                <a:latin typeface="-apple-system"/>
              </a:rPr>
              <a:t>local</a:t>
            </a:r>
            <a:r>
              <a:rPr lang="de-AT" b="0" i="0">
                <a:solidFill>
                  <a:srgbClr val="172B4D"/>
                </a:solidFill>
                <a:effectLst/>
                <a:latin typeface="-apple-system"/>
              </a:rPr>
              <a:t> </a:t>
            </a:r>
            <a:r>
              <a:rPr lang="de-AT" b="0" i="0" err="1">
                <a:solidFill>
                  <a:srgbClr val="172B4D"/>
                </a:solidFill>
                <a:effectLst/>
                <a:latin typeface="-apple-system"/>
              </a:rPr>
              <a:t>chatbots</a:t>
            </a:r>
            <a:r>
              <a:rPr lang="de-AT" b="0" i="0">
                <a:solidFill>
                  <a:srgbClr val="172B4D"/>
                </a:solidFill>
                <a:effectLst/>
                <a:latin typeface="-apple-system"/>
              </a:rPr>
              <a:t> on </a:t>
            </a:r>
            <a:r>
              <a:rPr lang="de-AT" b="0" i="0" err="1">
                <a:solidFill>
                  <a:srgbClr val="172B4D"/>
                </a:solidFill>
                <a:effectLst/>
                <a:latin typeface="-apple-system"/>
              </a:rPr>
              <a:t>demand</a:t>
            </a:r>
            <a:r>
              <a:rPr lang="de-AT" b="0" i="0">
                <a:solidFill>
                  <a:srgbClr val="172B4D"/>
                </a:solidFill>
                <a:effectLst/>
                <a:latin typeface="-apple-system"/>
              </a:rPr>
              <a:t>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AT" b="1" i="0">
                <a:solidFill>
                  <a:srgbClr val="172B4D"/>
                </a:solidFill>
                <a:effectLst/>
                <a:latin typeface="-apple-system"/>
              </a:rPr>
              <a:t>Wider </a:t>
            </a:r>
            <a:r>
              <a:rPr lang="de-AT" b="1" err="1">
                <a:solidFill>
                  <a:srgbClr val="172B4D"/>
                </a:solidFill>
                <a:latin typeface="-apple-system"/>
              </a:rPr>
              <a:t>s</a:t>
            </a:r>
            <a:r>
              <a:rPr lang="de-AT" b="1" i="0" err="1">
                <a:solidFill>
                  <a:srgbClr val="172B4D"/>
                </a:solidFill>
                <a:effectLst/>
                <a:latin typeface="-apple-system"/>
              </a:rPr>
              <a:t>cope</a:t>
            </a:r>
            <a:r>
              <a:rPr lang="de-AT" b="1" i="0">
                <a:solidFill>
                  <a:srgbClr val="172B4D"/>
                </a:solidFill>
                <a:effectLst/>
                <a:latin typeface="-apple-system"/>
              </a:rPr>
              <a:t>: </a:t>
            </a:r>
            <a:r>
              <a:rPr lang="de-AT" b="0" i="0">
                <a:solidFill>
                  <a:srgbClr val="172B4D"/>
                </a:solidFill>
                <a:effectLst/>
                <a:latin typeface="-apple-system"/>
              </a:rPr>
              <a:t>Additional </a:t>
            </a:r>
            <a:r>
              <a:rPr lang="de-AT" b="0" i="0" err="1">
                <a:solidFill>
                  <a:srgbClr val="172B4D"/>
                </a:solidFill>
                <a:effectLst/>
                <a:latin typeface="-apple-system"/>
              </a:rPr>
              <a:t>channels</a:t>
            </a:r>
            <a:r>
              <a:rPr lang="de-AT" b="0" i="0">
                <a:solidFill>
                  <a:srgbClr val="172B4D"/>
                </a:solidFill>
                <a:effectLst/>
                <a:latin typeface="-apple-system"/>
              </a:rPr>
              <a:t> like Erste </a:t>
            </a:r>
            <a:r>
              <a:rPr lang="de-AT" b="0" i="0" err="1">
                <a:solidFill>
                  <a:srgbClr val="172B4D"/>
                </a:solidFill>
                <a:effectLst/>
                <a:latin typeface="-apple-system"/>
              </a:rPr>
              <a:t>landing</a:t>
            </a:r>
            <a:r>
              <a:rPr lang="de-AT" b="0" i="0">
                <a:solidFill>
                  <a:srgbClr val="172B4D"/>
                </a:solidFill>
                <a:effectLst/>
                <a:latin typeface="-apple-system"/>
              </a:rPr>
              <a:t> web </a:t>
            </a:r>
            <a:r>
              <a:rPr lang="de-AT" b="0" i="0" err="1">
                <a:solidFill>
                  <a:srgbClr val="172B4D"/>
                </a:solidFill>
                <a:effectLst/>
                <a:latin typeface="-apple-system"/>
              </a:rPr>
              <a:t>page</a:t>
            </a:r>
            <a:r>
              <a:rPr lang="de-AT" b="0" i="0">
                <a:solidFill>
                  <a:srgbClr val="172B4D"/>
                </a:solidFill>
                <a:effectLst/>
                <a:latin typeface="-apple-system"/>
              </a:rPr>
              <a:t> </a:t>
            </a:r>
            <a:r>
              <a:rPr lang="de-AT" b="0" i="0" err="1">
                <a:solidFill>
                  <a:srgbClr val="172B4D"/>
                </a:solidFill>
                <a:effectLst/>
                <a:latin typeface="-apple-system"/>
              </a:rPr>
              <a:t>for</a:t>
            </a:r>
            <a:r>
              <a:rPr lang="de-AT" b="0" i="0">
                <a:solidFill>
                  <a:srgbClr val="172B4D"/>
                </a:solidFill>
                <a:effectLst/>
                <a:latin typeface="-apple-system"/>
              </a:rPr>
              <a:t> non-</a:t>
            </a:r>
            <a:r>
              <a:rPr lang="de-AT" b="0" i="0" err="1">
                <a:solidFill>
                  <a:srgbClr val="172B4D"/>
                </a:solidFill>
                <a:effectLst/>
                <a:latin typeface="-apple-system"/>
              </a:rPr>
              <a:t>customers</a:t>
            </a:r>
            <a:r>
              <a:rPr lang="de-AT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should</a:t>
            </a:r>
            <a:r>
              <a:rPr lang="de-AT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be</a:t>
            </a:r>
            <a:r>
              <a:rPr lang="de-AT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considered</a:t>
            </a:r>
            <a:r>
              <a:rPr lang="de-AT">
                <a:solidFill>
                  <a:srgbClr val="172B4D"/>
                </a:solidFill>
                <a:latin typeface="-apple-system"/>
              </a:rPr>
              <a:t> in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the</a:t>
            </a:r>
            <a:r>
              <a:rPr lang="de-AT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target</a:t>
            </a:r>
            <a:r>
              <a:rPr lang="de-AT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picture</a:t>
            </a:r>
            <a:r>
              <a:rPr lang="de-AT" b="0" i="0">
                <a:solidFill>
                  <a:srgbClr val="172B4D"/>
                </a:solidFill>
                <a:effectLst/>
                <a:latin typeface="-apple-system"/>
              </a:rPr>
              <a:t>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AT" b="1">
                <a:solidFill>
                  <a:srgbClr val="172B4D"/>
                </a:solidFill>
                <a:latin typeface="-apple-system"/>
              </a:rPr>
              <a:t>Challenge</a:t>
            </a:r>
            <a:r>
              <a:rPr lang="de-AT">
                <a:solidFill>
                  <a:srgbClr val="172B4D"/>
                </a:solidFill>
                <a:latin typeface="-apple-system"/>
              </a:rPr>
              <a:t>: </a:t>
            </a:r>
            <a:r>
              <a:rPr lang="de-AT" b="0" i="0">
                <a:solidFill>
                  <a:srgbClr val="172B4D"/>
                </a:solidFill>
                <a:effectLst/>
                <a:latin typeface="-apple-system"/>
              </a:rPr>
              <a:t>Integration </a:t>
            </a:r>
            <a:r>
              <a:rPr lang="de-AT" b="0" i="0" err="1">
                <a:solidFill>
                  <a:srgbClr val="172B4D"/>
                </a:solidFill>
                <a:effectLst/>
                <a:latin typeface="-apple-system"/>
              </a:rPr>
              <a:t>into</a:t>
            </a:r>
            <a:r>
              <a:rPr lang="de-AT" b="0" i="0">
                <a:solidFill>
                  <a:srgbClr val="172B4D"/>
                </a:solidFill>
                <a:effectLst/>
                <a:latin typeface="-apple-system"/>
              </a:rPr>
              <a:t> </a:t>
            </a:r>
            <a:r>
              <a:rPr lang="de-AT" b="0" i="0" err="1">
                <a:solidFill>
                  <a:srgbClr val="172B4D"/>
                </a:solidFill>
                <a:effectLst/>
                <a:latin typeface="-apple-system"/>
              </a:rPr>
              <a:t>the</a:t>
            </a:r>
            <a:r>
              <a:rPr lang="de-AT" b="0" i="0">
                <a:solidFill>
                  <a:srgbClr val="172B4D"/>
                </a:solidFill>
                <a:effectLst/>
                <a:latin typeface="-apple-system"/>
              </a:rPr>
              <a:t> </a:t>
            </a:r>
            <a:r>
              <a:rPr lang="de-AT">
                <a:solidFill>
                  <a:srgbClr val="172B4D"/>
                </a:solidFill>
                <a:latin typeface="-apple-system"/>
              </a:rPr>
              <a:t>IT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landscape</a:t>
            </a:r>
            <a:r>
              <a:rPr lang="de-AT">
                <a:solidFill>
                  <a:srgbClr val="172B4D"/>
                </a:solidFill>
                <a:latin typeface="-apple-system"/>
              </a:rPr>
              <a:t> in AT.</a:t>
            </a:r>
            <a:endParaRPr lang="de-AT" b="0" i="0">
              <a:solidFill>
                <a:srgbClr val="172B4D"/>
              </a:solidFill>
              <a:effectLst/>
              <a:latin typeface="-apple-system"/>
            </a:endParaRPr>
          </a:p>
        </p:txBody>
      </p:sp>
      <p:pic>
        <p:nvPicPr>
          <p:cNvPr id="9" name="pasted-image.pdf" descr="pasted-image.pdf">
            <a:extLst>
              <a:ext uri="{FF2B5EF4-FFF2-40B4-BE49-F238E27FC236}">
                <a16:creationId xmlns:a16="http://schemas.microsoft.com/office/drawing/2014/main" id="{D2DCA2D3-3EC1-E3C4-BAF0-F92BD2837BC0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accent3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1304588" y="3705565"/>
            <a:ext cx="263123" cy="441116"/>
          </a:xfrm>
          <a:prstGeom prst="rect">
            <a:avLst/>
          </a:prstGeom>
          <a:ln w="3175">
            <a:miter lim="400000"/>
          </a:ln>
        </p:spPr>
      </p:pic>
      <p:sp>
        <p:nvSpPr>
          <p:cNvPr id="1026" name="Foliennummernplatzhalter 1025">
            <a:extLst>
              <a:ext uri="{FF2B5EF4-FFF2-40B4-BE49-F238E27FC236}">
                <a16:creationId xmlns:a16="http://schemas.microsoft.com/office/drawing/2014/main" id="{662C2BA4-9A67-5B31-07BD-4A67084481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E0597C-028E-473F-BF50-BBB8B8A24EC3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Inter SemiBold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SemiBold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876556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58F33B-9B70-FB13-9149-41656A6505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takeholders, roles and responsibilities in ED and EB (old)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E8CC9C0-365F-2AE2-45F2-482F3CE5F5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</a:rPr>
              <a:t>23.11.2023</a:t>
            </a: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B57D73A-7920-829D-2672-881F1D2612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cs typeface="+mn-cs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19B37FC-C3CD-023B-D639-4E6FEB9AD8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4E211D1-FE55-4D0D-01F3-2179C55388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6" y="1428652"/>
            <a:ext cx="4596838" cy="2602816"/>
          </a:xfrm>
        </p:spPr>
        <p:txBody>
          <a:bodyPr/>
          <a:lstStyle/>
          <a:p>
            <a:pPr marL="0" indent="0">
              <a:buNone/>
            </a:pPr>
            <a:r>
              <a:rPr lang="en-US" sz="1600" b="1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MISOL and/or </a:t>
            </a:r>
            <a:r>
              <a:rPr lang="en-US" sz="1600" b="1" err="1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AISolution</a:t>
            </a:r>
            <a:r>
              <a:rPr lang="en-US" sz="1600" b="1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 (ED)</a:t>
            </a:r>
            <a:endParaRPr lang="en-US" sz="1600" b="1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Provides new/changed conversational interfac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Orchestrates services (implementation of actual logic - backend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Operations</a:t>
            </a:r>
          </a:p>
          <a:p>
            <a:pPr marL="461963" lvl="1" indent="-285750">
              <a:buFont typeface="Arial" panose="020B0604020202020204" pitchFamily="34" charset="0"/>
              <a:buChar char="•"/>
            </a:pPr>
            <a:r>
              <a:rPr lang="en-US" sz="6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Provides service lifecycle management.</a:t>
            </a:r>
          </a:p>
          <a:p>
            <a:pPr marL="461963" lvl="1" indent="-285750">
              <a:buFont typeface="Arial" panose="020B0604020202020204" pitchFamily="34" charset="0"/>
              <a:buChar char="•"/>
            </a:pPr>
            <a:r>
              <a:rPr lang="en-US" sz="6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Makes solution managemen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Resource management – external resources on deman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Development resources.</a:t>
            </a:r>
            <a:endParaRPr lang="en-US" sz="1400">
              <a:solidFill>
                <a:srgbClr val="000000"/>
              </a:solidFill>
              <a:latin typeface="Calibri" panose="020F0502020204030204" pitchFamily="34" charset="0"/>
              <a:ea typeface="Calibri"/>
              <a:cs typeface="Calibri"/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06DA4062-671A-BDE3-FF9C-0A8B777B2B42}"/>
              </a:ext>
            </a:extLst>
          </p:cNvPr>
          <p:cNvSpPr txBox="1">
            <a:spLocks/>
          </p:cNvSpPr>
          <p:nvPr/>
        </p:nvSpPr>
        <p:spPr>
          <a:xfrm>
            <a:off x="6381749" y="1400294"/>
            <a:ext cx="4596838" cy="327074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447675" indent="-4476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23888" indent="-17938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9625" indent="-18573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9013" indent="-17938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68400" indent="-17938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Business (EB)</a:t>
            </a:r>
            <a:endParaRPr lang="en-US" sz="2000" b="1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Product owner (SPOC)</a:t>
            </a:r>
          </a:p>
          <a:p>
            <a:pPr marL="461645" lvl="1" indent="-285750">
              <a:buFont typeface="Arial" panose="020B0604020202020204" pitchFamily="34" charset="0"/>
              <a:buChar char="•"/>
            </a:pPr>
            <a:r>
              <a:rPr lang="en-US" sz="10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Marc Gyarmaty – customer facing (retail)</a:t>
            </a:r>
          </a:p>
          <a:p>
            <a:pPr marL="461645" lvl="1" indent="-285750">
              <a:buFont typeface="Arial" panose="020B0604020202020204" pitchFamily="34" charset="0"/>
              <a:buChar char="•"/>
            </a:pPr>
            <a:r>
              <a:rPr lang="en-US" sz="10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Hannes </a:t>
            </a:r>
            <a:r>
              <a:rPr lang="en-US" sz="1000" err="1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Theisl</a:t>
            </a:r>
            <a:r>
              <a:rPr lang="en-US" sz="10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 – employee facing.</a:t>
            </a:r>
          </a:p>
          <a:p>
            <a:pPr marL="461645" lvl="1" indent="-285750">
              <a:buFont typeface="Arial" panose="020B0604020202020204" pitchFamily="34" charset="0"/>
              <a:buChar char="•"/>
            </a:pPr>
            <a:r>
              <a:rPr lang="en-US" sz="10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Retail / Corporates split?</a:t>
            </a:r>
          </a:p>
          <a:p>
            <a:pPr marL="461645" lvl="1" indent="-285750">
              <a:buFont typeface="Arial" panose="020B0604020202020204" pitchFamily="34" charset="0"/>
              <a:buChar char="•"/>
            </a:pPr>
            <a:r>
              <a:rPr lang="en-US" sz="10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Tasks</a:t>
            </a:r>
          </a:p>
          <a:p>
            <a:pPr marL="647700" lvl="2" indent="-185420">
              <a:buFont typeface="Arial" panose="020B0604020202020204" pitchFamily="34" charset="0"/>
              <a:buChar char="•"/>
            </a:pPr>
            <a:r>
              <a:rPr lang="en-US" sz="10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Defining requirements.</a:t>
            </a:r>
          </a:p>
          <a:p>
            <a:pPr marL="647700" lvl="2" indent="-185420">
              <a:buFont typeface="Arial" panose="020B0604020202020204" pitchFamily="34" charset="0"/>
              <a:buChar char="•"/>
            </a:pPr>
            <a:r>
              <a:rPr lang="en-US" sz="10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Collecting ideas.</a:t>
            </a:r>
          </a:p>
          <a:p>
            <a:pPr marL="647700" lvl="2" indent="-185420">
              <a:buFont typeface="Arial" panose="020B0604020202020204" pitchFamily="34" charset="0"/>
              <a:buChar char="•"/>
            </a:pPr>
            <a:r>
              <a:rPr lang="en-US" sz="10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Managing backlogs.</a:t>
            </a:r>
          </a:p>
          <a:p>
            <a:pPr marL="647700" lvl="2" indent="-185420">
              <a:buFont typeface="Arial" panose="020B0604020202020204" pitchFamily="34" charset="0"/>
              <a:buChar char="•"/>
            </a:pPr>
            <a:r>
              <a:rPr lang="en-US" sz="10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Test the solutions (UAT).</a:t>
            </a:r>
          </a:p>
          <a:p>
            <a:pPr marL="461645" lvl="1" indent="-285750">
              <a:buFont typeface="Arial" panose="020B0604020202020204" pitchFamily="34" charset="0"/>
              <a:buChar char="•"/>
            </a:pPr>
            <a:r>
              <a:rPr lang="en-US" sz="18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Business owner</a:t>
            </a:r>
            <a:endParaRPr lang="en-US" sz="100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647700" lvl="2" indent="-185420">
              <a:buFont typeface="Arial" panose="020B0604020202020204" pitchFamily="34" charset="0"/>
              <a:buChar char="•"/>
            </a:pPr>
            <a:r>
              <a:rPr lang="en-US" sz="10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Has demand – business need.</a:t>
            </a:r>
            <a:endParaRPr lang="en-US" sz="180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647700" lvl="2" indent="-185420">
              <a:buFont typeface="Arial" panose="020B0604020202020204" pitchFamily="34" charset="0"/>
              <a:buChar char="•"/>
            </a:pPr>
            <a:r>
              <a:rPr lang="en-US" sz="10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Has budget.</a:t>
            </a:r>
            <a:endParaRPr lang="en-US" sz="100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647700" lvl="2" indent="-185420">
              <a:buFont typeface="Arial" panose="020B0604020202020204" pitchFamily="34" charset="0"/>
              <a:buChar char="•"/>
            </a:pPr>
            <a:r>
              <a:rPr lang="en-US" sz="10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Budget / Fundi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C679D92-F6A1-13FD-81D1-A2BB25ECB99D}"/>
              </a:ext>
            </a:extLst>
          </p:cNvPr>
          <p:cNvSpPr txBox="1">
            <a:spLocks/>
          </p:cNvSpPr>
          <p:nvPr/>
        </p:nvSpPr>
        <p:spPr>
          <a:xfrm>
            <a:off x="511459" y="4228235"/>
            <a:ext cx="4596838" cy="17373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447675" indent="-4476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23888" indent="-17938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9625" indent="-18573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9013" indent="-17938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68400" indent="-17938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>
                <a:solidFill>
                  <a:srgbClr val="000000"/>
                </a:solidFill>
                <a:latin typeface="Calibri"/>
                <a:cs typeface="Calibri"/>
              </a:rPr>
              <a:t>George team (George AT/G-LABS)</a:t>
            </a:r>
          </a:p>
          <a:p>
            <a:pPr marL="285750" indent="0"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latin typeface="Calibri"/>
                <a:cs typeface="Calibri"/>
              </a:rPr>
              <a:t>UX Integration</a:t>
            </a:r>
          </a:p>
          <a:p>
            <a:pPr marL="285750" indent="0"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latin typeface="Inter SemiBold"/>
                <a:cs typeface="Calibri"/>
              </a:rPr>
              <a:t>George </a:t>
            </a:r>
            <a:r>
              <a:rPr lang="en-US" sz="1400" err="1">
                <a:solidFill>
                  <a:srgbClr val="000000"/>
                </a:solidFill>
                <a:latin typeface="Inter SemiBold"/>
                <a:cs typeface="Calibri"/>
              </a:rPr>
              <a:t>Masterbot</a:t>
            </a:r>
            <a:r>
              <a:rPr lang="en-US" sz="1400">
                <a:solidFill>
                  <a:srgbClr val="000000"/>
                </a:solidFill>
                <a:latin typeface="Inter SemiBold"/>
                <a:cs typeface="Calibri"/>
              </a:rPr>
              <a:t> (incl. </a:t>
            </a:r>
            <a:r>
              <a:rPr lang="en-US" sz="1400" err="1">
                <a:solidFill>
                  <a:srgbClr val="000000"/>
                </a:solidFill>
                <a:latin typeface="Inter SemiBold"/>
                <a:cs typeface="Calibri"/>
              </a:rPr>
              <a:t>FeatureSearch</a:t>
            </a:r>
            <a:r>
              <a:rPr lang="en-US" sz="1400">
                <a:solidFill>
                  <a:srgbClr val="000000"/>
                </a:solidFill>
                <a:latin typeface="Inter SemiBold"/>
                <a:cs typeface="Calibri"/>
              </a:rPr>
              <a:t>, </a:t>
            </a:r>
            <a:r>
              <a:rPr lang="en-US" sz="1400" err="1">
                <a:solidFill>
                  <a:srgbClr val="000000"/>
                </a:solidFill>
                <a:latin typeface="Inter SemiBold"/>
                <a:cs typeface="Calibri"/>
              </a:rPr>
              <a:t>ChitChat</a:t>
            </a:r>
            <a:r>
              <a:rPr lang="en-US" sz="1400">
                <a:solidFill>
                  <a:srgbClr val="000000"/>
                </a:solidFill>
                <a:latin typeface="Inter SemiBold"/>
                <a:cs typeface="Calibri"/>
              </a:rPr>
              <a:t>, Call Local Bots, …)</a:t>
            </a:r>
          </a:p>
          <a:p>
            <a:pPr marL="285750" indent="0"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latin typeface="Inter SemiBold"/>
                <a:cs typeface="Calibri"/>
              </a:rPr>
              <a:t>Operation with ED George Retail/Business</a:t>
            </a:r>
          </a:p>
          <a:p>
            <a:pPr marL="285750" indent="0"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latin typeface="Inter SemiBold"/>
                <a:cs typeface="Calibri"/>
              </a:rPr>
              <a:t>Product Owner: Peter Koller</a:t>
            </a: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971AD4A4-72B1-03A5-2034-0BFE4304B894}"/>
              </a:ext>
            </a:extLst>
          </p:cNvPr>
          <p:cNvSpPr txBox="1">
            <a:spLocks/>
          </p:cNvSpPr>
          <p:nvPr/>
        </p:nvSpPr>
        <p:spPr>
          <a:xfrm>
            <a:off x="6492522" y="5222959"/>
            <a:ext cx="4709727" cy="68746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447675" indent="-4476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23888" indent="-17938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9625" indent="-18573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9013" indent="-17938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68400" indent="-17938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+mj-lt"/>
              <a:buNone/>
            </a:pPr>
            <a:r>
              <a:rPr lang="en-US" sz="2000" b="1">
                <a:solidFill>
                  <a:srgbClr val="000000"/>
                </a:solidFill>
                <a:latin typeface="Calibri" panose="020F0502020204030204" pitchFamily="34" charset="0"/>
              </a:rPr>
              <a:t>Currently still to be defined, just ideas.</a:t>
            </a:r>
          </a:p>
        </p:txBody>
      </p:sp>
      <p:sp>
        <p:nvSpPr>
          <p:cNvPr id="1028" name="Foliennummernplatzhalter 1027">
            <a:extLst>
              <a:ext uri="{FF2B5EF4-FFF2-40B4-BE49-F238E27FC236}">
                <a16:creationId xmlns:a16="http://schemas.microsoft.com/office/drawing/2014/main" id="{0670E09B-166A-3BAC-C0E4-1B6BE25F60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E0597C-028E-473F-BF50-BBB8B8A24EC3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Inter SemiBold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SemiBold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735429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58F33B-9B70-FB13-9149-41656A6505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7" y="620714"/>
            <a:ext cx="11160125" cy="755650"/>
          </a:xfrm>
        </p:spPr>
        <p:txBody>
          <a:bodyPr anchor="t">
            <a:normAutofit/>
          </a:bodyPr>
          <a:lstStyle/>
          <a:p>
            <a:r>
              <a:rPr lang="en-US"/>
              <a:t>Under the hood - Orchestra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E8CC9C0-365F-2AE2-45F2-482F3CE5F5B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0" y="6604247"/>
            <a:ext cx="4246564" cy="130479"/>
          </a:xfrm>
        </p:spPr>
        <p:txBody>
          <a:bodyPr wrap="none" anchor="t">
            <a:normAutofit/>
          </a:bodyPr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</a:rPr>
              <a:t>23.11.2023</a:t>
            </a:r>
            <a:endParaRPr kumimoji="0" lang="en-GB" b="0" i="0" u="none" strike="noStrike" kern="1200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E7760D19-C24A-1D37-CEC5-E700A1424D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96000" y="6459481"/>
            <a:ext cx="4246565" cy="130479"/>
          </a:xfrm>
        </p:spPr>
        <p:txBody>
          <a:bodyPr/>
          <a:lstStyle/>
          <a:p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4E211D1-FE55-4D0D-01F3-2179C55388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7" y="2241550"/>
            <a:ext cx="6948487" cy="4103688"/>
          </a:xfrm>
        </p:spPr>
        <p:txBody>
          <a:bodyPr anchor="t">
            <a:normAutofit/>
          </a:bodyPr>
          <a:lstStyle/>
          <a:p>
            <a:pPr marL="0" indent="0">
              <a:buNone/>
            </a:pPr>
            <a:r>
              <a:rPr lang="en-US"/>
              <a:t>MISOL in GCP is the orchestrato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Calls additional bots via API as neede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..</a:t>
            </a:r>
          </a:p>
          <a:p>
            <a:pPr marL="0" indent="0">
              <a:buNone/>
            </a:pPr>
            <a:endParaRPr lang="en-US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B4C5F1F6-20AB-49FB-CD44-B85231E3957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8" y="275183"/>
            <a:ext cx="11160124" cy="233470"/>
          </a:xfrm>
        </p:spPr>
        <p:txBody>
          <a:bodyPr/>
          <a:lstStyle/>
          <a:p>
            <a:endParaRPr lang="en-US"/>
          </a:p>
        </p:txBody>
      </p:sp>
      <p:sp>
        <p:nvSpPr>
          <p:cNvPr id="1025" name="Foliennummernplatzhalter 1024">
            <a:extLst>
              <a:ext uri="{FF2B5EF4-FFF2-40B4-BE49-F238E27FC236}">
                <a16:creationId xmlns:a16="http://schemas.microsoft.com/office/drawing/2014/main" id="{8180D8E1-5FBB-E071-166B-CDD1E4D0B3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pPr/>
              <a:t>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636455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58F33B-9B70-FB13-9149-41656A6505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7" y="620714"/>
            <a:ext cx="11160125" cy="755650"/>
          </a:xfr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GB" b="1" kern="1200">
                <a:latin typeface="+mn-lt"/>
                <a:ea typeface="+mj-ea"/>
                <a:cs typeface="+mj-cs"/>
              </a:rPr>
              <a:t>Under the hood - Integra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E8CC9C0-365F-2AE2-45F2-482F3CE5F5B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0" y="6604247"/>
            <a:ext cx="4246564" cy="130479"/>
          </a:xfrm>
        </p:spPr>
        <p:txBody>
          <a:bodyPr vert="horz" wrap="none" lIns="0" tIns="0" rIns="0" bIns="0" rtlCol="0" anchor="t" anchorCtr="0">
            <a:normAutofit/>
          </a:bodyPr>
          <a:lstStyle/>
          <a:p>
            <a:pPr marR="0" lvl="0" indent="0" fontAlgn="auto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b="0" i="0" u="none" strike="noStrike" cap="none" spc="0" normalizeH="0" baseline="0" noProof="0">
                <a:ln>
                  <a:noFill/>
                </a:ln>
                <a:effectLst/>
                <a:uLnTx/>
                <a:uFillTx/>
              </a:rPr>
              <a:t>23.11.2023</a:t>
            </a:r>
            <a:endParaRPr kumimoji="0" lang="en-GB" b="0" i="0" u="none" strike="noStrike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27CFC6DD-5665-8508-D20F-F92F0BFBA8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96000" y="6459481"/>
            <a:ext cx="4246565" cy="130479"/>
          </a:xfrm>
        </p:spPr>
        <p:txBody>
          <a:bodyPr/>
          <a:lstStyle/>
          <a:p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4E211D1-FE55-4D0D-01F3-2179C55388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8" y="2241550"/>
            <a:ext cx="5472110" cy="4103688"/>
          </a:xfrm>
        </p:spPr>
        <p:txBody>
          <a:bodyPr vert="horz" lIns="0" tIns="0" rIns="0" bIns="0" rtlCol="0" anchor="t" anchorCtr="0">
            <a:normAutofit/>
          </a:bodyPr>
          <a:lstStyle/>
          <a:p>
            <a:pPr marL="0" indent="0">
              <a:buFont typeface="Symbol" panose="05050102010706020507" pitchFamily="18" charset="2"/>
              <a:buNone/>
            </a:pPr>
            <a:r>
              <a:rPr lang="en-GB" b="1"/>
              <a:t>Bot to bot</a:t>
            </a:r>
          </a:p>
          <a:p>
            <a:pPr marL="285750" indent="-285750">
              <a:buFont typeface="Symbol" panose="05050102010706020507" pitchFamily="18" charset="2"/>
              <a:buChar char="•"/>
            </a:pPr>
            <a:r>
              <a:rPr lang="en-GB"/>
              <a:t>Definition of an API for calling a bot.</a:t>
            </a:r>
          </a:p>
          <a:p>
            <a:pPr marL="285750" indent="-285750">
              <a:buFont typeface="Symbol" panose="05050102010706020507" pitchFamily="18" charset="2"/>
              <a:buChar char="•"/>
            </a:pPr>
            <a:r>
              <a:rPr lang="en-GB"/>
              <a:t>The API is defined as a group API here: ….</a:t>
            </a:r>
          </a:p>
          <a:p>
            <a:pPr marL="285750" indent="-285750">
              <a:buFont typeface="Symbol" panose="05050102010706020507" pitchFamily="18" charset="2"/>
              <a:buChar char="•"/>
            </a:pPr>
            <a:r>
              <a:rPr lang="en-GB"/>
              <a:t>Event tracking is done via LUX.</a:t>
            </a:r>
          </a:p>
          <a:p>
            <a:pPr marL="0" indent="0">
              <a:buFont typeface="Symbol" panose="05050102010706020507" pitchFamily="18" charset="2"/>
              <a:buNone/>
            </a:pPr>
            <a:endParaRPr lang="en-GB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06DA4062-671A-BDE3-FF9C-0A8B777B2B42}"/>
              </a:ext>
            </a:extLst>
          </p:cNvPr>
          <p:cNvSpPr txBox="1">
            <a:spLocks/>
          </p:cNvSpPr>
          <p:nvPr/>
        </p:nvSpPr>
        <p:spPr>
          <a:xfrm>
            <a:off x="6203953" y="2241550"/>
            <a:ext cx="5472110" cy="410368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marL="447675" indent="-4476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23888" indent="-17938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9625" indent="-18573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9013" indent="-17938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68400" indent="-17938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1200"/>
              </a:spcAft>
              <a:buFont typeface="Symbol" panose="05050102010706020507" pitchFamily="18" charset="2"/>
              <a:buNone/>
            </a:pPr>
            <a:r>
              <a:rPr lang="en-GB" sz="1600" b="1">
                <a:solidFill>
                  <a:schemeClr val="bg1"/>
                </a:solidFill>
                <a:latin typeface="+mn-lt"/>
              </a:rPr>
              <a:t>Bot to backend</a:t>
            </a:r>
          </a:p>
          <a:p>
            <a:pPr marL="285750" indent="-285750">
              <a:lnSpc>
                <a:spcPct val="107000"/>
              </a:lnSpc>
              <a:spcBef>
                <a:spcPts val="0"/>
              </a:spcBef>
              <a:spcAft>
                <a:spcPts val="1200"/>
              </a:spcAft>
              <a:buFont typeface="Symbol" panose="05050102010706020507" pitchFamily="18" charset="2"/>
              <a:buChar char="•"/>
            </a:pPr>
            <a:r>
              <a:rPr lang="en-GB" sz="1600">
                <a:solidFill>
                  <a:schemeClr val="bg1"/>
                </a:solidFill>
                <a:latin typeface="+mn-lt"/>
              </a:rPr>
              <a:t>RESTful calls to APIs via APILM Red Hat 3Scale.</a:t>
            </a:r>
          </a:p>
          <a:p>
            <a:pPr marL="285750" indent="-285750">
              <a:lnSpc>
                <a:spcPct val="107000"/>
              </a:lnSpc>
              <a:spcBef>
                <a:spcPts val="0"/>
              </a:spcBef>
              <a:spcAft>
                <a:spcPts val="1200"/>
              </a:spcAft>
              <a:buFont typeface="Symbol" panose="05050102010706020507" pitchFamily="18" charset="2"/>
              <a:buChar char="•"/>
            </a:pPr>
            <a:r>
              <a:rPr lang="en-GB" sz="1600">
                <a:solidFill>
                  <a:schemeClr val="bg1"/>
                </a:solidFill>
                <a:latin typeface="+mn-lt"/>
              </a:rPr>
              <a:t>….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1200"/>
              </a:spcAft>
              <a:buFont typeface="Symbol" panose="05050102010706020507" pitchFamily="18" charset="2"/>
              <a:buNone/>
            </a:pPr>
            <a:endParaRPr lang="en-GB" sz="16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C66FC911-9220-209B-0580-6ED7F29BD46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8" y="275183"/>
            <a:ext cx="11160124" cy="233470"/>
          </a:xfrm>
        </p:spPr>
        <p:txBody>
          <a:bodyPr/>
          <a:lstStyle/>
          <a:p>
            <a:endParaRPr lang="en-US"/>
          </a:p>
        </p:txBody>
      </p:sp>
      <p:sp>
        <p:nvSpPr>
          <p:cNvPr id="1026" name="Foliennummernplatzhalter 1025">
            <a:extLst>
              <a:ext uri="{FF2B5EF4-FFF2-40B4-BE49-F238E27FC236}">
                <a16:creationId xmlns:a16="http://schemas.microsoft.com/office/drawing/2014/main" id="{5DECA4F1-D6E6-ED50-44DF-D63531B84D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pPr/>
              <a:t>2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335093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58F33B-9B70-FB13-9149-41656A6505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arget operation model (TOM) #2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E8CC9C0-365F-2AE2-45F2-482F3CE5F5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</a:rPr>
              <a:t>23.11.2023</a:t>
            </a: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B57D73A-7920-829D-2672-881F1D2612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cs typeface="+mn-cs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19B37FC-C3CD-023B-D639-4E6FEB9AD8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C679D92-F6A1-13FD-81D1-A2BB25ECB99D}"/>
              </a:ext>
            </a:extLst>
          </p:cNvPr>
          <p:cNvSpPr txBox="1">
            <a:spLocks/>
          </p:cNvSpPr>
          <p:nvPr/>
        </p:nvSpPr>
        <p:spPr>
          <a:xfrm>
            <a:off x="575710" y="1179033"/>
            <a:ext cx="11138688" cy="41318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447675" indent="-4476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23888" indent="-17938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9625" indent="-18573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9013" indent="-17938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68400" indent="-17938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spcBef>
                <a:spcPts val="0"/>
              </a:spcBef>
              <a:spcAft>
                <a:spcPts val="0"/>
              </a:spcAft>
              <a:buNone/>
            </a:pPr>
            <a:endParaRPr lang="en-US" sz="2000" b="1">
              <a:solidFill>
                <a:schemeClr val="accent2">
                  <a:lumMod val="10000"/>
                </a:schemeClr>
              </a:solidFill>
              <a:latin typeface="Inter"/>
            </a:endParaRPr>
          </a:p>
          <a:p>
            <a:pPr marL="0" indent="0" algn="just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>
                <a:solidFill>
                  <a:schemeClr val="accent2">
                    <a:lumMod val="10000"/>
                  </a:schemeClr>
                </a:solidFill>
                <a:latin typeface="Inter"/>
              </a:rPr>
              <a:t>Information from Chatbot-Challenge</a:t>
            </a:r>
          </a:p>
          <a:p>
            <a:pPr marL="0" indent="0" algn="just">
              <a:spcBef>
                <a:spcPts val="0"/>
              </a:spcBef>
              <a:spcAft>
                <a:spcPts val="0"/>
              </a:spcAft>
              <a:buNone/>
            </a:pPr>
            <a:endParaRPr lang="en-US" sz="1400" b="1">
              <a:solidFill>
                <a:schemeClr val="accent2">
                  <a:lumMod val="10000"/>
                </a:schemeClr>
              </a:solidFill>
              <a:latin typeface="Inter"/>
            </a:endParaRPr>
          </a:p>
          <a:p>
            <a:pPr marL="0" indent="0" algn="just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>
                <a:solidFill>
                  <a:schemeClr val="accent2">
                    <a:lumMod val="10000"/>
                  </a:schemeClr>
                </a:solidFill>
                <a:latin typeface="Inter"/>
              </a:rPr>
              <a:t>Target Operating Model for conversational interfaces (aka chatbots)</a:t>
            </a:r>
            <a:endParaRPr lang="en-US" sz="1400">
              <a:solidFill>
                <a:schemeClr val="accent2">
                  <a:lumMod val="10000"/>
                </a:schemeClr>
              </a:solidFill>
              <a:latin typeface="Inter"/>
            </a:endParaRPr>
          </a:p>
          <a:p>
            <a:pPr marL="285750" indent="-285750" algn="just">
              <a:spcBef>
                <a:spcPts val="0"/>
              </a:spcBef>
              <a:spcAft>
                <a:spcPts val="0"/>
              </a:spcAft>
              <a:buFont typeface="Arial,Sans-Serif"/>
              <a:buChar char="•"/>
            </a:pPr>
            <a:r>
              <a:rPr lang="en-US" sz="1400">
                <a:solidFill>
                  <a:schemeClr val="accent2">
                    <a:lumMod val="10000"/>
                  </a:schemeClr>
                </a:solidFill>
                <a:latin typeface="Inter"/>
              </a:rPr>
              <a:t>Based on the future chatbot architecture an operating model (idea – development – production – operation) has to be elaborated and agreed upon the various stakeholders/</a:t>
            </a:r>
            <a:r>
              <a:rPr lang="en-US" sz="1400" err="1">
                <a:solidFill>
                  <a:schemeClr val="accent2">
                    <a:lumMod val="10000"/>
                  </a:schemeClr>
                </a:solidFill>
                <a:latin typeface="Inter"/>
              </a:rPr>
              <a:t>keyplayers</a:t>
            </a:r>
            <a:endParaRPr lang="en-US" sz="1400">
              <a:solidFill>
                <a:schemeClr val="accent2">
                  <a:lumMod val="10000"/>
                </a:schemeClr>
              </a:solidFill>
              <a:latin typeface="Inter"/>
            </a:endParaRPr>
          </a:p>
          <a:p>
            <a:pPr marL="285750" indent="-285750" algn="just">
              <a:spcBef>
                <a:spcPts val="0"/>
              </a:spcBef>
              <a:spcAft>
                <a:spcPts val="0"/>
              </a:spcAft>
              <a:buFont typeface="Arial,Sans-Serif"/>
              <a:buChar char="•"/>
            </a:pPr>
            <a:r>
              <a:rPr lang="en-US" sz="1400">
                <a:solidFill>
                  <a:schemeClr val="accent2">
                    <a:lumMod val="10000"/>
                  </a:schemeClr>
                </a:solidFill>
                <a:latin typeface="Inter"/>
              </a:rPr>
              <a:t>Sufficient staffing to fulfill the business requirements (ideation, development, operation) within MISOL Solution</a:t>
            </a:r>
          </a:p>
          <a:p>
            <a:pPr marL="285750" indent="-285750" algn="just">
              <a:spcBef>
                <a:spcPts val="0"/>
              </a:spcBef>
              <a:spcAft>
                <a:spcPts val="0"/>
              </a:spcAft>
              <a:buFont typeface="Arial,Sans-Serif"/>
              <a:buChar char="•"/>
            </a:pPr>
            <a:endParaRPr lang="en-US" sz="1400">
              <a:solidFill>
                <a:srgbClr val="031D2D"/>
              </a:solidFill>
              <a:latin typeface="Inter"/>
            </a:endParaRPr>
          </a:p>
          <a:p>
            <a:pPr marL="0" indent="0" algn="just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>
                <a:solidFill>
                  <a:schemeClr val="accent2">
                    <a:lumMod val="10000"/>
                  </a:schemeClr>
                </a:solidFill>
                <a:latin typeface="Inter"/>
              </a:rPr>
              <a:t>Implement SPOC (Product-Owner) within the Bank</a:t>
            </a:r>
            <a:endParaRPr lang="en-US" sz="1400">
              <a:solidFill>
                <a:schemeClr val="accent2">
                  <a:lumMod val="10000"/>
                </a:schemeClr>
              </a:solidFill>
              <a:latin typeface="Inter"/>
            </a:endParaRPr>
          </a:p>
          <a:p>
            <a:pPr marL="285750" indent="-285750" algn="just">
              <a:spcBef>
                <a:spcPts val="0"/>
              </a:spcBef>
              <a:spcAft>
                <a:spcPts val="0"/>
              </a:spcAft>
              <a:buFont typeface="Arial,Sans-Serif"/>
              <a:buChar char="•"/>
            </a:pPr>
            <a:r>
              <a:rPr lang="en-US" sz="1400">
                <a:solidFill>
                  <a:schemeClr val="accent2">
                    <a:lumMod val="10000"/>
                  </a:schemeClr>
                </a:solidFill>
                <a:latin typeface="Inter"/>
              </a:rPr>
              <a:t>Clear responsibility on ideas, initiatives, requirements, priorities and budget are a key success factor</a:t>
            </a:r>
          </a:p>
          <a:p>
            <a:pPr marL="285750" indent="-285750" algn="just">
              <a:spcBef>
                <a:spcPts val="0"/>
              </a:spcBef>
              <a:spcAft>
                <a:spcPts val="0"/>
              </a:spcAft>
              <a:buFont typeface="Arial,Sans-Serif"/>
              <a:buChar char="•"/>
            </a:pPr>
            <a:r>
              <a:rPr lang="en-US" sz="1400">
                <a:solidFill>
                  <a:schemeClr val="accent2">
                    <a:lumMod val="10000"/>
                  </a:schemeClr>
                </a:solidFill>
                <a:latin typeface="Inter"/>
              </a:rPr>
              <a:t>Start with joint work: customer facing bots with Marc Gyarmaty, employee facing bots with Hannes Theisl</a:t>
            </a:r>
          </a:p>
          <a:p>
            <a:pPr marL="285750" indent="-285750" algn="just">
              <a:spcBef>
                <a:spcPts val="0"/>
              </a:spcBef>
              <a:spcAft>
                <a:spcPts val="0"/>
              </a:spcAft>
              <a:buFont typeface="Arial,Sans-Serif"/>
              <a:buChar char="•"/>
            </a:pPr>
            <a:endParaRPr lang="en-US" sz="1400">
              <a:solidFill>
                <a:schemeClr val="accent2">
                  <a:lumMod val="10000"/>
                </a:schemeClr>
              </a:solidFill>
              <a:latin typeface="Inter"/>
            </a:endParaRPr>
          </a:p>
          <a:p>
            <a:pPr marL="0" indent="0" algn="just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>
                <a:solidFill>
                  <a:schemeClr val="accent2">
                    <a:lumMod val="10000"/>
                  </a:schemeClr>
                </a:solidFill>
                <a:latin typeface="Inter"/>
              </a:rPr>
              <a:t>Proposal for a TOM for generative AI</a:t>
            </a:r>
          </a:p>
          <a:p>
            <a:pPr marL="285750" indent="-285750" algn="jus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accent2">
                    <a:lumMod val="10000"/>
                  </a:schemeClr>
                </a:solidFill>
                <a:latin typeface="Inter"/>
              </a:rPr>
              <a:t> </a:t>
            </a:r>
            <a:r>
              <a:rPr lang="en-US" sz="1100" err="1">
                <a:hlinkClick r:id="rId2"/>
              </a:rPr>
              <a:t>GenAI_TOM</a:t>
            </a:r>
            <a:r>
              <a:rPr lang="en-US" sz="1100">
                <a:hlinkClick r:id="rId2"/>
              </a:rPr>
              <a:t> Approach.pptx (sharepoint.com)</a:t>
            </a:r>
            <a:endParaRPr lang="en-US" sz="1400">
              <a:solidFill>
                <a:schemeClr val="accent2">
                  <a:lumMod val="10000"/>
                </a:schemeClr>
              </a:solidFill>
              <a:latin typeface="Inter"/>
            </a:endParaRPr>
          </a:p>
          <a:p>
            <a:pPr marL="0" indent="0">
              <a:buFont typeface="+mj-lt"/>
              <a:buNone/>
            </a:pPr>
            <a:endParaRPr lang="en-US" sz="2000" b="1">
              <a:solidFill>
                <a:srgbClr val="000000"/>
              </a:solidFill>
              <a:latin typeface="Calibri" panose="020F0502020204030204" pitchFamily="34" charset="0"/>
              <a:ea typeface="Calibri"/>
              <a:cs typeface="Calibri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8418559-A5F2-0A34-751B-6E36BC8049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30101" y="4501649"/>
            <a:ext cx="3516154" cy="2015928"/>
          </a:xfrm>
          <a:prstGeom prst="rect">
            <a:avLst/>
          </a:prstGeom>
        </p:spPr>
      </p:pic>
      <p:sp>
        <p:nvSpPr>
          <p:cNvPr id="1026" name="Foliennummernplatzhalter 1025">
            <a:extLst>
              <a:ext uri="{FF2B5EF4-FFF2-40B4-BE49-F238E27FC236}">
                <a16:creationId xmlns:a16="http://schemas.microsoft.com/office/drawing/2014/main" id="{2BCD8177-64C8-EBAF-FFFD-7BC2C60160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E0597C-028E-473F-BF50-BBB8B8A24EC3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Inter SemiBold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SemiBold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2581522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58F33B-9B70-FB13-9149-41656A6505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mponent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E8CC9C0-365F-2AE2-45F2-482F3CE5F5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</a:rPr>
              <a:t>23.11.2023</a:t>
            </a: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B57D73A-7920-829D-2672-881F1D2612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cs typeface="+mn-cs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19B37FC-C3CD-023B-D639-4E6FEB9AD8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75FBA2DB-B5AC-E38D-771E-72F41C5C3890}"/>
              </a:ext>
            </a:extLst>
          </p:cNvPr>
          <p:cNvSpPr txBox="1"/>
          <p:nvPr/>
        </p:nvSpPr>
        <p:spPr>
          <a:xfrm>
            <a:off x="2013361" y="1073723"/>
            <a:ext cx="10419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/>
              <a:t>Frontend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C1DFF068-80C8-8B77-7D36-F556A87D62F0}"/>
              </a:ext>
            </a:extLst>
          </p:cNvPr>
          <p:cNvSpPr txBox="1"/>
          <p:nvPr/>
        </p:nvSpPr>
        <p:spPr>
          <a:xfrm>
            <a:off x="5594685" y="1007032"/>
            <a:ext cx="9605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/>
              <a:t>Solution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F708D51A-4A36-379A-8F58-7AF7B810D852}"/>
              </a:ext>
            </a:extLst>
          </p:cNvPr>
          <p:cNvSpPr txBox="1"/>
          <p:nvPr/>
        </p:nvSpPr>
        <p:spPr>
          <a:xfrm>
            <a:off x="9769849" y="972063"/>
            <a:ext cx="9739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/>
              <a:t>Backend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4124C59E-2673-EB80-3EA0-08D095C7CEEA}"/>
              </a:ext>
            </a:extLst>
          </p:cNvPr>
          <p:cNvSpPr/>
          <p:nvPr/>
        </p:nvSpPr>
        <p:spPr>
          <a:xfrm>
            <a:off x="1452679" y="1575024"/>
            <a:ext cx="2333767" cy="1405719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George </a:t>
            </a:r>
            <a:r>
              <a:rPr lang="de-DE" err="1"/>
              <a:t>with</a:t>
            </a:r>
            <a:br>
              <a:rPr lang="de-DE"/>
            </a:br>
            <a:r>
              <a:rPr lang="de-DE"/>
              <a:t>Chat-GUI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C8F6AA3-D121-9B11-4EC3-104FB7A0724D}"/>
              </a:ext>
            </a:extLst>
          </p:cNvPr>
          <p:cNvSpPr/>
          <p:nvPr/>
        </p:nvSpPr>
        <p:spPr>
          <a:xfrm>
            <a:off x="1452679" y="3132478"/>
            <a:ext cx="2333767" cy="1405719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External Website </a:t>
            </a:r>
            <a:r>
              <a:rPr lang="de-DE" err="1"/>
              <a:t>with</a:t>
            </a:r>
            <a:r>
              <a:rPr lang="de-DE"/>
              <a:t> Chat-GUI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7F252F1F-F3E4-E9C8-4ADE-5362BD1C5EC6}"/>
              </a:ext>
            </a:extLst>
          </p:cNvPr>
          <p:cNvSpPr/>
          <p:nvPr/>
        </p:nvSpPr>
        <p:spPr>
          <a:xfrm>
            <a:off x="1452679" y="4689932"/>
            <a:ext cx="2333767" cy="140571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Internal Website/ </a:t>
            </a:r>
            <a:r>
              <a:rPr lang="de-DE" err="1"/>
              <a:t>Webapplication</a:t>
            </a:r>
            <a:endParaRPr lang="de-DE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8937DDED-8117-7DDB-F7E5-F5CD4DD85744}"/>
              </a:ext>
            </a:extLst>
          </p:cNvPr>
          <p:cNvSpPr/>
          <p:nvPr/>
        </p:nvSpPr>
        <p:spPr>
          <a:xfrm>
            <a:off x="4908063" y="2524708"/>
            <a:ext cx="2333767" cy="2509023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err="1"/>
              <a:t>MiSol</a:t>
            </a:r>
            <a:endParaRPr lang="de-DE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4BBCEE7F-BDCB-DFE6-D19C-AFD2ACC356F4}"/>
              </a:ext>
            </a:extLst>
          </p:cNvPr>
          <p:cNvSpPr/>
          <p:nvPr/>
        </p:nvSpPr>
        <p:spPr>
          <a:xfrm>
            <a:off x="9056773" y="4689932"/>
            <a:ext cx="2333767" cy="1405719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Internal Services/ </a:t>
            </a:r>
            <a:r>
              <a:rPr lang="de-DE" err="1"/>
              <a:t>Applications</a:t>
            </a:r>
            <a:endParaRPr lang="de-DE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48C85DF2-7E23-9822-796C-0D5E88F2E4A4}"/>
              </a:ext>
            </a:extLst>
          </p:cNvPr>
          <p:cNvSpPr/>
          <p:nvPr/>
        </p:nvSpPr>
        <p:spPr>
          <a:xfrm>
            <a:off x="8410003" y="3132476"/>
            <a:ext cx="2333767" cy="1405719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AI Solution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C1D935B-2D49-4221-7FAA-8EA906E7EA94}"/>
              </a:ext>
            </a:extLst>
          </p:cNvPr>
          <p:cNvSpPr/>
          <p:nvPr/>
        </p:nvSpPr>
        <p:spPr>
          <a:xfrm>
            <a:off x="9056772" y="1575020"/>
            <a:ext cx="2333767" cy="1405719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External Services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5F38023F-EE5A-9DD2-A57D-7AA6CDB8B743}"/>
              </a:ext>
            </a:extLst>
          </p:cNvPr>
          <p:cNvSpPr/>
          <p:nvPr/>
        </p:nvSpPr>
        <p:spPr>
          <a:xfrm>
            <a:off x="5077135" y="2799797"/>
            <a:ext cx="1995621" cy="61700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Orchestration Layer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B0D8FE37-687C-6ED6-E2F1-DEF9689621AD}"/>
              </a:ext>
            </a:extLst>
          </p:cNvPr>
          <p:cNvSpPr/>
          <p:nvPr/>
        </p:nvSpPr>
        <p:spPr>
          <a:xfrm>
            <a:off x="5095723" y="4111923"/>
            <a:ext cx="1995621" cy="61700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Bot-/Dialog Designer</a:t>
            </a:r>
          </a:p>
        </p:txBody>
      </p:sp>
      <p:sp>
        <p:nvSpPr>
          <p:cNvPr id="1036" name="Foliennummernplatzhalter 1035">
            <a:extLst>
              <a:ext uri="{FF2B5EF4-FFF2-40B4-BE49-F238E27FC236}">
                <a16:creationId xmlns:a16="http://schemas.microsoft.com/office/drawing/2014/main" id="{FB5D598E-30EC-256E-1FD5-A7952D11B7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E0597C-028E-473F-BF50-BBB8B8A24EC3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Inter SemiBold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SemiBold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1700787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58F33B-9B70-FB13-9149-41656A6505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low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E8CC9C0-365F-2AE2-45F2-482F3CE5F5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</a:rPr>
              <a:t>23.11.2023</a:t>
            </a: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B57D73A-7920-829D-2672-881F1D2612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cs typeface="+mn-cs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19B37FC-C3CD-023B-D639-4E6FEB9AD8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B789F1C-CB1D-16E6-8DD7-6B05FFD7E9B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484" y="1134714"/>
            <a:ext cx="10127142" cy="5039843"/>
          </a:xfrm>
          <a:prstGeom prst="rect">
            <a:avLst/>
          </a:prstGeom>
        </p:spPr>
      </p:pic>
      <p:sp>
        <p:nvSpPr>
          <p:cNvPr id="1025" name="Foliennummernplatzhalter 1024">
            <a:extLst>
              <a:ext uri="{FF2B5EF4-FFF2-40B4-BE49-F238E27FC236}">
                <a16:creationId xmlns:a16="http://schemas.microsoft.com/office/drawing/2014/main" id="{304D339D-5FC9-C756-5431-50AF0D46E9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E0597C-028E-473F-BF50-BBB8B8A24EC3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Inter SemiBold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SemiBold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82577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44A27D-C3EE-AE62-9F24-F70DD02E1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Final </a:t>
            </a:r>
            <a:r>
              <a:rPr lang="de-DE" err="1"/>
              <a:t>recommendations</a:t>
            </a:r>
            <a:r>
              <a:rPr lang="de-DE"/>
              <a:t> </a:t>
            </a:r>
            <a:r>
              <a:rPr lang="de-DE" err="1"/>
              <a:t>from</a:t>
            </a:r>
            <a:r>
              <a:rPr lang="de-DE"/>
              <a:t> Chatbot Challenge 2023</a:t>
            </a:r>
            <a:endParaRPr lang="en-SK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5DC4DF-F772-E3DD-09E2-FAC2C1156D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</a:rPr>
              <a:t>23.11.2023</a:t>
            </a: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67E5A6-4B9A-A564-F6E8-AC614C1E4F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cs typeface="+mn-cs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5D6A95A-7AD0-3019-3BD0-A3BC4A41C91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SK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883015C4-CB92-2166-D259-8BCCEB109924}"/>
              </a:ext>
            </a:extLst>
          </p:cNvPr>
          <p:cNvSpPr txBox="1"/>
          <p:nvPr/>
        </p:nvSpPr>
        <p:spPr>
          <a:xfrm>
            <a:off x="7381142" y="998539"/>
            <a:ext cx="4656339" cy="30816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07000"/>
              </a:lnSpc>
            </a:pPr>
            <a:r>
              <a:rPr lang="de-DE" sz="1400"/>
              <a:t>Source: </a:t>
            </a:r>
            <a:r>
              <a:rPr lang="de-DE" sz="1400">
                <a:hlinkClick r:id="rId2"/>
              </a:rPr>
              <a:t>20231011_ChatbotChallenge_Steering.pptx</a:t>
            </a:r>
            <a:endParaRPr lang="de-AT" sz="1400"/>
          </a:p>
        </p:txBody>
      </p:sp>
      <p:sp>
        <p:nvSpPr>
          <p:cNvPr id="11" name="Textfeld 1">
            <a:extLst>
              <a:ext uri="{FF2B5EF4-FFF2-40B4-BE49-F238E27FC236}">
                <a16:creationId xmlns:a16="http://schemas.microsoft.com/office/drawing/2014/main" id="{D12F7F67-EE89-9D4A-6DF2-FEFAAF678BA2}"/>
              </a:ext>
            </a:extLst>
          </p:cNvPr>
          <p:cNvSpPr txBox="1"/>
          <p:nvPr/>
        </p:nvSpPr>
        <p:spPr>
          <a:xfrm>
            <a:off x="403673" y="1228398"/>
            <a:ext cx="11384655" cy="440120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 marL="0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09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17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26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34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43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52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60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869" algn="l" defTabSz="91421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n-US" sz="1400" b="1" err="1">
                <a:solidFill>
                  <a:schemeClr val="accent2">
                    <a:lumMod val="10000"/>
                  </a:schemeClr>
                </a:solidFill>
                <a:latin typeface="Inter"/>
                <a:ea typeface="Inter" panose="02000503000000020004" pitchFamily="2" charset="0"/>
                <a:cs typeface="Inter" panose="02000503000000020004" pitchFamily="2" charset="0"/>
              </a:rPr>
              <a:t>Toolstack</a:t>
            </a:r>
            <a:r>
              <a:rPr lang="en-US" sz="1400" b="1">
                <a:solidFill>
                  <a:schemeClr val="accent2">
                    <a:lumMod val="10000"/>
                  </a:schemeClr>
                </a:solidFill>
                <a:latin typeface="Inter"/>
                <a:ea typeface="Inter" panose="02000503000000020004" pitchFamily="2" charset="0"/>
                <a:cs typeface="Inter" panose="02000503000000020004" pitchFamily="2" charset="0"/>
              </a:rPr>
              <a:t> for ED Chatbot Solution (</a:t>
            </a:r>
            <a:r>
              <a:rPr lang="en-US" sz="1400" b="1" err="1">
                <a:solidFill>
                  <a:schemeClr val="accent2">
                    <a:lumMod val="10000"/>
                  </a:schemeClr>
                </a:solidFill>
                <a:latin typeface="Inter"/>
                <a:ea typeface="Inter" panose="02000503000000020004" pitchFamily="2" charset="0"/>
                <a:cs typeface="Inter" panose="02000503000000020004" pitchFamily="2" charset="0"/>
              </a:rPr>
              <a:t>MiSOL</a:t>
            </a:r>
            <a:r>
              <a:rPr lang="en-US" sz="1400" b="1">
                <a:solidFill>
                  <a:schemeClr val="accent2">
                    <a:lumMod val="10000"/>
                  </a:schemeClr>
                </a:solidFill>
                <a:latin typeface="Inter"/>
                <a:ea typeface="Inter" panose="02000503000000020004" pitchFamily="2" charset="0"/>
                <a:cs typeface="Inter" panose="02000503000000020004" pitchFamily="2" charset="0"/>
              </a:rPr>
              <a:t>) and Architecture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accent2">
                    <a:lumMod val="10000"/>
                  </a:schemeClr>
                </a:solidFill>
                <a:latin typeface="Inter"/>
                <a:sym typeface="Wingdings" panose="05000000000000000000" pitchFamily="2" charset="2"/>
              </a:rPr>
              <a:t>As sandbox tests with Google </a:t>
            </a:r>
            <a:r>
              <a:rPr lang="en-US" sz="1400" err="1">
                <a:solidFill>
                  <a:schemeClr val="accent2">
                    <a:lumMod val="10000"/>
                  </a:schemeClr>
                </a:solidFill>
                <a:latin typeface="Inter"/>
                <a:sym typeface="Wingdings" panose="05000000000000000000" pitchFamily="2" charset="2"/>
              </a:rPr>
              <a:t>toolstack</a:t>
            </a:r>
            <a:r>
              <a:rPr lang="en-US" sz="1400">
                <a:solidFill>
                  <a:schemeClr val="accent2">
                    <a:lumMod val="10000"/>
                  </a:schemeClr>
                </a:solidFill>
                <a:latin typeface="Inter"/>
                <a:sym typeface="Wingdings" panose="05000000000000000000" pitchFamily="2" charset="2"/>
              </a:rPr>
              <a:t> are very promising and migration of ED solutions to Google Cloud Platform (GCP) is an ongoing initiative we highly recommend to implement this Google </a:t>
            </a:r>
            <a:r>
              <a:rPr lang="en-US" sz="1400" err="1">
                <a:solidFill>
                  <a:schemeClr val="accent2">
                    <a:lumMod val="10000"/>
                  </a:schemeClr>
                </a:solidFill>
                <a:latin typeface="Inter"/>
                <a:sym typeface="Wingdings" panose="05000000000000000000" pitchFamily="2" charset="2"/>
              </a:rPr>
              <a:t>toolstack</a:t>
            </a:r>
            <a:r>
              <a:rPr lang="en-US" sz="1400">
                <a:solidFill>
                  <a:schemeClr val="accent2">
                    <a:lumMod val="10000"/>
                  </a:schemeClr>
                </a:solidFill>
                <a:latin typeface="Inter"/>
                <a:sym typeface="Wingdings" panose="05000000000000000000" pitchFamily="2" charset="2"/>
              </a:rPr>
              <a:t> asap (</a:t>
            </a:r>
            <a:r>
              <a:rPr lang="en-US" sz="1400" err="1">
                <a:solidFill>
                  <a:schemeClr val="accent2">
                    <a:lumMod val="10000"/>
                  </a:schemeClr>
                </a:solidFill>
                <a:latin typeface="Inter"/>
                <a:sym typeface="Wingdings" panose="05000000000000000000" pitchFamily="2" charset="2"/>
              </a:rPr>
              <a:t>DialogFlow</a:t>
            </a:r>
            <a:r>
              <a:rPr lang="en-US" sz="1400">
                <a:solidFill>
                  <a:schemeClr val="accent2">
                    <a:lumMod val="10000"/>
                  </a:schemeClr>
                </a:solidFill>
                <a:latin typeface="Inter"/>
                <a:sym typeface="Wingdings" panose="05000000000000000000" pitchFamily="2" charset="2"/>
              </a:rPr>
              <a:t> and Vertex AI as a LAB-environment)</a:t>
            </a:r>
            <a:endParaRPr lang="en-US" sz="1400">
              <a:solidFill>
                <a:schemeClr val="accent2">
                  <a:lumMod val="10000"/>
                </a:schemeClr>
              </a:solidFill>
              <a:latin typeface="Inter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accent2">
                    <a:lumMod val="10000"/>
                  </a:schemeClr>
                </a:solidFill>
                <a:latin typeface="Inter"/>
              </a:rPr>
              <a:t>Architecture (esp. </a:t>
            </a:r>
            <a:r>
              <a:rPr lang="en-US" sz="1400" err="1">
                <a:solidFill>
                  <a:schemeClr val="accent2">
                    <a:lumMod val="10000"/>
                  </a:schemeClr>
                </a:solidFill>
                <a:latin typeface="Inter"/>
              </a:rPr>
              <a:t>MiSOL</a:t>
            </a:r>
            <a:r>
              <a:rPr lang="en-US" sz="1400">
                <a:solidFill>
                  <a:schemeClr val="accent2">
                    <a:lumMod val="10000"/>
                  </a:schemeClr>
                </a:solidFill>
                <a:latin typeface="Inter"/>
              </a:rPr>
              <a:t>, AI Solution and George) described by a separate initiative </a:t>
            </a:r>
          </a:p>
          <a:p>
            <a:pPr algn="just"/>
            <a:endParaRPr lang="en-US" sz="1400">
              <a:solidFill>
                <a:schemeClr val="accent2">
                  <a:lumMod val="10000"/>
                </a:schemeClr>
              </a:solidFill>
              <a:latin typeface="Inter"/>
              <a:sym typeface="Wingdings" panose="05000000000000000000" pitchFamily="2" charset="2"/>
            </a:endParaRPr>
          </a:p>
          <a:p>
            <a:pPr algn="just"/>
            <a:r>
              <a:rPr lang="en-US" sz="1400" b="1">
                <a:solidFill>
                  <a:schemeClr val="accent2">
                    <a:lumMod val="10000"/>
                  </a:schemeClr>
                </a:solidFill>
                <a:latin typeface="Inter"/>
                <a:sym typeface="Wingdings" panose="05000000000000000000" pitchFamily="2" charset="2"/>
              </a:rPr>
              <a:t>Target Operating Model for conversational interfaces (aka chatbots)</a:t>
            </a:r>
            <a:endParaRPr lang="en-US" sz="1400" b="1">
              <a:solidFill>
                <a:schemeClr val="accent2">
                  <a:lumMod val="10000"/>
                </a:schemeClr>
              </a:solidFill>
              <a:latin typeface="Inter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accent2">
                    <a:lumMod val="10000"/>
                  </a:schemeClr>
                </a:solidFill>
                <a:latin typeface="Inter"/>
              </a:rPr>
              <a:t>Based on the future chatbot architecture an operating model (idea – development – production – operation) has to be elaborated and agreed upon the various stakeholders/</a:t>
            </a:r>
            <a:r>
              <a:rPr lang="en-US" sz="1400" err="1">
                <a:solidFill>
                  <a:schemeClr val="accent2">
                    <a:lumMod val="10000"/>
                  </a:schemeClr>
                </a:solidFill>
                <a:latin typeface="Inter"/>
              </a:rPr>
              <a:t>keyplayers</a:t>
            </a:r>
            <a:endParaRPr lang="en-US" sz="1400">
              <a:solidFill>
                <a:schemeClr val="accent2">
                  <a:lumMod val="10000"/>
                </a:schemeClr>
              </a:solidFill>
              <a:latin typeface="Inter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accent2">
                    <a:lumMod val="10000"/>
                  </a:schemeClr>
                </a:solidFill>
                <a:latin typeface="Inter"/>
              </a:rPr>
              <a:t>Sufficient staffing to fulfill the business requirements (ideation, development, operation) within </a:t>
            </a:r>
            <a:r>
              <a:rPr lang="en-US" sz="1400" err="1">
                <a:solidFill>
                  <a:schemeClr val="accent2">
                    <a:lumMod val="10000"/>
                  </a:schemeClr>
                </a:solidFill>
                <a:latin typeface="Inter"/>
              </a:rPr>
              <a:t>MiSOL</a:t>
            </a:r>
            <a:r>
              <a:rPr lang="en-US" sz="1400">
                <a:solidFill>
                  <a:schemeClr val="accent2">
                    <a:lumMod val="10000"/>
                  </a:schemeClr>
                </a:solidFill>
                <a:latin typeface="Inter"/>
              </a:rPr>
              <a:t> Solution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sz="1400">
              <a:solidFill>
                <a:schemeClr val="accent2">
                  <a:lumMod val="10000"/>
                </a:schemeClr>
              </a:solidFill>
              <a:latin typeface="Inter"/>
            </a:endParaRPr>
          </a:p>
          <a:p>
            <a:pPr algn="just"/>
            <a:r>
              <a:rPr lang="en-US" sz="1400" b="1">
                <a:solidFill>
                  <a:schemeClr val="accent2">
                    <a:lumMod val="10000"/>
                  </a:schemeClr>
                </a:solidFill>
                <a:latin typeface="Inter"/>
              </a:rPr>
              <a:t>Implement SPOC (Product-Owner) within the Bank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accent2">
                    <a:lumMod val="10000"/>
                  </a:schemeClr>
                </a:solidFill>
                <a:latin typeface="Inter"/>
              </a:rPr>
              <a:t>Clear responsibility on ideas, initiatives, requirements, priorities and budget are a key success factor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accent2">
                    <a:lumMod val="10000"/>
                  </a:schemeClr>
                </a:solidFill>
                <a:latin typeface="Inter"/>
              </a:rPr>
              <a:t>Start with joint work and designated Product Owners: customer facing bots with Marc Gyarmaty, employee facing bots with Hannes </a:t>
            </a:r>
            <a:r>
              <a:rPr lang="en-US" sz="1400" err="1">
                <a:solidFill>
                  <a:schemeClr val="accent2">
                    <a:lumMod val="10000"/>
                  </a:schemeClr>
                </a:solidFill>
                <a:latin typeface="Inter"/>
              </a:rPr>
              <a:t>Theisl</a:t>
            </a:r>
          </a:p>
          <a:p>
            <a:pPr algn="just"/>
            <a:endParaRPr lang="en-US" sz="1400">
              <a:solidFill>
                <a:schemeClr val="accent2">
                  <a:lumMod val="10000"/>
                </a:schemeClr>
              </a:solidFill>
              <a:latin typeface="Inter"/>
            </a:endParaRPr>
          </a:p>
          <a:p>
            <a:pPr algn="just"/>
            <a:r>
              <a:rPr lang="en-US" sz="1400" b="1">
                <a:solidFill>
                  <a:schemeClr val="accent2">
                    <a:lumMod val="10000"/>
                  </a:schemeClr>
                </a:solidFill>
                <a:latin typeface="Inter"/>
              </a:rPr>
              <a:t>Start with the integration of George Master Chatbot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accent2">
                    <a:lumMod val="10000"/>
                  </a:schemeClr>
                </a:solidFill>
                <a:latin typeface="Inter"/>
                <a:ea typeface="Inter" panose="02000503000000020004" pitchFamily="2" charset="0"/>
                <a:cs typeface="Inter" panose="02000503000000020004" pitchFamily="2" charset="0"/>
              </a:rPr>
              <a:t>As George Master Chatbot is a very prominent business stakeholder we recommend to start with this integration, utilizing already existing local chatbot or info-services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accent2">
                    <a:lumMod val="10000"/>
                  </a:schemeClr>
                </a:solidFill>
                <a:latin typeface="Inter"/>
                <a:ea typeface="Inter" panose="02000503000000020004" pitchFamily="2" charset="0"/>
                <a:cs typeface="Inter" panose="02000503000000020004" pitchFamily="2" charset="0"/>
              </a:rPr>
              <a:t>Product Owner: Peter Koller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sz="1400">
              <a:solidFill>
                <a:schemeClr val="accent2">
                  <a:lumMod val="10000"/>
                </a:schemeClr>
              </a:solidFill>
              <a:latin typeface="Inter"/>
              <a:ea typeface="Inter" panose="02000503000000020004" pitchFamily="2" charset="0"/>
              <a:cs typeface="Inter" panose="02000503000000020004" pitchFamily="2" charset="0"/>
            </a:endParaRPr>
          </a:p>
          <a:p>
            <a:pPr algn="just"/>
            <a:r>
              <a:rPr lang="en-US" sz="1400" b="1">
                <a:solidFill>
                  <a:schemeClr val="accent2">
                    <a:lumMod val="10000"/>
                  </a:schemeClr>
                </a:solidFill>
                <a:latin typeface="Inter"/>
                <a:ea typeface="Inter" panose="02000503000000020004" pitchFamily="2" charset="0"/>
                <a:cs typeface="Inter" panose="02000503000000020004" pitchFamily="2" charset="0"/>
              </a:rPr>
              <a:t>Officially finish Chatbot Challenge</a:t>
            </a:r>
            <a:endParaRPr lang="en-US" sz="1400">
              <a:solidFill>
                <a:schemeClr val="accent2">
                  <a:lumMod val="10000"/>
                </a:schemeClr>
              </a:solidFill>
              <a:latin typeface="Inter"/>
              <a:ea typeface="Inter" panose="02000503000000020004" pitchFamily="2" charset="0"/>
              <a:cs typeface="Inter" panose="02000503000000020004" pitchFamily="2" charset="0"/>
            </a:endParaRPr>
          </a:p>
        </p:txBody>
      </p:sp>
      <p:sp>
        <p:nvSpPr>
          <p:cNvPr id="1026" name="Foliennummernplatzhalter 1025">
            <a:extLst>
              <a:ext uri="{FF2B5EF4-FFF2-40B4-BE49-F238E27FC236}">
                <a16:creationId xmlns:a16="http://schemas.microsoft.com/office/drawing/2014/main" id="{71A32F6D-360F-BA27-83D7-BEC36433A4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E0597C-028E-473F-BF50-BBB8B8A24EC3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Inter SemiBold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SemiBold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60836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72B349-157A-2661-A209-C6EDA01AEC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>
                <a:latin typeface="Arial" panose="020B0604020202020204" pitchFamily="34" charset="0"/>
                <a:cs typeface="Arial" panose="020B0604020202020204" pitchFamily="34" charset="0"/>
              </a:rPr>
              <a:t>George concept for all countries: Hey, George is a new AI based conversational platform providing unified experience in an ecosystem of chatbots</a:t>
            </a:r>
            <a:br>
              <a:rPr lang="en-GB" sz="200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GB" sz="200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SK" sz="2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4625422-E791-16A2-58EC-31B35811A7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</a:rPr>
              <a:t>23.11.2023</a:t>
            </a: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193C53-6331-2A7F-26D8-277E60DB13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cs typeface="+mn-cs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E866CEF-649A-BC9C-17C1-A4A117E5045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SK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EF28F34-9D56-D6A8-611F-3A3A0233EB40}"/>
              </a:ext>
            </a:extLst>
          </p:cNvPr>
          <p:cNvSpPr txBox="1"/>
          <p:nvPr/>
        </p:nvSpPr>
        <p:spPr>
          <a:xfrm>
            <a:off x="7477251" y="921266"/>
            <a:ext cx="3923446" cy="30816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07000"/>
              </a:lnSpc>
            </a:pPr>
            <a:r>
              <a:rPr lang="de-DE" sz="1400"/>
              <a:t>Source: </a:t>
            </a:r>
            <a:r>
              <a:rPr lang="en-US" sz="1400">
                <a:hlinkClick r:id="rId3"/>
              </a:rPr>
              <a:t>Hey, George! POC introduction.pptx</a:t>
            </a:r>
            <a:endParaRPr lang="de-AT" sz="1400"/>
          </a:p>
        </p:txBody>
      </p:sp>
      <p:sp>
        <p:nvSpPr>
          <p:cNvPr id="10" name="Textfeld 15">
            <a:extLst>
              <a:ext uri="{FF2B5EF4-FFF2-40B4-BE49-F238E27FC236}">
                <a16:creationId xmlns:a16="http://schemas.microsoft.com/office/drawing/2014/main" id="{1023912C-1C08-3A18-D107-EE2BEF3BFE8A}"/>
              </a:ext>
            </a:extLst>
          </p:cNvPr>
          <p:cNvSpPr txBox="1"/>
          <p:nvPr/>
        </p:nvSpPr>
        <p:spPr>
          <a:xfrm>
            <a:off x="8717842" y="3647183"/>
            <a:ext cx="2880000" cy="2791308"/>
          </a:xfrm>
          <a:prstGeom prst="roundRect">
            <a:avLst>
              <a:gd name="adj" fmla="val 1472"/>
            </a:avLst>
          </a:prstGeom>
          <a:solidFill>
            <a:srgbClr val="BBFEFE"/>
          </a:solidFill>
        </p:spPr>
        <p:txBody>
          <a:bodyPr wrap="square" lIns="36000" rIns="36000" anchor="ctr" anchorCtr="0">
            <a:noAutofit/>
          </a:bodyPr>
          <a:lstStyle/>
          <a:p>
            <a:pPr marL="0" marR="0" lvl="0" indent="7938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/>
              <a:ea typeface="Inter" panose="02000503000000020004" pitchFamily="2" charset="0"/>
              <a:cs typeface="Inter" panose="02000503000000020004" pitchFamily="2" charset="0"/>
            </a:endParaRPr>
          </a:p>
        </p:txBody>
      </p:sp>
      <p:sp>
        <p:nvSpPr>
          <p:cNvPr id="11" name="Textfeld 15">
            <a:extLst>
              <a:ext uri="{FF2B5EF4-FFF2-40B4-BE49-F238E27FC236}">
                <a16:creationId xmlns:a16="http://schemas.microsoft.com/office/drawing/2014/main" id="{6EC5643B-BCF9-4B9F-77DA-DDF08E1C5753}"/>
              </a:ext>
            </a:extLst>
          </p:cNvPr>
          <p:cNvSpPr txBox="1"/>
          <p:nvPr/>
        </p:nvSpPr>
        <p:spPr>
          <a:xfrm>
            <a:off x="5331690" y="3647183"/>
            <a:ext cx="2880000" cy="2791308"/>
          </a:xfrm>
          <a:prstGeom prst="roundRect">
            <a:avLst>
              <a:gd name="adj" fmla="val 1472"/>
            </a:avLst>
          </a:prstGeom>
          <a:solidFill>
            <a:srgbClr val="C8DEEE"/>
          </a:solidFill>
        </p:spPr>
        <p:txBody>
          <a:bodyPr wrap="square" lIns="36000" rIns="36000" anchor="ctr" anchorCtr="0">
            <a:noAutofit/>
          </a:bodyPr>
          <a:lstStyle/>
          <a:p>
            <a:pPr marL="0" marR="0" lvl="0" indent="7938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/>
              <a:ea typeface="Inter" panose="02000503000000020004" pitchFamily="2" charset="0"/>
              <a:cs typeface="Inter" panose="02000503000000020004" pitchFamily="2" charset="0"/>
            </a:endParaRPr>
          </a:p>
        </p:txBody>
      </p:sp>
      <p:sp>
        <p:nvSpPr>
          <p:cNvPr id="12" name="Textfeld 15">
            <a:extLst>
              <a:ext uri="{FF2B5EF4-FFF2-40B4-BE49-F238E27FC236}">
                <a16:creationId xmlns:a16="http://schemas.microsoft.com/office/drawing/2014/main" id="{911BC9B3-4D71-F944-B5ED-B56FB6FAC08B}"/>
              </a:ext>
            </a:extLst>
          </p:cNvPr>
          <p:cNvSpPr txBox="1"/>
          <p:nvPr/>
        </p:nvSpPr>
        <p:spPr>
          <a:xfrm>
            <a:off x="1945538" y="3647184"/>
            <a:ext cx="2880000" cy="2791308"/>
          </a:xfrm>
          <a:prstGeom prst="roundRect">
            <a:avLst>
              <a:gd name="adj" fmla="val 1472"/>
            </a:avLst>
          </a:prstGeom>
          <a:solidFill>
            <a:srgbClr val="D4E2FB"/>
          </a:solidFill>
        </p:spPr>
        <p:txBody>
          <a:bodyPr wrap="square" lIns="36000" rIns="36000" anchor="ctr" anchorCtr="0">
            <a:noAutofit/>
          </a:bodyPr>
          <a:lstStyle/>
          <a:p>
            <a:pPr marL="0" marR="0" lvl="0" indent="7938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/>
              <a:ea typeface="Inter" panose="02000503000000020004" pitchFamily="2" charset="0"/>
              <a:cs typeface="Inter" panose="02000503000000020004" pitchFamily="2" charset="0"/>
            </a:endParaRPr>
          </a:p>
        </p:txBody>
      </p:sp>
      <p:sp>
        <p:nvSpPr>
          <p:cNvPr id="13" name="Rectangle 46">
            <a:extLst>
              <a:ext uri="{FF2B5EF4-FFF2-40B4-BE49-F238E27FC236}">
                <a16:creationId xmlns:a16="http://schemas.microsoft.com/office/drawing/2014/main" id="{FFF35075-9730-137A-1B92-342B67DAB0EF}"/>
              </a:ext>
            </a:extLst>
          </p:cNvPr>
          <p:cNvSpPr>
            <a:spLocks noChangeArrowheads="1"/>
          </p:cNvSpPr>
          <p:nvPr/>
        </p:nvSpPr>
        <p:spPr bwMode="gray">
          <a:xfrm>
            <a:off x="1945538" y="3939413"/>
            <a:ext cx="2724935" cy="125985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72000" tIns="0" rIns="72000" bIns="0" anchor="t"/>
          <a:lstStyle/>
          <a:p>
            <a:pPr marL="122764" marR="0" lvl="0" indent="-122764" algn="l" defTabSz="10389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120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Masterbot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 as orchestration layer to correctly route client conversation</a:t>
            </a:r>
          </a:p>
          <a:p>
            <a:pPr marL="122764" marR="0" lvl="0" indent="-122764" algn="l" defTabSz="10389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1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Chatbot </a:t>
            </a:r>
            <a:r>
              <a:rPr kumimoji="0" lang="cs-CZ" sz="1100" b="0" i="0" u="none" strike="noStrike" kern="120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knows</a:t>
            </a:r>
            <a:r>
              <a:rPr kumimoji="0" lang="cs-CZ" sz="11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 </a:t>
            </a:r>
            <a:r>
              <a:rPr kumimoji="0" lang="cs-CZ" sz="1100" b="0" i="0" u="none" strike="noStrike" kern="120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the</a:t>
            </a:r>
            <a:r>
              <a:rPr kumimoji="0" lang="cs-CZ" sz="11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 </a:t>
            </a:r>
            <a:r>
              <a:rPr kumimoji="0" lang="cs-CZ" sz="1100" b="1" i="0" u="none" strike="noStrike" kern="120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client</a:t>
            </a:r>
            <a:r>
              <a:rPr kumimoji="0" lang="cs-CZ" sz="1100" b="1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 identity </a:t>
            </a:r>
          </a:p>
          <a:p>
            <a:pPr marL="122764" marR="0" lvl="0" indent="-122764" algn="l" defTabSz="10389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1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G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eneral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 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chit-chatting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 functionality</a:t>
            </a:r>
            <a:endParaRPr kumimoji="0" lang="cs-CZ" sz="1100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Inter" panose="02000503000000020004" pitchFamily="2" charset="0"/>
              <a:ea typeface="Inter" panose="02000503000000020004" pitchFamily="2" charset="0"/>
              <a:cs typeface="Inter" panose="02000503000000020004" pitchFamily="2" charset="0"/>
            </a:endParaRPr>
          </a:p>
          <a:p>
            <a:pPr marL="122764" marR="0" lvl="0" indent="-122764" algn="l" defTabSz="10389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1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George </a:t>
            </a:r>
            <a:r>
              <a:rPr kumimoji="0" lang="cs-CZ" sz="1100" b="1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F</a:t>
            </a:r>
            <a:r>
              <a:rPr kumimoji="0" lang="en-US" sz="1100" b="1" i="0" u="none" strike="noStrike" kern="120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eature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 search</a:t>
            </a:r>
            <a:endParaRPr kumimoji="0" lang="cs-CZ" sz="1100" b="1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Inter" panose="02000503000000020004" pitchFamily="2" charset="0"/>
              <a:ea typeface="Inter" panose="02000503000000020004" pitchFamily="2" charset="0"/>
              <a:cs typeface="Inter" panose="02000503000000020004" pitchFamily="2" charset="0"/>
            </a:endParaRPr>
          </a:p>
          <a:p>
            <a:pPr marL="122764" marR="0" lvl="0" indent="-122764" algn="l" defTabSz="10389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100" b="1" i="0" u="none" strike="noStrike" kern="120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Human</a:t>
            </a:r>
            <a:r>
              <a:rPr kumimoji="0" lang="cs-CZ" sz="1100" b="1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 </a:t>
            </a:r>
            <a:r>
              <a:rPr kumimoji="0" lang="cs-CZ" sz="1100" b="1" i="0" u="none" strike="noStrike" kern="120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handover</a:t>
            </a:r>
            <a:r>
              <a:rPr kumimoji="0" lang="cs-CZ" sz="1100" b="1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 </a:t>
            </a:r>
            <a:r>
              <a:rPr kumimoji="0" lang="cs-CZ" sz="11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support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Inter" panose="02000503000000020004" pitchFamily="2" charset="0"/>
              <a:ea typeface="Inter" panose="02000503000000020004" pitchFamily="2" charset="0"/>
              <a:cs typeface="Inter" panose="02000503000000020004" pitchFamily="2" charset="0"/>
            </a:endParaRPr>
          </a:p>
        </p:txBody>
      </p:sp>
      <p:sp>
        <p:nvSpPr>
          <p:cNvPr id="14" name="Rectangle 52">
            <a:extLst>
              <a:ext uri="{FF2B5EF4-FFF2-40B4-BE49-F238E27FC236}">
                <a16:creationId xmlns:a16="http://schemas.microsoft.com/office/drawing/2014/main" id="{9B1414A6-9839-3DEF-4DCE-FF90D4ED976D}"/>
              </a:ext>
            </a:extLst>
          </p:cNvPr>
          <p:cNvSpPr>
            <a:spLocks noChangeArrowheads="1"/>
          </p:cNvSpPr>
          <p:nvPr/>
        </p:nvSpPr>
        <p:spPr bwMode="gray">
          <a:xfrm>
            <a:off x="5331689" y="3939413"/>
            <a:ext cx="2879999" cy="117052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72000" tIns="0" rIns="72000" bIns="0" anchor="t"/>
          <a:lstStyle/>
          <a:p>
            <a:pPr marL="122764" marR="0" lvl="0" indent="-122764" algn="l" defTabSz="10389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E2E3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Handles local </a:t>
            </a:r>
            <a:r>
              <a:rPr kumimoji="0" lang="cs-CZ" sz="1100" b="0" i="0" u="none" strike="noStrike" kern="120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scenarios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 and support cases</a:t>
            </a:r>
          </a:p>
          <a:p>
            <a:pPr marL="122764" marR="0" lvl="0" indent="-122764" algn="l" defTabSz="10389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E2E3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Handover from other bots (reactive/ question based)</a:t>
            </a:r>
          </a:p>
        </p:txBody>
      </p:sp>
      <p:sp>
        <p:nvSpPr>
          <p:cNvPr id="15" name="Rectangle 53">
            <a:extLst>
              <a:ext uri="{FF2B5EF4-FFF2-40B4-BE49-F238E27FC236}">
                <a16:creationId xmlns:a16="http://schemas.microsoft.com/office/drawing/2014/main" id="{BDDEE194-300B-7788-6F47-9E536339AC62}"/>
              </a:ext>
            </a:extLst>
          </p:cNvPr>
          <p:cNvSpPr>
            <a:spLocks noChangeArrowheads="1"/>
          </p:cNvSpPr>
          <p:nvPr/>
        </p:nvSpPr>
        <p:spPr bwMode="gray">
          <a:xfrm>
            <a:off x="8727565" y="3939413"/>
            <a:ext cx="2870278" cy="117052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72000" tIns="0" rIns="72000" bIns="0" anchor="t"/>
          <a:lstStyle/>
          <a:p>
            <a:pPr marL="122764" marR="0" lvl="0" indent="-122764" algn="l" defTabSz="10389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E2E3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Triggered by use cases where solution requires human intervention or user is not satisfied with chatbot solution 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92638792-9A01-6EDE-2E19-7BACB597C04B}"/>
              </a:ext>
            </a:extLst>
          </p:cNvPr>
          <p:cNvSpPr txBox="1"/>
          <p:nvPr/>
        </p:nvSpPr>
        <p:spPr>
          <a:xfrm>
            <a:off x="1945538" y="3461988"/>
            <a:ext cx="2880000" cy="394783"/>
          </a:xfrm>
          <a:prstGeom prst="roundRect">
            <a:avLst>
              <a:gd name="adj" fmla="val 6295"/>
            </a:avLst>
          </a:prstGeom>
          <a:solidFill>
            <a:schemeClr val="bg2">
              <a:lumMod val="75000"/>
            </a:schemeClr>
          </a:solidFill>
        </p:spPr>
        <p:txBody>
          <a:bodyPr wrap="square" lIns="36000" rIns="36000" anchor="ctr" anchorCtr="0">
            <a:noAutofit/>
          </a:bodyPr>
          <a:lstStyle/>
          <a:p>
            <a:pPr marL="0" marR="0" lvl="0" indent="7938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Inter" panose="02000503000000020004" pitchFamily="2" charset="0"/>
                <a:cs typeface="Inter" panose="02000503000000020004" pitchFamily="2" charset="0"/>
              </a:rPr>
              <a:t>Central bots &amp; “</a:t>
            </a:r>
            <a:r>
              <a:rPr kumimoji="0" lang="en-US" sz="14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Inter" panose="02000503000000020004" pitchFamily="2" charset="0"/>
                <a:cs typeface="Inter" panose="02000503000000020004" pitchFamily="2" charset="0"/>
              </a:rPr>
              <a:t>Masterbot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Inter" panose="02000503000000020004" pitchFamily="2" charset="0"/>
                <a:cs typeface="Inter" panose="02000503000000020004" pitchFamily="2" charset="0"/>
              </a:rPr>
              <a:t>”</a:t>
            </a:r>
          </a:p>
        </p:txBody>
      </p:sp>
      <p:sp>
        <p:nvSpPr>
          <p:cNvPr id="17" name="Oval 6">
            <a:extLst>
              <a:ext uri="{FF2B5EF4-FFF2-40B4-BE49-F238E27FC236}">
                <a16:creationId xmlns:a16="http://schemas.microsoft.com/office/drawing/2014/main" id="{040C1EFE-E0DF-BCAD-9E36-B396940C0483}"/>
              </a:ext>
            </a:extLst>
          </p:cNvPr>
          <p:cNvSpPr/>
          <p:nvPr/>
        </p:nvSpPr>
        <p:spPr>
          <a:xfrm>
            <a:off x="1765539" y="3299708"/>
            <a:ext cx="360000" cy="360000"/>
          </a:xfrm>
          <a:prstGeom prst="ellipse">
            <a:avLst/>
          </a:prstGeom>
          <a:solidFill>
            <a:schemeClr val="bg2">
              <a:lumMod val="75000"/>
            </a:schemeClr>
          </a:solidFill>
          <a:ln w="285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</a:p>
        </p:txBody>
      </p:sp>
      <p:sp>
        <p:nvSpPr>
          <p:cNvPr id="18" name="Textfeld 15">
            <a:extLst>
              <a:ext uri="{FF2B5EF4-FFF2-40B4-BE49-F238E27FC236}">
                <a16:creationId xmlns:a16="http://schemas.microsoft.com/office/drawing/2014/main" id="{8C0BFC6C-378E-C6B5-BF8F-157BDC89CEF2}"/>
              </a:ext>
            </a:extLst>
          </p:cNvPr>
          <p:cNvSpPr txBox="1"/>
          <p:nvPr/>
        </p:nvSpPr>
        <p:spPr>
          <a:xfrm>
            <a:off x="5331690" y="3461988"/>
            <a:ext cx="2880000" cy="394783"/>
          </a:xfrm>
          <a:prstGeom prst="roundRect">
            <a:avLst>
              <a:gd name="adj" fmla="val 6295"/>
            </a:avLst>
          </a:prstGeom>
          <a:solidFill>
            <a:srgbClr val="245375"/>
          </a:solidFill>
        </p:spPr>
        <p:txBody>
          <a:bodyPr wrap="square" lIns="36000" rIns="36000" anchor="ctr" anchorCtr="0">
            <a:noAutofit/>
          </a:bodyPr>
          <a:lstStyle/>
          <a:p>
            <a:pPr marL="0" marR="0" lvl="0" indent="7938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Inter" panose="02000503000000020004" pitchFamily="2" charset="0"/>
                <a:cs typeface="Inter" panose="02000503000000020004" pitchFamily="2" charset="0"/>
              </a:rPr>
              <a:t>Local chatbots</a:t>
            </a:r>
          </a:p>
        </p:txBody>
      </p:sp>
      <p:sp>
        <p:nvSpPr>
          <p:cNvPr id="19" name="Oval 15">
            <a:extLst>
              <a:ext uri="{FF2B5EF4-FFF2-40B4-BE49-F238E27FC236}">
                <a16:creationId xmlns:a16="http://schemas.microsoft.com/office/drawing/2014/main" id="{BA89F02A-9FE9-86FD-1A5A-8F598F8D4EA7}"/>
              </a:ext>
            </a:extLst>
          </p:cNvPr>
          <p:cNvSpPr/>
          <p:nvPr/>
        </p:nvSpPr>
        <p:spPr>
          <a:xfrm>
            <a:off x="5151690" y="3299708"/>
            <a:ext cx="360000" cy="360000"/>
          </a:xfrm>
          <a:prstGeom prst="ellipse">
            <a:avLst/>
          </a:prstGeom>
          <a:solidFill>
            <a:srgbClr val="245375"/>
          </a:solidFill>
          <a:ln w="285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</a:p>
        </p:txBody>
      </p:sp>
      <p:sp>
        <p:nvSpPr>
          <p:cNvPr id="20" name="Textfeld 15">
            <a:extLst>
              <a:ext uri="{FF2B5EF4-FFF2-40B4-BE49-F238E27FC236}">
                <a16:creationId xmlns:a16="http://schemas.microsoft.com/office/drawing/2014/main" id="{A6B2E279-39BF-8C37-88DC-4D571CEE6840}"/>
              </a:ext>
            </a:extLst>
          </p:cNvPr>
          <p:cNvSpPr txBox="1"/>
          <p:nvPr/>
        </p:nvSpPr>
        <p:spPr>
          <a:xfrm>
            <a:off x="8717842" y="3461988"/>
            <a:ext cx="2880000" cy="394783"/>
          </a:xfrm>
          <a:prstGeom prst="roundRect">
            <a:avLst>
              <a:gd name="adj" fmla="val 6295"/>
            </a:avLst>
          </a:prstGeom>
          <a:solidFill>
            <a:srgbClr val="02A3A4"/>
          </a:solidFill>
        </p:spPr>
        <p:txBody>
          <a:bodyPr wrap="square" lIns="36000" rIns="36000" anchor="ctr" anchorCtr="0">
            <a:noAutofit/>
          </a:bodyPr>
          <a:lstStyle/>
          <a:p>
            <a:pPr marL="0" marR="0" lvl="0" indent="7938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Inter" panose="02000503000000020004" pitchFamily="2" charset="0"/>
                <a:cs typeface="Inter" panose="02000503000000020004" pitchFamily="2" charset="0"/>
              </a:rPr>
              <a:t>Human support</a:t>
            </a:r>
            <a:endParaRPr kumimoji="0" lang="en-US" sz="1400" b="0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Inter" panose="02000503000000020004" pitchFamily="2" charset="0"/>
              <a:cs typeface="Inter" panose="02000503000000020004" pitchFamily="2" charset="0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5D7B13E9-9672-7D06-E72C-5129BB818D6A}"/>
              </a:ext>
            </a:extLst>
          </p:cNvPr>
          <p:cNvSpPr/>
          <p:nvPr/>
        </p:nvSpPr>
        <p:spPr>
          <a:xfrm>
            <a:off x="8537842" y="3299708"/>
            <a:ext cx="360000" cy="360000"/>
          </a:xfrm>
          <a:prstGeom prst="ellipse">
            <a:avLst/>
          </a:prstGeom>
          <a:solidFill>
            <a:srgbClr val="02A3A4"/>
          </a:solidFill>
          <a:ln w="285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</a:p>
        </p:txBody>
      </p:sp>
      <p:pic>
        <p:nvPicPr>
          <p:cNvPr id="22" name="Graphic 4" descr="Robot outline">
            <a:extLst>
              <a:ext uri="{FF2B5EF4-FFF2-40B4-BE49-F238E27FC236}">
                <a16:creationId xmlns:a16="http://schemas.microsoft.com/office/drawing/2014/main" id="{F414C143-13D7-A820-CE39-6719C9AA882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4437720" y="3465470"/>
            <a:ext cx="387818" cy="387818"/>
          </a:xfrm>
          <a:prstGeom prst="rect">
            <a:avLst/>
          </a:prstGeom>
        </p:spPr>
      </p:pic>
      <p:pic>
        <p:nvPicPr>
          <p:cNvPr id="23" name="Graphic 4" descr="Robot outline">
            <a:extLst>
              <a:ext uri="{FF2B5EF4-FFF2-40B4-BE49-F238E27FC236}">
                <a16:creationId xmlns:a16="http://schemas.microsoft.com/office/drawing/2014/main" id="{0FECD7DF-5AFF-EC77-392D-8B3B40E995B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flipH="1">
            <a:off x="7823872" y="3465470"/>
            <a:ext cx="387818" cy="387818"/>
          </a:xfrm>
          <a:prstGeom prst="rect">
            <a:avLst/>
          </a:prstGeom>
        </p:spPr>
      </p:pic>
      <p:pic>
        <p:nvPicPr>
          <p:cNvPr id="24" name="Grafik 110">
            <a:extLst>
              <a:ext uri="{FF2B5EF4-FFF2-40B4-BE49-F238E27FC236}">
                <a16:creationId xmlns:a16="http://schemas.microsoft.com/office/drawing/2014/main" id="{EE3EF576-6342-C75F-1459-3EBA7913480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289526" y="3539682"/>
            <a:ext cx="239395" cy="239395"/>
          </a:xfrm>
          <a:prstGeom prst="rect">
            <a:avLst/>
          </a:prstGeom>
        </p:spPr>
      </p:pic>
      <p:sp>
        <p:nvSpPr>
          <p:cNvPr id="25" name="Textfeld 15">
            <a:extLst>
              <a:ext uri="{FF2B5EF4-FFF2-40B4-BE49-F238E27FC236}">
                <a16:creationId xmlns:a16="http://schemas.microsoft.com/office/drawing/2014/main" id="{66BCACC5-3D76-06E8-4513-17C92CA98EB7}"/>
              </a:ext>
            </a:extLst>
          </p:cNvPr>
          <p:cNvSpPr txBox="1"/>
          <p:nvPr/>
        </p:nvSpPr>
        <p:spPr>
          <a:xfrm rot="16200000">
            <a:off x="501005" y="3934727"/>
            <a:ext cx="1259850" cy="1269220"/>
          </a:xfrm>
          <a:prstGeom prst="roundRect">
            <a:avLst>
              <a:gd name="adj" fmla="val 5143"/>
            </a:avLst>
          </a:prstGeom>
          <a:solidFill>
            <a:schemeClr val="accent4">
              <a:lumMod val="60000"/>
              <a:lumOff val="40000"/>
            </a:schemeClr>
          </a:solidFill>
        </p:spPr>
        <p:txBody>
          <a:bodyPr vert="vert" wrap="square" tIns="720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Inter" panose="02000503000000020004" pitchFamily="2" charset="0"/>
                <a:cs typeface="Inter" panose="02000503000000020004" pitchFamily="2" charset="0"/>
              </a:rPr>
              <a:t>Features</a:t>
            </a:r>
          </a:p>
        </p:txBody>
      </p:sp>
      <p:sp>
        <p:nvSpPr>
          <p:cNvPr id="26" name="Textfeld 15">
            <a:extLst>
              <a:ext uri="{FF2B5EF4-FFF2-40B4-BE49-F238E27FC236}">
                <a16:creationId xmlns:a16="http://schemas.microsoft.com/office/drawing/2014/main" id="{7B091F9E-B18B-8EEC-EA7D-7C59B4B9FF3D}"/>
              </a:ext>
            </a:extLst>
          </p:cNvPr>
          <p:cNvSpPr txBox="1"/>
          <p:nvPr/>
        </p:nvSpPr>
        <p:spPr>
          <a:xfrm rot="16200000">
            <a:off x="647188" y="5282297"/>
            <a:ext cx="973539" cy="1269221"/>
          </a:xfrm>
          <a:prstGeom prst="roundRect">
            <a:avLst>
              <a:gd name="adj" fmla="val 5143"/>
            </a:avLst>
          </a:prstGeom>
          <a:solidFill>
            <a:schemeClr val="accent4">
              <a:lumMod val="60000"/>
              <a:lumOff val="40000"/>
            </a:schemeClr>
          </a:solidFill>
        </p:spPr>
        <p:txBody>
          <a:bodyPr vert="vert" wrap="square" tIns="720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Inter" panose="02000503000000020004" pitchFamily="2" charset="0"/>
                <a:cs typeface="Inter" panose="02000503000000020004" pitchFamily="2" charset="0"/>
              </a:rPr>
              <a:t>Solution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/>
              <a:ea typeface="Inter" panose="02000503000000020004" pitchFamily="2" charset="0"/>
              <a:cs typeface="Inter" panose="02000503000000020004" pitchFamily="2" charset="0"/>
            </a:endParaRPr>
          </a:p>
        </p:txBody>
      </p:sp>
      <p:cxnSp>
        <p:nvCxnSpPr>
          <p:cNvPr id="27" name="Straight Connector 37">
            <a:extLst>
              <a:ext uri="{FF2B5EF4-FFF2-40B4-BE49-F238E27FC236}">
                <a16:creationId xmlns:a16="http://schemas.microsoft.com/office/drawing/2014/main" id="{4F299440-8B10-B711-D62F-9163CD35BE5C}"/>
              </a:ext>
            </a:extLst>
          </p:cNvPr>
          <p:cNvCxnSpPr>
            <a:cxnSpLocks/>
          </p:cNvCxnSpPr>
          <p:nvPr/>
        </p:nvCxnSpPr>
        <p:spPr>
          <a:xfrm flipH="1">
            <a:off x="496319" y="5317158"/>
            <a:ext cx="11088000" cy="0"/>
          </a:xfrm>
          <a:prstGeom prst="line">
            <a:avLst/>
          </a:prstGeom>
          <a:ln w="1270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40">
            <a:extLst>
              <a:ext uri="{FF2B5EF4-FFF2-40B4-BE49-F238E27FC236}">
                <a16:creationId xmlns:a16="http://schemas.microsoft.com/office/drawing/2014/main" id="{B1C51F42-78FA-2C39-7D11-26CF47EC2AC9}"/>
              </a:ext>
            </a:extLst>
          </p:cNvPr>
          <p:cNvSpPr>
            <a:spLocks noChangeArrowheads="1"/>
          </p:cNvSpPr>
          <p:nvPr/>
        </p:nvSpPr>
        <p:spPr bwMode="gray">
          <a:xfrm>
            <a:off x="1932014" y="5453261"/>
            <a:ext cx="2880000" cy="91411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72000" tIns="0" rIns="72000" bIns="0" anchor="t"/>
          <a:lstStyle/>
          <a:p>
            <a:pPr marL="122764" marR="0" lvl="0" indent="-122764" algn="l" defTabSz="103897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2E2E3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Provided &amp; maintained by the 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A67D2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central George team</a:t>
            </a:r>
            <a:endParaRPr kumimoji="0" lang="cs-CZ" sz="1100" b="1" i="0" u="none" strike="noStrike" kern="1200" cap="none" spc="0" normalizeH="0" baseline="0" noProof="0">
              <a:ln>
                <a:noFill/>
              </a:ln>
              <a:solidFill>
                <a:srgbClr val="1A67D2"/>
              </a:solidFill>
              <a:effectLst/>
              <a:uLnTx/>
              <a:uFillTx/>
              <a:latin typeface="Inter" panose="02000503000000020004" pitchFamily="2" charset="0"/>
              <a:ea typeface="Inter" panose="02000503000000020004" pitchFamily="2" charset="0"/>
              <a:cs typeface="Inter" panose="02000503000000020004" pitchFamily="2" charset="0"/>
            </a:endParaRPr>
          </a:p>
          <a:p>
            <a:pPr marL="122764" marR="0" lvl="0" indent="-122764" algn="l" defTabSz="103897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2E2E3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100" b="0" i="0" u="none" strike="noStrike" kern="120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Driven</a:t>
            </a:r>
            <a:r>
              <a:rPr kumimoji="0" lang="cs-CZ" sz="11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 by </a:t>
            </a:r>
            <a:r>
              <a:rPr kumimoji="0" lang="cs-CZ" sz="1100" b="0" i="0" u="none" strike="noStrike" kern="120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ChatGPT</a:t>
            </a:r>
            <a:r>
              <a:rPr kumimoji="0" lang="cs-CZ" sz="11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 </a:t>
            </a:r>
            <a:r>
              <a:rPr kumimoji="0" lang="cs-CZ" sz="1100" b="0" i="0" u="none" strike="noStrike" kern="120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models</a:t>
            </a:r>
            <a:r>
              <a:rPr kumimoji="0" lang="cs-CZ" sz="11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 and IBM Watson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Inter" panose="02000503000000020004" pitchFamily="2" charset="0"/>
              <a:ea typeface="Inter" panose="02000503000000020004" pitchFamily="2" charset="0"/>
              <a:cs typeface="Inter" panose="02000503000000020004" pitchFamily="2" charset="0"/>
            </a:endParaRPr>
          </a:p>
        </p:txBody>
      </p:sp>
      <p:sp>
        <p:nvSpPr>
          <p:cNvPr id="29" name="Rectangle 41">
            <a:extLst>
              <a:ext uri="{FF2B5EF4-FFF2-40B4-BE49-F238E27FC236}">
                <a16:creationId xmlns:a16="http://schemas.microsoft.com/office/drawing/2014/main" id="{85F56B74-6324-CAB3-ED72-003EEEA9248D}"/>
              </a:ext>
            </a:extLst>
          </p:cNvPr>
          <p:cNvSpPr>
            <a:spLocks noChangeArrowheads="1"/>
          </p:cNvSpPr>
          <p:nvPr/>
        </p:nvSpPr>
        <p:spPr bwMode="gray">
          <a:xfrm>
            <a:off x="5331688" y="5443100"/>
            <a:ext cx="2880000" cy="100555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72000" tIns="0" rIns="72000" bIns="0" anchor="t"/>
          <a:lstStyle/>
          <a:p>
            <a:pPr marL="122764" marR="0" lvl="0" indent="-122764" algn="l" defTabSz="10389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E2E3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Provided &amp; maintained by 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A67D2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local banks</a:t>
            </a:r>
          </a:p>
          <a:p>
            <a:pPr marL="122764" marR="0" lvl="0" indent="-122764" algn="l" defTabSz="10389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E2E3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100" b="0" i="0" u="none" strike="noStrike" kern="120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Can</a:t>
            </a:r>
            <a:r>
              <a:rPr kumimoji="0" lang="cs-CZ" sz="11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 </a:t>
            </a:r>
            <a:r>
              <a:rPr kumimoji="0" lang="cs-CZ" sz="1100" b="0" i="0" u="none" strike="noStrike" kern="120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be</a:t>
            </a:r>
            <a:r>
              <a:rPr kumimoji="0" lang="cs-CZ" sz="11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 </a:t>
            </a:r>
            <a:r>
              <a:rPr kumimoji="0" lang="cs-CZ" sz="1100" b="0" i="0" u="none" strike="noStrike" kern="120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running</a:t>
            </a:r>
            <a:r>
              <a:rPr kumimoji="0" lang="cs-CZ" sz="11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 on any AI technology</a:t>
            </a:r>
          </a:p>
          <a:p>
            <a:pPr marL="122764" marR="0" lvl="0" indent="-122764" algn="l" defTabSz="10389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E2E3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1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Chat </a:t>
            </a:r>
            <a:r>
              <a:rPr kumimoji="0" lang="cs-CZ" sz="1100" b="0" i="0" u="none" strike="noStrike" kern="120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is</a:t>
            </a:r>
            <a:r>
              <a:rPr kumimoji="0" lang="cs-CZ" sz="11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 </a:t>
            </a:r>
            <a:r>
              <a:rPr kumimoji="0" lang="cs-CZ" sz="1100" b="0" i="0" u="none" strike="noStrike" kern="120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handed</a:t>
            </a:r>
            <a:r>
              <a:rPr kumimoji="0" lang="cs-CZ" sz="11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 </a:t>
            </a:r>
            <a:r>
              <a:rPr kumimoji="0" lang="cs-CZ" sz="1100" b="0" i="0" u="none" strike="noStrike" kern="120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over</a:t>
            </a:r>
            <a:r>
              <a:rPr kumimoji="0" lang="cs-CZ" sz="11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 </a:t>
            </a:r>
            <a:r>
              <a:rPr kumimoji="0" lang="cs-CZ" sz="1100" b="0" i="0" u="none" strike="noStrike" kern="120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from</a:t>
            </a:r>
            <a:r>
              <a:rPr kumimoji="0" lang="cs-CZ" sz="11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 master bot </a:t>
            </a:r>
            <a:r>
              <a:rPr kumimoji="0" lang="cs-CZ" sz="1100" b="0" i="0" u="none" strike="noStrike" kern="120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with</a:t>
            </a:r>
            <a:r>
              <a:rPr kumimoji="0" lang="cs-CZ" sz="11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 </a:t>
            </a:r>
            <a:r>
              <a:rPr kumimoji="0" lang="cs-CZ" sz="1100" b="0" i="0" u="none" strike="noStrike" kern="120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the</a:t>
            </a:r>
            <a:r>
              <a:rPr kumimoji="0" lang="cs-CZ" sz="11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 chat </a:t>
            </a:r>
            <a:r>
              <a:rPr kumimoji="0" lang="cs-CZ" sz="1100" b="0" i="0" u="none" strike="noStrike" kern="120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history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Inter" panose="02000503000000020004" pitchFamily="2" charset="0"/>
              <a:ea typeface="Inter" panose="02000503000000020004" pitchFamily="2" charset="0"/>
              <a:cs typeface="Inter" panose="02000503000000020004" pitchFamily="2" charset="0"/>
            </a:endParaRPr>
          </a:p>
        </p:txBody>
      </p:sp>
      <p:sp>
        <p:nvSpPr>
          <p:cNvPr id="30" name="Rectangle 42">
            <a:extLst>
              <a:ext uri="{FF2B5EF4-FFF2-40B4-BE49-F238E27FC236}">
                <a16:creationId xmlns:a16="http://schemas.microsoft.com/office/drawing/2014/main" id="{1A757CEF-D7A2-367A-4EEC-25AB92D693F8}"/>
              </a:ext>
            </a:extLst>
          </p:cNvPr>
          <p:cNvSpPr>
            <a:spLocks noChangeArrowheads="1"/>
          </p:cNvSpPr>
          <p:nvPr/>
        </p:nvSpPr>
        <p:spPr bwMode="gray">
          <a:xfrm>
            <a:off x="8727565" y="5424192"/>
            <a:ext cx="2880000" cy="8184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72000" tIns="0" rIns="72000" bIns="0" anchor="t"/>
          <a:lstStyle/>
          <a:p>
            <a:pPr marL="122764" marR="0" lvl="0" indent="-122764" algn="l" defTabSz="10389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E2E3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Run &amp; maintained by 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A67D2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local banks</a:t>
            </a:r>
            <a:endParaRPr kumimoji="0" lang="cs-CZ" sz="1100" b="1" i="0" u="none" strike="noStrike" kern="1200" cap="none" spc="0" normalizeH="0" baseline="0" noProof="0">
              <a:ln>
                <a:noFill/>
              </a:ln>
              <a:solidFill>
                <a:srgbClr val="1A67D2"/>
              </a:solidFill>
              <a:effectLst/>
              <a:uLnTx/>
              <a:uFillTx/>
              <a:latin typeface="Inter" panose="02000503000000020004" pitchFamily="2" charset="0"/>
              <a:ea typeface="Inter" panose="02000503000000020004" pitchFamily="2" charset="0"/>
              <a:cs typeface="Inter" panose="02000503000000020004" pitchFamily="2" charset="0"/>
            </a:endParaRPr>
          </a:p>
          <a:p>
            <a:pPr marL="122764" marR="0" lvl="0" indent="-122764" algn="l" defTabSz="10389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E2E3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100" b="0" i="0" u="none" strike="noStrike" kern="120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Can</a:t>
            </a:r>
            <a:r>
              <a:rPr kumimoji="0" lang="cs-CZ" sz="11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 </a:t>
            </a:r>
            <a:r>
              <a:rPr kumimoji="0" lang="cs-CZ" sz="1100" b="0" i="0" u="none" strike="noStrike" kern="120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be</a:t>
            </a:r>
            <a:r>
              <a:rPr kumimoji="0" lang="cs-CZ" sz="11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 </a:t>
            </a:r>
            <a:r>
              <a:rPr kumimoji="0" lang="cs-CZ" sz="1100" b="0" i="0" u="none" strike="noStrike" kern="120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running</a:t>
            </a:r>
            <a:r>
              <a:rPr kumimoji="0" lang="cs-CZ" sz="11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 on any CC technology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Inter" panose="02000503000000020004" pitchFamily="2" charset="0"/>
              <a:ea typeface="Inter" panose="02000503000000020004" pitchFamily="2" charset="0"/>
              <a:cs typeface="Inter" panose="02000503000000020004" pitchFamily="2" charset="0"/>
            </a:endParaRPr>
          </a:p>
        </p:txBody>
      </p:sp>
      <p:sp>
        <p:nvSpPr>
          <p:cNvPr id="31" name="Textfeld 15">
            <a:extLst>
              <a:ext uri="{FF2B5EF4-FFF2-40B4-BE49-F238E27FC236}">
                <a16:creationId xmlns:a16="http://schemas.microsoft.com/office/drawing/2014/main" id="{5778ECD2-80B3-6FA4-0070-EF8BD7129851}"/>
              </a:ext>
            </a:extLst>
          </p:cNvPr>
          <p:cNvSpPr txBox="1"/>
          <p:nvPr/>
        </p:nvSpPr>
        <p:spPr>
          <a:xfrm>
            <a:off x="481843" y="1303599"/>
            <a:ext cx="11160124" cy="1915628"/>
          </a:xfrm>
          <a:prstGeom prst="roundRect">
            <a:avLst>
              <a:gd name="adj" fmla="val 2363"/>
            </a:avLst>
          </a:prstGeom>
          <a:solidFill>
            <a:schemeClr val="accent4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36000" rIns="36000" anchor="ctr" anchorCtr="0">
            <a:noAutofit/>
          </a:bodyPr>
          <a:lstStyle/>
          <a:p>
            <a:pPr marL="0" marR="0" lvl="0" indent="96838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/>
              <a:ea typeface="Inter" panose="02000503000000020004" pitchFamily="2" charset="0"/>
              <a:cs typeface="Inter" panose="02000503000000020004" pitchFamily="2" charset="0"/>
            </a:endParaRPr>
          </a:p>
        </p:txBody>
      </p:sp>
      <p:sp>
        <p:nvSpPr>
          <p:cNvPr id="32" name="Textfeld 15">
            <a:extLst>
              <a:ext uri="{FF2B5EF4-FFF2-40B4-BE49-F238E27FC236}">
                <a16:creationId xmlns:a16="http://schemas.microsoft.com/office/drawing/2014/main" id="{40AAF75F-C27E-6B82-1F4B-4C018F9503E1}"/>
              </a:ext>
            </a:extLst>
          </p:cNvPr>
          <p:cNvSpPr txBox="1"/>
          <p:nvPr/>
        </p:nvSpPr>
        <p:spPr>
          <a:xfrm>
            <a:off x="5025652" y="1468887"/>
            <a:ext cx="2072507" cy="474577"/>
          </a:xfrm>
          <a:prstGeom prst="roundRect">
            <a:avLst>
              <a:gd name="adj" fmla="val 6295"/>
            </a:avLst>
          </a:prstGeom>
          <a:solidFill>
            <a:schemeClr val="bg2">
              <a:lumMod val="75000"/>
            </a:schemeClr>
          </a:solidFill>
        </p:spPr>
        <p:txBody>
          <a:bodyPr wrap="square" lIns="36000" rIns="36000" anchor="ctr" anchorCtr="0">
            <a:noAutofit/>
          </a:bodyPr>
          <a:lstStyle/>
          <a:p>
            <a:pPr marL="0" marR="0" lvl="0" indent="7938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Inter" panose="02000503000000020004" pitchFamily="2" charset="0"/>
                <a:cs typeface="Inter" panose="02000503000000020004" pitchFamily="2" charset="0"/>
              </a:rPr>
              <a:t>Masterbot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Inter" panose="02000503000000020004" pitchFamily="2" charset="0"/>
              <a:cs typeface="Inter" panose="02000503000000020004" pitchFamily="2" charset="0"/>
            </a:endParaRPr>
          </a:p>
        </p:txBody>
      </p:sp>
      <p:sp>
        <p:nvSpPr>
          <p:cNvPr id="33" name="Oval 47">
            <a:extLst>
              <a:ext uri="{FF2B5EF4-FFF2-40B4-BE49-F238E27FC236}">
                <a16:creationId xmlns:a16="http://schemas.microsoft.com/office/drawing/2014/main" id="{56793CE1-AF6B-0F64-8F98-CD83470CF304}"/>
              </a:ext>
            </a:extLst>
          </p:cNvPr>
          <p:cNvSpPr/>
          <p:nvPr/>
        </p:nvSpPr>
        <p:spPr>
          <a:xfrm>
            <a:off x="4914875" y="1363532"/>
            <a:ext cx="216000" cy="216000"/>
          </a:xfrm>
          <a:prstGeom prst="ellipse">
            <a:avLst/>
          </a:prstGeom>
          <a:solidFill>
            <a:schemeClr val="bg2"/>
          </a:solidFill>
          <a:ln w="285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</a:p>
        </p:txBody>
      </p:sp>
      <p:sp>
        <p:nvSpPr>
          <p:cNvPr id="34" name="Textfeld 15">
            <a:extLst>
              <a:ext uri="{FF2B5EF4-FFF2-40B4-BE49-F238E27FC236}">
                <a16:creationId xmlns:a16="http://schemas.microsoft.com/office/drawing/2014/main" id="{9532B3F4-7E8B-274A-24D9-67A4C182BC4C}"/>
              </a:ext>
            </a:extLst>
          </p:cNvPr>
          <p:cNvSpPr txBox="1"/>
          <p:nvPr/>
        </p:nvSpPr>
        <p:spPr>
          <a:xfrm>
            <a:off x="5398216" y="2305058"/>
            <a:ext cx="1332000" cy="475200"/>
          </a:xfrm>
          <a:prstGeom prst="roundRect">
            <a:avLst>
              <a:gd name="adj" fmla="val 6295"/>
            </a:avLst>
          </a:prstGeom>
          <a:solidFill>
            <a:srgbClr val="245375"/>
          </a:solidFill>
        </p:spPr>
        <p:txBody>
          <a:bodyPr wrap="square" lIns="0" rIns="0" anchor="ctr" anchorCtr="0">
            <a:noAutofit/>
          </a:bodyPr>
          <a:lstStyle/>
          <a:p>
            <a:pPr marL="0" marR="0" lvl="0" indent="7938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Inter" panose="02000503000000020004" pitchFamily="2" charset="0"/>
                <a:cs typeface="Inter" panose="02000503000000020004" pitchFamily="2" charset="0"/>
              </a:rPr>
              <a:t>Foreign</a:t>
            </a:r>
            <a:r>
              <a:rPr kumimoji="0" lang="cs-CZ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Inter" panose="02000503000000020004" pitchFamily="2" charset="0"/>
                <a:cs typeface="Inter" panose="02000503000000020004" pitchFamily="2" charset="0"/>
              </a:rPr>
              <a:t> </a:t>
            </a:r>
            <a:r>
              <a:rPr kumimoji="0" lang="cs-CZ" sz="11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Inter" panose="02000503000000020004" pitchFamily="2" charset="0"/>
                <a:cs typeface="Inter" panose="02000503000000020004" pitchFamily="2" charset="0"/>
              </a:rPr>
              <a:t>Currency</a:t>
            </a:r>
            <a:r>
              <a:rPr kumimoji="0" lang="cs-CZ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Inter" panose="02000503000000020004" pitchFamily="2" charset="0"/>
                <a:cs typeface="Inter" panose="02000503000000020004" pitchFamily="2" charset="0"/>
              </a:rPr>
              <a:t> Exchange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Inter" panose="02000503000000020004" pitchFamily="2" charset="0"/>
                <a:cs typeface="Inter" panose="02000503000000020004" pitchFamily="2" charset="0"/>
              </a:rPr>
              <a:t> bot</a:t>
            </a:r>
          </a:p>
        </p:txBody>
      </p:sp>
      <p:sp>
        <p:nvSpPr>
          <p:cNvPr id="35" name="Oval 50">
            <a:extLst>
              <a:ext uri="{FF2B5EF4-FFF2-40B4-BE49-F238E27FC236}">
                <a16:creationId xmlns:a16="http://schemas.microsoft.com/office/drawing/2014/main" id="{75AFAAA4-DB82-13DC-CFBF-06F6A8F6FA28}"/>
              </a:ext>
            </a:extLst>
          </p:cNvPr>
          <p:cNvSpPr/>
          <p:nvPr/>
        </p:nvSpPr>
        <p:spPr>
          <a:xfrm>
            <a:off x="5285592" y="2208668"/>
            <a:ext cx="216000" cy="216000"/>
          </a:xfrm>
          <a:prstGeom prst="ellipse">
            <a:avLst/>
          </a:prstGeom>
          <a:solidFill>
            <a:srgbClr val="245375"/>
          </a:solidFill>
          <a:ln w="285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</a:p>
        </p:txBody>
      </p:sp>
      <p:sp>
        <p:nvSpPr>
          <p:cNvPr id="36" name="Textfeld 15">
            <a:extLst>
              <a:ext uri="{FF2B5EF4-FFF2-40B4-BE49-F238E27FC236}">
                <a16:creationId xmlns:a16="http://schemas.microsoft.com/office/drawing/2014/main" id="{7A2CDAB3-1EE8-074C-762E-2AB46D89D91C}"/>
              </a:ext>
            </a:extLst>
          </p:cNvPr>
          <p:cNvSpPr txBox="1"/>
          <p:nvPr/>
        </p:nvSpPr>
        <p:spPr>
          <a:xfrm>
            <a:off x="3835449" y="2305058"/>
            <a:ext cx="1332000" cy="475200"/>
          </a:xfrm>
          <a:prstGeom prst="roundRect">
            <a:avLst>
              <a:gd name="adj" fmla="val 6295"/>
            </a:avLst>
          </a:prstGeom>
          <a:solidFill>
            <a:schemeClr val="bg2">
              <a:lumMod val="75000"/>
            </a:schemeClr>
          </a:solidFill>
        </p:spPr>
        <p:txBody>
          <a:bodyPr wrap="square" lIns="36000" rIns="36000" anchor="ctr" anchorCtr="0">
            <a:noAutofit/>
          </a:bodyPr>
          <a:lstStyle/>
          <a:p>
            <a:pPr marL="0" marR="0" lvl="0" indent="7938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Inter" panose="02000503000000020004" pitchFamily="2" charset="0"/>
                <a:cs typeface="Inter" panose="02000503000000020004" pitchFamily="2" charset="0"/>
              </a:rPr>
              <a:t>Other centrally managed bots</a:t>
            </a:r>
          </a:p>
        </p:txBody>
      </p:sp>
      <p:sp>
        <p:nvSpPr>
          <p:cNvPr id="37" name="Oval 55">
            <a:extLst>
              <a:ext uri="{FF2B5EF4-FFF2-40B4-BE49-F238E27FC236}">
                <a16:creationId xmlns:a16="http://schemas.microsoft.com/office/drawing/2014/main" id="{2348CEC8-6BE6-0BB8-D0CA-D9488A3B32E5}"/>
              </a:ext>
            </a:extLst>
          </p:cNvPr>
          <p:cNvSpPr/>
          <p:nvPr/>
        </p:nvSpPr>
        <p:spPr>
          <a:xfrm>
            <a:off x="3722825" y="2208668"/>
            <a:ext cx="216000" cy="216000"/>
          </a:xfrm>
          <a:prstGeom prst="ellipse">
            <a:avLst/>
          </a:prstGeom>
          <a:solidFill>
            <a:schemeClr val="bg2">
              <a:lumMod val="75000"/>
            </a:schemeClr>
          </a:solidFill>
          <a:ln w="285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</a:p>
        </p:txBody>
      </p:sp>
      <p:sp>
        <p:nvSpPr>
          <p:cNvPr id="38" name="Textfeld 15">
            <a:extLst>
              <a:ext uri="{FF2B5EF4-FFF2-40B4-BE49-F238E27FC236}">
                <a16:creationId xmlns:a16="http://schemas.microsoft.com/office/drawing/2014/main" id="{BDAAE967-10AC-F458-0503-4F8CFEF98301}"/>
              </a:ext>
            </a:extLst>
          </p:cNvPr>
          <p:cNvSpPr txBox="1"/>
          <p:nvPr/>
        </p:nvSpPr>
        <p:spPr>
          <a:xfrm>
            <a:off x="709915" y="2305058"/>
            <a:ext cx="1332000" cy="475200"/>
          </a:xfrm>
          <a:prstGeom prst="roundRect">
            <a:avLst>
              <a:gd name="adj" fmla="val 6295"/>
            </a:avLst>
          </a:prstGeom>
          <a:solidFill>
            <a:schemeClr val="bg2">
              <a:lumMod val="75000"/>
            </a:schemeClr>
          </a:solidFill>
        </p:spPr>
        <p:txBody>
          <a:bodyPr wrap="square" lIns="36000" rIns="36000" anchor="ctr" anchorCtr="0">
            <a:noAutofit/>
          </a:bodyPr>
          <a:lstStyle/>
          <a:p>
            <a:pPr marL="0" marR="0" lvl="0" indent="7938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Inter" panose="02000503000000020004" pitchFamily="2" charset="0"/>
                <a:cs typeface="Inter" panose="02000503000000020004" pitchFamily="2" charset="0"/>
              </a:rPr>
              <a:t>Feature bot</a:t>
            </a:r>
          </a:p>
        </p:txBody>
      </p:sp>
      <p:sp>
        <p:nvSpPr>
          <p:cNvPr id="39" name="Oval 57">
            <a:extLst>
              <a:ext uri="{FF2B5EF4-FFF2-40B4-BE49-F238E27FC236}">
                <a16:creationId xmlns:a16="http://schemas.microsoft.com/office/drawing/2014/main" id="{2C037B12-D374-8213-89E4-FAD2125551AE}"/>
              </a:ext>
            </a:extLst>
          </p:cNvPr>
          <p:cNvSpPr/>
          <p:nvPr/>
        </p:nvSpPr>
        <p:spPr>
          <a:xfrm>
            <a:off x="597291" y="2208668"/>
            <a:ext cx="216000" cy="216000"/>
          </a:xfrm>
          <a:prstGeom prst="ellipse">
            <a:avLst/>
          </a:prstGeom>
          <a:solidFill>
            <a:schemeClr val="bg2">
              <a:lumMod val="75000"/>
            </a:schemeClr>
          </a:solidFill>
          <a:ln w="285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</a:p>
        </p:txBody>
      </p:sp>
      <p:sp>
        <p:nvSpPr>
          <p:cNvPr id="40" name="Textfeld 15">
            <a:extLst>
              <a:ext uri="{FF2B5EF4-FFF2-40B4-BE49-F238E27FC236}">
                <a16:creationId xmlns:a16="http://schemas.microsoft.com/office/drawing/2014/main" id="{715A4308-BD8C-E095-29C5-FEFCC7A74206}"/>
              </a:ext>
            </a:extLst>
          </p:cNvPr>
          <p:cNvSpPr txBox="1"/>
          <p:nvPr/>
        </p:nvSpPr>
        <p:spPr>
          <a:xfrm>
            <a:off x="2272682" y="2305058"/>
            <a:ext cx="1332000" cy="475200"/>
          </a:xfrm>
          <a:prstGeom prst="roundRect">
            <a:avLst>
              <a:gd name="adj" fmla="val 6295"/>
            </a:avLst>
          </a:prstGeom>
          <a:solidFill>
            <a:schemeClr val="bg2">
              <a:lumMod val="75000"/>
            </a:schemeClr>
          </a:solidFill>
        </p:spPr>
        <p:txBody>
          <a:bodyPr wrap="square" lIns="36000" rIns="36000" anchor="ctr" anchorCtr="0">
            <a:noAutofit/>
          </a:bodyPr>
          <a:lstStyle/>
          <a:p>
            <a:pPr marL="0" marR="0" lvl="0" indent="7938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Inter" panose="02000503000000020004" pitchFamily="2" charset="0"/>
                <a:cs typeface="Inter" panose="02000503000000020004" pitchFamily="2" charset="0"/>
              </a:rPr>
              <a:t>Chitchat</a:t>
            </a: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Inter" panose="02000503000000020004" pitchFamily="2" charset="0"/>
              <a:cs typeface="Inter" panose="02000503000000020004" pitchFamily="2" charset="0"/>
            </a:endParaRPr>
          </a:p>
        </p:txBody>
      </p:sp>
      <p:sp>
        <p:nvSpPr>
          <p:cNvPr id="41" name="Oval 59">
            <a:extLst>
              <a:ext uri="{FF2B5EF4-FFF2-40B4-BE49-F238E27FC236}">
                <a16:creationId xmlns:a16="http://schemas.microsoft.com/office/drawing/2014/main" id="{5C5A80F5-9BBE-2618-55F3-2BBC01EAD86A}"/>
              </a:ext>
            </a:extLst>
          </p:cNvPr>
          <p:cNvSpPr/>
          <p:nvPr/>
        </p:nvSpPr>
        <p:spPr>
          <a:xfrm>
            <a:off x="2160058" y="2208668"/>
            <a:ext cx="216000" cy="216000"/>
          </a:xfrm>
          <a:prstGeom prst="ellipse">
            <a:avLst/>
          </a:prstGeom>
          <a:solidFill>
            <a:schemeClr val="bg2">
              <a:lumMod val="75000"/>
            </a:schemeClr>
          </a:solidFill>
          <a:ln w="285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</a:p>
        </p:txBody>
      </p:sp>
      <p:sp>
        <p:nvSpPr>
          <p:cNvPr id="42" name="Textfeld 15">
            <a:extLst>
              <a:ext uri="{FF2B5EF4-FFF2-40B4-BE49-F238E27FC236}">
                <a16:creationId xmlns:a16="http://schemas.microsoft.com/office/drawing/2014/main" id="{683C5685-757C-899E-CA1C-1FB77E58766B}"/>
              </a:ext>
            </a:extLst>
          </p:cNvPr>
          <p:cNvSpPr txBox="1"/>
          <p:nvPr/>
        </p:nvSpPr>
        <p:spPr>
          <a:xfrm>
            <a:off x="10086519" y="2305058"/>
            <a:ext cx="1332000" cy="475200"/>
          </a:xfrm>
          <a:prstGeom prst="roundRect">
            <a:avLst>
              <a:gd name="adj" fmla="val 6295"/>
            </a:avLst>
          </a:prstGeom>
          <a:solidFill>
            <a:srgbClr val="02A3A4"/>
          </a:solidFill>
        </p:spPr>
        <p:txBody>
          <a:bodyPr wrap="square" lIns="36000" rIns="36000" anchor="ctr" anchorCtr="0">
            <a:noAutofit/>
          </a:bodyPr>
          <a:lstStyle/>
          <a:p>
            <a:pPr marL="0" marR="0" lvl="0" indent="7938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Inter" panose="02000503000000020004" pitchFamily="2" charset="0"/>
                <a:cs typeface="Inter" panose="02000503000000020004" pitchFamily="2" charset="0"/>
              </a:rPr>
              <a:t>Service center chat</a:t>
            </a:r>
          </a:p>
        </p:txBody>
      </p:sp>
      <p:sp>
        <p:nvSpPr>
          <p:cNvPr id="43" name="Oval 61">
            <a:extLst>
              <a:ext uri="{FF2B5EF4-FFF2-40B4-BE49-F238E27FC236}">
                <a16:creationId xmlns:a16="http://schemas.microsoft.com/office/drawing/2014/main" id="{0E31FAEA-D7B0-66CC-6C3B-131CBB9C36C6}"/>
              </a:ext>
            </a:extLst>
          </p:cNvPr>
          <p:cNvSpPr/>
          <p:nvPr/>
        </p:nvSpPr>
        <p:spPr>
          <a:xfrm>
            <a:off x="9973895" y="2208668"/>
            <a:ext cx="216000" cy="216000"/>
          </a:xfrm>
          <a:prstGeom prst="ellipse">
            <a:avLst/>
          </a:prstGeom>
          <a:solidFill>
            <a:srgbClr val="9DA0A3"/>
          </a:solidFill>
          <a:ln w="285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</a:p>
        </p:txBody>
      </p:sp>
      <p:cxnSp>
        <p:nvCxnSpPr>
          <p:cNvPr id="44" name="Elbow Connector 8">
            <a:extLst>
              <a:ext uri="{FF2B5EF4-FFF2-40B4-BE49-F238E27FC236}">
                <a16:creationId xmlns:a16="http://schemas.microsoft.com/office/drawing/2014/main" id="{CFA2836C-B12C-5F53-88A6-D94F7EA3499D}"/>
              </a:ext>
            </a:extLst>
          </p:cNvPr>
          <p:cNvCxnSpPr>
            <a:stCxn id="32" idx="2"/>
            <a:endCxn id="38" idx="0"/>
          </p:cNvCxnSpPr>
          <p:nvPr/>
        </p:nvCxnSpPr>
        <p:spPr>
          <a:xfrm rot="5400000">
            <a:off x="3538114" y="-218734"/>
            <a:ext cx="361594" cy="4685991"/>
          </a:xfrm>
          <a:prstGeom prst="bentConnector3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Elbow Connector 14">
            <a:extLst>
              <a:ext uri="{FF2B5EF4-FFF2-40B4-BE49-F238E27FC236}">
                <a16:creationId xmlns:a16="http://schemas.microsoft.com/office/drawing/2014/main" id="{BFE89E18-B60A-C2B0-FFE3-6B26A861B654}"/>
              </a:ext>
            </a:extLst>
          </p:cNvPr>
          <p:cNvCxnSpPr>
            <a:cxnSpLocks/>
            <a:stCxn id="32" idx="2"/>
            <a:endCxn id="40" idx="0"/>
          </p:cNvCxnSpPr>
          <p:nvPr/>
        </p:nvCxnSpPr>
        <p:spPr>
          <a:xfrm rot="5400000">
            <a:off x="4319497" y="562649"/>
            <a:ext cx="361594" cy="3123224"/>
          </a:xfrm>
          <a:prstGeom prst="bentConnector3">
            <a:avLst>
              <a:gd name="adj1" fmla="val 50000"/>
            </a:avLst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Elbow Connector 17">
            <a:extLst>
              <a:ext uri="{FF2B5EF4-FFF2-40B4-BE49-F238E27FC236}">
                <a16:creationId xmlns:a16="http://schemas.microsoft.com/office/drawing/2014/main" id="{5FD3EB8A-D4E9-B846-5E60-9D4DA9B0313E}"/>
              </a:ext>
            </a:extLst>
          </p:cNvPr>
          <p:cNvCxnSpPr>
            <a:cxnSpLocks/>
            <a:stCxn id="32" idx="2"/>
            <a:endCxn id="55" idx="0"/>
          </p:cNvCxnSpPr>
          <p:nvPr/>
        </p:nvCxnSpPr>
        <p:spPr>
          <a:xfrm rot="16200000" flipH="1">
            <a:off x="6663647" y="1341722"/>
            <a:ext cx="361594" cy="1565077"/>
          </a:xfrm>
          <a:prstGeom prst="bentConnector3">
            <a:avLst>
              <a:gd name="adj1" fmla="val 50000"/>
            </a:avLst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Elbow Connector 24">
            <a:extLst>
              <a:ext uri="{FF2B5EF4-FFF2-40B4-BE49-F238E27FC236}">
                <a16:creationId xmlns:a16="http://schemas.microsoft.com/office/drawing/2014/main" id="{1BC503F8-C008-5861-1FCD-D6057ED49E07}"/>
              </a:ext>
            </a:extLst>
          </p:cNvPr>
          <p:cNvCxnSpPr>
            <a:cxnSpLocks/>
            <a:stCxn id="32" idx="2"/>
            <a:endCxn id="42" idx="0"/>
          </p:cNvCxnSpPr>
          <p:nvPr/>
        </p:nvCxnSpPr>
        <p:spPr>
          <a:xfrm rot="16200000" flipH="1">
            <a:off x="8226415" y="-221046"/>
            <a:ext cx="361594" cy="4690613"/>
          </a:xfrm>
          <a:prstGeom prst="bentConnector3">
            <a:avLst>
              <a:gd name="adj1" fmla="val 50000"/>
            </a:avLst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itle 9">
            <a:extLst>
              <a:ext uri="{FF2B5EF4-FFF2-40B4-BE49-F238E27FC236}">
                <a16:creationId xmlns:a16="http://schemas.microsoft.com/office/drawing/2014/main" id="{F7F78BDD-FA6E-6A39-0E04-2C552002C4A5}"/>
              </a:ext>
            </a:extLst>
          </p:cNvPr>
          <p:cNvSpPr txBox="1">
            <a:spLocks/>
          </p:cNvSpPr>
          <p:nvPr/>
        </p:nvSpPr>
        <p:spPr>
          <a:xfrm>
            <a:off x="481843" y="1300145"/>
            <a:ext cx="1800000" cy="279387"/>
          </a:xfrm>
          <a:prstGeom prst="rect">
            <a:avLst/>
          </a:prstGeom>
        </p:spPr>
        <p:txBody>
          <a:bodyPr vert="horz" lIns="72000" tIns="72000" rIns="7200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2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2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High-level architecture</a:t>
            </a:r>
          </a:p>
        </p:txBody>
      </p:sp>
      <p:cxnSp>
        <p:nvCxnSpPr>
          <p:cNvPr id="49" name="Elbow Connector 48">
            <a:extLst>
              <a:ext uri="{FF2B5EF4-FFF2-40B4-BE49-F238E27FC236}">
                <a16:creationId xmlns:a16="http://schemas.microsoft.com/office/drawing/2014/main" id="{81A9314F-74E3-2A21-6145-B1E48231CA2C}"/>
              </a:ext>
            </a:extLst>
          </p:cNvPr>
          <p:cNvCxnSpPr>
            <a:cxnSpLocks/>
            <a:stCxn id="53" idx="0"/>
            <a:endCxn id="32" idx="3"/>
          </p:cNvCxnSpPr>
          <p:nvPr/>
        </p:nvCxnSpPr>
        <p:spPr>
          <a:xfrm rot="16200000" flipV="1">
            <a:off x="7844514" y="959821"/>
            <a:ext cx="598882" cy="2091591"/>
          </a:xfrm>
          <a:prstGeom prst="bentConnector2">
            <a:avLst/>
          </a:prstGeom>
          <a:ln>
            <a:solidFill>
              <a:schemeClr val="accent3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itle 9">
            <a:extLst>
              <a:ext uri="{FF2B5EF4-FFF2-40B4-BE49-F238E27FC236}">
                <a16:creationId xmlns:a16="http://schemas.microsoft.com/office/drawing/2014/main" id="{80AE9907-52DE-26D1-EC8E-29C4A8DFC35C}"/>
              </a:ext>
            </a:extLst>
          </p:cNvPr>
          <p:cNvSpPr txBox="1">
            <a:spLocks/>
          </p:cNvSpPr>
          <p:nvPr/>
        </p:nvSpPr>
        <p:spPr>
          <a:xfrm>
            <a:off x="2440443" y="1902419"/>
            <a:ext cx="2230030" cy="256343"/>
          </a:xfrm>
          <a:prstGeom prst="rect">
            <a:avLst/>
          </a:prstGeom>
        </p:spPr>
        <p:txBody>
          <a:bodyPr vert="horz" lIns="72000" tIns="72000" rIns="7200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2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2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Handover </a:t>
            </a:r>
            <a:r>
              <a:rPr kumimoji="0" lang="cs-CZ" sz="9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M</a:t>
            </a:r>
            <a:r>
              <a:rPr kumimoji="0" lang="en-US" sz="900" b="0" i="0" u="none" strike="noStrike" kern="120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asterbot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to specific bot</a:t>
            </a:r>
          </a:p>
        </p:txBody>
      </p:sp>
      <p:sp>
        <p:nvSpPr>
          <p:cNvPr id="51" name="Title 9">
            <a:extLst>
              <a:ext uri="{FF2B5EF4-FFF2-40B4-BE49-F238E27FC236}">
                <a16:creationId xmlns:a16="http://schemas.microsoft.com/office/drawing/2014/main" id="{BD4D8294-00EE-E9CA-345B-CF26186D5DC9}"/>
              </a:ext>
            </a:extLst>
          </p:cNvPr>
          <p:cNvSpPr txBox="1">
            <a:spLocks/>
          </p:cNvSpPr>
          <p:nvPr/>
        </p:nvSpPr>
        <p:spPr>
          <a:xfrm>
            <a:off x="7128585" y="2800895"/>
            <a:ext cx="2230030" cy="256343"/>
          </a:xfrm>
          <a:prstGeom prst="rect">
            <a:avLst/>
          </a:prstGeom>
        </p:spPr>
        <p:txBody>
          <a:bodyPr vert="horz" lIns="72000" tIns="72000" rIns="7200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2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2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B0604020202020204" charset="0"/>
                <a:ea typeface="Inter" panose="020B0604020202020204" charset="0"/>
                <a:cs typeface="Inter" panose="020B0604020202020204" charset="0"/>
              </a:rPr>
              <a:t>Handover local bot to human support</a:t>
            </a:r>
          </a:p>
        </p:txBody>
      </p:sp>
      <p:sp>
        <p:nvSpPr>
          <p:cNvPr id="52" name="Title 9">
            <a:extLst>
              <a:ext uri="{FF2B5EF4-FFF2-40B4-BE49-F238E27FC236}">
                <a16:creationId xmlns:a16="http://schemas.microsoft.com/office/drawing/2014/main" id="{913C6C26-47E4-5650-F6FC-ABAEB48FA27F}"/>
              </a:ext>
            </a:extLst>
          </p:cNvPr>
          <p:cNvSpPr txBox="1">
            <a:spLocks/>
          </p:cNvSpPr>
          <p:nvPr/>
        </p:nvSpPr>
        <p:spPr>
          <a:xfrm>
            <a:off x="9218942" y="1705510"/>
            <a:ext cx="1273616" cy="256343"/>
          </a:xfrm>
          <a:prstGeom prst="rect">
            <a:avLst/>
          </a:prstGeom>
        </p:spPr>
        <p:txBody>
          <a:bodyPr vert="horz" lIns="72000" tIns="72000" rIns="7200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2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2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B0604020202020204" charset="0"/>
                <a:ea typeface="Inter" panose="020B0604020202020204" charset="0"/>
                <a:cs typeface="Inter" panose="020B0604020202020204" charset="0"/>
              </a:rPr>
              <a:t>Handover local bot back to </a:t>
            </a:r>
            <a:r>
              <a:rPr kumimoji="0" lang="cs-CZ" sz="9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B0604020202020204" charset="0"/>
                <a:ea typeface="Inter" panose="020B0604020202020204" charset="0"/>
                <a:cs typeface="Inter" panose="020B0604020202020204" charset="0"/>
              </a:rPr>
              <a:t>M</a:t>
            </a:r>
            <a:r>
              <a:rPr kumimoji="0" lang="en-US" sz="900" b="0" i="0" u="none" strike="noStrike" kern="1200" cap="none" spc="0" normalizeH="0" baseline="0" noProof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Inter" panose="020B0604020202020204" charset="0"/>
                <a:ea typeface="Inter" panose="020B0604020202020204" charset="0"/>
                <a:cs typeface="Inter" panose="020B0604020202020204" charset="0"/>
              </a:rPr>
              <a:t>asterbot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Inter" panose="020B0604020202020204" charset="0"/>
              <a:ea typeface="Inter" panose="020B0604020202020204" charset="0"/>
              <a:cs typeface="Inter" panose="020B0604020202020204" charset="0"/>
            </a:endParaRPr>
          </a:p>
        </p:txBody>
      </p:sp>
      <p:sp>
        <p:nvSpPr>
          <p:cNvPr id="53" name="Textfeld 15">
            <a:extLst>
              <a:ext uri="{FF2B5EF4-FFF2-40B4-BE49-F238E27FC236}">
                <a16:creationId xmlns:a16="http://schemas.microsoft.com/office/drawing/2014/main" id="{8FCDF780-2168-862C-59E2-DB404257E837}"/>
              </a:ext>
            </a:extLst>
          </p:cNvPr>
          <p:cNvSpPr txBox="1"/>
          <p:nvPr/>
        </p:nvSpPr>
        <p:spPr>
          <a:xfrm>
            <a:off x="8523750" y="2305058"/>
            <a:ext cx="1332000" cy="475200"/>
          </a:xfrm>
          <a:prstGeom prst="roundRect">
            <a:avLst>
              <a:gd name="adj" fmla="val 6295"/>
            </a:avLst>
          </a:prstGeom>
          <a:solidFill>
            <a:srgbClr val="245375"/>
          </a:solidFill>
        </p:spPr>
        <p:txBody>
          <a:bodyPr wrap="square" lIns="0" rIns="0" anchor="ctr" anchorCtr="0">
            <a:noAutofit/>
          </a:bodyPr>
          <a:lstStyle/>
          <a:p>
            <a:pPr marL="0" marR="0" lvl="0" indent="7938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Inter" panose="02000503000000020004" pitchFamily="2" charset="0"/>
                <a:cs typeface="Inter" panose="02000503000000020004" pitchFamily="2" charset="0"/>
              </a:rPr>
              <a:t>Other locally managed bots</a:t>
            </a:r>
          </a:p>
        </p:txBody>
      </p:sp>
      <p:sp>
        <p:nvSpPr>
          <p:cNvPr id="54" name="Oval 80">
            <a:extLst>
              <a:ext uri="{FF2B5EF4-FFF2-40B4-BE49-F238E27FC236}">
                <a16:creationId xmlns:a16="http://schemas.microsoft.com/office/drawing/2014/main" id="{F30BB296-0734-2385-95AB-8AEFA6518AB8}"/>
              </a:ext>
            </a:extLst>
          </p:cNvPr>
          <p:cNvSpPr/>
          <p:nvPr/>
        </p:nvSpPr>
        <p:spPr>
          <a:xfrm>
            <a:off x="8411126" y="2208668"/>
            <a:ext cx="216000" cy="216000"/>
          </a:xfrm>
          <a:prstGeom prst="ellipse">
            <a:avLst/>
          </a:prstGeom>
          <a:solidFill>
            <a:srgbClr val="245375"/>
          </a:solidFill>
          <a:ln w="285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</a:p>
        </p:txBody>
      </p:sp>
      <p:sp>
        <p:nvSpPr>
          <p:cNvPr id="55" name="Textfeld 15">
            <a:extLst>
              <a:ext uri="{FF2B5EF4-FFF2-40B4-BE49-F238E27FC236}">
                <a16:creationId xmlns:a16="http://schemas.microsoft.com/office/drawing/2014/main" id="{E6AA80D9-47A3-7589-B937-84B9A6EC2587}"/>
              </a:ext>
            </a:extLst>
          </p:cNvPr>
          <p:cNvSpPr txBox="1"/>
          <p:nvPr/>
        </p:nvSpPr>
        <p:spPr>
          <a:xfrm>
            <a:off x="6960983" y="2305058"/>
            <a:ext cx="1332000" cy="475200"/>
          </a:xfrm>
          <a:prstGeom prst="roundRect">
            <a:avLst>
              <a:gd name="adj" fmla="val 6295"/>
            </a:avLst>
          </a:prstGeom>
          <a:solidFill>
            <a:srgbClr val="245375"/>
          </a:solidFill>
        </p:spPr>
        <p:txBody>
          <a:bodyPr wrap="square" lIns="36000" rIns="36000" anchor="ctr" anchorCtr="0">
            <a:noAutofit/>
          </a:bodyPr>
          <a:lstStyle/>
          <a:p>
            <a:pPr marL="0" marR="0" lvl="0" indent="7938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Inter" panose="02000503000000020004" pitchFamily="2" charset="0"/>
                <a:cs typeface="Inter" panose="02000503000000020004" pitchFamily="2" charset="0"/>
              </a:rPr>
              <a:t>Insurance bot</a:t>
            </a:r>
          </a:p>
        </p:txBody>
      </p:sp>
      <p:sp>
        <p:nvSpPr>
          <p:cNvPr id="56" name="Oval 82">
            <a:extLst>
              <a:ext uri="{FF2B5EF4-FFF2-40B4-BE49-F238E27FC236}">
                <a16:creationId xmlns:a16="http://schemas.microsoft.com/office/drawing/2014/main" id="{A867B9A6-5DDC-5A07-B9E6-92B6447464B0}"/>
              </a:ext>
            </a:extLst>
          </p:cNvPr>
          <p:cNvSpPr/>
          <p:nvPr/>
        </p:nvSpPr>
        <p:spPr>
          <a:xfrm>
            <a:off x="6848359" y="2208668"/>
            <a:ext cx="216000" cy="216000"/>
          </a:xfrm>
          <a:prstGeom prst="ellipse">
            <a:avLst/>
          </a:prstGeom>
          <a:solidFill>
            <a:srgbClr val="245375"/>
          </a:solidFill>
          <a:ln w="285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</a:p>
        </p:txBody>
      </p:sp>
      <p:cxnSp>
        <p:nvCxnSpPr>
          <p:cNvPr id="57" name="Elbow Connector 35">
            <a:extLst>
              <a:ext uri="{FF2B5EF4-FFF2-40B4-BE49-F238E27FC236}">
                <a16:creationId xmlns:a16="http://schemas.microsoft.com/office/drawing/2014/main" id="{45FA6832-4E04-5D5D-7B7D-E920FBEB68C7}"/>
              </a:ext>
            </a:extLst>
          </p:cNvPr>
          <p:cNvCxnSpPr>
            <a:cxnSpLocks/>
            <a:stCxn id="34" idx="2"/>
            <a:endCxn id="42" idx="2"/>
          </p:cNvCxnSpPr>
          <p:nvPr/>
        </p:nvCxnSpPr>
        <p:spPr>
          <a:xfrm rot="16200000" flipH="1">
            <a:off x="8408367" y="436106"/>
            <a:ext cx="12700" cy="4688303"/>
          </a:xfrm>
          <a:prstGeom prst="bentConnector3">
            <a:avLst>
              <a:gd name="adj1" fmla="val 1800000"/>
            </a:avLst>
          </a:prstGeom>
          <a:ln>
            <a:solidFill>
              <a:schemeClr val="accent3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Elbow Connector 96">
            <a:extLst>
              <a:ext uri="{FF2B5EF4-FFF2-40B4-BE49-F238E27FC236}">
                <a16:creationId xmlns:a16="http://schemas.microsoft.com/office/drawing/2014/main" id="{F25F82A6-9578-2F6C-0F59-83FAD7252EE3}"/>
              </a:ext>
            </a:extLst>
          </p:cNvPr>
          <p:cNvCxnSpPr>
            <a:cxnSpLocks/>
            <a:stCxn id="32" idx="2"/>
            <a:endCxn id="36" idx="0"/>
          </p:cNvCxnSpPr>
          <p:nvPr/>
        </p:nvCxnSpPr>
        <p:spPr>
          <a:xfrm rot="5400000">
            <a:off x="5100881" y="1344033"/>
            <a:ext cx="361594" cy="1560457"/>
          </a:xfrm>
          <a:prstGeom prst="bentConnector3">
            <a:avLst>
              <a:gd name="adj1" fmla="val 50000"/>
            </a:avLst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Elbow Connector 99">
            <a:extLst>
              <a:ext uri="{FF2B5EF4-FFF2-40B4-BE49-F238E27FC236}">
                <a16:creationId xmlns:a16="http://schemas.microsoft.com/office/drawing/2014/main" id="{5E7FBB92-B96F-FB06-8377-51A6FD16400F}"/>
              </a:ext>
            </a:extLst>
          </p:cNvPr>
          <p:cNvCxnSpPr>
            <a:cxnSpLocks/>
            <a:stCxn id="32" idx="2"/>
            <a:endCxn id="53" idx="0"/>
          </p:cNvCxnSpPr>
          <p:nvPr/>
        </p:nvCxnSpPr>
        <p:spPr>
          <a:xfrm rot="16200000" flipH="1">
            <a:off x="7445031" y="560339"/>
            <a:ext cx="361594" cy="3127844"/>
          </a:xfrm>
          <a:prstGeom prst="bentConnector3">
            <a:avLst>
              <a:gd name="adj1" fmla="val 50000"/>
            </a:avLst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Přímá spojnice se šipkou 64">
            <a:extLst>
              <a:ext uri="{FF2B5EF4-FFF2-40B4-BE49-F238E27FC236}">
                <a16:creationId xmlns:a16="http://schemas.microsoft.com/office/drawing/2014/main" id="{484E1F62-D92B-BF0E-F561-47C925C5CA10}"/>
              </a:ext>
            </a:extLst>
          </p:cNvPr>
          <p:cNvCxnSpPr/>
          <p:nvPr/>
        </p:nvCxnSpPr>
        <p:spPr>
          <a:xfrm>
            <a:off x="6061905" y="2128352"/>
            <a:ext cx="0" cy="173531"/>
          </a:xfrm>
          <a:prstGeom prst="straightConnector1">
            <a:avLst/>
          </a:prstGeom>
          <a:ln w="9525">
            <a:solidFill>
              <a:schemeClr val="bg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6" name="Foliennummernplatzhalter 1075">
            <a:extLst>
              <a:ext uri="{FF2B5EF4-FFF2-40B4-BE49-F238E27FC236}">
                <a16:creationId xmlns:a16="http://schemas.microsoft.com/office/drawing/2014/main" id="{5D26D9CD-1F34-1205-79F7-62497CDF7F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E0597C-028E-473F-BF50-BBB8B8A24EC3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Inter SemiBold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SemiBold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96778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72B349-157A-2661-A209-C6EDA01AEC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>
                <a:latin typeface="Arial" panose="020B0604020202020204" pitchFamily="34" charset="0"/>
                <a:cs typeface="Arial" panose="020B0604020202020204" pitchFamily="34" charset="0"/>
              </a:rPr>
              <a:t>George concept for all countries: Hey, George is a new AI based conversational platform providing unified experience in an ecosystem of chatbots</a:t>
            </a:r>
            <a:br>
              <a:rPr lang="en-GB" sz="200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GB" sz="200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SK" sz="2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4625422-E791-16A2-58EC-31B35811A7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</a:rPr>
              <a:t>23.11.2023</a:t>
            </a: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193C53-6331-2A7F-26D8-277E60DB13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cs typeface="+mn-cs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E866CEF-649A-BC9C-17C1-A4A117E5045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SK"/>
          </a:p>
        </p:txBody>
      </p:sp>
      <p:pic>
        <p:nvPicPr>
          <p:cNvPr id="8" name="Grafik 7" descr="Ein Bild, das Text, Diagramm, Schrift, Zahl enthält.&#10;&#10;Automatisch generierte Beschreibung">
            <a:extLst>
              <a:ext uri="{FF2B5EF4-FFF2-40B4-BE49-F238E27FC236}">
                <a16:creationId xmlns:a16="http://schemas.microsoft.com/office/drawing/2014/main" id="{C64D5862-CDA3-0E13-7202-5477FEB8AE6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350" y="1190954"/>
            <a:ext cx="12058650" cy="5229225"/>
          </a:xfrm>
          <a:prstGeom prst="rect">
            <a:avLst/>
          </a:prstGeom>
        </p:spPr>
      </p:pic>
      <p:sp>
        <p:nvSpPr>
          <p:cNvPr id="1025" name="Foliennummernplatzhalter 1024">
            <a:extLst>
              <a:ext uri="{FF2B5EF4-FFF2-40B4-BE49-F238E27FC236}">
                <a16:creationId xmlns:a16="http://schemas.microsoft.com/office/drawing/2014/main" id="{988E52F3-FF84-7103-6B97-DCDC622683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E0597C-028E-473F-BF50-BBB8B8A24EC3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Inter SemiBold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SemiBold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9211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72B349-157A-2661-A209-C6EDA01AEC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Architectural principles</a:t>
            </a:r>
            <a:br>
              <a:rPr lang="en-GB"/>
            </a:br>
            <a:br>
              <a:rPr lang="en-GB"/>
            </a:br>
            <a:endParaRPr lang="en-SK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4625422-E791-16A2-58EC-31B35811A7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</a:rPr>
              <a:t>23.11.2023</a:t>
            </a: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193C53-6331-2A7F-26D8-277E60DB13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cs typeface="+mn-cs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E866CEF-649A-BC9C-17C1-A4A117E5045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SK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62F597CA-0BA4-13D9-6CBC-F50B3EC7B1B2}"/>
              </a:ext>
            </a:extLst>
          </p:cNvPr>
          <p:cNvSpPr txBox="1"/>
          <p:nvPr/>
        </p:nvSpPr>
        <p:spPr>
          <a:xfrm>
            <a:off x="515937" y="1213122"/>
            <a:ext cx="7241458" cy="175432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de-AT" b="1">
                <a:solidFill>
                  <a:srgbClr val="172B4D"/>
                </a:solidFill>
                <a:latin typeface="-apple-system"/>
              </a:rPr>
              <a:t>In </a:t>
            </a:r>
            <a:r>
              <a:rPr lang="de-AT" b="1" err="1">
                <a:solidFill>
                  <a:srgbClr val="172B4D"/>
                </a:solidFill>
                <a:latin typeface="-apple-system"/>
              </a:rPr>
              <a:t>the</a:t>
            </a:r>
            <a:r>
              <a:rPr lang="de-AT" b="1">
                <a:solidFill>
                  <a:srgbClr val="172B4D"/>
                </a:solidFill>
                <a:latin typeface="-apple-system"/>
              </a:rPr>
              <a:t> George </a:t>
            </a:r>
            <a:r>
              <a:rPr lang="de-AT" b="1" err="1">
                <a:solidFill>
                  <a:srgbClr val="172B4D"/>
                </a:solidFill>
                <a:latin typeface="-apple-system"/>
              </a:rPr>
              <a:t>context</a:t>
            </a:r>
            <a:r>
              <a:rPr lang="de-AT" b="1">
                <a:solidFill>
                  <a:srgbClr val="172B4D"/>
                </a:solidFill>
                <a:latin typeface="-apple-system"/>
              </a:rPr>
              <a:t> – </a:t>
            </a:r>
            <a:r>
              <a:rPr lang="de-AT" b="1" err="1">
                <a:solidFill>
                  <a:srgbClr val="172B4D"/>
                </a:solidFill>
                <a:latin typeface="-apple-system"/>
              </a:rPr>
              <a:t>One</a:t>
            </a:r>
            <a:r>
              <a:rPr lang="de-AT" b="1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b="1" err="1">
                <a:solidFill>
                  <a:srgbClr val="172B4D"/>
                </a:solidFill>
                <a:latin typeface="-apple-system"/>
              </a:rPr>
              <a:t>central</a:t>
            </a:r>
            <a:r>
              <a:rPr lang="de-AT" b="1">
                <a:solidFill>
                  <a:srgbClr val="172B4D"/>
                </a:solidFill>
                <a:latin typeface="-apple-system"/>
              </a:rPr>
              <a:t> GUI </a:t>
            </a:r>
            <a:r>
              <a:rPr lang="de-AT" b="1" err="1">
                <a:solidFill>
                  <a:srgbClr val="172B4D"/>
                </a:solidFill>
                <a:latin typeface="-apple-system"/>
              </a:rPr>
              <a:t>for</a:t>
            </a:r>
            <a:r>
              <a:rPr lang="de-AT" b="1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b="1" err="1">
                <a:solidFill>
                  <a:srgbClr val="172B4D"/>
                </a:solidFill>
                <a:latin typeface="-apple-system"/>
              </a:rPr>
              <a:t>the</a:t>
            </a:r>
            <a:r>
              <a:rPr lang="de-AT" b="1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b="1" err="1">
                <a:solidFill>
                  <a:srgbClr val="172B4D"/>
                </a:solidFill>
                <a:latin typeface="-apple-system"/>
              </a:rPr>
              <a:t>user</a:t>
            </a:r>
            <a:endParaRPr lang="de-AT" b="1" i="0">
              <a:solidFill>
                <a:srgbClr val="172B4D"/>
              </a:solidFill>
              <a:effectLst/>
              <a:latin typeface="-apple-system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AT">
                <a:solidFill>
                  <a:srgbClr val="172B4D"/>
                </a:solidFill>
                <a:latin typeface="-apple-system"/>
              </a:rPr>
              <a:t>A</a:t>
            </a:r>
            <a:r>
              <a:rPr lang="de-AT" b="0" i="0">
                <a:solidFill>
                  <a:srgbClr val="172B4D"/>
                </a:solidFill>
                <a:effectLst/>
                <a:latin typeface="-apple-system"/>
              </a:rPr>
              <a:t> </a:t>
            </a:r>
            <a:r>
              <a:rPr lang="de-AT" b="0" i="0" err="1">
                <a:solidFill>
                  <a:srgbClr val="172B4D"/>
                </a:solidFill>
                <a:effectLst/>
                <a:latin typeface="-apple-system"/>
              </a:rPr>
              <a:t>customer</a:t>
            </a:r>
            <a:r>
              <a:rPr lang="de-AT">
                <a:solidFill>
                  <a:srgbClr val="172B4D"/>
                </a:solidFill>
                <a:latin typeface="-apple-system"/>
              </a:rPr>
              <a:t> 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only</a:t>
            </a:r>
            <a:r>
              <a:rPr lang="de-AT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interacts</a:t>
            </a:r>
            <a:r>
              <a:rPr lang="de-AT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with</a:t>
            </a:r>
            <a:r>
              <a:rPr lang="de-AT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the</a:t>
            </a:r>
            <a:r>
              <a:rPr lang="de-AT">
                <a:solidFill>
                  <a:srgbClr val="172B4D"/>
                </a:solidFill>
                <a:latin typeface="-apple-system"/>
              </a:rPr>
              <a:t> George</a:t>
            </a:r>
            <a:r>
              <a:rPr lang="de-AT" b="0" i="0">
                <a:solidFill>
                  <a:srgbClr val="172B4D"/>
                </a:solidFill>
                <a:effectLst/>
                <a:latin typeface="-apple-system"/>
              </a:rPr>
              <a:t> </a:t>
            </a:r>
            <a:r>
              <a:rPr lang="de-AT">
                <a:solidFill>
                  <a:srgbClr val="172B4D"/>
                </a:solidFill>
                <a:latin typeface="-apple-system"/>
              </a:rPr>
              <a:t>Chat</a:t>
            </a:r>
            <a:r>
              <a:rPr lang="de-AT" b="0" i="0">
                <a:solidFill>
                  <a:srgbClr val="172B4D"/>
                </a:solidFill>
                <a:effectLst/>
                <a:latin typeface="-apple-system"/>
              </a:rPr>
              <a:t> </a:t>
            </a:r>
            <a:r>
              <a:rPr lang="de-AT">
                <a:solidFill>
                  <a:srgbClr val="172B4D"/>
                </a:solidFill>
                <a:latin typeface="-apple-system"/>
              </a:rPr>
              <a:t>UI</a:t>
            </a:r>
            <a:r>
              <a:rPr lang="de-AT" b="0" i="0">
                <a:solidFill>
                  <a:srgbClr val="172B4D"/>
                </a:solidFill>
                <a:effectLst/>
                <a:latin typeface="-apple-system"/>
              </a:rPr>
              <a:t> </a:t>
            </a:r>
            <a:r>
              <a:rPr lang="de-AT">
                <a:solidFill>
                  <a:srgbClr val="172B4D"/>
                </a:solidFill>
                <a:latin typeface="-apple-system"/>
                <a:ea typeface="+mn-lt"/>
                <a:cs typeface="+mn-lt"/>
              </a:rPr>
              <a:t>(</a:t>
            </a:r>
            <a:r>
              <a:rPr lang="de-AT">
                <a:solidFill>
                  <a:srgbClr val="172B4D"/>
                </a:solidFill>
                <a:ea typeface="+mn-lt"/>
                <a:cs typeface="+mn-lt"/>
              </a:rPr>
              <a:t>Web, App)</a:t>
            </a:r>
            <a:endParaRPr lang="de-AT">
              <a:solidFill>
                <a:srgbClr val="172B4D"/>
              </a:solidFill>
              <a:latin typeface="Inter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AT">
                <a:solidFill>
                  <a:srgbClr val="172B4D"/>
                </a:solidFill>
                <a:latin typeface="-apple-system"/>
              </a:rPr>
              <a:t>The George Masterbot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covers</a:t>
            </a:r>
            <a:r>
              <a:rPr lang="de-AT">
                <a:solidFill>
                  <a:srgbClr val="172B4D"/>
                </a:solidFill>
                <a:latin typeface="-apple-system"/>
              </a:rPr>
              <a:t> a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range</a:t>
            </a:r>
            <a:r>
              <a:rPr lang="de-AT">
                <a:solidFill>
                  <a:srgbClr val="172B4D"/>
                </a:solidFill>
                <a:latin typeface="-apple-system"/>
              </a:rPr>
              <a:t> 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of</a:t>
            </a:r>
            <a:r>
              <a:rPr lang="de-AT">
                <a:solidFill>
                  <a:srgbClr val="172B4D"/>
                </a:solidFill>
                <a:latin typeface="-apple-system"/>
              </a:rPr>
              <a:t> "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core</a:t>
            </a:r>
            <a:r>
              <a:rPr lang="de-AT">
                <a:solidFill>
                  <a:srgbClr val="172B4D"/>
                </a:solidFill>
                <a:latin typeface="-apple-system"/>
              </a:rPr>
              <a:t>"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usecases</a:t>
            </a:r>
            <a:endParaRPr lang="de-AT">
              <a:solidFill>
                <a:srgbClr val="172B4D"/>
              </a:solidFill>
              <a:latin typeface="-apple-system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AT">
                <a:solidFill>
                  <a:srgbClr val="172B4D"/>
                </a:solidFill>
                <a:latin typeface="-apple-system"/>
              </a:rPr>
              <a:t>The Master Bot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can</a:t>
            </a:r>
            <a:r>
              <a:rPr lang="de-AT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call</a:t>
            </a:r>
            <a:r>
              <a:rPr lang="de-AT">
                <a:solidFill>
                  <a:srgbClr val="172B4D"/>
                </a:solidFill>
                <a:latin typeface="-apple-system"/>
              </a:rPr>
              <a:t> "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local</a:t>
            </a:r>
            <a:r>
              <a:rPr lang="de-AT">
                <a:solidFill>
                  <a:srgbClr val="172B4D"/>
                </a:solidFill>
                <a:latin typeface="-apple-system"/>
              </a:rPr>
              <a:t> bots" via an API ("George Messenger Protocol") 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which</a:t>
            </a:r>
            <a:r>
              <a:rPr lang="de-AT">
                <a:solidFill>
                  <a:srgbClr val="172B4D"/>
                </a:solidFill>
                <a:latin typeface="-apple-system"/>
              </a:rPr>
              <a:t> 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then</a:t>
            </a:r>
            <a:r>
              <a:rPr lang="de-AT">
                <a:solidFill>
                  <a:srgbClr val="172B4D"/>
                </a:solidFill>
                <a:latin typeface="-apple-system"/>
              </a:rPr>
              <a:t> 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return</a:t>
            </a:r>
            <a:r>
              <a:rPr lang="de-AT">
                <a:solidFill>
                  <a:srgbClr val="172B4D"/>
                </a:solidFill>
                <a:latin typeface="-apple-system"/>
              </a:rPr>
              <a:t> 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respective</a:t>
            </a:r>
            <a:r>
              <a:rPr lang="de-AT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answers</a:t>
            </a:r>
            <a:r>
              <a:rPr lang="de-AT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to</a:t>
            </a:r>
            <a:r>
              <a:rPr lang="de-AT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the</a:t>
            </a:r>
            <a:r>
              <a:rPr lang="de-AT">
                <a:solidFill>
                  <a:srgbClr val="172B4D"/>
                </a:solidFill>
                <a:latin typeface="-apple-system"/>
              </a:rPr>
              <a:t> Master Bo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AT">
                <a:solidFill>
                  <a:srgbClr val="172B4D"/>
                </a:solidFill>
                <a:latin typeface="-apple-system"/>
              </a:rPr>
              <a:t>The Master Bot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is</a:t>
            </a:r>
            <a:r>
              <a:rPr lang="de-AT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agnostic</a:t>
            </a:r>
            <a:r>
              <a:rPr lang="de-AT">
                <a:solidFill>
                  <a:srgbClr val="172B4D"/>
                </a:solidFill>
                <a:latin typeface="-apple-system"/>
              </a:rPr>
              <a:t> 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of</a:t>
            </a:r>
            <a:r>
              <a:rPr lang="de-AT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the</a:t>
            </a:r>
            <a:r>
              <a:rPr lang="de-AT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local</a:t>
            </a:r>
            <a:r>
              <a:rPr lang="de-AT">
                <a:solidFill>
                  <a:srgbClr val="172B4D"/>
                </a:solidFill>
                <a:latin typeface="-apple-system"/>
              </a:rPr>
              <a:t> bot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solution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E3DA814B-DFCC-8E82-6644-8741B12F2522}"/>
              </a:ext>
            </a:extLst>
          </p:cNvPr>
          <p:cNvSpPr txBox="1"/>
          <p:nvPr/>
        </p:nvSpPr>
        <p:spPr>
          <a:xfrm>
            <a:off x="515937" y="3400827"/>
            <a:ext cx="7241458" cy="230832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/>
            <a:r>
              <a:rPr lang="de-AT" b="1">
                <a:solidFill>
                  <a:srgbClr val="172B4D"/>
                </a:solidFill>
                <a:latin typeface="-apple-system"/>
              </a:rPr>
              <a:t>Google </a:t>
            </a:r>
            <a:r>
              <a:rPr lang="de-AT" b="1" err="1">
                <a:solidFill>
                  <a:srgbClr val="172B4D"/>
                </a:solidFill>
                <a:latin typeface="-apple-system"/>
              </a:rPr>
              <a:t>cloud</a:t>
            </a:r>
            <a:r>
              <a:rPr lang="de-AT" b="1">
                <a:solidFill>
                  <a:srgbClr val="172B4D"/>
                </a:solidFill>
                <a:latin typeface="-apple-system"/>
              </a:rPr>
              <a:t> = </a:t>
            </a:r>
            <a:r>
              <a:rPr lang="de-AT" b="1" err="1">
                <a:solidFill>
                  <a:srgbClr val="172B4D"/>
                </a:solidFill>
                <a:latin typeface="-apple-system"/>
              </a:rPr>
              <a:t>strategic</a:t>
            </a:r>
            <a:r>
              <a:rPr lang="de-AT" b="1">
                <a:solidFill>
                  <a:srgbClr val="172B4D"/>
                </a:solidFill>
                <a:latin typeface="-apple-system"/>
              </a:rPr>
              <a:t> CSP</a:t>
            </a:r>
            <a:endParaRPr lang="de-AT" b="1" i="0">
              <a:solidFill>
                <a:srgbClr val="172B4D"/>
              </a:solidFill>
              <a:effectLst/>
              <a:latin typeface="-apple-system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AT">
                <a:solidFill>
                  <a:srgbClr val="172B4D"/>
                </a:solidFill>
                <a:latin typeface="-apple-system"/>
              </a:rPr>
              <a:t>Google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cloud</a:t>
            </a:r>
            <a:r>
              <a:rPr lang="de-AT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services</a:t>
            </a:r>
            <a:r>
              <a:rPr lang="de-AT">
                <a:solidFill>
                  <a:srgbClr val="172B4D"/>
                </a:solidFill>
                <a:latin typeface="-apple-system"/>
              </a:rPr>
              <a:t> (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Dialogflow</a:t>
            </a:r>
            <a:r>
              <a:rPr lang="de-AT">
                <a:solidFill>
                  <a:srgbClr val="172B4D"/>
                </a:solidFill>
                <a:latin typeface="-apple-system"/>
              </a:rPr>
              <a:t> /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VertexAI</a:t>
            </a:r>
            <a:r>
              <a:rPr lang="de-AT">
                <a:solidFill>
                  <a:srgbClr val="172B4D"/>
                </a:solidFill>
                <a:latin typeface="-apple-system"/>
              </a:rPr>
              <a:t>, ..)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are</a:t>
            </a:r>
            <a:r>
              <a:rPr lang="de-AT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preferred</a:t>
            </a:r>
            <a:r>
              <a:rPr lang="de-AT">
                <a:solidFill>
                  <a:srgbClr val="172B4D"/>
                </a:solidFill>
                <a:latin typeface="-apple-system"/>
              </a:rPr>
              <a:t>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AT">
                <a:solidFill>
                  <a:srgbClr val="172B4D"/>
                </a:solidFill>
                <a:latin typeface="-apple-system"/>
              </a:rPr>
              <a:t>MS Azure Services (e.g. GPT-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Endpoint</a:t>
            </a:r>
            <a:r>
              <a:rPr lang="de-AT">
                <a:solidFill>
                  <a:srgbClr val="172B4D"/>
                </a:solidFill>
                <a:latin typeface="-apple-system"/>
              </a:rPr>
              <a:t>)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are</a:t>
            </a:r>
            <a:r>
              <a:rPr lang="de-AT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supported</a:t>
            </a:r>
            <a:endParaRPr lang="de-AT">
              <a:solidFill>
                <a:srgbClr val="172B4D"/>
              </a:solidFill>
              <a:latin typeface="-apple-system"/>
            </a:endParaRP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AT" err="1">
                <a:solidFill>
                  <a:srgbClr val="172B4D"/>
                </a:solidFill>
                <a:latin typeface="-apple-system"/>
              </a:rPr>
              <a:t>Only</a:t>
            </a:r>
            <a:r>
              <a:rPr lang="de-AT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for</a:t>
            </a:r>
            <a:r>
              <a:rPr lang="de-AT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good</a:t>
            </a:r>
            <a:r>
              <a:rPr lang="de-AT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reasons</a:t>
            </a:r>
            <a:r>
              <a:rPr lang="de-AT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other</a:t>
            </a:r>
            <a:r>
              <a:rPr lang="de-AT">
                <a:solidFill>
                  <a:srgbClr val="172B4D"/>
                </a:solidFill>
                <a:latin typeface="-apple-system"/>
              </a:rPr>
              <a:t> CSPs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may</a:t>
            </a:r>
            <a:r>
              <a:rPr lang="de-AT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be</a:t>
            </a:r>
            <a:r>
              <a:rPr lang="de-AT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used</a:t>
            </a:r>
            <a:r>
              <a:rPr lang="de-AT">
                <a:solidFill>
                  <a:srgbClr val="172B4D"/>
                </a:solidFill>
                <a:latin typeface="-apple-system"/>
              </a:rPr>
              <a:t>.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de-AT" err="1">
                <a:solidFill>
                  <a:srgbClr val="172B4D"/>
                </a:solidFill>
                <a:latin typeface="-apple-system"/>
              </a:rPr>
              <a:t>MiSOL</a:t>
            </a:r>
            <a:r>
              <a:rPr lang="de-AT">
                <a:solidFill>
                  <a:srgbClr val="172B4D"/>
                </a:solidFill>
                <a:latin typeface="-apple-system"/>
              </a:rPr>
              <a:t> will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be</a:t>
            </a:r>
            <a:r>
              <a:rPr lang="de-AT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moved</a:t>
            </a:r>
            <a:r>
              <a:rPr lang="de-AT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to</a:t>
            </a:r>
            <a:r>
              <a:rPr lang="de-AT">
                <a:solidFill>
                  <a:srgbClr val="172B4D"/>
                </a:solidFill>
                <a:latin typeface="-apple-system"/>
              </a:rPr>
              <a:t> GCP 2024.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de-AT" err="1">
                <a:solidFill>
                  <a:srgbClr val="172B4D"/>
                </a:solidFill>
                <a:latin typeface="-apple-system"/>
              </a:rPr>
              <a:t>Modernized</a:t>
            </a:r>
            <a:r>
              <a:rPr lang="de-AT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architecture</a:t>
            </a:r>
            <a:r>
              <a:rPr lang="de-AT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based</a:t>
            </a:r>
            <a:r>
              <a:rPr lang="de-AT">
                <a:solidFill>
                  <a:srgbClr val="172B4D"/>
                </a:solidFill>
                <a:latin typeface="-apple-system"/>
              </a:rPr>
              <a:t> on GCP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Dialogflow</a:t>
            </a:r>
            <a:r>
              <a:rPr lang="de-AT">
                <a:solidFill>
                  <a:srgbClr val="172B4D"/>
                </a:solidFill>
                <a:latin typeface="-apple-system"/>
              </a:rPr>
              <a:t> will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be</a:t>
            </a:r>
            <a:r>
              <a:rPr lang="de-AT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preferred</a:t>
            </a:r>
            <a:r>
              <a:rPr lang="de-AT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over</a:t>
            </a:r>
            <a:r>
              <a:rPr lang="de-AT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MiSOL</a:t>
            </a:r>
            <a:r>
              <a:rPr lang="de-AT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when</a:t>
            </a:r>
            <a:r>
              <a:rPr lang="de-AT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implementing</a:t>
            </a:r>
            <a:r>
              <a:rPr lang="de-AT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new</a:t>
            </a:r>
            <a:r>
              <a:rPr lang="de-AT">
                <a:solidFill>
                  <a:srgbClr val="172B4D"/>
                </a:solidFill>
                <a:latin typeface="-apple-system"/>
              </a:rPr>
              <a:t> bots.</a:t>
            </a:r>
          </a:p>
          <a:p>
            <a:pPr marL="1657350" lvl="3" indent="-285750">
              <a:buFont typeface="Arial" panose="020B0604020202020204" pitchFamily="34" charset="0"/>
              <a:buChar char="•"/>
            </a:pPr>
            <a:r>
              <a:rPr lang="de-AT" err="1">
                <a:solidFill>
                  <a:srgbClr val="172B4D"/>
                </a:solidFill>
                <a:latin typeface="-apple-system"/>
              </a:rPr>
              <a:t>Example</a:t>
            </a:r>
            <a:r>
              <a:rPr lang="de-AT">
                <a:solidFill>
                  <a:srgbClr val="172B4D"/>
                </a:solidFill>
                <a:latin typeface="-apple-system"/>
              </a:rPr>
              <a:t>: Login support bot.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9E251C9C-7C7E-D307-B2F8-65384ED27CD5}"/>
              </a:ext>
            </a:extLst>
          </p:cNvPr>
          <p:cNvSpPr txBox="1"/>
          <p:nvPr/>
        </p:nvSpPr>
        <p:spPr>
          <a:xfrm>
            <a:off x="7786042" y="3393392"/>
            <a:ext cx="4503431" cy="230832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/>
            <a:r>
              <a:rPr lang="de-AT" b="1">
                <a:solidFill>
                  <a:srgbClr val="172B4D"/>
                </a:solidFill>
                <a:latin typeface="-apple-system"/>
              </a:rPr>
              <a:t>Bots </a:t>
            </a:r>
            <a:r>
              <a:rPr lang="de-AT" b="1" err="1">
                <a:solidFill>
                  <a:srgbClr val="172B4D"/>
                </a:solidFill>
                <a:latin typeface="-apple-system"/>
              </a:rPr>
              <a:t>should</a:t>
            </a:r>
            <a:r>
              <a:rPr lang="de-AT" b="1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b="1" err="1">
                <a:solidFill>
                  <a:srgbClr val="172B4D"/>
                </a:solidFill>
                <a:latin typeface="-apple-system"/>
              </a:rPr>
              <a:t>be</a:t>
            </a:r>
            <a:r>
              <a:rPr lang="de-AT" b="1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b="1" err="1">
                <a:solidFill>
                  <a:srgbClr val="172B4D"/>
                </a:solidFill>
                <a:latin typeface="-apple-system"/>
              </a:rPr>
              <a:t>channel-agnostic</a:t>
            </a:r>
            <a:endParaRPr lang="de-AT" b="1" i="0">
              <a:solidFill>
                <a:srgbClr val="172B4D"/>
              </a:solidFill>
              <a:effectLst/>
              <a:latin typeface="-apple-system"/>
            </a:endParaRP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AT" err="1">
                <a:solidFill>
                  <a:srgbClr val="172B4D"/>
                </a:solidFill>
                <a:latin typeface="-apple-system"/>
              </a:rPr>
              <a:t>Besides</a:t>
            </a:r>
            <a:r>
              <a:rPr lang="de-AT">
                <a:solidFill>
                  <a:srgbClr val="172B4D"/>
                </a:solidFill>
                <a:latin typeface="-apple-system"/>
              </a:rPr>
              <a:t> George bots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should</a:t>
            </a:r>
            <a:r>
              <a:rPr lang="de-AT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be</a:t>
            </a:r>
            <a:r>
              <a:rPr lang="de-AT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usable</a:t>
            </a:r>
            <a:r>
              <a:rPr lang="de-AT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by</a:t>
            </a:r>
            <a:r>
              <a:rPr lang="de-AT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other</a:t>
            </a:r>
            <a:r>
              <a:rPr lang="de-AT">
                <a:solidFill>
                  <a:srgbClr val="172B4D"/>
                </a:solidFill>
                <a:latin typeface="-apple-system"/>
              </a:rPr>
              <a:t>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clients</a:t>
            </a:r>
            <a:endParaRPr lang="de-AT">
              <a:solidFill>
                <a:srgbClr val="172B4D"/>
              </a:solidFill>
              <a:latin typeface="-apple-system"/>
            </a:endParaRP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de-AT">
                <a:solidFill>
                  <a:srgbClr val="172B4D"/>
                </a:solidFill>
                <a:latin typeface="-apple-system"/>
              </a:rPr>
              <a:t>Erste Bank web </a:t>
            </a:r>
            <a:r>
              <a:rPr lang="de-AT" err="1">
                <a:solidFill>
                  <a:srgbClr val="172B4D"/>
                </a:solidFill>
                <a:latin typeface="-apple-system"/>
              </a:rPr>
              <a:t>page</a:t>
            </a:r>
            <a:r>
              <a:rPr lang="de-AT">
                <a:solidFill>
                  <a:srgbClr val="172B4D"/>
                </a:solidFill>
                <a:latin typeface="-apple-system"/>
              </a:rPr>
              <a:t>.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de-AT">
                <a:solidFill>
                  <a:srgbClr val="172B4D"/>
                </a:solidFill>
                <a:latin typeface="-apple-system"/>
              </a:rPr>
              <a:t>Intranet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de-AT">
                <a:solidFill>
                  <a:srgbClr val="172B4D"/>
                </a:solidFill>
                <a:latin typeface="-apple-system"/>
              </a:rPr>
              <a:t>Alexa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de-AT">
                <a:solidFill>
                  <a:srgbClr val="172B4D"/>
                </a:solidFill>
                <a:latin typeface="-apple-system"/>
              </a:rPr>
              <a:t>Google Home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de-AT">
                <a:solidFill>
                  <a:srgbClr val="172B4D"/>
                </a:solidFill>
                <a:latin typeface="-apple-system"/>
              </a:rPr>
              <a:t>…</a:t>
            </a:r>
          </a:p>
        </p:txBody>
      </p:sp>
      <p:sp>
        <p:nvSpPr>
          <p:cNvPr id="1027" name="Foliennummernplatzhalter 1026">
            <a:extLst>
              <a:ext uri="{FF2B5EF4-FFF2-40B4-BE49-F238E27FC236}">
                <a16:creationId xmlns:a16="http://schemas.microsoft.com/office/drawing/2014/main" id="{FDDF5474-86D2-05EF-B926-2E5A32894A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E0597C-028E-473F-BF50-BBB8B8A24EC3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Inter SemiBold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SemiBold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95485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ihandform: Form 324">
            <a:extLst>
              <a:ext uri="{FF2B5EF4-FFF2-40B4-BE49-F238E27FC236}">
                <a16:creationId xmlns:a16="http://schemas.microsoft.com/office/drawing/2014/main" id="{8528BD41-0DF7-44FB-B4E9-A44BD1FDBF25}"/>
              </a:ext>
            </a:extLst>
          </p:cNvPr>
          <p:cNvSpPr/>
          <p:nvPr/>
        </p:nvSpPr>
        <p:spPr>
          <a:xfrm>
            <a:off x="7836207" y="5654645"/>
            <a:ext cx="3390529" cy="786742"/>
          </a:xfrm>
          <a:custGeom>
            <a:avLst/>
            <a:gdLst>
              <a:gd name="connsiteX0" fmla="*/ -78 w 1336430"/>
              <a:gd name="connsiteY0" fmla="*/ -74 h 2325437"/>
              <a:gd name="connsiteX1" fmla="*/ 1336353 w 1336430"/>
              <a:gd name="connsiteY1" fmla="*/ -74 h 2325437"/>
              <a:gd name="connsiteX2" fmla="*/ 1336353 w 1336430"/>
              <a:gd name="connsiteY2" fmla="*/ 2325363 h 2325437"/>
              <a:gd name="connsiteX3" fmla="*/ -78 w 1336430"/>
              <a:gd name="connsiteY3" fmla="*/ 2325363 h 2325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36430" h="2325437">
                <a:moveTo>
                  <a:pt x="-78" y="-74"/>
                </a:moveTo>
                <a:lnTo>
                  <a:pt x="1336353" y="-74"/>
                </a:lnTo>
                <a:lnTo>
                  <a:pt x="1336353" y="2325363"/>
                </a:lnTo>
                <a:lnTo>
                  <a:pt x="-78" y="2325363"/>
                </a:lnTo>
                <a:close/>
              </a:path>
            </a:pathLst>
          </a:custGeom>
          <a:solidFill>
            <a:srgbClr val="FF0000">
              <a:alpha val="26531"/>
            </a:srgbClr>
          </a:solidFill>
          <a:ln w="11723" cap="flat">
            <a:noFill/>
            <a:prstDash val="solid"/>
            <a:round/>
          </a:ln>
        </p:spPr>
        <p:txBody>
          <a:bodyPr rtlCol="0" anchor="b"/>
          <a:lstStyle/>
          <a:p>
            <a:r>
              <a:rPr lang="de-DE" sz="1600" err="1"/>
              <a:t>Externally</a:t>
            </a:r>
            <a:r>
              <a:rPr lang="de-DE" sz="1600"/>
              <a:t> </a:t>
            </a:r>
            <a:r>
              <a:rPr lang="de-DE" sz="1600" err="1"/>
              <a:t>provided</a:t>
            </a:r>
            <a:r>
              <a:rPr lang="de-DE" sz="1600"/>
              <a:t> </a:t>
            </a:r>
            <a:r>
              <a:rPr lang="de-DE" sz="1600" err="1"/>
              <a:t>service</a:t>
            </a:r>
            <a:endParaRPr lang="de-DE" sz="1600"/>
          </a:p>
        </p:txBody>
      </p:sp>
      <p:grpSp>
        <p:nvGrpSpPr>
          <p:cNvPr id="310" name="Gruppieren 309">
            <a:extLst>
              <a:ext uri="{FF2B5EF4-FFF2-40B4-BE49-F238E27FC236}">
                <a16:creationId xmlns:a16="http://schemas.microsoft.com/office/drawing/2014/main" id="{A542815F-D2B1-4184-43EE-5967F167448F}"/>
              </a:ext>
            </a:extLst>
          </p:cNvPr>
          <p:cNvGrpSpPr/>
          <p:nvPr/>
        </p:nvGrpSpPr>
        <p:grpSpPr>
          <a:xfrm>
            <a:off x="8910541" y="5807030"/>
            <a:ext cx="1241860" cy="305187"/>
            <a:chOff x="1076978" y="2522260"/>
            <a:chExt cx="1843706" cy="491237"/>
          </a:xfrm>
        </p:grpSpPr>
        <p:sp>
          <p:nvSpPr>
            <p:cNvPr id="311" name="Freihandform: Form 310">
              <a:extLst>
                <a:ext uri="{FF2B5EF4-FFF2-40B4-BE49-F238E27FC236}">
                  <a16:creationId xmlns:a16="http://schemas.microsoft.com/office/drawing/2014/main" id="{26B1DE82-6614-648B-0346-E509159067BA}"/>
                </a:ext>
              </a:extLst>
            </p:cNvPr>
            <p:cNvSpPr/>
            <p:nvPr/>
          </p:nvSpPr>
          <p:spPr>
            <a:xfrm>
              <a:off x="1130104" y="2544551"/>
              <a:ext cx="1790580" cy="468946"/>
            </a:xfrm>
            <a:custGeom>
              <a:avLst/>
              <a:gdLst>
                <a:gd name="connsiteX0" fmla="*/ -78 w 1336430"/>
                <a:gd name="connsiteY0" fmla="*/ -74 h 2325437"/>
                <a:gd name="connsiteX1" fmla="*/ 1336353 w 1336430"/>
                <a:gd name="connsiteY1" fmla="*/ -74 h 2325437"/>
                <a:gd name="connsiteX2" fmla="*/ 1336353 w 1336430"/>
                <a:gd name="connsiteY2" fmla="*/ 2325363 h 2325437"/>
                <a:gd name="connsiteX3" fmla="*/ -78 w 1336430"/>
                <a:gd name="connsiteY3" fmla="*/ 2325363 h 2325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36430" h="2325437">
                  <a:moveTo>
                    <a:pt x="-78" y="-74"/>
                  </a:moveTo>
                  <a:lnTo>
                    <a:pt x="1336353" y="-74"/>
                  </a:lnTo>
                  <a:lnTo>
                    <a:pt x="1336353" y="2325363"/>
                  </a:lnTo>
                  <a:lnTo>
                    <a:pt x="-78" y="2325363"/>
                  </a:lnTo>
                  <a:close/>
                </a:path>
              </a:pathLst>
            </a:custGeom>
            <a:solidFill>
              <a:srgbClr val="FF0000"/>
            </a:solidFill>
            <a:ln w="11723" cap="flat">
              <a:solidFill>
                <a:srgbClr val="00497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AT"/>
            </a:p>
          </p:txBody>
        </p:sp>
        <p:sp>
          <p:nvSpPr>
            <p:cNvPr id="312" name="Textfeld 311">
              <a:extLst>
                <a:ext uri="{FF2B5EF4-FFF2-40B4-BE49-F238E27FC236}">
                  <a16:creationId xmlns:a16="http://schemas.microsoft.com/office/drawing/2014/main" id="{3DF6ED34-A9EB-59BA-7434-7A03BF26D92C}"/>
                </a:ext>
              </a:extLst>
            </p:cNvPr>
            <p:cNvSpPr txBox="1"/>
            <p:nvPr/>
          </p:nvSpPr>
          <p:spPr>
            <a:xfrm>
              <a:off x="1076978" y="2522260"/>
              <a:ext cx="1644967" cy="39673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07000"/>
                </a:lnSpc>
              </a:pPr>
              <a:r>
                <a:rPr lang="de-DE" sz="1000" spc="0" baseline="0">
                  <a:ln/>
                  <a:solidFill>
                    <a:schemeClr val="bg1"/>
                  </a:solidFill>
                  <a:ea typeface="Open Sans Light"/>
                  <a:cs typeface="Open Sans Light"/>
                  <a:sym typeface="Open Sans Light"/>
                  <a:rtl val="0"/>
                </a:rPr>
                <a:t>External API	</a:t>
              </a:r>
              <a:endParaRPr lang="de-AT" sz="923" spc="0" baseline="0">
                <a:ln/>
                <a:solidFill>
                  <a:schemeClr val="bg1"/>
                </a:solidFill>
                <a:ea typeface="Open Sans Light"/>
                <a:cs typeface="Open Sans Light"/>
                <a:sym typeface="Open Sans Light"/>
                <a:rtl val="0"/>
              </a:endParaRPr>
            </a:p>
          </p:txBody>
        </p:sp>
      </p:grpSp>
      <p:sp>
        <p:nvSpPr>
          <p:cNvPr id="15" name="Freihandform: Form 324">
            <a:extLst>
              <a:ext uri="{FF2B5EF4-FFF2-40B4-BE49-F238E27FC236}">
                <a16:creationId xmlns:a16="http://schemas.microsoft.com/office/drawing/2014/main" id="{B8ED7B4C-C454-E5DD-BC2A-9D90E3BE4378}"/>
              </a:ext>
            </a:extLst>
          </p:cNvPr>
          <p:cNvSpPr/>
          <p:nvPr/>
        </p:nvSpPr>
        <p:spPr>
          <a:xfrm>
            <a:off x="4131810" y="5637069"/>
            <a:ext cx="3390529" cy="797221"/>
          </a:xfrm>
          <a:custGeom>
            <a:avLst/>
            <a:gdLst>
              <a:gd name="connsiteX0" fmla="*/ -78 w 1336430"/>
              <a:gd name="connsiteY0" fmla="*/ -74 h 2325437"/>
              <a:gd name="connsiteX1" fmla="*/ 1336353 w 1336430"/>
              <a:gd name="connsiteY1" fmla="*/ -74 h 2325437"/>
              <a:gd name="connsiteX2" fmla="*/ 1336353 w 1336430"/>
              <a:gd name="connsiteY2" fmla="*/ 2325363 h 2325437"/>
              <a:gd name="connsiteX3" fmla="*/ -78 w 1336430"/>
              <a:gd name="connsiteY3" fmla="*/ 2325363 h 2325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36430" h="2325437">
                <a:moveTo>
                  <a:pt x="-78" y="-74"/>
                </a:moveTo>
                <a:lnTo>
                  <a:pt x="1336353" y="-74"/>
                </a:lnTo>
                <a:lnTo>
                  <a:pt x="1336353" y="2325363"/>
                </a:lnTo>
                <a:lnTo>
                  <a:pt x="-78" y="2325363"/>
                </a:lnTo>
                <a:close/>
              </a:path>
            </a:pathLst>
          </a:custGeom>
          <a:solidFill>
            <a:srgbClr val="FF0000">
              <a:alpha val="26531"/>
            </a:srgbClr>
          </a:solidFill>
          <a:ln w="11723" cap="flat">
            <a:noFill/>
            <a:prstDash val="solid"/>
            <a:round/>
          </a:ln>
        </p:spPr>
        <p:txBody>
          <a:bodyPr rtlCol="0" anchor="b"/>
          <a:lstStyle/>
          <a:p>
            <a:r>
              <a:rPr lang="de-DE" sz="1600"/>
              <a:t>AI Solution (F. Mayer)</a:t>
            </a:r>
          </a:p>
        </p:txBody>
      </p:sp>
      <p:grpSp>
        <p:nvGrpSpPr>
          <p:cNvPr id="306" name="Gruppieren 305">
            <a:extLst>
              <a:ext uri="{FF2B5EF4-FFF2-40B4-BE49-F238E27FC236}">
                <a16:creationId xmlns:a16="http://schemas.microsoft.com/office/drawing/2014/main" id="{555A3D07-7C55-8750-A39A-6021ED871278}"/>
              </a:ext>
            </a:extLst>
          </p:cNvPr>
          <p:cNvGrpSpPr/>
          <p:nvPr/>
        </p:nvGrpSpPr>
        <p:grpSpPr>
          <a:xfrm>
            <a:off x="4580448" y="5819162"/>
            <a:ext cx="1220615" cy="381002"/>
            <a:chOff x="1105090" y="2541182"/>
            <a:chExt cx="1361444" cy="540773"/>
          </a:xfrm>
        </p:grpSpPr>
        <p:sp>
          <p:nvSpPr>
            <p:cNvPr id="307" name="Freihandform: Form 306">
              <a:extLst>
                <a:ext uri="{FF2B5EF4-FFF2-40B4-BE49-F238E27FC236}">
                  <a16:creationId xmlns:a16="http://schemas.microsoft.com/office/drawing/2014/main" id="{F78407E9-A9F3-43E5-7959-539D659A6CCF}"/>
                </a:ext>
              </a:extLst>
            </p:cNvPr>
            <p:cNvSpPr/>
            <p:nvPr/>
          </p:nvSpPr>
          <p:spPr>
            <a:xfrm>
              <a:off x="1130104" y="2544551"/>
              <a:ext cx="1336430" cy="468946"/>
            </a:xfrm>
            <a:custGeom>
              <a:avLst/>
              <a:gdLst>
                <a:gd name="connsiteX0" fmla="*/ -78 w 1336430"/>
                <a:gd name="connsiteY0" fmla="*/ -74 h 2325437"/>
                <a:gd name="connsiteX1" fmla="*/ 1336353 w 1336430"/>
                <a:gd name="connsiteY1" fmla="*/ -74 h 2325437"/>
                <a:gd name="connsiteX2" fmla="*/ 1336353 w 1336430"/>
                <a:gd name="connsiteY2" fmla="*/ 2325363 h 2325437"/>
                <a:gd name="connsiteX3" fmla="*/ -78 w 1336430"/>
                <a:gd name="connsiteY3" fmla="*/ 2325363 h 2325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36430" h="2325437">
                  <a:moveTo>
                    <a:pt x="-78" y="-74"/>
                  </a:moveTo>
                  <a:lnTo>
                    <a:pt x="1336353" y="-74"/>
                  </a:lnTo>
                  <a:lnTo>
                    <a:pt x="1336353" y="2325363"/>
                  </a:lnTo>
                  <a:lnTo>
                    <a:pt x="-78" y="2325363"/>
                  </a:lnTo>
                  <a:close/>
                </a:path>
              </a:pathLst>
            </a:custGeom>
            <a:solidFill>
              <a:srgbClr val="FF0000"/>
            </a:solidFill>
            <a:ln w="11723" cap="flat">
              <a:solidFill>
                <a:srgbClr val="00497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AT" sz="1600"/>
            </a:p>
          </p:txBody>
        </p:sp>
        <p:sp>
          <p:nvSpPr>
            <p:cNvPr id="309" name="Textfeld 308">
              <a:extLst>
                <a:ext uri="{FF2B5EF4-FFF2-40B4-BE49-F238E27FC236}">
                  <a16:creationId xmlns:a16="http://schemas.microsoft.com/office/drawing/2014/main" id="{3880581B-085E-F090-3B78-7918E295FEFC}"/>
                </a:ext>
              </a:extLst>
            </p:cNvPr>
            <p:cNvSpPr txBox="1"/>
            <p:nvPr/>
          </p:nvSpPr>
          <p:spPr>
            <a:xfrm>
              <a:off x="1105090" y="2541182"/>
              <a:ext cx="1235832" cy="54077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07000"/>
                </a:lnSpc>
              </a:pPr>
              <a:r>
                <a:rPr lang="de-DE" sz="900">
                  <a:solidFill>
                    <a:schemeClr val="bg1"/>
                  </a:solidFill>
                </a:rPr>
                <a:t>LLM API </a:t>
              </a:r>
            </a:p>
            <a:p>
              <a:pPr>
                <a:lnSpc>
                  <a:spcPct val="107000"/>
                </a:lnSpc>
              </a:pPr>
              <a:r>
                <a:rPr lang="de-DE" sz="900">
                  <a:solidFill>
                    <a:schemeClr val="bg1"/>
                  </a:solidFill>
                </a:rPr>
                <a:t>(GPT, </a:t>
              </a:r>
              <a:r>
                <a:rPr lang="de-DE" sz="900" err="1">
                  <a:solidFill>
                    <a:schemeClr val="bg1"/>
                  </a:solidFill>
                </a:rPr>
                <a:t>PaLM</a:t>
              </a:r>
              <a:r>
                <a:rPr lang="de-DE" sz="900">
                  <a:solidFill>
                    <a:schemeClr val="bg1"/>
                  </a:solidFill>
                </a:rPr>
                <a:t>, ..)	</a:t>
              </a:r>
              <a:endParaRPr lang="de-AT" sz="900" spc="0" baseline="0">
                <a:ln/>
                <a:solidFill>
                  <a:schemeClr val="bg1"/>
                </a:solidFill>
                <a:latin typeface="Open Sans Light"/>
                <a:ea typeface="Open Sans Light"/>
                <a:cs typeface="Open Sans Light"/>
                <a:sym typeface="Open Sans Light"/>
                <a:rtl val="0"/>
              </a:endParaRPr>
            </a:p>
          </p:txBody>
        </p:sp>
      </p:grpSp>
      <p:sp>
        <p:nvSpPr>
          <p:cNvPr id="172" name="Freihandform: Form 324">
            <a:extLst>
              <a:ext uri="{FF2B5EF4-FFF2-40B4-BE49-F238E27FC236}">
                <a16:creationId xmlns:a16="http://schemas.microsoft.com/office/drawing/2014/main" id="{ABAFE742-00EA-E867-33CB-F2C8921E4809}"/>
              </a:ext>
            </a:extLst>
          </p:cNvPr>
          <p:cNvSpPr/>
          <p:nvPr/>
        </p:nvSpPr>
        <p:spPr>
          <a:xfrm>
            <a:off x="652100" y="5630340"/>
            <a:ext cx="3390529" cy="811047"/>
          </a:xfrm>
          <a:custGeom>
            <a:avLst/>
            <a:gdLst>
              <a:gd name="connsiteX0" fmla="*/ -78 w 1336430"/>
              <a:gd name="connsiteY0" fmla="*/ -74 h 2325437"/>
              <a:gd name="connsiteX1" fmla="*/ 1336353 w 1336430"/>
              <a:gd name="connsiteY1" fmla="*/ -74 h 2325437"/>
              <a:gd name="connsiteX2" fmla="*/ 1336353 w 1336430"/>
              <a:gd name="connsiteY2" fmla="*/ 2325363 h 2325437"/>
              <a:gd name="connsiteX3" fmla="*/ -78 w 1336430"/>
              <a:gd name="connsiteY3" fmla="*/ 2325363 h 2325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36430" h="2325437">
                <a:moveTo>
                  <a:pt x="-78" y="-74"/>
                </a:moveTo>
                <a:lnTo>
                  <a:pt x="1336353" y="-74"/>
                </a:lnTo>
                <a:lnTo>
                  <a:pt x="1336353" y="2325363"/>
                </a:lnTo>
                <a:lnTo>
                  <a:pt x="-78" y="2325363"/>
                </a:lnTo>
                <a:close/>
              </a:path>
            </a:pathLst>
          </a:custGeom>
          <a:solidFill>
            <a:srgbClr val="FF0000">
              <a:alpha val="26531"/>
            </a:srgbClr>
          </a:solidFill>
          <a:ln w="11723" cap="flat">
            <a:noFill/>
            <a:prstDash val="solid"/>
            <a:round/>
          </a:ln>
        </p:spPr>
        <p:txBody>
          <a:bodyPr rtlCol="0" anchor="b"/>
          <a:lstStyle/>
          <a:p>
            <a:r>
              <a:rPr lang="de-DE" sz="1600"/>
              <a:t>Core Service (A. Steiner)</a:t>
            </a:r>
          </a:p>
        </p:txBody>
      </p:sp>
      <p:grpSp>
        <p:nvGrpSpPr>
          <p:cNvPr id="294" name="Gruppieren 293">
            <a:extLst>
              <a:ext uri="{FF2B5EF4-FFF2-40B4-BE49-F238E27FC236}">
                <a16:creationId xmlns:a16="http://schemas.microsoft.com/office/drawing/2014/main" id="{45FEE255-7136-035B-18D7-CE5FD215CDDE}"/>
              </a:ext>
            </a:extLst>
          </p:cNvPr>
          <p:cNvGrpSpPr/>
          <p:nvPr/>
        </p:nvGrpSpPr>
        <p:grpSpPr>
          <a:xfrm>
            <a:off x="1924866" y="5876313"/>
            <a:ext cx="1035337" cy="288206"/>
            <a:chOff x="1076978" y="2522260"/>
            <a:chExt cx="1389556" cy="491237"/>
          </a:xfrm>
        </p:grpSpPr>
        <p:sp>
          <p:nvSpPr>
            <p:cNvPr id="295" name="Freihandform: Form 294">
              <a:extLst>
                <a:ext uri="{FF2B5EF4-FFF2-40B4-BE49-F238E27FC236}">
                  <a16:creationId xmlns:a16="http://schemas.microsoft.com/office/drawing/2014/main" id="{06BC6A13-B410-E0E7-1E42-6747CA7D7058}"/>
                </a:ext>
              </a:extLst>
            </p:cNvPr>
            <p:cNvSpPr/>
            <p:nvPr/>
          </p:nvSpPr>
          <p:spPr>
            <a:xfrm>
              <a:off x="1130104" y="2544551"/>
              <a:ext cx="1336430" cy="468946"/>
            </a:xfrm>
            <a:custGeom>
              <a:avLst/>
              <a:gdLst>
                <a:gd name="connsiteX0" fmla="*/ -78 w 1336430"/>
                <a:gd name="connsiteY0" fmla="*/ -74 h 2325437"/>
                <a:gd name="connsiteX1" fmla="*/ 1336353 w 1336430"/>
                <a:gd name="connsiteY1" fmla="*/ -74 h 2325437"/>
                <a:gd name="connsiteX2" fmla="*/ 1336353 w 1336430"/>
                <a:gd name="connsiteY2" fmla="*/ 2325363 h 2325437"/>
                <a:gd name="connsiteX3" fmla="*/ -78 w 1336430"/>
                <a:gd name="connsiteY3" fmla="*/ 2325363 h 2325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36430" h="2325437">
                  <a:moveTo>
                    <a:pt x="-78" y="-74"/>
                  </a:moveTo>
                  <a:lnTo>
                    <a:pt x="1336353" y="-74"/>
                  </a:lnTo>
                  <a:lnTo>
                    <a:pt x="1336353" y="2325363"/>
                  </a:lnTo>
                  <a:lnTo>
                    <a:pt x="-78" y="2325363"/>
                  </a:lnTo>
                  <a:close/>
                </a:path>
              </a:pathLst>
            </a:custGeom>
            <a:solidFill>
              <a:srgbClr val="FF0000"/>
            </a:solidFill>
            <a:ln w="11723" cap="flat">
              <a:solidFill>
                <a:srgbClr val="00497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AT"/>
            </a:p>
          </p:txBody>
        </p:sp>
        <p:sp>
          <p:nvSpPr>
            <p:cNvPr id="296" name="Textfeld 295">
              <a:extLst>
                <a:ext uri="{FF2B5EF4-FFF2-40B4-BE49-F238E27FC236}">
                  <a16:creationId xmlns:a16="http://schemas.microsoft.com/office/drawing/2014/main" id="{393D87FD-DB19-2260-9A74-19C33D02F8D1}"/>
                </a:ext>
              </a:extLst>
            </p:cNvPr>
            <p:cNvSpPr txBox="1"/>
            <p:nvPr/>
          </p:nvSpPr>
          <p:spPr>
            <a:xfrm>
              <a:off x="1076978" y="2522260"/>
              <a:ext cx="1185872" cy="42011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07000"/>
                </a:lnSpc>
              </a:pPr>
              <a:r>
                <a:rPr lang="de-DE" sz="1000">
                  <a:solidFill>
                    <a:schemeClr val="bg1"/>
                  </a:solidFill>
                </a:rPr>
                <a:t>Domain API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07A2F686-235F-859F-0DF1-E02DBF910C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476" y="319338"/>
            <a:ext cx="11037047" cy="872744"/>
          </a:xfrm>
        </p:spPr>
        <p:txBody>
          <a:bodyPr/>
          <a:lstStyle/>
          <a:p>
            <a:r>
              <a:rPr lang="en-US"/>
              <a:t>Integration of central and local (AT) components (</a:t>
            </a:r>
            <a:r>
              <a:rPr lang="en-US" err="1"/>
              <a:t>MiSOL</a:t>
            </a:r>
            <a:r>
              <a:rPr lang="en-US"/>
              <a:t>)</a:t>
            </a:r>
          </a:p>
        </p:txBody>
      </p:sp>
      <p:grpSp>
        <p:nvGrpSpPr>
          <p:cNvPr id="190" name="Gruppieren 189">
            <a:extLst>
              <a:ext uri="{FF2B5EF4-FFF2-40B4-BE49-F238E27FC236}">
                <a16:creationId xmlns:a16="http://schemas.microsoft.com/office/drawing/2014/main" id="{1768E9A0-14C4-0855-5ED9-3666BE5F0BDD}"/>
              </a:ext>
            </a:extLst>
          </p:cNvPr>
          <p:cNvGrpSpPr/>
          <p:nvPr/>
        </p:nvGrpSpPr>
        <p:grpSpPr>
          <a:xfrm>
            <a:off x="968643" y="2632668"/>
            <a:ext cx="1662635" cy="566245"/>
            <a:chOff x="1076978" y="2522260"/>
            <a:chExt cx="1662635" cy="566245"/>
          </a:xfrm>
        </p:grpSpPr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B3DF6D82-31AF-A7DE-0B48-7CE2FF7CA27B}"/>
                </a:ext>
              </a:extLst>
            </p:cNvPr>
            <p:cNvSpPr/>
            <p:nvPr/>
          </p:nvSpPr>
          <p:spPr>
            <a:xfrm>
              <a:off x="1130104" y="2544551"/>
              <a:ext cx="1336430" cy="468946"/>
            </a:xfrm>
            <a:custGeom>
              <a:avLst/>
              <a:gdLst>
                <a:gd name="connsiteX0" fmla="*/ -78 w 1336430"/>
                <a:gd name="connsiteY0" fmla="*/ -74 h 2325437"/>
                <a:gd name="connsiteX1" fmla="*/ 1336353 w 1336430"/>
                <a:gd name="connsiteY1" fmla="*/ -74 h 2325437"/>
                <a:gd name="connsiteX2" fmla="*/ 1336353 w 1336430"/>
                <a:gd name="connsiteY2" fmla="*/ 2325363 h 2325437"/>
                <a:gd name="connsiteX3" fmla="*/ -78 w 1336430"/>
                <a:gd name="connsiteY3" fmla="*/ 2325363 h 2325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36430" h="2325437">
                  <a:moveTo>
                    <a:pt x="-78" y="-74"/>
                  </a:moveTo>
                  <a:lnTo>
                    <a:pt x="1336353" y="-74"/>
                  </a:lnTo>
                  <a:lnTo>
                    <a:pt x="1336353" y="2325363"/>
                  </a:lnTo>
                  <a:lnTo>
                    <a:pt x="-78" y="2325363"/>
                  </a:lnTo>
                  <a:close/>
                </a:path>
              </a:pathLst>
            </a:custGeom>
            <a:solidFill>
              <a:srgbClr val="239CCE"/>
            </a:solidFill>
            <a:ln w="11723" cap="flat">
              <a:solidFill>
                <a:srgbClr val="00497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AT"/>
            </a:p>
          </p:txBody>
        </p:sp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DEA0B15A-AEAE-CD19-AABF-AD008EC0130F}"/>
                </a:ext>
              </a:extLst>
            </p:cNvPr>
            <p:cNvSpPr txBox="1"/>
            <p:nvPr/>
          </p:nvSpPr>
          <p:spPr>
            <a:xfrm>
              <a:off x="1076978" y="2522260"/>
              <a:ext cx="1662635" cy="566245"/>
            </a:xfrm>
            <a:prstGeom prst="rect">
              <a:avLst/>
            </a:prstGeom>
            <a:solidFill>
              <a:srgbClr val="FFC000"/>
            </a:solidFill>
          </p:spPr>
          <p:txBody>
            <a:bodyPr wrap="none" rtlCol="0">
              <a:spAutoFit/>
            </a:bodyPr>
            <a:lstStyle/>
            <a:p>
              <a:pPr>
                <a:lnSpc>
                  <a:spcPct val="107000"/>
                </a:lnSpc>
              </a:pPr>
              <a:r>
                <a:rPr lang="de-DE" sz="1000" b="1"/>
                <a:t>Bot Designer</a:t>
              </a:r>
            </a:p>
            <a:p>
              <a:pPr>
                <a:lnSpc>
                  <a:spcPct val="107000"/>
                </a:lnSpc>
              </a:pPr>
              <a:r>
                <a:rPr lang="de-DE" sz="1000"/>
                <a:t>Bot-Fabrik / </a:t>
              </a:r>
              <a:r>
                <a:rPr lang="de-DE" sz="1000" err="1"/>
                <a:t>DialogFlow</a:t>
              </a:r>
              <a:endParaRPr lang="de-DE" sz="1000"/>
            </a:p>
            <a:p>
              <a:pPr algn="l">
                <a:lnSpc>
                  <a:spcPct val="107000"/>
                </a:lnSpc>
              </a:pPr>
              <a:endParaRPr lang="de-AT" sz="923" spc="0" baseline="0">
                <a:ln/>
                <a:solidFill>
                  <a:schemeClr val="bg1"/>
                </a:solidFill>
                <a:latin typeface="Open Sans Light"/>
                <a:ea typeface="Open Sans Light"/>
                <a:cs typeface="Open Sans Light"/>
                <a:sym typeface="Open Sans Light"/>
                <a:rtl val="0"/>
              </a:endParaRPr>
            </a:p>
          </p:txBody>
        </p:sp>
      </p:grpSp>
      <p:cxnSp>
        <p:nvCxnSpPr>
          <p:cNvPr id="208" name="Gerade Verbindung mit Pfeil 207">
            <a:extLst>
              <a:ext uri="{FF2B5EF4-FFF2-40B4-BE49-F238E27FC236}">
                <a16:creationId xmlns:a16="http://schemas.microsoft.com/office/drawing/2014/main" id="{53356694-38D9-57A4-27EF-CD874CF78FC2}"/>
              </a:ext>
            </a:extLst>
          </p:cNvPr>
          <p:cNvCxnSpPr>
            <a:cxnSpLocks/>
          </p:cNvCxnSpPr>
          <p:nvPr/>
        </p:nvCxnSpPr>
        <p:spPr>
          <a:xfrm>
            <a:off x="5414148" y="1959405"/>
            <a:ext cx="0" cy="538816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1" name="Gerade Verbindung mit Pfeil 210">
            <a:extLst>
              <a:ext uri="{FF2B5EF4-FFF2-40B4-BE49-F238E27FC236}">
                <a16:creationId xmlns:a16="http://schemas.microsoft.com/office/drawing/2014/main" id="{23FBFAF6-7A75-E20E-621A-5FABB56F4D51}"/>
              </a:ext>
            </a:extLst>
          </p:cNvPr>
          <p:cNvCxnSpPr>
            <a:cxnSpLocks/>
          </p:cNvCxnSpPr>
          <p:nvPr/>
        </p:nvCxnSpPr>
        <p:spPr>
          <a:xfrm>
            <a:off x="7217664" y="1903260"/>
            <a:ext cx="0" cy="360233"/>
          </a:xfrm>
          <a:prstGeom prst="straightConnector1">
            <a:avLst/>
          </a:prstGeom>
          <a:ln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Gerade Verbindung mit Pfeil 221">
            <a:extLst>
              <a:ext uri="{FF2B5EF4-FFF2-40B4-BE49-F238E27FC236}">
                <a16:creationId xmlns:a16="http://schemas.microsoft.com/office/drawing/2014/main" id="{C75A1AC0-AECD-33E6-98B1-C61BA8EE2E7D}"/>
              </a:ext>
            </a:extLst>
          </p:cNvPr>
          <p:cNvCxnSpPr>
            <a:cxnSpLocks/>
          </p:cNvCxnSpPr>
          <p:nvPr/>
        </p:nvCxnSpPr>
        <p:spPr>
          <a:xfrm>
            <a:off x="9636772" y="1902313"/>
            <a:ext cx="0" cy="370056"/>
          </a:xfrm>
          <a:prstGeom prst="straightConnector1">
            <a:avLst/>
          </a:prstGeom>
          <a:ln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7" name="Gerade Verbindung mit Pfeil 246">
            <a:extLst>
              <a:ext uri="{FF2B5EF4-FFF2-40B4-BE49-F238E27FC236}">
                <a16:creationId xmlns:a16="http://schemas.microsoft.com/office/drawing/2014/main" id="{3645D171-36D5-114F-FE7E-A76EE430A291}"/>
              </a:ext>
            </a:extLst>
          </p:cNvPr>
          <p:cNvCxnSpPr>
            <a:cxnSpLocks/>
          </p:cNvCxnSpPr>
          <p:nvPr/>
        </p:nvCxnSpPr>
        <p:spPr>
          <a:xfrm>
            <a:off x="4073798" y="3287681"/>
            <a:ext cx="0" cy="796062"/>
          </a:xfrm>
          <a:prstGeom prst="straightConnector1">
            <a:avLst/>
          </a:prstGeom>
          <a:ln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9" name="Gruppieren 298">
            <a:extLst>
              <a:ext uri="{FF2B5EF4-FFF2-40B4-BE49-F238E27FC236}">
                <a16:creationId xmlns:a16="http://schemas.microsoft.com/office/drawing/2014/main" id="{9CAD595C-9974-8258-54C3-AF46C63F6A29}"/>
              </a:ext>
            </a:extLst>
          </p:cNvPr>
          <p:cNvGrpSpPr/>
          <p:nvPr/>
        </p:nvGrpSpPr>
        <p:grpSpPr>
          <a:xfrm>
            <a:off x="10729800" y="4191001"/>
            <a:ext cx="1037293" cy="208134"/>
            <a:chOff x="10688405" y="5098840"/>
            <a:chExt cx="1037293" cy="208134"/>
          </a:xfrm>
        </p:grpSpPr>
        <p:sp>
          <p:nvSpPr>
            <p:cNvPr id="151" name="Textfeld 150">
              <a:extLst>
                <a:ext uri="{FF2B5EF4-FFF2-40B4-BE49-F238E27FC236}">
                  <a16:creationId xmlns:a16="http://schemas.microsoft.com/office/drawing/2014/main" id="{4EF00366-5375-27FC-BD05-89650B811EC5}"/>
                </a:ext>
              </a:extLst>
            </p:cNvPr>
            <p:cNvSpPr txBox="1"/>
            <p:nvPr/>
          </p:nvSpPr>
          <p:spPr>
            <a:xfrm>
              <a:off x="11077764" y="5098840"/>
              <a:ext cx="647934" cy="20813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>
                <a:lnSpc>
                  <a:spcPct val="107000"/>
                </a:lnSpc>
              </a:pPr>
              <a:r>
                <a:rPr lang="de-AT" sz="739" spc="0" baseline="0">
                  <a:ln/>
                  <a:solidFill>
                    <a:srgbClr val="57565A"/>
                  </a:solidFill>
                  <a:latin typeface="Open Sans Light"/>
                  <a:ea typeface="Open Sans Light"/>
                  <a:cs typeface="Open Sans Light"/>
                  <a:sym typeface="Open Sans Light"/>
                  <a:rtl val="0"/>
                </a:rPr>
                <a:t>Dialog </a:t>
              </a:r>
              <a:r>
                <a:rPr lang="de-AT" sz="739" spc="0" baseline="0" err="1">
                  <a:ln/>
                  <a:solidFill>
                    <a:srgbClr val="57565A"/>
                  </a:solidFill>
                  <a:latin typeface="Open Sans Light"/>
                  <a:ea typeface="Open Sans Light"/>
                  <a:cs typeface="Open Sans Light"/>
                  <a:sym typeface="Open Sans Light"/>
                  <a:rtl val="0"/>
                </a:rPr>
                <a:t>flow</a:t>
              </a:r>
              <a:endParaRPr lang="de-AT" sz="739" spc="0" baseline="0">
                <a:ln/>
                <a:solidFill>
                  <a:srgbClr val="57565A"/>
                </a:solidFill>
                <a:latin typeface="Open Sans Light"/>
                <a:ea typeface="Open Sans Light"/>
                <a:cs typeface="Open Sans Light"/>
                <a:sym typeface="Open Sans Light"/>
                <a:rtl val="0"/>
              </a:endParaRPr>
            </a:p>
          </p:txBody>
        </p:sp>
        <p:cxnSp>
          <p:nvCxnSpPr>
            <p:cNvPr id="358" name="Gerade Verbindung mit Pfeil 357">
              <a:extLst>
                <a:ext uri="{FF2B5EF4-FFF2-40B4-BE49-F238E27FC236}">
                  <a16:creationId xmlns:a16="http://schemas.microsoft.com/office/drawing/2014/main" id="{7037C07D-4AD0-D9EF-DA68-32E667BED0AB}"/>
                </a:ext>
              </a:extLst>
            </p:cNvPr>
            <p:cNvCxnSpPr>
              <a:cxnSpLocks/>
            </p:cNvCxnSpPr>
            <p:nvPr/>
          </p:nvCxnSpPr>
          <p:spPr>
            <a:xfrm>
              <a:off x="10688405" y="5187976"/>
              <a:ext cx="328884" cy="6850"/>
            </a:xfrm>
            <a:prstGeom prst="straightConnector1">
              <a:avLst/>
            </a:prstGeom>
            <a:ln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0" name="Gruppieren 299">
            <a:extLst>
              <a:ext uri="{FF2B5EF4-FFF2-40B4-BE49-F238E27FC236}">
                <a16:creationId xmlns:a16="http://schemas.microsoft.com/office/drawing/2014/main" id="{ABC6C508-D9E8-F369-1287-A52AF74FF30A}"/>
              </a:ext>
            </a:extLst>
          </p:cNvPr>
          <p:cNvGrpSpPr/>
          <p:nvPr/>
        </p:nvGrpSpPr>
        <p:grpSpPr>
          <a:xfrm>
            <a:off x="10750005" y="4379022"/>
            <a:ext cx="858899" cy="208134"/>
            <a:chOff x="10708610" y="5286861"/>
            <a:chExt cx="858899" cy="208134"/>
          </a:xfrm>
        </p:grpSpPr>
        <p:sp>
          <p:nvSpPr>
            <p:cNvPr id="153" name="Textfeld 152">
              <a:extLst>
                <a:ext uri="{FF2B5EF4-FFF2-40B4-BE49-F238E27FC236}">
                  <a16:creationId xmlns:a16="http://schemas.microsoft.com/office/drawing/2014/main" id="{5061AD7E-13F6-7AE7-EE40-B5090DC18207}"/>
                </a:ext>
              </a:extLst>
            </p:cNvPr>
            <p:cNvSpPr txBox="1"/>
            <p:nvPr/>
          </p:nvSpPr>
          <p:spPr>
            <a:xfrm>
              <a:off x="11086287" y="5286861"/>
              <a:ext cx="481222" cy="20813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>
                <a:lnSpc>
                  <a:spcPct val="107000"/>
                </a:lnSpc>
              </a:pPr>
              <a:r>
                <a:rPr lang="de-AT" sz="739" spc="0" baseline="0">
                  <a:ln/>
                  <a:solidFill>
                    <a:srgbClr val="57565A"/>
                  </a:solidFill>
                  <a:latin typeface="Open Sans Light"/>
                  <a:ea typeface="Open Sans Light"/>
                  <a:cs typeface="Open Sans Light"/>
                  <a:sym typeface="Open Sans Light"/>
                  <a:rtl val="0"/>
                </a:rPr>
                <a:t>API </a:t>
              </a:r>
              <a:r>
                <a:rPr lang="de-AT" sz="739" spc="0" baseline="0" err="1">
                  <a:ln/>
                  <a:solidFill>
                    <a:srgbClr val="57565A"/>
                  </a:solidFill>
                  <a:latin typeface="Open Sans Light"/>
                  <a:ea typeface="Open Sans Light"/>
                  <a:cs typeface="Open Sans Light"/>
                  <a:sym typeface="Open Sans Light"/>
                  <a:rtl val="0"/>
                </a:rPr>
                <a:t>call</a:t>
              </a:r>
              <a:endParaRPr lang="de-AT" sz="739" spc="0" baseline="0">
                <a:ln/>
                <a:solidFill>
                  <a:srgbClr val="57565A"/>
                </a:solidFill>
                <a:latin typeface="Open Sans Light"/>
                <a:ea typeface="Open Sans Light"/>
                <a:cs typeface="Open Sans Light"/>
                <a:sym typeface="Open Sans Light"/>
                <a:rtl val="0"/>
              </a:endParaRPr>
            </a:p>
          </p:txBody>
        </p:sp>
        <p:cxnSp>
          <p:nvCxnSpPr>
            <p:cNvPr id="360" name="Gerade Verbindung mit Pfeil 359">
              <a:extLst>
                <a:ext uri="{FF2B5EF4-FFF2-40B4-BE49-F238E27FC236}">
                  <a16:creationId xmlns:a16="http://schemas.microsoft.com/office/drawing/2014/main" id="{DFAADFAF-DB9C-54BE-EE23-C467736F797A}"/>
                </a:ext>
              </a:extLst>
            </p:cNvPr>
            <p:cNvCxnSpPr>
              <a:cxnSpLocks/>
            </p:cNvCxnSpPr>
            <p:nvPr/>
          </p:nvCxnSpPr>
          <p:spPr>
            <a:xfrm>
              <a:off x="10708610" y="5405148"/>
              <a:ext cx="288473" cy="0"/>
            </a:xfrm>
            <a:prstGeom prst="straightConnector1">
              <a:avLst/>
            </a:prstGeom>
            <a:ln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1" name="Gruppieren 300">
            <a:extLst>
              <a:ext uri="{FF2B5EF4-FFF2-40B4-BE49-F238E27FC236}">
                <a16:creationId xmlns:a16="http://schemas.microsoft.com/office/drawing/2014/main" id="{B9E65B74-EC4C-82F3-801A-0195B7065036}"/>
              </a:ext>
            </a:extLst>
          </p:cNvPr>
          <p:cNvGrpSpPr/>
          <p:nvPr/>
        </p:nvGrpSpPr>
        <p:grpSpPr>
          <a:xfrm>
            <a:off x="10753900" y="4657493"/>
            <a:ext cx="870298" cy="208134"/>
            <a:chOff x="10712505" y="5565332"/>
            <a:chExt cx="870298" cy="208134"/>
          </a:xfrm>
        </p:grpSpPr>
        <p:sp>
          <p:nvSpPr>
            <p:cNvPr id="159" name="Textfeld 158">
              <a:extLst>
                <a:ext uri="{FF2B5EF4-FFF2-40B4-BE49-F238E27FC236}">
                  <a16:creationId xmlns:a16="http://schemas.microsoft.com/office/drawing/2014/main" id="{2F445AFA-6347-F70F-FBA1-4D939FE868E9}"/>
                </a:ext>
              </a:extLst>
            </p:cNvPr>
            <p:cNvSpPr txBox="1"/>
            <p:nvPr/>
          </p:nvSpPr>
          <p:spPr>
            <a:xfrm>
              <a:off x="11087154" y="5565332"/>
              <a:ext cx="495649" cy="20813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>
                <a:lnSpc>
                  <a:spcPct val="107000"/>
                </a:lnSpc>
              </a:pPr>
              <a:r>
                <a:rPr lang="de-AT" sz="739" spc="0" baseline="0">
                  <a:ln/>
                  <a:solidFill>
                    <a:srgbClr val="57565A"/>
                  </a:solidFill>
                  <a:latin typeface="Open Sans Light"/>
                  <a:ea typeface="Open Sans Light"/>
                  <a:cs typeface="Open Sans Light"/>
                  <a:sym typeface="Open Sans Light"/>
                  <a:rtl val="0"/>
                </a:rPr>
                <a:t>Models</a:t>
              </a:r>
            </a:p>
          </p:txBody>
        </p:sp>
        <p:cxnSp>
          <p:nvCxnSpPr>
            <p:cNvPr id="362" name="Gerade Verbindung mit Pfeil 361">
              <a:extLst>
                <a:ext uri="{FF2B5EF4-FFF2-40B4-BE49-F238E27FC236}">
                  <a16:creationId xmlns:a16="http://schemas.microsoft.com/office/drawing/2014/main" id="{7BD9342C-F238-8736-2AC0-AED90C145A8F}"/>
                </a:ext>
              </a:extLst>
            </p:cNvPr>
            <p:cNvCxnSpPr>
              <a:cxnSpLocks/>
            </p:cNvCxnSpPr>
            <p:nvPr/>
          </p:nvCxnSpPr>
          <p:spPr>
            <a:xfrm>
              <a:off x="10712505" y="5642894"/>
              <a:ext cx="284578" cy="0"/>
            </a:xfrm>
            <a:prstGeom prst="straightConnector1">
              <a:avLst/>
            </a:prstGeom>
            <a:ln>
              <a:solidFill>
                <a:srgbClr val="FFC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6" name="Textfeld 375">
            <a:extLst>
              <a:ext uri="{FF2B5EF4-FFF2-40B4-BE49-F238E27FC236}">
                <a16:creationId xmlns:a16="http://schemas.microsoft.com/office/drawing/2014/main" id="{207C24DB-892B-BD7D-4E88-27C16983D528}"/>
              </a:ext>
            </a:extLst>
          </p:cNvPr>
          <p:cNvSpPr txBox="1"/>
          <p:nvPr/>
        </p:nvSpPr>
        <p:spPr>
          <a:xfrm>
            <a:off x="10611134" y="3802121"/>
            <a:ext cx="745204" cy="3390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07000"/>
              </a:lnSpc>
            </a:pPr>
            <a:r>
              <a:rPr lang="de-DE" sz="1600" err="1"/>
              <a:t>Flows</a:t>
            </a:r>
            <a:endParaRPr lang="de-AT" sz="1600" err="1"/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CE66A3A6-BBC7-3347-6C01-4003C50C9D9D}"/>
              </a:ext>
            </a:extLst>
          </p:cNvPr>
          <p:cNvCxnSpPr>
            <a:cxnSpLocks/>
          </p:cNvCxnSpPr>
          <p:nvPr/>
        </p:nvCxnSpPr>
        <p:spPr>
          <a:xfrm>
            <a:off x="5752501" y="3287681"/>
            <a:ext cx="0" cy="303261"/>
          </a:xfrm>
          <a:prstGeom prst="straightConnector1">
            <a:avLst/>
          </a:prstGeom>
          <a:ln>
            <a:solidFill>
              <a:schemeClr val="accent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3" name="Verbinder: gewinkelt 292">
            <a:extLst>
              <a:ext uri="{FF2B5EF4-FFF2-40B4-BE49-F238E27FC236}">
                <a16:creationId xmlns:a16="http://schemas.microsoft.com/office/drawing/2014/main" id="{1D24E320-0F79-8292-272B-B12E06ABA9D0}"/>
              </a:ext>
            </a:extLst>
          </p:cNvPr>
          <p:cNvCxnSpPr>
            <a:cxnSpLocks/>
          </p:cNvCxnSpPr>
          <p:nvPr/>
        </p:nvCxnSpPr>
        <p:spPr>
          <a:xfrm>
            <a:off x="1854244" y="3412636"/>
            <a:ext cx="4812578" cy="2077"/>
          </a:xfrm>
          <a:prstGeom prst="bentConnector3">
            <a:avLst>
              <a:gd name="adj1" fmla="val 50000"/>
            </a:avLst>
          </a:prstGeom>
          <a:ln>
            <a:solidFill>
              <a:srgbClr val="FFC000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5" name="Gerade Verbindung mit Pfeil 344">
            <a:extLst>
              <a:ext uri="{FF2B5EF4-FFF2-40B4-BE49-F238E27FC236}">
                <a16:creationId xmlns:a16="http://schemas.microsoft.com/office/drawing/2014/main" id="{ED30DEEC-8DCC-DD0F-2767-43CB7305C14B}"/>
              </a:ext>
            </a:extLst>
          </p:cNvPr>
          <p:cNvCxnSpPr/>
          <p:nvPr/>
        </p:nvCxnSpPr>
        <p:spPr>
          <a:xfrm flipV="1">
            <a:off x="1854244" y="3189318"/>
            <a:ext cx="0" cy="228220"/>
          </a:xfrm>
          <a:prstGeom prst="straightConnector1">
            <a:avLst/>
          </a:prstGeom>
          <a:ln>
            <a:solidFill>
              <a:srgbClr val="FFC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50" name="Gruppieren 349">
            <a:extLst>
              <a:ext uri="{FF2B5EF4-FFF2-40B4-BE49-F238E27FC236}">
                <a16:creationId xmlns:a16="http://schemas.microsoft.com/office/drawing/2014/main" id="{32F98A31-FC5D-730D-2BB1-AA566B6671E9}"/>
              </a:ext>
            </a:extLst>
          </p:cNvPr>
          <p:cNvGrpSpPr/>
          <p:nvPr/>
        </p:nvGrpSpPr>
        <p:grpSpPr>
          <a:xfrm>
            <a:off x="3120763" y="2502808"/>
            <a:ext cx="5007817" cy="775269"/>
            <a:chOff x="2585198" y="2477147"/>
            <a:chExt cx="4636053" cy="775269"/>
          </a:xfrm>
          <a:solidFill>
            <a:schemeClr val="accent6">
              <a:lumMod val="40000"/>
              <a:lumOff val="60000"/>
            </a:schemeClr>
          </a:solidFill>
        </p:grpSpPr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40BD78B8-95E9-4AC0-4C09-BB6040DA9A13}"/>
                </a:ext>
              </a:extLst>
            </p:cNvPr>
            <p:cNvSpPr/>
            <p:nvPr/>
          </p:nvSpPr>
          <p:spPr>
            <a:xfrm>
              <a:off x="2585198" y="2477147"/>
              <a:ext cx="4636053" cy="775269"/>
            </a:xfrm>
            <a:custGeom>
              <a:avLst/>
              <a:gdLst>
                <a:gd name="connsiteX0" fmla="*/ -78 w 8270630"/>
                <a:gd name="connsiteY0" fmla="*/ -74 h 468601"/>
                <a:gd name="connsiteX1" fmla="*/ 8270553 w 8270630"/>
                <a:gd name="connsiteY1" fmla="*/ -74 h 468601"/>
                <a:gd name="connsiteX2" fmla="*/ 8270553 w 8270630"/>
                <a:gd name="connsiteY2" fmla="*/ 468528 h 468601"/>
                <a:gd name="connsiteX3" fmla="*/ -78 w 8270630"/>
                <a:gd name="connsiteY3" fmla="*/ 468528 h 468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70630" h="468601">
                  <a:moveTo>
                    <a:pt x="-78" y="-74"/>
                  </a:moveTo>
                  <a:lnTo>
                    <a:pt x="8270553" y="-74"/>
                  </a:lnTo>
                  <a:lnTo>
                    <a:pt x="8270553" y="468528"/>
                  </a:lnTo>
                  <a:lnTo>
                    <a:pt x="-78" y="468528"/>
                  </a:lnTo>
                  <a:close/>
                </a:path>
              </a:pathLst>
            </a:custGeom>
            <a:grpFill/>
            <a:ln w="11723" cap="flat">
              <a:solidFill>
                <a:srgbClr val="00497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AT"/>
            </a:p>
          </p:txBody>
        </p:sp>
        <p:sp>
          <p:nvSpPr>
            <p:cNvPr id="27" name="Textfeld 26">
              <a:extLst>
                <a:ext uri="{FF2B5EF4-FFF2-40B4-BE49-F238E27FC236}">
                  <a16:creationId xmlns:a16="http://schemas.microsoft.com/office/drawing/2014/main" id="{E9465B17-25A9-0081-6768-4FB8827C4083}"/>
                </a:ext>
              </a:extLst>
            </p:cNvPr>
            <p:cNvSpPr txBox="1"/>
            <p:nvPr/>
          </p:nvSpPr>
          <p:spPr>
            <a:xfrm>
              <a:off x="4113926" y="2698562"/>
              <a:ext cx="2797031" cy="445763"/>
            </a:xfrm>
            <a:prstGeom prst="rect">
              <a:avLst/>
            </a:prstGeom>
            <a:grpFill/>
          </p:spPr>
          <p:txBody>
            <a:bodyPr wrap="square" lIns="91440" tIns="45720" rIns="91440" bIns="45720" rtlCol="0" anchor="t">
              <a:spAutoFit/>
            </a:bodyPr>
            <a:lstStyle/>
            <a:p>
              <a:pPr>
                <a:lnSpc>
                  <a:spcPct val="107000"/>
                </a:lnSpc>
              </a:pPr>
              <a:r>
                <a:rPr lang="de-AT" sz="1100" b="1">
                  <a:ln/>
                  <a:solidFill>
                    <a:schemeClr val="bg1"/>
                  </a:solidFill>
                  <a:latin typeface="Open Sans Light"/>
                  <a:ea typeface="Open Sans Light"/>
                  <a:cs typeface="Open Sans Light"/>
                  <a:sym typeface="Open Sans Light"/>
                </a:rPr>
                <a:t>Bot</a:t>
              </a:r>
              <a:r>
                <a:rPr lang="de-AT" sz="1100" b="1" spc="0" baseline="0">
                  <a:ln/>
                  <a:solidFill>
                    <a:schemeClr val="bg1"/>
                  </a:solidFill>
                  <a:latin typeface="Open Sans Light"/>
                  <a:ea typeface="Open Sans Light"/>
                  <a:cs typeface="Open Sans Light"/>
                  <a:sym typeface="Open Sans Light"/>
                </a:rPr>
                <a:t> </a:t>
              </a:r>
              <a:r>
                <a:rPr lang="de-AT" sz="1100" b="1">
                  <a:ln/>
                  <a:solidFill>
                    <a:schemeClr val="bg1"/>
                  </a:solidFill>
                  <a:latin typeface="Open Sans Light"/>
                  <a:ea typeface="Open Sans Light"/>
                  <a:cs typeface="Open Sans Light"/>
                  <a:sym typeface="Open Sans Light"/>
                </a:rPr>
                <a:t>Orchestration</a:t>
              </a:r>
              <a:r>
                <a:rPr lang="de-AT" sz="1100" b="1" spc="0" baseline="0">
                  <a:ln/>
                  <a:solidFill>
                    <a:schemeClr val="bg1"/>
                  </a:solidFill>
                  <a:latin typeface="Open Sans Light"/>
                  <a:ea typeface="Open Sans Light"/>
                  <a:cs typeface="Open Sans Light"/>
                  <a:sym typeface="Open Sans Light"/>
                </a:rPr>
                <a:t> </a:t>
              </a:r>
              <a:r>
                <a:rPr lang="de-AT" sz="1100" b="1">
                  <a:ln/>
                  <a:solidFill>
                    <a:schemeClr val="bg1"/>
                  </a:solidFill>
                  <a:latin typeface="Open Sans Light"/>
                  <a:ea typeface="Open Sans Light"/>
                  <a:cs typeface="Open Sans Light"/>
                  <a:sym typeface="Open Sans Light"/>
                </a:rPr>
                <a:t>Layer and Middleware </a:t>
              </a:r>
              <a:r>
                <a:rPr lang="de-AT" sz="1100" b="1" spc="0" baseline="0">
                  <a:ln/>
                  <a:solidFill>
                    <a:schemeClr val="bg1"/>
                  </a:solidFill>
                  <a:latin typeface="Open Sans Light"/>
                  <a:ea typeface="Open Sans Light"/>
                  <a:cs typeface="Open Sans Light"/>
                  <a:sym typeface="Open Sans Light"/>
                </a:rPr>
                <a:t> (</a:t>
              </a:r>
              <a:r>
                <a:rPr lang="de-AT" sz="1100" b="1" spc="0" baseline="0" err="1">
                  <a:ln/>
                  <a:solidFill>
                    <a:schemeClr val="bg1"/>
                  </a:solidFill>
                  <a:latin typeface="Open Sans Light"/>
                  <a:ea typeface="Open Sans Light"/>
                  <a:cs typeface="Open Sans Light"/>
                  <a:sym typeface="Open Sans Light"/>
                </a:rPr>
                <a:t>MiSOL</a:t>
              </a:r>
              <a:r>
                <a:rPr lang="de-AT" sz="1100" b="1" spc="0" baseline="0">
                  <a:ln/>
                  <a:solidFill>
                    <a:schemeClr val="bg1"/>
                  </a:solidFill>
                  <a:latin typeface="Open Sans Light"/>
                  <a:ea typeface="Open Sans Light"/>
                  <a:cs typeface="Open Sans Light"/>
                  <a:sym typeface="Open Sans Light"/>
                </a:rPr>
                <a:t>)</a:t>
              </a:r>
              <a:endParaRPr lang="de-AT" sz="1100" b="1" spc="0" baseline="0">
                <a:ln/>
                <a:solidFill>
                  <a:schemeClr val="bg1"/>
                </a:solidFill>
                <a:latin typeface="Open Sans Light"/>
                <a:ea typeface="Open Sans Light"/>
                <a:cs typeface="Open Sans Light"/>
              </a:endParaRPr>
            </a:p>
          </p:txBody>
        </p:sp>
      </p:grpSp>
      <p:cxnSp>
        <p:nvCxnSpPr>
          <p:cNvPr id="138" name="Gerader Verbinder 137">
            <a:extLst>
              <a:ext uri="{FF2B5EF4-FFF2-40B4-BE49-F238E27FC236}">
                <a16:creationId xmlns:a16="http://schemas.microsoft.com/office/drawing/2014/main" id="{082F5704-4C93-29E3-4850-6FDFB766F1C2}"/>
              </a:ext>
            </a:extLst>
          </p:cNvPr>
          <p:cNvCxnSpPr>
            <a:cxnSpLocks/>
          </p:cNvCxnSpPr>
          <p:nvPr/>
        </p:nvCxnSpPr>
        <p:spPr>
          <a:xfrm>
            <a:off x="5590593" y="2263493"/>
            <a:ext cx="4046179" cy="861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2" name="Gerade Verbindung mit Pfeil 351">
            <a:extLst>
              <a:ext uri="{FF2B5EF4-FFF2-40B4-BE49-F238E27FC236}">
                <a16:creationId xmlns:a16="http://schemas.microsoft.com/office/drawing/2014/main" id="{BA06A220-C713-1095-6A00-E08120F22056}"/>
              </a:ext>
            </a:extLst>
          </p:cNvPr>
          <p:cNvCxnSpPr>
            <a:cxnSpLocks/>
          </p:cNvCxnSpPr>
          <p:nvPr/>
        </p:nvCxnSpPr>
        <p:spPr>
          <a:xfrm>
            <a:off x="5590593" y="2263493"/>
            <a:ext cx="0" cy="23931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11E58136-8E2B-F8BA-4BD4-1F4CDFBE56AD}"/>
              </a:ext>
            </a:extLst>
          </p:cNvPr>
          <p:cNvGrpSpPr/>
          <p:nvPr/>
        </p:nvGrpSpPr>
        <p:grpSpPr>
          <a:xfrm>
            <a:off x="3106415" y="4049192"/>
            <a:ext cx="1814400" cy="849600"/>
            <a:chOff x="2412553" y="4042216"/>
            <a:chExt cx="1814400" cy="849600"/>
          </a:xfrm>
        </p:grpSpPr>
        <p:grpSp>
          <p:nvGrpSpPr>
            <p:cNvPr id="262" name="Gruppieren 261">
              <a:extLst>
                <a:ext uri="{FF2B5EF4-FFF2-40B4-BE49-F238E27FC236}">
                  <a16:creationId xmlns:a16="http://schemas.microsoft.com/office/drawing/2014/main" id="{36FF9179-0B7D-F416-755A-BBA1BE250E6A}"/>
                </a:ext>
              </a:extLst>
            </p:cNvPr>
            <p:cNvGrpSpPr/>
            <p:nvPr/>
          </p:nvGrpSpPr>
          <p:grpSpPr>
            <a:xfrm>
              <a:off x="2412553" y="4042216"/>
              <a:ext cx="1814400" cy="849600"/>
              <a:chOff x="2571714" y="4099386"/>
              <a:chExt cx="1814400" cy="849600"/>
            </a:xfrm>
          </p:grpSpPr>
          <p:grpSp>
            <p:nvGrpSpPr>
              <p:cNvPr id="197" name="Gruppieren 196">
                <a:extLst>
                  <a:ext uri="{FF2B5EF4-FFF2-40B4-BE49-F238E27FC236}">
                    <a16:creationId xmlns:a16="http://schemas.microsoft.com/office/drawing/2014/main" id="{B5C68E54-BEAC-1CD2-61A0-8A2E9BBB0A6A}"/>
                  </a:ext>
                </a:extLst>
              </p:cNvPr>
              <p:cNvGrpSpPr/>
              <p:nvPr/>
            </p:nvGrpSpPr>
            <p:grpSpPr>
              <a:xfrm>
                <a:off x="2571714" y="4099386"/>
                <a:ext cx="1814400" cy="849600"/>
                <a:chOff x="1076978" y="2522260"/>
                <a:chExt cx="1389556" cy="491237"/>
              </a:xfrm>
            </p:grpSpPr>
            <p:sp>
              <p:nvSpPr>
                <p:cNvPr id="198" name="Freihandform: Form 197">
                  <a:extLst>
                    <a:ext uri="{FF2B5EF4-FFF2-40B4-BE49-F238E27FC236}">
                      <a16:creationId xmlns:a16="http://schemas.microsoft.com/office/drawing/2014/main" id="{A2CC2FB5-B338-3397-7F4C-2009E0E81565}"/>
                    </a:ext>
                  </a:extLst>
                </p:cNvPr>
                <p:cNvSpPr/>
                <p:nvPr/>
              </p:nvSpPr>
              <p:spPr>
                <a:xfrm>
                  <a:off x="1130104" y="2544551"/>
                  <a:ext cx="1336430" cy="468946"/>
                </a:xfrm>
                <a:custGeom>
                  <a:avLst/>
                  <a:gdLst>
                    <a:gd name="connsiteX0" fmla="*/ -78 w 1336430"/>
                    <a:gd name="connsiteY0" fmla="*/ -74 h 2325437"/>
                    <a:gd name="connsiteX1" fmla="*/ 1336353 w 1336430"/>
                    <a:gd name="connsiteY1" fmla="*/ -74 h 2325437"/>
                    <a:gd name="connsiteX2" fmla="*/ 1336353 w 1336430"/>
                    <a:gd name="connsiteY2" fmla="*/ 2325363 h 2325437"/>
                    <a:gd name="connsiteX3" fmla="*/ -78 w 1336430"/>
                    <a:gd name="connsiteY3" fmla="*/ 2325363 h 23254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36430" h="2325437">
                      <a:moveTo>
                        <a:pt x="-78" y="-74"/>
                      </a:moveTo>
                      <a:lnTo>
                        <a:pt x="1336353" y="-74"/>
                      </a:lnTo>
                      <a:lnTo>
                        <a:pt x="1336353" y="2325363"/>
                      </a:lnTo>
                      <a:lnTo>
                        <a:pt x="-78" y="2325363"/>
                      </a:lnTo>
                      <a:close/>
                    </a:path>
                  </a:pathLst>
                </a:custGeom>
                <a:solidFill>
                  <a:schemeClr val="accent6">
                    <a:lumMod val="40000"/>
                    <a:lumOff val="60000"/>
                  </a:schemeClr>
                </a:solidFill>
                <a:ln w="11723" cap="flat">
                  <a:solidFill>
                    <a:srgbClr val="00497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AT"/>
                </a:p>
              </p:txBody>
            </p:sp>
            <p:sp>
              <p:nvSpPr>
                <p:cNvPr id="199" name="Textfeld 198">
                  <a:extLst>
                    <a:ext uri="{FF2B5EF4-FFF2-40B4-BE49-F238E27FC236}">
                      <a16:creationId xmlns:a16="http://schemas.microsoft.com/office/drawing/2014/main" id="{EB28776A-ABB7-D0CA-CE01-1B62DA6F866C}"/>
                    </a:ext>
                  </a:extLst>
                </p:cNvPr>
                <p:cNvSpPr txBox="1"/>
                <p:nvPr/>
              </p:nvSpPr>
              <p:spPr>
                <a:xfrm>
                  <a:off x="1076978" y="2522260"/>
                  <a:ext cx="928459" cy="40158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>
                    <a:lnSpc>
                      <a:spcPct val="107000"/>
                    </a:lnSpc>
                  </a:pPr>
                  <a:r>
                    <a:rPr lang="de-DE" sz="1000" err="1">
                      <a:solidFill>
                        <a:schemeClr val="bg1"/>
                      </a:solidFill>
                    </a:rPr>
                    <a:t>Local</a:t>
                  </a:r>
                  <a:r>
                    <a:rPr lang="de-DE" sz="1000">
                      <a:solidFill>
                        <a:schemeClr val="bg1"/>
                      </a:solidFill>
                    </a:rPr>
                    <a:t> BOT 1</a:t>
                  </a:r>
                </a:p>
                <a:p>
                  <a:pPr algn="l">
                    <a:lnSpc>
                      <a:spcPct val="107000"/>
                    </a:lnSpc>
                  </a:pPr>
                  <a:endParaRPr lang="de-AT" sz="923" spc="0" baseline="0">
                    <a:ln/>
                    <a:solidFill>
                      <a:schemeClr val="bg1"/>
                    </a:solidFill>
                    <a:latin typeface="Open Sans Light"/>
                    <a:ea typeface="Open Sans Light"/>
                    <a:cs typeface="Open Sans Light"/>
                    <a:sym typeface="Open Sans Light"/>
                    <a:rtl val="0"/>
                  </a:endParaRPr>
                </a:p>
              </p:txBody>
            </p:sp>
          </p:grpSp>
          <p:sp>
            <p:nvSpPr>
              <p:cNvPr id="261" name="Ellipse 260">
                <a:extLst>
                  <a:ext uri="{FF2B5EF4-FFF2-40B4-BE49-F238E27FC236}">
                    <a16:creationId xmlns:a16="http://schemas.microsoft.com/office/drawing/2014/main" id="{33BFF8C6-9661-4369-D5AC-68E6F2FCF06A}"/>
                  </a:ext>
                </a:extLst>
              </p:cNvPr>
              <p:cNvSpPr/>
              <p:nvPr/>
            </p:nvSpPr>
            <p:spPr>
              <a:xfrm>
                <a:off x="3659308" y="4197687"/>
                <a:ext cx="684000" cy="684000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7000"/>
                  </a:lnSpc>
                </a:pPr>
                <a:r>
                  <a:rPr lang="de-DE" sz="700">
                    <a:solidFill>
                      <a:schemeClr val="tx1"/>
                    </a:solidFill>
                  </a:rPr>
                  <a:t>Agent Model</a:t>
                </a:r>
                <a:endParaRPr lang="de-AT" sz="700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9" name="Graphic 4" descr="Robot outline">
              <a:extLst>
                <a:ext uri="{FF2B5EF4-FFF2-40B4-BE49-F238E27FC236}">
                  <a16:creationId xmlns:a16="http://schemas.microsoft.com/office/drawing/2014/main" id="{63C81A7E-495E-E5D9-8843-5FCD39BE38C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flipH="1">
              <a:off x="2511008" y="4258547"/>
              <a:ext cx="387818" cy="387818"/>
            </a:xfrm>
            <a:prstGeom prst="rect">
              <a:avLst/>
            </a:prstGeom>
          </p:spPr>
        </p:pic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61DA11CB-38B5-7CE2-8788-002A211FD1E9}"/>
              </a:ext>
            </a:extLst>
          </p:cNvPr>
          <p:cNvGrpSpPr/>
          <p:nvPr/>
        </p:nvGrpSpPr>
        <p:grpSpPr>
          <a:xfrm>
            <a:off x="5193713" y="3563268"/>
            <a:ext cx="1848423" cy="863293"/>
            <a:chOff x="4499851" y="3556292"/>
            <a:chExt cx="1848423" cy="863293"/>
          </a:xfrm>
        </p:grpSpPr>
        <p:grpSp>
          <p:nvGrpSpPr>
            <p:cNvPr id="259" name="Gruppieren 258">
              <a:extLst>
                <a:ext uri="{FF2B5EF4-FFF2-40B4-BE49-F238E27FC236}">
                  <a16:creationId xmlns:a16="http://schemas.microsoft.com/office/drawing/2014/main" id="{34F267D1-0D66-07D9-0C2F-F07D88DF68B4}"/>
                </a:ext>
              </a:extLst>
            </p:cNvPr>
            <p:cNvGrpSpPr/>
            <p:nvPr/>
          </p:nvGrpSpPr>
          <p:grpSpPr>
            <a:xfrm>
              <a:off x="4499851" y="3556292"/>
              <a:ext cx="1848423" cy="863293"/>
              <a:chOff x="4512462" y="3545973"/>
              <a:chExt cx="1848423" cy="863293"/>
            </a:xfrm>
          </p:grpSpPr>
          <p:grpSp>
            <p:nvGrpSpPr>
              <p:cNvPr id="267" name="Gruppieren 266">
                <a:extLst>
                  <a:ext uri="{FF2B5EF4-FFF2-40B4-BE49-F238E27FC236}">
                    <a16:creationId xmlns:a16="http://schemas.microsoft.com/office/drawing/2014/main" id="{DB1D80A4-F713-AAB9-2493-86E48C8702D3}"/>
                  </a:ext>
                </a:extLst>
              </p:cNvPr>
              <p:cNvGrpSpPr/>
              <p:nvPr/>
            </p:nvGrpSpPr>
            <p:grpSpPr>
              <a:xfrm>
                <a:off x="4512462" y="3545973"/>
                <a:ext cx="1848423" cy="863293"/>
                <a:chOff x="1105044" y="2536993"/>
                <a:chExt cx="1361490" cy="476504"/>
              </a:xfrm>
            </p:grpSpPr>
            <p:sp>
              <p:nvSpPr>
                <p:cNvPr id="268" name="Freihandform: Form 267">
                  <a:extLst>
                    <a:ext uri="{FF2B5EF4-FFF2-40B4-BE49-F238E27FC236}">
                      <a16:creationId xmlns:a16="http://schemas.microsoft.com/office/drawing/2014/main" id="{6088038C-4280-6D03-0DF7-4DBEDD6C604E}"/>
                    </a:ext>
                  </a:extLst>
                </p:cNvPr>
                <p:cNvSpPr/>
                <p:nvPr/>
              </p:nvSpPr>
              <p:spPr>
                <a:xfrm>
                  <a:off x="1130104" y="2544551"/>
                  <a:ext cx="1336430" cy="468946"/>
                </a:xfrm>
                <a:custGeom>
                  <a:avLst/>
                  <a:gdLst>
                    <a:gd name="connsiteX0" fmla="*/ -78 w 1336430"/>
                    <a:gd name="connsiteY0" fmla="*/ -74 h 2325437"/>
                    <a:gd name="connsiteX1" fmla="*/ 1336353 w 1336430"/>
                    <a:gd name="connsiteY1" fmla="*/ -74 h 2325437"/>
                    <a:gd name="connsiteX2" fmla="*/ 1336353 w 1336430"/>
                    <a:gd name="connsiteY2" fmla="*/ 2325363 h 2325437"/>
                    <a:gd name="connsiteX3" fmla="*/ -78 w 1336430"/>
                    <a:gd name="connsiteY3" fmla="*/ 2325363 h 23254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36430" h="2325437">
                      <a:moveTo>
                        <a:pt x="-78" y="-74"/>
                      </a:moveTo>
                      <a:lnTo>
                        <a:pt x="1336353" y="-74"/>
                      </a:lnTo>
                      <a:lnTo>
                        <a:pt x="1336353" y="2325363"/>
                      </a:lnTo>
                      <a:lnTo>
                        <a:pt x="-78" y="2325363"/>
                      </a:lnTo>
                      <a:close/>
                    </a:path>
                  </a:pathLst>
                </a:custGeom>
                <a:solidFill>
                  <a:schemeClr val="accent6">
                    <a:lumMod val="40000"/>
                    <a:lumOff val="60000"/>
                  </a:schemeClr>
                </a:solidFill>
                <a:ln w="11723" cap="flat">
                  <a:solidFill>
                    <a:srgbClr val="00497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AT"/>
                </a:p>
              </p:txBody>
            </p:sp>
            <p:sp>
              <p:nvSpPr>
                <p:cNvPr id="269" name="Textfeld 268">
                  <a:extLst>
                    <a:ext uri="{FF2B5EF4-FFF2-40B4-BE49-F238E27FC236}">
                      <a16:creationId xmlns:a16="http://schemas.microsoft.com/office/drawing/2014/main" id="{153607FF-9723-BDA2-4BB9-971D78FA2FF5}"/>
                    </a:ext>
                  </a:extLst>
                </p:cNvPr>
                <p:cNvSpPr txBox="1"/>
                <p:nvPr/>
              </p:nvSpPr>
              <p:spPr>
                <a:xfrm>
                  <a:off x="1105044" y="2536993"/>
                  <a:ext cx="683874" cy="13710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>
                    <a:lnSpc>
                      <a:spcPct val="107000"/>
                    </a:lnSpc>
                  </a:pPr>
                  <a:r>
                    <a:rPr lang="de-DE" sz="1000" err="1">
                      <a:solidFill>
                        <a:schemeClr val="bg1"/>
                      </a:solidFill>
                    </a:rPr>
                    <a:t>Local</a:t>
                  </a:r>
                  <a:r>
                    <a:rPr lang="de-DE" sz="1000">
                      <a:solidFill>
                        <a:schemeClr val="bg1"/>
                      </a:solidFill>
                    </a:rPr>
                    <a:t> BOT 2</a:t>
                  </a:r>
                  <a:endParaRPr lang="de-AT" sz="923" spc="0" baseline="0">
                    <a:ln/>
                    <a:solidFill>
                      <a:schemeClr val="bg1"/>
                    </a:solidFill>
                    <a:latin typeface="Open Sans Light"/>
                    <a:ea typeface="Open Sans Light"/>
                    <a:cs typeface="Open Sans Light"/>
                    <a:sym typeface="Open Sans Light"/>
                    <a:rtl val="0"/>
                  </a:endParaRPr>
                </a:p>
              </p:txBody>
            </p:sp>
          </p:grpSp>
          <p:sp>
            <p:nvSpPr>
              <p:cNvPr id="257" name="Ellipse 256">
                <a:extLst>
                  <a:ext uri="{FF2B5EF4-FFF2-40B4-BE49-F238E27FC236}">
                    <a16:creationId xmlns:a16="http://schemas.microsoft.com/office/drawing/2014/main" id="{CC6ADCAC-D832-5B31-6286-899060A8F913}"/>
                  </a:ext>
                </a:extLst>
              </p:cNvPr>
              <p:cNvSpPr/>
              <p:nvPr/>
            </p:nvSpPr>
            <p:spPr>
              <a:xfrm>
                <a:off x="5643571" y="3650873"/>
                <a:ext cx="684000" cy="684000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7000"/>
                  </a:lnSpc>
                </a:pPr>
                <a:r>
                  <a:rPr lang="de-DE" sz="700">
                    <a:solidFill>
                      <a:schemeClr val="tx1"/>
                    </a:solidFill>
                  </a:rPr>
                  <a:t>Agent Model</a:t>
                </a:r>
                <a:endParaRPr lang="de-AT" sz="700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10" name="Graphic 4" descr="Robot outline">
              <a:extLst>
                <a:ext uri="{FF2B5EF4-FFF2-40B4-BE49-F238E27FC236}">
                  <a16:creationId xmlns:a16="http://schemas.microsoft.com/office/drawing/2014/main" id="{9DF9EE8B-B991-E7BC-E76D-8FD96558CF2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flipH="1">
              <a:off x="4551019" y="3849156"/>
              <a:ext cx="387818" cy="387818"/>
            </a:xfrm>
            <a:prstGeom prst="rect">
              <a:avLst/>
            </a:prstGeom>
          </p:spPr>
        </p:pic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F941B370-B34E-D6F9-8F8F-9C8675C8F3C0}"/>
              </a:ext>
            </a:extLst>
          </p:cNvPr>
          <p:cNvGrpSpPr/>
          <p:nvPr/>
        </p:nvGrpSpPr>
        <p:grpSpPr>
          <a:xfrm>
            <a:off x="7185314" y="4027818"/>
            <a:ext cx="1814764" cy="850755"/>
            <a:chOff x="6491452" y="4020842"/>
            <a:chExt cx="1814764" cy="850755"/>
          </a:xfrm>
        </p:grpSpPr>
        <p:grpSp>
          <p:nvGrpSpPr>
            <p:cNvPr id="260" name="Gruppieren 259">
              <a:extLst>
                <a:ext uri="{FF2B5EF4-FFF2-40B4-BE49-F238E27FC236}">
                  <a16:creationId xmlns:a16="http://schemas.microsoft.com/office/drawing/2014/main" id="{55370964-3123-AD26-EBFC-781E4B2B4FEA}"/>
                </a:ext>
              </a:extLst>
            </p:cNvPr>
            <p:cNvGrpSpPr/>
            <p:nvPr/>
          </p:nvGrpSpPr>
          <p:grpSpPr>
            <a:xfrm>
              <a:off x="6491452" y="4020842"/>
              <a:ext cx="1814764" cy="850755"/>
              <a:chOff x="6401870" y="4020842"/>
              <a:chExt cx="1814764" cy="850755"/>
            </a:xfrm>
          </p:grpSpPr>
          <p:grpSp>
            <p:nvGrpSpPr>
              <p:cNvPr id="200" name="Gruppieren 199">
                <a:extLst>
                  <a:ext uri="{FF2B5EF4-FFF2-40B4-BE49-F238E27FC236}">
                    <a16:creationId xmlns:a16="http://schemas.microsoft.com/office/drawing/2014/main" id="{CC94607D-621C-C71F-650A-89106CAA555A}"/>
                  </a:ext>
                </a:extLst>
              </p:cNvPr>
              <p:cNvGrpSpPr/>
              <p:nvPr/>
            </p:nvGrpSpPr>
            <p:grpSpPr>
              <a:xfrm>
                <a:off x="6401870" y="4020842"/>
                <a:ext cx="1814764" cy="850755"/>
                <a:chOff x="1076978" y="2522260"/>
                <a:chExt cx="1389556" cy="491237"/>
              </a:xfrm>
            </p:grpSpPr>
            <p:sp>
              <p:nvSpPr>
                <p:cNvPr id="201" name="Freihandform: Form 200">
                  <a:extLst>
                    <a:ext uri="{FF2B5EF4-FFF2-40B4-BE49-F238E27FC236}">
                      <a16:creationId xmlns:a16="http://schemas.microsoft.com/office/drawing/2014/main" id="{C3392ACD-DB8E-0617-59E5-1A5D7A8DAC42}"/>
                    </a:ext>
                  </a:extLst>
                </p:cNvPr>
                <p:cNvSpPr/>
                <p:nvPr/>
              </p:nvSpPr>
              <p:spPr>
                <a:xfrm>
                  <a:off x="1130104" y="2544551"/>
                  <a:ext cx="1336430" cy="468946"/>
                </a:xfrm>
                <a:custGeom>
                  <a:avLst/>
                  <a:gdLst>
                    <a:gd name="connsiteX0" fmla="*/ -78 w 1336430"/>
                    <a:gd name="connsiteY0" fmla="*/ -74 h 2325437"/>
                    <a:gd name="connsiteX1" fmla="*/ 1336353 w 1336430"/>
                    <a:gd name="connsiteY1" fmla="*/ -74 h 2325437"/>
                    <a:gd name="connsiteX2" fmla="*/ 1336353 w 1336430"/>
                    <a:gd name="connsiteY2" fmla="*/ 2325363 h 2325437"/>
                    <a:gd name="connsiteX3" fmla="*/ -78 w 1336430"/>
                    <a:gd name="connsiteY3" fmla="*/ 2325363 h 23254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36430" h="2325437">
                      <a:moveTo>
                        <a:pt x="-78" y="-74"/>
                      </a:moveTo>
                      <a:lnTo>
                        <a:pt x="1336353" y="-74"/>
                      </a:lnTo>
                      <a:lnTo>
                        <a:pt x="1336353" y="2325363"/>
                      </a:lnTo>
                      <a:lnTo>
                        <a:pt x="-78" y="2325363"/>
                      </a:lnTo>
                      <a:close/>
                    </a:path>
                  </a:pathLst>
                </a:custGeom>
                <a:solidFill>
                  <a:schemeClr val="accent6">
                    <a:lumMod val="40000"/>
                    <a:lumOff val="60000"/>
                  </a:schemeClr>
                </a:solidFill>
                <a:ln w="11723" cap="flat">
                  <a:solidFill>
                    <a:srgbClr val="00497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AT"/>
                </a:p>
              </p:txBody>
            </p:sp>
            <p:sp>
              <p:nvSpPr>
                <p:cNvPr id="202" name="Textfeld 201">
                  <a:extLst>
                    <a:ext uri="{FF2B5EF4-FFF2-40B4-BE49-F238E27FC236}">
                      <a16:creationId xmlns:a16="http://schemas.microsoft.com/office/drawing/2014/main" id="{A6300148-F2C4-F001-0A49-9B2E034F36B8}"/>
                    </a:ext>
                  </a:extLst>
                </p:cNvPr>
                <p:cNvSpPr txBox="1"/>
                <p:nvPr/>
              </p:nvSpPr>
              <p:spPr>
                <a:xfrm>
                  <a:off x="1076978" y="2522260"/>
                  <a:ext cx="920445" cy="24840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>
                    <a:lnSpc>
                      <a:spcPct val="107000"/>
                    </a:lnSpc>
                  </a:pPr>
                  <a:r>
                    <a:rPr lang="de-DE" sz="1000" err="1">
                      <a:solidFill>
                        <a:schemeClr val="bg1"/>
                      </a:solidFill>
                    </a:rPr>
                    <a:t>Local</a:t>
                  </a:r>
                  <a:r>
                    <a:rPr lang="de-DE" sz="1000">
                      <a:solidFill>
                        <a:schemeClr val="bg1"/>
                      </a:solidFill>
                    </a:rPr>
                    <a:t> BOT n</a:t>
                  </a:r>
                  <a:endParaRPr lang="de-AT" sz="923" spc="0" baseline="0" err="1">
                    <a:ln/>
                    <a:solidFill>
                      <a:schemeClr val="bg1"/>
                    </a:solidFill>
                    <a:latin typeface="Open Sans Light"/>
                    <a:ea typeface="Open Sans Light"/>
                    <a:cs typeface="Open Sans Light"/>
                    <a:sym typeface="Open Sans Light"/>
                    <a:rtl val="0"/>
                  </a:endParaRPr>
                </a:p>
              </p:txBody>
            </p:sp>
          </p:grpSp>
          <p:sp>
            <p:nvSpPr>
              <p:cNvPr id="204" name="Ellipse 203">
                <a:extLst>
                  <a:ext uri="{FF2B5EF4-FFF2-40B4-BE49-F238E27FC236}">
                    <a16:creationId xmlns:a16="http://schemas.microsoft.com/office/drawing/2014/main" id="{CC0A1B91-AC31-7E79-8DF6-41B4DFDD463D}"/>
                  </a:ext>
                </a:extLst>
              </p:cNvPr>
              <p:cNvSpPr/>
              <p:nvPr/>
            </p:nvSpPr>
            <p:spPr>
              <a:xfrm>
                <a:off x="7522977" y="4129484"/>
                <a:ext cx="684000" cy="684000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7000"/>
                  </a:lnSpc>
                </a:pPr>
                <a:r>
                  <a:rPr lang="de-DE" sz="700" err="1">
                    <a:solidFill>
                      <a:schemeClr val="tx1"/>
                    </a:solidFill>
                  </a:rPr>
                  <a:t>Pyhton</a:t>
                </a:r>
                <a:r>
                  <a:rPr lang="de-DE" sz="700">
                    <a:solidFill>
                      <a:schemeClr val="tx1"/>
                    </a:solidFill>
                  </a:rPr>
                  <a:t> </a:t>
                </a:r>
                <a:r>
                  <a:rPr lang="de-DE" sz="700" err="1">
                    <a:solidFill>
                      <a:schemeClr val="tx1"/>
                    </a:solidFill>
                  </a:rPr>
                  <a:t>Script</a:t>
                </a:r>
                <a:endParaRPr lang="de-AT" sz="700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11" name="Graphic 4" descr="Robot outline">
              <a:extLst>
                <a:ext uri="{FF2B5EF4-FFF2-40B4-BE49-F238E27FC236}">
                  <a16:creationId xmlns:a16="http://schemas.microsoft.com/office/drawing/2014/main" id="{771821B8-F21C-A3D1-7FDF-3FBBA362F56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flipH="1">
              <a:off x="6629458" y="4315407"/>
              <a:ext cx="387818" cy="387818"/>
            </a:xfrm>
            <a:prstGeom prst="rect">
              <a:avLst/>
            </a:prstGeom>
          </p:spPr>
        </p:pic>
      </p:grp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423F4469-08C1-48A1-26D3-B773FA2C01CF}"/>
              </a:ext>
            </a:extLst>
          </p:cNvPr>
          <p:cNvGrpSpPr/>
          <p:nvPr/>
        </p:nvGrpSpPr>
        <p:grpSpPr>
          <a:xfrm>
            <a:off x="5960130" y="917345"/>
            <a:ext cx="2217518" cy="1001049"/>
            <a:chOff x="6899371" y="669715"/>
            <a:chExt cx="2217518" cy="1001049"/>
          </a:xfrm>
        </p:grpSpPr>
        <p:grpSp>
          <p:nvGrpSpPr>
            <p:cNvPr id="41" name="Gruppieren 40">
              <a:extLst>
                <a:ext uri="{FF2B5EF4-FFF2-40B4-BE49-F238E27FC236}">
                  <a16:creationId xmlns:a16="http://schemas.microsoft.com/office/drawing/2014/main" id="{5675D285-49F6-A74F-2C9B-1947B127D72D}"/>
                </a:ext>
              </a:extLst>
            </p:cNvPr>
            <p:cNvGrpSpPr/>
            <p:nvPr/>
          </p:nvGrpSpPr>
          <p:grpSpPr>
            <a:xfrm>
              <a:off x="6899371" y="669715"/>
              <a:ext cx="2217518" cy="1001049"/>
              <a:chOff x="5485327" y="1108766"/>
              <a:chExt cx="3773470" cy="1001049"/>
            </a:xfrm>
          </p:grpSpPr>
          <p:sp>
            <p:nvSpPr>
              <p:cNvPr id="230" name="Rectangle 7">
                <a:extLst>
                  <a:ext uri="{FF2B5EF4-FFF2-40B4-BE49-F238E27FC236}">
                    <a16:creationId xmlns:a16="http://schemas.microsoft.com/office/drawing/2014/main" id="{11A96FDA-696A-E1C0-900E-0101072DC0EE}"/>
                  </a:ext>
                </a:extLst>
              </p:cNvPr>
              <p:cNvSpPr/>
              <p:nvPr/>
            </p:nvSpPr>
            <p:spPr>
              <a:xfrm>
                <a:off x="5485327" y="1144694"/>
                <a:ext cx="3773470" cy="96512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7000"/>
                  </a:lnSpc>
                </a:pPr>
                <a:endParaRPr lang="en-GB" sz="1600" err="1"/>
              </a:p>
            </p:txBody>
          </p:sp>
          <p:sp>
            <p:nvSpPr>
              <p:cNvPr id="238" name="TextBox 31">
                <a:extLst>
                  <a:ext uri="{FF2B5EF4-FFF2-40B4-BE49-F238E27FC236}">
                    <a16:creationId xmlns:a16="http://schemas.microsoft.com/office/drawing/2014/main" id="{79294EB7-324B-CB06-4369-C9D03BA6E9FC}"/>
                  </a:ext>
                </a:extLst>
              </p:cNvPr>
              <p:cNvSpPr txBox="1"/>
              <p:nvPr/>
            </p:nvSpPr>
            <p:spPr>
              <a:xfrm>
                <a:off x="6164755" y="1108766"/>
                <a:ext cx="1952758" cy="28123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>
                  <a:lnSpc>
                    <a:spcPct val="107000"/>
                  </a:lnSpc>
                </a:pPr>
                <a:r>
                  <a:rPr lang="en-GB" sz="1200">
                    <a:solidFill>
                      <a:schemeClr val="bg1"/>
                    </a:solidFill>
                  </a:rPr>
                  <a:t>Erste Web Sites</a:t>
                </a:r>
              </a:p>
            </p:txBody>
          </p:sp>
        </p:grpSp>
        <p:sp>
          <p:nvSpPr>
            <p:cNvPr id="20" name="Textfeld 19">
              <a:extLst>
                <a:ext uri="{FF2B5EF4-FFF2-40B4-BE49-F238E27FC236}">
                  <a16:creationId xmlns:a16="http://schemas.microsoft.com/office/drawing/2014/main" id="{F93ED344-1968-E1A3-3A61-F33A78D83076}"/>
                </a:ext>
              </a:extLst>
            </p:cNvPr>
            <p:cNvSpPr txBox="1"/>
            <p:nvPr/>
          </p:nvSpPr>
          <p:spPr>
            <a:xfrm>
              <a:off x="7097530" y="973301"/>
              <a:ext cx="777777" cy="201978"/>
            </a:xfrm>
            <a:prstGeom prst="rect">
              <a:avLst/>
            </a:prstGeom>
            <a:solidFill>
              <a:srgbClr val="92D050"/>
            </a:solidFill>
            <a:ln>
              <a:solidFill>
                <a:schemeClr val="accent1"/>
              </a:solidFill>
            </a:ln>
          </p:spPr>
          <p:txBody>
            <a:bodyPr wrap="none" rtlCol="0">
              <a:spAutoFit/>
            </a:bodyPr>
            <a:lstStyle/>
            <a:p>
              <a:pPr algn="l">
                <a:lnSpc>
                  <a:spcPct val="107000"/>
                </a:lnSpc>
              </a:pPr>
              <a:r>
                <a:rPr lang="de-AT" sz="700">
                  <a:ln/>
                  <a:latin typeface="Open Sans Light"/>
                  <a:ea typeface="Open Sans Light"/>
                  <a:cs typeface="Open Sans Light"/>
                  <a:sym typeface="Open Sans Light"/>
                  <a:rtl val="0"/>
                </a:rPr>
                <a:t>Public Website</a:t>
              </a:r>
              <a:endParaRPr lang="de-AT" sz="700" spc="0" baseline="0">
                <a:ln/>
                <a:latin typeface="Open Sans Light"/>
                <a:ea typeface="Open Sans Light"/>
                <a:cs typeface="Open Sans Light"/>
                <a:sym typeface="Open Sans Light"/>
                <a:rtl val="0"/>
              </a:endParaRPr>
            </a:p>
          </p:txBody>
        </p:sp>
        <p:sp>
          <p:nvSpPr>
            <p:cNvPr id="193" name="Textfeld 192">
              <a:extLst>
                <a:ext uri="{FF2B5EF4-FFF2-40B4-BE49-F238E27FC236}">
                  <a16:creationId xmlns:a16="http://schemas.microsoft.com/office/drawing/2014/main" id="{5C2F7CA3-3FCB-A2BE-3FB5-147699376ECD}"/>
                </a:ext>
              </a:extLst>
            </p:cNvPr>
            <p:cNvSpPr txBox="1"/>
            <p:nvPr/>
          </p:nvSpPr>
          <p:spPr>
            <a:xfrm>
              <a:off x="8156905" y="967157"/>
              <a:ext cx="769048" cy="201978"/>
            </a:xfrm>
            <a:prstGeom prst="rect">
              <a:avLst/>
            </a:prstGeom>
            <a:solidFill>
              <a:srgbClr val="92D050"/>
            </a:solidFill>
            <a:ln>
              <a:solidFill>
                <a:schemeClr val="accent1"/>
              </a:solidFill>
            </a:ln>
          </p:spPr>
          <p:txBody>
            <a:bodyPr wrap="square" rtlCol="0">
              <a:spAutoFit/>
            </a:bodyPr>
            <a:lstStyle/>
            <a:p>
              <a:pPr algn="l">
                <a:lnSpc>
                  <a:spcPct val="107000"/>
                </a:lnSpc>
              </a:pPr>
              <a:r>
                <a:rPr lang="de-DE" sz="700">
                  <a:ln/>
                  <a:latin typeface="Open Sans Light"/>
                  <a:ea typeface="Open Sans Light"/>
                  <a:cs typeface="Open Sans Light"/>
                  <a:sym typeface="Open Sans Light"/>
                  <a:rtl val="0"/>
                </a:rPr>
                <a:t>I</a:t>
              </a:r>
              <a:r>
                <a:rPr lang="de-AT" sz="700" err="1">
                  <a:ln/>
                  <a:latin typeface="Open Sans Light"/>
                  <a:ea typeface="Open Sans Light"/>
                  <a:cs typeface="Open Sans Light"/>
                  <a:sym typeface="Open Sans Light"/>
                  <a:rtl val="0"/>
                </a:rPr>
                <a:t>ntranet</a:t>
              </a:r>
              <a:r>
                <a:rPr lang="de-AT" sz="700">
                  <a:ln/>
                  <a:latin typeface="Open Sans Light"/>
                  <a:ea typeface="Open Sans Light"/>
                  <a:cs typeface="Open Sans Light"/>
                  <a:sym typeface="Open Sans Light"/>
                  <a:rtl val="0"/>
                </a:rPr>
                <a:t> (EON)</a:t>
              </a:r>
              <a:endParaRPr lang="de-AT" sz="700" spc="0" baseline="0">
                <a:ln/>
                <a:latin typeface="Open Sans Light"/>
                <a:ea typeface="Open Sans Light"/>
                <a:cs typeface="Open Sans Light"/>
                <a:sym typeface="Open Sans Light"/>
                <a:rtl val="0"/>
              </a:endParaRPr>
            </a:p>
          </p:txBody>
        </p:sp>
        <p:pic>
          <p:nvPicPr>
            <p:cNvPr id="243" name="Grafik 242">
              <a:extLst>
                <a:ext uri="{FF2B5EF4-FFF2-40B4-BE49-F238E27FC236}">
                  <a16:creationId xmlns:a16="http://schemas.microsoft.com/office/drawing/2014/main" id="{95D58AF2-5C8B-246A-2038-720B88FC292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099354" y="1211581"/>
              <a:ext cx="171919" cy="216000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  <p:pic>
          <p:nvPicPr>
            <p:cNvPr id="253" name="Grafik 252">
              <a:extLst>
                <a:ext uri="{FF2B5EF4-FFF2-40B4-BE49-F238E27FC236}">
                  <a16:creationId xmlns:a16="http://schemas.microsoft.com/office/drawing/2014/main" id="{542D28D7-D0D3-F59D-9387-5BFF4B5314D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156905" y="1238619"/>
              <a:ext cx="216000" cy="216000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</p:grpSp>
      <p:grpSp>
        <p:nvGrpSpPr>
          <p:cNvPr id="324" name="Gruppieren 323">
            <a:extLst>
              <a:ext uri="{FF2B5EF4-FFF2-40B4-BE49-F238E27FC236}">
                <a16:creationId xmlns:a16="http://schemas.microsoft.com/office/drawing/2014/main" id="{37496AB3-889D-F6FE-7AE9-0EAF94D415D1}"/>
              </a:ext>
            </a:extLst>
          </p:cNvPr>
          <p:cNvGrpSpPr/>
          <p:nvPr/>
        </p:nvGrpSpPr>
        <p:grpSpPr>
          <a:xfrm>
            <a:off x="1473889" y="5723913"/>
            <a:ext cx="1035337" cy="288206"/>
            <a:chOff x="1076978" y="2522260"/>
            <a:chExt cx="1389556" cy="491237"/>
          </a:xfrm>
        </p:grpSpPr>
        <p:sp>
          <p:nvSpPr>
            <p:cNvPr id="325" name="Freihandform: Form 324">
              <a:extLst>
                <a:ext uri="{FF2B5EF4-FFF2-40B4-BE49-F238E27FC236}">
                  <a16:creationId xmlns:a16="http://schemas.microsoft.com/office/drawing/2014/main" id="{48D4BD4F-C5CC-07C3-6980-8EA543672B55}"/>
                </a:ext>
              </a:extLst>
            </p:cNvPr>
            <p:cNvSpPr/>
            <p:nvPr/>
          </p:nvSpPr>
          <p:spPr>
            <a:xfrm>
              <a:off x="1130104" y="2544551"/>
              <a:ext cx="1336430" cy="468946"/>
            </a:xfrm>
            <a:custGeom>
              <a:avLst/>
              <a:gdLst>
                <a:gd name="connsiteX0" fmla="*/ -78 w 1336430"/>
                <a:gd name="connsiteY0" fmla="*/ -74 h 2325437"/>
                <a:gd name="connsiteX1" fmla="*/ 1336353 w 1336430"/>
                <a:gd name="connsiteY1" fmla="*/ -74 h 2325437"/>
                <a:gd name="connsiteX2" fmla="*/ 1336353 w 1336430"/>
                <a:gd name="connsiteY2" fmla="*/ 2325363 h 2325437"/>
                <a:gd name="connsiteX3" fmla="*/ -78 w 1336430"/>
                <a:gd name="connsiteY3" fmla="*/ 2325363 h 2325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36430" h="2325437">
                  <a:moveTo>
                    <a:pt x="-78" y="-74"/>
                  </a:moveTo>
                  <a:lnTo>
                    <a:pt x="1336353" y="-74"/>
                  </a:lnTo>
                  <a:lnTo>
                    <a:pt x="1336353" y="2325363"/>
                  </a:lnTo>
                  <a:lnTo>
                    <a:pt x="-78" y="2325363"/>
                  </a:lnTo>
                  <a:close/>
                </a:path>
              </a:pathLst>
            </a:custGeom>
            <a:solidFill>
              <a:srgbClr val="FF0000"/>
            </a:solidFill>
            <a:ln w="11723" cap="flat">
              <a:solidFill>
                <a:srgbClr val="00497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AT"/>
            </a:p>
          </p:txBody>
        </p:sp>
        <p:sp>
          <p:nvSpPr>
            <p:cNvPr id="326" name="Textfeld 325">
              <a:extLst>
                <a:ext uri="{FF2B5EF4-FFF2-40B4-BE49-F238E27FC236}">
                  <a16:creationId xmlns:a16="http://schemas.microsoft.com/office/drawing/2014/main" id="{4B1960B5-4AB4-8DDC-EFC7-356BE11C287E}"/>
                </a:ext>
              </a:extLst>
            </p:cNvPr>
            <p:cNvSpPr txBox="1"/>
            <p:nvPr/>
          </p:nvSpPr>
          <p:spPr>
            <a:xfrm>
              <a:off x="1076978" y="2522260"/>
              <a:ext cx="1185872" cy="42011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07000"/>
                </a:lnSpc>
              </a:pPr>
              <a:r>
                <a:rPr lang="de-DE" sz="1000">
                  <a:solidFill>
                    <a:schemeClr val="bg1"/>
                  </a:solidFill>
                </a:rPr>
                <a:t>Domain API</a:t>
              </a:r>
            </a:p>
          </p:txBody>
        </p:sp>
      </p:grpSp>
      <p:grpSp>
        <p:nvGrpSpPr>
          <p:cNvPr id="333" name="Gruppieren 332">
            <a:extLst>
              <a:ext uri="{FF2B5EF4-FFF2-40B4-BE49-F238E27FC236}">
                <a16:creationId xmlns:a16="http://schemas.microsoft.com/office/drawing/2014/main" id="{B3E0A8BA-D607-40D8-6A93-052D6BE1653D}"/>
              </a:ext>
            </a:extLst>
          </p:cNvPr>
          <p:cNvGrpSpPr/>
          <p:nvPr/>
        </p:nvGrpSpPr>
        <p:grpSpPr>
          <a:xfrm>
            <a:off x="8670066" y="5723913"/>
            <a:ext cx="1241860" cy="305187"/>
            <a:chOff x="1076978" y="2522260"/>
            <a:chExt cx="1843706" cy="491237"/>
          </a:xfrm>
        </p:grpSpPr>
        <p:sp>
          <p:nvSpPr>
            <p:cNvPr id="334" name="Freihandform: Form 333">
              <a:extLst>
                <a:ext uri="{FF2B5EF4-FFF2-40B4-BE49-F238E27FC236}">
                  <a16:creationId xmlns:a16="http://schemas.microsoft.com/office/drawing/2014/main" id="{E1754484-A08F-84EE-FEC6-25AB375F3F50}"/>
                </a:ext>
              </a:extLst>
            </p:cNvPr>
            <p:cNvSpPr/>
            <p:nvPr/>
          </p:nvSpPr>
          <p:spPr>
            <a:xfrm>
              <a:off x="1130104" y="2544551"/>
              <a:ext cx="1790580" cy="468946"/>
            </a:xfrm>
            <a:custGeom>
              <a:avLst/>
              <a:gdLst>
                <a:gd name="connsiteX0" fmla="*/ -78 w 1336430"/>
                <a:gd name="connsiteY0" fmla="*/ -74 h 2325437"/>
                <a:gd name="connsiteX1" fmla="*/ 1336353 w 1336430"/>
                <a:gd name="connsiteY1" fmla="*/ -74 h 2325437"/>
                <a:gd name="connsiteX2" fmla="*/ 1336353 w 1336430"/>
                <a:gd name="connsiteY2" fmla="*/ 2325363 h 2325437"/>
                <a:gd name="connsiteX3" fmla="*/ -78 w 1336430"/>
                <a:gd name="connsiteY3" fmla="*/ 2325363 h 2325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36430" h="2325437">
                  <a:moveTo>
                    <a:pt x="-78" y="-74"/>
                  </a:moveTo>
                  <a:lnTo>
                    <a:pt x="1336353" y="-74"/>
                  </a:lnTo>
                  <a:lnTo>
                    <a:pt x="1336353" y="2325363"/>
                  </a:lnTo>
                  <a:lnTo>
                    <a:pt x="-78" y="2325363"/>
                  </a:lnTo>
                  <a:close/>
                </a:path>
              </a:pathLst>
            </a:custGeom>
            <a:solidFill>
              <a:srgbClr val="FF0000"/>
            </a:solidFill>
            <a:ln w="11723" cap="flat">
              <a:solidFill>
                <a:srgbClr val="00497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AT"/>
            </a:p>
          </p:txBody>
        </p:sp>
        <p:sp>
          <p:nvSpPr>
            <p:cNvPr id="335" name="Textfeld 334">
              <a:extLst>
                <a:ext uri="{FF2B5EF4-FFF2-40B4-BE49-F238E27FC236}">
                  <a16:creationId xmlns:a16="http://schemas.microsoft.com/office/drawing/2014/main" id="{C5AC8F68-2DA7-6F9A-A1CD-EE9F45FE21AB}"/>
                </a:ext>
              </a:extLst>
            </p:cNvPr>
            <p:cNvSpPr txBox="1"/>
            <p:nvPr/>
          </p:nvSpPr>
          <p:spPr>
            <a:xfrm>
              <a:off x="1076978" y="2522260"/>
              <a:ext cx="1644967" cy="39673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07000"/>
                </a:lnSpc>
              </a:pPr>
              <a:r>
                <a:rPr lang="de-DE" sz="1000" spc="0" baseline="0">
                  <a:ln/>
                  <a:solidFill>
                    <a:schemeClr val="bg1"/>
                  </a:solidFill>
                  <a:ea typeface="Open Sans Light"/>
                  <a:cs typeface="Open Sans Light"/>
                  <a:sym typeface="Open Sans Light"/>
                  <a:rtl val="0"/>
                </a:rPr>
                <a:t>External API	</a:t>
              </a:r>
              <a:endParaRPr lang="de-AT" sz="923" spc="0" baseline="0">
                <a:ln/>
                <a:solidFill>
                  <a:schemeClr val="bg1"/>
                </a:solidFill>
                <a:ea typeface="Open Sans Light"/>
                <a:cs typeface="Open Sans Light"/>
                <a:sym typeface="Open Sans Light"/>
                <a:rtl val="0"/>
              </a:endParaRPr>
            </a:p>
          </p:txBody>
        </p:sp>
      </p:grpSp>
      <p:grpSp>
        <p:nvGrpSpPr>
          <p:cNvPr id="330" name="Gruppieren 329">
            <a:extLst>
              <a:ext uri="{FF2B5EF4-FFF2-40B4-BE49-F238E27FC236}">
                <a16:creationId xmlns:a16="http://schemas.microsoft.com/office/drawing/2014/main" id="{0946E24C-85C3-6878-4974-814F1B6296A5}"/>
              </a:ext>
            </a:extLst>
          </p:cNvPr>
          <p:cNvGrpSpPr/>
          <p:nvPr/>
        </p:nvGrpSpPr>
        <p:grpSpPr>
          <a:xfrm>
            <a:off x="4208973" y="5723912"/>
            <a:ext cx="1220615" cy="381002"/>
            <a:chOff x="1105090" y="2541182"/>
            <a:chExt cx="1361444" cy="540773"/>
          </a:xfrm>
        </p:grpSpPr>
        <p:sp>
          <p:nvSpPr>
            <p:cNvPr id="331" name="Freihandform: Form 330">
              <a:extLst>
                <a:ext uri="{FF2B5EF4-FFF2-40B4-BE49-F238E27FC236}">
                  <a16:creationId xmlns:a16="http://schemas.microsoft.com/office/drawing/2014/main" id="{BDC09F0A-6F36-527D-65E8-BF90BAAF1B17}"/>
                </a:ext>
              </a:extLst>
            </p:cNvPr>
            <p:cNvSpPr/>
            <p:nvPr/>
          </p:nvSpPr>
          <p:spPr>
            <a:xfrm>
              <a:off x="1130104" y="2544551"/>
              <a:ext cx="1336430" cy="468946"/>
            </a:xfrm>
            <a:custGeom>
              <a:avLst/>
              <a:gdLst>
                <a:gd name="connsiteX0" fmla="*/ -78 w 1336430"/>
                <a:gd name="connsiteY0" fmla="*/ -74 h 2325437"/>
                <a:gd name="connsiteX1" fmla="*/ 1336353 w 1336430"/>
                <a:gd name="connsiteY1" fmla="*/ -74 h 2325437"/>
                <a:gd name="connsiteX2" fmla="*/ 1336353 w 1336430"/>
                <a:gd name="connsiteY2" fmla="*/ 2325363 h 2325437"/>
                <a:gd name="connsiteX3" fmla="*/ -78 w 1336430"/>
                <a:gd name="connsiteY3" fmla="*/ 2325363 h 2325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36430" h="2325437">
                  <a:moveTo>
                    <a:pt x="-78" y="-74"/>
                  </a:moveTo>
                  <a:lnTo>
                    <a:pt x="1336353" y="-74"/>
                  </a:lnTo>
                  <a:lnTo>
                    <a:pt x="1336353" y="2325363"/>
                  </a:lnTo>
                  <a:lnTo>
                    <a:pt x="-78" y="2325363"/>
                  </a:lnTo>
                  <a:close/>
                </a:path>
              </a:pathLst>
            </a:custGeom>
            <a:solidFill>
              <a:srgbClr val="FF0000"/>
            </a:solidFill>
            <a:ln w="11723" cap="flat">
              <a:solidFill>
                <a:srgbClr val="00497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AT" sz="1600"/>
            </a:p>
          </p:txBody>
        </p:sp>
        <p:sp>
          <p:nvSpPr>
            <p:cNvPr id="332" name="Textfeld 331">
              <a:extLst>
                <a:ext uri="{FF2B5EF4-FFF2-40B4-BE49-F238E27FC236}">
                  <a16:creationId xmlns:a16="http://schemas.microsoft.com/office/drawing/2014/main" id="{56894BF0-5D85-8FAD-6C5C-6B4FD1598BD7}"/>
                </a:ext>
              </a:extLst>
            </p:cNvPr>
            <p:cNvSpPr txBox="1"/>
            <p:nvPr/>
          </p:nvSpPr>
          <p:spPr>
            <a:xfrm>
              <a:off x="1105090" y="2541182"/>
              <a:ext cx="1235832" cy="54077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07000"/>
                </a:lnSpc>
              </a:pPr>
              <a:r>
                <a:rPr lang="de-DE" sz="900">
                  <a:solidFill>
                    <a:schemeClr val="bg1"/>
                  </a:solidFill>
                </a:rPr>
                <a:t>LLM API </a:t>
              </a:r>
            </a:p>
            <a:p>
              <a:pPr>
                <a:lnSpc>
                  <a:spcPct val="107000"/>
                </a:lnSpc>
              </a:pPr>
              <a:r>
                <a:rPr lang="de-DE" sz="900">
                  <a:solidFill>
                    <a:schemeClr val="bg1"/>
                  </a:solidFill>
                </a:rPr>
                <a:t>(GPT, </a:t>
              </a:r>
              <a:r>
                <a:rPr lang="de-DE" sz="900" err="1">
                  <a:solidFill>
                    <a:schemeClr val="bg1"/>
                  </a:solidFill>
                </a:rPr>
                <a:t>PaLM</a:t>
              </a:r>
              <a:r>
                <a:rPr lang="de-DE" sz="900">
                  <a:solidFill>
                    <a:schemeClr val="bg1"/>
                  </a:solidFill>
                </a:rPr>
                <a:t>, ..)	</a:t>
              </a:r>
              <a:endParaRPr lang="de-AT" sz="900" spc="0" baseline="0">
                <a:ln/>
                <a:solidFill>
                  <a:schemeClr val="bg1"/>
                </a:solidFill>
                <a:latin typeface="Open Sans Light"/>
                <a:ea typeface="Open Sans Light"/>
                <a:cs typeface="Open Sans Light"/>
                <a:sym typeface="Open Sans Light"/>
                <a:rtl val="0"/>
              </a:endParaRPr>
            </a:p>
          </p:txBody>
        </p: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1C3C37AB-D14F-7EB3-C4E0-7CB0253C84CA}"/>
              </a:ext>
            </a:extLst>
          </p:cNvPr>
          <p:cNvGrpSpPr/>
          <p:nvPr/>
        </p:nvGrpSpPr>
        <p:grpSpPr>
          <a:xfrm>
            <a:off x="9234709" y="935209"/>
            <a:ext cx="2688571" cy="975981"/>
            <a:chOff x="9216714" y="687534"/>
            <a:chExt cx="2688571" cy="975981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2DAF3017-ABE5-3E4C-D09D-C52748728E72}"/>
                </a:ext>
              </a:extLst>
            </p:cNvPr>
            <p:cNvSpPr/>
            <p:nvPr/>
          </p:nvSpPr>
          <p:spPr>
            <a:xfrm>
              <a:off x="9216714" y="698394"/>
              <a:ext cx="2688571" cy="965121"/>
            </a:xfrm>
            <a:prstGeom prst="rect">
              <a:avLst/>
            </a:prstGeom>
            <a:solidFill>
              <a:srgbClr val="A3B5C9"/>
            </a:solidFill>
            <a:ln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7000"/>
                </a:lnSpc>
              </a:pPr>
              <a:endParaRPr lang="en-GB" sz="1600" err="1"/>
            </a:p>
          </p:txBody>
        </p:sp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A8A1F2B8-E60E-BB77-8AB5-86BDEA51AAE4}"/>
                </a:ext>
              </a:extLst>
            </p:cNvPr>
            <p:cNvSpPr txBox="1"/>
            <p:nvPr/>
          </p:nvSpPr>
          <p:spPr>
            <a:xfrm>
              <a:off x="9348846" y="955680"/>
              <a:ext cx="740909" cy="201978"/>
            </a:xfrm>
            <a:prstGeom prst="rect">
              <a:avLst/>
            </a:prstGeom>
            <a:solidFill>
              <a:srgbClr val="92D050"/>
            </a:solidFill>
            <a:ln>
              <a:solidFill>
                <a:schemeClr val="tx1"/>
              </a:solidFill>
              <a:prstDash val="dash"/>
            </a:ln>
          </p:spPr>
          <p:txBody>
            <a:bodyPr wrap="none" rtlCol="0">
              <a:spAutoFit/>
            </a:bodyPr>
            <a:lstStyle/>
            <a:p>
              <a:pPr algn="l">
                <a:lnSpc>
                  <a:spcPct val="107000"/>
                </a:lnSpc>
              </a:pPr>
              <a:r>
                <a:rPr lang="de-AT" sz="700" spc="0" baseline="0">
                  <a:ln/>
                  <a:latin typeface="Open Sans Light"/>
                  <a:ea typeface="Open Sans Light"/>
                  <a:cs typeface="Open Sans Light"/>
                  <a:sym typeface="Open Sans Light"/>
                  <a:rtl val="0"/>
                </a:rPr>
                <a:t>Google Home</a:t>
              </a:r>
            </a:p>
          </p:txBody>
        </p:sp>
        <p:sp>
          <p:nvSpPr>
            <p:cNvPr id="181" name="Textfeld 180">
              <a:extLst>
                <a:ext uri="{FF2B5EF4-FFF2-40B4-BE49-F238E27FC236}">
                  <a16:creationId xmlns:a16="http://schemas.microsoft.com/office/drawing/2014/main" id="{B291C9DA-6A07-3C87-97A1-A7FF458ED65F}"/>
                </a:ext>
              </a:extLst>
            </p:cNvPr>
            <p:cNvSpPr txBox="1"/>
            <p:nvPr/>
          </p:nvSpPr>
          <p:spPr>
            <a:xfrm>
              <a:off x="10194708" y="955566"/>
              <a:ext cx="752354" cy="201978"/>
            </a:xfrm>
            <a:prstGeom prst="rect">
              <a:avLst/>
            </a:prstGeom>
            <a:solidFill>
              <a:srgbClr val="92D050"/>
            </a:solidFill>
            <a:ln>
              <a:solidFill>
                <a:schemeClr val="tx1"/>
              </a:solidFill>
              <a:prstDash val="dash"/>
            </a:ln>
          </p:spPr>
          <p:txBody>
            <a:bodyPr wrap="square" rtlCol="0">
              <a:spAutoFit/>
            </a:bodyPr>
            <a:lstStyle/>
            <a:p>
              <a:pPr algn="l">
                <a:lnSpc>
                  <a:spcPct val="107000"/>
                </a:lnSpc>
              </a:pPr>
              <a:r>
                <a:rPr lang="de-AT" sz="700" spc="0" baseline="0">
                  <a:ln/>
                  <a:latin typeface="Open Sans Light"/>
                  <a:ea typeface="Open Sans Light"/>
                  <a:cs typeface="Open Sans Light"/>
                  <a:sym typeface="Open Sans Light"/>
                  <a:rtl val="0"/>
                </a:rPr>
                <a:t>Amazon Alexa</a:t>
              </a:r>
            </a:p>
          </p:txBody>
        </p:sp>
        <p:sp>
          <p:nvSpPr>
            <p:cNvPr id="183" name="Textfeld 182">
              <a:extLst>
                <a:ext uri="{FF2B5EF4-FFF2-40B4-BE49-F238E27FC236}">
                  <a16:creationId xmlns:a16="http://schemas.microsoft.com/office/drawing/2014/main" id="{50EBC1A2-739C-68C4-694B-D215C5624FB8}"/>
                </a:ext>
              </a:extLst>
            </p:cNvPr>
            <p:cNvSpPr txBox="1"/>
            <p:nvPr/>
          </p:nvSpPr>
          <p:spPr>
            <a:xfrm>
              <a:off x="11049997" y="942671"/>
              <a:ext cx="752354" cy="217625"/>
            </a:xfrm>
            <a:prstGeom prst="rect">
              <a:avLst/>
            </a:prstGeom>
            <a:solidFill>
              <a:srgbClr val="92D050"/>
            </a:solidFill>
            <a:ln>
              <a:solidFill>
                <a:schemeClr val="tx1"/>
              </a:solidFill>
              <a:prstDash val="dash"/>
            </a:ln>
          </p:spPr>
          <p:txBody>
            <a:bodyPr wrap="square" rtlCol="0">
              <a:spAutoFit/>
            </a:bodyPr>
            <a:lstStyle/>
            <a:p>
              <a:pPr algn="l">
                <a:lnSpc>
                  <a:spcPct val="107000"/>
                </a:lnSpc>
              </a:pPr>
              <a:r>
                <a:rPr lang="de-AT" sz="800" spc="0" baseline="0" err="1">
                  <a:ln/>
                  <a:latin typeface="Open Sans Light"/>
                  <a:ea typeface="Open Sans Light"/>
                  <a:cs typeface="Open Sans Light"/>
                  <a:sym typeface="Open Sans Light"/>
                  <a:rtl val="0"/>
                </a:rPr>
                <a:t>Meta</a:t>
              </a:r>
              <a:r>
                <a:rPr lang="de-AT" sz="800" spc="0" baseline="0">
                  <a:ln/>
                  <a:latin typeface="Open Sans Light"/>
                  <a:ea typeface="Open Sans Light"/>
                  <a:cs typeface="Open Sans Light"/>
                  <a:sym typeface="Open Sans Light"/>
                  <a:rtl val="0"/>
                </a:rPr>
                <a:t> </a:t>
              </a:r>
              <a:r>
                <a:rPr lang="de-AT" sz="800" spc="0" baseline="0" err="1">
                  <a:ln/>
                  <a:latin typeface="Open Sans Light"/>
                  <a:ea typeface="Open Sans Light"/>
                  <a:cs typeface="Open Sans Light"/>
                  <a:sym typeface="Open Sans Light"/>
                  <a:rtl val="0"/>
                </a:rPr>
                <a:t>client</a:t>
              </a:r>
              <a:endParaRPr lang="de-AT" sz="800" spc="0" baseline="0">
                <a:ln/>
                <a:latin typeface="Open Sans Light"/>
                <a:ea typeface="Open Sans Light"/>
                <a:cs typeface="Open Sans Light"/>
                <a:sym typeface="Open Sans Light"/>
                <a:rtl val="0"/>
              </a:endParaRPr>
            </a:p>
          </p:txBody>
        </p:sp>
        <p:pic>
          <p:nvPicPr>
            <p:cNvPr id="245" name="Grafik 244">
              <a:extLst>
                <a:ext uri="{FF2B5EF4-FFF2-40B4-BE49-F238E27FC236}">
                  <a16:creationId xmlns:a16="http://schemas.microsoft.com/office/drawing/2014/main" id="{99A9C6BF-FBC3-3614-418D-7CABEB58005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352948" y="1238039"/>
              <a:ext cx="216000" cy="230400"/>
            </a:xfrm>
            <a:prstGeom prst="rect">
              <a:avLst/>
            </a:prstGeom>
            <a:ln>
              <a:solidFill>
                <a:schemeClr val="tx1"/>
              </a:solidFill>
              <a:prstDash val="dash"/>
            </a:ln>
          </p:spPr>
        </p:pic>
        <p:pic>
          <p:nvPicPr>
            <p:cNvPr id="248" name="Grafik 247">
              <a:extLst>
                <a:ext uri="{FF2B5EF4-FFF2-40B4-BE49-F238E27FC236}">
                  <a16:creationId xmlns:a16="http://schemas.microsoft.com/office/drawing/2014/main" id="{FC9A366C-21F0-6266-C271-2ED6CA5B031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0208357" y="1207692"/>
              <a:ext cx="225310" cy="216000"/>
            </a:xfrm>
            <a:prstGeom prst="rect">
              <a:avLst/>
            </a:prstGeom>
            <a:ln>
              <a:solidFill>
                <a:schemeClr val="tx1"/>
              </a:solidFill>
              <a:prstDash val="dash"/>
            </a:ln>
          </p:spPr>
        </p:pic>
        <p:pic>
          <p:nvPicPr>
            <p:cNvPr id="250" name="Grafik 249">
              <a:extLst>
                <a:ext uri="{FF2B5EF4-FFF2-40B4-BE49-F238E27FC236}">
                  <a16:creationId xmlns:a16="http://schemas.microsoft.com/office/drawing/2014/main" id="{EC960151-5E71-F7DD-1276-765D3CE31F8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1043907" y="1236694"/>
              <a:ext cx="216000" cy="168658"/>
            </a:xfrm>
            <a:prstGeom prst="rect">
              <a:avLst/>
            </a:prstGeom>
            <a:ln>
              <a:solidFill>
                <a:schemeClr val="tx1"/>
              </a:solidFill>
              <a:prstDash val="dash"/>
            </a:ln>
          </p:spPr>
        </p:pic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6A3442C3-07A5-357A-3DCA-67C9B2AA2B12}"/>
                </a:ext>
              </a:extLst>
            </p:cNvPr>
            <p:cNvSpPr txBox="1"/>
            <p:nvPr/>
          </p:nvSpPr>
          <p:spPr>
            <a:xfrm>
              <a:off x="9829560" y="687534"/>
              <a:ext cx="1489510" cy="261995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dash"/>
            </a:ln>
          </p:spPr>
          <p:txBody>
  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>
                <a:lnSpc>
                  <a:spcPct val="107000"/>
                </a:lnSpc>
              </a:pPr>
              <a:r>
                <a:rPr lang="en-GB" sz="1100">
                  <a:solidFill>
                    <a:schemeClr val="bg1"/>
                  </a:solidFill>
                </a:rPr>
                <a:t>3rd Party Platforms</a:t>
              </a:r>
            </a:p>
          </p:txBody>
        </p:sp>
      </p:grp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6D806155-3D4F-2FFD-5F99-32FD1C7ACBA5}"/>
              </a:ext>
            </a:extLst>
          </p:cNvPr>
          <p:cNvGrpSpPr/>
          <p:nvPr/>
        </p:nvGrpSpPr>
        <p:grpSpPr>
          <a:xfrm>
            <a:off x="277578" y="785094"/>
            <a:ext cx="367200" cy="1452130"/>
            <a:chOff x="277578" y="785094"/>
            <a:chExt cx="367200" cy="1452130"/>
          </a:xfrm>
        </p:grpSpPr>
        <p:sp>
          <p:nvSpPr>
            <p:cNvPr id="36" name="Freihandform: Form 29">
              <a:extLst>
                <a:ext uri="{FF2B5EF4-FFF2-40B4-BE49-F238E27FC236}">
                  <a16:creationId xmlns:a16="http://schemas.microsoft.com/office/drawing/2014/main" id="{114A26A5-25A2-7DE3-62A9-2D43CA39956F}"/>
                </a:ext>
              </a:extLst>
            </p:cNvPr>
            <p:cNvSpPr/>
            <p:nvPr/>
          </p:nvSpPr>
          <p:spPr>
            <a:xfrm>
              <a:off x="277578" y="785094"/>
              <a:ext cx="367200" cy="1452130"/>
            </a:xfrm>
            <a:custGeom>
              <a:avLst/>
              <a:gdLst>
                <a:gd name="connsiteX0" fmla="*/ -78 w 4794738"/>
                <a:gd name="connsiteY0" fmla="*/ -74 h 369024"/>
                <a:gd name="connsiteX1" fmla="*/ 4794661 w 4794738"/>
                <a:gd name="connsiteY1" fmla="*/ -74 h 369024"/>
                <a:gd name="connsiteX2" fmla="*/ 4794661 w 4794738"/>
                <a:gd name="connsiteY2" fmla="*/ 368950 h 369024"/>
                <a:gd name="connsiteX3" fmla="*/ -78 w 4794738"/>
                <a:gd name="connsiteY3" fmla="*/ 368950 h 369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94738" h="369024">
                  <a:moveTo>
                    <a:pt x="-78" y="-74"/>
                  </a:moveTo>
                  <a:lnTo>
                    <a:pt x="4794661" y="-74"/>
                  </a:lnTo>
                  <a:lnTo>
                    <a:pt x="4794661" y="368950"/>
                  </a:lnTo>
                  <a:lnTo>
                    <a:pt x="-78" y="368950"/>
                  </a:lnTo>
                  <a:close/>
                </a:path>
              </a:pathLst>
            </a:custGeom>
            <a:solidFill>
              <a:srgbClr val="92D050"/>
            </a:solidFill>
            <a:ln w="11723" cap="flat">
              <a:solidFill>
                <a:srgbClr val="00497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AT"/>
            </a:p>
          </p:txBody>
        </p:sp>
        <p:sp>
          <p:nvSpPr>
            <p:cNvPr id="37" name="Textfeld 30">
              <a:extLst>
                <a:ext uri="{FF2B5EF4-FFF2-40B4-BE49-F238E27FC236}">
                  <a16:creationId xmlns:a16="http://schemas.microsoft.com/office/drawing/2014/main" id="{B107625A-9C15-4AB8-D0F5-92A957DA9858}"/>
                </a:ext>
              </a:extLst>
            </p:cNvPr>
            <p:cNvSpPr txBox="1"/>
            <p:nvPr/>
          </p:nvSpPr>
          <p:spPr>
            <a:xfrm rot="16200000">
              <a:off x="69169" y="1413427"/>
              <a:ext cx="760931" cy="249492"/>
            </a:xfrm>
            <a:prstGeom prst="rect">
              <a:avLst/>
            </a:prstGeom>
            <a:solidFill>
              <a:srgbClr val="92D050"/>
            </a:solidFill>
          </p:spPr>
          <p:txBody>
            <a:bodyPr wrap="square" lIns="91440" tIns="45720" rIns="91440" bIns="45720" rtlCol="0" anchor="t">
              <a:spAutoFit/>
            </a:bodyPr>
            <a:lstStyle/>
            <a:p>
              <a:pPr algn="l">
                <a:lnSpc>
                  <a:spcPct val="107000"/>
                </a:lnSpc>
              </a:pPr>
              <a:r>
                <a:rPr lang="de-AT" sz="1000">
                  <a:ln/>
                  <a:latin typeface="Open Sans Light"/>
                  <a:ea typeface="Open Sans Light"/>
                  <a:cs typeface="Open Sans Light"/>
                  <a:sym typeface="Open Sans Light"/>
                </a:rPr>
                <a:t>Frontend</a:t>
              </a:r>
              <a:endParaRPr lang="en-US"/>
            </a:p>
          </p:txBody>
        </p:sp>
      </p:grpSp>
      <p:sp>
        <p:nvSpPr>
          <p:cNvPr id="42" name="Freihandform: Form 25">
            <a:extLst>
              <a:ext uri="{FF2B5EF4-FFF2-40B4-BE49-F238E27FC236}">
                <a16:creationId xmlns:a16="http://schemas.microsoft.com/office/drawing/2014/main" id="{8F23674E-811D-C4B3-B841-BD1B2E54B860}"/>
              </a:ext>
            </a:extLst>
          </p:cNvPr>
          <p:cNvSpPr/>
          <p:nvPr/>
        </p:nvSpPr>
        <p:spPr>
          <a:xfrm>
            <a:off x="268805" y="2237223"/>
            <a:ext cx="368393" cy="2904407"/>
          </a:xfrm>
          <a:custGeom>
            <a:avLst/>
            <a:gdLst>
              <a:gd name="connsiteX0" fmla="*/ -78 w 8270630"/>
              <a:gd name="connsiteY0" fmla="*/ -74 h 468601"/>
              <a:gd name="connsiteX1" fmla="*/ 8270553 w 8270630"/>
              <a:gd name="connsiteY1" fmla="*/ -74 h 468601"/>
              <a:gd name="connsiteX2" fmla="*/ 8270553 w 8270630"/>
              <a:gd name="connsiteY2" fmla="*/ 468528 h 468601"/>
              <a:gd name="connsiteX3" fmla="*/ -78 w 8270630"/>
              <a:gd name="connsiteY3" fmla="*/ 468528 h 468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70630" h="468601">
                <a:moveTo>
                  <a:pt x="-78" y="-74"/>
                </a:moveTo>
                <a:lnTo>
                  <a:pt x="8270553" y="-74"/>
                </a:lnTo>
                <a:lnTo>
                  <a:pt x="8270553" y="468528"/>
                </a:lnTo>
                <a:lnTo>
                  <a:pt x="-78" y="468528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11723" cap="flat">
            <a:solidFill>
              <a:srgbClr val="00497B"/>
            </a:solidFill>
            <a:prstDash val="solid"/>
            <a:round/>
          </a:ln>
        </p:spPr>
        <p:txBody>
          <a:bodyPr rtlCol="0" anchor="ctr"/>
          <a:lstStyle/>
          <a:p>
            <a:endParaRPr lang="de-AT"/>
          </a:p>
        </p:txBody>
      </p:sp>
      <p:sp>
        <p:nvSpPr>
          <p:cNvPr id="43" name="Textfeld 26">
            <a:extLst>
              <a:ext uri="{FF2B5EF4-FFF2-40B4-BE49-F238E27FC236}">
                <a16:creationId xmlns:a16="http://schemas.microsoft.com/office/drawing/2014/main" id="{60FC7A78-B2FA-5B7B-DF15-631C7E9D83A2}"/>
              </a:ext>
            </a:extLst>
          </p:cNvPr>
          <p:cNvSpPr txBox="1"/>
          <p:nvPr/>
        </p:nvSpPr>
        <p:spPr>
          <a:xfrm rot="16200000">
            <a:off x="-186640" y="3504641"/>
            <a:ext cx="1271502" cy="249492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>
              <a:lnSpc>
                <a:spcPct val="107000"/>
              </a:lnSpc>
            </a:pPr>
            <a:r>
              <a:rPr lang="de-AT" sz="1000" b="1">
                <a:ln/>
                <a:solidFill>
                  <a:schemeClr val="bg1"/>
                </a:solidFill>
                <a:latin typeface="Open Sans Light"/>
                <a:ea typeface="Open Sans Light"/>
                <a:cs typeface="Open Sans Light"/>
                <a:sym typeface="Open Sans Light"/>
              </a:rPr>
              <a:t>Backend and Tools</a:t>
            </a:r>
            <a:endParaRPr lang="en-US"/>
          </a:p>
        </p:txBody>
      </p:sp>
      <p:sp>
        <p:nvSpPr>
          <p:cNvPr id="47" name="Freihandform: Form 324">
            <a:extLst>
              <a:ext uri="{FF2B5EF4-FFF2-40B4-BE49-F238E27FC236}">
                <a16:creationId xmlns:a16="http://schemas.microsoft.com/office/drawing/2014/main" id="{AFA00347-6384-8E6F-2FCB-CE0E6B8805CE}"/>
              </a:ext>
            </a:extLst>
          </p:cNvPr>
          <p:cNvSpPr/>
          <p:nvPr/>
        </p:nvSpPr>
        <p:spPr>
          <a:xfrm>
            <a:off x="268805" y="5141630"/>
            <a:ext cx="368393" cy="1299758"/>
          </a:xfrm>
          <a:custGeom>
            <a:avLst/>
            <a:gdLst>
              <a:gd name="connsiteX0" fmla="*/ -78 w 1336430"/>
              <a:gd name="connsiteY0" fmla="*/ -74 h 2325437"/>
              <a:gd name="connsiteX1" fmla="*/ 1336353 w 1336430"/>
              <a:gd name="connsiteY1" fmla="*/ -74 h 2325437"/>
              <a:gd name="connsiteX2" fmla="*/ 1336353 w 1336430"/>
              <a:gd name="connsiteY2" fmla="*/ 2325363 h 2325437"/>
              <a:gd name="connsiteX3" fmla="*/ -78 w 1336430"/>
              <a:gd name="connsiteY3" fmla="*/ 2325363 h 2325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36430" h="2325437">
                <a:moveTo>
                  <a:pt x="-78" y="-74"/>
                </a:moveTo>
                <a:lnTo>
                  <a:pt x="1336353" y="-74"/>
                </a:lnTo>
                <a:lnTo>
                  <a:pt x="1336353" y="2325363"/>
                </a:lnTo>
                <a:lnTo>
                  <a:pt x="-78" y="2325363"/>
                </a:lnTo>
                <a:close/>
              </a:path>
            </a:pathLst>
          </a:custGeom>
          <a:solidFill>
            <a:srgbClr val="FF0000"/>
          </a:solidFill>
          <a:ln w="11723" cap="flat">
            <a:solidFill>
              <a:srgbClr val="00497B"/>
            </a:solidFill>
            <a:prstDash val="solid"/>
            <a:round/>
          </a:ln>
        </p:spPr>
        <p:txBody>
          <a:bodyPr rtlCol="0" anchor="ctr"/>
          <a:lstStyle/>
          <a:p>
            <a:endParaRPr lang="de-AT"/>
          </a:p>
        </p:txBody>
      </p:sp>
      <p:sp>
        <p:nvSpPr>
          <p:cNvPr id="49" name="Textfeld 325">
            <a:extLst>
              <a:ext uri="{FF2B5EF4-FFF2-40B4-BE49-F238E27FC236}">
                <a16:creationId xmlns:a16="http://schemas.microsoft.com/office/drawing/2014/main" id="{80956F1C-0143-8DFE-A4A9-FB3C3E3F7FC6}"/>
              </a:ext>
            </a:extLst>
          </p:cNvPr>
          <p:cNvSpPr txBox="1"/>
          <p:nvPr/>
        </p:nvSpPr>
        <p:spPr>
          <a:xfrm rot="16200000">
            <a:off x="33605" y="5673159"/>
            <a:ext cx="841897" cy="257506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>
              <a:lnSpc>
                <a:spcPct val="107000"/>
              </a:lnSpc>
            </a:pPr>
            <a:r>
              <a:rPr lang="de-DE" sz="1050">
                <a:solidFill>
                  <a:schemeClr val="bg1"/>
                </a:solidFill>
              </a:rPr>
              <a:t>API Services</a:t>
            </a:r>
          </a:p>
        </p:txBody>
      </p:sp>
      <p:grpSp>
        <p:nvGrpSpPr>
          <p:cNvPr id="61" name="Gruppieren 193">
            <a:extLst>
              <a:ext uri="{FF2B5EF4-FFF2-40B4-BE49-F238E27FC236}">
                <a16:creationId xmlns:a16="http://schemas.microsoft.com/office/drawing/2014/main" id="{7CBDE1F3-6F1C-0C4E-0EA8-48F1352A0826}"/>
              </a:ext>
            </a:extLst>
          </p:cNvPr>
          <p:cNvGrpSpPr/>
          <p:nvPr/>
        </p:nvGrpSpPr>
        <p:grpSpPr>
          <a:xfrm>
            <a:off x="6126632" y="5723913"/>
            <a:ext cx="1198188" cy="332770"/>
            <a:chOff x="1076978" y="2522260"/>
            <a:chExt cx="1389556" cy="491237"/>
          </a:xfrm>
        </p:grpSpPr>
        <p:sp>
          <p:nvSpPr>
            <p:cNvPr id="62" name="Freihandform: Form 194">
              <a:extLst>
                <a:ext uri="{FF2B5EF4-FFF2-40B4-BE49-F238E27FC236}">
                  <a16:creationId xmlns:a16="http://schemas.microsoft.com/office/drawing/2014/main" id="{2CCAED84-EAB4-63AD-FE7D-25589321129C}"/>
                </a:ext>
              </a:extLst>
            </p:cNvPr>
            <p:cNvSpPr/>
            <p:nvPr/>
          </p:nvSpPr>
          <p:spPr>
            <a:xfrm>
              <a:off x="1130104" y="2544551"/>
              <a:ext cx="1336430" cy="468946"/>
            </a:xfrm>
            <a:custGeom>
              <a:avLst/>
              <a:gdLst>
                <a:gd name="connsiteX0" fmla="*/ -78 w 1336430"/>
                <a:gd name="connsiteY0" fmla="*/ -74 h 2325437"/>
                <a:gd name="connsiteX1" fmla="*/ 1336353 w 1336430"/>
                <a:gd name="connsiteY1" fmla="*/ -74 h 2325437"/>
                <a:gd name="connsiteX2" fmla="*/ 1336353 w 1336430"/>
                <a:gd name="connsiteY2" fmla="*/ 2325363 h 2325437"/>
                <a:gd name="connsiteX3" fmla="*/ -78 w 1336430"/>
                <a:gd name="connsiteY3" fmla="*/ 2325363 h 2325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36430" h="2325437">
                  <a:moveTo>
                    <a:pt x="-78" y="-74"/>
                  </a:moveTo>
                  <a:lnTo>
                    <a:pt x="1336353" y="-74"/>
                  </a:lnTo>
                  <a:lnTo>
                    <a:pt x="1336353" y="2325363"/>
                  </a:lnTo>
                  <a:lnTo>
                    <a:pt x="-78" y="2325363"/>
                  </a:lnTo>
                  <a:close/>
                </a:path>
              </a:pathLst>
            </a:custGeom>
            <a:solidFill>
              <a:srgbClr val="FF0000"/>
            </a:solidFill>
            <a:ln w="11723" cap="flat">
              <a:solidFill>
                <a:srgbClr val="00497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AT"/>
            </a:p>
          </p:txBody>
        </p:sp>
        <p:sp>
          <p:nvSpPr>
            <p:cNvPr id="63" name="Textfeld 195">
              <a:extLst>
                <a:ext uri="{FF2B5EF4-FFF2-40B4-BE49-F238E27FC236}">
                  <a16:creationId xmlns:a16="http://schemas.microsoft.com/office/drawing/2014/main" id="{B81295AB-3D66-464F-D407-64C3AB6AE957}"/>
                </a:ext>
              </a:extLst>
            </p:cNvPr>
            <p:cNvSpPr txBox="1"/>
            <p:nvPr/>
          </p:nvSpPr>
          <p:spPr>
            <a:xfrm>
              <a:off x="1076978" y="2522260"/>
              <a:ext cx="910827" cy="38117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07000"/>
                </a:lnSpc>
              </a:pPr>
              <a:r>
                <a:rPr lang="de-DE" sz="1000">
                  <a:solidFill>
                    <a:schemeClr val="bg1"/>
                  </a:solidFill>
                </a:rPr>
                <a:t>Vector Search</a:t>
              </a:r>
            </a:p>
            <a:p>
              <a:pPr>
                <a:lnSpc>
                  <a:spcPct val="107000"/>
                </a:lnSpc>
              </a:pPr>
              <a:endParaRPr lang="de-DE" sz="1000">
                <a:solidFill>
                  <a:schemeClr val="bg1"/>
                </a:solidFill>
              </a:endParaRPr>
            </a:p>
            <a:p>
              <a:pPr algn="l">
                <a:lnSpc>
                  <a:spcPct val="107000"/>
                </a:lnSpc>
              </a:pPr>
              <a:endParaRPr lang="de-AT" sz="923" spc="0" baseline="0">
                <a:ln/>
                <a:solidFill>
                  <a:schemeClr val="bg1"/>
                </a:solidFill>
                <a:latin typeface="Open Sans Light"/>
                <a:ea typeface="Open Sans Light"/>
                <a:cs typeface="Open Sans Light"/>
                <a:sym typeface="Open Sans Light"/>
                <a:rtl val="0"/>
              </a:endParaRPr>
            </a:p>
          </p:txBody>
        </p:sp>
      </p:grpSp>
      <p:grpSp>
        <p:nvGrpSpPr>
          <p:cNvPr id="133" name="Gruppieren 266">
            <a:extLst>
              <a:ext uri="{FF2B5EF4-FFF2-40B4-BE49-F238E27FC236}">
                <a16:creationId xmlns:a16="http://schemas.microsoft.com/office/drawing/2014/main" id="{68EBD87E-2F85-BE83-B416-0AB6B4FEB61B}"/>
              </a:ext>
            </a:extLst>
          </p:cNvPr>
          <p:cNvGrpSpPr/>
          <p:nvPr/>
        </p:nvGrpSpPr>
        <p:grpSpPr>
          <a:xfrm>
            <a:off x="5175666" y="4462181"/>
            <a:ext cx="1859181" cy="281558"/>
            <a:chOff x="1104455" y="2561285"/>
            <a:chExt cx="1369413" cy="363275"/>
          </a:xfrm>
        </p:grpSpPr>
        <p:sp>
          <p:nvSpPr>
            <p:cNvPr id="135" name="Freihandform: Form 267">
              <a:extLst>
                <a:ext uri="{FF2B5EF4-FFF2-40B4-BE49-F238E27FC236}">
                  <a16:creationId xmlns:a16="http://schemas.microsoft.com/office/drawing/2014/main" id="{518DB0E9-F53A-D96F-9C6E-4DD8F28FA011}"/>
                </a:ext>
              </a:extLst>
            </p:cNvPr>
            <p:cNvSpPr/>
            <p:nvPr/>
          </p:nvSpPr>
          <p:spPr>
            <a:xfrm>
              <a:off x="1137438" y="2564942"/>
              <a:ext cx="1336430" cy="359618"/>
            </a:xfrm>
            <a:custGeom>
              <a:avLst/>
              <a:gdLst>
                <a:gd name="connsiteX0" fmla="*/ -78 w 1336430"/>
                <a:gd name="connsiteY0" fmla="*/ -74 h 2325437"/>
                <a:gd name="connsiteX1" fmla="*/ 1336353 w 1336430"/>
                <a:gd name="connsiteY1" fmla="*/ -74 h 2325437"/>
                <a:gd name="connsiteX2" fmla="*/ 1336353 w 1336430"/>
                <a:gd name="connsiteY2" fmla="*/ 2325363 h 2325437"/>
                <a:gd name="connsiteX3" fmla="*/ -78 w 1336430"/>
                <a:gd name="connsiteY3" fmla="*/ 2325363 h 2325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36430" h="2325437">
                  <a:moveTo>
                    <a:pt x="-78" y="-74"/>
                  </a:moveTo>
                  <a:lnTo>
                    <a:pt x="1336353" y="-74"/>
                  </a:lnTo>
                  <a:lnTo>
                    <a:pt x="1336353" y="2325363"/>
                  </a:lnTo>
                  <a:lnTo>
                    <a:pt x="-78" y="2325363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1723" cap="flat">
              <a:solidFill>
                <a:srgbClr val="00497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AT"/>
            </a:p>
          </p:txBody>
        </p:sp>
        <p:sp>
          <p:nvSpPr>
            <p:cNvPr id="136" name="Textfeld 268">
              <a:extLst>
                <a:ext uri="{FF2B5EF4-FFF2-40B4-BE49-F238E27FC236}">
                  <a16:creationId xmlns:a16="http://schemas.microsoft.com/office/drawing/2014/main" id="{335F24C8-011C-3B6D-7128-A69E5835A971}"/>
                </a:ext>
              </a:extLst>
            </p:cNvPr>
            <p:cNvSpPr txBox="1"/>
            <p:nvPr/>
          </p:nvSpPr>
          <p:spPr>
            <a:xfrm>
              <a:off x="1104455" y="2561285"/>
              <a:ext cx="636644" cy="2370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07000"/>
                </a:lnSpc>
              </a:pPr>
              <a:r>
                <a:rPr lang="de-DE" sz="1000">
                  <a:solidFill>
                    <a:schemeClr val="bg1"/>
                  </a:solidFill>
                </a:rPr>
                <a:t>Sub Bot Flow</a:t>
              </a:r>
              <a:endParaRPr lang="de-AT" sz="923" spc="0" baseline="0">
                <a:ln/>
                <a:solidFill>
                  <a:schemeClr val="bg1"/>
                </a:solidFill>
                <a:latin typeface="Open Sans Light"/>
                <a:ea typeface="Open Sans Light"/>
                <a:cs typeface="Open Sans Light"/>
                <a:sym typeface="Open Sans Light"/>
                <a:rtl val="0"/>
              </a:endParaRPr>
            </a:p>
          </p:txBody>
        </p:sp>
      </p:grpSp>
      <p:grpSp>
        <p:nvGrpSpPr>
          <p:cNvPr id="137" name="Gruppieren 266">
            <a:extLst>
              <a:ext uri="{FF2B5EF4-FFF2-40B4-BE49-F238E27FC236}">
                <a16:creationId xmlns:a16="http://schemas.microsoft.com/office/drawing/2014/main" id="{79CB5FF3-B37D-1D10-E223-BD9C4BD2EC8C}"/>
              </a:ext>
            </a:extLst>
          </p:cNvPr>
          <p:cNvGrpSpPr/>
          <p:nvPr/>
        </p:nvGrpSpPr>
        <p:grpSpPr>
          <a:xfrm>
            <a:off x="5173719" y="4772870"/>
            <a:ext cx="1861128" cy="281558"/>
            <a:chOff x="1104455" y="2561285"/>
            <a:chExt cx="1369413" cy="363275"/>
          </a:xfrm>
        </p:grpSpPr>
        <p:sp>
          <p:nvSpPr>
            <p:cNvPr id="139" name="Freihandform: Form 267">
              <a:extLst>
                <a:ext uri="{FF2B5EF4-FFF2-40B4-BE49-F238E27FC236}">
                  <a16:creationId xmlns:a16="http://schemas.microsoft.com/office/drawing/2014/main" id="{298EA1AC-1FA5-E7FC-804C-CBECDDD19C31}"/>
                </a:ext>
              </a:extLst>
            </p:cNvPr>
            <p:cNvSpPr/>
            <p:nvPr/>
          </p:nvSpPr>
          <p:spPr>
            <a:xfrm>
              <a:off x="1137438" y="2564942"/>
              <a:ext cx="1336430" cy="359618"/>
            </a:xfrm>
            <a:custGeom>
              <a:avLst/>
              <a:gdLst>
                <a:gd name="connsiteX0" fmla="*/ -78 w 1336430"/>
                <a:gd name="connsiteY0" fmla="*/ -74 h 2325437"/>
                <a:gd name="connsiteX1" fmla="*/ 1336353 w 1336430"/>
                <a:gd name="connsiteY1" fmla="*/ -74 h 2325437"/>
                <a:gd name="connsiteX2" fmla="*/ 1336353 w 1336430"/>
                <a:gd name="connsiteY2" fmla="*/ 2325363 h 2325437"/>
                <a:gd name="connsiteX3" fmla="*/ -78 w 1336430"/>
                <a:gd name="connsiteY3" fmla="*/ 2325363 h 2325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36430" h="2325437">
                  <a:moveTo>
                    <a:pt x="-78" y="-74"/>
                  </a:moveTo>
                  <a:lnTo>
                    <a:pt x="1336353" y="-74"/>
                  </a:lnTo>
                  <a:lnTo>
                    <a:pt x="1336353" y="2325363"/>
                  </a:lnTo>
                  <a:lnTo>
                    <a:pt x="-78" y="2325363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1723" cap="flat">
              <a:solidFill>
                <a:srgbClr val="00497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AT"/>
            </a:p>
          </p:txBody>
        </p:sp>
        <p:sp>
          <p:nvSpPr>
            <p:cNvPr id="140" name="Textfeld 268">
              <a:extLst>
                <a:ext uri="{FF2B5EF4-FFF2-40B4-BE49-F238E27FC236}">
                  <a16:creationId xmlns:a16="http://schemas.microsoft.com/office/drawing/2014/main" id="{64F73020-2A0D-5C80-D414-0803119F4063}"/>
                </a:ext>
              </a:extLst>
            </p:cNvPr>
            <p:cNvSpPr txBox="1"/>
            <p:nvPr/>
          </p:nvSpPr>
          <p:spPr>
            <a:xfrm>
              <a:off x="1104455" y="2561285"/>
              <a:ext cx="636644" cy="2370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07000"/>
                </a:lnSpc>
              </a:pPr>
              <a:r>
                <a:rPr lang="de-DE" sz="1000">
                  <a:solidFill>
                    <a:schemeClr val="bg1"/>
                  </a:solidFill>
                </a:rPr>
                <a:t>Sub Bot Flow</a:t>
              </a:r>
              <a:endParaRPr lang="de-AT" sz="923" spc="0" baseline="0">
                <a:ln/>
                <a:solidFill>
                  <a:schemeClr val="bg1"/>
                </a:solidFill>
                <a:latin typeface="Open Sans Light"/>
                <a:ea typeface="Open Sans Light"/>
                <a:cs typeface="Open Sans Light"/>
                <a:sym typeface="Open Sans Light"/>
                <a:rtl val="0"/>
              </a:endParaRPr>
            </a:p>
          </p:txBody>
        </p:sp>
      </p:grpSp>
      <p:cxnSp>
        <p:nvCxnSpPr>
          <p:cNvPr id="142" name="Gerade Verbindung mit Pfeil 246">
            <a:extLst>
              <a:ext uri="{FF2B5EF4-FFF2-40B4-BE49-F238E27FC236}">
                <a16:creationId xmlns:a16="http://schemas.microsoft.com/office/drawing/2014/main" id="{5FB82D60-C147-9B18-F7ED-56646B0993EF}"/>
              </a:ext>
            </a:extLst>
          </p:cNvPr>
          <p:cNvCxnSpPr>
            <a:cxnSpLocks/>
          </p:cNvCxnSpPr>
          <p:nvPr/>
        </p:nvCxnSpPr>
        <p:spPr>
          <a:xfrm>
            <a:off x="7539289" y="3296886"/>
            <a:ext cx="0" cy="752306"/>
          </a:xfrm>
          <a:prstGeom prst="straightConnector1">
            <a:avLst/>
          </a:prstGeom>
          <a:ln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Gerade Verbindung mit Pfeil 246">
            <a:extLst>
              <a:ext uri="{FF2B5EF4-FFF2-40B4-BE49-F238E27FC236}">
                <a16:creationId xmlns:a16="http://schemas.microsoft.com/office/drawing/2014/main" id="{78C2F90F-66D8-390F-A72E-10A57C622EBD}"/>
              </a:ext>
            </a:extLst>
          </p:cNvPr>
          <p:cNvCxnSpPr>
            <a:cxnSpLocks/>
          </p:cNvCxnSpPr>
          <p:nvPr/>
        </p:nvCxnSpPr>
        <p:spPr>
          <a:xfrm flipH="1">
            <a:off x="2631278" y="2905771"/>
            <a:ext cx="467657" cy="10020"/>
          </a:xfrm>
          <a:prstGeom prst="straightConnector1">
            <a:avLst/>
          </a:prstGeom>
          <a:ln>
            <a:solidFill>
              <a:srgbClr val="FFC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Elbow Connector 163">
            <a:extLst>
              <a:ext uri="{FF2B5EF4-FFF2-40B4-BE49-F238E27FC236}">
                <a16:creationId xmlns:a16="http://schemas.microsoft.com/office/drawing/2014/main" id="{C4AD9D16-A084-C185-F2B7-98A668DFF2AF}"/>
              </a:ext>
            </a:extLst>
          </p:cNvPr>
          <p:cNvCxnSpPr>
            <a:cxnSpLocks/>
          </p:cNvCxnSpPr>
          <p:nvPr/>
        </p:nvCxnSpPr>
        <p:spPr>
          <a:xfrm rot="16200000" flipH="1">
            <a:off x="7655407" y="3299806"/>
            <a:ext cx="1853948" cy="1829699"/>
          </a:xfrm>
          <a:prstGeom prst="bentConnector3">
            <a:avLst>
              <a:gd name="adj1" fmla="val 26756"/>
            </a:avLst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6" name="Textfeld 245">
            <a:extLst>
              <a:ext uri="{FF2B5EF4-FFF2-40B4-BE49-F238E27FC236}">
                <a16:creationId xmlns:a16="http://schemas.microsoft.com/office/drawing/2014/main" id="{8E14E54D-CCAE-B40B-49FF-F12E24C523E5}"/>
              </a:ext>
            </a:extLst>
          </p:cNvPr>
          <p:cNvSpPr txBox="1"/>
          <p:nvPr/>
        </p:nvSpPr>
        <p:spPr>
          <a:xfrm>
            <a:off x="8562884" y="2434030"/>
            <a:ext cx="1708443" cy="1060227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</p:spPr>
        <p:txBody>
          <a:bodyPr wrap="square" rtlCol="0">
            <a:spAutoFit/>
          </a:bodyPr>
          <a:lstStyle/>
          <a:p>
            <a:pPr>
              <a:lnSpc>
                <a:spcPct val="107000"/>
              </a:lnSpc>
            </a:pPr>
            <a:r>
              <a:rPr lang="de-DE" sz="1000" err="1"/>
              <a:t>Operations</a:t>
            </a:r>
            <a:r>
              <a:rPr lang="de-DE" sz="1000"/>
              <a:t> Dashboard (e.g. </a:t>
            </a:r>
            <a:r>
              <a:rPr lang="de-DE" sz="1000" err="1"/>
              <a:t>turning</a:t>
            </a:r>
            <a:r>
              <a:rPr lang="de-DE" sz="1000"/>
              <a:t> BOTs on and off)</a:t>
            </a:r>
          </a:p>
          <a:p>
            <a:pPr>
              <a:lnSpc>
                <a:spcPct val="107000"/>
              </a:lnSpc>
            </a:pPr>
            <a:r>
              <a:rPr lang="de-DE" sz="1000"/>
              <a:t>Monitoring and </a:t>
            </a:r>
            <a:r>
              <a:rPr lang="de-DE" sz="1000" err="1"/>
              <a:t>Logging</a:t>
            </a:r>
            <a:r>
              <a:rPr lang="de-DE" sz="1000"/>
              <a:t> (CLJ, LUX,…)</a:t>
            </a:r>
          </a:p>
          <a:p>
            <a:pPr algn="l">
              <a:lnSpc>
                <a:spcPct val="107000"/>
              </a:lnSpc>
            </a:pPr>
            <a:endParaRPr lang="de-AT" sz="923" spc="0" baseline="0">
              <a:ln/>
              <a:solidFill>
                <a:schemeClr val="bg1"/>
              </a:solidFill>
              <a:latin typeface="Open Sans Light"/>
              <a:ea typeface="Open Sans Light"/>
              <a:cs typeface="Open Sans Light"/>
              <a:sym typeface="Open Sans Light"/>
              <a:rtl val="0"/>
            </a:endParaRPr>
          </a:p>
        </p:txBody>
      </p:sp>
      <p:grpSp>
        <p:nvGrpSpPr>
          <p:cNvPr id="225" name="Gruppieren 224">
            <a:extLst>
              <a:ext uri="{FF2B5EF4-FFF2-40B4-BE49-F238E27FC236}">
                <a16:creationId xmlns:a16="http://schemas.microsoft.com/office/drawing/2014/main" id="{B7DB12BD-D581-41F7-07C1-2B36DF83D13E}"/>
              </a:ext>
            </a:extLst>
          </p:cNvPr>
          <p:cNvGrpSpPr/>
          <p:nvPr/>
        </p:nvGrpSpPr>
        <p:grpSpPr>
          <a:xfrm>
            <a:off x="10581058" y="2128812"/>
            <a:ext cx="1631127" cy="1495361"/>
            <a:chOff x="10611134" y="1921465"/>
            <a:chExt cx="1631127" cy="1495361"/>
          </a:xfrm>
        </p:grpSpPr>
        <p:grpSp>
          <p:nvGrpSpPr>
            <p:cNvPr id="7" name="Gruppieren 6">
              <a:extLst>
                <a:ext uri="{FF2B5EF4-FFF2-40B4-BE49-F238E27FC236}">
                  <a16:creationId xmlns:a16="http://schemas.microsoft.com/office/drawing/2014/main" id="{F5773F06-433C-0385-1420-D036E0D98D88}"/>
                </a:ext>
              </a:extLst>
            </p:cNvPr>
            <p:cNvGrpSpPr/>
            <p:nvPr/>
          </p:nvGrpSpPr>
          <p:grpSpPr>
            <a:xfrm>
              <a:off x="10730035" y="2256086"/>
              <a:ext cx="878858" cy="201978"/>
              <a:chOff x="10688640" y="3468725"/>
              <a:chExt cx="878858" cy="201978"/>
            </a:xfrm>
          </p:grpSpPr>
          <p:sp>
            <p:nvSpPr>
              <p:cNvPr id="148" name="Freihandform: Form 147">
                <a:extLst>
                  <a:ext uri="{FF2B5EF4-FFF2-40B4-BE49-F238E27FC236}">
                    <a16:creationId xmlns:a16="http://schemas.microsoft.com/office/drawing/2014/main" id="{E63B3634-32F7-9F73-FBC3-E26837A0C5E5}"/>
                  </a:ext>
                </a:extLst>
              </p:cNvPr>
              <p:cNvSpPr/>
              <p:nvPr/>
            </p:nvSpPr>
            <p:spPr>
              <a:xfrm>
                <a:off x="10688640" y="3479300"/>
                <a:ext cx="140676" cy="164010"/>
              </a:xfrm>
              <a:custGeom>
                <a:avLst/>
                <a:gdLst>
                  <a:gd name="connsiteX0" fmla="*/ -78 w 140676"/>
                  <a:gd name="connsiteY0" fmla="*/ -74 h 164010"/>
                  <a:gd name="connsiteX1" fmla="*/ 140599 w 140676"/>
                  <a:gd name="connsiteY1" fmla="*/ -74 h 164010"/>
                  <a:gd name="connsiteX2" fmla="*/ 140599 w 140676"/>
                  <a:gd name="connsiteY2" fmla="*/ 163937 h 164010"/>
                  <a:gd name="connsiteX3" fmla="*/ -78 w 140676"/>
                  <a:gd name="connsiteY3" fmla="*/ 163937 h 164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0676" h="164010">
                    <a:moveTo>
                      <a:pt x="-78" y="-74"/>
                    </a:moveTo>
                    <a:lnTo>
                      <a:pt x="140599" y="-74"/>
                    </a:lnTo>
                    <a:lnTo>
                      <a:pt x="140599" y="163937"/>
                    </a:lnTo>
                    <a:lnTo>
                      <a:pt x="-78" y="163937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11723" cap="flat">
                <a:solidFill>
                  <a:srgbClr val="00497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AT"/>
              </a:p>
            </p:txBody>
          </p:sp>
          <p:sp>
            <p:nvSpPr>
              <p:cNvPr id="149" name="Textfeld 148">
                <a:extLst>
                  <a:ext uri="{FF2B5EF4-FFF2-40B4-BE49-F238E27FC236}">
                    <a16:creationId xmlns:a16="http://schemas.microsoft.com/office/drawing/2014/main" id="{F5A1F929-1907-5697-AFD3-FBEBAAA520D3}"/>
                  </a:ext>
                </a:extLst>
              </p:cNvPr>
              <p:cNvSpPr txBox="1"/>
              <p:nvPr/>
            </p:nvSpPr>
            <p:spPr>
              <a:xfrm>
                <a:off x="10863337" y="3468725"/>
                <a:ext cx="704161" cy="201978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>
                <a:spAutoFit/>
              </a:bodyPr>
              <a:lstStyle/>
              <a:p>
                <a:pPr algn="l">
                  <a:lnSpc>
                    <a:spcPct val="107000"/>
                  </a:lnSpc>
                </a:pPr>
                <a:r>
                  <a:rPr lang="de-AT" sz="700">
                    <a:ln/>
                    <a:solidFill>
                      <a:srgbClr val="57565A"/>
                    </a:solidFill>
                    <a:latin typeface="Open Sans Light"/>
                    <a:ea typeface="Open Sans Light"/>
                    <a:cs typeface="Open Sans Light"/>
                    <a:sym typeface="Open Sans Light"/>
                  </a:rPr>
                  <a:t>Chat</a:t>
                </a:r>
                <a:r>
                  <a:rPr lang="de-AT" sz="700" spc="0" baseline="0">
                    <a:ln/>
                    <a:solidFill>
                      <a:srgbClr val="57565A"/>
                    </a:solidFill>
                    <a:latin typeface="Open Sans Light"/>
                    <a:ea typeface="Open Sans Light"/>
                    <a:cs typeface="Open Sans Light"/>
                    <a:sym typeface="Open Sans Light"/>
                  </a:rPr>
                  <a:t> </a:t>
                </a:r>
                <a:r>
                  <a:rPr lang="de-AT" sz="700">
                    <a:ln/>
                    <a:solidFill>
                      <a:srgbClr val="57565A"/>
                    </a:solidFill>
                    <a:latin typeface="Open Sans Light"/>
                    <a:ea typeface="Open Sans Light"/>
                    <a:cs typeface="Open Sans Light"/>
                    <a:sym typeface="Open Sans Light"/>
                  </a:rPr>
                  <a:t>Cl</a:t>
                </a:r>
                <a:r>
                  <a:rPr lang="de-AT" sz="700" spc="0" baseline="0">
                    <a:ln/>
                    <a:solidFill>
                      <a:srgbClr val="57565A"/>
                    </a:solidFill>
                    <a:latin typeface="Open Sans Light"/>
                    <a:ea typeface="Open Sans Light"/>
                    <a:cs typeface="Open Sans Light"/>
                    <a:sym typeface="Open Sans Light"/>
                  </a:rPr>
                  <a:t>ient</a:t>
                </a:r>
              </a:p>
            </p:txBody>
          </p:sp>
        </p:grpSp>
        <p:grpSp>
          <p:nvGrpSpPr>
            <p:cNvPr id="4" name="Gruppieren 3">
              <a:extLst>
                <a:ext uri="{FF2B5EF4-FFF2-40B4-BE49-F238E27FC236}">
                  <a16:creationId xmlns:a16="http://schemas.microsoft.com/office/drawing/2014/main" id="{20D4840D-73C4-EE0F-D0AE-243A3D6031D6}"/>
                </a:ext>
              </a:extLst>
            </p:cNvPr>
            <p:cNvGrpSpPr/>
            <p:nvPr/>
          </p:nvGrpSpPr>
          <p:grpSpPr>
            <a:xfrm>
              <a:off x="10730035" y="3208692"/>
              <a:ext cx="1236805" cy="208134"/>
              <a:chOff x="10698019" y="4107195"/>
              <a:chExt cx="1236805" cy="208134"/>
            </a:xfrm>
          </p:grpSpPr>
          <p:sp>
            <p:nvSpPr>
              <p:cNvPr id="154" name="Freihandform: Form 153">
                <a:extLst>
                  <a:ext uri="{FF2B5EF4-FFF2-40B4-BE49-F238E27FC236}">
                    <a16:creationId xmlns:a16="http://schemas.microsoft.com/office/drawing/2014/main" id="{EA1ECCA6-3EAA-ABD3-4ED6-1F16B700AD35}"/>
                  </a:ext>
                </a:extLst>
              </p:cNvPr>
              <p:cNvSpPr/>
              <p:nvPr/>
            </p:nvSpPr>
            <p:spPr>
              <a:xfrm>
                <a:off x="10698019" y="4129485"/>
                <a:ext cx="146538" cy="164010"/>
              </a:xfrm>
              <a:custGeom>
                <a:avLst/>
                <a:gdLst>
                  <a:gd name="connsiteX0" fmla="*/ -78 w 146538"/>
                  <a:gd name="connsiteY0" fmla="*/ -74 h 164010"/>
                  <a:gd name="connsiteX1" fmla="*/ 146460 w 146538"/>
                  <a:gd name="connsiteY1" fmla="*/ -74 h 164010"/>
                  <a:gd name="connsiteX2" fmla="*/ 146460 w 146538"/>
                  <a:gd name="connsiteY2" fmla="*/ 163937 h 164010"/>
                  <a:gd name="connsiteX3" fmla="*/ -78 w 146538"/>
                  <a:gd name="connsiteY3" fmla="*/ 163937 h 164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6538" h="164010">
                    <a:moveTo>
                      <a:pt x="-78" y="-74"/>
                    </a:moveTo>
                    <a:lnTo>
                      <a:pt x="146460" y="-74"/>
                    </a:lnTo>
                    <a:lnTo>
                      <a:pt x="146460" y="163937"/>
                    </a:lnTo>
                    <a:lnTo>
                      <a:pt x="-78" y="163937"/>
                    </a:lnTo>
                    <a:close/>
                  </a:path>
                </a:pathLst>
              </a:custGeom>
              <a:solidFill>
                <a:srgbClr val="FF0000"/>
              </a:solidFill>
              <a:ln w="11723" cap="flat">
                <a:solidFill>
                  <a:srgbClr val="00497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AT"/>
              </a:p>
            </p:txBody>
          </p:sp>
          <p:sp>
            <p:nvSpPr>
              <p:cNvPr id="155" name="Textfeld 154">
                <a:extLst>
                  <a:ext uri="{FF2B5EF4-FFF2-40B4-BE49-F238E27FC236}">
                    <a16:creationId xmlns:a16="http://schemas.microsoft.com/office/drawing/2014/main" id="{9C64EEE5-0C83-459E-9B89-A0AF67C24663}"/>
                  </a:ext>
                </a:extLst>
              </p:cNvPr>
              <p:cNvSpPr txBox="1"/>
              <p:nvPr/>
            </p:nvSpPr>
            <p:spPr>
              <a:xfrm>
                <a:off x="10863337" y="4107195"/>
                <a:ext cx="1071487" cy="20813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>
                  <a:lnSpc>
                    <a:spcPct val="107000"/>
                  </a:lnSpc>
                </a:pPr>
                <a:r>
                  <a:rPr lang="de-AT" sz="739" spc="0" baseline="0">
                    <a:ln/>
                    <a:solidFill>
                      <a:srgbClr val="57565A"/>
                    </a:solidFill>
                    <a:latin typeface="Open Sans Light"/>
                    <a:ea typeface="Open Sans Light"/>
                    <a:cs typeface="Open Sans Light"/>
                    <a:sym typeface="Open Sans Light"/>
                    <a:rtl val="0"/>
                  </a:rPr>
                  <a:t>Service / API</a:t>
                </a:r>
              </a:p>
            </p:txBody>
          </p:sp>
        </p:grpSp>
        <p:grpSp>
          <p:nvGrpSpPr>
            <p:cNvPr id="3" name="Gruppieren 2">
              <a:extLst>
                <a:ext uri="{FF2B5EF4-FFF2-40B4-BE49-F238E27FC236}">
                  <a16:creationId xmlns:a16="http://schemas.microsoft.com/office/drawing/2014/main" id="{C7CC922F-102F-59E8-8303-2CB037B1B581}"/>
                </a:ext>
              </a:extLst>
            </p:cNvPr>
            <p:cNvGrpSpPr/>
            <p:nvPr/>
          </p:nvGrpSpPr>
          <p:grpSpPr>
            <a:xfrm>
              <a:off x="10730035" y="2648761"/>
              <a:ext cx="1262443" cy="329834"/>
              <a:chOff x="10692863" y="4261361"/>
              <a:chExt cx="1262443" cy="329834"/>
            </a:xfrm>
          </p:grpSpPr>
          <p:sp>
            <p:nvSpPr>
              <p:cNvPr id="156" name="Freihandform: Form 155">
                <a:extLst>
                  <a:ext uri="{FF2B5EF4-FFF2-40B4-BE49-F238E27FC236}">
                    <a16:creationId xmlns:a16="http://schemas.microsoft.com/office/drawing/2014/main" id="{DF6919FA-3873-EBBE-CCB8-82100EDF3115}"/>
                  </a:ext>
                </a:extLst>
              </p:cNvPr>
              <p:cNvSpPr/>
              <p:nvPr/>
            </p:nvSpPr>
            <p:spPr>
              <a:xfrm>
                <a:off x="10692863" y="4357929"/>
                <a:ext cx="140676" cy="164010"/>
              </a:xfrm>
              <a:custGeom>
                <a:avLst/>
                <a:gdLst>
                  <a:gd name="connsiteX0" fmla="*/ -78 w 140676"/>
                  <a:gd name="connsiteY0" fmla="*/ -74 h 164010"/>
                  <a:gd name="connsiteX1" fmla="*/ 140599 w 140676"/>
                  <a:gd name="connsiteY1" fmla="*/ -74 h 164010"/>
                  <a:gd name="connsiteX2" fmla="*/ 140599 w 140676"/>
                  <a:gd name="connsiteY2" fmla="*/ 163937 h 164010"/>
                  <a:gd name="connsiteX3" fmla="*/ -78 w 140676"/>
                  <a:gd name="connsiteY3" fmla="*/ 163937 h 164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0676" h="164010">
                    <a:moveTo>
                      <a:pt x="-78" y="-74"/>
                    </a:moveTo>
                    <a:lnTo>
                      <a:pt x="140599" y="-74"/>
                    </a:lnTo>
                    <a:lnTo>
                      <a:pt x="140599" y="163937"/>
                    </a:lnTo>
                    <a:lnTo>
                      <a:pt x="-78" y="163937"/>
                    </a:lnTo>
                    <a:close/>
                  </a:path>
                </a:pathLst>
              </a:custGeom>
              <a:solidFill>
                <a:schemeClr val="accent6">
                  <a:lumMod val="40000"/>
                  <a:lumOff val="60000"/>
                </a:schemeClr>
              </a:solidFill>
              <a:ln w="11723" cap="flat">
                <a:solidFill>
                  <a:srgbClr val="00497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AT"/>
              </a:p>
            </p:txBody>
          </p:sp>
          <p:sp>
            <p:nvSpPr>
              <p:cNvPr id="157" name="Textfeld 156">
                <a:extLst>
                  <a:ext uri="{FF2B5EF4-FFF2-40B4-BE49-F238E27FC236}">
                    <a16:creationId xmlns:a16="http://schemas.microsoft.com/office/drawing/2014/main" id="{D5A2F1A9-B49F-03EC-855B-A819EEEF23E3}"/>
                  </a:ext>
                </a:extLst>
              </p:cNvPr>
              <p:cNvSpPr txBox="1"/>
              <p:nvPr/>
            </p:nvSpPr>
            <p:spPr>
              <a:xfrm>
                <a:off x="10883820" y="4261361"/>
                <a:ext cx="1071486" cy="32983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>
                  <a:lnSpc>
                    <a:spcPct val="107000"/>
                  </a:lnSpc>
                </a:pPr>
                <a:r>
                  <a:rPr lang="de-AT" sz="739" spc="0" baseline="0" err="1">
                    <a:ln/>
                    <a:solidFill>
                      <a:srgbClr val="57565A"/>
                    </a:solidFill>
                    <a:latin typeface="Open Sans Light"/>
                    <a:ea typeface="Open Sans Light"/>
                    <a:cs typeface="Open Sans Light"/>
                    <a:sym typeface="Open Sans Light"/>
                    <a:rtl val="0"/>
                  </a:rPr>
                  <a:t>Local</a:t>
                </a:r>
                <a:r>
                  <a:rPr lang="de-AT" sz="739" spc="0" baseline="0">
                    <a:ln/>
                    <a:solidFill>
                      <a:srgbClr val="57565A"/>
                    </a:solidFill>
                    <a:latin typeface="Open Sans Light"/>
                    <a:ea typeface="Open Sans Light"/>
                    <a:cs typeface="Open Sans Light"/>
                    <a:sym typeface="Open Sans Light"/>
                    <a:rtl val="0"/>
                  </a:rPr>
                  <a:t> BOT </a:t>
                </a:r>
                <a:r>
                  <a:rPr lang="de-AT" sz="739" spc="0" baseline="0" err="1">
                    <a:ln/>
                    <a:solidFill>
                      <a:srgbClr val="57565A"/>
                    </a:solidFill>
                    <a:latin typeface="Open Sans Light"/>
                    <a:ea typeface="Open Sans Light"/>
                    <a:cs typeface="Open Sans Light"/>
                    <a:sym typeface="Open Sans Light"/>
                    <a:rtl val="0"/>
                  </a:rPr>
                  <a:t>Execution</a:t>
                </a:r>
                <a:r>
                  <a:rPr lang="de-AT" sz="739" spc="0" baseline="0">
                    <a:ln/>
                    <a:solidFill>
                      <a:srgbClr val="57565A"/>
                    </a:solidFill>
                    <a:latin typeface="Open Sans Light"/>
                    <a:ea typeface="Open Sans Light"/>
                    <a:cs typeface="Open Sans Light"/>
                    <a:sym typeface="Open Sans Light"/>
                    <a:rtl val="0"/>
                  </a:rPr>
                  <a:t> and </a:t>
                </a:r>
                <a:r>
                  <a:rPr lang="de-AT" sz="739" spc="0" baseline="0" err="1">
                    <a:ln/>
                    <a:solidFill>
                      <a:srgbClr val="57565A"/>
                    </a:solidFill>
                    <a:latin typeface="Open Sans Light"/>
                    <a:ea typeface="Open Sans Light"/>
                    <a:cs typeface="Open Sans Light"/>
                    <a:sym typeface="Open Sans Light"/>
                    <a:rtl val="0"/>
                  </a:rPr>
                  <a:t>orchestration</a:t>
                </a:r>
                <a:r>
                  <a:rPr lang="de-AT" sz="739" spc="0" baseline="0">
                    <a:ln/>
                    <a:solidFill>
                      <a:srgbClr val="57565A"/>
                    </a:solidFill>
                    <a:latin typeface="Open Sans Light"/>
                    <a:ea typeface="Open Sans Light"/>
                    <a:cs typeface="Open Sans Light"/>
                    <a:sym typeface="Open Sans Light"/>
                    <a:rtl val="0"/>
                  </a:rPr>
                  <a:t> </a:t>
                </a:r>
              </a:p>
            </p:txBody>
          </p:sp>
        </p:grpSp>
        <p:grpSp>
          <p:nvGrpSpPr>
            <p:cNvPr id="5" name="Gruppieren 4">
              <a:extLst>
                <a:ext uri="{FF2B5EF4-FFF2-40B4-BE49-F238E27FC236}">
                  <a16:creationId xmlns:a16="http://schemas.microsoft.com/office/drawing/2014/main" id="{CFD90F0F-ECCE-8068-4212-34D5278021DB}"/>
                </a:ext>
              </a:extLst>
            </p:cNvPr>
            <p:cNvGrpSpPr/>
            <p:nvPr/>
          </p:nvGrpSpPr>
          <p:grpSpPr>
            <a:xfrm>
              <a:off x="10727677" y="2952627"/>
              <a:ext cx="1514584" cy="208134"/>
              <a:chOff x="10688640" y="3884609"/>
              <a:chExt cx="1514584" cy="208134"/>
            </a:xfrm>
          </p:grpSpPr>
          <p:sp>
            <p:nvSpPr>
              <p:cNvPr id="162" name="Freihandform: Form 161">
                <a:extLst>
                  <a:ext uri="{FF2B5EF4-FFF2-40B4-BE49-F238E27FC236}">
                    <a16:creationId xmlns:a16="http://schemas.microsoft.com/office/drawing/2014/main" id="{E64C3A07-4373-1DFA-EA90-60471FC32948}"/>
                  </a:ext>
                </a:extLst>
              </p:cNvPr>
              <p:cNvSpPr/>
              <p:nvPr/>
            </p:nvSpPr>
            <p:spPr>
              <a:xfrm>
                <a:off x="10688640" y="3906899"/>
                <a:ext cx="146538" cy="169868"/>
              </a:xfrm>
              <a:custGeom>
                <a:avLst/>
                <a:gdLst>
                  <a:gd name="connsiteX0" fmla="*/ -78 w 146538"/>
                  <a:gd name="connsiteY0" fmla="*/ -74 h 169868"/>
                  <a:gd name="connsiteX1" fmla="*/ 146460 w 146538"/>
                  <a:gd name="connsiteY1" fmla="*/ -74 h 169868"/>
                  <a:gd name="connsiteX2" fmla="*/ 146460 w 146538"/>
                  <a:gd name="connsiteY2" fmla="*/ 169794 h 169868"/>
                  <a:gd name="connsiteX3" fmla="*/ -78 w 146538"/>
                  <a:gd name="connsiteY3" fmla="*/ 169794 h 1698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6538" h="169868">
                    <a:moveTo>
                      <a:pt x="-78" y="-74"/>
                    </a:moveTo>
                    <a:lnTo>
                      <a:pt x="146460" y="-74"/>
                    </a:lnTo>
                    <a:lnTo>
                      <a:pt x="146460" y="169794"/>
                    </a:lnTo>
                    <a:lnTo>
                      <a:pt x="-78" y="169794"/>
                    </a:lnTo>
                    <a:close/>
                  </a:path>
                </a:pathLst>
              </a:custGeom>
              <a:solidFill>
                <a:srgbClr val="FFC000"/>
              </a:solidFill>
              <a:ln w="11723" cap="flat">
                <a:solidFill>
                  <a:srgbClr val="00497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AT"/>
              </a:p>
            </p:txBody>
          </p:sp>
          <p:sp>
            <p:nvSpPr>
              <p:cNvPr id="163" name="Textfeld 162">
                <a:extLst>
                  <a:ext uri="{FF2B5EF4-FFF2-40B4-BE49-F238E27FC236}">
                    <a16:creationId xmlns:a16="http://schemas.microsoft.com/office/drawing/2014/main" id="{8D1A9B3F-6ABD-B644-2DCD-6CB938B9D027}"/>
                  </a:ext>
                </a:extLst>
              </p:cNvPr>
              <p:cNvSpPr txBox="1"/>
              <p:nvPr/>
            </p:nvSpPr>
            <p:spPr>
              <a:xfrm>
                <a:off x="10871877" y="3884609"/>
                <a:ext cx="1331347" cy="20813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>
                  <a:lnSpc>
                    <a:spcPct val="107000"/>
                  </a:lnSpc>
                </a:pPr>
                <a:r>
                  <a:rPr lang="de-AT" sz="739" spc="0" baseline="0">
                    <a:ln/>
                    <a:solidFill>
                      <a:srgbClr val="57565A"/>
                    </a:solidFill>
                    <a:latin typeface="Open Sans Light"/>
                    <a:ea typeface="Open Sans Light"/>
                    <a:cs typeface="Open Sans Light"/>
                    <a:sym typeface="Open Sans Light"/>
                    <a:rtl val="0"/>
                  </a:rPr>
                  <a:t>Model and Implementation</a:t>
                </a:r>
              </a:p>
            </p:txBody>
          </p:sp>
        </p:grpSp>
        <p:sp>
          <p:nvSpPr>
            <p:cNvPr id="375" name="Textfeld 374">
              <a:extLst>
                <a:ext uri="{FF2B5EF4-FFF2-40B4-BE49-F238E27FC236}">
                  <a16:creationId xmlns:a16="http://schemas.microsoft.com/office/drawing/2014/main" id="{FC514A6E-639E-A322-1A45-16F9201414DB}"/>
                </a:ext>
              </a:extLst>
            </p:cNvPr>
            <p:cNvSpPr txBox="1"/>
            <p:nvPr/>
          </p:nvSpPr>
          <p:spPr>
            <a:xfrm>
              <a:off x="10611134" y="1921465"/>
              <a:ext cx="1420197" cy="33906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>
                <a:lnSpc>
                  <a:spcPct val="107000"/>
                </a:lnSpc>
              </a:pPr>
              <a:r>
                <a:rPr lang="de-DE" sz="1600"/>
                <a:t>Components</a:t>
              </a:r>
              <a:endParaRPr lang="de-AT" sz="1600"/>
            </a:p>
          </p:txBody>
        </p:sp>
        <p:grpSp>
          <p:nvGrpSpPr>
            <p:cNvPr id="249" name="Gruppieren 248">
              <a:extLst>
                <a:ext uri="{FF2B5EF4-FFF2-40B4-BE49-F238E27FC236}">
                  <a16:creationId xmlns:a16="http://schemas.microsoft.com/office/drawing/2014/main" id="{12EFAC61-E9B4-3729-EB0A-BD5D8E8036B8}"/>
                </a:ext>
              </a:extLst>
            </p:cNvPr>
            <p:cNvGrpSpPr/>
            <p:nvPr/>
          </p:nvGrpSpPr>
          <p:grpSpPr>
            <a:xfrm>
              <a:off x="10727130" y="2490457"/>
              <a:ext cx="1071484" cy="329834"/>
              <a:chOff x="10688640" y="3468725"/>
              <a:chExt cx="878858" cy="329834"/>
            </a:xfrm>
          </p:grpSpPr>
          <p:sp>
            <p:nvSpPr>
              <p:cNvPr id="251" name="Freihandform: Form 250">
                <a:extLst>
                  <a:ext uri="{FF2B5EF4-FFF2-40B4-BE49-F238E27FC236}">
                    <a16:creationId xmlns:a16="http://schemas.microsoft.com/office/drawing/2014/main" id="{6E8879F2-363B-5DF4-AAEE-9AD409708373}"/>
                  </a:ext>
                </a:extLst>
              </p:cNvPr>
              <p:cNvSpPr/>
              <p:nvPr/>
            </p:nvSpPr>
            <p:spPr>
              <a:xfrm>
                <a:off x="10688640" y="3479300"/>
                <a:ext cx="120633" cy="150571"/>
              </a:xfrm>
              <a:custGeom>
                <a:avLst/>
                <a:gdLst>
                  <a:gd name="connsiteX0" fmla="*/ -78 w 140676"/>
                  <a:gd name="connsiteY0" fmla="*/ -74 h 164010"/>
                  <a:gd name="connsiteX1" fmla="*/ 140599 w 140676"/>
                  <a:gd name="connsiteY1" fmla="*/ -74 h 164010"/>
                  <a:gd name="connsiteX2" fmla="*/ 140599 w 140676"/>
                  <a:gd name="connsiteY2" fmla="*/ 163937 h 164010"/>
                  <a:gd name="connsiteX3" fmla="*/ -78 w 140676"/>
                  <a:gd name="connsiteY3" fmla="*/ 163937 h 164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0676" h="164010">
                    <a:moveTo>
                      <a:pt x="-78" y="-74"/>
                    </a:moveTo>
                    <a:lnTo>
                      <a:pt x="140599" y="-74"/>
                    </a:lnTo>
                    <a:lnTo>
                      <a:pt x="140599" y="163937"/>
                    </a:lnTo>
                    <a:lnTo>
                      <a:pt x="-78" y="163937"/>
                    </a:lnTo>
                    <a:close/>
                  </a:path>
                </a:pathLst>
              </a:custGeom>
              <a:solidFill>
                <a:schemeClr val="tx1">
                  <a:lumMod val="25000"/>
                  <a:lumOff val="75000"/>
                </a:schemeClr>
              </a:solidFill>
              <a:ln w="11723" cap="flat">
                <a:solidFill>
                  <a:srgbClr val="00497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AT"/>
              </a:p>
            </p:txBody>
          </p:sp>
          <p:sp>
            <p:nvSpPr>
              <p:cNvPr id="252" name="Textfeld 251">
                <a:extLst>
                  <a:ext uri="{FF2B5EF4-FFF2-40B4-BE49-F238E27FC236}">
                    <a16:creationId xmlns:a16="http://schemas.microsoft.com/office/drawing/2014/main" id="{4036D796-9508-9AB1-65B1-E9219D25F4FB}"/>
                  </a:ext>
                </a:extLst>
              </p:cNvPr>
              <p:cNvSpPr txBox="1"/>
              <p:nvPr/>
            </p:nvSpPr>
            <p:spPr>
              <a:xfrm>
                <a:off x="10863337" y="3468725"/>
                <a:ext cx="704161" cy="32983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>
                  <a:lnSpc>
                    <a:spcPct val="107000"/>
                  </a:lnSpc>
                </a:pPr>
                <a:r>
                  <a:rPr lang="de-AT" sz="739" spc="0" baseline="0">
                    <a:ln/>
                    <a:solidFill>
                      <a:srgbClr val="57565A"/>
                    </a:solidFill>
                    <a:latin typeface="Open Sans Light"/>
                    <a:ea typeface="Open Sans Light"/>
                    <a:cs typeface="Open Sans Light"/>
                    <a:sym typeface="Open Sans Light"/>
                    <a:rtl val="0"/>
                  </a:rPr>
                  <a:t>IT </a:t>
                </a:r>
                <a:r>
                  <a:rPr lang="de-AT" sz="739" spc="0" baseline="0" err="1">
                    <a:ln/>
                    <a:solidFill>
                      <a:srgbClr val="57565A"/>
                    </a:solidFill>
                    <a:latin typeface="Open Sans Light"/>
                    <a:ea typeface="Open Sans Light"/>
                    <a:cs typeface="Open Sans Light"/>
                    <a:sym typeface="Open Sans Light"/>
                    <a:rtl val="0"/>
                  </a:rPr>
                  <a:t>Operations</a:t>
                </a:r>
                <a:endParaRPr lang="de-AT" sz="739" spc="0" baseline="0">
                  <a:ln/>
                  <a:solidFill>
                    <a:srgbClr val="57565A"/>
                  </a:solidFill>
                  <a:latin typeface="Open Sans Light"/>
                  <a:ea typeface="Open Sans Light"/>
                  <a:cs typeface="Open Sans Light"/>
                  <a:sym typeface="Open Sans Light"/>
                  <a:rtl val="0"/>
                </a:endParaRPr>
              </a:p>
            </p:txBody>
          </p:sp>
        </p:grpSp>
      </p:grpSp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669DB751-5560-1E65-FBAA-F943221CF048}"/>
              </a:ext>
            </a:extLst>
          </p:cNvPr>
          <p:cNvCxnSpPr>
            <a:cxnSpLocks/>
            <a:endCxn id="246" idx="1"/>
          </p:cNvCxnSpPr>
          <p:nvPr/>
        </p:nvCxnSpPr>
        <p:spPr>
          <a:xfrm flipV="1">
            <a:off x="8128580" y="2964144"/>
            <a:ext cx="434304" cy="755"/>
          </a:xfrm>
          <a:prstGeom prst="straightConnector1">
            <a:avLst/>
          </a:prstGeom>
          <a:ln>
            <a:solidFill>
              <a:schemeClr val="tx1">
                <a:lumMod val="25000"/>
                <a:lumOff val="75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Freihandform: Form 29">
            <a:extLst>
              <a:ext uri="{FF2B5EF4-FFF2-40B4-BE49-F238E27FC236}">
                <a16:creationId xmlns:a16="http://schemas.microsoft.com/office/drawing/2014/main" id="{1B50B62F-8820-8A54-F919-882D6A462670}"/>
              </a:ext>
            </a:extLst>
          </p:cNvPr>
          <p:cNvSpPr/>
          <p:nvPr/>
        </p:nvSpPr>
        <p:spPr>
          <a:xfrm>
            <a:off x="968643" y="785095"/>
            <a:ext cx="4302861" cy="1535631"/>
          </a:xfrm>
          <a:custGeom>
            <a:avLst/>
            <a:gdLst>
              <a:gd name="connsiteX0" fmla="*/ -78 w 4794738"/>
              <a:gd name="connsiteY0" fmla="*/ -74 h 369024"/>
              <a:gd name="connsiteX1" fmla="*/ 4794661 w 4794738"/>
              <a:gd name="connsiteY1" fmla="*/ -74 h 369024"/>
              <a:gd name="connsiteX2" fmla="*/ 4794661 w 4794738"/>
              <a:gd name="connsiteY2" fmla="*/ 368950 h 369024"/>
              <a:gd name="connsiteX3" fmla="*/ -78 w 4794738"/>
              <a:gd name="connsiteY3" fmla="*/ 368950 h 3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94738" h="369024">
                <a:moveTo>
                  <a:pt x="-78" y="-74"/>
                </a:moveTo>
                <a:lnTo>
                  <a:pt x="4794661" y="-74"/>
                </a:lnTo>
                <a:lnTo>
                  <a:pt x="4794661" y="368950"/>
                </a:lnTo>
                <a:lnTo>
                  <a:pt x="-78" y="368950"/>
                </a:lnTo>
                <a:close/>
              </a:path>
            </a:pathLst>
          </a:custGeom>
          <a:solidFill>
            <a:schemeClr val="bg2"/>
          </a:solidFill>
          <a:ln w="11723" cap="flat">
            <a:solidFill>
              <a:schemeClr val="tx1"/>
            </a:solidFill>
            <a:prstDash val="solid"/>
            <a:round/>
          </a:ln>
        </p:spPr>
        <p:txBody>
          <a:bodyPr rtlCol="0" anchor="ctr"/>
          <a:lstStyle/>
          <a:p>
            <a:endParaRPr lang="de-AT"/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07499D0D-E404-73B9-8220-F75A8E488806}"/>
              </a:ext>
            </a:extLst>
          </p:cNvPr>
          <p:cNvSpPr txBox="1"/>
          <p:nvPr/>
        </p:nvSpPr>
        <p:spPr>
          <a:xfrm>
            <a:off x="1790095" y="1130606"/>
            <a:ext cx="1808768" cy="251351"/>
          </a:xfrm>
          <a:prstGeom prst="rect">
            <a:avLst/>
          </a:prstGeom>
          <a:solidFill>
            <a:srgbClr val="92D050"/>
          </a:solidFill>
          <a:ln>
            <a:solidFill>
              <a:schemeClr val="bg2"/>
            </a:solidFill>
          </a:ln>
        </p:spPr>
        <p:txBody>
          <a:bodyPr wrap="square" rtlCol="0">
            <a:spAutoFit/>
          </a:bodyPr>
          <a:lstStyle/>
          <a:p>
            <a:pPr algn="l">
              <a:lnSpc>
                <a:spcPct val="107000"/>
              </a:lnSpc>
            </a:pPr>
            <a:r>
              <a:rPr lang="de-AT" sz="1015">
                <a:ln/>
                <a:latin typeface="Open Sans Light"/>
                <a:ea typeface="Open Sans Light"/>
                <a:cs typeface="Open Sans Light"/>
                <a:sym typeface="Open Sans Light"/>
                <a:rtl val="0"/>
              </a:rPr>
              <a:t>George Client (Hey George)</a:t>
            </a:r>
            <a:endParaRPr lang="de-AT" sz="1015" spc="0" baseline="0">
              <a:ln/>
              <a:latin typeface="Open Sans Light"/>
              <a:ea typeface="Open Sans Light"/>
              <a:cs typeface="Open Sans Light"/>
              <a:sym typeface="Open Sans Light"/>
              <a:rtl val="0"/>
            </a:endParaRPr>
          </a:p>
        </p:txBody>
      </p:sp>
      <p:pic>
        <p:nvPicPr>
          <p:cNvPr id="239" name="pasted-image.pdf" descr="pasted-image.pdf">
            <a:extLst>
              <a:ext uri="{FF2B5EF4-FFF2-40B4-BE49-F238E27FC236}">
                <a16:creationId xmlns:a16="http://schemas.microsoft.com/office/drawing/2014/main" id="{AD299B20-70DF-DC07-9F12-20A39B3B4C3C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prstClr val="black"/>
              <a:schemeClr val="accent3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4210019" y="1278566"/>
            <a:ext cx="332669" cy="557707"/>
          </a:xfrm>
          <a:prstGeom prst="rect">
            <a:avLst/>
          </a:prstGeom>
          <a:ln w="3175">
            <a:miter lim="400000"/>
          </a:ln>
        </p:spPr>
      </p:pic>
      <p:sp>
        <p:nvSpPr>
          <p:cNvPr id="242" name="Textfeld 241">
            <a:extLst>
              <a:ext uri="{FF2B5EF4-FFF2-40B4-BE49-F238E27FC236}">
                <a16:creationId xmlns:a16="http://schemas.microsoft.com/office/drawing/2014/main" id="{C40B1BD5-AA31-5CA8-C02B-1F554492A993}"/>
              </a:ext>
            </a:extLst>
          </p:cNvPr>
          <p:cNvSpPr txBox="1"/>
          <p:nvPr/>
        </p:nvSpPr>
        <p:spPr>
          <a:xfrm>
            <a:off x="2467610" y="729024"/>
            <a:ext cx="1074910" cy="4006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07000"/>
              </a:lnSpc>
            </a:pPr>
            <a:r>
              <a:rPr lang="de-DE" sz="2000">
                <a:solidFill>
                  <a:schemeClr val="bg1"/>
                </a:solidFill>
              </a:rPr>
              <a:t>George</a:t>
            </a:r>
            <a:endParaRPr lang="de-AT" sz="1600" err="1">
              <a:solidFill>
                <a:schemeClr val="bg1"/>
              </a:solidFill>
            </a:endParaRPr>
          </a:p>
        </p:txBody>
      </p:sp>
      <p:cxnSp>
        <p:nvCxnSpPr>
          <p:cNvPr id="50" name="Gerade Verbindung mit Pfeil 49">
            <a:extLst>
              <a:ext uri="{FF2B5EF4-FFF2-40B4-BE49-F238E27FC236}">
                <a16:creationId xmlns:a16="http://schemas.microsoft.com/office/drawing/2014/main" id="{91485BF6-F913-B55A-FE76-07E1DAEF7881}"/>
              </a:ext>
            </a:extLst>
          </p:cNvPr>
          <p:cNvCxnSpPr>
            <a:cxnSpLocks/>
          </p:cNvCxnSpPr>
          <p:nvPr/>
        </p:nvCxnSpPr>
        <p:spPr>
          <a:xfrm>
            <a:off x="2673446" y="1370601"/>
            <a:ext cx="0" cy="303261"/>
          </a:xfrm>
          <a:prstGeom prst="straightConnector1">
            <a:avLst/>
          </a:prstGeom>
          <a:ln>
            <a:solidFill>
              <a:schemeClr val="accent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Gerade Verbindung mit Pfeil 205">
            <a:extLst>
              <a:ext uri="{FF2B5EF4-FFF2-40B4-BE49-F238E27FC236}">
                <a16:creationId xmlns:a16="http://schemas.microsoft.com/office/drawing/2014/main" id="{7883AF3E-A413-A69F-44C0-8C4FBC4F7097}"/>
              </a:ext>
            </a:extLst>
          </p:cNvPr>
          <p:cNvCxnSpPr>
            <a:cxnSpLocks/>
          </p:cNvCxnSpPr>
          <p:nvPr/>
        </p:nvCxnSpPr>
        <p:spPr>
          <a:xfrm>
            <a:off x="3592688" y="1918394"/>
            <a:ext cx="1823981" cy="37483"/>
          </a:xfrm>
          <a:prstGeom prst="straightConnector1">
            <a:avLst/>
          </a:prstGeom>
          <a:ln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5" name="Gruppieren 264">
            <a:extLst>
              <a:ext uri="{FF2B5EF4-FFF2-40B4-BE49-F238E27FC236}">
                <a16:creationId xmlns:a16="http://schemas.microsoft.com/office/drawing/2014/main" id="{5AC7DCD8-2114-1EC3-7584-17EE8C8DD45D}"/>
              </a:ext>
            </a:extLst>
          </p:cNvPr>
          <p:cNvGrpSpPr/>
          <p:nvPr/>
        </p:nvGrpSpPr>
        <p:grpSpPr>
          <a:xfrm>
            <a:off x="1762605" y="1640230"/>
            <a:ext cx="1814399" cy="608402"/>
            <a:chOff x="1060979" y="4442409"/>
            <a:chExt cx="1814399" cy="608402"/>
          </a:xfrm>
        </p:grpSpPr>
        <p:grpSp>
          <p:nvGrpSpPr>
            <p:cNvPr id="60" name="Gruppieren 59">
              <a:extLst>
                <a:ext uri="{FF2B5EF4-FFF2-40B4-BE49-F238E27FC236}">
                  <a16:creationId xmlns:a16="http://schemas.microsoft.com/office/drawing/2014/main" id="{31ABAF7E-CD22-DC87-2C40-5676E652A7FF}"/>
                </a:ext>
              </a:extLst>
            </p:cNvPr>
            <p:cNvGrpSpPr/>
            <p:nvPr/>
          </p:nvGrpSpPr>
          <p:grpSpPr>
            <a:xfrm>
              <a:off x="1060979" y="4442409"/>
              <a:ext cx="1814399" cy="608402"/>
              <a:chOff x="1076978" y="2522260"/>
              <a:chExt cx="1389556" cy="351777"/>
            </a:xfrm>
          </p:grpSpPr>
          <p:sp>
            <p:nvSpPr>
              <p:cNvPr id="263" name="Freihandform: Form 262">
                <a:extLst>
                  <a:ext uri="{FF2B5EF4-FFF2-40B4-BE49-F238E27FC236}">
                    <a16:creationId xmlns:a16="http://schemas.microsoft.com/office/drawing/2014/main" id="{2C032A74-71BF-342A-85EB-9ED9F374B877}"/>
                  </a:ext>
                </a:extLst>
              </p:cNvPr>
              <p:cNvSpPr/>
              <p:nvPr/>
            </p:nvSpPr>
            <p:spPr>
              <a:xfrm>
                <a:off x="1130104" y="2544552"/>
                <a:ext cx="1336430" cy="329485"/>
              </a:xfrm>
              <a:custGeom>
                <a:avLst/>
                <a:gdLst>
                  <a:gd name="connsiteX0" fmla="*/ -78 w 1336430"/>
                  <a:gd name="connsiteY0" fmla="*/ -74 h 2325437"/>
                  <a:gd name="connsiteX1" fmla="*/ 1336353 w 1336430"/>
                  <a:gd name="connsiteY1" fmla="*/ -74 h 2325437"/>
                  <a:gd name="connsiteX2" fmla="*/ 1336353 w 1336430"/>
                  <a:gd name="connsiteY2" fmla="*/ 2325363 h 2325437"/>
                  <a:gd name="connsiteX3" fmla="*/ -78 w 1336430"/>
                  <a:gd name="connsiteY3" fmla="*/ 2325363 h 2325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36430" h="2325437">
                    <a:moveTo>
                      <a:pt x="-78" y="-74"/>
                    </a:moveTo>
                    <a:lnTo>
                      <a:pt x="1336353" y="-74"/>
                    </a:lnTo>
                    <a:lnTo>
                      <a:pt x="1336353" y="2325363"/>
                    </a:lnTo>
                    <a:lnTo>
                      <a:pt x="-78" y="2325363"/>
                    </a:lnTo>
                    <a:close/>
                  </a:path>
                </a:pathLst>
              </a:custGeom>
              <a:solidFill>
                <a:srgbClr val="92D050"/>
              </a:solidFill>
              <a:ln w="11723" cap="flat">
                <a:solidFill>
                  <a:srgbClr val="00497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AT"/>
              </a:p>
            </p:txBody>
          </p:sp>
          <p:sp>
            <p:nvSpPr>
              <p:cNvPr id="264" name="Textfeld 263">
                <a:extLst>
                  <a:ext uri="{FF2B5EF4-FFF2-40B4-BE49-F238E27FC236}">
                    <a16:creationId xmlns:a16="http://schemas.microsoft.com/office/drawing/2014/main" id="{11B6AD2A-5DE4-95D5-4C0A-66E9690DD3F3}"/>
                  </a:ext>
                </a:extLst>
              </p:cNvPr>
              <p:cNvSpPr txBox="1"/>
              <p:nvPr/>
            </p:nvSpPr>
            <p:spPr>
              <a:xfrm>
                <a:off x="1076978" y="2522260"/>
                <a:ext cx="1014292" cy="1439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lnSpc>
                    <a:spcPct val="107000"/>
                  </a:lnSpc>
                </a:pPr>
                <a:r>
                  <a:rPr lang="de-DE" sz="1000">
                    <a:latin typeface="Open Sans Light" panose="020B0306030504020204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George Master BOT</a:t>
                </a:r>
                <a:endParaRPr lang="de-AT" sz="923" spc="0" baseline="0">
                  <a:ln/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  <a:sym typeface="Open Sans Light"/>
                  <a:rtl val="0"/>
                </a:endParaRPr>
              </a:p>
            </p:txBody>
          </p:sp>
        </p:grpSp>
        <p:pic>
          <p:nvPicPr>
            <p:cNvPr id="59" name="Graphic 4" descr="Robot outline">
              <a:extLst>
                <a:ext uri="{FF2B5EF4-FFF2-40B4-BE49-F238E27FC236}">
                  <a16:creationId xmlns:a16="http://schemas.microsoft.com/office/drawing/2014/main" id="{53C66768-54A1-14D9-832F-CAA6A6203ED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flipH="1">
              <a:off x="1159434" y="4658742"/>
              <a:ext cx="387818" cy="387818"/>
            </a:xfrm>
            <a:prstGeom prst="rect">
              <a:avLst/>
            </a:prstGeom>
          </p:spPr>
        </p:pic>
      </p:grpSp>
      <p:cxnSp>
        <p:nvCxnSpPr>
          <p:cNvPr id="302" name="Verbinder: gewinkelt 301">
            <a:extLst>
              <a:ext uri="{FF2B5EF4-FFF2-40B4-BE49-F238E27FC236}">
                <a16:creationId xmlns:a16="http://schemas.microsoft.com/office/drawing/2014/main" id="{1BA358C7-A5CD-8DB4-B7FC-343DDEC98BC1}"/>
              </a:ext>
            </a:extLst>
          </p:cNvPr>
          <p:cNvCxnSpPr>
            <a:cxnSpLocks/>
          </p:cNvCxnSpPr>
          <p:nvPr/>
        </p:nvCxnSpPr>
        <p:spPr>
          <a:xfrm rot="5400000">
            <a:off x="4169755" y="3780967"/>
            <a:ext cx="732780" cy="272"/>
          </a:xfrm>
          <a:prstGeom prst="bentConnector3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8" name="Gerade Verbindung mit Pfeil 307">
            <a:extLst>
              <a:ext uri="{FF2B5EF4-FFF2-40B4-BE49-F238E27FC236}">
                <a16:creationId xmlns:a16="http://schemas.microsoft.com/office/drawing/2014/main" id="{7D2207AE-62E0-AB78-0094-6F2A42A68C95}"/>
              </a:ext>
            </a:extLst>
          </p:cNvPr>
          <p:cNvCxnSpPr>
            <a:cxnSpLocks/>
          </p:cNvCxnSpPr>
          <p:nvPr/>
        </p:nvCxnSpPr>
        <p:spPr>
          <a:xfrm>
            <a:off x="6666822" y="3411477"/>
            <a:ext cx="0" cy="256691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BC3753D8-602F-701B-4030-59FED698FFA4}"/>
              </a:ext>
            </a:extLst>
          </p:cNvPr>
          <p:cNvGrpSpPr/>
          <p:nvPr/>
        </p:nvGrpSpPr>
        <p:grpSpPr>
          <a:xfrm>
            <a:off x="991173" y="3548739"/>
            <a:ext cx="1858201" cy="566245"/>
            <a:chOff x="1076978" y="2522260"/>
            <a:chExt cx="1858201" cy="566245"/>
          </a:xfrm>
        </p:grpSpPr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B6B1725C-0E52-1777-4BFF-BD4F77136732}"/>
                </a:ext>
              </a:extLst>
            </p:cNvPr>
            <p:cNvSpPr/>
            <p:nvPr/>
          </p:nvSpPr>
          <p:spPr>
            <a:xfrm>
              <a:off x="1130104" y="2544551"/>
              <a:ext cx="1336430" cy="468946"/>
            </a:xfrm>
            <a:custGeom>
              <a:avLst/>
              <a:gdLst>
                <a:gd name="connsiteX0" fmla="*/ -78 w 1336430"/>
                <a:gd name="connsiteY0" fmla="*/ -74 h 2325437"/>
                <a:gd name="connsiteX1" fmla="*/ 1336353 w 1336430"/>
                <a:gd name="connsiteY1" fmla="*/ -74 h 2325437"/>
                <a:gd name="connsiteX2" fmla="*/ 1336353 w 1336430"/>
                <a:gd name="connsiteY2" fmla="*/ 2325363 h 2325437"/>
                <a:gd name="connsiteX3" fmla="*/ -78 w 1336430"/>
                <a:gd name="connsiteY3" fmla="*/ 2325363 h 2325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36430" h="2325437">
                  <a:moveTo>
                    <a:pt x="-78" y="-74"/>
                  </a:moveTo>
                  <a:lnTo>
                    <a:pt x="1336353" y="-74"/>
                  </a:lnTo>
                  <a:lnTo>
                    <a:pt x="1336353" y="2325363"/>
                  </a:lnTo>
                  <a:lnTo>
                    <a:pt x="-78" y="2325363"/>
                  </a:lnTo>
                  <a:close/>
                </a:path>
              </a:pathLst>
            </a:custGeom>
            <a:solidFill>
              <a:srgbClr val="239CCE"/>
            </a:solidFill>
            <a:ln w="11723" cap="flat">
              <a:solidFill>
                <a:srgbClr val="00497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AT"/>
            </a:p>
          </p:txBody>
        </p:sp>
        <p:sp>
          <p:nvSpPr>
            <p:cNvPr id="28" name="Textfeld 27">
              <a:extLst>
                <a:ext uri="{FF2B5EF4-FFF2-40B4-BE49-F238E27FC236}">
                  <a16:creationId xmlns:a16="http://schemas.microsoft.com/office/drawing/2014/main" id="{6670570C-7A4F-D54D-1900-330EAA42FAC7}"/>
                </a:ext>
              </a:extLst>
            </p:cNvPr>
            <p:cNvSpPr txBox="1"/>
            <p:nvPr/>
          </p:nvSpPr>
          <p:spPr>
            <a:xfrm>
              <a:off x="1076978" y="2522260"/>
              <a:ext cx="1858201" cy="566245"/>
            </a:xfrm>
            <a:prstGeom prst="rect">
              <a:avLst/>
            </a:prstGeom>
            <a:solidFill>
              <a:srgbClr val="FFC000"/>
            </a:solidFill>
          </p:spPr>
          <p:txBody>
            <a:bodyPr wrap="none" rtlCol="0">
              <a:spAutoFit/>
            </a:bodyPr>
            <a:lstStyle/>
            <a:p>
              <a:pPr>
                <a:lnSpc>
                  <a:spcPct val="107000"/>
                </a:lnSpc>
              </a:pPr>
              <a:r>
                <a:rPr lang="de-DE" sz="1000" b="1"/>
                <a:t>Development </a:t>
              </a:r>
              <a:r>
                <a:rPr lang="de-DE" sz="1000" b="1" err="1"/>
                <a:t>environment</a:t>
              </a:r>
              <a:endParaRPr lang="de-DE" sz="1000" b="1"/>
            </a:p>
            <a:p>
              <a:pPr>
                <a:lnSpc>
                  <a:spcPct val="107000"/>
                </a:lnSpc>
              </a:pPr>
              <a:r>
                <a:rPr lang="de-DE" sz="1000"/>
                <a:t>Java / Python / …</a:t>
              </a:r>
            </a:p>
            <a:p>
              <a:pPr algn="l">
                <a:lnSpc>
                  <a:spcPct val="107000"/>
                </a:lnSpc>
              </a:pPr>
              <a:endParaRPr lang="de-AT" sz="923" spc="0" baseline="0">
                <a:ln/>
                <a:solidFill>
                  <a:schemeClr val="bg1"/>
                </a:solidFill>
                <a:latin typeface="Open Sans Light"/>
                <a:ea typeface="Open Sans Light"/>
                <a:cs typeface="Open Sans Light"/>
                <a:sym typeface="Open Sans Light"/>
                <a:rtl val="0"/>
              </a:endParaRPr>
            </a:p>
          </p:txBody>
        </p:sp>
      </p:grpSp>
      <p:cxnSp>
        <p:nvCxnSpPr>
          <p:cNvPr id="224" name="Verbinder: gewinkelt 223">
            <a:extLst>
              <a:ext uri="{FF2B5EF4-FFF2-40B4-BE49-F238E27FC236}">
                <a16:creationId xmlns:a16="http://schemas.microsoft.com/office/drawing/2014/main" id="{4BF496D6-ADD1-B374-8D21-3586E748D8F0}"/>
              </a:ext>
            </a:extLst>
          </p:cNvPr>
          <p:cNvCxnSpPr>
            <a:cxnSpLocks/>
            <a:stCxn id="28" idx="3"/>
            <a:endCxn id="29" idx="4"/>
          </p:cNvCxnSpPr>
          <p:nvPr/>
        </p:nvCxnSpPr>
        <p:spPr>
          <a:xfrm flipV="1">
            <a:off x="2849374" y="3233232"/>
            <a:ext cx="1424394" cy="598630"/>
          </a:xfrm>
          <a:prstGeom prst="bentConnector2">
            <a:avLst/>
          </a:prstGeom>
          <a:ln>
            <a:solidFill>
              <a:srgbClr val="FFC000"/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Freihandform: Form 324">
            <a:extLst>
              <a:ext uri="{FF2B5EF4-FFF2-40B4-BE49-F238E27FC236}">
                <a16:creationId xmlns:a16="http://schemas.microsoft.com/office/drawing/2014/main" id="{53B4AE9F-470B-93D2-877D-23070AADBF7A}"/>
              </a:ext>
            </a:extLst>
          </p:cNvPr>
          <p:cNvSpPr/>
          <p:nvPr/>
        </p:nvSpPr>
        <p:spPr>
          <a:xfrm>
            <a:off x="642765" y="5153469"/>
            <a:ext cx="10583971" cy="304625"/>
          </a:xfrm>
          <a:custGeom>
            <a:avLst/>
            <a:gdLst>
              <a:gd name="connsiteX0" fmla="*/ -78 w 1336430"/>
              <a:gd name="connsiteY0" fmla="*/ -74 h 2325437"/>
              <a:gd name="connsiteX1" fmla="*/ 1336353 w 1336430"/>
              <a:gd name="connsiteY1" fmla="*/ -74 h 2325437"/>
              <a:gd name="connsiteX2" fmla="*/ 1336353 w 1336430"/>
              <a:gd name="connsiteY2" fmla="*/ 2325363 h 2325437"/>
              <a:gd name="connsiteX3" fmla="*/ -78 w 1336430"/>
              <a:gd name="connsiteY3" fmla="*/ 2325363 h 2325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36430" h="2325437">
                <a:moveTo>
                  <a:pt x="-78" y="-74"/>
                </a:moveTo>
                <a:lnTo>
                  <a:pt x="1336353" y="-74"/>
                </a:lnTo>
                <a:lnTo>
                  <a:pt x="1336353" y="2325363"/>
                </a:lnTo>
                <a:lnTo>
                  <a:pt x="-78" y="2325363"/>
                </a:lnTo>
                <a:close/>
              </a:path>
            </a:pathLst>
          </a:custGeom>
          <a:solidFill>
            <a:srgbClr val="FF0000">
              <a:alpha val="26531"/>
            </a:srgbClr>
          </a:solidFill>
          <a:ln w="11723" cap="flat">
            <a:noFill/>
            <a:prstDash val="solid"/>
            <a:round/>
          </a:ln>
        </p:spPr>
        <p:txBody>
          <a:bodyPr rtlCol="0" anchor="t"/>
          <a:lstStyle/>
          <a:p>
            <a:r>
              <a:rPr lang="de-DE" sz="1600"/>
              <a:t>API Gateway (A. Steiner)</a:t>
            </a:r>
          </a:p>
          <a:p>
            <a:endParaRPr lang="de-DE" sz="1600"/>
          </a:p>
        </p:txBody>
      </p:sp>
      <p:cxnSp>
        <p:nvCxnSpPr>
          <p:cNvPr id="52" name="Gerade Verbindung mit Pfeil 51">
            <a:extLst>
              <a:ext uri="{FF2B5EF4-FFF2-40B4-BE49-F238E27FC236}">
                <a16:creationId xmlns:a16="http://schemas.microsoft.com/office/drawing/2014/main" id="{CAD94960-6092-CB4B-2238-F141A8125A8D}"/>
              </a:ext>
            </a:extLst>
          </p:cNvPr>
          <p:cNvCxnSpPr>
            <a:cxnSpLocks/>
          </p:cNvCxnSpPr>
          <p:nvPr/>
        </p:nvCxnSpPr>
        <p:spPr>
          <a:xfrm>
            <a:off x="1915676" y="5555779"/>
            <a:ext cx="7308388" cy="1144"/>
          </a:xfrm>
          <a:prstGeom prst="straightConnector1">
            <a:avLst/>
          </a:prstGeom>
          <a:ln>
            <a:solidFill>
              <a:srgbClr val="FF0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mit Pfeil 57">
            <a:extLst>
              <a:ext uri="{FF2B5EF4-FFF2-40B4-BE49-F238E27FC236}">
                <a16:creationId xmlns:a16="http://schemas.microsoft.com/office/drawing/2014/main" id="{33379359-6D6A-62B6-4755-DA8CC32C0023}"/>
              </a:ext>
            </a:extLst>
          </p:cNvPr>
          <p:cNvCxnSpPr>
            <a:cxnSpLocks/>
          </p:cNvCxnSpPr>
          <p:nvPr/>
        </p:nvCxnSpPr>
        <p:spPr>
          <a:xfrm>
            <a:off x="5950143" y="5458094"/>
            <a:ext cx="0" cy="100891"/>
          </a:xfrm>
          <a:prstGeom prst="straightConnector1">
            <a:avLst/>
          </a:prstGeom>
          <a:ln>
            <a:solidFill>
              <a:srgbClr val="FF0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1" name="Gerade Verbindung mit Pfeil 270">
            <a:extLst>
              <a:ext uri="{FF2B5EF4-FFF2-40B4-BE49-F238E27FC236}">
                <a16:creationId xmlns:a16="http://schemas.microsoft.com/office/drawing/2014/main" id="{6C446A4D-383A-5011-7F2C-2E011E09B2AA}"/>
              </a:ext>
            </a:extLst>
          </p:cNvPr>
          <p:cNvCxnSpPr>
            <a:cxnSpLocks/>
            <a:endCxn id="332" idx="0"/>
          </p:cNvCxnSpPr>
          <p:nvPr/>
        </p:nvCxnSpPr>
        <p:spPr>
          <a:xfrm>
            <a:off x="4762971" y="5556923"/>
            <a:ext cx="0" cy="166989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4" name="Gerade Verbindung mit Pfeil 273">
            <a:extLst>
              <a:ext uri="{FF2B5EF4-FFF2-40B4-BE49-F238E27FC236}">
                <a16:creationId xmlns:a16="http://schemas.microsoft.com/office/drawing/2014/main" id="{9CBDB4A1-23EA-4F1E-4144-468276AF7D4B}"/>
              </a:ext>
            </a:extLst>
          </p:cNvPr>
          <p:cNvCxnSpPr>
            <a:cxnSpLocks/>
          </p:cNvCxnSpPr>
          <p:nvPr/>
        </p:nvCxnSpPr>
        <p:spPr>
          <a:xfrm>
            <a:off x="6332032" y="5556923"/>
            <a:ext cx="0" cy="18006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6" name="Gerade Verbindung mit Pfeil 275">
            <a:extLst>
              <a:ext uri="{FF2B5EF4-FFF2-40B4-BE49-F238E27FC236}">
                <a16:creationId xmlns:a16="http://schemas.microsoft.com/office/drawing/2014/main" id="{E8BF80B5-DFD6-3957-BC7A-40C17F191793}"/>
              </a:ext>
            </a:extLst>
          </p:cNvPr>
          <p:cNvCxnSpPr>
            <a:cxnSpLocks/>
            <a:endCxn id="335" idx="0"/>
          </p:cNvCxnSpPr>
          <p:nvPr/>
        </p:nvCxnSpPr>
        <p:spPr>
          <a:xfrm>
            <a:off x="9224064" y="5555815"/>
            <a:ext cx="0" cy="16809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1" name="Gerade Verbindung mit Pfeil 280">
            <a:extLst>
              <a:ext uri="{FF2B5EF4-FFF2-40B4-BE49-F238E27FC236}">
                <a16:creationId xmlns:a16="http://schemas.microsoft.com/office/drawing/2014/main" id="{4CA11BE1-2C58-486A-0FD3-B1D7F48C067B}"/>
              </a:ext>
            </a:extLst>
          </p:cNvPr>
          <p:cNvCxnSpPr>
            <a:cxnSpLocks/>
            <a:endCxn id="326" idx="0"/>
          </p:cNvCxnSpPr>
          <p:nvPr/>
        </p:nvCxnSpPr>
        <p:spPr>
          <a:xfrm>
            <a:off x="1915677" y="5555815"/>
            <a:ext cx="0" cy="16809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0" name="Gruppieren 289">
            <a:extLst>
              <a:ext uri="{FF2B5EF4-FFF2-40B4-BE49-F238E27FC236}">
                <a16:creationId xmlns:a16="http://schemas.microsoft.com/office/drawing/2014/main" id="{2D5998FC-93A3-A82B-B07F-7C2D0CA0C81B}"/>
              </a:ext>
            </a:extLst>
          </p:cNvPr>
          <p:cNvGrpSpPr/>
          <p:nvPr/>
        </p:nvGrpSpPr>
        <p:grpSpPr>
          <a:xfrm>
            <a:off x="3969012" y="2603872"/>
            <a:ext cx="648000" cy="648000"/>
            <a:chOff x="3671504" y="2552637"/>
            <a:chExt cx="648000" cy="648000"/>
          </a:xfrm>
        </p:grpSpPr>
        <p:sp>
          <p:nvSpPr>
            <p:cNvPr id="291" name="Ellipse 290">
              <a:extLst>
                <a:ext uri="{FF2B5EF4-FFF2-40B4-BE49-F238E27FC236}">
                  <a16:creationId xmlns:a16="http://schemas.microsoft.com/office/drawing/2014/main" id="{9DF4637D-F38A-BA74-98C6-4EE50ABE4374}"/>
                </a:ext>
              </a:extLst>
            </p:cNvPr>
            <p:cNvSpPr/>
            <p:nvPr/>
          </p:nvSpPr>
          <p:spPr>
            <a:xfrm>
              <a:off x="3671504" y="2552637"/>
              <a:ext cx="648000" cy="64800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7000"/>
                </a:lnSpc>
              </a:pPr>
              <a:endParaRPr lang="de-AT" sz="700">
                <a:solidFill>
                  <a:schemeClr val="tx1"/>
                </a:solidFill>
              </a:endParaRPr>
            </a:p>
          </p:txBody>
        </p:sp>
        <p:pic>
          <p:nvPicPr>
            <p:cNvPr id="292" name="Picture 2">
              <a:extLst>
                <a:ext uri="{FF2B5EF4-FFF2-40B4-BE49-F238E27FC236}">
                  <a16:creationId xmlns:a16="http://schemas.microsoft.com/office/drawing/2014/main" id="{BAD5AAE7-A2A3-DE2E-63A1-51BAECBB213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87202" y="2667800"/>
              <a:ext cx="388800" cy="3888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89" name="Gruppieren 288">
            <a:extLst>
              <a:ext uri="{FF2B5EF4-FFF2-40B4-BE49-F238E27FC236}">
                <a16:creationId xmlns:a16="http://schemas.microsoft.com/office/drawing/2014/main" id="{69FD0117-71D4-6608-D27E-146108D39A98}"/>
              </a:ext>
            </a:extLst>
          </p:cNvPr>
          <p:cNvGrpSpPr/>
          <p:nvPr/>
        </p:nvGrpSpPr>
        <p:grpSpPr>
          <a:xfrm>
            <a:off x="3949768" y="2585232"/>
            <a:ext cx="648000" cy="648000"/>
            <a:chOff x="3671504" y="2552637"/>
            <a:chExt cx="648000" cy="648000"/>
          </a:xfrm>
        </p:grpSpPr>
        <p:sp>
          <p:nvSpPr>
            <p:cNvPr id="29" name="Ellipse 28">
              <a:extLst>
                <a:ext uri="{FF2B5EF4-FFF2-40B4-BE49-F238E27FC236}">
                  <a16:creationId xmlns:a16="http://schemas.microsoft.com/office/drawing/2014/main" id="{44C9F68A-859A-E39D-DCD1-5E5C86B7B984}"/>
                </a:ext>
              </a:extLst>
            </p:cNvPr>
            <p:cNvSpPr/>
            <p:nvPr/>
          </p:nvSpPr>
          <p:spPr>
            <a:xfrm>
              <a:off x="3671504" y="2552637"/>
              <a:ext cx="648000" cy="64800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7000"/>
                </a:lnSpc>
              </a:pPr>
              <a:endParaRPr lang="de-AT" sz="700">
                <a:solidFill>
                  <a:schemeClr val="tx1"/>
                </a:solidFill>
              </a:endParaRPr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9B2488DB-97F9-E1EA-BFDD-78F34FD7004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87202" y="2667800"/>
              <a:ext cx="388800" cy="3888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40696974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39FE364-D835-1CA0-EAE2-3DE0594B35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Who </a:t>
            </a:r>
            <a:r>
              <a:rPr lang="de-DE" err="1"/>
              <a:t>is</a:t>
            </a:r>
            <a:r>
              <a:rPr lang="de-DE"/>
              <a:t> </a:t>
            </a:r>
            <a:r>
              <a:rPr lang="de-DE" err="1"/>
              <a:t>taking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lead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a </a:t>
            </a:r>
            <a:r>
              <a:rPr lang="de-DE" err="1"/>
              <a:t>specific</a:t>
            </a:r>
            <a:r>
              <a:rPr lang="de-DE"/>
              <a:t> AT </a:t>
            </a:r>
            <a:r>
              <a:rPr lang="de-DE" err="1"/>
              <a:t>chatbot</a:t>
            </a:r>
            <a:r>
              <a:rPr lang="de-DE"/>
              <a:t> </a:t>
            </a:r>
            <a:r>
              <a:rPr lang="de-DE" err="1"/>
              <a:t>usecase</a:t>
            </a:r>
            <a:r>
              <a:rPr lang="de-DE"/>
              <a:t>?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1897E71-8AFF-C212-B1C9-DEA217931D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</a:rPr>
              <a:t>23.11.2023</a:t>
            </a: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cs typeface="+mn-cs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30FEF30-8DDA-FC2D-B512-B5C3181AB4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cs typeface="+mn-cs"/>
            </a:endParaRP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273460D-801D-C686-9CEC-46B28AC76D7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24F9359A-55DC-C766-4032-AAFADB1A10B0}"/>
              </a:ext>
            </a:extLst>
          </p:cNvPr>
          <p:cNvGrpSpPr/>
          <p:nvPr/>
        </p:nvGrpSpPr>
        <p:grpSpPr>
          <a:xfrm>
            <a:off x="988859" y="1471664"/>
            <a:ext cx="455492" cy="671220"/>
            <a:chOff x="636550" y="2682340"/>
            <a:chExt cx="455492" cy="671220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7FC36D99-9579-810C-69AC-5575EBF756D9}"/>
                </a:ext>
              </a:extLst>
            </p:cNvPr>
            <p:cNvSpPr/>
            <p:nvPr/>
          </p:nvSpPr>
          <p:spPr>
            <a:xfrm>
              <a:off x="696686" y="2682340"/>
              <a:ext cx="324000" cy="32400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7000"/>
                </a:lnSpc>
              </a:pPr>
              <a:endParaRPr lang="de-DE" sz="1600" err="1"/>
            </a:p>
          </p:txBody>
        </p:sp>
        <p:sp>
          <p:nvSpPr>
            <p:cNvPr id="10" name="Dreieck 9">
              <a:extLst>
                <a:ext uri="{FF2B5EF4-FFF2-40B4-BE49-F238E27FC236}">
                  <a16:creationId xmlns:a16="http://schemas.microsoft.com/office/drawing/2014/main" id="{1FD9EC3F-6300-920C-A6C7-1B649320A6FF}"/>
                </a:ext>
              </a:extLst>
            </p:cNvPr>
            <p:cNvSpPr/>
            <p:nvPr/>
          </p:nvSpPr>
          <p:spPr>
            <a:xfrm>
              <a:off x="636550" y="2784194"/>
              <a:ext cx="455492" cy="569366"/>
            </a:xfrm>
            <a:prstGeom prst="triangl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7000"/>
                </a:lnSpc>
              </a:pPr>
              <a:endParaRPr lang="de-DE" sz="1600" err="1"/>
            </a:p>
          </p:txBody>
        </p:sp>
      </p:grpSp>
      <p:sp>
        <p:nvSpPr>
          <p:cNvPr id="12" name="Textfeld 11">
            <a:extLst>
              <a:ext uri="{FF2B5EF4-FFF2-40B4-BE49-F238E27FC236}">
                <a16:creationId xmlns:a16="http://schemas.microsoft.com/office/drawing/2014/main" id="{42043092-B154-7C85-B7A9-ACD05892F671}"/>
              </a:ext>
            </a:extLst>
          </p:cNvPr>
          <p:cNvSpPr txBox="1"/>
          <p:nvPr/>
        </p:nvSpPr>
        <p:spPr>
          <a:xfrm>
            <a:off x="603296" y="2075236"/>
            <a:ext cx="1226618" cy="3390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07000"/>
              </a:lnSpc>
            </a:pPr>
            <a:r>
              <a:rPr lang="de-DE" sz="1600"/>
              <a:t>George AT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876E2297-C1EB-9822-3496-5CD5F795F2D7}"/>
              </a:ext>
            </a:extLst>
          </p:cNvPr>
          <p:cNvGrpSpPr/>
          <p:nvPr/>
        </p:nvGrpSpPr>
        <p:grpSpPr>
          <a:xfrm>
            <a:off x="988859" y="3309315"/>
            <a:ext cx="455492" cy="671220"/>
            <a:chOff x="636550" y="2682340"/>
            <a:chExt cx="455492" cy="671220"/>
          </a:xfrm>
          <a:solidFill>
            <a:schemeClr val="bg2">
              <a:lumMod val="50000"/>
            </a:schemeClr>
          </a:solidFill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6DC2CC56-B04D-B533-D00E-2A9B4795230F}"/>
                </a:ext>
              </a:extLst>
            </p:cNvPr>
            <p:cNvSpPr/>
            <p:nvPr/>
          </p:nvSpPr>
          <p:spPr>
            <a:xfrm>
              <a:off x="696686" y="2682340"/>
              <a:ext cx="324000" cy="32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7000"/>
                </a:lnSpc>
              </a:pPr>
              <a:endParaRPr lang="de-DE" sz="1600" err="1"/>
            </a:p>
          </p:txBody>
        </p:sp>
        <p:sp>
          <p:nvSpPr>
            <p:cNvPr id="15" name="Dreieck 14">
              <a:extLst>
                <a:ext uri="{FF2B5EF4-FFF2-40B4-BE49-F238E27FC236}">
                  <a16:creationId xmlns:a16="http://schemas.microsoft.com/office/drawing/2014/main" id="{89F6D9E6-9D65-D0A1-AEDA-92B6BB860BDA}"/>
                </a:ext>
              </a:extLst>
            </p:cNvPr>
            <p:cNvSpPr/>
            <p:nvPr/>
          </p:nvSpPr>
          <p:spPr>
            <a:xfrm>
              <a:off x="636550" y="2784194"/>
              <a:ext cx="455492" cy="569366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7000"/>
                </a:lnSpc>
              </a:pPr>
              <a:endParaRPr lang="de-DE" sz="1600" err="1"/>
            </a:p>
          </p:txBody>
        </p:sp>
      </p:grpSp>
      <p:sp>
        <p:nvSpPr>
          <p:cNvPr id="16" name="Textfeld 15">
            <a:extLst>
              <a:ext uri="{FF2B5EF4-FFF2-40B4-BE49-F238E27FC236}">
                <a16:creationId xmlns:a16="http://schemas.microsoft.com/office/drawing/2014/main" id="{A073F2F0-B341-7B7C-26F5-CA9C5FDAA5C6}"/>
              </a:ext>
            </a:extLst>
          </p:cNvPr>
          <p:cNvSpPr txBox="1"/>
          <p:nvPr/>
        </p:nvSpPr>
        <p:spPr>
          <a:xfrm>
            <a:off x="423760" y="3930939"/>
            <a:ext cx="1585690" cy="3390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07000"/>
              </a:lnSpc>
            </a:pPr>
            <a:r>
              <a:rPr lang="de-DE" sz="1600"/>
              <a:t>AT </a:t>
            </a:r>
            <a:r>
              <a:rPr lang="de-DE" sz="1600" err="1"/>
              <a:t>cust.facing</a:t>
            </a:r>
            <a:endParaRPr lang="de-DE" sz="1600"/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844F614C-5A54-6E87-2B25-50ABAFBD4097}"/>
              </a:ext>
            </a:extLst>
          </p:cNvPr>
          <p:cNvGrpSpPr/>
          <p:nvPr/>
        </p:nvGrpSpPr>
        <p:grpSpPr>
          <a:xfrm>
            <a:off x="988859" y="4477734"/>
            <a:ext cx="455492" cy="671220"/>
            <a:chOff x="636550" y="2682340"/>
            <a:chExt cx="455492" cy="671220"/>
          </a:xfrm>
          <a:solidFill>
            <a:schemeClr val="bg2">
              <a:lumMod val="50000"/>
            </a:schemeClr>
          </a:solidFill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6415F6D8-C426-6111-1085-DF4DC693B5DD}"/>
                </a:ext>
              </a:extLst>
            </p:cNvPr>
            <p:cNvSpPr/>
            <p:nvPr/>
          </p:nvSpPr>
          <p:spPr>
            <a:xfrm>
              <a:off x="696686" y="2682340"/>
              <a:ext cx="324000" cy="32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7000"/>
                </a:lnSpc>
              </a:pPr>
              <a:endParaRPr lang="de-DE" sz="1600" err="1"/>
            </a:p>
          </p:txBody>
        </p:sp>
        <p:sp>
          <p:nvSpPr>
            <p:cNvPr id="19" name="Dreieck 18">
              <a:extLst>
                <a:ext uri="{FF2B5EF4-FFF2-40B4-BE49-F238E27FC236}">
                  <a16:creationId xmlns:a16="http://schemas.microsoft.com/office/drawing/2014/main" id="{08314E76-B8B1-C75C-58C4-2B9C8175BBCD}"/>
                </a:ext>
              </a:extLst>
            </p:cNvPr>
            <p:cNvSpPr/>
            <p:nvPr/>
          </p:nvSpPr>
          <p:spPr>
            <a:xfrm>
              <a:off x="636550" y="2784194"/>
              <a:ext cx="455492" cy="569366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7000"/>
                </a:lnSpc>
              </a:pPr>
              <a:endParaRPr lang="de-DE" sz="1600" err="1"/>
            </a:p>
          </p:txBody>
        </p:sp>
      </p:grpSp>
      <p:sp>
        <p:nvSpPr>
          <p:cNvPr id="20" name="Textfeld 19">
            <a:extLst>
              <a:ext uri="{FF2B5EF4-FFF2-40B4-BE49-F238E27FC236}">
                <a16:creationId xmlns:a16="http://schemas.microsoft.com/office/drawing/2014/main" id="{1DFD488E-3A2D-BD53-6955-1B281C318A0E}"/>
              </a:ext>
            </a:extLst>
          </p:cNvPr>
          <p:cNvSpPr txBox="1"/>
          <p:nvPr/>
        </p:nvSpPr>
        <p:spPr>
          <a:xfrm>
            <a:off x="397310" y="5148954"/>
            <a:ext cx="1638590" cy="3390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07000"/>
              </a:lnSpc>
            </a:pPr>
            <a:r>
              <a:rPr lang="de-DE" sz="1600"/>
              <a:t>AT </a:t>
            </a:r>
            <a:r>
              <a:rPr lang="de-DE" sz="1600" err="1"/>
              <a:t>empl.facing</a:t>
            </a:r>
            <a:endParaRPr lang="de-DE" sz="1600"/>
          </a:p>
        </p:txBody>
      </p:sp>
      <p:sp>
        <p:nvSpPr>
          <p:cNvPr id="21" name="Abgerundete rechteckige Legende 20">
            <a:extLst>
              <a:ext uri="{FF2B5EF4-FFF2-40B4-BE49-F238E27FC236}">
                <a16:creationId xmlns:a16="http://schemas.microsoft.com/office/drawing/2014/main" id="{986B2F71-4CC6-169E-A9FE-788E42E03A11}"/>
              </a:ext>
            </a:extLst>
          </p:cNvPr>
          <p:cNvSpPr/>
          <p:nvPr/>
        </p:nvSpPr>
        <p:spPr>
          <a:xfrm>
            <a:off x="2404997" y="3015928"/>
            <a:ext cx="2091847" cy="1066565"/>
          </a:xfrm>
          <a:prstGeom prst="wedgeRoundRectCallout">
            <a:avLst>
              <a:gd name="adj1" fmla="val -72928"/>
              <a:gd name="adj2" fmla="val 55453"/>
              <a:gd name="adj3" fmla="val 16667"/>
            </a:avLst>
          </a:prstGeom>
          <a:solidFill>
            <a:schemeClr val="bg2">
              <a:lumMod val="5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</a:pPr>
            <a:r>
              <a:rPr lang="de-DE" sz="1600" i="1"/>
              <a:t>I </a:t>
            </a:r>
            <a:r>
              <a:rPr lang="de-DE" sz="1600" i="1" err="1"/>
              <a:t>would</a:t>
            </a:r>
            <a:r>
              <a:rPr lang="de-DE" sz="1600" i="1"/>
              <a:t> like </a:t>
            </a:r>
            <a:r>
              <a:rPr lang="de-DE" sz="1600" i="1" err="1"/>
              <a:t>to</a:t>
            </a:r>
            <a:r>
              <a:rPr lang="de-DE" sz="1600" i="1"/>
              <a:t> </a:t>
            </a:r>
            <a:r>
              <a:rPr lang="de-DE" sz="1600" i="1" err="1"/>
              <a:t>have</a:t>
            </a:r>
            <a:r>
              <a:rPr lang="de-DE" sz="1600" i="1"/>
              <a:t> an</a:t>
            </a:r>
            <a:br>
              <a:rPr lang="de-DE" sz="1600" i="1"/>
            </a:br>
            <a:r>
              <a:rPr lang="de-DE" sz="1600" i="1"/>
              <a:t>AI-</a:t>
            </a:r>
            <a:r>
              <a:rPr lang="de-DE" sz="1600" i="1" err="1"/>
              <a:t>powered</a:t>
            </a:r>
            <a:endParaRPr lang="de-DE" sz="1600" i="1"/>
          </a:p>
          <a:p>
            <a:pPr algn="ctr">
              <a:lnSpc>
                <a:spcPct val="107000"/>
              </a:lnSpc>
            </a:pPr>
            <a:r>
              <a:rPr lang="de-DE" sz="1600" i="1"/>
              <a:t>super-</a:t>
            </a:r>
            <a:r>
              <a:rPr lang="de-DE" sz="1600" i="1" err="1"/>
              <a:t>something</a:t>
            </a:r>
            <a:r>
              <a:rPr lang="de-DE" sz="1600" i="1"/>
              <a:t>.</a:t>
            </a:r>
          </a:p>
        </p:txBody>
      </p:sp>
      <p:sp>
        <p:nvSpPr>
          <p:cNvPr id="22" name="Abgerundete rechteckige Legende 21">
            <a:extLst>
              <a:ext uri="{FF2B5EF4-FFF2-40B4-BE49-F238E27FC236}">
                <a16:creationId xmlns:a16="http://schemas.microsoft.com/office/drawing/2014/main" id="{4A1F2857-1A99-5F9A-A121-DF42795AE646}"/>
              </a:ext>
            </a:extLst>
          </p:cNvPr>
          <p:cNvSpPr/>
          <p:nvPr/>
        </p:nvSpPr>
        <p:spPr>
          <a:xfrm>
            <a:off x="2668045" y="4129343"/>
            <a:ext cx="2244246" cy="1066565"/>
          </a:xfrm>
          <a:prstGeom prst="wedgeRoundRectCallout">
            <a:avLst>
              <a:gd name="adj1" fmla="val 61802"/>
              <a:gd name="adj2" fmla="val -45547"/>
              <a:gd name="adj3" fmla="val 16667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</a:pPr>
            <a:r>
              <a:rPr lang="de-DE" sz="1600"/>
              <a:t>Do </a:t>
            </a:r>
            <a:r>
              <a:rPr lang="de-DE" sz="1600" err="1"/>
              <a:t>you</a:t>
            </a:r>
            <a:r>
              <a:rPr lang="de-DE" sz="1600"/>
              <a:t> </a:t>
            </a:r>
            <a:r>
              <a:rPr lang="de-DE" sz="1600" err="1"/>
              <a:t>need</a:t>
            </a:r>
            <a:r>
              <a:rPr lang="de-DE" sz="1600"/>
              <a:t> a </a:t>
            </a:r>
            <a:r>
              <a:rPr lang="de-DE" sz="1600" err="1"/>
              <a:t>conversational</a:t>
            </a:r>
            <a:r>
              <a:rPr lang="de-DE" sz="1600"/>
              <a:t> interface like a </a:t>
            </a:r>
            <a:r>
              <a:rPr lang="de-DE" sz="1600" err="1"/>
              <a:t>chatbot</a:t>
            </a:r>
            <a:r>
              <a:rPr lang="de-DE" sz="1600"/>
              <a:t>?</a:t>
            </a:r>
          </a:p>
        </p:txBody>
      </p:sp>
      <p:sp>
        <p:nvSpPr>
          <p:cNvPr id="23" name="Abgerundetes Rechteck 22">
            <a:extLst>
              <a:ext uri="{FF2B5EF4-FFF2-40B4-BE49-F238E27FC236}">
                <a16:creationId xmlns:a16="http://schemas.microsoft.com/office/drawing/2014/main" id="{08ABB68D-3237-C932-A089-4A4A57913FB4}"/>
              </a:ext>
            </a:extLst>
          </p:cNvPr>
          <p:cNvSpPr/>
          <p:nvPr/>
        </p:nvSpPr>
        <p:spPr>
          <a:xfrm>
            <a:off x="3037561" y="5775254"/>
            <a:ext cx="882635" cy="393245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</a:pPr>
            <a:r>
              <a:rPr lang="de-DE" sz="1600" i="1"/>
              <a:t>NO</a:t>
            </a:r>
          </a:p>
        </p:txBody>
      </p:sp>
      <p:sp>
        <p:nvSpPr>
          <p:cNvPr id="24" name="Abgerundetes Rechteck 23">
            <a:extLst>
              <a:ext uri="{FF2B5EF4-FFF2-40B4-BE49-F238E27FC236}">
                <a16:creationId xmlns:a16="http://schemas.microsoft.com/office/drawing/2014/main" id="{E13B5D95-98AF-2B9F-DFFC-4312DA4A8AC4}"/>
              </a:ext>
            </a:extLst>
          </p:cNvPr>
          <p:cNvSpPr/>
          <p:nvPr/>
        </p:nvSpPr>
        <p:spPr>
          <a:xfrm>
            <a:off x="3037562" y="5268518"/>
            <a:ext cx="882635" cy="393245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</a:pPr>
            <a:r>
              <a:rPr lang="de-DE" sz="1600" i="1"/>
              <a:t>YES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5FB1AF7D-06D4-A4E4-3C9B-AB41845E067B}"/>
              </a:ext>
            </a:extLst>
          </p:cNvPr>
          <p:cNvSpPr/>
          <p:nvPr/>
        </p:nvSpPr>
        <p:spPr>
          <a:xfrm>
            <a:off x="6844890" y="1634216"/>
            <a:ext cx="4689491" cy="96723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</a:pPr>
            <a:r>
              <a:rPr lang="de-DE" sz="2000" b="1" err="1"/>
              <a:t>MiSOL</a:t>
            </a:r>
            <a:endParaRPr lang="de-DE" sz="2000" b="1"/>
          </a:p>
          <a:p>
            <a:pPr algn="ctr">
              <a:lnSpc>
                <a:spcPct val="107000"/>
              </a:lnSpc>
            </a:pPr>
            <a:r>
              <a:rPr lang="de-DE" sz="1600" err="1"/>
              <a:t>is</a:t>
            </a:r>
            <a:r>
              <a:rPr lang="de-DE" sz="1600"/>
              <a:t> </a:t>
            </a:r>
            <a:r>
              <a:rPr lang="de-DE" sz="1600" err="1"/>
              <a:t>taking</a:t>
            </a:r>
            <a:r>
              <a:rPr lang="de-DE" sz="1600"/>
              <a:t> </a:t>
            </a:r>
            <a:r>
              <a:rPr lang="de-DE" sz="1600" err="1"/>
              <a:t>the</a:t>
            </a:r>
            <a:r>
              <a:rPr lang="de-DE" sz="1600"/>
              <a:t> </a:t>
            </a:r>
            <a:r>
              <a:rPr lang="de-DE" sz="1600" err="1"/>
              <a:t>lead</a:t>
            </a:r>
            <a:endParaRPr lang="de-DE" sz="1600"/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4B5DC4E9-39C1-6ED9-0DB6-EBF5A63D6719}"/>
              </a:ext>
            </a:extLst>
          </p:cNvPr>
          <p:cNvSpPr/>
          <p:nvPr/>
        </p:nvSpPr>
        <p:spPr>
          <a:xfrm>
            <a:off x="6872030" y="4968220"/>
            <a:ext cx="4689491" cy="96723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</a:pPr>
            <a:r>
              <a:rPr lang="de-DE" sz="2000" b="1"/>
              <a:t>AI Solution</a:t>
            </a:r>
          </a:p>
          <a:p>
            <a:pPr algn="ctr">
              <a:lnSpc>
                <a:spcPct val="107000"/>
              </a:lnSpc>
            </a:pPr>
            <a:r>
              <a:rPr lang="de-DE" sz="1600" err="1"/>
              <a:t>is</a:t>
            </a:r>
            <a:r>
              <a:rPr lang="de-DE" sz="1600"/>
              <a:t> </a:t>
            </a:r>
            <a:r>
              <a:rPr lang="de-DE" sz="1600" err="1"/>
              <a:t>taking</a:t>
            </a:r>
            <a:r>
              <a:rPr lang="de-DE" sz="1600"/>
              <a:t> </a:t>
            </a:r>
            <a:r>
              <a:rPr lang="de-DE" sz="1600" err="1"/>
              <a:t>the</a:t>
            </a:r>
            <a:r>
              <a:rPr lang="de-DE" sz="1600"/>
              <a:t> </a:t>
            </a:r>
            <a:r>
              <a:rPr lang="de-DE" sz="1600" err="1"/>
              <a:t>lead</a:t>
            </a:r>
            <a:endParaRPr lang="de-DE" sz="1600"/>
          </a:p>
        </p:txBody>
      </p:sp>
      <p:cxnSp>
        <p:nvCxnSpPr>
          <p:cNvPr id="28" name="Gewinkelte Verbindung 27">
            <a:extLst>
              <a:ext uri="{FF2B5EF4-FFF2-40B4-BE49-F238E27FC236}">
                <a16:creationId xmlns:a16="http://schemas.microsoft.com/office/drawing/2014/main" id="{11BEB99E-DC0E-2D16-7230-F8597121DEE4}"/>
              </a:ext>
            </a:extLst>
          </p:cNvPr>
          <p:cNvCxnSpPr>
            <a:cxnSpLocks/>
            <a:stCxn id="24" idx="3"/>
            <a:endCxn id="25" idx="1"/>
          </p:cNvCxnSpPr>
          <p:nvPr/>
        </p:nvCxnSpPr>
        <p:spPr>
          <a:xfrm flipV="1">
            <a:off x="3920197" y="2117831"/>
            <a:ext cx="2924693" cy="3347310"/>
          </a:xfrm>
          <a:prstGeom prst="bentConnector3">
            <a:avLst>
              <a:gd name="adj1" fmla="val 50000"/>
            </a:avLst>
          </a:prstGeom>
          <a:ln>
            <a:solidFill>
              <a:schemeClr val="accent6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winkelte Verbindung 31">
            <a:extLst>
              <a:ext uri="{FF2B5EF4-FFF2-40B4-BE49-F238E27FC236}">
                <a16:creationId xmlns:a16="http://schemas.microsoft.com/office/drawing/2014/main" id="{9F63874D-9549-3335-267B-CC53BE47970A}"/>
              </a:ext>
            </a:extLst>
          </p:cNvPr>
          <p:cNvCxnSpPr>
            <a:cxnSpLocks/>
            <a:stCxn id="23" idx="3"/>
            <a:endCxn id="26" idx="1"/>
          </p:cNvCxnSpPr>
          <p:nvPr/>
        </p:nvCxnSpPr>
        <p:spPr>
          <a:xfrm flipV="1">
            <a:off x="3920196" y="5451835"/>
            <a:ext cx="2951834" cy="520042"/>
          </a:xfrm>
          <a:prstGeom prst="bentConnector3">
            <a:avLst>
              <a:gd name="adj1" fmla="val 59760"/>
            </a:avLst>
          </a:prstGeom>
          <a:ln>
            <a:solidFill>
              <a:schemeClr val="accent4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hteck 35">
            <a:extLst>
              <a:ext uri="{FF2B5EF4-FFF2-40B4-BE49-F238E27FC236}">
                <a16:creationId xmlns:a16="http://schemas.microsoft.com/office/drawing/2014/main" id="{CF54B3A1-7E79-4F82-2C2B-D96DBBD704BA}"/>
              </a:ext>
            </a:extLst>
          </p:cNvPr>
          <p:cNvSpPr/>
          <p:nvPr/>
        </p:nvSpPr>
        <p:spPr>
          <a:xfrm>
            <a:off x="6844890" y="2691249"/>
            <a:ext cx="2196817" cy="96722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lnSpc>
                <a:spcPct val="107000"/>
              </a:lnSpc>
            </a:pPr>
            <a:r>
              <a:rPr lang="de-DE" sz="1400" err="1"/>
              <a:t>If</a:t>
            </a:r>
            <a:r>
              <a:rPr lang="de-DE" sz="1400"/>
              <a:t> AI-Services </a:t>
            </a:r>
            <a:r>
              <a:rPr lang="de-DE" sz="1400" err="1"/>
              <a:t>are</a:t>
            </a:r>
            <a:r>
              <a:rPr lang="de-DE" sz="1400"/>
              <a:t> </a:t>
            </a:r>
            <a:r>
              <a:rPr lang="de-DE" sz="1400" err="1"/>
              <a:t>needed</a:t>
            </a:r>
            <a:r>
              <a:rPr lang="de-DE" sz="1400"/>
              <a:t>, </a:t>
            </a:r>
            <a:r>
              <a:rPr lang="de-DE" sz="1400" err="1"/>
              <a:t>they</a:t>
            </a:r>
            <a:r>
              <a:rPr lang="de-DE" sz="1400"/>
              <a:t> will </a:t>
            </a:r>
            <a:r>
              <a:rPr lang="de-DE" sz="1400" err="1"/>
              <a:t>be</a:t>
            </a:r>
            <a:r>
              <a:rPr lang="de-DE" sz="1400"/>
              <a:t> </a:t>
            </a:r>
            <a:r>
              <a:rPr lang="de-DE" sz="1400" err="1"/>
              <a:t>requested</a:t>
            </a:r>
            <a:r>
              <a:rPr lang="de-DE" sz="1400"/>
              <a:t> </a:t>
            </a:r>
            <a:r>
              <a:rPr lang="de-DE" sz="1400" err="1"/>
              <a:t>from</a:t>
            </a:r>
            <a:r>
              <a:rPr lang="de-DE" sz="1400"/>
              <a:t> AI Solution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A884E5F3-E33E-5F31-A4A4-6173EF56BC99}"/>
              </a:ext>
            </a:extLst>
          </p:cNvPr>
          <p:cNvSpPr/>
          <p:nvPr/>
        </p:nvSpPr>
        <p:spPr>
          <a:xfrm>
            <a:off x="9364704" y="3908806"/>
            <a:ext cx="2196817" cy="967229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</a:pPr>
            <a:r>
              <a:rPr lang="de-DE" sz="1400" err="1"/>
              <a:t>If</a:t>
            </a:r>
            <a:r>
              <a:rPr lang="de-DE" sz="1400"/>
              <a:t> Chatbot-GUI </a:t>
            </a:r>
            <a:r>
              <a:rPr lang="de-DE" sz="1400" err="1"/>
              <a:t>is</a:t>
            </a:r>
            <a:r>
              <a:rPr lang="de-DE" sz="1400"/>
              <a:t> </a:t>
            </a:r>
            <a:r>
              <a:rPr lang="de-DE" sz="1400" err="1"/>
              <a:t>needed</a:t>
            </a:r>
            <a:r>
              <a:rPr lang="de-DE" sz="1400"/>
              <a:t>, </a:t>
            </a:r>
            <a:r>
              <a:rPr lang="de-DE" sz="1400" err="1"/>
              <a:t>this</a:t>
            </a:r>
            <a:r>
              <a:rPr lang="de-DE" sz="1400"/>
              <a:t> will </a:t>
            </a:r>
            <a:r>
              <a:rPr lang="de-DE" sz="1400" err="1"/>
              <a:t>be</a:t>
            </a:r>
            <a:r>
              <a:rPr lang="de-DE" sz="1400"/>
              <a:t> </a:t>
            </a:r>
            <a:r>
              <a:rPr lang="de-DE" sz="1400" err="1"/>
              <a:t>requested</a:t>
            </a:r>
            <a:r>
              <a:rPr lang="de-DE" sz="1400"/>
              <a:t> </a:t>
            </a:r>
            <a:r>
              <a:rPr lang="de-DE" sz="1400" err="1"/>
              <a:t>from</a:t>
            </a:r>
            <a:r>
              <a:rPr lang="de-DE" sz="1400"/>
              <a:t> MISOL.</a:t>
            </a:r>
          </a:p>
        </p:txBody>
      </p:sp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0ADD1394-A552-54CE-0718-A2AD8E793F4B}"/>
              </a:ext>
            </a:extLst>
          </p:cNvPr>
          <p:cNvCxnSpPr>
            <a:cxnSpLocks/>
            <a:stCxn id="37" idx="0"/>
          </p:cNvCxnSpPr>
          <p:nvPr/>
        </p:nvCxnSpPr>
        <p:spPr>
          <a:xfrm flipV="1">
            <a:off x="10463113" y="2601446"/>
            <a:ext cx="0" cy="130736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>
            <a:extLst>
              <a:ext uri="{FF2B5EF4-FFF2-40B4-BE49-F238E27FC236}">
                <a16:creationId xmlns:a16="http://schemas.microsoft.com/office/drawing/2014/main" id="{BF535A47-5959-6C30-3AC3-D3EA817315B2}"/>
              </a:ext>
            </a:extLst>
          </p:cNvPr>
          <p:cNvCxnSpPr>
            <a:cxnSpLocks/>
            <a:stCxn id="36" idx="2"/>
          </p:cNvCxnSpPr>
          <p:nvPr/>
        </p:nvCxnSpPr>
        <p:spPr>
          <a:xfrm>
            <a:off x="7943299" y="3658478"/>
            <a:ext cx="0" cy="129545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Abgerundete rechteckige Legende 58">
            <a:extLst>
              <a:ext uri="{FF2B5EF4-FFF2-40B4-BE49-F238E27FC236}">
                <a16:creationId xmlns:a16="http://schemas.microsoft.com/office/drawing/2014/main" id="{03F6E31E-A7D7-DCB0-7791-4EB195CB0418}"/>
              </a:ext>
            </a:extLst>
          </p:cNvPr>
          <p:cNvSpPr/>
          <p:nvPr/>
        </p:nvSpPr>
        <p:spPr>
          <a:xfrm>
            <a:off x="2329815" y="1316168"/>
            <a:ext cx="2091847" cy="1066565"/>
          </a:xfrm>
          <a:prstGeom prst="wedgeRoundRectCallout">
            <a:avLst>
              <a:gd name="adj1" fmla="val -72329"/>
              <a:gd name="adj2" fmla="val -4443"/>
              <a:gd name="adj3" fmla="val 16667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</a:pPr>
            <a:r>
              <a:rPr lang="de-DE" sz="1600" i="1"/>
              <a:t>I </a:t>
            </a:r>
            <a:r>
              <a:rPr lang="de-DE" sz="1600" i="1" err="1"/>
              <a:t>need</a:t>
            </a:r>
            <a:r>
              <a:rPr lang="de-DE" sz="1600" i="1"/>
              <a:t> </a:t>
            </a:r>
            <a:r>
              <a:rPr lang="de-DE" sz="1600" i="1" err="1"/>
              <a:t>some</a:t>
            </a:r>
            <a:r>
              <a:rPr lang="de-DE" sz="1600" i="1"/>
              <a:t> </a:t>
            </a:r>
            <a:r>
              <a:rPr lang="de-DE" sz="1600" i="1" err="1"/>
              <a:t>local</a:t>
            </a:r>
            <a:r>
              <a:rPr lang="de-DE" sz="1600" i="1"/>
              <a:t> support </a:t>
            </a:r>
            <a:r>
              <a:rPr lang="de-DE" sz="1600" i="1" err="1"/>
              <a:t>to</a:t>
            </a:r>
            <a:r>
              <a:rPr lang="de-DE" sz="1600" i="1"/>
              <a:t> </a:t>
            </a:r>
            <a:r>
              <a:rPr lang="de-DE" sz="1600" i="1" err="1"/>
              <a:t>answer</a:t>
            </a:r>
            <a:r>
              <a:rPr lang="de-DE" sz="1600" i="1"/>
              <a:t> </a:t>
            </a:r>
            <a:r>
              <a:rPr lang="de-DE" sz="1600" i="1" err="1"/>
              <a:t>questions</a:t>
            </a:r>
            <a:r>
              <a:rPr lang="de-DE" sz="1600" i="1"/>
              <a:t>.</a:t>
            </a:r>
          </a:p>
        </p:txBody>
      </p:sp>
      <p:cxnSp>
        <p:nvCxnSpPr>
          <p:cNvPr id="60" name="Gewinkelte Verbindung 59">
            <a:extLst>
              <a:ext uri="{FF2B5EF4-FFF2-40B4-BE49-F238E27FC236}">
                <a16:creationId xmlns:a16="http://schemas.microsoft.com/office/drawing/2014/main" id="{CA8760E0-5948-B17D-F9FF-6B9029946148}"/>
              </a:ext>
            </a:extLst>
          </p:cNvPr>
          <p:cNvCxnSpPr>
            <a:cxnSpLocks/>
            <a:stCxn id="59" idx="3"/>
          </p:cNvCxnSpPr>
          <p:nvPr/>
        </p:nvCxnSpPr>
        <p:spPr>
          <a:xfrm>
            <a:off x="4421662" y="1849451"/>
            <a:ext cx="2423228" cy="116588"/>
          </a:xfrm>
          <a:prstGeom prst="bentConnector3">
            <a:avLst>
              <a:gd name="adj1" fmla="val 50000"/>
            </a:avLst>
          </a:prstGeom>
          <a:ln>
            <a:solidFill>
              <a:schemeClr val="accent6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0" name="Foliennummernplatzhalter 1049">
            <a:extLst>
              <a:ext uri="{FF2B5EF4-FFF2-40B4-BE49-F238E27FC236}">
                <a16:creationId xmlns:a16="http://schemas.microsoft.com/office/drawing/2014/main" id="{AAAB6866-3EF7-3C02-74B4-AB95305DD0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E0597C-028E-473F-BF50-BBB8B8A24EC3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Inter SemiBold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SemiBold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46423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58F33B-9B70-FB13-9149-41656A6505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7" y="546972"/>
            <a:ext cx="11160125" cy="755650"/>
          </a:xfrm>
        </p:spPr>
        <p:txBody>
          <a:bodyPr/>
          <a:lstStyle/>
          <a:p>
            <a:r>
              <a:rPr lang="en-US"/>
              <a:t>AT Chatbot </a:t>
            </a:r>
            <a:r>
              <a:rPr lang="en-US" err="1"/>
              <a:t>usecases</a:t>
            </a:r>
            <a:r>
              <a:rPr lang="en-US"/>
              <a:t>:</a:t>
            </a:r>
            <a:br>
              <a:rPr lang="en-US"/>
            </a:br>
            <a:r>
              <a:rPr lang="en-US"/>
              <a:t>How </a:t>
            </a:r>
            <a:r>
              <a:rPr lang="en-US" err="1"/>
              <a:t>MiSOL</a:t>
            </a:r>
            <a:r>
              <a:rPr lang="en-US"/>
              <a:t> and AI Solution work together 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E8CC9C0-365F-2AE2-45F2-482F3CE5F5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</a:rPr>
              <a:t>23.11.2023</a:t>
            </a: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B57D73A-7920-829D-2672-881F1D2612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cs typeface="+mn-cs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19B37FC-C3CD-023B-D639-4E6FEB9AD8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C679D92-F6A1-13FD-81D1-A2BB25ECB99D}"/>
              </a:ext>
            </a:extLst>
          </p:cNvPr>
          <p:cNvSpPr txBox="1">
            <a:spLocks/>
          </p:cNvSpPr>
          <p:nvPr/>
        </p:nvSpPr>
        <p:spPr>
          <a:xfrm>
            <a:off x="514259" y="1151396"/>
            <a:ext cx="8410236" cy="12334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447675" indent="-4476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23888" indent="-17938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9625" indent="-18573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9013" indent="-17938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68400" indent="-179388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spcBef>
                <a:spcPts val="0"/>
              </a:spcBef>
              <a:spcAft>
                <a:spcPts val="0"/>
              </a:spcAft>
              <a:buNone/>
            </a:pPr>
            <a:endParaRPr lang="en-US" sz="1400" b="1">
              <a:solidFill>
                <a:schemeClr val="accent2">
                  <a:lumMod val="10000"/>
                </a:schemeClr>
              </a:solidFill>
              <a:latin typeface="Inter"/>
            </a:endParaRPr>
          </a:p>
          <a:p>
            <a:pPr marL="0" indent="0" algn="just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1">
                <a:solidFill>
                  <a:schemeClr val="accent2">
                    <a:lumMod val="10000"/>
                  </a:schemeClr>
                </a:solidFill>
                <a:latin typeface="Inter"/>
              </a:rPr>
              <a:t>Idea: Business-request for a conversational interface comes in – via Product Owners (</a:t>
            </a:r>
            <a:r>
              <a:rPr lang="en-US" sz="1100" b="1" err="1">
                <a:solidFill>
                  <a:schemeClr val="accent2">
                    <a:lumMod val="10000"/>
                  </a:schemeClr>
                </a:solidFill>
                <a:latin typeface="Inter"/>
              </a:rPr>
              <a:t>M.Gyarmaty</a:t>
            </a:r>
            <a:r>
              <a:rPr lang="en-US" sz="1100" b="1">
                <a:solidFill>
                  <a:schemeClr val="accent2">
                    <a:lumMod val="10000"/>
                  </a:schemeClr>
                </a:solidFill>
                <a:latin typeface="Inter"/>
              </a:rPr>
              <a:t>, </a:t>
            </a:r>
            <a:r>
              <a:rPr lang="en-US" sz="1100" b="1" err="1">
                <a:solidFill>
                  <a:schemeClr val="accent2">
                    <a:lumMod val="10000"/>
                  </a:schemeClr>
                </a:solidFill>
                <a:latin typeface="Inter"/>
              </a:rPr>
              <a:t>H.Theisl</a:t>
            </a:r>
            <a:r>
              <a:rPr lang="en-US" sz="1100" b="1">
                <a:solidFill>
                  <a:schemeClr val="accent2">
                    <a:lumMod val="10000"/>
                  </a:schemeClr>
                </a:solidFill>
                <a:latin typeface="Inter"/>
              </a:rPr>
              <a:t>, </a:t>
            </a:r>
            <a:r>
              <a:rPr lang="en-US" sz="1100" b="1" err="1">
                <a:solidFill>
                  <a:schemeClr val="accent2">
                    <a:lumMod val="10000"/>
                  </a:schemeClr>
                </a:solidFill>
                <a:latin typeface="Inter"/>
              </a:rPr>
              <a:t>P.Koller</a:t>
            </a:r>
            <a:r>
              <a:rPr lang="en-US" sz="1100" b="1">
                <a:solidFill>
                  <a:schemeClr val="accent2">
                    <a:lumMod val="10000"/>
                  </a:schemeClr>
                </a:solidFill>
                <a:latin typeface="Inter"/>
              </a:rPr>
              <a:t> or N.N) or </a:t>
            </a:r>
            <a:r>
              <a:rPr lang="en-US" sz="1100" b="1" err="1">
                <a:solidFill>
                  <a:schemeClr val="accent2">
                    <a:lumMod val="10000"/>
                  </a:schemeClr>
                </a:solidFill>
                <a:latin typeface="Inter"/>
              </a:rPr>
              <a:t>MiSOL</a:t>
            </a:r>
            <a:r>
              <a:rPr lang="en-US" sz="1100" b="1">
                <a:solidFill>
                  <a:schemeClr val="accent2">
                    <a:lumMod val="10000"/>
                  </a:schemeClr>
                </a:solidFill>
                <a:latin typeface="Inter"/>
              </a:rPr>
              <a:t> or AI Solution – who is doing what? For all use cases except those handled by George </a:t>
            </a:r>
            <a:r>
              <a:rPr lang="en-US" sz="1100" b="1" err="1">
                <a:solidFill>
                  <a:schemeClr val="accent2">
                    <a:lumMod val="10000"/>
                  </a:schemeClr>
                </a:solidFill>
                <a:latin typeface="Inter"/>
              </a:rPr>
              <a:t>Masterbot</a:t>
            </a:r>
            <a:endParaRPr lang="en-US" sz="1100">
              <a:solidFill>
                <a:schemeClr val="accent2">
                  <a:lumMod val="10000"/>
                </a:schemeClr>
              </a:solidFill>
              <a:latin typeface="Inter"/>
            </a:endParaRP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47E35FF3-540F-E2D3-35DA-A4ECD34FBD1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862088"/>
              </p:ext>
            </p:extLst>
          </p:nvPr>
        </p:nvGraphicFramePr>
        <p:xfrm>
          <a:off x="519861" y="1766321"/>
          <a:ext cx="11143898" cy="41799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6971">
                  <a:extLst>
                    <a:ext uri="{9D8B030D-6E8A-4147-A177-3AD203B41FA5}">
                      <a16:colId xmlns:a16="http://schemas.microsoft.com/office/drawing/2014/main" val="2616012784"/>
                    </a:ext>
                  </a:extLst>
                </a:gridCol>
                <a:gridCol w="2169805">
                  <a:extLst>
                    <a:ext uri="{9D8B030D-6E8A-4147-A177-3AD203B41FA5}">
                      <a16:colId xmlns:a16="http://schemas.microsoft.com/office/drawing/2014/main" val="4136546564"/>
                    </a:ext>
                  </a:extLst>
                </a:gridCol>
                <a:gridCol w="2053561">
                  <a:extLst>
                    <a:ext uri="{9D8B030D-6E8A-4147-A177-3AD203B41FA5}">
                      <a16:colId xmlns:a16="http://schemas.microsoft.com/office/drawing/2014/main" val="2700273811"/>
                    </a:ext>
                  </a:extLst>
                </a:gridCol>
                <a:gridCol w="2053561">
                  <a:extLst>
                    <a:ext uri="{9D8B030D-6E8A-4147-A177-3AD203B41FA5}">
                      <a16:colId xmlns:a16="http://schemas.microsoft.com/office/drawing/2014/main" val="3381816332"/>
                    </a:ext>
                  </a:extLst>
                </a:gridCol>
              </a:tblGrid>
              <a:tr h="373104">
                <a:tc>
                  <a:txBody>
                    <a:bodyPr/>
                    <a:lstStyle/>
                    <a:p>
                      <a:r>
                        <a:rPr lang="en-US" sz="1200"/>
                        <a:t>Who is taking the lead from idea to production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/>
                        <a:t>Model 1: Click or NLU-BO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/>
                        <a:t>Model 2: AI-Chatbot</a:t>
                      </a:r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b="1" i="0" u="none" strike="noStrike" noProof="0">
                          <a:solidFill>
                            <a:srgbClr val="FFFFFF"/>
                          </a:solidFill>
                          <a:latin typeface="Inter"/>
                        </a:rPr>
                        <a:t>Model 3: AI-"Tool"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11098387"/>
                  </a:ext>
                </a:extLst>
              </a:tr>
              <a:tr h="916772">
                <a:tc>
                  <a:txBody>
                    <a:bodyPr/>
                    <a:lstStyle/>
                    <a:p>
                      <a:pPr marL="1028700" indent="-285750">
                        <a:buFont typeface="Arial"/>
                        <a:buChar char="•"/>
                      </a:pPr>
                      <a:r>
                        <a:rPr lang="en-US" sz="1100"/>
                        <a:t>Clarifying requirements</a:t>
                      </a:r>
                    </a:p>
                    <a:p>
                      <a:pPr marL="1028700" lvl="0" indent="-285750">
                        <a:buFont typeface="Arial"/>
                        <a:buChar char="•"/>
                      </a:pPr>
                      <a:r>
                        <a:rPr lang="en-US" sz="1100"/>
                        <a:t>Designing Interaction Flow</a:t>
                      </a:r>
                    </a:p>
                    <a:p>
                      <a:pPr marL="1028700" lvl="0" indent="-285750">
                        <a:buFont typeface="Arial"/>
                        <a:buChar char="•"/>
                      </a:pPr>
                      <a:r>
                        <a:rPr lang="en-US" sz="1100"/>
                        <a:t>Preparing User-GUI and Orchestrating Services</a:t>
                      </a:r>
                    </a:p>
                    <a:p>
                      <a:pPr marL="1028700" lvl="0" indent="-285750">
                        <a:buFont typeface="Arial"/>
                        <a:buChar char="•"/>
                      </a:pPr>
                      <a:r>
                        <a:rPr lang="en-US" sz="1100"/>
                        <a:t>Managing the </a:t>
                      </a:r>
                      <a:r>
                        <a:rPr lang="en-US" sz="1100" b="1" err="1"/>
                        <a:t>UseCase</a:t>
                      </a:r>
                      <a:r>
                        <a:rPr lang="en-US" sz="1100" b="1"/>
                        <a:t> or Solu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err="1"/>
                        <a:t>MiSOL</a:t>
                      </a:r>
                      <a:endParaRPr lang="en-US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err="1"/>
                        <a:t>MiSOL</a:t>
                      </a:r>
                      <a:endParaRPr lang="en-US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0" i="0" u="none" strike="noStrike" noProof="0">
                          <a:solidFill>
                            <a:srgbClr val="303030"/>
                          </a:solidFill>
                          <a:latin typeface="Inter"/>
                        </a:rPr>
                        <a:t>AI Solution</a:t>
                      </a:r>
                    </a:p>
                    <a:p>
                      <a:pPr lvl="0" algn="ctr">
                        <a:buNone/>
                      </a:pPr>
                      <a:r>
                        <a:rPr lang="en-US" sz="1050" b="0" i="0" u="none" strike="noStrike" noProof="0" err="1">
                          <a:solidFill>
                            <a:srgbClr val="303030"/>
                          </a:solidFill>
                          <a:latin typeface="Inter"/>
                        </a:rPr>
                        <a:t>UserGUI</a:t>
                      </a:r>
                      <a:r>
                        <a:rPr lang="en-US" sz="1050" b="0" i="0" u="none" strike="noStrike" noProof="0">
                          <a:solidFill>
                            <a:srgbClr val="303030"/>
                          </a:solidFill>
                          <a:latin typeface="Inter"/>
                        </a:rPr>
                        <a:t> provided by </a:t>
                      </a:r>
                      <a:r>
                        <a:rPr lang="en-US" sz="1050" b="0" i="0" u="none" strike="noStrike" noProof="0" err="1">
                          <a:solidFill>
                            <a:srgbClr val="303030"/>
                          </a:solidFill>
                          <a:latin typeface="Inter"/>
                        </a:rPr>
                        <a:t>MiSOL</a:t>
                      </a:r>
                      <a:r>
                        <a:rPr lang="en-US" sz="1050" b="0" i="0" u="none" strike="noStrike" noProof="0">
                          <a:solidFill>
                            <a:srgbClr val="303030"/>
                          </a:solidFill>
                          <a:latin typeface="Inter"/>
                        </a:rPr>
                        <a:t> if needed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23774853"/>
                  </a:ext>
                </a:extLst>
              </a:tr>
              <a:tr h="831490">
                <a:tc>
                  <a:txBody>
                    <a:bodyPr/>
                    <a:lstStyle/>
                    <a:p>
                      <a:pPr marL="1028700" indent="-285750" algn="l" rtl="0" eaLnBrk="1" latinLnBrk="0" hangingPunct="1">
                        <a:buFont typeface="Arial"/>
                        <a:buChar char="•"/>
                      </a:pPr>
                      <a:r>
                        <a:rPr lang="en-US" sz="11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anage all GenAI-Services needed (eg RAG-Pipeline)</a:t>
                      </a:r>
                      <a:endParaRPr lang="en-US" sz="1100"/>
                    </a:p>
                    <a:p>
                      <a:pPr marL="1028700" lvl="0" indent="-285750" algn="l">
                        <a:buFont typeface="Arial"/>
                        <a:buChar char="•"/>
                      </a:pPr>
                      <a:r>
                        <a:rPr lang="en-US" sz="11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aling with Content</a:t>
                      </a:r>
                    </a:p>
                    <a:p>
                      <a:pPr marL="1028700" lvl="0" indent="-285750" algn="l">
                        <a:buFont typeface="Arial"/>
                        <a:buChar char="•"/>
                      </a:pPr>
                      <a:r>
                        <a:rPr lang="en-US" sz="11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velopment &amp; Operation of </a:t>
                      </a:r>
                      <a:r>
                        <a:rPr lang="en-US" sz="1100" b="1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I-Service as Managed Serv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err="1"/>
                        <a:t>MiSOL</a:t>
                      </a:r>
                      <a:endParaRPr lang="en-US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I Solution</a:t>
                      </a:r>
                    </a:p>
                    <a:p>
                      <a:pPr lvl="0" algn="ctr">
                        <a:buNone/>
                      </a:pPr>
                      <a:r>
                        <a:rPr lang="en-US" sz="1100"/>
                        <a:t>Temporary support by </a:t>
                      </a:r>
                      <a:r>
                        <a:rPr lang="en-US" sz="1100" err="1"/>
                        <a:t>MiSOL</a:t>
                      </a:r>
                      <a:r>
                        <a:rPr lang="en-US" sz="1100"/>
                        <a:t> possibl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/>
                        <a:t>AI Solu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38791357"/>
                  </a:ext>
                </a:extLst>
              </a:tr>
              <a:tr h="773373">
                <a:tc>
                  <a:txBody>
                    <a:bodyPr/>
                    <a:lstStyle/>
                    <a:p>
                      <a:pPr marL="1028700" indent="-285750" algn="l" rtl="0" eaLnBrk="1" latinLnBrk="0" hangingPunct="1">
                        <a:buFont typeface="Arial"/>
                        <a:buChar char="•"/>
                      </a:pPr>
                      <a:r>
                        <a:rPr lang="en-US" sz="11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viding access to </a:t>
                      </a:r>
                      <a:r>
                        <a:rPr lang="en-US" sz="1100" b="1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I Services as Tools</a:t>
                      </a:r>
                      <a:r>
                        <a:rPr lang="en-US" sz="11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as they are ("empty" instances of vector-databases or LLMs as provided by vendors or open source)</a:t>
                      </a:r>
                    </a:p>
                    <a:p>
                      <a:pPr marL="1028700" lvl="0" indent="-285750" algn="l">
                        <a:buFont typeface="Arial"/>
                        <a:buChar char="•"/>
                      </a:pPr>
                      <a:r>
                        <a:rPr lang="en-US" sz="11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OT dealing with Cont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noProof="0" err="1">
                          <a:solidFill>
                            <a:srgbClr val="303030"/>
                          </a:solidFill>
                          <a:latin typeface="Inter"/>
                        </a:rPr>
                        <a:t>MiSOL</a:t>
                      </a:r>
                      <a:endParaRPr lang="en-US" sz="1200" b="0" i="0" u="none" strike="noStrike" noProof="0">
                        <a:solidFill>
                          <a:srgbClr val="303030"/>
                        </a:solidFill>
                        <a:latin typeface="Inter"/>
                      </a:endParaRPr>
                    </a:p>
                    <a:p>
                      <a:pPr lvl="0" algn="ctr">
                        <a:buNone/>
                      </a:pPr>
                      <a:r>
                        <a:rPr lang="en-US" sz="1050"/>
                        <a:t>Utilizing built-in </a:t>
                      </a:r>
                      <a:r>
                        <a:rPr lang="en-US" sz="1050" err="1"/>
                        <a:t>GenAI</a:t>
                      </a:r>
                      <a:r>
                        <a:rPr lang="en-US" sz="1050"/>
                        <a:t>  features of </a:t>
                      </a:r>
                      <a:r>
                        <a:rPr lang="en-US" sz="1050" err="1"/>
                        <a:t>BotDesigner</a:t>
                      </a:r>
                      <a:r>
                        <a:rPr lang="en-US" sz="1050"/>
                        <a:t> (</a:t>
                      </a:r>
                      <a:r>
                        <a:rPr lang="en-US" sz="1050" err="1"/>
                        <a:t>DialogFlow</a:t>
                      </a:r>
                      <a:r>
                        <a:rPr lang="en-US" sz="1050"/>
                        <a:t>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I Solu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/>
                        <a:t>AI Solu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69042785"/>
                  </a:ext>
                </a:extLst>
              </a:tr>
              <a:tr h="1285164">
                <a:tc>
                  <a:txBody>
                    <a:bodyPr/>
                    <a:lstStyle/>
                    <a:p>
                      <a:pPr marL="1028700" indent="-285750" algn="l" rtl="0" eaLnBrk="1" latinLnBrk="0" hangingPunct="1">
                        <a:buNone/>
                      </a:pPr>
                      <a:r>
                        <a:rPr lang="en-US" sz="11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xamples to illustr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14300" lvl="0" indent="-114300" algn="l">
                        <a:buClr>
                          <a:srgbClr val="303030"/>
                        </a:buClr>
                        <a:buFont typeface="Arial,Sans-Serif"/>
                        <a:buChar char="•"/>
                      </a:pPr>
                      <a:r>
                        <a:rPr lang="en-US" sz="1100" b="0" i="0" u="none" strike="noStrike" noProof="0">
                          <a:solidFill>
                            <a:srgbClr val="303030"/>
                          </a:solidFill>
                          <a:latin typeface="Arial"/>
                        </a:rPr>
                        <a:t>"Hey George!" Local Bot </a:t>
                      </a:r>
                      <a:r>
                        <a:rPr lang="en-US" sz="1100" b="0" i="0" u="none" strike="noStrike" noProof="0" err="1">
                          <a:solidFill>
                            <a:srgbClr val="303030"/>
                          </a:solidFill>
                          <a:latin typeface="Arial"/>
                        </a:rPr>
                        <a:t>Usecases</a:t>
                      </a:r>
                      <a:endParaRPr lang="en-US" sz="1100" b="0" i="0" u="none" strike="noStrike" noProof="0">
                        <a:solidFill>
                          <a:srgbClr val="303030"/>
                        </a:solidFill>
                        <a:latin typeface="Arial"/>
                      </a:endParaRPr>
                    </a:p>
                    <a:p>
                      <a:pPr marL="114300" lvl="0" indent="-114300" algn="l">
                        <a:buClr>
                          <a:srgbClr val="303030"/>
                        </a:buClr>
                        <a:buFont typeface="Arial,Sans-Serif"/>
                        <a:buChar char="•"/>
                      </a:pPr>
                      <a:r>
                        <a:rPr lang="en-US" sz="1100" b="0" i="0" u="none" strike="noStrike" noProof="0">
                          <a:solidFill>
                            <a:srgbClr val="303030"/>
                          </a:solidFill>
                          <a:latin typeface="Arial"/>
                        </a:rPr>
                        <a:t>Website/BON Bot </a:t>
                      </a:r>
                      <a:r>
                        <a:rPr lang="en-US" sz="1100" b="0" i="0" u="none" strike="noStrike" noProof="0" err="1">
                          <a:solidFill>
                            <a:srgbClr val="303030"/>
                          </a:solidFill>
                          <a:latin typeface="Arial"/>
                        </a:rPr>
                        <a:t>Usecases</a:t>
                      </a:r>
                      <a:endParaRPr lang="en-US" sz="1100" b="0" i="0" u="none" strike="noStrike" noProof="0">
                        <a:solidFill>
                          <a:srgbClr val="303030"/>
                        </a:solidFill>
                        <a:latin typeface="Arial"/>
                      </a:endParaRPr>
                    </a:p>
                    <a:p>
                      <a:pPr marL="114300" lvl="0" indent="-114300" algn="l">
                        <a:buClr>
                          <a:srgbClr val="303030"/>
                        </a:buClr>
                        <a:buFont typeface="Arial,Sans-Serif"/>
                        <a:buChar char="•"/>
                      </a:pPr>
                      <a:r>
                        <a:rPr lang="en-US" sz="1100" b="0" i="0" u="none" strike="noStrike" noProof="0" err="1">
                          <a:solidFill>
                            <a:srgbClr val="303030"/>
                          </a:solidFill>
                          <a:latin typeface="Arial"/>
                        </a:rPr>
                        <a:t>sKontakt</a:t>
                      </a:r>
                      <a:r>
                        <a:rPr lang="en-US" sz="1100" b="0" i="0" u="none" strike="noStrike" noProof="0">
                          <a:solidFill>
                            <a:srgbClr val="303030"/>
                          </a:solidFill>
                          <a:latin typeface="Arial"/>
                        </a:rPr>
                        <a:t> "Auto Reply"</a:t>
                      </a:r>
                    </a:p>
                    <a:p>
                      <a:pPr marL="114300" lvl="0" indent="-114300" algn="l">
                        <a:buClr>
                          <a:srgbClr val="303030"/>
                        </a:buClr>
                        <a:buFont typeface="Arial,Sans-Serif"/>
                        <a:buChar char="•"/>
                      </a:pPr>
                      <a:r>
                        <a:rPr lang="en-US" sz="1100" b="0" i="0" u="none" strike="noStrike" noProof="0">
                          <a:solidFill>
                            <a:srgbClr val="303030"/>
                          </a:solidFill>
                          <a:latin typeface="Arial"/>
                        </a:rPr>
                        <a:t>"Grants"-Bot</a:t>
                      </a:r>
                    </a:p>
                    <a:p>
                      <a:pPr marL="171450" lvl="0" indent="-171450" algn="l">
                        <a:buClr>
                          <a:srgbClr val="303030"/>
                        </a:buClr>
                        <a:buFont typeface="Arial,Sans-Serif"/>
                        <a:buChar char="•"/>
                      </a:pPr>
                      <a:r>
                        <a:rPr lang="en-US" sz="1100" b="0" i="0" u="none" strike="noStrike" noProof="0">
                          <a:solidFill>
                            <a:srgbClr val="303030"/>
                          </a:solidFill>
                          <a:latin typeface="Arial"/>
                        </a:rPr>
                        <a:t>FATCA-Bot</a:t>
                      </a:r>
                    </a:p>
                    <a:p>
                      <a:pPr marL="171450" lvl="0" indent="-171450" algn="l">
                        <a:buClr>
                          <a:srgbClr val="303030"/>
                        </a:buClr>
                        <a:buFont typeface="Arial,Sans-Serif"/>
                        <a:buChar char="•"/>
                      </a:pPr>
                      <a:r>
                        <a:rPr lang="en-US" sz="1100" b="0" i="0" u="none" strike="noStrike" noProof="0">
                          <a:solidFill>
                            <a:srgbClr val="303030"/>
                          </a:solidFill>
                          <a:latin typeface="Arial"/>
                        </a:rPr>
                        <a:t>GMSG-Bot</a:t>
                      </a:r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14300" indent="-114300" algn="l" rtl="0" eaLnBrk="1" latinLnBrk="0" hangingPunct="1">
                        <a:buFont typeface="Arial"/>
                        <a:buChar char="•"/>
                      </a:pPr>
                      <a:r>
                        <a:rPr lang="en-US" sz="105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search-Bot</a:t>
                      </a:r>
                    </a:p>
                    <a:p>
                      <a:pPr marL="114300" lvl="0" indent="-114300" algn="l">
                        <a:buFont typeface="Arial"/>
                        <a:buChar char="•"/>
                      </a:pPr>
                      <a:r>
                        <a:rPr lang="en-US" sz="105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egal FAQ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14300" lvl="0" indent="-114300" algn="l">
                        <a:buClr>
                          <a:srgbClr val="303030"/>
                        </a:buClr>
                        <a:buFont typeface="Arial,Sans-Serif"/>
                        <a:buChar char="•"/>
                      </a:pPr>
                      <a:r>
                        <a:rPr lang="en-US" sz="1100" b="0" i="0" u="none" strike="noStrike" kern="1200" noProof="0">
                          <a:solidFill>
                            <a:schemeClr val="dk1"/>
                          </a:solidFill>
                          <a:latin typeface="Inter"/>
                        </a:rPr>
                        <a:t>"Working Instructions"</a:t>
                      </a:r>
                    </a:p>
                    <a:p>
                      <a:pPr marL="114300" lvl="0" indent="-114300" algn="l">
                        <a:buClr>
                          <a:srgbClr val="303030"/>
                        </a:buClr>
                        <a:buFont typeface="Arial,Sans-Serif"/>
                        <a:buChar char="•"/>
                      </a:pPr>
                      <a:r>
                        <a:rPr lang="en-US" sz="1100" b="0" i="0" u="none" strike="noStrike" kern="1200" noProof="0" err="1">
                          <a:solidFill>
                            <a:schemeClr val="dk1"/>
                          </a:solidFill>
                          <a:latin typeface="Inter"/>
                        </a:rPr>
                        <a:t>FinHealth</a:t>
                      </a:r>
                      <a:r>
                        <a:rPr lang="en-US" sz="1100" b="0" i="0" u="none" strike="noStrike" kern="1200" noProof="0">
                          <a:solidFill>
                            <a:schemeClr val="dk1"/>
                          </a:solidFill>
                          <a:latin typeface="Inter"/>
                        </a:rPr>
                        <a:t> Assistant (in future)??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60286335"/>
                  </a:ext>
                </a:extLst>
              </a:tr>
            </a:tbl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E03CEE61-1C61-9C00-EC6E-2C5990B1F65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9222" y="2303094"/>
            <a:ext cx="562899" cy="58747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FF94876-BC49-D8B6-EDB1-B17BEC0055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4515" y="3116055"/>
            <a:ext cx="685801" cy="69809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25C0BA8-D167-52B8-B616-D02DD1CA635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2112" y="3983992"/>
            <a:ext cx="550608" cy="564219"/>
          </a:xfrm>
          <a:prstGeom prst="rect">
            <a:avLst/>
          </a:prstGeom>
        </p:spPr>
      </p:pic>
      <p:sp>
        <p:nvSpPr>
          <p:cNvPr id="1029" name="Foliennummernplatzhalter 1028">
            <a:extLst>
              <a:ext uri="{FF2B5EF4-FFF2-40B4-BE49-F238E27FC236}">
                <a16:creationId xmlns:a16="http://schemas.microsoft.com/office/drawing/2014/main" id="{686B0B9F-DFEC-62C3-0F18-6B3AC61734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E0597C-028E-473F-BF50-BBB8B8A24EC3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Inter SemiBold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Inter SemiBold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20339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740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VCT_SHOW_CA" val="Fals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dpyXWVl55.tC6CgQy.D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WUVlBBH2l3k9hxXzMmW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QhnM3zHbAvYnoUVOYoba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LINETEXTSHAPEGUID" val="e9e5e1f3-2ee8-4172-b94e-5125acf75fab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9g.6aq00WkbNTDofa0y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9g.6aq00WkbNTDofa0y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LINETEXTSHAPEGUID" val="0c21d578-f9b9-4fb5-bb00-57aeb907dcf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LINETEXTSHAPEGUID" val="0c21d578-f9b9-4fb5-bb00-57aeb907dcf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LINETEXTSHAPEGUID" val="e9e5e1f3-2ee8-4172-b94e-5125acf75fab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23m4cpAbazlg047FihDn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4QQBCOPeNw6i4BFFfo90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M_EN">
  <a:themeElements>
    <a:clrScheme name="New tempalte">
      <a:dk1>
        <a:srgbClr val="303030"/>
      </a:dk1>
      <a:lt1>
        <a:srgbClr val="FFFFFF"/>
      </a:lt1>
      <a:dk2>
        <a:srgbClr val="028661"/>
      </a:dk2>
      <a:lt2>
        <a:srgbClr val="2870ED"/>
      </a:lt2>
      <a:accent1>
        <a:srgbClr val="0CB43F"/>
      </a:accent1>
      <a:accent2>
        <a:srgbClr val="EB4C79"/>
      </a:accent2>
      <a:accent3>
        <a:srgbClr val="245375"/>
      </a:accent3>
      <a:accent4>
        <a:srgbClr val="FF6130"/>
      </a:accent4>
      <a:accent5>
        <a:srgbClr val="02A3A4"/>
      </a:accent5>
      <a:accent6>
        <a:srgbClr val="721C7A"/>
      </a:accent6>
      <a:hlink>
        <a:srgbClr val="2870ED"/>
      </a:hlink>
      <a:folHlink>
        <a:srgbClr val="A3B5C9"/>
      </a:folHlink>
    </a:clrScheme>
    <a:fontScheme name="Benutzerdefiniert 246">
      <a:majorFont>
        <a:latin typeface="Inter SemiBold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lnSpc>
            <a:spcPct val="107000"/>
          </a:lnSpc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 algn="l">
          <a:lnSpc>
            <a:spcPct val="107000"/>
          </a:lnSpc>
          <a:defRPr sz="1600" dirty="0" err="1" smtClean="0"/>
        </a:defPPr>
      </a:lstStyle>
    </a:txDef>
  </a:objectDefaults>
  <a:extraClrSchemeLst/>
  <a:custClrLst>
    <a:custClr name="Light Grey">
      <a:srgbClr val="E4EAF0"/>
    </a:custClr>
    <a:custClr name="Mid Grey">
      <a:srgbClr val="A3B5C9"/>
    </a:custClr>
    <a:custClr name="Dark Grey">
      <a:srgbClr val="5C7999"/>
    </a:custClr>
  </a:custClrLst>
  <a:extLst>
    <a:ext uri="{05A4C25C-085E-4340-85A3-A5531E510DB2}">
      <thm15:themeFamily xmlns:thm15="http://schemas.microsoft.com/office/thememl/2012/main" name="Erste_PowerPoint_Mass-Market_16x9_2022-12-02.potx" id="{0C8E5E44-6585-4AAB-A206-D8BE6381833D}" vid="{1D951135-A32A-4BF1-ADF1-8B645B643203}"/>
    </a:ext>
  </a:extLst>
</a:theme>
</file>

<file path=ppt/theme/theme2.xml><?xml version="1.0" encoding="utf-8"?>
<a:theme xmlns:a="http://schemas.openxmlformats.org/drawingml/2006/main" name="Presentation spring">
  <a:themeElements>
    <a:clrScheme name="Erste Group">
      <a:dk1>
        <a:srgbClr val="00497B"/>
      </a:dk1>
      <a:lt1>
        <a:srgbClr val="FFFFFF"/>
      </a:lt1>
      <a:dk2>
        <a:srgbClr val="00497B"/>
      </a:dk2>
      <a:lt2>
        <a:srgbClr val="FFFFFF"/>
      </a:lt2>
      <a:accent1>
        <a:srgbClr val="BCE4FA"/>
      </a:accent1>
      <a:accent2>
        <a:srgbClr val="DFF2FD"/>
      </a:accent2>
      <a:accent3>
        <a:srgbClr val="83D0F5"/>
      </a:accent3>
      <a:accent4>
        <a:srgbClr val="40A3D5"/>
      </a:accent4>
      <a:accent5>
        <a:srgbClr val="0078B4"/>
      </a:accent5>
      <a:accent6>
        <a:srgbClr val="E30613"/>
      </a:accent6>
      <a:hlink>
        <a:srgbClr val="0000FF"/>
      </a:hlink>
      <a:folHlink>
        <a:srgbClr val="800080"/>
      </a:folHlink>
    </a:clrScheme>
    <a:fontScheme name="Erste Grou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1_EY-P Widescreen Template 2020">
  <a:themeElements>
    <a:clrScheme name="EYP2020_PPT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1A9AFA"/>
      </a:accent1>
      <a:accent2>
        <a:srgbClr val="2E2E38"/>
      </a:accent2>
      <a:accent3>
        <a:srgbClr val="747480"/>
      </a:accent3>
      <a:accent4>
        <a:srgbClr val="C4C4CD"/>
      </a:accent4>
      <a:accent5>
        <a:srgbClr val="FF4136"/>
      </a:accent5>
      <a:accent6>
        <a:srgbClr val="2DB757"/>
      </a:accent6>
      <a:hlink>
        <a:srgbClr val="1A9AFA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9525">
          <a:noFill/>
        </a:ln>
      </a:spPr>
      <a:bodyPr lIns="72000" tIns="72000" rIns="72000" bIns="72000" rtlCol="0" anchor="ctr" anchorCtr="0"/>
      <a:lstStyle>
        <a:defPPr algn="l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 marL="171450" indent="-171450" algn="l">
          <a:lnSpc>
            <a:spcPct val="85000"/>
          </a:lnSpc>
          <a:spcAft>
            <a:spcPts val="600"/>
          </a:spcAft>
          <a:buSzPct val="110000"/>
          <a:buFont typeface="EYInterstate Light" panose="02000506000000020004" pitchFamily="2" charset="0"/>
          <a:buChar char="•"/>
          <a:defRPr sz="1100" dirty="0" smtClean="0">
            <a:solidFill>
              <a:schemeClr val="bg1"/>
            </a:solidFill>
          </a:defRPr>
        </a:defPPr>
      </a:lstStyle>
    </a:txDef>
  </a:objectDefaults>
  <a:extraClrSchemeLst/>
  <a:custClrLst>
    <a:custClr name="Teal">
      <a:srgbClr val="27ACAA"/>
    </a:custClr>
    <a:custClr name="Green">
      <a:srgbClr val="2DB757"/>
    </a:custClr>
    <a:custClr name="Orange">
      <a:srgbClr val="FF6D00"/>
    </a:custClr>
    <a:custClr name="Purple">
      <a:srgbClr val="3D108A"/>
    </a:custClr>
    <a:custClr name="Maroon">
      <a:srgbClr val="750E5C"/>
    </a:custClr>
    <a:custClr name="Red">
      <a:srgbClr val="FF4136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Teal">
      <a:srgbClr val="42C9C2"/>
    </a:custClr>
    <a:custClr name="Green">
      <a:srgbClr val="34C768"/>
    </a:custClr>
    <a:custClr name="Orange">
      <a:srgbClr val="FF810A"/>
    </a:custClr>
    <a:custClr name="Purple">
      <a:srgbClr val="542EA5"/>
    </a:custClr>
    <a:custClr name="Maroon">
      <a:srgbClr val="922B73"/>
    </a:custClr>
    <a:custClr name="Red">
      <a:srgbClr val="F95D54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Teal">
      <a:srgbClr val="60E6E1"/>
    </a:custClr>
    <a:custClr name="Green">
      <a:srgbClr val="57E188"/>
    </a:custClr>
    <a:custClr name="Orange">
      <a:srgbClr val="FF9831"/>
    </a:custClr>
    <a:custClr name="Purple">
      <a:srgbClr val="724BC3"/>
    </a:custClr>
    <a:custClr name="Maroon">
      <a:srgbClr val="B14891"/>
    </a:custClr>
    <a:custClr name="Red">
      <a:srgbClr val="FF736A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Teal">
      <a:srgbClr val="93F0E6"/>
    </a:custClr>
    <a:custClr name="Green">
      <a:srgbClr val="8CE8AD"/>
    </a:custClr>
    <a:custClr name="Orange">
      <a:srgbClr val="FFB46A"/>
    </a:custClr>
    <a:custClr name="Purple">
      <a:srgbClr val="9C82D4"/>
    </a:custClr>
    <a:custClr name="Maroon">
      <a:srgbClr val="C981B2"/>
    </a:custClr>
    <a:custClr name="Red">
      <a:srgbClr val="FF9A91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EY-P Template (Widescreen).potx" id="{E889C022-0C74-448D-81BA-7FC940029D68}" vid="{6FBAB25E-F596-48C0-813F-108085AC1333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FF803BB70EF50C41BB2A5C2635DAF056" ma:contentTypeVersion="21" ma:contentTypeDescription="Ein neues Dokument erstellen." ma:contentTypeScope="" ma:versionID="1152844981ec753476d43c9f5c630c15">
  <xsd:schema xmlns:xsd="http://www.w3.org/2001/XMLSchema" xmlns:xs="http://www.w3.org/2001/XMLSchema" xmlns:p="http://schemas.microsoft.com/office/2006/metadata/properties" xmlns:ns1="http://schemas.microsoft.com/sharepoint/v3" xmlns:ns2="http://schemas.microsoft.com/sharepoint/v3/fields" xmlns:ns3="9f569348-c938-4593-81cf-7ffc44af308f" xmlns:ns4="a58d8796-6d30-4464-bf9b-797091132d28" targetNamespace="http://schemas.microsoft.com/office/2006/metadata/properties" ma:root="true" ma:fieldsID="6ec8315868055fef03acca7d31a458cd" ns1:_="" ns2:_="" ns3:_="" ns4:_="">
    <xsd:import namespace="http://schemas.microsoft.com/sharepoint/v3"/>
    <xsd:import namespace="http://schemas.microsoft.com/sharepoint/v3/fields"/>
    <xsd:import namespace="9f569348-c938-4593-81cf-7ffc44af308f"/>
    <xsd:import namespace="a58d8796-6d30-4464-bf9b-797091132d28"/>
    <xsd:element name="properties">
      <xsd:complexType>
        <xsd:sequence>
          <xsd:element name="documentManagement">
            <xsd:complexType>
              <xsd:all>
                <xsd:element ref="ns2:_Version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MediaServiceLocation" minOccurs="0"/>
                <xsd:element ref="ns1:_ip_UnifiedCompliancePolicyProperties" minOccurs="0"/>
                <xsd:element ref="ns1:_ip_UnifiedCompliancePolicyUIAction" minOccurs="0"/>
                <xsd:element ref="ns3:MediaLengthInSeconds" minOccurs="0"/>
                <xsd:element ref="ns3:lcf76f155ced4ddcb4097134ff3c332f" minOccurs="0"/>
                <xsd:element ref="ns4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1" nillable="true" ma:displayName="Eigenschaften der einheitlichen Compliancerichtlinie" ma:hidden="true" ma:internalName="_ip_UnifiedCompliancePolicyProperties">
      <xsd:simpleType>
        <xsd:restriction base="dms:Note"/>
      </xsd:simpleType>
    </xsd:element>
    <xsd:element name="_ip_UnifiedCompliancePolicyUIAction" ma:index="22" nillable="true" ma:displayName="UI-Aktion der einheitlichen Compliancerichtlinie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Version" ma:index="2" nillable="true" ma:displayName="Version" ma:internalName="_Vers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f569348-c938-4593-81cf-7ffc44af308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MediaLengthInSeconds" ma:index="23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5" nillable="true" ma:taxonomy="true" ma:internalName="lcf76f155ced4ddcb4097134ff3c332f" ma:taxonomyFieldName="MediaServiceImageTags" ma:displayName="Bildmarkierungen" ma:readOnly="false" ma:fieldId="{5cf76f15-5ced-4ddc-b409-7134ff3c332f}" ma:taxonomyMulti="true" ma:sspId="8e7e5b6c-b918-456f-bde5-0dbd0052dc3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8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8d8796-6d30-4464-bf9b-797091132d28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6" nillable="true" ma:displayName="Taxonomy Catch All Column" ma:hidden="true" ma:list="{3fb7e90c-9f82-4ab8-9569-ca12180372c3}" ma:internalName="TaxCatchAll" ma:showField="CatchAllData" ma:web="a58d8796-6d30-4464-bf9b-797091132d2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6" ma:displayName="Inhaltstyp"/>
        <xsd:element ref="dc:title" minOccurs="0" maxOccurs="1" ma:index="1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  <TaxCatchAll xmlns="a58d8796-6d30-4464-bf9b-797091132d28" xsi:nil="true"/>
    <lcf76f155ced4ddcb4097134ff3c332f xmlns="9f569348-c938-4593-81cf-7ffc44af308f">
      <Terms xmlns="http://schemas.microsoft.com/office/infopath/2007/PartnerControls"/>
    </lcf76f155ced4ddcb4097134ff3c332f>
    <_Version xmlns="http://schemas.microsoft.com/sharepoint/v3/fields" xsi:nil="true"/>
    <SharedWithUsers xmlns="a58d8796-6d30-4464-bf9b-797091132d28">
      <UserInfo>
        <DisplayName>Nekolar Christoph 6021 ED</DisplayName>
        <AccountId>963</AccountId>
        <AccountType/>
      </UserInfo>
      <UserInfo>
        <DisplayName>Steiner Andreas 6206 ED</DisplayName>
        <AccountId>565</AccountId>
        <AccountType/>
      </UserInfo>
      <UserInfo>
        <DisplayName>Werth Thomas 6040 ED</DisplayName>
        <AccountId>812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892DB254-4A57-4B32-949E-F107D7105F8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5AEBA9C-546F-4C25-85A3-F7E0DC949611}">
  <ds:schemaRefs>
    <ds:schemaRef ds:uri="9f569348-c938-4593-81cf-7ffc44af308f"/>
    <ds:schemaRef ds:uri="a58d8796-6d30-4464-bf9b-797091132d2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microsoft.com/sharepoint/v3/field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8BF9BB17-D279-464B-B6C2-94AD757C2358}">
  <ds:schemaRefs>
    <ds:schemaRef ds:uri="9f569348-c938-4593-81cf-7ffc44af308f"/>
    <ds:schemaRef ds:uri="a58d8796-6d30-4464-bf9b-797091132d28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schemas.microsoft.com/sharepoint/v3/field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29</Slides>
  <Notes>9</Notes>
  <HiddenSlides>0</HiddenSlide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29</vt:i4>
      </vt:variant>
    </vt:vector>
  </HeadingPairs>
  <TitlesOfParts>
    <vt:vector size="32" baseType="lpstr">
      <vt:lpstr>MM_EN</vt:lpstr>
      <vt:lpstr>Presentation spring</vt:lpstr>
      <vt:lpstr>1_EY-P Widescreen Template 2020</vt:lpstr>
      <vt:lpstr>Architecture proposal for chatbot interaction</vt:lpstr>
      <vt:lpstr>History and motivation</vt:lpstr>
      <vt:lpstr>Final recommendations from Chatbot Challenge 2023</vt:lpstr>
      <vt:lpstr>George concept for all countries: Hey, George is a new AI based conversational platform providing unified experience in an ecosystem of chatbots  </vt:lpstr>
      <vt:lpstr>George concept for all countries: Hey, George is a new AI based conversational platform providing unified experience in an ecosystem of chatbots  </vt:lpstr>
      <vt:lpstr>Architectural principles  </vt:lpstr>
      <vt:lpstr>Integration of central and local (AT) components (MiSOL)</vt:lpstr>
      <vt:lpstr>Who is taking the lead for a specific AT chatbot usecase?</vt:lpstr>
      <vt:lpstr>AT Chatbot usecases: How MiSOL and AI Solution work together </vt:lpstr>
      <vt:lpstr>Stakeholders, roles and responsibilities in ED and EB</vt:lpstr>
      <vt:lpstr>Target operation model (TOM) for integration George chatbot - local chatbot solution (MiSOL)</vt:lpstr>
      <vt:lpstr>PowerPoint Presentation</vt:lpstr>
      <vt:lpstr>PowerPoint Presentation</vt:lpstr>
      <vt:lpstr>PowerPoint Presentation</vt:lpstr>
      <vt:lpstr>The core team</vt:lpstr>
      <vt:lpstr>2 high priority use cases  Source: INNO AT Use cases</vt:lpstr>
      <vt:lpstr>George and MiSOL communication details</vt:lpstr>
      <vt:lpstr>Hey George architecture in detail</vt:lpstr>
      <vt:lpstr>Chatbot flow in George context for AT</vt:lpstr>
      <vt:lpstr>PowerPoint Presentation</vt:lpstr>
      <vt:lpstr>Integration of central and local (AT) components (MiSOL)</vt:lpstr>
      <vt:lpstr>Target operation model (TOM) high level activities</vt:lpstr>
      <vt:lpstr>History and motivation – initial slide</vt:lpstr>
      <vt:lpstr>Stakeholders, roles and responsibilities in ED and EB (old)</vt:lpstr>
      <vt:lpstr>Under the hood - Orchestration</vt:lpstr>
      <vt:lpstr>Under the hood - Integration</vt:lpstr>
      <vt:lpstr>Target operation model (TOM) #2</vt:lpstr>
      <vt:lpstr>Components</vt:lpstr>
      <vt:lpstr>Flows</vt:lpstr>
    </vt:vector>
  </TitlesOfParts>
  <Company>s IT Solution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rchitecture Debt Management</dc:title>
  <dc:creator>Olabowale Oloyede</dc:creator>
  <cp:revision>1</cp:revision>
  <dcterms:created xsi:type="dcterms:W3CDTF">2023-03-08T10:32:22Z</dcterms:created>
  <dcterms:modified xsi:type="dcterms:W3CDTF">2024-01-26T15:00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38939b85-7e40-4a1d-91e1-0e84c3b219d7_Enabled">
    <vt:lpwstr>true</vt:lpwstr>
  </property>
  <property fmtid="{D5CDD505-2E9C-101B-9397-08002B2CF9AE}" pid="3" name="MSIP_Label_38939b85-7e40-4a1d-91e1-0e84c3b219d7_SetDate">
    <vt:lpwstr>2023-03-08T10:32:22Z</vt:lpwstr>
  </property>
  <property fmtid="{D5CDD505-2E9C-101B-9397-08002B2CF9AE}" pid="4" name="MSIP_Label_38939b85-7e40-4a1d-91e1-0e84c3b219d7_Method">
    <vt:lpwstr>Standard</vt:lpwstr>
  </property>
  <property fmtid="{D5CDD505-2E9C-101B-9397-08002B2CF9AE}" pid="5" name="MSIP_Label_38939b85-7e40-4a1d-91e1-0e84c3b219d7_Name">
    <vt:lpwstr>38939b85-7e40-4a1d-91e1-0e84c3b219d7</vt:lpwstr>
  </property>
  <property fmtid="{D5CDD505-2E9C-101B-9397-08002B2CF9AE}" pid="6" name="MSIP_Label_38939b85-7e40-4a1d-91e1-0e84c3b219d7_SiteId">
    <vt:lpwstr>3ad0376a-54d3-49a6-9e20-52de0a92fc89</vt:lpwstr>
  </property>
  <property fmtid="{D5CDD505-2E9C-101B-9397-08002B2CF9AE}" pid="7" name="MSIP_Label_38939b85-7e40-4a1d-91e1-0e84c3b219d7_ActionId">
    <vt:lpwstr>9d0d0004-adaa-4282-a897-3c476e81a8b1</vt:lpwstr>
  </property>
  <property fmtid="{D5CDD505-2E9C-101B-9397-08002B2CF9AE}" pid="8" name="MSIP_Label_38939b85-7e40-4a1d-91e1-0e84c3b219d7_ContentBits">
    <vt:lpwstr>0</vt:lpwstr>
  </property>
  <property fmtid="{D5CDD505-2E9C-101B-9397-08002B2CF9AE}" pid="9" name="ContentTypeId">
    <vt:lpwstr>0x010100FF803BB70EF50C41BB2A5C2635DAF056</vt:lpwstr>
  </property>
  <property fmtid="{D5CDD505-2E9C-101B-9397-08002B2CF9AE}" pid="10" name="MediaServiceImageTags">
    <vt:lpwstr/>
  </property>
</Properties>
</file>